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tags/tag3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media/image34.bin" ContentType="image/png"/>
  <Override PartName="/ppt/tags/tag3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19"/>
  </p:notesMasterIdLst>
  <p:handoutMasterIdLst>
    <p:handoutMasterId r:id="rId20"/>
  </p:handoutMasterIdLst>
  <p:sldIdLst>
    <p:sldId id="2142532830" r:id="rId6"/>
    <p:sldId id="2147377870" r:id="rId7"/>
    <p:sldId id="2147377876" r:id="rId8"/>
    <p:sldId id="2147377877" r:id="rId9"/>
    <p:sldId id="2147377878" r:id="rId10"/>
    <p:sldId id="2147377879" r:id="rId11"/>
    <p:sldId id="2142532831" r:id="rId12"/>
    <p:sldId id="2142532825" r:id="rId13"/>
    <p:sldId id="287" r:id="rId14"/>
    <p:sldId id="285" r:id="rId15"/>
    <p:sldId id="2147377868" r:id="rId16"/>
    <p:sldId id="2147377391" r:id="rId17"/>
    <p:sldId id="2142532821" r:id="rId18"/>
  </p:sldIdLst>
  <p:sldSz cx="9144000" cy="5143500" type="screen16x9"/>
  <p:notesSz cx="6797675" cy="9926638"/>
  <p:embeddedFontLst>
    <p:embeddedFont>
      <p:font typeface="Orsted Sans" panose="00000500000000000000" pitchFamily="50" charset="0"/>
      <p:regular r:id="rId21"/>
      <p:bold r:id="rId22"/>
      <p:italic r:id="rId23"/>
      <p:boldItalic r:id="rId24"/>
    </p:embeddedFont>
    <p:embeddedFont>
      <p:font typeface="Orsted Sans Office" panose="00000500000000000000" pitchFamily="2" charset="0"/>
      <p:regular r:id="rId25"/>
      <p:bold r:id="rId26"/>
      <p:italic r:id="rId27"/>
      <p:boldItalic r:id="rId28"/>
    </p:embeddedFont>
  </p:embeddedFontLst>
  <p:custDataLst>
    <p:tags r:id="rId29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910" autoAdjust="0"/>
  </p:normalViewPr>
  <p:slideViewPr>
    <p:cSldViewPr snapToGrid="0" showGuides="1">
      <p:cViewPr varScale="1">
        <p:scale>
          <a:sx n="81" d="100"/>
          <a:sy n="81" d="100"/>
        </p:scale>
        <p:origin x="888" y="8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6.fntdata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font" Target="fonts/font1.fntdata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5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4.fntdata"/><Relationship Id="rId32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31" Type="http://schemas.openxmlformats.org/officeDocument/2006/relationships/viewProps" Target="viewProps.xml"/><Relationship Id="rId30" Type="http://schemas.openxmlformats.org/officeDocument/2006/relationships/presProps" Target="presProps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2.fntdata"/><Relationship Id="rId27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ady Walker" userId="9a96501d-bca2-4ef3-851b-f722c5b3b121" providerId="ADAL" clId="{D6EF00AF-2D8F-492C-8872-50A7333ECAEA}"/>
    <pc:docChg chg="addSld delSld modSld sldOrd">
      <pc:chgData name="Brady Walker" userId="9a96501d-bca2-4ef3-851b-f722c5b3b121" providerId="ADAL" clId="{D6EF00AF-2D8F-492C-8872-50A7333ECAEA}" dt="2022-09-12T15:13:43.865" v="74" actId="20577"/>
      <pc:docMkLst>
        <pc:docMk/>
      </pc:docMkLst>
      <pc:sldChg chg="del">
        <pc:chgData name="Brady Walker" userId="9a96501d-bca2-4ef3-851b-f722c5b3b121" providerId="ADAL" clId="{D6EF00AF-2D8F-492C-8872-50A7333ECAEA}" dt="2022-09-12T15:07:46.445" v="21" actId="47"/>
        <pc:sldMkLst>
          <pc:docMk/>
          <pc:sldMk cId="2674240882" sldId="262"/>
        </pc:sldMkLst>
      </pc:sldChg>
      <pc:sldChg chg="del">
        <pc:chgData name="Brady Walker" userId="9a96501d-bca2-4ef3-851b-f722c5b3b121" providerId="ADAL" clId="{D6EF00AF-2D8F-492C-8872-50A7333ECAEA}" dt="2022-09-12T15:12:39.488" v="40" actId="47"/>
        <pc:sldMkLst>
          <pc:docMk/>
          <pc:sldMk cId="1990349686" sldId="264"/>
        </pc:sldMkLst>
      </pc:sldChg>
      <pc:sldChg chg="del">
        <pc:chgData name="Brady Walker" userId="9a96501d-bca2-4ef3-851b-f722c5b3b121" providerId="ADAL" clId="{D6EF00AF-2D8F-492C-8872-50A7333ECAEA}" dt="2022-09-12T15:11:50.972" v="33" actId="47"/>
        <pc:sldMkLst>
          <pc:docMk/>
          <pc:sldMk cId="589114601" sldId="265"/>
        </pc:sldMkLst>
      </pc:sldChg>
      <pc:sldChg chg="del">
        <pc:chgData name="Brady Walker" userId="9a96501d-bca2-4ef3-851b-f722c5b3b121" providerId="ADAL" clId="{D6EF00AF-2D8F-492C-8872-50A7333ECAEA}" dt="2022-09-12T15:08:00.608" v="23" actId="47"/>
        <pc:sldMkLst>
          <pc:docMk/>
          <pc:sldMk cId="1367190370" sldId="273"/>
        </pc:sldMkLst>
      </pc:sldChg>
      <pc:sldChg chg="ord">
        <pc:chgData name="Brady Walker" userId="9a96501d-bca2-4ef3-851b-f722c5b3b121" providerId="ADAL" clId="{D6EF00AF-2D8F-492C-8872-50A7333ECAEA}" dt="2022-09-12T15:12:46.627" v="43"/>
        <pc:sldMkLst>
          <pc:docMk/>
          <pc:sldMk cId="404041954" sldId="285"/>
        </pc:sldMkLst>
      </pc:sldChg>
      <pc:sldChg chg="modSp add mod ord">
        <pc:chgData name="Brady Walker" userId="9a96501d-bca2-4ef3-851b-f722c5b3b121" providerId="ADAL" clId="{D6EF00AF-2D8F-492C-8872-50A7333ECAEA}" dt="2022-09-12T15:13:43.865" v="74" actId="20577"/>
        <pc:sldMkLst>
          <pc:docMk/>
          <pc:sldMk cId="3357824965" sldId="287"/>
        </pc:sldMkLst>
        <pc:spChg chg="mod">
          <ac:chgData name="Brady Walker" userId="9a96501d-bca2-4ef3-851b-f722c5b3b121" providerId="ADAL" clId="{D6EF00AF-2D8F-492C-8872-50A7333ECAEA}" dt="2022-09-12T15:13:43.865" v="74" actId="20577"/>
          <ac:spMkLst>
            <pc:docMk/>
            <pc:sldMk cId="3357824965" sldId="287"/>
            <ac:spMk id="3" creationId="{455D4E7B-1FB5-480A-9D96-081F8814D5FD}"/>
          </ac:spMkLst>
        </pc:spChg>
      </pc:sldChg>
      <pc:sldChg chg="ord">
        <pc:chgData name="Brady Walker" userId="9a96501d-bca2-4ef3-851b-f722c5b3b121" providerId="ADAL" clId="{D6EF00AF-2D8F-492C-8872-50A7333ECAEA}" dt="2022-09-12T15:12:55.830" v="47"/>
        <pc:sldMkLst>
          <pc:docMk/>
          <pc:sldMk cId="2930254595" sldId="2142532821"/>
        </pc:sldMkLst>
      </pc:sldChg>
      <pc:sldChg chg="ord">
        <pc:chgData name="Brady Walker" userId="9a96501d-bca2-4ef3-851b-f722c5b3b121" providerId="ADAL" clId="{D6EF00AF-2D8F-492C-8872-50A7333ECAEA}" dt="2022-09-12T15:12:07.078" v="37"/>
        <pc:sldMkLst>
          <pc:docMk/>
          <pc:sldMk cId="4161834540" sldId="2142532825"/>
        </pc:sldMkLst>
      </pc:sldChg>
      <pc:sldChg chg="del">
        <pc:chgData name="Brady Walker" userId="9a96501d-bca2-4ef3-851b-f722c5b3b121" providerId="ADAL" clId="{D6EF00AF-2D8F-492C-8872-50A7333ECAEA}" dt="2022-09-12T15:11:50.972" v="33" actId="47"/>
        <pc:sldMkLst>
          <pc:docMk/>
          <pc:sldMk cId="3694192240" sldId="2142532827"/>
        </pc:sldMkLst>
      </pc:sldChg>
      <pc:sldChg chg="del">
        <pc:chgData name="Brady Walker" userId="9a96501d-bca2-4ef3-851b-f722c5b3b121" providerId="ADAL" clId="{D6EF00AF-2D8F-492C-8872-50A7333ECAEA}" dt="2022-09-12T15:11:50.972" v="33" actId="47"/>
        <pc:sldMkLst>
          <pc:docMk/>
          <pc:sldMk cId="1569277190" sldId="2142532828"/>
        </pc:sldMkLst>
      </pc:sldChg>
      <pc:sldChg chg="del">
        <pc:chgData name="Brady Walker" userId="9a96501d-bca2-4ef3-851b-f722c5b3b121" providerId="ADAL" clId="{D6EF00AF-2D8F-492C-8872-50A7333ECAEA}" dt="2022-09-12T15:11:50.972" v="33" actId="47"/>
        <pc:sldMkLst>
          <pc:docMk/>
          <pc:sldMk cId="2906615860" sldId="2142532829"/>
        </pc:sldMkLst>
      </pc:sldChg>
      <pc:sldChg chg="modSp mod">
        <pc:chgData name="Brady Walker" userId="9a96501d-bca2-4ef3-851b-f722c5b3b121" providerId="ADAL" clId="{D6EF00AF-2D8F-492C-8872-50A7333ECAEA}" dt="2022-09-12T15:06:53.568" v="20" actId="20577"/>
        <pc:sldMkLst>
          <pc:docMk/>
          <pc:sldMk cId="2545529241" sldId="2142532830"/>
        </pc:sldMkLst>
        <pc:spChg chg="mod">
          <ac:chgData name="Brady Walker" userId="9a96501d-bca2-4ef3-851b-f722c5b3b121" providerId="ADAL" clId="{D6EF00AF-2D8F-492C-8872-50A7333ECAEA}" dt="2022-09-12T15:06:53.568" v="20" actId="20577"/>
          <ac:spMkLst>
            <pc:docMk/>
            <pc:sldMk cId="2545529241" sldId="2142532830"/>
            <ac:spMk id="7" creationId="{4246144F-B47F-4776-B702-44E5D0190821}"/>
          </ac:spMkLst>
        </pc:spChg>
      </pc:sldChg>
      <pc:sldChg chg="ord">
        <pc:chgData name="Brady Walker" userId="9a96501d-bca2-4ef3-851b-f722c5b3b121" providerId="ADAL" clId="{D6EF00AF-2D8F-492C-8872-50A7333ECAEA}" dt="2022-09-12T15:11:55.804" v="35"/>
        <pc:sldMkLst>
          <pc:docMk/>
          <pc:sldMk cId="2439168620" sldId="2142532831"/>
        </pc:sldMkLst>
      </pc:sldChg>
      <pc:sldChg chg="del">
        <pc:chgData name="Brady Walker" userId="9a96501d-bca2-4ef3-851b-f722c5b3b121" providerId="ADAL" clId="{D6EF00AF-2D8F-492C-8872-50A7333ECAEA}" dt="2022-09-12T15:08:00.608" v="23" actId="47"/>
        <pc:sldMkLst>
          <pc:docMk/>
          <pc:sldMk cId="1889811690" sldId="2142532935"/>
        </pc:sldMkLst>
      </pc:sldChg>
      <pc:sldChg chg="del">
        <pc:chgData name="Brady Walker" userId="9a96501d-bca2-4ef3-851b-f722c5b3b121" providerId="ADAL" clId="{D6EF00AF-2D8F-492C-8872-50A7333ECAEA}" dt="2022-09-12T15:08:00.608" v="23" actId="47"/>
        <pc:sldMkLst>
          <pc:docMk/>
          <pc:sldMk cId="222164940" sldId="2142532936"/>
        </pc:sldMkLst>
      </pc:sldChg>
      <pc:sldChg chg="del">
        <pc:chgData name="Brady Walker" userId="9a96501d-bca2-4ef3-851b-f722c5b3b121" providerId="ADAL" clId="{D6EF00AF-2D8F-492C-8872-50A7333ECAEA}" dt="2022-09-12T15:08:00.608" v="23" actId="47"/>
        <pc:sldMkLst>
          <pc:docMk/>
          <pc:sldMk cId="2401186532" sldId="2142532937"/>
        </pc:sldMkLst>
      </pc:sldChg>
      <pc:sldChg chg="del">
        <pc:chgData name="Brady Walker" userId="9a96501d-bca2-4ef3-851b-f722c5b3b121" providerId="ADAL" clId="{D6EF00AF-2D8F-492C-8872-50A7333ECAEA}" dt="2022-09-12T15:08:00.608" v="23" actId="47"/>
        <pc:sldMkLst>
          <pc:docMk/>
          <pc:sldMk cId="1848433965" sldId="2142532938"/>
        </pc:sldMkLst>
      </pc:sldChg>
      <pc:sldChg chg="add">
        <pc:chgData name="Brady Walker" userId="9a96501d-bca2-4ef3-851b-f722c5b3b121" providerId="ADAL" clId="{D6EF00AF-2D8F-492C-8872-50A7333ECAEA}" dt="2022-09-12T15:11:03.871" v="28"/>
        <pc:sldMkLst>
          <pc:docMk/>
          <pc:sldMk cId="2170568802" sldId="2147377391"/>
        </pc:sldMkLst>
      </pc:sldChg>
      <pc:sldChg chg="del">
        <pc:chgData name="Brady Walker" userId="9a96501d-bca2-4ef3-851b-f722c5b3b121" providerId="ADAL" clId="{D6EF00AF-2D8F-492C-8872-50A7333ECAEA}" dt="2022-09-12T15:06:05.196" v="0" actId="47"/>
        <pc:sldMkLst>
          <pc:docMk/>
          <pc:sldMk cId="570775704" sldId="2147377867"/>
        </pc:sldMkLst>
      </pc:sldChg>
      <pc:sldChg chg="add del ord">
        <pc:chgData name="Brady Walker" userId="9a96501d-bca2-4ef3-851b-f722c5b3b121" providerId="ADAL" clId="{D6EF00AF-2D8F-492C-8872-50A7333ECAEA}" dt="2022-09-12T15:06:17.210" v="3"/>
        <pc:sldMkLst>
          <pc:docMk/>
          <pc:sldMk cId="199512769" sldId="2147377868"/>
        </pc:sldMkLst>
      </pc:sldChg>
      <pc:sldChg chg="ord">
        <pc:chgData name="Brady Walker" userId="9a96501d-bca2-4ef3-851b-f722c5b3b121" providerId="ADAL" clId="{D6EF00AF-2D8F-492C-8872-50A7333ECAEA}" dt="2022-09-12T15:11:17.073" v="31"/>
        <pc:sldMkLst>
          <pc:docMk/>
          <pc:sldMk cId="2158729916" sldId="2147377870"/>
        </pc:sldMkLst>
      </pc:sldChg>
      <pc:sldChg chg="add del ord">
        <pc:chgData name="Brady Walker" userId="9a96501d-bca2-4ef3-851b-f722c5b3b121" providerId="ADAL" clId="{D6EF00AF-2D8F-492C-8872-50A7333ECAEA}" dt="2022-09-12T15:11:09.720" v="29" actId="47"/>
        <pc:sldMkLst>
          <pc:docMk/>
          <pc:sldMk cId="291348694" sldId="2147377872"/>
        </pc:sldMkLst>
      </pc:sldChg>
      <pc:sldChg chg="add del">
        <pc:chgData name="Brady Walker" userId="9a96501d-bca2-4ef3-851b-f722c5b3b121" providerId="ADAL" clId="{D6EF00AF-2D8F-492C-8872-50A7333ECAEA}" dt="2022-09-12T15:12:42.231" v="41" actId="47"/>
        <pc:sldMkLst>
          <pc:docMk/>
          <pc:sldMk cId="2659230560" sldId="2147377875"/>
        </pc:sldMkLst>
      </pc:sldChg>
      <pc:sldChg chg="add">
        <pc:chgData name="Brady Walker" userId="9a96501d-bca2-4ef3-851b-f722c5b3b121" providerId="ADAL" clId="{D6EF00AF-2D8F-492C-8872-50A7333ECAEA}" dt="2022-09-12T15:11:27.715" v="32"/>
        <pc:sldMkLst>
          <pc:docMk/>
          <pc:sldMk cId="2916183304" sldId="2147377876"/>
        </pc:sldMkLst>
      </pc:sldChg>
      <pc:sldChg chg="add del">
        <pc:chgData name="Brady Walker" userId="9a96501d-bca2-4ef3-851b-f722c5b3b121" providerId="ADAL" clId="{D6EF00AF-2D8F-492C-8872-50A7333ECAEA}" dt="2022-09-12T15:10:37.661" v="27"/>
        <pc:sldMkLst>
          <pc:docMk/>
          <pc:sldMk cId="4210803568" sldId="2147377876"/>
        </pc:sldMkLst>
      </pc:sldChg>
      <pc:sldChg chg="add">
        <pc:chgData name="Brady Walker" userId="9a96501d-bca2-4ef3-851b-f722c5b3b121" providerId="ADAL" clId="{D6EF00AF-2D8F-492C-8872-50A7333ECAEA}" dt="2022-09-12T15:11:27.715" v="32"/>
        <pc:sldMkLst>
          <pc:docMk/>
          <pc:sldMk cId="3362444282" sldId="2147377877"/>
        </pc:sldMkLst>
      </pc:sldChg>
      <pc:sldChg chg="add del">
        <pc:chgData name="Brady Walker" userId="9a96501d-bca2-4ef3-851b-f722c5b3b121" providerId="ADAL" clId="{D6EF00AF-2D8F-492C-8872-50A7333ECAEA}" dt="2022-09-12T15:10:37.661" v="27"/>
        <pc:sldMkLst>
          <pc:docMk/>
          <pc:sldMk cId="3527445906" sldId="2147377877"/>
        </pc:sldMkLst>
      </pc:sldChg>
      <pc:sldChg chg="add">
        <pc:chgData name="Brady Walker" userId="9a96501d-bca2-4ef3-851b-f722c5b3b121" providerId="ADAL" clId="{D6EF00AF-2D8F-492C-8872-50A7333ECAEA}" dt="2022-09-12T15:11:27.715" v="32"/>
        <pc:sldMkLst>
          <pc:docMk/>
          <pc:sldMk cId="382025608" sldId="2147377878"/>
        </pc:sldMkLst>
      </pc:sldChg>
      <pc:sldChg chg="add">
        <pc:chgData name="Brady Walker" userId="9a96501d-bca2-4ef3-851b-f722c5b3b121" providerId="ADAL" clId="{D6EF00AF-2D8F-492C-8872-50A7333ECAEA}" dt="2022-09-12T15:11:27.715" v="32"/>
        <pc:sldMkLst>
          <pc:docMk/>
          <pc:sldMk cId="413623073" sldId="2147377879"/>
        </pc:sldMkLst>
      </pc:sldChg>
      <pc:sldMasterChg chg="delSldLayout">
        <pc:chgData name="Brady Walker" userId="9a96501d-bca2-4ef3-851b-f722c5b3b121" providerId="ADAL" clId="{D6EF00AF-2D8F-492C-8872-50A7333ECAEA}" dt="2022-09-12T15:06:05.196" v="0" actId="47"/>
        <pc:sldMasterMkLst>
          <pc:docMk/>
          <pc:sldMasterMk cId="180999990" sldId="2147483648"/>
        </pc:sldMasterMkLst>
        <pc:sldLayoutChg chg="del">
          <pc:chgData name="Brady Walker" userId="9a96501d-bca2-4ef3-851b-f722c5b3b121" providerId="ADAL" clId="{D6EF00AF-2D8F-492C-8872-50A7333ECAEA}" dt="2022-09-12T15:06:05.196" v="0" actId="47"/>
          <pc:sldLayoutMkLst>
            <pc:docMk/>
            <pc:sldMasterMk cId="180999990" sldId="2147483648"/>
            <pc:sldLayoutMk cId="3266354300" sldId="2147483773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618665682794031E-3"/>
          <c:y val="0"/>
          <c:w val="0.97607073885953555"/>
          <c:h val="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e Procured (MW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GB" sz="550" b="1" i="0" u="none" strike="noStrike" kern="1200" baseline="0">
                      <a:solidFill>
                        <a:schemeClr val="bg2"/>
                      </a:solidFill>
                      <a:latin typeface="Orsted Sans" panose="00000500000000000000" pitchFamily="50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498-4977-B1BB-F3632F6DA76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28C06D6-0D12-4A71-B860-8D80A08340D8}" type="VALUE">
                      <a:rPr lang="en-US">
                        <a:solidFill>
                          <a:schemeClr val="tx2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498-4977-B1BB-F3632F6DA767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GB" sz="600" b="1" i="0" u="none" strike="noStrike" kern="1200" baseline="0">
                        <a:solidFill>
                          <a:schemeClr val="bg1"/>
                        </a:solidFill>
                        <a:latin typeface="Orsted Sans" panose="00000500000000000000" pitchFamily="50" charset="0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261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GB" sz="600" b="1" i="0" u="none" strike="noStrike" kern="1200" baseline="0">
                      <a:solidFill>
                        <a:schemeClr val="bg1"/>
                      </a:solidFill>
                      <a:latin typeface="Orsted Sans" panose="00000500000000000000" pitchFamily="50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498-4977-B1BB-F3632F6DA767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551DD689-A826-4E4F-8D80-82B4A64C893C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498-4977-B1BB-F3632F6DA7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600" b="1" i="0" u="none" strike="noStrike" kern="1200" baseline="0">
                    <a:solidFill>
                      <a:schemeClr val="bg2"/>
                    </a:solidFill>
                    <a:latin typeface="Orsted Sans" panose="00000500000000000000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5"/>
                <c:pt idx="0">
                  <c:v>Rhode Island</c:v>
                </c:pt>
                <c:pt idx="2">
                  <c:v>Maryland</c:v>
                </c:pt>
                <c:pt idx="4">
                  <c:v>Connecticut</c:v>
                </c:pt>
                <c:pt idx="6">
                  <c:v>North Carolina</c:v>
                </c:pt>
                <c:pt idx="8">
                  <c:v>Virginia</c:v>
                </c:pt>
                <c:pt idx="10">
                  <c:v>Massachusetts</c:v>
                </c:pt>
                <c:pt idx="12">
                  <c:v>New Jersey</c:v>
                </c:pt>
                <c:pt idx="14">
                  <c:v>New York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430</c:v>
                </c:pt>
                <c:pt idx="2">
                  <c:v>2022</c:v>
                </c:pt>
                <c:pt idx="4">
                  <c:v>1108</c:v>
                </c:pt>
                <c:pt idx="6">
                  <c:v>0</c:v>
                </c:pt>
                <c:pt idx="8" formatCode="#,##0">
                  <c:v>2612</c:v>
                </c:pt>
                <c:pt idx="10">
                  <c:v>2836</c:v>
                </c:pt>
                <c:pt idx="12">
                  <c:v>3758</c:v>
                </c:pt>
                <c:pt idx="14">
                  <c:v>4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98-4977-B1BB-F3632F6DA767}"/>
            </c:ext>
          </c:extLst>
        </c:ser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498-4977-B1BB-F3632F6DA7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600" b="1" i="0" u="none" strike="noStrike" kern="1200" baseline="0">
                    <a:solidFill>
                      <a:schemeClr val="bg1"/>
                    </a:solidFill>
                    <a:latin typeface="Orsted Sans" panose="00000500000000000000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5"/>
                <c:pt idx="0">
                  <c:v>Rhode Island</c:v>
                </c:pt>
                <c:pt idx="2">
                  <c:v>Maryland</c:v>
                </c:pt>
                <c:pt idx="4">
                  <c:v>Connecticut</c:v>
                </c:pt>
                <c:pt idx="6">
                  <c:v>North Carolina</c:v>
                </c:pt>
                <c:pt idx="8">
                  <c:v>Virginia</c:v>
                </c:pt>
                <c:pt idx="10">
                  <c:v>Massachusetts</c:v>
                </c:pt>
                <c:pt idx="12">
                  <c:v>New Jersey</c:v>
                </c:pt>
                <c:pt idx="14">
                  <c:v>New York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498-4977-B1BB-F3632F6DA767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State Goal (MW)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406C8650-C6DB-854C-A5B5-6131F5D8400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9498-4977-B1BB-F3632F6DA76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045DD5AD-D64E-4242-BFB5-8A16C920F087}" type="VALUE">
                      <a:rPr lang="en-US" sz="600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9498-4977-B1BB-F3632F6DA767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515DA0AF-54EB-974E-B5D7-C2065FB9AB6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498-4977-B1BB-F3632F6DA7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bg1"/>
                    </a:solidFill>
                    <a:latin typeface="Orsted Sans" panose="00000500000000000000" pitchFamily="50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5"/>
                <c:pt idx="0">
                  <c:v>Rhode Island</c:v>
                </c:pt>
                <c:pt idx="2">
                  <c:v>Maryland</c:v>
                </c:pt>
                <c:pt idx="4">
                  <c:v>Connecticut</c:v>
                </c:pt>
                <c:pt idx="6">
                  <c:v>North Carolina</c:v>
                </c:pt>
                <c:pt idx="8">
                  <c:v>Virginia</c:v>
                </c:pt>
                <c:pt idx="10">
                  <c:v>Massachusetts</c:v>
                </c:pt>
                <c:pt idx="12">
                  <c:v>New Jersey</c:v>
                </c:pt>
                <c:pt idx="14">
                  <c:v>New York</c:v>
                </c:pt>
              </c:strCache>
            </c:strRef>
          </c:cat>
          <c:val>
            <c:numRef>
              <c:f>Sheet1!$C$2:$C$18</c:f>
              <c:numCache>
                <c:formatCode>General</c:formatCode>
                <c:ptCount val="17"/>
                <c:pt idx="1">
                  <c:v>600</c:v>
                </c:pt>
                <c:pt idx="3">
                  <c:v>1568</c:v>
                </c:pt>
                <c:pt idx="5">
                  <c:v>2304</c:v>
                </c:pt>
                <c:pt idx="7">
                  <c:v>2800</c:v>
                </c:pt>
                <c:pt idx="9">
                  <c:v>5200</c:v>
                </c:pt>
                <c:pt idx="11">
                  <c:v>5600</c:v>
                </c:pt>
                <c:pt idx="13">
                  <c:v>7500</c:v>
                </c:pt>
                <c:pt idx="15">
                  <c:v>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98-4977-B1BB-F3632F6DA76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100"/>
        <c:axId val="1712619055"/>
        <c:axId val="1465515071"/>
      </c:barChart>
      <c:catAx>
        <c:axId val="17126190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65515071"/>
        <c:crosses val="autoZero"/>
        <c:auto val="1"/>
        <c:lblAlgn val="ctr"/>
        <c:lblOffset val="100"/>
        <c:noMultiLvlLbl val="0"/>
      </c:catAx>
      <c:valAx>
        <c:axId val="1465515071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126190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12 September 2022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12 September 2022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4146583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3815584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672454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94467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07756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25897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25897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 err="1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ustry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0B8A5E7-A5B5-41A7-A8C0-857547471C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972"/>
          <a:stretch/>
        </p:blipFill>
        <p:spPr>
          <a:xfrm>
            <a:off x="1" y="0"/>
            <a:ext cx="4572000" cy="51435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A7EC7F98-F334-44F8-96A2-BE241FA4B522}" type="datetime4">
              <a:rPr lang="en-GB" smtClean="0"/>
              <a:t>12 September 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r>
              <a:rPr lang="en-GB"/>
              <a:t>as of June 2022</a:t>
            </a: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BA85BD0-B2BF-4BE5-85AE-5766641081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4800" y="1029600"/>
            <a:ext cx="3967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874168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 err="1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4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7.xml"/><Relationship Id="rId47" Type="http://schemas.openxmlformats.org/officeDocument/2006/relationships/tags" Target="../tags/tag12.xml"/><Relationship Id="rId50" Type="http://schemas.openxmlformats.org/officeDocument/2006/relationships/tags" Target="../tags/tag15.xml"/><Relationship Id="rId55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tags" Target="../tags/tag5.xml"/><Relationship Id="rId45" Type="http://schemas.openxmlformats.org/officeDocument/2006/relationships/tags" Target="../tags/tag10.xml"/><Relationship Id="rId53" Type="http://schemas.openxmlformats.org/officeDocument/2006/relationships/tags" Target="../tags/tag18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8.xml"/><Relationship Id="rId48" Type="http://schemas.openxmlformats.org/officeDocument/2006/relationships/tags" Target="../tags/tag13.xml"/><Relationship Id="rId56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Relationship Id="rId46" Type="http://schemas.openxmlformats.org/officeDocument/2006/relationships/tags" Target="../tags/tag11.xml"/><Relationship Id="rId59" Type="http://schemas.openxmlformats.org/officeDocument/2006/relationships/image" Target="../media/image2.sv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6.xml"/><Relationship Id="rId54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49" Type="http://schemas.openxmlformats.org/officeDocument/2006/relationships/tags" Target="../tags/tag14.xml"/><Relationship Id="rId57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9.xml"/><Relationship Id="rId52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786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9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  <p:sldLayoutId id="2147483773" r:id="rId35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rstedprocurement.com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31.xml"/><Relationship Id="rId5" Type="http://schemas.openxmlformats.org/officeDocument/2006/relationships/chart" Target="../charts/chart1.xml"/><Relationship Id="rId4" Type="http://schemas.openxmlformats.org/officeDocument/2006/relationships/image" Target="../media/image3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4.xml"/><Relationship Id="rId7" Type="http://schemas.openxmlformats.org/officeDocument/2006/relationships/oleObject" Target="../embeddings/oleObject6.bin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5.bin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34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8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0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4467" y="1329750"/>
            <a:ext cx="5967413" cy="1242000"/>
          </a:xfrm>
        </p:spPr>
        <p:txBody>
          <a:bodyPr/>
          <a:lstStyle/>
          <a:p>
            <a:r>
              <a:rPr lang="en-GB" dirty="0"/>
              <a:t>Skipjack Wind</a:t>
            </a:r>
            <a:br>
              <a:rPr lang="en-GB" dirty="0"/>
            </a:br>
            <a:br>
              <a:rPr lang="en-GB" dirty="0"/>
            </a:br>
            <a:r>
              <a:rPr lang="en-GB" sz="3200" b="0" dirty="0"/>
              <a:t>September 202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55292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0B1AEE-6361-42A6-B36A-D855A0D9F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Orsted Sans" panose="00000500000000000000" pitchFamily="50" charset="0"/>
              </a:rPr>
              <a:t>Register in the new Ørsted Procurement Porta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2C2393-198C-40AA-A02A-A768CCAB92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999" y="1029600"/>
            <a:ext cx="3766621" cy="3420000"/>
          </a:xfrm>
        </p:spPr>
        <p:txBody>
          <a:bodyPr/>
          <a:lstStyle/>
          <a:p>
            <a:r>
              <a:rPr lang="en-GB" dirty="0">
                <a:latin typeface="Orsted Sans" panose="00000500000000000000" pitchFamily="50" charset="0"/>
              </a:rPr>
              <a:t>Please register your company and contact details at </a:t>
            </a:r>
            <a:r>
              <a:rPr lang="en-GB" dirty="0">
                <a:latin typeface="Orsted Sans" panose="00000500000000000000" pitchFamily="50" charset="0"/>
                <a:hlinkClick r:id="rId3"/>
              </a:rPr>
              <a:t>www.orstedprocurement.com</a:t>
            </a:r>
            <a:r>
              <a:rPr lang="en-GB" dirty="0">
                <a:latin typeface="Orsted Sans" panose="00000500000000000000" pitchFamily="50" charset="0"/>
              </a:rPr>
              <a:t>. </a:t>
            </a:r>
          </a:p>
          <a:p>
            <a:r>
              <a:rPr lang="en-GB" dirty="0">
                <a:latin typeface="Orsted Sans" panose="00000500000000000000" pitchFamily="50" charset="0"/>
              </a:rPr>
              <a:t>Registration does NOT mean suppliers are approved/qualified to participate in tenders.</a:t>
            </a:r>
          </a:p>
          <a:p>
            <a:r>
              <a:rPr lang="en-GB" dirty="0">
                <a:latin typeface="Orsted Sans" panose="00000500000000000000" pitchFamily="50" charset="0"/>
              </a:rPr>
              <a:t>Upon registration, suppliers will become visible for sourcing managers via the database.</a:t>
            </a:r>
          </a:p>
          <a:p>
            <a:pPr marL="0" indent="0">
              <a:buNone/>
            </a:pPr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endParaRPr lang="en-GB" dirty="0">
              <a:latin typeface="Orsted Sans" panose="00000500000000000000" pitchFamily="50" charset="0"/>
            </a:endParaRPr>
          </a:p>
          <a:p>
            <a:pPr marL="0" indent="0">
              <a:buNone/>
            </a:pPr>
            <a:r>
              <a:rPr lang="en-GB" b="1" dirty="0">
                <a:latin typeface="Orsted Sans" panose="00000500000000000000" pitchFamily="50" charset="0"/>
              </a:rPr>
              <a:t>Supplier support found at the bottom of the front page  </a:t>
            </a:r>
            <a:r>
              <a:rPr lang="en-GB" b="1" dirty="0">
                <a:latin typeface="Orsted Sans" panose="00000500000000000000" pitchFamily="50" charset="0"/>
                <a:sym typeface="Wingdings" panose="05000000000000000000" pitchFamily="2" charset="2"/>
              </a:rPr>
              <a:t></a:t>
            </a:r>
            <a:endParaRPr lang="en-GB" dirty="0">
              <a:latin typeface="Orsted Sans" panose="00000500000000000000" pitchFamily="50" charset="0"/>
            </a:endParaRPr>
          </a:p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3DFC92-7BCE-47C4-A6B5-54F4F13AE03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16606" y="837905"/>
            <a:ext cx="4527394" cy="3713389"/>
          </a:xfrm>
          <a:prstGeom prst="rect">
            <a:avLst/>
          </a:prstGeom>
        </p:spPr>
      </p:pic>
      <p:sp>
        <p:nvSpPr>
          <p:cNvPr id="8" name="Rounded Rectangle 10">
            <a:extLst>
              <a:ext uri="{FF2B5EF4-FFF2-40B4-BE49-F238E27FC236}">
                <a16:creationId xmlns:a16="http://schemas.microsoft.com/office/drawing/2014/main" id="{92D1275B-4175-44BD-847F-25CDBDF76E0C}"/>
              </a:ext>
            </a:extLst>
          </p:cNvPr>
          <p:cNvSpPr/>
          <p:nvPr/>
        </p:nvSpPr>
        <p:spPr>
          <a:xfrm>
            <a:off x="4607462" y="3712464"/>
            <a:ext cx="4390234" cy="923544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US" sz="1300" noProof="0"/>
          </a:p>
        </p:txBody>
      </p:sp>
    </p:spTree>
    <p:extLst>
      <p:ext uri="{BB962C8B-B14F-4D97-AF65-F5344CB8AC3E}">
        <p14:creationId xmlns:p14="http://schemas.microsoft.com/office/powerpoint/2010/main" val="404041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A293100-11D8-4A69-A749-B07ADA406E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A293100-11D8-4A69-A749-B07ADA40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7F61C1B0-C909-4134-9713-8BF533F4F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Offshore wind market on the East Coast</a:t>
            </a:r>
            <a:br>
              <a:rPr lang="en-US" dirty="0"/>
            </a:br>
            <a:r>
              <a:rPr lang="en-US" b="0" dirty="0"/>
              <a:t>~35 GW of state targets with +17 GW procured</a:t>
            </a:r>
            <a:endParaRPr lang="en-GB" b="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EDA4C96-31FD-4103-9B5D-FE00DCC6DB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003596" y="4561200"/>
            <a:ext cx="3996000" cy="367200"/>
          </a:xfrm>
        </p:spPr>
        <p:txBody>
          <a:bodyPr/>
          <a:lstStyle/>
          <a:p>
            <a:r>
              <a:rPr lang="en-GB" dirty="0"/>
              <a:t>*OCW01 is a 75/25 JV with PSEG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AB95AFA-BA45-4A0B-BEE6-890744B3F0FD}"/>
              </a:ext>
            </a:extLst>
          </p:cNvPr>
          <p:cNvGrpSpPr/>
          <p:nvPr/>
        </p:nvGrpSpPr>
        <p:grpSpPr>
          <a:xfrm>
            <a:off x="6284763" y="1226469"/>
            <a:ext cx="2126208" cy="438329"/>
            <a:chOff x="7410222" y="1226469"/>
            <a:chExt cx="1589091" cy="438329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4B131B26-37F1-4F52-AC9D-9D554FA8C224}"/>
                </a:ext>
              </a:extLst>
            </p:cNvPr>
            <p:cNvSpPr/>
            <p:nvPr/>
          </p:nvSpPr>
          <p:spPr>
            <a:xfrm>
              <a:off x="7654570" y="1470129"/>
              <a:ext cx="1287200" cy="19466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lvl="0" defTabSz="685804">
                <a:lnSpc>
                  <a:spcPct val="95000"/>
                </a:lnSpc>
              </a:pPr>
              <a:r>
                <a:rPr lang="en-GB" sz="700" b="1">
                  <a:solidFill>
                    <a:srgbClr val="3B4956"/>
                  </a:solidFill>
                  <a:latin typeface="Orsted Sans Office" panose="00000500000000000000" pitchFamily="2" charset="0"/>
                </a:rPr>
                <a:t>State procured </a:t>
              </a:r>
              <a:r>
                <a:rPr lang="en-GB" sz="700">
                  <a:solidFill>
                    <a:srgbClr val="3B4956"/>
                  </a:solidFill>
                  <a:latin typeface="Orsted Sans Office" panose="00000500000000000000" pitchFamily="2" charset="0"/>
                </a:rPr>
                <a:t>(MW)</a:t>
              </a:r>
              <a:endParaRPr lang="en-GB" sz="700" b="1">
                <a:solidFill>
                  <a:srgbClr val="3B4956"/>
                </a:solidFill>
                <a:latin typeface="Orsted Sans Office" panose="00000500000000000000" pitchFamily="2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3508597C-53B1-4FB5-AE20-DAD871978786}"/>
                </a:ext>
              </a:extLst>
            </p:cNvPr>
            <p:cNvSpPr/>
            <p:nvPr/>
          </p:nvSpPr>
          <p:spPr>
            <a:xfrm>
              <a:off x="7654570" y="1226469"/>
              <a:ext cx="1344743" cy="19466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lvl="0" defTabSz="685804">
                <a:lnSpc>
                  <a:spcPct val="95000"/>
                </a:lnSpc>
              </a:pPr>
              <a:r>
                <a:rPr lang="en-GB" sz="700" b="1" dirty="0">
                  <a:solidFill>
                    <a:srgbClr val="3B4956"/>
                  </a:solidFill>
                  <a:latin typeface="Orsted Sans Office" panose="00000500000000000000" pitchFamily="2" charset="0"/>
                </a:rPr>
                <a:t>Current/proposed OSW target </a:t>
              </a:r>
              <a:r>
                <a:rPr lang="en-GB" sz="700" dirty="0">
                  <a:solidFill>
                    <a:srgbClr val="3B4956"/>
                  </a:solidFill>
                  <a:latin typeface="Orsted Sans Office" panose="00000500000000000000" pitchFamily="2" charset="0"/>
                </a:rPr>
                <a:t>(MW)</a:t>
              </a:r>
              <a:endParaRPr lang="en-GB" sz="700" b="1" dirty="0">
                <a:solidFill>
                  <a:srgbClr val="3B4956"/>
                </a:solidFill>
                <a:latin typeface="Orsted Sans Office" panose="00000500000000000000" pitchFamily="2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2606D1-7AC7-45A4-BAB3-7474EC145CDA}"/>
                </a:ext>
              </a:extLst>
            </p:cNvPr>
            <p:cNvSpPr/>
            <p:nvPr/>
          </p:nvSpPr>
          <p:spPr>
            <a:xfrm>
              <a:off x="7410222" y="1499128"/>
              <a:ext cx="231730" cy="1196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US" sz="1300" noProof="0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919CF93-51D2-4156-8F9A-500498B03FF9}"/>
                </a:ext>
              </a:extLst>
            </p:cNvPr>
            <p:cNvSpPr/>
            <p:nvPr/>
          </p:nvSpPr>
          <p:spPr>
            <a:xfrm>
              <a:off x="7413997" y="1258213"/>
              <a:ext cx="231730" cy="11966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6000"/>
                </a:lnSpc>
              </a:pPr>
              <a:endParaRPr lang="en-US" sz="1300" noProof="0"/>
            </a:p>
          </p:txBody>
        </p:sp>
      </p:grpSp>
      <p:sp>
        <p:nvSpPr>
          <p:cNvPr id="43" name="TextBox 56">
            <a:extLst>
              <a:ext uri="{FF2B5EF4-FFF2-40B4-BE49-F238E27FC236}">
                <a16:creationId xmlns:a16="http://schemas.microsoft.com/office/drawing/2014/main" id="{C9F8B8C3-8293-4BEF-B3F6-85699319D672}"/>
              </a:ext>
            </a:extLst>
          </p:cNvPr>
          <p:cNvSpPr txBox="1"/>
          <p:nvPr/>
        </p:nvSpPr>
        <p:spPr>
          <a:xfrm>
            <a:off x="6224667" y="4161235"/>
            <a:ext cx="387034" cy="1181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6000"/>
              </a:lnSpc>
              <a:spcBef>
                <a:spcPts val="1800"/>
              </a:spcBef>
            </a:pPr>
            <a:r>
              <a:rPr lang="en-GB" sz="800" dirty="0">
                <a:solidFill>
                  <a:schemeClr val="tx2"/>
                </a:solidFill>
                <a:latin typeface="Orsted Sans" panose="00000500000000000000" pitchFamily="50" charset="0"/>
              </a:rPr>
              <a:t>VA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C312DF4-3FB6-4083-8C7D-11855A515446}"/>
              </a:ext>
            </a:extLst>
          </p:cNvPr>
          <p:cNvGrpSpPr/>
          <p:nvPr/>
        </p:nvGrpSpPr>
        <p:grpSpPr>
          <a:xfrm>
            <a:off x="3362973" y="1258213"/>
            <a:ext cx="5843580" cy="3021196"/>
            <a:chOff x="342900" y="585433"/>
            <a:chExt cx="8936554" cy="3768805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9D6CDCC-04A7-43FF-8C2A-CE3CB6EDCE03}"/>
                </a:ext>
              </a:extLst>
            </p:cNvPr>
            <p:cNvGrpSpPr/>
            <p:nvPr/>
          </p:nvGrpSpPr>
          <p:grpSpPr>
            <a:xfrm>
              <a:off x="342900" y="585433"/>
              <a:ext cx="8936554" cy="3768805"/>
              <a:chOff x="4140043" y="722659"/>
              <a:chExt cx="4614715" cy="3768805"/>
            </a:xfrm>
          </p:grpSpPr>
          <p:graphicFrame>
            <p:nvGraphicFramePr>
              <p:cNvPr id="53" name="Chart 52">
                <a:extLst>
                  <a:ext uri="{FF2B5EF4-FFF2-40B4-BE49-F238E27FC236}">
                    <a16:creationId xmlns:a16="http://schemas.microsoft.com/office/drawing/2014/main" id="{1FFAB1D3-C51D-42E2-BEB7-F552B96E2D82}"/>
                  </a:ext>
                </a:extLst>
              </p:cNvPr>
              <p:cNvGraphicFramePr/>
              <p:nvPr/>
            </p:nvGraphicFramePr>
            <p:xfrm>
              <a:off x="4186052" y="722659"/>
              <a:ext cx="4568706" cy="356589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C654B783-6F73-4365-AE40-12B7D3FE0817}"/>
                  </a:ext>
                </a:extLst>
              </p:cNvPr>
              <p:cNvGrpSpPr/>
              <p:nvPr/>
            </p:nvGrpSpPr>
            <p:grpSpPr>
              <a:xfrm>
                <a:off x="4140043" y="4289957"/>
                <a:ext cx="4306561" cy="201507"/>
                <a:chOff x="4140043" y="4289957"/>
                <a:chExt cx="4306561" cy="201507"/>
              </a:xfrm>
            </p:grpSpPr>
            <p:sp>
              <p:nvSpPr>
                <p:cNvPr id="55" name="TextBox 50">
                  <a:extLst>
                    <a:ext uri="{FF2B5EF4-FFF2-40B4-BE49-F238E27FC236}">
                      <a16:creationId xmlns:a16="http://schemas.microsoft.com/office/drawing/2014/main" id="{5C861A16-DA72-48C4-AD9E-683DCF18D1F8}"/>
                    </a:ext>
                  </a:extLst>
                </p:cNvPr>
                <p:cNvSpPr txBox="1"/>
                <p:nvPr/>
              </p:nvSpPr>
              <p:spPr>
                <a:xfrm>
                  <a:off x="5362240" y="4340411"/>
                  <a:ext cx="305643" cy="11817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96000"/>
                    </a:lnSpc>
                    <a:spcBef>
                      <a:spcPts val="1800"/>
                    </a:spcBef>
                  </a:pPr>
                  <a:r>
                    <a:rPr lang="en-GB" sz="800">
                      <a:solidFill>
                        <a:schemeClr val="tx2"/>
                      </a:solidFill>
                      <a:latin typeface="Orsted Sans" panose="00000500000000000000" pitchFamily="50" charset="0"/>
                    </a:rPr>
                    <a:t>CT</a:t>
                  </a:r>
                </a:p>
              </p:txBody>
            </p:sp>
            <p:sp>
              <p:nvSpPr>
                <p:cNvPr id="56" name="TextBox 51">
                  <a:extLst>
                    <a:ext uri="{FF2B5EF4-FFF2-40B4-BE49-F238E27FC236}">
                      <a16:creationId xmlns:a16="http://schemas.microsoft.com/office/drawing/2014/main" id="{F3ADB764-D3E7-4C3E-A30A-DCE43CB8F61D}"/>
                    </a:ext>
                  </a:extLst>
                </p:cNvPr>
                <p:cNvSpPr txBox="1"/>
                <p:nvPr/>
              </p:nvSpPr>
              <p:spPr>
                <a:xfrm>
                  <a:off x="6924390" y="4340413"/>
                  <a:ext cx="305643" cy="14741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96000"/>
                    </a:lnSpc>
                    <a:spcBef>
                      <a:spcPts val="1800"/>
                    </a:spcBef>
                  </a:pPr>
                  <a:r>
                    <a:rPr lang="en-GB" sz="800">
                      <a:solidFill>
                        <a:schemeClr val="tx2"/>
                      </a:solidFill>
                      <a:latin typeface="Orsted Sans" panose="00000500000000000000" pitchFamily="50" charset="0"/>
                    </a:rPr>
                    <a:t>MA</a:t>
                  </a:r>
                </a:p>
              </p:txBody>
            </p: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C2E70346-5025-4DE4-A6E9-BF304215D279}"/>
                    </a:ext>
                  </a:extLst>
                </p:cNvPr>
                <p:cNvSpPr txBox="1"/>
                <p:nvPr/>
              </p:nvSpPr>
              <p:spPr>
                <a:xfrm>
                  <a:off x="5867026" y="4344048"/>
                  <a:ext cx="305643" cy="14741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96000"/>
                    </a:lnSpc>
                    <a:spcBef>
                      <a:spcPts val="1800"/>
                    </a:spcBef>
                  </a:pPr>
                  <a:r>
                    <a:rPr lang="en-GB" sz="800" dirty="0">
                      <a:solidFill>
                        <a:schemeClr val="tx2"/>
                      </a:solidFill>
                      <a:latin typeface="Orsted Sans" panose="00000500000000000000" pitchFamily="50" charset="0"/>
                    </a:rPr>
                    <a:t>NC</a:t>
                  </a:r>
                </a:p>
              </p:txBody>
            </p:sp>
            <p:sp>
              <p:nvSpPr>
                <p:cNvPr id="58" name="TextBox 73">
                  <a:extLst>
                    <a:ext uri="{FF2B5EF4-FFF2-40B4-BE49-F238E27FC236}">
                      <a16:creationId xmlns:a16="http://schemas.microsoft.com/office/drawing/2014/main" id="{0A6C30B9-FE2A-4D39-99DD-0FDEFD620812}"/>
                    </a:ext>
                  </a:extLst>
                </p:cNvPr>
                <p:cNvSpPr txBox="1"/>
                <p:nvPr/>
              </p:nvSpPr>
              <p:spPr>
                <a:xfrm>
                  <a:off x="8010569" y="4349843"/>
                  <a:ext cx="305643" cy="11817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96000"/>
                    </a:lnSpc>
                    <a:spcBef>
                      <a:spcPts val="1800"/>
                    </a:spcBef>
                  </a:pPr>
                  <a:r>
                    <a:rPr lang="en-GB" sz="800" dirty="0">
                      <a:solidFill>
                        <a:schemeClr val="tx2"/>
                      </a:solidFill>
                      <a:latin typeface="Orsted Sans" panose="00000500000000000000" pitchFamily="50" charset="0"/>
                    </a:rPr>
                    <a:t>NY</a:t>
                  </a:r>
                </a:p>
              </p:txBody>
            </p:sp>
            <p:sp>
              <p:nvSpPr>
                <p:cNvPr id="59" name="TextBox 73">
                  <a:extLst>
                    <a:ext uri="{FF2B5EF4-FFF2-40B4-BE49-F238E27FC236}">
                      <a16:creationId xmlns:a16="http://schemas.microsoft.com/office/drawing/2014/main" id="{837E9E0E-7C27-4C67-A80B-C22FE02F4E95}"/>
                    </a:ext>
                  </a:extLst>
                </p:cNvPr>
                <p:cNvSpPr txBox="1"/>
                <p:nvPr/>
              </p:nvSpPr>
              <p:spPr>
                <a:xfrm>
                  <a:off x="4833558" y="4340413"/>
                  <a:ext cx="305643" cy="11817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96000"/>
                    </a:lnSpc>
                    <a:spcBef>
                      <a:spcPts val="1800"/>
                    </a:spcBef>
                  </a:pPr>
                  <a:r>
                    <a:rPr lang="en-GB" sz="800">
                      <a:solidFill>
                        <a:schemeClr val="tx2"/>
                      </a:solidFill>
                      <a:latin typeface="Orsted Sans" panose="00000500000000000000" pitchFamily="50" charset="0"/>
                    </a:rPr>
                    <a:t>MD</a:t>
                  </a:r>
                </a:p>
              </p:txBody>
            </p: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02CF762F-7714-46BB-8CD4-D43670851BF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40043" y="4289957"/>
                  <a:ext cx="4306561" cy="0"/>
                </a:xfrm>
                <a:prstGeom prst="line">
                  <a:avLst/>
                </a:prstGeom>
                <a:ln w="63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TextBox 73">
                  <a:extLst>
                    <a:ext uri="{FF2B5EF4-FFF2-40B4-BE49-F238E27FC236}">
                      <a16:creationId xmlns:a16="http://schemas.microsoft.com/office/drawing/2014/main" id="{F4FA061B-5F98-46A7-BEF4-222C5C44B32C}"/>
                    </a:ext>
                  </a:extLst>
                </p:cNvPr>
                <p:cNvSpPr txBox="1"/>
                <p:nvPr/>
              </p:nvSpPr>
              <p:spPr>
                <a:xfrm>
                  <a:off x="4304876" y="4341876"/>
                  <a:ext cx="305643" cy="11817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96000"/>
                    </a:lnSpc>
                    <a:spcBef>
                      <a:spcPts val="1800"/>
                    </a:spcBef>
                  </a:pPr>
                  <a:r>
                    <a:rPr lang="en-GB" sz="800">
                      <a:solidFill>
                        <a:schemeClr val="tx2"/>
                      </a:solidFill>
                      <a:latin typeface="Orsted Sans" panose="00000500000000000000" pitchFamily="50" charset="0"/>
                    </a:rPr>
                    <a:t>RI</a:t>
                  </a:r>
                </a:p>
              </p:txBody>
            </p:sp>
            <p:sp>
              <p:nvSpPr>
                <p:cNvPr id="62" name="TextBox 56">
                  <a:extLst>
                    <a:ext uri="{FF2B5EF4-FFF2-40B4-BE49-F238E27FC236}">
                      <a16:creationId xmlns:a16="http://schemas.microsoft.com/office/drawing/2014/main" id="{F237E58E-AD67-4CC1-9BDE-55901FAD5842}"/>
                    </a:ext>
                  </a:extLst>
                </p:cNvPr>
                <p:cNvSpPr txBox="1"/>
                <p:nvPr/>
              </p:nvSpPr>
              <p:spPr>
                <a:xfrm>
                  <a:off x="7467479" y="4340411"/>
                  <a:ext cx="305643" cy="11817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96000"/>
                    </a:lnSpc>
                    <a:spcBef>
                      <a:spcPts val="1800"/>
                    </a:spcBef>
                  </a:pPr>
                  <a:r>
                    <a:rPr lang="en-GB" sz="800">
                      <a:solidFill>
                        <a:schemeClr val="tx2"/>
                      </a:solidFill>
                      <a:latin typeface="Orsted Sans" panose="00000500000000000000" pitchFamily="50" charset="0"/>
                    </a:rPr>
                    <a:t>NJ</a:t>
                  </a:r>
                </a:p>
              </p:txBody>
            </p:sp>
          </p:grp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8D298784-12C3-4689-89C8-24DEFB55A61D}"/>
                </a:ext>
              </a:extLst>
            </p:cNvPr>
            <p:cNvGrpSpPr/>
            <p:nvPr/>
          </p:nvGrpSpPr>
          <p:grpSpPr>
            <a:xfrm>
              <a:off x="1489971" y="2445704"/>
              <a:ext cx="5081131" cy="1705618"/>
              <a:chOff x="1489971" y="2258273"/>
              <a:chExt cx="5081131" cy="1893050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A66C558-BDA1-4EF7-8B83-E8A36A9AF6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89971" y="2258273"/>
                <a:ext cx="0" cy="1893050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748466E-E66A-4C6D-AADF-6C6AC34DF4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504799" y="2258274"/>
                <a:ext cx="0" cy="1893049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9DBC68C-84A2-4C2D-9741-E1C2821739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13725" y="2258274"/>
                <a:ext cx="0" cy="1893049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53FE3F6-D833-4B2B-B06C-457B494C66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59681" y="2258274"/>
                <a:ext cx="0" cy="1893049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95D776D-970A-4DA2-89AA-AEEA1CB699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62746" y="2258274"/>
                <a:ext cx="0" cy="1893049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322F3947-F238-47EE-9D1E-7A89697880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1102" y="2258274"/>
                <a:ext cx="0" cy="1890808"/>
              </a:xfrm>
              <a:prstGeom prst="line">
                <a:avLst/>
              </a:prstGeom>
              <a:ln>
                <a:solidFill>
                  <a:schemeClr val="accent6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EA83BE-4B8A-4E78-859C-99506118BD75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r>
              <a:rPr lang="en-GB"/>
              <a:t>as of June 202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5127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75488C-23AD-4C89-8E1C-498709B907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275488C-23AD-4C89-8E1C-498709B90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2FBFDF-75DA-4B50-A5EB-A8AC761C3E2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dirty="0"/>
              <a:t>*direct and indirect vendors</a:t>
            </a:r>
          </a:p>
        </p:txBody>
      </p:sp>
      <p:grpSp>
        <p:nvGrpSpPr>
          <p:cNvPr id="1111" name="Graphic 231">
            <a:extLst>
              <a:ext uri="{FF2B5EF4-FFF2-40B4-BE49-F238E27FC236}">
                <a16:creationId xmlns:a16="http://schemas.microsoft.com/office/drawing/2014/main" id="{0B9E1786-FBDA-4E58-AE06-153634E766E8}"/>
              </a:ext>
            </a:extLst>
          </p:cNvPr>
          <p:cNvGrpSpPr/>
          <p:nvPr/>
        </p:nvGrpSpPr>
        <p:grpSpPr>
          <a:xfrm>
            <a:off x="15498" y="-5272"/>
            <a:ext cx="9161276" cy="5148772"/>
            <a:chOff x="-2854273" y="-455218"/>
            <a:chExt cx="9161276" cy="5148772"/>
          </a:xfrm>
        </p:grpSpPr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05A821BC-685C-491D-AE5C-C86C5CDFD7BE}"/>
                </a:ext>
              </a:extLst>
            </p:cNvPr>
            <p:cNvSpPr/>
            <p:nvPr/>
          </p:nvSpPr>
          <p:spPr>
            <a:xfrm>
              <a:off x="3148485" y="-453627"/>
              <a:ext cx="342376" cy="6466"/>
            </a:xfrm>
            <a:custGeom>
              <a:avLst/>
              <a:gdLst>
                <a:gd name="connsiteX0" fmla="*/ 332114 w 342376"/>
                <a:gd name="connsiteY0" fmla="*/ 1094 h 6466"/>
                <a:gd name="connsiteX1" fmla="*/ 328925 w 342376"/>
                <a:gd name="connsiteY1" fmla="*/ 2189 h 6466"/>
                <a:gd name="connsiteX2" fmla="*/ 320555 w 342376"/>
                <a:gd name="connsiteY2" fmla="*/ 2288 h 6466"/>
                <a:gd name="connsiteX3" fmla="*/ 320555 w 342376"/>
                <a:gd name="connsiteY3" fmla="*/ 995 h 6466"/>
                <a:gd name="connsiteX4" fmla="*/ 323545 w 342376"/>
                <a:gd name="connsiteY4" fmla="*/ 497 h 6466"/>
                <a:gd name="connsiteX5" fmla="*/ 324341 w 342376"/>
                <a:gd name="connsiteY5" fmla="*/ 0 h 6466"/>
                <a:gd name="connsiteX6" fmla="*/ 1794 w 342376"/>
                <a:gd name="connsiteY6" fmla="*/ 0 h 6466"/>
                <a:gd name="connsiteX7" fmla="*/ 0 w 342376"/>
                <a:gd name="connsiteY7" fmla="*/ 6467 h 6466"/>
                <a:gd name="connsiteX8" fmla="*/ 342377 w 342376"/>
                <a:gd name="connsiteY8" fmla="*/ 6467 h 6466"/>
                <a:gd name="connsiteX9" fmla="*/ 342377 w 342376"/>
                <a:gd name="connsiteY9" fmla="*/ 5770 h 6466"/>
                <a:gd name="connsiteX10" fmla="*/ 330021 w 342376"/>
                <a:gd name="connsiteY10" fmla="*/ 5770 h 6466"/>
                <a:gd name="connsiteX11" fmla="*/ 334705 w 342376"/>
                <a:gd name="connsiteY11" fmla="*/ 4079 h 6466"/>
                <a:gd name="connsiteX12" fmla="*/ 335402 w 342376"/>
                <a:gd name="connsiteY12" fmla="*/ 2786 h 6466"/>
                <a:gd name="connsiteX13" fmla="*/ 335003 w 342376"/>
                <a:gd name="connsiteY13" fmla="*/ 796 h 6466"/>
                <a:gd name="connsiteX14" fmla="*/ 334505 w 342376"/>
                <a:gd name="connsiteY14" fmla="*/ 0 h 6466"/>
                <a:gd name="connsiteX15" fmla="*/ 331616 w 342376"/>
                <a:gd name="connsiteY15" fmla="*/ 0 h 6466"/>
                <a:gd name="connsiteX16" fmla="*/ 332114 w 342376"/>
                <a:gd name="connsiteY16" fmla="*/ 1094 h 6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2376" h="6466">
                  <a:moveTo>
                    <a:pt x="332114" y="1094"/>
                  </a:moveTo>
                  <a:lnTo>
                    <a:pt x="328925" y="2189"/>
                  </a:lnTo>
                  <a:lnTo>
                    <a:pt x="320555" y="2288"/>
                  </a:lnTo>
                  <a:lnTo>
                    <a:pt x="320555" y="995"/>
                  </a:lnTo>
                  <a:lnTo>
                    <a:pt x="323545" y="497"/>
                  </a:lnTo>
                  <a:lnTo>
                    <a:pt x="324341" y="0"/>
                  </a:lnTo>
                  <a:lnTo>
                    <a:pt x="1794" y="0"/>
                  </a:lnTo>
                  <a:lnTo>
                    <a:pt x="0" y="6467"/>
                  </a:lnTo>
                  <a:lnTo>
                    <a:pt x="342377" y="6467"/>
                  </a:lnTo>
                  <a:lnTo>
                    <a:pt x="342377" y="5770"/>
                  </a:lnTo>
                  <a:lnTo>
                    <a:pt x="330021" y="5770"/>
                  </a:lnTo>
                  <a:lnTo>
                    <a:pt x="334705" y="4079"/>
                  </a:lnTo>
                  <a:lnTo>
                    <a:pt x="335402" y="2786"/>
                  </a:lnTo>
                  <a:lnTo>
                    <a:pt x="335003" y="796"/>
                  </a:lnTo>
                  <a:lnTo>
                    <a:pt x="334505" y="0"/>
                  </a:lnTo>
                  <a:lnTo>
                    <a:pt x="331616" y="0"/>
                  </a:lnTo>
                  <a:lnTo>
                    <a:pt x="332114" y="1094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3" name="Freeform: Shape 1112">
              <a:extLst>
                <a:ext uri="{FF2B5EF4-FFF2-40B4-BE49-F238E27FC236}">
                  <a16:creationId xmlns:a16="http://schemas.microsoft.com/office/drawing/2014/main" id="{A4EEBE11-ABFD-4866-808A-B437A1EFA870}"/>
                </a:ext>
              </a:extLst>
            </p:cNvPr>
            <p:cNvSpPr/>
            <p:nvPr/>
          </p:nvSpPr>
          <p:spPr>
            <a:xfrm>
              <a:off x="2891204" y="4579441"/>
              <a:ext cx="517053" cy="114112"/>
            </a:xfrm>
            <a:custGeom>
              <a:avLst/>
              <a:gdLst>
                <a:gd name="connsiteX0" fmla="*/ 509580 w 517053"/>
                <a:gd name="connsiteY0" fmla="*/ 107247 h 114112"/>
                <a:gd name="connsiteX1" fmla="*/ 495829 w 517053"/>
                <a:gd name="connsiteY1" fmla="*/ 92424 h 114112"/>
                <a:gd name="connsiteX2" fmla="*/ 495829 w 517053"/>
                <a:gd name="connsiteY2" fmla="*/ 91827 h 114112"/>
                <a:gd name="connsiteX3" fmla="*/ 495829 w 517053"/>
                <a:gd name="connsiteY3" fmla="*/ 90534 h 114112"/>
                <a:gd name="connsiteX4" fmla="*/ 495829 w 517053"/>
                <a:gd name="connsiteY4" fmla="*/ 89738 h 114112"/>
                <a:gd name="connsiteX5" fmla="*/ 495231 w 517053"/>
                <a:gd name="connsiteY5" fmla="*/ 89738 h 114112"/>
                <a:gd name="connsiteX6" fmla="*/ 493736 w 517053"/>
                <a:gd name="connsiteY6" fmla="*/ 89738 h 114112"/>
                <a:gd name="connsiteX7" fmla="*/ 493736 w 517053"/>
                <a:gd name="connsiteY7" fmla="*/ 89738 h 114112"/>
                <a:gd name="connsiteX8" fmla="*/ 492342 w 517053"/>
                <a:gd name="connsiteY8" fmla="*/ 88544 h 114112"/>
                <a:gd name="connsiteX9" fmla="*/ 492342 w 517053"/>
                <a:gd name="connsiteY9" fmla="*/ 87649 h 114112"/>
                <a:gd name="connsiteX10" fmla="*/ 492342 w 517053"/>
                <a:gd name="connsiteY10" fmla="*/ 86057 h 114112"/>
                <a:gd name="connsiteX11" fmla="*/ 494135 w 517053"/>
                <a:gd name="connsiteY11" fmla="*/ 86057 h 114112"/>
                <a:gd name="connsiteX12" fmla="*/ 496327 w 517053"/>
                <a:gd name="connsiteY12" fmla="*/ 86057 h 114112"/>
                <a:gd name="connsiteX13" fmla="*/ 498520 w 517053"/>
                <a:gd name="connsiteY13" fmla="*/ 85360 h 114112"/>
                <a:gd name="connsiteX14" fmla="*/ 500213 w 517053"/>
                <a:gd name="connsiteY14" fmla="*/ 83968 h 114112"/>
                <a:gd name="connsiteX15" fmla="*/ 498320 w 517053"/>
                <a:gd name="connsiteY15" fmla="*/ 83968 h 114112"/>
                <a:gd name="connsiteX16" fmla="*/ 497623 w 517053"/>
                <a:gd name="connsiteY16" fmla="*/ 83968 h 114112"/>
                <a:gd name="connsiteX17" fmla="*/ 497623 w 517053"/>
                <a:gd name="connsiteY17" fmla="*/ 82773 h 114112"/>
                <a:gd name="connsiteX18" fmla="*/ 498320 w 517053"/>
                <a:gd name="connsiteY18" fmla="*/ 81580 h 114112"/>
                <a:gd name="connsiteX19" fmla="*/ 498918 w 517053"/>
                <a:gd name="connsiteY19" fmla="*/ 80485 h 114112"/>
                <a:gd name="connsiteX20" fmla="*/ 498918 w 517053"/>
                <a:gd name="connsiteY20" fmla="*/ 80585 h 114112"/>
                <a:gd name="connsiteX21" fmla="*/ 497822 w 517053"/>
                <a:gd name="connsiteY21" fmla="*/ 80585 h 114112"/>
                <a:gd name="connsiteX22" fmla="*/ 496327 w 517053"/>
                <a:gd name="connsiteY22" fmla="*/ 80585 h 114112"/>
                <a:gd name="connsiteX23" fmla="*/ 495231 w 517053"/>
                <a:gd name="connsiteY23" fmla="*/ 80585 h 114112"/>
                <a:gd name="connsiteX24" fmla="*/ 495231 w 517053"/>
                <a:gd name="connsiteY24" fmla="*/ 78794 h 114112"/>
                <a:gd name="connsiteX25" fmla="*/ 492740 w 517053"/>
                <a:gd name="connsiteY25" fmla="*/ 78794 h 114112"/>
                <a:gd name="connsiteX26" fmla="*/ 491146 w 517053"/>
                <a:gd name="connsiteY26" fmla="*/ 77799 h 114112"/>
                <a:gd name="connsiteX27" fmla="*/ 491146 w 517053"/>
                <a:gd name="connsiteY27" fmla="*/ 76108 h 114112"/>
                <a:gd name="connsiteX28" fmla="*/ 493039 w 517053"/>
                <a:gd name="connsiteY28" fmla="*/ 74118 h 114112"/>
                <a:gd name="connsiteX29" fmla="*/ 489950 w 517053"/>
                <a:gd name="connsiteY29" fmla="*/ 72228 h 114112"/>
                <a:gd name="connsiteX30" fmla="*/ 488754 w 517053"/>
                <a:gd name="connsiteY30" fmla="*/ 71034 h 114112"/>
                <a:gd name="connsiteX31" fmla="*/ 487858 w 517053"/>
                <a:gd name="connsiteY31" fmla="*/ 69442 h 114112"/>
                <a:gd name="connsiteX32" fmla="*/ 486961 w 517053"/>
                <a:gd name="connsiteY32" fmla="*/ 70835 h 114112"/>
                <a:gd name="connsiteX33" fmla="*/ 485367 w 517053"/>
                <a:gd name="connsiteY33" fmla="*/ 70835 h 114112"/>
                <a:gd name="connsiteX34" fmla="*/ 483473 w 517053"/>
                <a:gd name="connsiteY34" fmla="*/ 70835 h 114112"/>
                <a:gd name="connsiteX35" fmla="*/ 481680 w 517053"/>
                <a:gd name="connsiteY35" fmla="*/ 70039 h 114112"/>
                <a:gd name="connsiteX36" fmla="*/ 480982 w 517053"/>
                <a:gd name="connsiteY36" fmla="*/ 72924 h 114112"/>
                <a:gd name="connsiteX37" fmla="*/ 482178 w 517053"/>
                <a:gd name="connsiteY37" fmla="*/ 74715 h 114112"/>
                <a:gd name="connsiteX38" fmla="*/ 485964 w 517053"/>
                <a:gd name="connsiteY38" fmla="*/ 77501 h 114112"/>
                <a:gd name="connsiteX39" fmla="*/ 487858 w 517053"/>
                <a:gd name="connsiteY39" fmla="*/ 80088 h 114112"/>
                <a:gd name="connsiteX40" fmla="*/ 489551 w 517053"/>
                <a:gd name="connsiteY40" fmla="*/ 83172 h 114112"/>
                <a:gd name="connsiteX41" fmla="*/ 490349 w 517053"/>
                <a:gd name="connsiteY41" fmla="*/ 86455 h 114112"/>
                <a:gd name="connsiteX42" fmla="*/ 489551 w 517053"/>
                <a:gd name="connsiteY42" fmla="*/ 89638 h 114112"/>
                <a:gd name="connsiteX43" fmla="*/ 484071 w 517053"/>
                <a:gd name="connsiteY43" fmla="*/ 87649 h 114112"/>
                <a:gd name="connsiteX44" fmla="*/ 468327 w 517053"/>
                <a:gd name="connsiteY44" fmla="*/ 87649 h 114112"/>
                <a:gd name="connsiteX45" fmla="*/ 452783 w 517053"/>
                <a:gd name="connsiteY45" fmla="*/ 86554 h 114112"/>
                <a:gd name="connsiteX46" fmla="*/ 434449 w 517053"/>
                <a:gd name="connsiteY46" fmla="*/ 88544 h 114112"/>
                <a:gd name="connsiteX47" fmla="*/ 423487 w 517053"/>
                <a:gd name="connsiteY47" fmla="*/ 87450 h 114112"/>
                <a:gd name="connsiteX48" fmla="*/ 420996 w 517053"/>
                <a:gd name="connsiteY48" fmla="*/ 86653 h 114112"/>
                <a:gd name="connsiteX49" fmla="*/ 416214 w 517053"/>
                <a:gd name="connsiteY49" fmla="*/ 84166 h 114112"/>
                <a:gd name="connsiteX50" fmla="*/ 411231 w 517053"/>
                <a:gd name="connsiteY50" fmla="*/ 83172 h 114112"/>
                <a:gd name="connsiteX51" fmla="*/ 409338 w 517053"/>
                <a:gd name="connsiteY51" fmla="*/ 81878 h 114112"/>
                <a:gd name="connsiteX52" fmla="*/ 408043 w 517053"/>
                <a:gd name="connsiteY52" fmla="*/ 79789 h 114112"/>
                <a:gd name="connsiteX53" fmla="*/ 404754 w 517053"/>
                <a:gd name="connsiteY53" fmla="*/ 72825 h 114112"/>
                <a:gd name="connsiteX54" fmla="*/ 404754 w 517053"/>
                <a:gd name="connsiteY54" fmla="*/ 71532 h 114112"/>
                <a:gd name="connsiteX55" fmla="*/ 404754 w 517053"/>
                <a:gd name="connsiteY55" fmla="*/ 69343 h 114112"/>
                <a:gd name="connsiteX56" fmla="*/ 405751 w 517053"/>
                <a:gd name="connsiteY56" fmla="*/ 63572 h 114112"/>
                <a:gd name="connsiteX57" fmla="*/ 405153 w 517053"/>
                <a:gd name="connsiteY57" fmla="*/ 63572 h 114112"/>
                <a:gd name="connsiteX58" fmla="*/ 401765 w 517053"/>
                <a:gd name="connsiteY58" fmla="*/ 58300 h 114112"/>
                <a:gd name="connsiteX59" fmla="*/ 400071 w 517053"/>
                <a:gd name="connsiteY59" fmla="*/ 57205 h 114112"/>
                <a:gd name="connsiteX60" fmla="*/ 398377 w 517053"/>
                <a:gd name="connsiteY60" fmla="*/ 57205 h 114112"/>
                <a:gd name="connsiteX61" fmla="*/ 396982 w 517053"/>
                <a:gd name="connsiteY61" fmla="*/ 57205 h 114112"/>
                <a:gd name="connsiteX62" fmla="*/ 396085 w 517053"/>
                <a:gd name="connsiteY62" fmla="*/ 58598 h 114112"/>
                <a:gd name="connsiteX63" fmla="*/ 396085 w 517053"/>
                <a:gd name="connsiteY63" fmla="*/ 60687 h 114112"/>
                <a:gd name="connsiteX64" fmla="*/ 397779 w 517053"/>
                <a:gd name="connsiteY64" fmla="*/ 66458 h 114112"/>
                <a:gd name="connsiteX65" fmla="*/ 397779 w 517053"/>
                <a:gd name="connsiteY65" fmla="*/ 82972 h 114112"/>
                <a:gd name="connsiteX66" fmla="*/ 396783 w 517053"/>
                <a:gd name="connsiteY66" fmla="*/ 87151 h 114112"/>
                <a:gd name="connsiteX67" fmla="*/ 394192 w 517053"/>
                <a:gd name="connsiteY67" fmla="*/ 87151 h 114112"/>
                <a:gd name="connsiteX68" fmla="*/ 395985 w 517053"/>
                <a:gd name="connsiteY68" fmla="*/ 84166 h 114112"/>
                <a:gd name="connsiteX69" fmla="*/ 395487 w 517053"/>
                <a:gd name="connsiteY69" fmla="*/ 79988 h 114112"/>
                <a:gd name="connsiteX70" fmla="*/ 393594 w 517053"/>
                <a:gd name="connsiteY70" fmla="*/ 76008 h 114112"/>
                <a:gd name="connsiteX71" fmla="*/ 392398 w 517053"/>
                <a:gd name="connsiteY71" fmla="*/ 75014 h 114112"/>
                <a:gd name="connsiteX72" fmla="*/ 388911 w 517053"/>
                <a:gd name="connsiteY72" fmla="*/ 76307 h 114112"/>
                <a:gd name="connsiteX73" fmla="*/ 388114 w 517053"/>
                <a:gd name="connsiteY73" fmla="*/ 76904 h 114112"/>
                <a:gd name="connsiteX74" fmla="*/ 388114 w 517053"/>
                <a:gd name="connsiteY74" fmla="*/ 77998 h 114112"/>
                <a:gd name="connsiteX75" fmla="*/ 388114 w 517053"/>
                <a:gd name="connsiteY75" fmla="*/ 80585 h 114112"/>
                <a:gd name="connsiteX76" fmla="*/ 387516 w 517053"/>
                <a:gd name="connsiteY76" fmla="*/ 81580 h 114112"/>
                <a:gd name="connsiteX77" fmla="*/ 386021 w 517053"/>
                <a:gd name="connsiteY77" fmla="*/ 82276 h 114112"/>
                <a:gd name="connsiteX78" fmla="*/ 385025 w 517053"/>
                <a:gd name="connsiteY78" fmla="*/ 82276 h 114112"/>
                <a:gd name="connsiteX79" fmla="*/ 384228 w 517053"/>
                <a:gd name="connsiteY79" fmla="*/ 81481 h 114112"/>
                <a:gd name="connsiteX80" fmla="*/ 383132 w 517053"/>
                <a:gd name="connsiteY80" fmla="*/ 81481 h 114112"/>
                <a:gd name="connsiteX81" fmla="*/ 382235 w 517053"/>
                <a:gd name="connsiteY81" fmla="*/ 82176 h 114112"/>
                <a:gd name="connsiteX82" fmla="*/ 382235 w 517053"/>
                <a:gd name="connsiteY82" fmla="*/ 83072 h 114112"/>
                <a:gd name="connsiteX83" fmla="*/ 382235 w 517053"/>
                <a:gd name="connsiteY83" fmla="*/ 83868 h 114112"/>
                <a:gd name="connsiteX84" fmla="*/ 380641 w 517053"/>
                <a:gd name="connsiteY84" fmla="*/ 83868 h 114112"/>
                <a:gd name="connsiteX85" fmla="*/ 376057 w 517053"/>
                <a:gd name="connsiteY85" fmla="*/ 81779 h 114112"/>
                <a:gd name="connsiteX86" fmla="*/ 373267 w 517053"/>
                <a:gd name="connsiteY86" fmla="*/ 72726 h 114112"/>
                <a:gd name="connsiteX87" fmla="*/ 368384 w 517053"/>
                <a:gd name="connsiteY87" fmla="*/ 70736 h 114112"/>
                <a:gd name="connsiteX88" fmla="*/ 362306 w 517053"/>
                <a:gd name="connsiteY88" fmla="*/ 70736 h 114112"/>
                <a:gd name="connsiteX89" fmla="*/ 360911 w 517053"/>
                <a:gd name="connsiteY89" fmla="*/ 70238 h 114112"/>
                <a:gd name="connsiteX90" fmla="*/ 358520 w 517053"/>
                <a:gd name="connsiteY90" fmla="*/ 68448 h 114112"/>
                <a:gd name="connsiteX91" fmla="*/ 357125 w 517053"/>
                <a:gd name="connsiteY91" fmla="*/ 68448 h 114112"/>
                <a:gd name="connsiteX92" fmla="*/ 356128 w 517053"/>
                <a:gd name="connsiteY92" fmla="*/ 68448 h 114112"/>
                <a:gd name="connsiteX93" fmla="*/ 354235 w 517053"/>
                <a:gd name="connsiteY93" fmla="*/ 70238 h 114112"/>
                <a:gd name="connsiteX94" fmla="*/ 352740 w 517053"/>
                <a:gd name="connsiteY94" fmla="*/ 70736 h 114112"/>
                <a:gd name="connsiteX95" fmla="*/ 352740 w 517053"/>
                <a:gd name="connsiteY95" fmla="*/ 70736 h 114112"/>
                <a:gd name="connsiteX96" fmla="*/ 352740 w 517053"/>
                <a:gd name="connsiteY96" fmla="*/ 70736 h 114112"/>
                <a:gd name="connsiteX97" fmla="*/ 352740 w 517053"/>
                <a:gd name="connsiteY97" fmla="*/ 70736 h 114112"/>
                <a:gd name="connsiteX98" fmla="*/ 351943 w 517053"/>
                <a:gd name="connsiteY98" fmla="*/ 70736 h 114112"/>
                <a:gd name="connsiteX99" fmla="*/ 351943 w 517053"/>
                <a:gd name="connsiteY99" fmla="*/ 70736 h 114112"/>
                <a:gd name="connsiteX100" fmla="*/ 351943 w 517053"/>
                <a:gd name="connsiteY100" fmla="*/ 69542 h 114112"/>
                <a:gd name="connsiteX101" fmla="*/ 351445 w 517053"/>
                <a:gd name="connsiteY101" fmla="*/ 69542 h 114112"/>
                <a:gd name="connsiteX102" fmla="*/ 346163 w 517053"/>
                <a:gd name="connsiteY102" fmla="*/ 67751 h 114112"/>
                <a:gd name="connsiteX103" fmla="*/ 345466 w 517053"/>
                <a:gd name="connsiteY103" fmla="*/ 67751 h 114112"/>
                <a:gd name="connsiteX104" fmla="*/ 343972 w 517053"/>
                <a:gd name="connsiteY104" fmla="*/ 67154 h 114112"/>
                <a:gd name="connsiteX105" fmla="*/ 342477 w 517053"/>
                <a:gd name="connsiteY105" fmla="*/ 67154 h 114112"/>
                <a:gd name="connsiteX106" fmla="*/ 341779 w 517053"/>
                <a:gd name="connsiteY106" fmla="*/ 68646 h 114112"/>
                <a:gd name="connsiteX107" fmla="*/ 340583 w 517053"/>
                <a:gd name="connsiteY107" fmla="*/ 69243 h 114112"/>
                <a:gd name="connsiteX108" fmla="*/ 333310 w 517053"/>
                <a:gd name="connsiteY108" fmla="*/ 69243 h 114112"/>
                <a:gd name="connsiteX109" fmla="*/ 330320 w 517053"/>
                <a:gd name="connsiteY109" fmla="*/ 69243 h 114112"/>
                <a:gd name="connsiteX110" fmla="*/ 328627 w 517053"/>
                <a:gd name="connsiteY110" fmla="*/ 68448 h 114112"/>
                <a:gd name="connsiteX111" fmla="*/ 327829 w 517053"/>
                <a:gd name="connsiteY111" fmla="*/ 68448 h 114112"/>
                <a:gd name="connsiteX112" fmla="*/ 327829 w 517053"/>
                <a:gd name="connsiteY112" fmla="*/ 70139 h 114112"/>
                <a:gd name="connsiteX113" fmla="*/ 327032 w 517053"/>
                <a:gd name="connsiteY113" fmla="*/ 70139 h 114112"/>
                <a:gd name="connsiteX114" fmla="*/ 324641 w 517053"/>
                <a:gd name="connsiteY114" fmla="*/ 70139 h 114112"/>
                <a:gd name="connsiteX115" fmla="*/ 324641 w 517053"/>
                <a:gd name="connsiteY115" fmla="*/ 70139 h 114112"/>
                <a:gd name="connsiteX116" fmla="*/ 324641 w 517053"/>
                <a:gd name="connsiteY116" fmla="*/ 70139 h 114112"/>
                <a:gd name="connsiteX117" fmla="*/ 324641 w 517053"/>
                <a:gd name="connsiteY117" fmla="*/ 71133 h 114112"/>
                <a:gd name="connsiteX118" fmla="*/ 323245 w 517053"/>
                <a:gd name="connsiteY118" fmla="*/ 71133 h 114112"/>
                <a:gd name="connsiteX119" fmla="*/ 317367 w 517053"/>
                <a:gd name="connsiteY119" fmla="*/ 70337 h 114112"/>
                <a:gd name="connsiteX120" fmla="*/ 315573 w 517053"/>
                <a:gd name="connsiteY120" fmla="*/ 69642 h 114112"/>
                <a:gd name="connsiteX121" fmla="*/ 312385 w 517053"/>
                <a:gd name="connsiteY121" fmla="*/ 66159 h 114112"/>
                <a:gd name="connsiteX122" fmla="*/ 311288 w 517053"/>
                <a:gd name="connsiteY122" fmla="*/ 64269 h 114112"/>
                <a:gd name="connsiteX123" fmla="*/ 311288 w 517053"/>
                <a:gd name="connsiteY123" fmla="*/ 62279 h 114112"/>
                <a:gd name="connsiteX124" fmla="*/ 309096 w 517053"/>
                <a:gd name="connsiteY124" fmla="*/ 59991 h 114112"/>
                <a:gd name="connsiteX125" fmla="*/ 291061 w 517053"/>
                <a:gd name="connsiteY125" fmla="*/ 52729 h 114112"/>
                <a:gd name="connsiteX126" fmla="*/ 289267 w 517053"/>
                <a:gd name="connsiteY126" fmla="*/ 51734 h 114112"/>
                <a:gd name="connsiteX127" fmla="*/ 287374 w 517053"/>
                <a:gd name="connsiteY127" fmla="*/ 50142 h 114112"/>
                <a:gd name="connsiteX128" fmla="*/ 286178 w 517053"/>
                <a:gd name="connsiteY128" fmla="*/ 49445 h 114112"/>
                <a:gd name="connsiteX129" fmla="*/ 283687 w 517053"/>
                <a:gd name="connsiteY129" fmla="*/ 49445 h 114112"/>
                <a:gd name="connsiteX130" fmla="*/ 282590 w 517053"/>
                <a:gd name="connsiteY130" fmla="*/ 49445 h 114112"/>
                <a:gd name="connsiteX131" fmla="*/ 281993 w 517053"/>
                <a:gd name="connsiteY131" fmla="*/ 48649 h 114112"/>
                <a:gd name="connsiteX132" fmla="*/ 280598 w 517053"/>
                <a:gd name="connsiteY132" fmla="*/ 46162 h 114112"/>
                <a:gd name="connsiteX133" fmla="*/ 280598 w 517053"/>
                <a:gd name="connsiteY133" fmla="*/ 45565 h 114112"/>
                <a:gd name="connsiteX134" fmla="*/ 278904 w 517053"/>
                <a:gd name="connsiteY134" fmla="*/ 45565 h 114112"/>
                <a:gd name="connsiteX135" fmla="*/ 276612 w 517053"/>
                <a:gd name="connsiteY135" fmla="*/ 45565 h 114112"/>
                <a:gd name="connsiteX136" fmla="*/ 274420 w 517053"/>
                <a:gd name="connsiteY136" fmla="*/ 44471 h 114112"/>
                <a:gd name="connsiteX137" fmla="*/ 273224 w 517053"/>
                <a:gd name="connsiteY137" fmla="*/ 42183 h 114112"/>
                <a:gd name="connsiteX138" fmla="*/ 273921 w 517053"/>
                <a:gd name="connsiteY138" fmla="*/ 39994 h 114112"/>
                <a:gd name="connsiteX139" fmla="*/ 275516 w 517053"/>
                <a:gd name="connsiteY139" fmla="*/ 38701 h 114112"/>
                <a:gd name="connsiteX140" fmla="*/ 277409 w 517053"/>
                <a:gd name="connsiteY140" fmla="*/ 37905 h 114112"/>
                <a:gd name="connsiteX141" fmla="*/ 279003 w 517053"/>
                <a:gd name="connsiteY141" fmla="*/ 37407 h 114112"/>
                <a:gd name="connsiteX142" fmla="*/ 293552 w 517053"/>
                <a:gd name="connsiteY142" fmla="*/ 37905 h 114112"/>
                <a:gd name="connsiteX143" fmla="*/ 298334 w 517053"/>
                <a:gd name="connsiteY143" fmla="*/ 36711 h 114112"/>
                <a:gd name="connsiteX144" fmla="*/ 301723 w 517053"/>
                <a:gd name="connsiteY144" fmla="*/ 37209 h 114112"/>
                <a:gd name="connsiteX145" fmla="*/ 305608 w 517053"/>
                <a:gd name="connsiteY145" fmla="*/ 37209 h 114112"/>
                <a:gd name="connsiteX146" fmla="*/ 307900 w 517053"/>
                <a:gd name="connsiteY146" fmla="*/ 37209 h 114112"/>
                <a:gd name="connsiteX147" fmla="*/ 311288 w 517053"/>
                <a:gd name="connsiteY147" fmla="*/ 38004 h 114112"/>
                <a:gd name="connsiteX148" fmla="*/ 314178 w 517053"/>
                <a:gd name="connsiteY148" fmla="*/ 38004 h 114112"/>
                <a:gd name="connsiteX149" fmla="*/ 320655 w 517053"/>
                <a:gd name="connsiteY149" fmla="*/ 37009 h 114112"/>
                <a:gd name="connsiteX150" fmla="*/ 325637 w 517053"/>
                <a:gd name="connsiteY150" fmla="*/ 34920 h 114112"/>
                <a:gd name="connsiteX151" fmla="*/ 327132 w 517053"/>
                <a:gd name="connsiteY151" fmla="*/ 34920 h 114112"/>
                <a:gd name="connsiteX152" fmla="*/ 328427 w 517053"/>
                <a:gd name="connsiteY152" fmla="*/ 34224 h 114112"/>
                <a:gd name="connsiteX153" fmla="*/ 330918 w 517053"/>
                <a:gd name="connsiteY153" fmla="*/ 34224 h 114112"/>
                <a:gd name="connsiteX154" fmla="*/ 332313 w 517053"/>
                <a:gd name="connsiteY154" fmla="*/ 34224 h 114112"/>
                <a:gd name="connsiteX155" fmla="*/ 334107 w 517053"/>
                <a:gd name="connsiteY155" fmla="*/ 33726 h 114112"/>
                <a:gd name="connsiteX156" fmla="*/ 335801 w 517053"/>
                <a:gd name="connsiteY156" fmla="*/ 32035 h 114112"/>
                <a:gd name="connsiteX157" fmla="*/ 336996 w 517053"/>
                <a:gd name="connsiteY157" fmla="*/ 30841 h 114112"/>
                <a:gd name="connsiteX158" fmla="*/ 338192 w 517053"/>
                <a:gd name="connsiteY158" fmla="*/ 30344 h 114112"/>
                <a:gd name="connsiteX159" fmla="*/ 338192 w 517053"/>
                <a:gd name="connsiteY159" fmla="*/ 27558 h 114112"/>
                <a:gd name="connsiteX160" fmla="*/ 338790 w 517053"/>
                <a:gd name="connsiteY160" fmla="*/ 26265 h 114112"/>
                <a:gd name="connsiteX161" fmla="*/ 338790 w 517053"/>
                <a:gd name="connsiteY161" fmla="*/ 24076 h 114112"/>
                <a:gd name="connsiteX162" fmla="*/ 339886 w 517053"/>
                <a:gd name="connsiteY162" fmla="*/ 20296 h 114112"/>
                <a:gd name="connsiteX163" fmla="*/ 339886 w 517053"/>
                <a:gd name="connsiteY163" fmla="*/ 18803 h 114112"/>
                <a:gd name="connsiteX164" fmla="*/ 338092 w 517053"/>
                <a:gd name="connsiteY164" fmla="*/ 18206 h 114112"/>
                <a:gd name="connsiteX165" fmla="*/ 336199 w 517053"/>
                <a:gd name="connsiteY165" fmla="*/ 18206 h 114112"/>
                <a:gd name="connsiteX166" fmla="*/ 332712 w 517053"/>
                <a:gd name="connsiteY166" fmla="*/ 15222 h 114112"/>
                <a:gd name="connsiteX167" fmla="*/ 330320 w 517053"/>
                <a:gd name="connsiteY167" fmla="*/ 13331 h 114112"/>
                <a:gd name="connsiteX168" fmla="*/ 326036 w 517053"/>
                <a:gd name="connsiteY168" fmla="*/ 10048 h 114112"/>
                <a:gd name="connsiteX169" fmla="*/ 321552 w 517053"/>
                <a:gd name="connsiteY169" fmla="*/ 8357 h 114112"/>
                <a:gd name="connsiteX170" fmla="*/ 310292 w 517053"/>
                <a:gd name="connsiteY170" fmla="*/ 4377 h 114112"/>
                <a:gd name="connsiteX171" fmla="*/ 305808 w 517053"/>
                <a:gd name="connsiteY171" fmla="*/ 4377 h 114112"/>
                <a:gd name="connsiteX172" fmla="*/ 295843 w 517053"/>
                <a:gd name="connsiteY172" fmla="*/ 5273 h 114112"/>
                <a:gd name="connsiteX173" fmla="*/ 282392 w 517053"/>
                <a:gd name="connsiteY173" fmla="*/ 7561 h 114112"/>
                <a:gd name="connsiteX174" fmla="*/ 278306 w 517053"/>
                <a:gd name="connsiteY174" fmla="*/ 5870 h 114112"/>
                <a:gd name="connsiteX175" fmla="*/ 269737 w 517053"/>
                <a:gd name="connsiteY175" fmla="*/ 3383 h 114112"/>
                <a:gd name="connsiteX176" fmla="*/ 259772 w 517053"/>
                <a:gd name="connsiteY176" fmla="*/ 3383 h 114112"/>
                <a:gd name="connsiteX177" fmla="*/ 254392 w 517053"/>
                <a:gd name="connsiteY177" fmla="*/ 4079 h 114112"/>
                <a:gd name="connsiteX178" fmla="*/ 251601 w 517053"/>
                <a:gd name="connsiteY178" fmla="*/ 4079 h 114112"/>
                <a:gd name="connsiteX179" fmla="*/ 249010 w 517053"/>
                <a:gd name="connsiteY179" fmla="*/ 4079 h 114112"/>
                <a:gd name="connsiteX180" fmla="*/ 244925 w 517053"/>
                <a:gd name="connsiteY180" fmla="*/ 2985 h 114112"/>
                <a:gd name="connsiteX181" fmla="*/ 236655 w 517053"/>
                <a:gd name="connsiteY181" fmla="*/ 4179 h 114112"/>
                <a:gd name="connsiteX182" fmla="*/ 229979 w 517053"/>
                <a:gd name="connsiteY182" fmla="*/ 2487 h 114112"/>
                <a:gd name="connsiteX183" fmla="*/ 228484 w 517053"/>
                <a:gd name="connsiteY183" fmla="*/ 2487 h 114112"/>
                <a:gd name="connsiteX184" fmla="*/ 226092 w 517053"/>
                <a:gd name="connsiteY184" fmla="*/ 3781 h 114112"/>
                <a:gd name="connsiteX185" fmla="*/ 224797 w 517053"/>
                <a:gd name="connsiteY185" fmla="*/ 3781 h 114112"/>
                <a:gd name="connsiteX186" fmla="*/ 218918 w 517053"/>
                <a:gd name="connsiteY186" fmla="*/ 2487 h 114112"/>
                <a:gd name="connsiteX187" fmla="*/ 214335 w 517053"/>
                <a:gd name="connsiteY187" fmla="*/ 3582 h 114112"/>
                <a:gd name="connsiteX188" fmla="*/ 200982 w 517053"/>
                <a:gd name="connsiteY188" fmla="*/ 0 h 114112"/>
                <a:gd name="connsiteX189" fmla="*/ 198292 w 517053"/>
                <a:gd name="connsiteY189" fmla="*/ 0 h 114112"/>
                <a:gd name="connsiteX190" fmla="*/ 195701 w 517053"/>
                <a:gd name="connsiteY190" fmla="*/ 1293 h 114112"/>
                <a:gd name="connsiteX191" fmla="*/ 194306 w 517053"/>
                <a:gd name="connsiteY191" fmla="*/ 3482 h 114112"/>
                <a:gd name="connsiteX192" fmla="*/ 194306 w 517053"/>
                <a:gd name="connsiteY192" fmla="*/ 6168 h 114112"/>
                <a:gd name="connsiteX193" fmla="*/ 194306 w 517053"/>
                <a:gd name="connsiteY193" fmla="*/ 8855 h 114112"/>
                <a:gd name="connsiteX194" fmla="*/ 193509 w 517053"/>
                <a:gd name="connsiteY194" fmla="*/ 11342 h 114112"/>
                <a:gd name="connsiteX195" fmla="*/ 191616 w 517053"/>
                <a:gd name="connsiteY195" fmla="*/ 12536 h 114112"/>
                <a:gd name="connsiteX196" fmla="*/ 187331 w 517053"/>
                <a:gd name="connsiteY196" fmla="*/ 14028 h 114112"/>
                <a:gd name="connsiteX197" fmla="*/ 179758 w 517053"/>
                <a:gd name="connsiteY197" fmla="*/ 20494 h 114112"/>
                <a:gd name="connsiteX198" fmla="*/ 178263 w 517053"/>
                <a:gd name="connsiteY198" fmla="*/ 21390 h 114112"/>
                <a:gd name="connsiteX199" fmla="*/ 175374 w 517053"/>
                <a:gd name="connsiteY199" fmla="*/ 21390 h 114112"/>
                <a:gd name="connsiteX200" fmla="*/ 173381 w 517053"/>
                <a:gd name="connsiteY200" fmla="*/ 21987 h 114112"/>
                <a:gd name="connsiteX201" fmla="*/ 165011 w 517053"/>
                <a:gd name="connsiteY201" fmla="*/ 26364 h 114112"/>
                <a:gd name="connsiteX202" fmla="*/ 160826 w 517053"/>
                <a:gd name="connsiteY202" fmla="*/ 29150 h 114112"/>
                <a:gd name="connsiteX203" fmla="*/ 157338 w 517053"/>
                <a:gd name="connsiteY203" fmla="*/ 32731 h 114112"/>
                <a:gd name="connsiteX204" fmla="*/ 150164 w 517053"/>
                <a:gd name="connsiteY204" fmla="*/ 46560 h 114112"/>
                <a:gd name="connsiteX205" fmla="*/ 147075 w 517053"/>
                <a:gd name="connsiteY205" fmla="*/ 49545 h 114112"/>
                <a:gd name="connsiteX206" fmla="*/ 142990 w 517053"/>
                <a:gd name="connsiteY206" fmla="*/ 50042 h 114112"/>
                <a:gd name="connsiteX207" fmla="*/ 138804 w 517053"/>
                <a:gd name="connsiteY207" fmla="*/ 48848 h 114112"/>
                <a:gd name="connsiteX208" fmla="*/ 137110 w 517053"/>
                <a:gd name="connsiteY208" fmla="*/ 48848 h 114112"/>
                <a:gd name="connsiteX209" fmla="*/ 135317 w 517053"/>
                <a:gd name="connsiteY209" fmla="*/ 49346 h 114112"/>
                <a:gd name="connsiteX210" fmla="*/ 135317 w 517053"/>
                <a:gd name="connsiteY210" fmla="*/ 50739 h 114112"/>
                <a:gd name="connsiteX211" fmla="*/ 135317 w 517053"/>
                <a:gd name="connsiteY211" fmla="*/ 51336 h 114112"/>
                <a:gd name="connsiteX212" fmla="*/ 135317 w 517053"/>
                <a:gd name="connsiteY212" fmla="*/ 51336 h 114112"/>
                <a:gd name="connsiteX213" fmla="*/ 134719 w 517053"/>
                <a:gd name="connsiteY213" fmla="*/ 51336 h 114112"/>
                <a:gd name="connsiteX214" fmla="*/ 133822 w 517053"/>
                <a:gd name="connsiteY214" fmla="*/ 51336 h 114112"/>
                <a:gd name="connsiteX215" fmla="*/ 133224 w 517053"/>
                <a:gd name="connsiteY215" fmla="*/ 51336 h 114112"/>
                <a:gd name="connsiteX216" fmla="*/ 133224 w 517053"/>
                <a:gd name="connsiteY216" fmla="*/ 51336 h 114112"/>
                <a:gd name="connsiteX217" fmla="*/ 133224 w 517053"/>
                <a:gd name="connsiteY217" fmla="*/ 51932 h 114112"/>
                <a:gd name="connsiteX218" fmla="*/ 133224 w 517053"/>
                <a:gd name="connsiteY218" fmla="*/ 54221 h 114112"/>
                <a:gd name="connsiteX219" fmla="*/ 128641 w 517053"/>
                <a:gd name="connsiteY219" fmla="*/ 57106 h 114112"/>
                <a:gd name="connsiteX220" fmla="*/ 127046 w 517053"/>
                <a:gd name="connsiteY220" fmla="*/ 58797 h 114112"/>
                <a:gd name="connsiteX221" fmla="*/ 126349 w 517053"/>
                <a:gd name="connsiteY221" fmla="*/ 59991 h 114112"/>
                <a:gd name="connsiteX222" fmla="*/ 126349 w 517053"/>
                <a:gd name="connsiteY222" fmla="*/ 61682 h 114112"/>
                <a:gd name="connsiteX223" fmla="*/ 125452 w 517053"/>
                <a:gd name="connsiteY223" fmla="*/ 63672 h 114112"/>
                <a:gd name="connsiteX224" fmla="*/ 124854 w 517053"/>
                <a:gd name="connsiteY224" fmla="*/ 64568 h 114112"/>
                <a:gd name="connsiteX225" fmla="*/ 123758 w 517053"/>
                <a:gd name="connsiteY225" fmla="*/ 65463 h 114112"/>
                <a:gd name="connsiteX226" fmla="*/ 123758 w 517053"/>
                <a:gd name="connsiteY226" fmla="*/ 64965 h 114112"/>
                <a:gd name="connsiteX227" fmla="*/ 123758 w 517053"/>
                <a:gd name="connsiteY227" fmla="*/ 64965 h 114112"/>
                <a:gd name="connsiteX228" fmla="*/ 123758 w 517053"/>
                <a:gd name="connsiteY228" fmla="*/ 66557 h 114112"/>
                <a:gd name="connsiteX229" fmla="*/ 122861 w 517053"/>
                <a:gd name="connsiteY229" fmla="*/ 67552 h 114112"/>
                <a:gd name="connsiteX230" fmla="*/ 122164 w 517053"/>
                <a:gd name="connsiteY230" fmla="*/ 66159 h 114112"/>
                <a:gd name="connsiteX231" fmla="*/ 121068 w 517053"/>
                <a:gd name="connsiteY231" fmla="*/ 66159 h 114112"/>
                <a:gd name="connsiteX232" fmla="*/ 119972 w 517053"/>
                <a:gd name="connsiteY232" fmla="*/ 66159 h 114112"/>
                <a:gd name="connsiteX233" fmla="*/ 119972 w 517053"/>
                <a:gd name="connsiteY233" fmla="*/ 68348 h 114112"/>
                <a:gd name="connsiteX234" fmla="*/ 117879 w 517053"/>
                <a:gd name="connsiteY234" fmla="*/ 70636 h 114112"/>
                <a:gd name="connsiteX235" fmla="*/ 111601 w 517053"/>
                <a:gd name="connsiteY235" fmla="*/ 71233 h 114112"/>
                <a:gd name="connsiteX236" fmla="*/ 105025 w 517053"/>
                <a:gd name="connsiteY236" fmla="*/ 70337 h 114112"/>
                <a:gd name="connsiteX237" fmla="*/ 99445 w 517053"/>
                <a:gd name="connsiteY237" fmla="*/ 68049 h 114112"/>
                <a:gd name="connsiteX238" fmla="*/ 100441 w 517053"/>
                <a:gd name="connsiteY238" fmla="*/ 66955 h 114112"/>
                <a:gd name="connsiteX239" fmla="*/ 100441 w 517053"/>
                <a:gd name="connsiteY239" fmla="*/ 65562 h 114112"/>
                <a:gd name="connsiteX240" fmla="*/ 99445 w 517053"/>
                <a:gd name="connsiteY240" fmla="*/ 64070 h 114112"/>
                <a:gd name="connsiteX241" fmla="*/ 98748 w 517053"/>
                <a:gd name="connsiteY241" fmla="*/ 62379 h 114112"/>
                <a:gd name="connsiteX242" fmla="*/ 94164 w 517053"/>
                <a:gd name="connsiteY242" fmla="*/ 62379 h 114112"/>
                <a:gd name="connsiteX243" fmla="*/ 92370 w 517053"/>
                <a:gd name="connsiteY243" fmla="*/ 66059 h 114112"/>
                <a:gd name="connsiteX244" fmla="*/ 89182 w 517053"/>
                <a:gd name="connsiteY244" fmla="*/ 69343 h 114112"/>
                <a:gd name="connsiteX245" fmla="*/ 85495 w 517053"/>
                <a:gd name="connsiteY245" fmla="*/ 71730 h 114112"/>
                <a:gd name="connsiteX246" fmla="*/ 82007 w 517053"/>
                <a:gd name="connsiteY246" fmla="*/ 72626 h 114112"/>
                <a:gd name="connsiteX247" fmla="*/ 82007 w 517053"/>
                <a:gd name="connsiteY247" fmla="*/ 72626 h 114112"/>
                <a:gd name="connsiteX248" fmla="*/ 82007 w 517053"/>
                <a:gd name="connsiteY248" fmla="*/ 71730 h 114112"/>
                <a:gd name="connsiteX249" fmla="*/ 82007 w 517053"/>
                <a:gd name="connsiteY249" fmla="*/ 71730 h 114112"/>
                <a:gd name="connsiteX250" fmla="*/ 67957 w 517053"/>
                <a:gd name="connsiteY250" fmla="*/ 73720 h 114112"/>
                <a:gd name="connsiteX251" fmla="*/ 67260 w 517053"/>
                <a:gd name="connsiteY251" fmla="*/ 73720 h 114112"/>
                <a:gd name="connsiteX252" fmla="*/ 67260 w 517053"/>
                <a:gd name="connsiteY252" fmla="*/ 73720 h 114112"/>
                <a:gd name="connsiteX253" fmla="*/ 67260 w 517053"/>
                <a:gd name="connsiteY253" fmla="*/ 72726 h 114112"/>
                <a:gd name="connsiteX254" fmla="*/ 67260 w 517053"/>
                <a:gd name="connsiteY254" fmla="*/ 71830 h 114112"/>
                <a:gd name="connsiteX255" fmla="*/ 67260 w 517053"/>
                <a:gd name="connsiteY255" fmla="*/ 71830 h 114112"/>
                <a:gd name="connsiteX256" fmla="*/ 65765 w 517053"/>
                <a:gd name="connsiteY256" fmla="*/ 71830 h 114112"/>
                <a:gd name="connsiteX257" fmla="*/ 64271 w 517053"/>
                <a:gd name="connsiteY257" fmla="*/ 73820 h 114112"/>
                <a:gd name="connsiteX258" fmla="*/ 62377 w 517053"/>
                <a:gd name="connsiteY258" fmla="*/ 73820 h 114112"/>
                <a:gd name="connsiteX259" fmla="*/ 52413 w 517053"/>
                <a:gd name="connsiteY259" fmla="*/ 73223 h 114112"/>
                <a:gd name="connsiteX260" fmla="*/ 49523 w 517053"/>
                <a:gd name="connsiteY260" fmla="*/ 73820 h 114112"/>
                <a:gd name="connsiteX261" fmla="*/ 44342 w 517053"/>
                <a:gd name="connsiteY261" fmla="*/ 78894 h 114112"/>
                <a:gd name="connsiteX262" fmla="*/ 44342 w 517053"/>
                <a:gd name="connsiteY262" fmla="*/ 79988 h 114112"/>
                <a:gd name="connsiteX263" fmla="*/ 43346 w 517053"/>
                <a:gd name="connsiteY263" fmla="*/ 83769 h 114112"/>
                <a:gd name="connsiteX264" fmla="*/ 42748 w 517053"/>
                <a:gd name="connsiteY264" fmla="*/ 85062 h 114112"/>
                <a:gd name="connsiteX265" fmla="*/ 43445 w 517053"/>
                <a:gd name="connsiteY265" fmla="*/ 85957 h 114112"/>
                <a:gd name="connsiteX266" fmla="*/ 43445 w 517053"/>
                <a:gd name="connsiteY266" fmla="*/ 86753 h 114112"/>
                <a:gd name="connsiteX267" fmla="*/ 43445 w 517053"/>
                <a:gd name="connsiteY267" fmla="*/ 88743 h 114112"/>
                <a:gd name="connsiteX268" fmla="*/ 42050 w 517053"/>
                <a:gd name="connsiteY268" fmla="*/ 87549 h 114112"/>
                <a:gd name="connsiteX269" fmla="*/ 40655 w 517053"/>
                <a:gd name="connsiteY269" fmla="*/ 87549 h 114112"/>
                <a:gd name="connsiteX270" fmla="*/ 39758 w 517053"/>
                <a:gd name="connsiteY270" fmla="*/ 89041 h 114112"/>
                <a:gd name="connsiteX271" fmla="*/ 39758 w 517053"/>
                <a:gd name="connsiteY271" fmla="*/ 91230 h 114112"/>
                <a:gd name="connsiteX272" fmla="*/ 40755 w 517053"/>
                <a:gd name="connsiteY272" fmla="*/ 93021 h 114112"/>
                <a:gd name="connsiteX273" fmla="*/ 41950 w 517053"/>
                <a:gd name="connsiteY273" fmla="*/ 93717 h 114112"/>
                <a:gd name="connsiteX274" fmla="*/ 43445 w 517053"/>
                <a:gd name="connsiteY274" fmla="*/ 93717 h 114112"/>
                <a:gd name="connsiteX275" fmla="*/ 45039 w 517053"/>
                <a:gd name="connsiteY275" fmla="*/ 92523 h 114112"/>
                <a:gd name="connsiteX276" fmla="*/ 44242 w 517053"/>
                <a:gd name="connsiteY276" fmla="*/ 95408 h 114112"/>
                <a:gd name="connsiteX277" fmla="*/ 39957 w 517053"/>
                <a:gd name="connsiteY277" fmla="*/ 98692 h 114112"/>
                <a:gd name="connsiteX278" fmla="*/ 38861 w 517053"/>
                <a:gd name="connsiteY278" fmla="*/ 101477 h 114112"/>
                <a:gd name="connsiteX279" fmla="*/ 39360 w 517053"/>
                <a:gd name="connsiteY279" fmla="*/ 102074 h 114112"/>
                <a:gd name="connsiteX280" fmla="*/ 40157 w 517053"/>
                <a:gd name="connsiteY280" fmla="*/ 102870 h 114112"/>
                <a:gd name="connsiteX281" fmla="*/ 40755 w 517053"/>
                <a:gd name="connsiteY281" fmla="*/ 103865 h 114112"/>
                <a:gd name="connsiteX282" fmla="*/ 40157 w 517053"/>
                <a:gd name="connsiteY282" fmla="*/ 105158 h 114112"/>
                <a:gd name="connsiteX283" fmla="*/ 38961 w 517053"/>
                <a:gd name="connsiteY283" fmla="*/ 106352 h 114112"/>
                <a:gd name="connsiteX284" fmla="*/ 37566 w 517053"/>
                <a:gd name="connsiteY284" fmla="*/ 107347 h 114112"/>
                <a:gd name="connsiteX285" fmla="*/ 36071 w 517053"/>
                <a:gd name="connsiteY285" fmla="*/ 108143 h 114112"/>
                <a:gd name="connsiteX286" fmla="*/ 34577 w 517053"/>
                <a:gd name="connsiteY286" fmla="*/ 108143 h 114112"/>
                <a:gd name="connsiteX287" fmla="*/ 32185 w 517053"/>
                <a:gd name="connsiteY287" fmla="*/ 107546 h 114112"/>
                <a:gd name="connsiteX288" fmla="*/ 27402 w 517053"/>
                <a:gd name="connsiteY288" fmla="*/ 104959 h 114112"/>
                <a:gd name="connsiteX289" fmla="*/ 24513 w 517053"/>
                <a:gd name="connsiteY289" fmla="*/ 104959 h 114112"/>
                <a:gd name="connsiteX290" fmla="*/ 21822 w 517053"/>
                <a:gd name="connsiteY290" fmla="*/ 105556 h 114112"/>
                <a:gd name="connsiteX291" fmla="*/ 16940 w 517053"/>
                <a:gd name="connsiteY291" fmla="*/ 108541 h 114112"/>
                <a:gd name="connsiteX292" fmla="*/ 14548 w 517053"/>
                <a:gd name="connsiteY292" fmla="*/ 109535 h 114112"/>
                <a:gd name="connsiteX293" fmla="*/ 9367 w 517053"/>
                <a:gd name="connsiteY293" fmla="*/ 109535 h 114112"/>
                <a:gd name="connsiteX294" fmla="*/ 7971 w 517053"/>
                <a:gd name="connsiteY294" fmla="*/ 110132 h 114112"/>
                <a:gd name="connsiteX295" fmla="*/ 5082 w 517053"/>
                <a:gd name="connsiteY295" fmla="*/ 111924 h 114112"/>
                <a:gd name="connsiteX296" fmla="*/ 1196 w 517053"/>
                <a:gd name="connsiteY296" fmla="*/ 113117 h 114112"/>
                <a:gd name="connsiteX297" fmla="*/ 0 w 517053"/>
                <a:gd name="connsiteY297" fmla="*/ 114112 h 114112"/>
                <a:gd name="connsiteX298" fmla="*/ 163915 w 517053"/>
                <a:gd name="connsiteY298" fmla="*/ 114112 h 114112"/>
                <a:gd name="connsiteX299" fmla="*/ 163915 w 517053"/>
                <a:gd name="connsiteY299" fmla="*/ 110431 h 114112"/>
                <a:gd name="connsiteX300" fmla="*/ 165011 w 517053"/>
                <a:gd name="connsiteY300" fmla="*/ 109038 h 114112"/>
                <a:gd name="connsiteX301" fmla="*/ 167502 w 517053"/>
                <a:gd name="connsiteY301" fmla="*/ 107247 h 114112"/>
                <a:gd name="connsiteX302" fmla="*/ 170491 w 517053"/>
                <a:gd name="connsiteY302" fmla="*/ 105755 h 114112"/>
                <a:gd name="connsiteX303" fmla="*/ 172584 w 517053"/>
                <a:gd name="connsiteY303" fmla="*/ 105755 h 114112"/>
                <a:gd name="connsiteX304" fmla="*/ 171188 w 517053"/>
                <a:gd name="connsiteY304" fmla="*/ 105059 h 114112"/>
                <a:gd name="connsiteX305" fmla="*/ 169794 w 517053"/>
                <a:gd name="connsiteY305" fmla="*/ 105059 h 114112"/>
                <a:gd name="connsiteX306" fmla="*/ 168299 w 517053"/>
                <a:gd name="connsiteY306" fmla="*/ 105059 h 114112"/>
                <a:gd name="connsiteX307" fmla="*/ 166705 w 517053"/>
                <a:gd name="connsiteY307" fmla="*/ 104363 h 114112"/>
                <a:gd name="connsiteX308" fmla="*/ 166705 w 517053"/>
                <a:gd name="connsiteY308" fmla="*/ 104363 h 114112"/>
                <a:gd name="connsiteX309" fmla="*/ 167502 w 517053"/>
                <a:gd name="connsiteY309" fmla="*/ 104363 h 114112"/>
                <a:gd name="connsiteX310" fmla="*/ 168697 w 517053"/>
                <a:gd name="connsiteY310" fmla="*/ 103467 h 114112"/>
                <a:gd name="connsiteX311" fmla="*/ 185239 w 517053"/>
                <a:gd name="connsiteY311" fmla="*/ 105457 h 114112"/>
                <a:gd name="connsiteX312" fmla="*/ 195203 w 517053"/>
                <a:gd name="connsiteY312" fmla="*/ 108044 h 114112"/>
                <a:gd name="connsiteX313" fmla="*/ 202277 w 517053"/>
                <a:gd name="connsiteY313" fmla="*/ 110033 h 114112"/>
                <a:gd name="connsiteX314" fmla="*/ 204470 w 517053"/>
                <a:gd name="connsiteY314" fmla="*/ 111028 h 114112"/>
                <a:gd name="connsiteX315" fmla="*/ 206263 w 517053"/>
                <a:gd name="connsiteY315" fmla="*/ 112521 h 114112"/>
                <a:gd name="connsiteX316" fmla="*/ 206263 w 517053"/>
                <a:gd name="connsiteY316" fmla="*/ 113117 h 114112"/>
                <a:gd name="connsiteX317" fmla="*/ 517053 w 517053"/>
                <a:gd name="connsiteY317" fmla="*/ 113117 h 114112"/>
                <a:gd name="connsiteX318" fmla="*/ 512769 w 517053"/>
                <a:gd name="connsiteY318" fmla="*/ 111824 h 114112"/>
                <a:gd name="connsiteX319" fmla="*/ 97651 w 517053"/>
                <a:gd name="connsiteY319" fmla="*/ 100482 h 114112"/>
                <a:gd name="connsiteX320" fmla="*/ 95160 w 517053"/>
                <a:gd name="connsiteY320" fmla="*/ 100482 h 114112"/>
                <a:gd name="connsiteX321" fmla="*/ 92370 w 517053"/>
                <a:gd name="connsiteY321" fmla="*/ 100482 h 114112"/>
                <a:gd name="connsiteX322" fmla="*/ 90477 w 517053"/>
                <a:gd name="connsiteY322" fmla="*/ 99587 h 114112"/>
                <a:gd name="connsiteX323" fmla="*/ 91673 w 517053"/>
                <a:gd name="connsiteY323" fmla="*/ 98891 h 114112"/>
                <a:gd name="connsiteX324" fmla="*/ 95459 w 517053"/>
                <a:gd name="connsiteY324" fmla="*/ 99686 h 114112"/>
                <a:gd name="connsiteX325" fmla="*/ 97352 w 517053"/>
                <a:gd name="connsiteY325" fmla="*/ 100283 h 114112"/>
                <a:gd name="connsiteX326" fmla="*/ 98349 w 517053"/>
                <a:gd name="connsiteY326" fmla="*/ 100283 h 114112"/>
                <a:gd name="connsiteX327" fmla="*/ 217822 w 517053"/>
                <a:gd name="connsiteY327" fmla="*/ 105556 h 114112"/>
                <a:gd name="connsiteX328" fmla="*/ 214335 w 517053"/>
                <a:gd name="connsiteY328" fmla="*/ 105556 h 114112"/>
                <a:gd name="connsiteX329" fmla="*/ 210847 w 517053"/>
                <a:gd name="connsiteY329" fmla="*/ 103964 h 114112"/>
                <a:gd name="connsiteX330" fmla="*/ 209552 w 517053"/>
                <a:gd name="connsiteY330" fmla="*/ 101676 h 114112"/>
                <a:gd name="connsiteX331" fmla="*/ 212441 w 517053"/>
                <a:gd name="connsiteY331" fmla="*/ 100980 h 114112"/>
                <a:gd name="connsiteX332" fmla="*/ 217125 w 517053"/>
                <a:gd name="connsiteY332" fmla="*/ 103069 h 114112"/>
                <a:gd name="connsiteX333" fmla="*/ 219317 w 517053"/>
                <a:gd name="connsiteY333" fmla="*/ 104760 h 114112"/>
                <a:gd name="connsiteX334" fmla="*/ 229082 w 517053"/>
                <a:gd name="connsiteY334" fmla="*/ 17012 h 114112"/>
                <a:gd name="connsiteX335" fmla="*/ 228484 w 517053"/>
                <a:gd name="connsiteY335" fmla="*/ 18007 h 114112"/>
                <a:gd name="connsiteX336" fmla="*/ 227986 w 517053"/>
                <a:gd name="connsiteY336" fmla="*/ 18903 h 114112"/>
                <a:gd name="connsiteX337" fmla="*/ 227388 w 517053"/>
                <a:gd name="connsiteY337" fmla="*/ 18306 h 114112"/>
                <a:gd name="connsiteX338" fmla="*/ 227388 w 517053"/>
                <a:gd name="connsiteY338" fmla="*/ 9750 h 114112"/>
                <a:gd name="connsiteX339" fmla="*/ 227388 w 517053"/>
                <a:gd name="connsiteY339" fmla="*/ 8556 h 114112"/>
                <a:gd name="connsiteX340" fmla="*/ 227388 w 517053"/>
                <a:gd name="connsiteY340" fmla="*/ 7860 h 114112"/>
                <a:gd name="connsiteX341" fmla="*/ 227388 w 517053"/>
                <a:gd name="connsiteY341" fmla="*/ 7860 h 114112"/>
                <a:gd name="connsiteX342" fmla="*/ 228085 w 517053"/>
                <a:gd name="connsiteY342" fmla="*/ 8357 h 114112"/>
                <a:gd name="connsiteX343" fmla="*/ 228085 w 517053"/>
                <a:gd name="connsiteY343" fmla="*/ 9451 h 114112"/>
                <a:gd name="connsiteX344" fmla="*/ 228085 w 517053"/>
                <a:gd name="connsiteY344" fmla="*/ 9949 h 114112"/>
                <a:gd name="connsiteX345" fmla="*/ 228584 w 517053"/>
                <a:gd name="connsiteY345" fmla="*/ 11640 h 114112"/>
                <a:gd name="connsiteX346" fmla="*/ 228584 w 517053"/>
                <a:gd name="connsiteY346" fmla="*/ 14824 h 114112"/>
                <a:gd name="connsiteX347" fmla="*/ 350648 w 517053"/>
                <a:gd name="connsiteY347" fmla="*/ 88942 h 114112"/>
                <a:gd name="connsiteX348" fmla="*/ 349352 w 517053"/>
                <a:gd name="connsiteY348" fmla="*/ 88246 h 114112"/>
                <a:gd name="connsiteX349" fmla="*/ 347160 w 517053"/>
                <a:gd name="connsiteY349" fmla="*/ 88246 h 114112"/>
                <a:gd name="connsiteX350" fmla="*/ 347160 w 517053"/>
                <a:gd name="connsiteY350" fmla="*/ 87350 h 114112"/>
                <a:gd name="connsiteX351" fmla="*/ 347160 w 517053"/>
                <a:gd name="connsiteY351" fmla="*/ 86256 h 114112"/>
                <a:gd name="connsiteX352" fmla="*/ 347160 w 517053"/>
                <a:gd name="connsiteY352" fmla="*/ 85162 h 114112"/>
                <a:gd name="connsiteX353" fmla="*/ 347957 w 517053"/>
                <a:gd name="connsiteY353" fmla="*/ 84664 h 114112"/>
                <a:gd name="connsiteX354" fmla="*/ 349352 w 517053"/>
                <a:gd name="connsiteY354" fmla="*/ 84664 h 114112"/>
                <a:gd name="connsiteX355" fmla="*/ 350648 w 517053"/>
                <a:gd name="connsiteY355" fmla="*/ 85360 h 114112"/>
                <a:gd name="connsiteX356" fmla="*/ 351245 w 517053"/>
                <a:gd name="connsiteY356" fmla="*/ 85360 h 114112"/>
                <a:gd name="connsiteX357" fmla="*/ 352142 w 517053"/>
                <a:gd name="connsiteY357" fmla="*/ 86455 h 114112"/>
                <a:gd name="connsiteX358" fmla="*/ 352142 w 517053"/>
                <a:gd name="connsiteY358" fmla="*/ 88345 h 114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</a:cxnLst>
              <a:rect l="l" t="t" r="r" b="b"/>
              <a:pathLst>
                <a:path w="517053" h="114112">
                  <a:moveTo>
                    <a:pt x="509580" y="107247"/>
                  </a:moveTo>
                  <a:lnTo>
                    <a:pt x="495829" y="92424"/>
                  </a:lnTo>
                  <a:lnTo>
                    <a:pt x="495829" y="91827"/>
                  </a:lnTo>
                  <a:lnTo>
                    <a:pt x="495829" y="90534"/>
                  </a:lnTo>
                  <a:lnTo>
                    <a:pt x="495829" y="89738"/>
                  </a:lnTo>
                  <a:lnTo>
                    <a:pt x="495231" y="89738"/>
                  </a:lnTo>
                  <a:lnTo>
                    <a:pt x="493736" y="89738"/>
                  </a:lnTo>
                  <a:lnTo>
                    <a:pt x="493736" y="89738"/>
                  </a:lnTo>
                  <a:lnTo>
                    <a:pt x="492342" y="88544"/>
                  </a:lnTo>
                  <a:lnTo>
                    <a:pt x="492342" y="87649"/>
                  </a:lnTo>
                  <a:lnTo>
                    <a:pt x="492342" y="86057"/>
                  </a:lnTo>
                  <a:lnTo>
                    <a:pt x="494135" y="86057"/>
                  </a:lnTo>
                  <a:lnTo>
                    <a:pt x="496327" y="86057"/>
                  </a:lnTo>
                  <a:lnTo>
                    <a:pt x="498520" y="85360"/>
                  </a:lnTo>
                  <a:lnTo>
                    <a:pt x="500213" y="83968"/>
                  </a:lnTo>
                  <a:lnTo>
                    <a:pt x="498320" y="83968"/>
                  </a:lnTo>
                  <a:lnTo>
                    <a:pt x="497623" y="83968"/>
                  </a:lnTo>
                  <a:lnTo>
                    <a:pt x="497623" y="82773"/>
                  </a:lnTo>
                  <a:lnTo>
                    <a:pt x="498320" y="81580"/>
                  </a:lnTo>
                  <a:lnTo>
                    <a:pt x="498918" y="80485"/>
                  </a:lnTo>
                  <a:lnTo>
                    <a:pt x="498918" y="80585"/>
                  </a:lnTo>
                  <a:lnTo>
                    <a:pt x="497822" y="80585"/>
                  </a:lnTo>
                  <a:lnTo>
                    <a:pt x="496327" y="80585"/>
                  </a:lnTo>
                  <a:lnTo>
                    <a:pt x="495231" y="80585"/>
                  </a:lnTo>
                  <a:lnTo>
                    <a:pt x="495231" y="78794"/>
                  </a:lnTo>
                  <a:lnTo>
                    <a:pt x="492740" y="78794"/>
                  </a:lnTo>
                  <a:lnTo>
                    <a:pt x="491146" y="77799"/>
                  </a:lnTo>
                  <a:lnTo>
                    <a:pt x="491146" y="76108"/>
                  </a:lnTo>
                  <a:lnTo>
                    <a:pt x="493039" y="74118"/>
                  </a:lnTo>
                  <a:lnTo>
                    <a:pt x="489950" y="72228"/>
                  </a:lnTo>
                  <a:lnTo>
                    <a:pt x="488754" y="71034"/>
                  </a:lnTo>
                  <a:lnTo>
                    <a:pt x="487858" y="69442"/>
                  </a:lnTo>
                  <a:lnTo>
                    <a:pt x="486961" y="70835"/>
                  </a:lnTo>
                  <a:lnTo>
                    <a:pt x="485367" y="70835"/>
                  </a:lnTo>
                  <a:lnTo>
                    <a:pt x="483473" y="70835"/>
                  </a:lnTo>
                  <a:lnTo>
                    <a:pt x="481680" y="70039"/>
                  </a:lnTo>
                  <a:lnTo>
                    <a:pt x="480982" y="72924"/>
                  </a:lnTo>
                  <a:lnTo>
                    <a:pt x="482178" y="74715"/>
                  </a:lnTo>
                  <a:lnTo>
                    <a:pt x="485964" y="77501"/>
                  </a:lnTo>
                  <a:lnTo>
                    <a:pt x="487858" y="80088"/>
                  </a:lnTo>
                  <a:lnTo>
                    <a:pt x="489551" y="83172"/>
                  </a:lnTo>
                  <a:lnTo>
                    <a:pt x="490349" y="86455"/>
                  </a:lnTo>
                  <a:lnTo>
                    <a:pt x="489551" y="89638"/>
                  </a:lnTo>
                  <a:lnTo>
                    <a:pt x="484071" y="87649"/>
                  </a:lnTo>
                  <a:lnTo>
                    <a:pt x="468327" y="87649"/>
                  </a:lnTo>
                  <a:lnTo>
                    <a:pt x="452783" y="86554"/>
                  </a:lnTo>
                  <a:lnTo>
                    <a:pt x="434449" y="88544"/>
                  </a:lnTo>
                  <a:lnTo>
                    <a:pt x="423487" y="87450"/>
                  </a:lnTo>
                  <a:lnTo>
                    <a:pt x="420996" y="86653"/>
                  </a:lnTo>
                  <a:lnTo>
                    <a:pt x="416214" y="84166"/>
                  </a:lnTo>
                  <a:lnTo>
                    <a:pt x="411231" y="83172"/>
                  </a:lnTo>
                  <a:lnTo>
                    <a:pt x="409338" y="81878"/>
                  </a:lnTo>
                  <a:lnTo>
                    <a:pt x="408043" y="79789"/>
                  </a:lnTo>
                  <a:lnTo>
                    <a:pt x="404754" y="72825"/>
                  </a:lnTo>
                  <a:lnTo>
                    <a:pt x="404754" y="71532"/>
                  </a:lnTo>
                  <a:lnTo>
                    <a:pt x="404754" y="69343"/>
                  </a:lnTo>
                  <a:lnTo>
                    <a:pt x="405751" y="63572"/>
                  </a:lnTo>
                  <a:lnTo>
                    <a:pt x="405153" y="63572"/>
                  </a:lnTo>
                  <a:lnTo>
                    <a:pt x="401765" y="58300"/>
                  </a:lnTo>
                  <a:lnTo>
                    <a:pt x="400071" y="57205"/>
                  </a:lnTo>
                  <a:lnTo>
                    <a:pt x="398377" y="57205"/>
                  </a:lnTo>
                  <a:lnTo>
                    <a:pt x="396982" y="57205"/>
                  </a:lnTo>
                  <a:lnTo>
                    <a:pt x="396085" y="58598"/>
                  </a:lnTo>
                  <a:lnTo>
                    <a:pt x="396085" y="60687"/>
                  </a:lnTo>
                  <a:lnTo>
                    <a:pt x="397779" y="66458"/>
                  </a:lnTo>
                  <a:lnTo>
                    <a:pt x="397779" y="82972"/>
                  </a:lnTo>
                  <a:lnTo>
                    <a:pt x="396783" y="87151"/>
                  </a:lnTo>
                  <a:lnTo>
                    <a:pt x="394192" y="87151"/>
                  </a:lnTo>
                  <a:lnTo>
                    <a:pt x="395985" y="84166"/>
                  </a:lnTo>
                  <a:lnTo>
                    <a:pt x="395487" y="79988"/>
                  </a:lnTo>
                  <a:lnTo>
                    <a:pt x="393594" y="76008"/>
                  </a:lnTo>
                  <a:lnTo>
                    <a:pt x="392398" y="75014"/>
                  </a:lnTo>
                  <a:lnTo>
                    <a:pt x="388911" y="76307"/>
                  </a:lnTo>
                  <a:lnTo>
                    <a:pt x="388114" y="76904"/>
                  </a:lnTo>
                  <a:lnTo>
                    <a:pt x="388114" y="77998"/>
                  </a:lnTo>
                  <a:lnTo>
                    <a:pt x="388114" y="80585"/>
                  </a:lnTo>
                  <a:lnTo>
                    <a:pt x="387516" y="81580"/>
                  </a:lnTo>
                  <a:lnTo>
                    <a:pt x="386021" y="82276"/>
                  </a:lnTo>
                  <a:lnTo>
                    <a:pt x="385025" y="82276"/>
                  </a:lnTo>
                  <a:lnTo>
                    <a:pt x="384228" y="81481"/>
                  </a:lnTo>
                  <a:lnTo>
                    <a:pt x="383132" y="81481"/>
                  </a:lnTo>
                  <a:lnTo>
                    <a:pt x="382235" y="82176"/>
                  </a:lnTo>
                  <a:lnTo>
                    <a:pt x="382235" y="83072"/>
                  </a:lnTo>
                  <a:lnTo>
                    <a:pt x="382235" y="83868"/>
                  </a:lnTo>
                  <a:lnTo>
                    <a:pt x="380641" y="83868"/>
                  </a:lnTo>
                  <a:lnTo>
                    <a:pt x="376057" y="81779"/>
                  </a:lnTo>
                  <a:lnTo>
                    <a:pt x="373267" y="72726"/>
                  </a:lnTo>
                  <a:lnTo>
                    <a:pt x="368384" y="70736"/>
                  </a:lnTo>
                  <a:lnTo>
                    <a:pt x="362306" y="70736"/>
                  </a:lnTo>
                  <a:lnTo>
                    <a:pt x="360911" y="70238"/>
                  </a:lnTo>
                  <a:lnTo>
                    <a:pt x="358520" y="68448"/>
                  </a:lnTo>
                  <a:lnTo>
                    <a:pt x="357125" y="68448"/>
                  </a:lnTo>
                  <a:lnTo>
                    <a:pt x="356128" y="68448"/>
                  </a:lnTo>
                  <a:lnTo>
                    <a:pt x="354235" y="70238"/>
                  </a:lnTo>
                  <a:lnTo>
                    <a:pt x="352740" y="70736"/>
                  </a:lnTo>
                  <a:lnTo>
                    <a:pt x="352740" y="70736"/>
                  </a:lnTo>
                  <a:lnTo>
                    <a:pt x="352740" y="70736"/>
                  </a:lnTo>
                  <a:lnTo>
                    <a:pt x="352740" y="70736"/>
                  </a:lnTo>
                  <a:lnTo>
                    <a:pt x="351943" y="70736"/>
                  </a:lnTo>
                  <a:lnTo>
                    <a:pt x="351943" y="70736"/>
                  </a:lnTo>
                  <a:lnTo>
                    <a:pt x="351943" y="69542"/>
                  </a:lnTo>
                  <a:lnTo>
                    <a:pt x="351445" y="69542"/>
                  </a:lnTo>
                  <a:lnTo>
                    <a:pt x="346163" y="67751"/>
                  </a:lnTo>
                  <a:lnTo>
                    <a:pt x="345466" y="67751"/>
                  </a:lnTo>
                  <a:lnTo>
                    <a:pt x="343972" y="67154"/>
                  </a:lnTo>
                  <a:lnTo>
                    <a:pt x="342477" y="67154"/>
                  </a:lnTo>
                  <a:lnTo>
                    <a:pt x="341779" y="68646"/>
                  </a:lnTo>
                  <a:lnTo>
                    <a:pt x="340583" y="69243"/>
                  </a:lnTo>
                  <a:lnTo>
                    <a:pt x="333310" y="69243"/>
                  </a:lnTo>
                  <a:lnTo>
                    <a:pt x="330320" y="69243"/>
                  </a:lnTo>
                  <a:lnTo>
                    <a:pt x="328627" y="68448"/>
                  </a:lnTo>
                  <a:lnTo>
                    <a:pt x="327829" y="68448"/>
                  </a:lnTo>
                  <a:lnTo>
                    <a:pt x="327829" y="70139"/>
                  </a:lnTo>
                  <a:lnTo>
                    <a:pt x="327032" y="70139"/>
                  </a:lnTo>
                  <a:lnTo>
                    <a:pt x="324641" y="70139"/>
                  </a:lnTo>
                  <a:lnTo>
                    <a:pt x="324641" y="70139"/>
                  </a:lnTo>
                  <a:lnTo>
                    <a:pt x="324641" y="70139"/>
                  </a:lnTo>
                  <a:lnTo>
                    <a:pt x="324641" y="71133"/>
                  </a:lnTo>
                  <a:lnTo>
                    <a:pt x="323245" y="71133"/>
                  </a:lnTo>
                  <a:lnTo>
                    <a:pt x="317367" y="70337"/>
                  </a:lnTo>
                  <a:lnTo>
                    <a:pt x="315573" y="69642"/>
                  </a:lnTo>
                  <a:lnTo>
                    <a:pt x="312385" y="66159"/>
                  </a:lnTo>
                  <a:lnTo>
                    <a:pt x="311288" y="64269"/>
                  </a:lnTo>
                  <a:lnTo>
                    <a:pt x="311288" y="62279"/>
                  </a:lnTo>
                  <a:lnTo>
                    <a:pt x="309096" y="59991"/>
                  </a:lnTo>
                  <a:lnTo>
                    <a:pt x="291061" y="52729"/>
                  </a:lnTo>
                  <a:lnTo>
                    <a:pt x="289267" y="51734"/>
                  </a:lnTo>
                  <a:lnTo>
                    <a:pt x="287374" y="50142"/>
                  </a:lnTo>
                  <a:lnTo>
                    <a:pt x="286178" y="49445"/>
                  </a:lnTo>
                  <a:lnTo>
                    <a:pt x="283687" y="49445"/>
                  </a:lnTo>
                  <a:lnTo>
                    <a:pt x="282590" y="49445"/>
                  </a:lnTo>
                  <a:lnTo>
                    <a:pt x="281993" y="48649"/>
                  </a:lnTo>
                  <a:lnTo>
                    <a:pt x="280598" y="46162"/>
                  </a:lnTo>
                  <a:lnTo>
                    <a:pt x="280598" y="45565"/>
                  </a:lnTo>
                  <a:lnTo>
                    <a:pt x="278904" y="45565"/>
                  </a:lnTo>
                  <a:lnTo>
                    <a:pt x="276612" y="45565"/>
                  </a:lnTo>
                  <a:lnTo>
                    <a:pt x="274420" y="44471"/>
                  </a:lnTo>
                  <a:lnTo>
                    <a:pt x="273224" y="42183"/>
                  </a:lnTo>
                  <a:lnTo>
                    <a:pt x="273921" y="39994"/>
                  </a:lnTo>
                  <a:lnTo>
                    <a:pt x="275516" y="38701"/>
                  </a:lnTo>
                  <a:lnTo>
                    <a:pt x="277409" y="37905"/>
                  </a:lnTo>
                  <a:lnTo>
                    <a:pt x="279003" y="37407"/>
                  </a:lnTo>
                  <a:lnTo>
                    <a:pt x="293552" y="37905"/>
                  </a:lnTo>
                  <a:lnTo>
                    <a:pt x="298334" y="36711"/>
                  </a:lnTo>
                  <a:lnTo>
                    <a:pt x="301723" y="37209"/>
                  </a:lnTo>
                  <a:lnTo>
                    <a:pt x="305608" y="37209"/>
                  </a:lnTo>
                  <a:lnTo>
                    <a:pt x="307900" y="37209"/>
                  </a:lnTo>
                  <a:lnTo>
                    <a:pt x="311288" y="38004"/>
                  </a:lnTo>
                  <a:lnTo>
                    <a:pt x="314178" y="38004"/>
                  </a:lnTo>
                  <a:lnTo>
                    <a:pt x="320655" y="37009"/>
                  </a:lnTo>
                  <a:lnTo>
                    <a:pt x="325637" y="34920"/>
                  </a:lnTo>
                  <a:lnTo>
                    <a:pt x="327132" y="34920"/>
                  </a:lnTo>
                  <a:lnTo>
                    <a:pt x="328427" y="34224"/>
                  </a:lnTo>
                  <a:lnTo>
                    <a:pt x="330918" y="34224"/>
                  </a:lnTo>
                  <a:lnTo>
                    <a:pt x="332313" y="34224"/>
                  </a:lnTo>
                  <a:lnTo>
                    <a:pt x="334107" y="33726"/>
                  </a:lnTo>
                  <a:lnTo>
                    <a:pt x="335801" y="32035"/>
                  </a:lnTo>
                  <a:lnTo>
                    <a:pt x="336996" y="30841"/>
                  </a:lnTo>
                  <a:lnTo>
                    <a:pt x="338192" y="30344"/>
                  </a:lnTo>
                  <a:lnTo>
                    <a:pt x="338192" y="27558"/>
                  </a:lnTo>
                  <a:lnTo>
                    <a:pt x="338790" y="26265"/>
                  </a:lnTo>
                  <a:lnTo>
                    <a:pt x="338790" y="24076"/>
                  </a:lnTo>
                  <a:lnTo>
                    <a:pt x="339886" y="20296"/>
                  </a:lnTo>
                  <a:lnTo>
                    <a:pt x="339886" y="18803"/>
                  </a:lnTo>
                  <a:lnTo>
                    <a:pt x="338092" y="18206"/>
                  </a:lnTo>
                  <a:lnTo>
                    <a:pt x="336199" y="18206"/>
                  </a:lnTo>
                  <a:lnTo>
                    <a:pt x="332712" y="15222"/>
                  </a:lnTo>
                  <a:lnTo>
                    <a:pt x="330320" y="13331"/>
                  </a:lnTo>
                  <a:lnTo>
                    <a:pt x="326036" y="10048"/>
                  </a:lnTo>
                  <a:lnTo>
                    <a:pt x="321552" y="8357"/>
                  </a:lnTo>
                  <a:lnTo>
                    <a:pt x="310292" y="4377"/>
                  </a:lnTo>
                  <a:lnTo>
                    <a:pt x="305808" y="4377"/>
                  </a:lnTo>
                  <a:lnTo>
                    <a:pt x="295843" y="5273"/>
                  </a:lnTo>
                  <a:lnTo>
                    <a:pt x="282392" y="7561"/>
                  </a:lnTo>
                  <a:lnTo>
                    <a:pt x="278306" y="5870"/>
                  </a:lnTo>
                  <a:lnTo>
                    <a:pt x="269737" y="3383"/>
                  </a:lnTo>
                  <a:lnTo>
                    <a:pt x="259772" y="3383"/>
                  </a:lnTo>
                  <a:lnTo>
                    <a:pt x="254392" y="4079"/>
                  </a:lnTo>
                  <a:lnTo>
                    <a:pt x="251601" y="4079"/>
                  </a:lnTo>
                  <a:lnTo>
                    <a:pt x="249010" y="4079"/>
                  </a:lnTo>
                  <a:lnTo>
                    <a:pt x="244925" y="2985"/>
                  </a:lnTo>
                  <a:lnTo>
                    <a:pt x="236655" y="4179"/>
                  </a:lnTo>
                  <a:lnTo>
                    <a:pt x="229979" y="2487"/>
                  </a:lnTo>
                  <a:lnTo>
                    <a:pt x="228484" y="2487"/>
                  </a:lnTo>
                  <a:lnTo>
                    <a:pt x="226092" y="3781"/>
                  </a:lnTo>
                  <a:lnTo>
                    <a:pt x="224797" y="3781"/>
                  </a:lnTo>
                  <a:lnTo>
                    <a:pt x="218918" y="2487"/>
                  </a:lnTo>
                  <a:lnTo>
                    <a:pt x="214335" y="3582"/>
                  </a:lnTo>
                  <a:lnTo>
                    <a:pt x="200982" y="0"/>
                  </a:lnTo>
                  <a:lnTo>
                    <a:pt x="198292" y="0"/>
                  </a:lnTo>
                  <a:lnTo>
                    <a:pt x="195701" y="1293"/>
                  </a:lnTo>
                  <a:lnTo>
                    <a:pt x="194306" y="3482"/>
                  </a:lnTo>
                  <a:lnTo>
                    <a:pt x="194306" y="6168"/>
                  </a:lnTo>
                  <a:lnTo>
                    <a:pt x="194306" y="8855"/>
                  </a:lnTo>
                  <a:lnTo>
                    <a:pt x="193509" y="11342"/>
                  </a:lnTo>
                  <a:lnTo>
                    <a:pt x="191616" y="12536"/>
                  </a:lnTo>
                  <a:lnTo>
                    <a:pt x="187331" y="14028"/>
                  </a:lnTo>
                  <a:lnTo>
                    <a:pt x="179758" y="20494"/>
                  </a:lnTo>
                  <a:lnTo>
                    <a:pt x="178263" y="21390"/>
                  </a:lnTo>
                  <a:lnTo>
                    <a:pt x="175374" y="21390"/>
                  </a:lnTo>
                  <a:lnTo>
                    <a:pt x="173381" y="21987"/>
                  </a:lnTo>
                  <a:lnTo>
                    <a:pt x="165011" y="26364"/>
                  </a:lnTo>
                  <a:lnTo>
                    <a:pt x="160826" y="29150"/>
                  </a:lnTo>
                  <a:lnTo>
                    <a:pt x="157338" y="32731"/>
                  </a:lnTo>
                  <a:lnTo>
                    <a:pt x="150164" y="46560"/>
                  </a:lnTo>
                  <a:lnTo>
                    <a:pt x="147075" y="49545"/>
                  </a:lnTo>
                  <a:lnTo>
                    <a:pt x="142990" y="50042"/>
                  </a:lnTo>
                  <a:lnTo>
                    <a:pt x="138804" y="48848"/>
                  </a:lnTo>
                  <a:lnTo>
                    <a:pt x="137110" y="48848"/>
                  </a:lnTo>
                  <a:lnTo>
                    <a:pt x="135317" y="49346"/>
                  </a:lnTo>
                  <a:lnTo>
                    <a:pt x="135317" y="50739"/>
                  </a:lnTo>
                  <a:lnTo>
                    <a:pt x="135317" y="51336"/>
                  </a:lnTo>
                  <a:lnTo>
                    <a:pt x="135317" y="51336"/>
                  </a:lnTo>
                  <a:lnTo>
                    <a:pt x="134719" y="51336"/>
                  </a:lnTo>
                  <a:lnTo>
                    <a:pt x="133822" y="51336"/>
                  </a:lnTo>
                  <a:lnTo>
                    <a:pt x="133224" y="51336"/>
                  </a:lnTo>
                  <a:lnTo>
                    <a:pt x="133224" y="51336"/>
                  </a:lnTo>
                  <a:lnTo>
                    <a:pt x="133224" y="51932"/>
                  </a:lnTo>
                  <a:lnTo>
                    <a:pt x="133224" y="54221"/>
                  </a:lnTo>
                  <a:lnTo>
                    <a:pt x="128641" y="57106"/>
                  </a:lnTo>
                  <a:lnTo>
                    <a:pt x="127046" y="58797"/>
                  </a:lnTo>
                  <a:lnTo>
                    <a:pt x="126349" y="59991"/>
                  </a:lnTo>
                  <a:lnTo>
                    <a:pt x="126349" y="61682"/>
                  </a:lnTo>
                  <a:lnTo>
                    <a:pt x="125452" y="63672"/>
                  </a:lnTo>
                  <a:lnTo>
                    <a:pt x="124854" y="64568"/>
                  </a:lnTo>
                  <a:lnTo>
                    <a:pt x="123758" y="65463"/>
                  </a:lnTo>
                  <a:lnTo>
                    <a:pt x="123758" y="64965"/>
                  </a:lnTo>
                  <a:lnTo>
                    <a:pt x="123758" y="64965"/>
                  </a:lnTo>
                  <a:lnTo>
                    <a:pt x="123758" y="66557"/>
                  </a:lnTo>
                  <a:lnTo>
                    <a:pt x="122861" y="67552"/>
                  </a:lnTo>
                  <a:lnTo>
                    <a:pt x="122164" y="66159"/>
                  </a:lnTo>
                  <a:lnTo>
                    <a:pt x="121068" y="66159"/>
                  </a:lnTo>
                  <a:lnTo>
                    <a:pt x="119972" y="66159"/>
                  </a:lnTo>
                  <a:lnTo>
                    <a:pt x="119972" y="68348"/>
                  </a:lnTo>
                  <a:lnTo>
                    <a:pt x="117879" y="70636"/>
                  </a:lnTo>
                  <a:lnTo>
                    <a:pt x="111601" y="71233"/>
                  </a:lnTo>
                  <a:lnTo>
                    <a:pt x="105025" y="70337"/>
                  </a:lnTo>
                  <a:lnTo>
                    <a:pt x="99445" y="68049"/>
                  </a:lnTo>
                  <a:lnTo>
                    <a:pt x="100441" y="66955"/>
                  </a:lnTo>
                  <a:lnTo>
                    <a:pt x="100441" y="65562"/>
                  </a:lnTo>
                  <a:lnTo>
                    <a:pt x="99445" y="64070"/>
                  </a:lnTo>
                  <a:lnTo>
                    <a:pt x="98748" y="62379"/>
                  </a:lnTo>
                  <a:lnTo>
                    <a:pt x="94164" y="62379"/>
                  </a:lnTo>
                  <a:lnTo>
                    <a:pt x="92370" y="66059"/>
                  </a:lnTo>
                  <a:lnTo>
                    <a:pt x="89182" y="69343"/>
                  </a:lnTo>
                  <a:lnTo>
                    <a:pt x="85495" y="71730"/>
                  </a:lnTo>
                  <a:lnTo>
                    <a:pt x="82007" y="72626"/>
                  </a:lnTo>
                  <a:lnTo>
                    <a:pt x="82007" y="72626"/>
                  </a:lnTo>
                  <a:lnTo>
                    <a:pt x="82007" y="71730"/>
                  </a:lnTo>
                  <a:lnTo>
                    <a:pt x="82007" y="71730"/>
                  </a:lnTo>
                  <a:lnTo>
                    <a:pt x="67957" y="73720"/>
                  </a:lnTo>
                  <a:lnTo>
                    <a:pt x="67260" y="73720"/>
                  </a:lnTo>
                  <a:lnTo>
                    <a:pt x="67260" y="73720"/>
                  </a:lnTo>
                  <a:lnTo>
                    <a:pt x="67260" y="72726"/>
                  </a:lnTo>
                  <a:lnTo>
                    <a:pt x="67260" y="71830"/>
                  </a:lnTo>
                  <a:lnTo>
                    <a:pt x="67260" y="71830"/>
                  </a:lnTo>
                  <a:lnTo>
                    <a:pt x="65765" y="71830"/>
                  </a:lnTo>
                  <a:lnTo>
                    <a:pt x="64271" y="73820"/>
                  </a:lnTo>
                  <a:lnTo>
                    <a:pt x="62377" y="73820"/>
                  </a:lnTo>
                  <a:lnTo>
                    <a:pt x="52413" y="73223"/>
                  </a:lnTo>
                  <a:lnTo>
                    <a:pt x="49523" y="73820"/>
                  </a:lnTo>
                  <a:lnTo>
                    <a:pt x="44342" y="78894"/>
                  </a:lnTo>
                  <a:lnTo>
                    <a:pt x="44342" y="79988"/>
                  </a:lnTo>
                  <a:lnTo>
                    <a:pt x="43346" y="83769"/>
                  </a:lnTo>
                  <a:lnTo>
                    <a:pt x="42748" y="85062"/>
                  </a:lnTo>
                  <a:lnTo>
                    <a:pt x="43445" y="85957"/>
                  </a:lnTo>
                  <a:lnTo>
                    <a:pt x="43445" y="86753"/>
                  </a:lnTo>
                  <a:lnTo>
                    <a:pt x="43445" y="88743"/>
                  </a:lnTo>
                  <a:lnTo>
                    <a:pt x="42050" y="87549"/>
                  </a:lnTo>
                  <a:lnTo>
                    <a:pt x="40655" y="87549"/>
                  </a:lnTo>
                  <a:lnTo>
                    <a:pt x="39758" y="89041"/>
                  </a:lnTo>
                  <a:lnTo>
                    <a:pt x="39758" y="91230"/>
                  </a:lnTo>
                  <a:lnTo>
                    <a:pt x="40755" y="93021"/>
                  </a:lnTo>
                  <a:lnTo>
                    <a:pt x="41950" y="93717"/>
                  </a:lnTo>
                  <a:lnTo>
                    <a:pt x="43445" y="93717"/>
                  </a:lnTo>
                  <a:lnTo>
                    <a:pt x="45039" y="92523"/>
                  </a:lnTo>
                  <a:lnTo>
                    <a:pt x="44242" y="95408"/>
                  </a:lnTo>
                  <a:lnTo>
                    <a:pt x="39957" y="98692"/>
                  </a:lnTo>
                  <a:lnTo>
                    <a:pt x="38861" y="101477"/>
                  </a:lnTo>
                  <a:lnTo>
                    <a:pt x="39360" y="102074"/>
                  </a:lnTo>
                  <a:lnTo>
                    <a:pt x="40157" y="102870"/>
                  </a:lnTo>
                  <a:lnTo>
                    <a:pt x="40755" y="103865"/>
                  </a:lnTo>
                  <a:lnTo>
                    <a:pt x="40157" y="105158"/>
                  </a:lnTo>
                  <a:lnTo>
                    <a:pt x="38961" y="106352"/>
                  </a:lnTo>
                  <a:lnTo>
                    <a:pt x="37566" y="107347"/>
                  </a:lnTo>
                  <a:lnTo>
                    <a:pt x="36071" y="108143"/>
                  </a:lnTo>
                  <a:lnTo>
                    <a:pt x="34577" y="108143"/>
                  </a:lnTo>
                  <a:lnTo>
                    <a:pt x="32185" y="107546"/>
                  </a:lnTo>
                  <a:lnTo>
                    <a:pt x="27402" y="104959"/>
                  </a:lnTo>
                  <a:lnTo>
                    <a:pt x="24513" y="104959"/>
                  </a:lnTo>
                  <a:lnTo>
                    <a:pt x="21822" y="105556"/>
                  </a:lnTo>
                  <a:lnTo>
                    <a:pt x="16940" y="108541"/>
                  </a:lnTo>
                  <a:lnTo>
                    <a:pt x="14548" y="109535"/>
                  </a:lnTo>
                  <a:lnTo>
                    <a:pt x="9367" y="109535"/>
                  </a:lnTo>
                  <a:lnTo>
                    <a:pt x="7971" y="110132"/>
                  </a:lnTo>
                  <a:lnTo>
                    <a:pt x="5082" y="111924"/>
                  </a:lnTo>
                  <a:lnTo>
                    <a:pt x="1196" y="113117"/>
                  </a:lnTo>
                  <a:lnTo>
                    <a:pt x="0" y="114112"/>
                  </a:lnTo>
                  <a:lnTo>
                    <a:pt x="163915" y="114112"/>
                  </a:lnTo>
                  <a:lnTo>
                    <a:pt x="163915" y="110431"/>
                  </a:lnTo>
                  <a:lnTo>
                    <a:pt x="165011" y="109038"/>
                  </a:lnTo>
                  <a:lnTo>
                    <a:pt x="167502" y="107247"/>
                  </a:lnTo>
                  <a:lnTo>
                    <a:pt x="170491" y="105755"/>
                  </a:lnTo>
                  <a:lnTo>
                    <a:pt x="172584" y="105755"/>
                  </a:lnTo>
                  <a:lnTo>
                    <a:pt x="171188" y="105059"/>
                  </a:lnTo>
                  <a:lnTo>
                    <a:pt x="169794" y="105059"/>
                  </a:lnTo>
                  <a:lnTo>
                    <a:pt x="168299" y="105059"/>
                  </a:lnTo>
                  <a:lnTo>
                    <a:pt x="166705" y="104363"/>
                  </a:lnTo>
                  <a:lnTo>
                    <a:pt x="166705" y="104363"/>
                  </a:lnTo>
                  <a:lnTo>
                    <a:pt x="167502" y="104363"/>
                  </a:lnTo>
                  <a:lnTo>
                    <a:pt x="168697" y="103467"/>
                  </a:lnTo>
                  <a:lnTo>
                    <a:pt x="185239" y="105457"/>
                  </a:lnTo>
                  <a:lnTo>
                    <a:pt x="195203" y="108044"/>
                  </a:lnTo>
                  <a:lnTo>
                    <a:pt x="202277" y="110033"/>
                  </a:lnTo>
                  <a:lnTo>
                    <a:pt x="204470" y="111028"/>
                  </a:lnTo>
                  <a:lnTo>
                    <a:pt x="206263" y="112521"/>
                  </a:lnTo>
                  <a:lnTo>
                    <a:pt x="206263" y="113117"/>
                  </a:lnTo>
                  <a:lnTo>
                    <a:pt x="517053" y="113117"/>
                  </a:lnTo>
                  <a:lnTo>
                    <a:pt x="512769" y="111824"/>
                  </a:lnTo>
                  <a:close/>
                  <a:moveTo>
                    <a:pt x="97651" y="100482"/>
                  </a:moveTo>
                  <a:lnTo>
                    <a:pt x="95160" y="100482"/>
                  </a:lnTo>
                  <a:lnTo>
                    <a:pt x="92370" y="100482"/>
                  </a:lnTo>
                  <a:lnTo>
                    <a:pt x="90477" y="99587"/>
                  </a:lnTo>
                  <a:lnTo>
                    <a:pt x="91673" y="98891"/>
                  </a:lnTo>
                  <a:lnTo>
                    <a:pt x="95459" y="99686"/>
                  </a:lnTo>
                  <a:lnTo>
                    <a:pt x="97352" y="100283"/>
                  </a:lnTo>
                  <a:lnTo>
                    <a:pt x="98349" y="100283"/>
                  </a:lnTo>
                  <a:close/>
                  <a:moveTo>
                    <a:pt x="217822" y="105556"/>
                  </a:moveTo>
                  <a:lnTo>
                    <a:pt x="214335" y="105556"/>
                  </a:lnTo>
                  <a:lnTo>
                    <a:pt x="210847" y="103964"/>
                  </a:lnTo>
                  <a:lnTo>
                    <a:pt x="209552" y="101676"/>
                  </a:lnTo>
                  <a:lnTo>
                    <a:pt x="212441" y="100980"/>
                  </a:lnTo>
                  <a:lnTo>
                    <a:pt x="217125" y="103069"/>
                  </a:lnTo>
                  <a:lnTo>
                    <a:pt x="219317" y="104760"/>
                  </a:lnTo>
                  <a:close/>
                  <a:moveTo>
                    <a:pt x="229082" y="17012"/>
                  </a:moveTo>
                  <a:lnTo>
                    <a:pt x="228484" y="18007"/>
                  </a:lnTo>
                  <a:lnTo>
                    <a:pt x="227986" y="18903"/>
                  </a:lnTo>
                  <a:lnTo>
                    <a:pt x="227388" y="18306"/>
                  </a:lnTo>
                  <a:lnTo>
                    <a:pt x="227388" y="9750"/>
                  </a:lnTo>
                  <a:lnTo>
                    <a:pt x="227388" y="8556"/>
                  </a:lnTo>
                  <a:lnTo>
                    <a:pt x="227388" y="7860"/>
                  </a:lnTo>
                  <a:lnTo>
                    <a:pt x="227388" y="7860"/>
                  </a:lnTo>
                  <a:lnTo>
                    <a:pt x="228085" y="8357"/>
                  </a:lnTo>
                  <a:lnTo>
                    <a:pt x="228085" y="9451"/>
                  </a:lnTo>
                  <a:lnTo>
                    <a:pt x="228085" y="9949"/>
                  </a:lnTo>
                  <a:lnTo>
                    <a:pt x="228584" y="11640"/>
                  </a:lnTo>
                  <a:lnTo>
                    <a:pt x="228584" y="14824"/>
                  </a:lnTo>
                  <a:close/>
                  <a:moveTo>
                    <a:pt x="350648" y="88942"/>
                  </a:moveTo>
                  <a:lnTo>
                    <a:pt x="349352" y="88246"/>
                  </a:lnTo>
                  <a:lnTo>
                    <a:pt x="347160" y="88246"/>
                  </a:lnTo>
                  <a:lnTo>
                    <a:pt x="347160" y="87350"/>
                  </a:lnTo>
                  <a:lnTo>
                    <a:pt x="347160" y="86256"/>
                  </a:lnTo>
                  <a:lnTo>
                    <a:pt x="347160" y="85162"/>
                  </a:lnTo>
                  <a:lnTo>
                    <a:pt x="347957" y="84664"/>
                  </a:lnTo>
                  <a:lnTo>
                    <a:pt x="349352" y="84664"/>
                  </a:lnTo>
                  <a:lnTo>
                    <a:pt x="350648" y="85360"/>
                  </a:lnTo>
                  <a:lnTo>
                    <a:pt x="351245" y="85360"/>
                  </a:lnTo>
                  <a:lnTo>
                    <a:pt x="352142" y="86455"/>
                  </a:lnTo>
                  <a:lnTo>
                    <a:pt x="352142" y="88345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4" name="Freeform: Shape 1113">
              <a:extLst>
                <a:ext uri="{FF2B5EF4-FFF2-40B4-BE49-F238E27FC236}">
                  <a16:creationId xmlns:a16="http://schemas.microsoft.com/office/drawing/2014/main" id="{CA546683-CC7B-4E7E-9194-8F91229C573A}"/>
                </a:ext>
              </a:extLst>
            </p:cNvPr>
            <p:cNvSpPr/>
            <p:nvPr/>
          </p:nvSpPr>
          <p:spPr>
            <a:xfrm>
              <a:off x="2839788" y="4682809"/>
              <a:ext cx="32085" cy="8556"/>
            </a:xfrm>
            <a:custGeom>
              <a:avLst/>
              <a:gdLst>
                <a:gd name="connsiteX0" fmla="*/ 29196 w 32085"/>
                <a:gd name="connsiteY0" fmla="*/ 896 h 8556"/>
                <a:gd name="connsiteX1" fmla="*/ 24213 w 32085"/>
                <a:gd name="connsiteY1" fmla="*/ 0 h 8556"/>
                <a:gd name="connsiteX2" fmla="*/ 18534 w 32085"/>
                <a:gd name="connsiteY2" fmla="*/ 896 h 8556"/>
                <a:gd name="connsiteX3" fmla="*/ 8470 w 32085"/>
                <a:gd name="connsiteY3" fmla="*/ 3880 h 8556"/>
                <a:gd name="connsiteX4" fmla="*/ 3587 w 32085"/>
                <a:gd name="connsiteY4" fmla="*/ 6168 h 8556"/>
                <a:gd name="connsiteX5" fmla="*/ 0 w 32085"/>
                <a:gd name="connsiteY5" fmla="*/ 8556 h 8556"/>
                <a:gd name="connsiteX6" fmla="*/ 31388 w 32085"/>
                <a:gd name="connsiteY6" fmla="*/ 8556 h 8556"/>
                <a:gd name="connsiteX7" fmla="*/ 32085 w 32085"/>
                <a:gd name="connsiteY7" fmla="*/ 4875 h 8556"/>
                <a:gd name="connsiteX8" fmla="*/ 29196 w 32085"/>
                <a:gd name="connsiteY8" fmla="*/ 896 h 8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085" h="8556">
                  <a:moveTo>
                    <a:pt x="29196" y="896"/>
                  </a:moveTo>
                  <a:lnTo>
                    <a:pt x="24213" y="0"/>
                  </a:lnTo>
                  <a:lnTo>
                    <a:pt x="18534" y="896"/>
                  </a:lnTo>
                  <a:lnTo>
                    <a:pt x="8470" y="3880"/>
                  </a:lnTo>
                  <a:lnTo>
                    <a:pt x="3587" y="6168"/>
                  </a:lnTo>
                  <a:lnTo>
                    <a:pt x="0" y="8556"/>
                  </a:lnTo>
                  <a:lnTo>
                    <a:pt x="31388" y="8556"/>
                  </a:lnTo>
                  <a:lnTo>
                    <a:pt x="32085" y="4875"/>
                  </a:lnTo>
                  <a:lnTo>
                    <a:pt x="29196" y="896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5" name="Freeform: Shape 1114">
              <a:extLst>
                <a:ext uri="{FF2B5EF4-FFF2-40B4-BE49-F238E27FC236}">
                  <a16:creationId xmlns:a16="http://schemas.microsoft.com/office/drawing/2014/main" id="{C9022330-6296-4E66-94E3-BF1C23264E43}"/>
                </a:ext>
              </a:extLst>
            </p:cNvPr>
            <p:cNvSpPr/>
            <p:nvPr/>
          </p:nvSpPr>
          <p:spPr>
            <a:xfrm>
              <a:off x="-525989" y="4109960"/>
              <a:ext cx="199" cy="298"/>
            </a:xfrm>
            <a:custGeom>
              <a:avLst/>
              <a:gdLst>
                <a:gd name="connsiteX0" fmla="*/ 0 w 199"/>
                <a:gd name="connsiteY0" fmla="*/ 0 h 298"/>
                <a:gd name="connsiteX1" fmla="*/ 100 w 199"/>
                <a:gd name="connsiteY1" fmla="*/ 298 h 298"/>
                <a:gd name="connsiteX2" fmla="*/ 199 w 199"/>
                <a:gd name="connsiteY2" fmla="*/ 100 h 298"/>
                <a:gd name="connsiteX3" fmla="*/ 0 w 199"/>
                <a:gd name="connsiteY3" fmla="*/ 0 h 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9" h="298">
                  <a:moveTo>
                    <a:pt x="0" y="0"/>
                  </a:moveTo>
                  <a:lnTo>
                    <a:pt x="100" y="298"/>
                  </a:lnTo>
                  <a:lnTo>
                    <a:pt x="199" y="10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6" name="Freeform: Shape 1115">
              <a:extLst>
                <a:ext uri="{FF2B5EF4-FFF2-40B4-BE49-F238E27FC236}">
                  <a16:creationId xmlns:a16="http://schemas.microsoft.com/office/drawing/2014/main" id="{23F4E528-28D7-49A7-BAD2-DE4882C3E876}"/>
                </a:ext>
              </a:extLst>
            </p:cNvPr>
            <p:cNvSpPr/>
            <p:nvPr/>
          </p:nvSpPr>
          <p:spPr>
            <a:xfrm>
              <a:off x="1183703" y="4660225"/>
              <a:ext cx="17039" cy="29447"/>
            </a:xfrm>
            <a:custGeom>
              <a:avLst/>
              <a:gdLst>
                <a:gd name="connsiteX0" fmla="*/ 15445 w 17039"/>
                <a:gd name="connsiteY0" fmla="*/ 25469 h 29447"/>
                <a:gd name="connsiteX1" fmla="*/ 11957 w 17039"/>
                <a:gd name="connsiteY1" fmla="*/ 23180 h 29447"/>
                <a:gd name="connsiteX2" fmla="*/ 1694 w 17039"/>
                <a:gd name="connsiteY2" fmla="*/ 4377 h 29447"/>
                <a:gd name="connsiteX3" fmla="*/ 0 w 17039"/>
                <a:gd name="connsiteY3" fmla="*/ 0 h 29447"/>
                <a:gd name="connsiteX4" fmla="*/ 498 w 17039"/>
                <a:gd name="connsiteY4" fmla="*/ 3084 h 29447"/>
                <a:gd name="connsiteX5" fmla="*/ 2690 w 17039"/>
                <a:gd name="connsiteY5" fmla="*/ 7959 h 29447"/>
                <a:gd name="connsiteX6" fmla="*/ 3687 w 17039"/>
                <a:gd name="connsiteY6" fmla="*/ 9451 h 29447"/>
                <a:gd name="connsiteX7" fmla="*/ 4584 w 17039"/>
                <a:gd name="connsiteY7" fmla="*/ 12137 h 29447"/>
                <a:gd name="connsiteX8" fmla="*/ 7672 w 17039"/>
                <a:gd name="connsiteY8" fmla="*/ 19499 h 29447"/>
                <a:gd name="connsiteX9" fmla="*/ 8569 w 17039"/>
                <a:gd name="connsiteY9" fmla="*/ 24971 h 29447"/>
                <a:gd name="connsiteX10" fmla="*/ 8868 w 17039"/>
                <a:gd name="connsiteY10" fmla="*/ 29448 h 29447"/>
                <a:gd name="connsiteX11" fmla="*/ 17039 w 17039"/>
                <a:gd name="connsiteY11" fmla="*/ 29448 h 29447"/>
                <a:gd name="connsiteX12" fmla="*/ 16840 w 17039"/>
                <a:gd name="connsiteY12" fmla="*/ 28553 h 29447"/>
                <a:gd name="connsiteX13" fmla="*/ 15445 w 17039"/>
                <a:gd name="connsiteY13" fmla="*/ 25469 h 2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039" h="29447">
                  <a:moveTo>
                    <a:pt x="15445" y="25469"/>
                  </a:moveTo>
                  <a:lnTo>
                    <a:pt x="11957" y="23180"/>
                  </a:lnTo>
                  <a:lnTo>
                    <a:pt x="1694" y="4377"/>
                  </a:lnTo>
                  <a:lnTo>
                    <a:pt x="0" y="0"/>
                  </a:lnTo>
                  <a:lnTo>
                    <a:pt x="498" y="3084"/>
                  </a:lnTo>
                  <a:lnTo>
                    <a:pt x="2690" y="7959"/>
                  </a:lnTo>
                  <a:lnTo>
                    <a:pt x="3687" y="9451"/>
                  </a:lnTo>
                  <a:lnTo>
                    <a:pt x="4584" y="12137"/>
                  </a:lnTo>
                  <a:lnTo>
                    <a:pt x="7672" y="19499"/>
                  </a:lnTo>
                  <a:lnTo>
                    <a:pt x="8569" y="24971"/>
                  </a:lnTo>
                  <a:lnTo>
                    <a:pt x="8868" y="29448"/>
                  </a:lnTo>
                  <a:lnTo>
                    <a:pt x="17039" y="29448"/>
                  </a:lnTo>
                  <a:lnTo>
                    <a:pt x="16840" y="28553"/>
                  </a:lnTo>
                  <a:lnTo>
                    <a:pt x="15445" y="25469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7" name="Freeform: Shape 1116">
              <a:extLst>
                <a:ext uri="{FF2B5EF4-FFF2-40B4-BE49-F238E27FC236}">
                  <a16:creationId xmlns:a16="http://schemas.microsoft.com/office/drawing/2014/main" id="{8FBE9EC6-14DB-407E-8071-BB766A6C335B}"/>
                </a:ext>
              </a:extLst>
            </p:cNvPr>
            <p:cNvSpPr/>
            <p:nvPr/>
          </p:nvSpPr>
          <p:spPr>
            <a:xfrm>
              <a:off x="3989880" y="4475676"/>
              <a:ext cx="16441" cy="7461"/>
            </a:xfrm>
            <a:custGeom>
              <a:avLst/>
              <a:gdLst>
                <a:gd name="connsiteX0" fmla="*/ 9666 w 16441"/>
                <a:gd name="connsiteY0" fmla="*/ 1890 h 7461"/>
                <a:gd name="connsiteX1" fmla="*/ 4185 w 16441"/>
                <a:gd name="connsiteY1" fmla="*/ 298 h 7461"/>
                <a:gd name="connsiteX2" fmla="*/ 0 w 16441"/>
                <a:gd name="connsiteY2" fmla="*/ 0 h 7461"/>
                <a:gd name="connsiteX3" fmla="*/ 1993 w 16441"/>
                <a:gd name="connsiteY3" fmla="*/ 3283 h 7461"/>
                <a:gd name="connsiteX4" fmla="*/ 6477 w 16441"/>
                <a:gd name="connsiteY4" fmla="*/ 4974 h 7461"/>
                <a:gd name="connsiteX5" fmla="*/ 11858 w 16441"/>
                <a:gd name="connsiteY5" fmla="*/ 5969 h 7461"/>
                <a:gd name="connsiteX6" fmla="*/ 16442 w 16441"/>
                <a:gd name="connsiteY6" fmla="*/ 7462 h 7461"/>
                <a:gd name="connsiteX7" fmla="*/ 14349 w 16441"/>
                <a:gd name="connsiteY7" fmla="*/ 4377 h 7461"/>
                <a:gd name="connsiteX8" fmla="*/ 9666 w 16441"/>
                <a:gd name="connsiteY8" fmla="*/ 1890 h 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441" h="7461">
                  <a:moveTo>
                    <a:pt x="9666" y="1890"/>
                  </a:moveTo>
                  <a:lnTo>
                    <a:pt x="4185" y="298"/>
                  </a:lnTo>
                  <a:lnTo>
                    <a:pt x="0" y="0"/>
                  </a:lnTo>
                  <a:lnTo>
                    <a:pt x="1993" y="3283"/>
                  </a:lnTo>
                  <a:lnTo>
                    <a:pt x="6477" y="4974"/>
                  </a:lnTo>
                  <a:lnTo>
                    <a:pt x="11858" y="5969"/>
                  </a:lnTo>
                  <a:lnTo>
                    <a:pt x="16442" y="7462"/>
                  </a:lnTo>
                  <a:lnTo>
                    <a:pt x="14349" y="4377"/>
                  </a:lnTo>
                  <a:lnTo>
                    <a:pt x="9666" y="18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8" name="Freeform: Shape 1117">
              <a:extLst>
                <a:ext uri="{FF2B5EF4-FFF2-40B4-BE49-F238E27FC236}">
                  <a16:creationId xmlns:a16="http://schemas.microsoft.com/office/drawing/2014/main" id="{591EFD8A-FFCE-4D75-854F-4BC8A0122132}"/>
                </a:ext>
              </a:extLst>
            </p:cNvPr>
            <p:cNvSpPr/>
            <p:nvPr/>
          </p:nvSpPr>
          <p:spPr>
            <a:xfrm>
              <a:off x="3941153" y="4444735"/>
              <a:ext cx="47729" cy="33825"/>
            </a:xfrm>
            <a:custGeom>
              <a:avLst/>
              <a:gdLst>
                <a:gd name="connsiteX0" fmla="*/ 32384 w 47729"/>
                <a:gd name="connsiteY0" fmla="*/ 24375 h 33825"/>
                <a:gd name="connsiteX1" fmla="*/ 30391 w 47729"/>
                <a:gd name="connsiteY1" fmla="*/ 20097 h 33825"/>
                <a:gd name="connsiteX2" fmla="*/ 28997 w 47729"/>
                <a:gd name="connsiteY2" fmla="*/ 19699 h 33825"/>
                <a:gd name="connsiteX3" fmla="*/ 23018 w 47729"/>
                <a:gd name="connsiteY3" fmla="*/ 16216 h 33825"/>
                <a:gd name="connsiteX4" fmla="*/ 14648 w 47729"/>
                <a:gd name="connsiteY4" fmla="*/ 7462 h 33825"/>
                <a:gd name="connsiteX5" fmla="*/ 15445 w 47729"/>
                <a:gd name="connsiteY5" fmla="*/ 6964 h 33825"/>
                <a:gd name="connsiteX6" fmla="*/ 15744 w 47729"/>
                <a:gd name="connsiteY6" fmla="*/ 6566 h 33825"/>
                <a:gd name="connsiteX7" fmla="*/ 16043 w 47729"/>
                <a:gd name="connsiteY7" fmla="*/ 6168 h 33825"/>
                <a:gd name="connsiteX8" fmla="*/ 16442 w 47729"/>
                <a:gd name="connsiteY8" fmla="*/ 5572 h 33825"/>
                <a:gd name="connsiteX9" fmla="*/ 13751 w 47729"/>
                <a:gd name="connsiteY9" fmla="*/ 5372 h 33825"/>
                <a:gd name="connsiteX10" fmla="*/ 11758 w 47729"/>
                <a:gd name="connsiteY10" fmla="*/ 5074 h 33825"/>
                <a:gd name="connsiteX11" fmla="*/ 10164 w 47729"/>
                <a:gd name="connsiteY11" fmla="*/ 4179 h 33825"/>
                <a:gd name="connsiteX12" fmla="*/ 8769 w 47729"/>
                <a:gd name="connsiteY12" fmla="*/ 2786 h 33825"/>
                <a:gd name="connsiteX13" fmla="*/ 7673 w 47729"/>
                <a:gd name="connsiteY13" fmla="*/ 1095 h 33825"/>
                <a:gd name="connsiteX14" fmla="*/ 7075 w 47729"/>
                <a:gd name="connsiteY14" fmla="*/ 398 h 33825"/>
                <a:gd name="connsiteX15" fmla="*/ 6079 w 47729"/>
                <a:gd name="connsiteY15" fmla="*/ 0 h 33825"/>
                <a:gd name="connsiteX16" fmla="*/ 5281 w 47729"/>
                <a:gd name="connsiteY16" fmla="*/ 100 h 33825"/>
                <a:gd name="connsiteX17" fmla="*/ 4484 w 47729"/>
                <a:gd name="connsiteY17" fmla="*/ 696 h 33825"/>
                <a:gd name="connsiteX18" fmla="*/ 3288 w 47729"/>
                <a:gd name="connsiteY18" fmla="*/ 1194 h 33825"/>
                <a:gd name="connsiteX19" fmla="*/ 1794 w 47729"/>
                <a:gd name="connsiteY19" fmla="*/ 896 h 33825"/>
                <a:gd name="connsiteX20" fmla="*/ 797 w 47729"/>
                <a:gd name="connsiteY20" fmla="*/ 2288 h 33825"/>
                <a:gd name="connsiteX21" fmla="*/ 997 w 47729"/>
                <a:gd name="connsiteY21" fmla="*/ 4079 h 33825"/>
                <a:gd name="connsiteX22" fmla="*/ 2093 w 47729"/>
                <a:gd name="connsiteY22" fmla="*/ 5671 h 33825"/>
                <a:gd name="connsiteX23" fmla="*/ 3388 w 47729"/>
                <a:gd name="connsiteY23" fmla="*/ 6566 h 33825"/>
                <a:gd name="connsiteX24" fmla="*/ 3288 w 47729"/>
                <a:gd name="connsiteY24" fmla="*/ 7362 h 33825"/>
                <a:gd name="connsiteX25" fmla="*/ 4185 w 47729"/>
                <a:gd name="connsiteY25" fmla="*/ 8556 h 33825"/>
                <a:gd name="connsiteX26" fmla="*/ 4384 w 47729"/>
                <a:gd name="connsiteY26" fmla="*/ 9750 h 33825"/>
                <a:gd name="connsiteX27" fmla="*/ 3787 w 47729"/>
                <a:gd name="connsiteY27" fmla="*/ 10148 h 33825"/>
                <a:gd name="connsiteX28" fmla="*/ 0 w 47729"/>
                <a:gd name="connsiteY28" fmla="*/ 11242 h 33825"/>
                <a:gd name="connsiteX29" fmla="*/ 0 w 47729"/>
                <a:gd name="connsiteY29" fmla="*/ 12137 h 33825"/>
                <a:gd name="connsiteX30" fmla="*/ 6278 w 47729"/>
                <a:gd name="connsiteY30" fmla="*/ 11541 h 33825"/>
                <a:gd name="connsiteX31" fmla="*/ 11659 w 47729"/>
                <a:gd name="connsiteY31" fmla="*/ 13332 h 33825"/>
                <a:gd name="connsiteX32" fmla="*/ 16442 w 47729"/>
                <a:gd name="connsiteY32" fmla="*/ 16913 h 33825"/>
                <a:gd name="connsiteX33" fmla="*/ 20826 w 47729"/>
                <a:gd name="connsiteY33" fmla="*/ 21489 h 33825"/>
                <a:gd name="connsiteX34" fmla="*/ 22619 w 47729"/>
                <a:gd name="connsiteY34" fmla="*/ 20296 h 33825"/>
                <a:gd name="connsiteX35" fmla="*/ 24811 w 47729"/>
                <a:gd name="connsiteY35" fmla="*/ 21489 h 33825"/>
                <a:gd name="connsiteX36" fmla="*/ 27203 w 47729"/>
                <a:gd name="connsiteY36" fmla="*/ 23678 h 33825"/>
                <a:gd name="connsiteX37" fmla="*/ 29495 w 47729"/>
                <a:gd name="connsiteY37" fmla="*/ 25369 h 33825"/>
                <a:gd name="connsiteX38" fmla="*/ 28499 w 47729"/>
                <a:gd name="connsiteY38" fmla="*/ 28155 h 33825"/>
                <a:gd name="connsiteX39" fmla="*/ 30890 w 47729"/>
                <a:gd name="connsiteY39" fmla="*/ 29448 h 33825"/>
                <a:gd name="connsiteX40" fmla="*/ 37367 w 47729"/>
                <a:gd name="connsiteY40" fmla="*/ 29946 h 33825"/>
                <a:gd name="connsiteX41" fmla="*/ 43046 w 47729"/>
                <a:gd name="connsiteY41" fmla="*/ 33030 h 33825"/>
                <a:gd name="connsiteX42" fmla="*/ 45936 w 47729"/>
                <a:gd name="connsiteY42" fmla="*/ 33826 h 33825"/>
                <a:gd name="connsiteX43" fmla="*/ 47730 w 47729"/>
                <a:gd name="connsiteY43" fmla="*/ 31936 h 33825"/>
                <a:gd name="connsiteX44" fmla="*/ 37068 w 47729"/>
                <a:gd name="connsiteY44" fmla="*/ 27757 h 33825"/>
                <a:gd name="connsiteX45" fmla="*/ 32384 w 47729"/>
                <a:gd name="connsiteY45" fmla="*/ 24375 h 3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7729" h="33825">
                  <a:moveTo>
                    <a:pt x="32384" y="24375"/>
                  </a:moveTo>
                  <a:lnTo>
                    <a:pt x="30391" y="20097"/>
                  </a:lnTo>
                  <a:lnTo>
                    <a:pt x="28997" y="19699"/>
                  </a:lnTo>
                  <a:lnTo>
                    <a:pt x="23018" y="16216"/>
                  </a:lnTo>
                  <a:lnTo>
                    <a:pt x="14648" y="7462"/>
                  </a:lnTo>
                  <a:lnTo>
                    <a:pt x="15445" y="6964"/>
                  </a:lnTo>
                  <a:lnTo>
                    <a:pt x="15744" y="6566"/>
                  </a:lnTo>
                  <a:lnTo>
                    <a:pt x="16043" y="6168"/>
                  </a:lnTo>
                  <a:lnTo>
                    <a:pt x="16442" y="5572"/>
                  </a:lnTo>
                  <a:lnTo>
                    <a:pt x="13751" y="5372"/>
                  </a:lnTo>
                  <a:lnTo>
                    <a:pt x="11758" y="5074"/>
                  </a:lnTo>
                  <a:lnTo>
                    <a:pt x="10164" y="4179"/>
                  </a:lnTo>
                  <a:lnTo>
                    <a:pt x="8769" y="2786"/>
                  </a:lnTo>
                  <a:lnTo>
                    <a:pt x="7673" y="1095"/>
                  </a:lnTo>
                  <a:lnTo>
                    <a:pt x="7075" y="398"/>
                  </a:lnTo>
                  <a:lnTo>
                    <a:pt x="6079" y="0"/>
                  </a:lnTo>
                  <a:lnTo>
                    <a:pt x="5281" y="100"/>
                  </a:lnTo>
                  <a:lnTo>
                    <a:pt x="4484" y="696"/>
                  </a:lnTo>
                  <a:lnTo>
                    <a:pt x="3288" y="1194"/>
                  </a:lnTo>
                  <a:lnTo>
                    <a:pt x="1794" y="896"/>
                  </a:lnTo>
                  <a:lnTo>
                    <a:pt x="797" y="2288"/>
                  </a:lnTo>
                  <a:lnTo>
                    <a:pt x="997" y="4079"/>
                  </a:lnTo>
                  <a:lnTo>
                    <a:pt x="2093" y="5671"/>
                  </a:lnTo>
                  <a:lnTo>
                    <a:pt x="3388" y="6566"/>
                  </a:lnTo>
                  <a:lnTo>
                    <a:pt x="3288" y="7362"/>
                  </a:lnTo>
                  <a:lnTo>
                    <a:pt x="4185" y="8556"/>
                  </a:lnTo>
                  <a:lnTo>
                    <a:pt x="4384" y="9750"/>
                  </a:lnTo>
                  <a:lnTo>
                    <a:pt x="3787" y="10148"/>
                  </a:lnTo>
                  <a:lnTo>
                    <a:pt x="0" y="11242"/>
                  </a:lnTo>
                  <a:lnTo>
                    <a:pt x="0" y="12137"/>
                  </a:lnTo>
                  <a:lnTo>
                    <a:pt x="6278" y="11541"/>
                  </a:lnTo>
                  <a:lnTo>
                    <a:pt x="11659" y="13332"/>
                  </a:lnTo>
                  <a:lnTo>
                    <a:pt x="16442" y="16913"/>
                  </a:lnTo>
                  <a:lnTo>
                    <a:pt x="20826" y="21489"/>
                  </a:lnTo>
                  <a:lnTo>
                    <a:pt x="22619" y="20296"/>
                  </a:lnTo>
                  <a:lnTo>
                    <a:pt x="24811" y="21489"/>
                  </a:lnTo>
                  <a:lnTo>
                    <a:pt x="27203" y="23678"/>
                  </a:lnTo>
                  <a:lnTo>
                    <a:pt x="29495" y="25369"/>
                  </a:lnTo>
                  <a:lnTo>
                    <a:pt x="28499" y="28155"/>
                  </a:lnTo>
                  <a:lnTo>
                    <a:pt x="30890" y="29448"/>
                  </a:lnTo>
                  <a:lnTo>
                    <a:pt x="37367" y="29946"/>
                  </a:lnTo>
                  <a:lnTo>
                    <a:pt x="43046" y="33030"/>
                  </a:lnTo>
                  <a:lnTo>
                    <a:pt x="45936" y="33826"/>
                  </a:lnTo>
                  <a:lnTo>
                    <a:pt x="47730" y="31936"/>
                  </a:lnTo>
                  <a:lnTo>
                    <a:pt x="37068" y="27757"/>
                  </a:lnTo>
                  <a:lnTo>
                    <a:pt x="32384" y="2437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19" name="Freeform: Shape 1118">
              <a:extLst>
                <a:ext uri="{FF2B5EF4-FFF2-40B4-BE49-F238E27FC236}">
                  <a16:creationId xmlns:a16="http://schemas.microsoft.com/office/drawing/2014/main" id="{A0E8ACD1-C445-443D-80CC-B1D4464328ED}"/>
                </a:ext>
              </a:extLst>
            </p:cNvPr>
            <p:cNvSpPr/>
            <p:nvPr/>
          </p:nvSpPr>
          <p:spPr>
            <a:xfrm>
              <a:off x="4027944" y="4444735"/>
              <a:ext cx="65964" cy="112918"/>
            </a:xfrm>
            <a:custGeom>
              <a:avLst/>
              <a:gdLst>
                <a:gd name="connsiteX0" fmla="*/ 65167 w 65964"/>
                <a:gd name="connsiteY0" fmla="*/ 101378 h 112918"/>
                <a:gd name="connsiteX1" fmla="*/ 64171 w 65964"/>
                <a:gd name="connsiteY1" fmla="*/ 97796 h 112918"/>
                <a:gd name="connsiteX2" fmla="*/ 62576 w 65964"/>
                <a:gd name="connsiteY2" fmla="*/ 96403 h 112918"/>
                <a:gd name="connsiteX3" fmla="*/ 63174 w 65964"/>
                <a:gd name="connsiteY3" fmla="*/ 95707 h 112918"/>
                <a:gd name="connsiteX4" fmla="*/ 63872 w 65964"/>
                <a:gd name="connsiteY4" fmla="*/ 94414 h 112918"/>
                <a:gd name="connsiteX5" fmla="*/ 64370 w 65964"/>
                <a:gd name="connsiteY5" fmla="*/ 93717 h 112918"/>
                <a:gd name="connsiteX6" fmla="*/ 56199 w 65964"/>
                <a:gd name="connsiteY6" fmla="*/ 84564 h 112918"/>
                <a:gd name="connsiteX7" fmla="*/ 51516 w 65964"/>
                <a:gd name="connsiteY7" fmla="*/ 80983 h 112918"/>
                <a:gd name="connsiteX8" fmla="*/ 40754 w 65964"/>
                <a:gd name="connsiteY8" fmla="*/ 76904 h 112918"/>
                <a:gd name="connsiteX9" fmla="*/ 37167 w 65964"/>
                <a:gd name="connsiteY9" fmla="*/ 74417 h 112918"/>
                <a:gd name="connsiteX10" fmla="*/ 34975 w 65964"/>
                <a:gd name="connsiteY10" fmla="*/ 70338 h 112918"/>
                <a:gd name="connsiteX11" fmla="*/ 33879 w 65964"/>
                <a:gd name="connsiteY11" fmla="*/ 63672 h 112918"/>
                <a:gd name="connsiteX12" fmla="*/ 33879 w 65964"/>
                <a:gd name="connsiteY12" fmla="*/ 57703 h 112918"/>
                <a:gd name="connsiteX13" fmla="*/ 33580 w 65964"/>
                <a:gd name="connsiteY13" fmla="*/ 54718 h 112918"/>
                <a:gd name="connsiteX14" fmla="*/ 32584 w 65964"/>
                <a:gd name="connsiteY14" fmla="*/ 53425 h 112918"/>
                <a:gd name="connsiteX15" fmla="*/ 32783 w 65964"/>
                <a:gd name="connsiteY15" fmla="*/ 52032 h 112918"/>
                <a:gd name="connsiteX16" fmla="*/ 25309 w 65964"/>
                <a:gd name="connsiteY16" fmla="*/ 37507 h 112918"/>
                <a:gd name="connsiteX17" fmla="*/ 23118 w 65964"/>
                <a:gd name="connsiteY17" fmla="*/ 35119 h 112918"/>
                <a:gd name="connsiteX18" fmla="*/ 21523 w 65964"/>
                <a:gd name="connsiteY18" fmla="*/ 32731 h 112918"/>
                <a:gd name="connsiteX19" fmla="*/ 20029 w 65964"/>
                <a:gd name="connsiteY19" fmla="*/ 23479 h 112918"/>
                <a:gd name="connsiteX20" fmla="*/ 18833 w 65964"/>
                <a:gd name="connsiteY20" fmla="*/ 20793 h 112918"/>
                <a:gd name="connsiteX21" fmla="*/ 16640 w 65964"/>
                <a:gd name="connsiteY21" fmla="*/ 17709 h 112918"/>
                <a:gd name="connsiteX22" fmla="*/ 14449 w 65964"/>
                <a:gd name="connsiteY22" fmla="*/ 15122 h 112918"/>
                <a:gd name="connsiteX23" fmla="*/ 12655 w 65964"/>
                <a:gd name="connsiteY23" fmla="*/ 14028 h 112918"/>
                <a:gd name="connsiteX24" fmla="*/ 5182 w 65964"/>
                <a:gd name="connsiteY24" fmla="*/ 1791 h 112918"/>
                <a:gd name="connsiteX25" fmla="*/ 4683 w 65964"/>
                <a:gd name="connsiteY25" fmla="*/ 1095 h 112918"/>
                <a:gd name="connsiteX26" fmla="*/ 4085 w 65964"/>
                <a:gd name="connsiteY26" fmla="*/ 498 h 112918"/>
                <a:gd name="connsiteX27" fmla="*/ 3487 w 65964"/>
                <a:gd name="connsiteY27" fmla="*/ 199 h 112918"/>
                <a:gd name="connsiteX28" fmla="*/ 2691 w 65964"/>
                <a:gd name="connsiteY28" fmla="*/ 0 h 112918"/>
                <a:gd name="connsiteX29" fmla="*/ 2889 w 65964"/>
                <a:gd name="connsiteY29" fmla="*/ 2487 h 112918"/>
                <a:gd name="connsiteX30" fmla="*/ 2292 w 65964"/>
                <a:gd name="connsiteY30" fmla="*/ 4477 h 112918"/>
                <a:gd name="connsiteX31" fmla="*/ 1295 w 65964"/>
                <a:gd name="connsiteY31" fmla="*/ 6069 h 112918"/>
                <a:gd name="connsiteX32" fmla="*/ 0 w 65964"/>
                <a:gd name="connsiteY32" fmla="*/ 7462 h 112918"/>
                <a:gd name="connsiteX33" fmla="*/ 0 w 65964"/>
                <a:gd name="connsiteY33" fmla="*/ 8456 h 112918"/>
                <a:gd name="connsiteX34" fmla="*/ 1594 w 65964"/>
                <a:gd name="connsiteY34" fmla="*/ 7462 h 112918"/>
                <a:gd name="connsiteX35" fmla="*/ 2591 w 65964"/>
                <a:gd name="connsiteY35" fmla="*/ 6069 h 112918"/>
                <a:gd name="connsiteX36" fmla="*/ 3687 w 65964"/>
                <a:gd name="connsiteY36" fmla="*/ 5074 h 112918"/>
                <a:gd name="connsiteX37" fmla="*/ 5182 w 65964"/>
                <a:gd name="connsiteY37" fmla="*/ 5572 h 112918"/>
                <a:gd name="connsiteX38" fmla="*/ 4484 w 65964"/>
                <a:gd name="connsiteY38" fmla="*/ 6069 h 112918"/>
                <a:gd name="connsiteX39" fmla="*/ 3886 w 65964"/>
                <a:gd name="connsiteY39" fmla="*/ 6566 h 112918"/>
                <a:gd name="connsiteX40" fmla="*/ 2691 w 65964"/>
                <a:gd name="connsiteY40" fmla="*/ 8456 h 112918"/>
                <a:gd name="connsiteX41" fmla="*/ 5381 w 65964"/>
                <a:gd name="connsiteY41" fmla="*/ 6367 h 112918"/>
                <a:gd name="connsiteX42" fmla="*/ 6078 w 65964"/>
                <a:gd name="connsiteY42" fmla="*/ 8258 h 112918"/>
                <a:gd name="connsiteX43" fmla="*/ 5182 w 65964"/>
                <a:gd name="connsiteY43" fmla="*/ 14923 h 112918"/>
                <a:gd name="connsiteX44" fmla="*/ 6676 w 65964"/>
                <a:gd name="connsiteY44" fmla="*/ 14426 h 112918"/>
                <a:gd name="connsiteX45" fmla="*/ 7573 w 65964"/>
                <a:gd name="connsiteY45" fmla="*/ 13729 h 112918"/>
                <a:gd name="connsiteX46" fmla="*/ 8370 w 65964"/>
                <a:gd name="connsiteY46" fmla="*/ 13431 h 112918"/>
                <a:gd name="connsiteX47" fmla="*/ 9665 w 65964"/>
                <a:gd name="connsiteY47" fmla="*/ 14028 h 112918"/>
                <a:gd name="connsiteX48" fmla="*/ 12256 w 65964"/>
                <a:gd name="connsiteY48" fmla="*/ 20594 h 112918"/>
                <a:gd name="connsiteX49" fmla="*/ 13053 w 65964"/>
                <a:gd name="connsiteY49" fmla="*/ 26762 h 112918"/>
                <a:gd name="connsiteX50" fmla="*/ 14050 w 65964"/>
                <a:gd name="connsiteY50" fmla="*/ 28951 h 112918"/>
                <a:gd name="connsiteX51" fmla="*/ 16541 w 65964"/>
                <a:gd name="connsiteY51" fmla="*/ 30941 h 112918"/>
                <a:gd name="connsiteX52" fmla="*/ 15943 w 65964"/>
                <a:gd name="connsiteY52" fmla="*/ 32632 h 112918"/>
                <a:gd name="connsiteX53" fmla="*/ 16740 w 65964"/>
                <a:gd name="connsiteY53" fmla="*/ 33627 h 112918"/>
                <a:gd name="connsiteX54" fmla="*/ 18334 w 65964"/>
                <a:gd name="connsiteY54" fmla="*/ 34224 h 112918"/>
                <a:gd name="connsiteX55" fmla="*/ 20029 w 65964"/>
                <a:gd name="connsiteY55" fmla="*/ 34721 h 112918"/>
                <a:gd name="connsiteX56" fmla="*/ 19829 w 65964"/>
                <a:gd name="connsiteY56" fmla="*/ 37706 h 112918"/>
                <a:gd name="connsiteX57" fmla="*/ 24612 w 65964"/>
                <a:gd name="connsiteY57" fmla="*/ 41785 h 112918"/>
                <a:gd name="connsiteX58" fmla="*/ 24313 w 65964"/>
                <a:gd name="connsiteY58" fmla="*/ 44969 h 112918"/>
                <a:gd name="connsiteX59" fmla="*/ 25708 w 65964"/>
                <a:gd name="connsiteY59" fmla="*/ 43675 h 112918"/>
                <a:gd name="connsiteX60" fmla="*/ 26206 w 65964"/>
                <a:gd name="connsiteY60" fmla="*/ 43078 h 112918"/>
                <a:gd name="connsiteX61" fmla="*/ 28000 w 65964"/>
                <a:gd name="connsiteY61" fmla="*/ 45167 h 112918"/>
                <a:gd name="connsiteX62" fmla="*/ 29495 w 65964"/>
                <a:gd name="connsiteY62" fmla="*/ 48451 h 112918"/>
                <a:gd name="connsiteX63" fmla="*/ 30292 w 65964"/>
                <a:gd name="connsiteY63" fmla="*/ 52132 h 112918"/>
                <a:gd name="connsiteX64" fmla="*/ 30391 w 65964"/>
                <a:gd name="connsiteY64" fmla="*/ 55315 h 112918"/>
                <a:gd name="connsiteX65" fmla="*/ 29694 w 65964"/>
                <a:gd name="connsiteY65" fmla="*/ 57504 h 112918"/>
                <a:gd name="connsiteX66" fmla="*/ 28598 w 65964"/>
                <a:gd name="connsiteY66" fmla="*/ 59692 h 112918"/>
                <a:gd name="connsiteX67" fmla="*/ 27502 w 65964"/>
                <a:gd name="connsiteY67" fmla="*/ 62379 h 112918"/>
                <a:gd name="connsiteX68" fmla="*/ 27103 w 65964"/>
                <a:gd name="connsiteY68" fmla="*/ 66060 h 112918"/>
                <a:gd name="connsiteX69" fmla="*/ 28000 w 65964"/>
                <a:gd name="connsiteY69" fmla="*/ 68348 h 112918"/>
                <a:gd name="connsiteX70" fmla="*/ 35174 w 65964"/>
                <a:gd name="connsiteY70" fmla="*/ 76307 h 112918"/>
                <a:gd name="connsiteX71" fmla="*/ 36071 w 65964"/>
                <a:gd name="connsiteY71" fmla="*/ 77799 h 112918"/>
                <a:gd name="connsiteX72" fmla="*/ 34776 w 65964"/>
                <a:gd name="connsiteY72" fmla="*/ 78297 h 112918"/>
                <a:gd name="connsiteX73" fmla="*/ 32683 w 65964"/>
                <a:gd name="connsiteY73" fmla="*/ 77998 h 112918"/>
                <a:gd name="connsiteX74" fmla="*/ 31288 w 65964"/>
                <a:gd name="connsiteY74" fmla="*/ 77700 h 112918"/>
                <a:gd name="connsiteX75" fmla="*/ 30093 w 65964"/>
                <a:gd name="connsiteY75" fmla="*/ 77003 h 112918"/>
                <a:gd name="connsiteX76" fmla="*/ 27701 w 65964"/>
                <a:gd name="connsiteY76" fmla="*/ 75014 h 112918"/>
                <a:gd name="connsiteX77" fmla="*/ 26206 w 65964"/>
                <a:gd name="connsiteY77" fmla="*/ 74019 h 112918"/>
                <a:gd name="connsiteX78" fmla="*/ 24712 w 65964"/>
                <a:gd name="connsiteY78" fmla="*/ 74118 h 112918"/>
                <a:gd name="connsiteX79" fmla="*/ 23118 w 65964"/>
                <a:gd name="connsiteY79" fmla="*/ 73223 h 112918"/>
                <a:gd name="connsiteX80" fmla="*/ 21822 w 65964"/>
                <a:gd name="connsiteY80" fmla="*/ 71930 h 112918"/>
                <a:gd name="connsiteX81" fmla="*/ 21025 w 65964"/>
                <a:gd name="connsiteY81" fmla="*/ 70338 h 112918"/>
                <a:gd name="connsiteX82" fmla="*/ 22022 w 65964"/>
                <a:gd name="connsiteY82" fmla="*/ 70736 h 112918"/>
                <a:gd name="connsiteX83" fmla="*/ 25309 w 65964"/>
                <a:gd name="connsiteY83" fmla="*/ 71134 h 112918"/>
                <a:gd name="connsiteX84" fmla="*/ 24014 w 65964"/>
                <a:gd name="connsiteY84" fmla="*/ 69343 h 112918"/>
                <a:gd name="connsiteX85" fmla="*/ 20427 w 65964"/>
                <a:gd name="connsiteY85" fmla="*/ 67552 h 112918"/>
                <a:gd name="connsiteX86" fmla="*/ 19131 w 65964"/>
                <a:gd name="connsiteY86" fmla="*/ 65562 h 112918"/>
                <a:gd name="connsiteX87" fmla="*/ 18334 w 65964"/>
                <a:gd name="connsiteY87" fmla="*/ 65562 h 112918"/>
                <a:gd name="connsiteX88" fmla="*/ 17338 w 65964"/>
                <a:gd name="connsiteY88" fmla="*/ 66657 h 112918"/>
                <a:gd name="connsiteX89" fmla="*/ 16541 w 65964"/>
                <a:gd name="connsiteY89" fmla="*/ 67751 h 112918"/>
                <a:gd name="connsiteX90" fmla="*/ 16043 w 65964"/>
                <a:gd name="connsiteY90" fmla="*/ 69044 h 112918"/>
                <a:gd name="connsiteX91" fmla="*/ 15644 w 65964"/>
                <a:gd name="connsiteY91" fmla="*/ 70338 h 112918"/>
                <a:gd name="connsiteX92" fmla="*/ 17637 w 65964"/>
                <a:gd name="connsiteY92" fmla="*/ 71134 h 112918"/>
                <a:gd name="connsiteX93" fmla="*/ 26705 w 65964"/>
                <a:gd name="connsiteY93" fmla="*/ 76904 h 112918"/>
                <a:gd name="connsiteX94" fmla="*/ 28299 w 65964"/>
                <a:gd name="connsiteY94" fmla="*/ 78197 h 112918"/>
                <a:gd name="connsiteX95" fmla="*/ 31388 w 65964"/>
                <a:gd name="connsiteY95" fmla="*/ 80187 h 112918"/>
                <a:gd name="connsiteX96" fmla="*/ 45936 w 65964"/>
                <a:gd name="connsiteY96" fmla="*/ 82973 h 112918"/>
                <a:gd name="connsiteX97" fmla="*/ 47530 w 65964"/>
                <a:gd name="connsiteY97" fmla="*/ 83769 h 112918"/>
                <a:gd name="connsiteX98" fmla="*/ 48826 w 65964"/>
                <a:gd name="connsiteY98" fmla="*/ 84962 h 112918"/>
                <a:gd name="connsiteX99" fmla="*/ 53110 w 65964"/>
                <a:gd name="connsiteY99" fmla="*/ 90235 h 112918"/>
                <a:gd name="connsiteX100" fmla="*/ 54306 w 65964"/>
                <a:gd name="connsiteY100" fmla="*/ 92125 h 112918"/>
                <a:gd name="connsiteX101" fmla="*/ 55602 w 65964"/>
                <a:gd name="connsiteY101" fmla="*/ 97697 h 112918"/>
                <a:gd name="connsiteX102" fmla="*/ 59288 w 65964"/>
                <a:gd name="connsiteY102" fmla="*/ 104163 h 112918"/>
                <a:gd name="connsiteX103" fmla="*/ 60085 w 65964"/>
                <a:gd name="connsiteY103" fmla="*/ 107745 h 112918"/>
                <a:gd name="connsiteX104" fmla="*/ 61281 w 65964"/>
                <a:gd name="connsiteY104" fmla="*/ 107148 h 112918"/>
                <a:gd name="connsiteX105" fmla="*/ 61779 w 65964"/>
                <a:gd name="connsiteY105" fmla="*/ 106750 h 112918"/>
                <a:gd name="connsiteX106" fmla="*/ 62676 w 65964"/>
                <a:gd name="connsiteY106" fmla="*/ 111426 h 112918"/>
                <a:gd name="connsiteX107" fmla="*/ 63473 w 65964"/>
                <a:gd name="connsiteY107" fmla="*/ 112321 h 112918"/>
                <a:gd name="connsiteX108" fmla="*/ 64968 w 65964"/>
                <a:gd name="connsiteY108" fmla="*/ 112918 h 112918"/>
                <a:gd name="connsiteX109" fmla="*/ 65765 w 65964"/>
                <a:gd name="connsiteY109" fmla="*/ 112222 h 112918"/>
                <a:gd name="connsiteX110" fmla="*/ 65964 w 65964"/>
                <a:gd name="connsiteY110" fmla="*/ 110829 h 112918"/>
                <a:gd name="connsiteX111" fmla="*/ 65865 w 65964"/>
                <a:gd name="connsiteY111" fmla="*/ 105457 h 112918"/>
                <a:gd name="connsiteX112" fmla="*/ 65167 w 65964"/>
                <a:gd name="connsiteY112" fmla="*/ 101378 h 112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65964" h="112918">
                  <a:moveTo>
                    <a:pt x="65167" y="101378"/>
                  </a:moveTo>
                  <a:lnTo>
                    <a:pt x="64171" y="97796"/>
                  </a:lnTo>
                  <a:lnTo>
                    <a:pt x="62576" y="96403"/>
                  </a:lnTo>
                  <a:lnTo>
                    <a:pt x="63174" y="95707"/>
                  </a:lnTo>
                  <a:lnTo>
                    <a:pt x="63872" y="94414"/>
                  </a:lnTo>
                  <a:lnTo>
                    <a:pt x="64370" y="93717"/>
                  </a:lnTo>
                  <a:lnTo>
                    <a:pt x="56199" y="84564"/>
                  </a:lnTo>
                  <a:lnTo>
                    <a:pt x="51516" y="80983"/>
                  </a:lnTo>
                  <a:lnTo>
                    <a:pt x="40754" y="76904"/>
                  </a:lnTo>
                  <a:lnTo>
                    <a:pt x="37167" y="74417"/>
                  </a:lnTo>
                  <a:lnTo>
                    <a:pt x="34975" y="70338"/>
                  </a:lnTo>
                  <a:lnTo>
                    <a:pt x="33879" y="63672"/>
                  </a:lnTo>
                  <a:lnTo>
                    <a:pt x="33879" y="57703"/>
                  </a:lnTo>
                  <a:lnTo>
                    <a:pt x="33580" y="54718"/>
                  </a:lnTo>
                  <a:lnTo>
                    <a:pt x="32584" y="53425"/>
                  </a:lnTo>
                  <a:lnTo>
                    <a:pt x="32783" y="52032"/>
                  </a:lnTo>
                  <a:lnTo>
                    <a:pt x="25309" y="37507"/>
                  </a:lnTo>
                  <a:lnTo>
                    <a:pt x="23118" y="35119"/>
                  </a:lnTo>
                  <a:lnTo>
                    <a:pt x="21523" y="32731"/>
                  </a:lnTo>
                  <a:lnTo>
                    <a:pt x="20029" y="23479"/>
                  </a:lnTo>
                  <a:lnTo>
                    <a:pt x="18833" y="20793"/>
                  </a:lnTo>
                  <a:lnTo>
                    <a:pt x="16640" y="17709"/>
                  </a:lnTo>
                  <a:lnTo>
                    <a:pt x="14449" y="15122"/>
                  </a:lnTo>
                  <a:lnTo>
                    <a:pt x="12655" y="14028"/>
                  </a:lnTo>
                  <a:lnTo>
                    <a:pt x="5182" y="1791"/>
                  </a:lnTo>
                  <a:lnTo>
                    <a:pt x="4683" y="1095"/>
                  </a:lnTo>
                  <a:lnTo>
                    <a:pt x="4085" y="498"/>
                  </a:lnTo>
                  <a:lnTo>
                    <a:pt x="3487" y="199"/>
                  </a:lnTo>
                  <a:lnTo>
                    <a:pt x="2691" y="0"/>
                  </a:lnTo>
                  <a:lnTo>
                    <a:pt x="2889" y="2487"/>
                  </a:lnTo>
                  <a:lnTo>
                    <a:pt x="2292" y="4477"/>
                  </a:lnTo>
                  <a:lnTo>
                    <a:pt x="1295" y="6069"/>
                  </a:lnTo>
                  <a:lnTo>
                    <a:pt x="0" y="7462"/>
                  </a:lnTo>
                  <a:lnTo>
                    <a:pt x="0" y="8456"/>
                  </a:lnTo>
                  <a:lnTo>
                    <a:pt x="1594" y="7462"/>
                  </a:lnTo>
                  <a:lnTo>
                    <a:pt x="2591" y="6069"/>
                  </a:lnTo>
                  <a:lnTo>
                    <a:pt x="3687" y="5074"/>
                  </a:lnTo>
                  <a:lnTo>
                    <a:pt x="5182" y="5572"/>
                  </a:lnTo>
                  <a:lnTo>
                    <a:pt x="4484" y="6069"/>
                  </a:lnTo>
                  <a:lnTo>
                    <a:pt x="3886" y="6566"/>
                  </a:lnTo>
                  <a:lnTo>
                    <a:pt x="2691" y="8456"/>
                  </a:lnTo>
                  <a:lnTo>
                    <a:pt x="5381" y="6367"/>
                  </a:lnTo>
                  <a:lnTo>
                    <a:pt x="6078" y="8258"/>
                  </a:lnTo>
                  <a:lnTo>
                    <a:pt x="5182" y="14923"/>
                  </a:lnTo>
                  <a:lnTo>
                    <a:pt x="6676" y="14426"/>
                  </a:lnTo>
                  <a:lnTo>
                    <a:pt x="7573" y="13729"/>
                  </a:lnTo>
                  <a:lnTo>
                    <a:pt x="8370" y="13431"/>
                  </a:lnTo>
                  <a:lnTo>
                    <a:pt x="9665" y="14028"/>
                  </a:lnTo>
                  <a:lnTo>
                    <a:pt x="12256" y="20594"/>
                  </a:lnTo>
                  <a:lnTo>
                    <a:pt x="13053" y="26762"/>
                  </a:lnTo>
                  <a:lnTo>
                    <a:pt x="14050" y="28951"/>
                  </a:lnTo>
                  <a:lnTo>
                    <a:pt x="16541" y="30941"/>
                  </a:lnTo>
                  <a:lnTo>
                    <a:pt x="15943" y="32632"/>
                  </a:lnTo>
                  <a:lnTo>
                    <a:pt x="16740" y="33627"/>
                  </a:lnTo>
                  <a:lnTo>
                    <a:pt x="18334" y="34224"/>
                  </a:lnTo>
                  <a:lnTo>
                    <a:pt x="20029" y="34721"/>
                  </a:lnTo>
                  <a:lnTo>
                    <a:pt x="19829" y="37706"/>
                  </a:lnTo>
                  <a:lnTo>
                    <a:pt x="24612" y="41785"/>
                  </a:lnTo>
                  <a:lnTo>
                    <a:pt x="24313" y="44969"/>
                  </a:lnTo>
                  <a:lnTo>
                    <a:pt x="25708" y="43675"/>
                  </a:lnTo>
                  <a:lnTo>
                    <a:pt x="26206" y="43078"/>
                  </a:lnTo>
                  <a:lnTo>
                    <a:pt x="28000" y="45167"/>
                  </a:lnTo>
                  <a:lnTo>
                    <a:pt x="29495" y="48451"/>
                  </a:lnTo>
                  <a:lnTo>
                    <a:pt x="30292" y="52132"/>
                  </a:lnTo>
                  <a:lnTo>
                    <a:pt x="30391" y="55315"/>
                  </a:lnTo>
                  <a:lnTo>
                    <a:pt x="29694" y="57504"/>
                  </a:lnTo>
                  <a:lnTo>
                    <a:pt x="28598" y="59692"/>
                  </a:lnTo>
                  <a:lnTo>
                    <a:pt x="27502" y="62379"/>
                  </a:lnTo>
                  <a:lnTo>
                    <a:pt x="27103" y="66060"/>
                  </a:lnTo>
                  <a:lnTo>
                    <a:pt x="28000" y="68348"/>
                  </a:lnTo>
                  <a:lnTo>
                    <a:pt x="35174" y="76307"/>
                  </a:lnTo>
                  <a:lnTo>
                    <a:pt x="36071" y="77799"/>
                  </a:lnTo>
                  <a:lnTo>
                    <a:pt x="34776" y="78297"/>
                  </a:lnTo>
                  <a:lnTo>
                    <a:pt x="32683" y="77998"/>
                  </a:lnTo>
                  <a:lnTo>
                    <a:pt x="31288" y="77700"/>
                  </a:lnTo>
                  <a:lnTo>
                    <a:pt x="30093" y="77003"/>
                  </a:lnTo>
                  <a:lnTo>
                    <a:pt x="27701" y="75014"/>
                  </a:lnTo>
                  <a:lnTo>
                    <a:pt x="26206" y="74019"/>
                  </a:lnTo>
                  <a:lnTo>
                    <a:pt x="24712" y="74118"/>
                  </a:lnTo>
                  <a:lnTo>
                    <a:pt x="23118" y="73223"/>
                  </a:lnTo>
                  <a:lnTo>
                    <a:pt x="21822" y="71930"/>
                  </a:lnTo>
                  <a:lnTo>
                    <a:pt x="21025" y="70338"/>
                  </a:lnTo>
                  <a:lnTo>
                    <a:pt x="22022" y="70736"/>
                  </a:lnTo>
                  <a:lnTo>
                    <a:pt x="25309" y="71134"/>
                  </a:lnTo>
                  <a:lnTo>
                    <a:pt x="24014" y="69343"/>
                  </a:lnTo>
                  <a:lnTo>
                    <a:pt x="20427" y="67552"/>
                  </a:lnTo>
                  <a:lnTo>
                    <a:pt x="19131" y="65562"/>
                  </a:lnTo>
                  <a:lnTo>
                    <a:pt x="18334" y="65562"/>
                  </a:lnTo>
                  <a:lnTo>
                    <a:pt x="17338" y="66657"/>
                  </a:lnTo>
                  <a:lnTo>
                    <a:pt x="16541" y="67751"/>
                  </a:lnTo>
                  <a:lnTo>
                    <a:pt x="16043" y="69044"/>
                  </a:lnTo>
                  <a:lnTo>
                    <a:pt x="15644" y="70338"/>
                  </a:lnTo>
                  <a:lnTo>
                    <a:pt x="17637" y="71134"/>
                  </a:lnTo>
                  <a:lnTo>
                    <a:pt x="26705" y="76904"/>
                  </a:lnTo>
                  <a:lnTo>
                    <a:pt x="28299" y="78197"/>
                  </a:lnTo>
                  <a:lnTo>
                    <a:pt x="31388" y="80187"/>
                  </a:lnTo>
                  <a:lnTo>
                    <a:pt x="45936" y="82973"/>
                  </a:lnTo>
                  <a:lnTo>
                    <a:pt x="47530" y="83769"/>
                  </a:lnTo>
                  <a:lnTo>
                    <a:pt x="48826" y="84962"/>
                  </a:lnTo>
                  <a:lnTo>
                    <a:pt x="53110" y="90235"/>
                  </a:lnTo>
                  <a:lnTo>
                    <a:pt x="54306" y="92125"/>
                  </a:lnTo>
                  <a:lnTo>
                    <a:pt x="55602" y="97697"/>
                  </a:lnTo>
                  <a:lnTo>
                    <a:pt x="59288" y="104163"/>
                  </a:lnTo>
                  <a:lnTo>
                    <a:pt x="60085" y="107745"/>
                  </a:lnTo>
                  <a:lnTo>
                    <a:pt x="61281" y="107148"/>
                  </a:lnTo>
                  <a:lnTo>
                    <a:pt x="61779" y="106750"/>
                  </a:lnTo>
                  <a:lnTo>
                    <a:pt x="62676" y="111426"/>
                  </a:lnTo>
                  <a:lnTo>
                    <a:pt x="63473" y="112321"/>
                  </a:lnTo>
                  <a:lnTo>
                    <a:pt x="64968" y="112918"/>
                  </a:lnTo>
                  <a:lnTo>
                    <a:pt x="65765" y="112222"/>
                  </a:lnTo>
                  <a:lnTo>
                    <a:pt x="65964" y="110829"/>
                  </a:lnTo>
                  <a:lnTo>
                    <a:pt x="65865" y="105457"/>
                  </a:lnTo>
                  <a:lnTo>
                    <a:pt x="65167" y="10137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0" name="Freeform: Shape 1119">
              <a:extLst>
                <a:ext uri="{FF2B5EF4-FFF2-40B4-BE49-F238E27FC236}">
                  <a16:creationId xmlns:a16="http://schemas.microsoft.com/office/drawing/2014/main" id="{28F1A617-392E-4463-8A8A-10718876DFDF}"/>
                </a:ext>
              </a:extLst>
            </p:cNvPr>
            <p:cNvSpPr/>
            <p:nvPr/>
          </p:nvSpPr>
          <p:spPr>
            <a:xfrm>
              <a:off x="4079559" y="4439960"/>
              <a:ext cx="21323" cy="9550"/>
            </a:xfrm>
            <a:custGeom>
              <a:avLst/>
              <a:gdLst>
                <a:gd name="connsiteX0" fmla="*/ 16840 w 21323"/>
                <a:gd name="connsiteY0" fmla="*/ 100 h 9550"/>
                <a:gd name="connsiteX1" fmla="*/ 12157 w 21323"/>
                <a:gd name="connsiteY1" fmla="*/ 0 h 9550"/>
                <a:gd name="connsiteX2" fmla="*/ 5780 w 21323"/>
                <a:gd name="connsiteY2" fmla="*/ 1890 h 9550"/>
                <a:gd name="connsiteX3" fmla="*/ 2889 w 21323"/>
                <a:gd name="connsiteY3" fmla="*/ 2587 h 9550"/>
                <a:gd name="connsiteX4" fmla="*/ 897 w 21323"/>
                <a:gd name="connsiteY4" fmla="*/ 3581 h 9550"/>
                <a:gd name="connsiteX5" fmla="*/ 0 w 21323"/>
                <a:gd name="connsiteY5" fmla="*/ 5372 h 9550"/>
                <a:gd name="connsiteX6" fmla="*/ 498 w 21323"/>
                <a:gd name="connsiteY6" fmla="*/ 8456 h 9550"/>
                <a:gd name="connsiteX7" fmla="*/ 2790 w 21323"/>
                <a:gd name="connsiteY7" fmla="*/ 7660 h 9550"/>
                <a:gd name="connsiteX8" fmla="*/ 6975 w 21323"/>
                <a:gd name="connsiteY8" fmla="*/ 7561 h 9550"/>
                <a:gd name="connsiteX9" fmla="*/ 9267 w 21323"/>
                <a:gd name="connsiteY9" fmla="*/ 6566 h 9550"/>
                <a:gd name="connsiteX10" fmla="*/ 10762 w 21323"/>
                <a:gd name="connsiteY10" fmla="*/ 8556 h 9550"/>
                <a:gd name="connsiteX11" fmla="*/ 13851 w 21323"/>
                <a:gd name="connsiteY11" fmla="*/ 9551 h 9550"/>
                <a:gd name="connsiteX12" fmla="*/ 16043 w 21323"/>
                <a:gd name="connsiteY12" fmla="*/ 9451 h 9550"/>
                <a:gd name="connsiteX13" fmla="*/ 15345 w 21323"/>
                <a:gd name="connsiteY13" fmla="*/ 8456 h 9550"/>
                <a:gd name="connsiteX14" fmla="*/ 15345 w 21323"/>
                <a:gd name="connsiteY14" fmla="*/ 7561 h 9550"/>
                <a:gd name="connsiteX15" fmla="*/ 18036 w 21323"/>
                <a:gd name="connsiteY15" fmla="*/ 7760 h 9550"/>
                <a:gd name="connsiteX16" fmla="*/ 19231 w 21323"/>
                <a:gd name="connsiteY16" fmla="*/ 6765 h 9550"/>
                <a:gd name="connsiteX17" fmla="*/ 20128 w 21323"/>
                <a:gd name="connsiteY17" fmla="*/ 4974 h 9550"/>
                <a:gd name="connsiteX18" fmla="*/ 21324 w 21323"/>
                <a:gd name="connsiteY18" fmla="*/ 2885 h 9550"/>
                <a:gd name="connsiteX19" fmla="*/ 18534 w 21323"/>
                <a:gd name="connsiteY19" fmla="*/ 796 h 9550"/>
                <a:gd name="connsiteX20" fmla="*/ 16840 w 21323"/>
                <a:gd name="connsiteY20" fmla="*/ 100 h 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323" h="9550">
                  <a:moveTo>
                    <a:pt x="16840" y="100"/>
                  </a:moveTo>
                  <a:lnTo>
                    <a:pt x="12157" y="0"/>
                  </a:lnTo>
                  <a:lnTo>
                    <a:pt x="5780" y="1890"/>
                  </a:lnTo>
                  <a:lnTo>
                    <a:pt x="2889" y="2587"/>
                  </a:lnTo>
                  <a:lnTo>
                    <a:pt x="897" y="3581"/>
                  </a:lnTo>
                  <a:lnTo>
                    <a:pt x="0" y="5372"/>
                  </a:lnTo>
                  <a:lnTo>
                    <a:pt x="498" y="8456"/>
                  </a:lnTo>
                  <a:lnTo>
                    <a:pt x="2790" y="7660"/>
                  </a:lnTo>
                  <a:lnTo>
                    <a:pt x="6975" y="7561"/>
                  </a:lnTo>
                  <a:lnTo>
                    <a:pt x="9267" y="6566"/>
                  </a:lnTo>
                  <a:lnTo>
                    <a:pt x="10762" y="8556"/>
                  </a:lnTo>
                  <a:lnTo>
                    <a:pt x="13851" y="9551"/>
                  </a:lnTo>
                  <a:lnTo>
                    <a:pt x="16043" y="9451"/>
                  </a:lnTo>
                  <a:lnTo>
                    <a:pt x="15345" y="8456"/>
                  </a:lnTo>
                  <a:lnTo>
                    <a:pt x="15345" y="7561"/>
                  </a:lnTo>
                  <a:lnTo>
                    <a:pt x="18036" y="7760"/>
                  </a:lnTo>
                  <a:lnTo>
                    <a:pt x="19231" y="6765"/>
                  </a:lnTo>
                  <a:lnTo>
                    <a:pt x="20128" y="4974"/>
                  </a:lnTo>
                  <a:lnTo>
                    <a:pt x="21324" y="2885"/>
                  </a:lnTo>
                  <a:lnTo>
                    <a:pt x="18534" y="796"/>
                  </a:lnTo>
                  <a:lnTo>
                    <a:pt x="16840" y="10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1" name="Freeform: Shape 1120">
              <a:extLst>
                <a:ext uri="{FF2B5EF4-FFF2-40B4-BE49-F238E27FC236}">
                  <a16:creationId xmlns:a16="http://schemas.microsoft.com/office/drawing/2014/main" id="{E0D789C9-5613-4F66-902F-60CAEB4EA215}"/>
                </a:ext>
              </a:extLst>
            </p:cNvPr>
            <p:cNvSpPr/>
            <p:nvPr/>
          </p:nvSpPr>
          <p:spPr>
            <a:xfrm>
              <a:off x="4056940" y="4422649"/>
              <a:ext cx="2292" cy="4377"/>
            </a:xfrm>
            <a:custGeom>
              <a:avLst/>
              <a:gdLst>
                <a:gd name="connsiteX0" fmla="*/ 2292 w 2292"/>
                <a:gd name="connsiteY0" fmla="*/ 2089 h 4377"/>
                <a:gd name="connsiteX1" fmla="*/ 2292 w 2292"/>
                <a:gd name="connsiteY1" fmla="*/ 597 h 4377"/>
                <a:gd name="connsiteX2" fmla="*/ 1893 w 2292"/>
                <a:gd name="connsiteY2" fmla="*/ 0 h 4377"/>
                <a:gd name="connsiteX3" fmla="*/ 897 w 2292"/>
                <a:gd name="connsiteY3" fmla="*/ 199 h 4377"/>
                <a:gd name="connsiteX4" fmla="*/ 0 w 2292"/>
                <a:gd name="connsiteY4" fmla="*/ 2188 h 4377"/>
                <a:gd name="connsiteX5" fmla="*/ 897 w 2292"/>
                <a:gd name="connsiteY5" fmla="*/ 4377 h 4377"/>
                <a:gd name="connsiteX6" fmla="*/ 1694 w 2292"/>
                <a:gd name="connsiteY6" fmla="*/ 3780 h 4377"/>
                <a:gd name="connsiteX7" fmla="*/ 2292 w 2292"/>
                <a:gd name="connsiteY7" fmla="*/ 2089 h 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92" h="4377">
                  <a:moveTo>
                    <a:pt x="2292" y="2089"/>
                  </a:moveTo>
                  <a:lnTo>
                    <a:pt x="2292" y="597"/>
                  </a:lnTo>
                  <a:lnTo>
                    <a:pt x="1893" y="0"/>
                  </a:lnTo>
                  <a:lnTo>
                    <a:pt x="897" y="199"/>
                  </a:lnTo>
                  <a:lnTo>
                    <a:pt x="0" y="2188"/>
                  </a:lnTo>
                  <a:lnTo>
                    <a:pt x="897" y="4377"/>
                  </a:lnTo>
                  <a:lnTo>
                    <a:pt x="1694" y="3780"/>
                  </a:lnTo>
                  <a:lnTo>
                    <a:pt x="2292" y="208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2" name="Freeform: Shape 1121">
              <a:extLst>
                <a:ext uri="{FF2B5EF4-FFF2-40B4-BE49-F238E27FC236}">
                  <a16:creationId xmlns:a16="http://schemas.microsoft.com/office/drawing/2014/main" id="{A2F92E35-4448-4B9A-BD15-45BE252A20EC}"/>
                </a:ext>
              </a:extLst>
            </p:cNvPr>
            <p:cNvSpPr/>
            <p:nvPr/>
          </p:nvSpPr>
          <p:spPr>
            <a:xfrm>
              <a:off x="3895018" y="4385540"/>
              <a:ext cx="10463" cy="19698"/>
            </a:xfrm>
            <a:custGeom>
              <a:avLst/>
              <a:gdLst>
                <a:gd name="connsiteX0" fmla="*/ 0 w 10463"/>
                <a:gd name="connsiteY0" fmla="*/ 0 h 19698"/>
                <a:gd name="connsiteX1" fmla="*/ 0 w 10463"/>
                <a:gd name="connsiteY1" fmla="*/ 1990 h 19698"/>
                <a:gd name="connsiteX2" fmla="*/ 499 w 10463"/>
                <a:gd name="connsiteY2" fmla="*/ 3383 h 19698"/>
                <a:gd name="connsiteX3" fmla="*/ 1794 w 10463"/>
                <a:gd name="connsiteY3" fmla="*/ 5571 h 19698"/>
                <a:gd name="connsiteX4" fmla="*/ 3388 w 10463"/>
                <a:gd name="connsiteY4" fmla="*/ 9650 h 19698"/>
                <a:gd name="connsiteX5" fmla="*/ 5481 w 10463"/>
                <a:gd name="connsiteY5" fmla="*/ 12834 h 19698"/>
                <a:gd name="connsiteX6" fmla="*/ 7773 w 10463"/>
                <a:gd name="connsiteY6" fmla="*/ 17709 h 19698"/>
                <a:gd name="connsiteX7" fmla="*/ 9666 w 10463"/>
                <a:gd name="connsiteY7" fmla="*/ 19699 h 19698"/>
                <a:gd name="connsiteX8" fmla="*/ 10463 w 10463"/>
                <a:gd name="connsiteY8" fmla="*/ 18803 h 19698"/>
                <a:gd name="connsiteX9" fmla="*/ 3089 w 10463"/>
                <a:gd name="connsiteY9" fmla="*/ 2189 h 19698"/>
                <a:gd name="connsiteX10" fmla="*/ 0 w 10463"/>
                <a:gd name="connsiteY10" fmla="*/ 0 h 19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63" h="19698">
                  <a:moveTo>
                    <a:pt x="0" y="0"/>
                  </a:moveTo>
                  <a:lnTo>
                    <a:pt x="0" y="1990"/>
                  </a:lnTo>
                  <a:lnTo>
                    <a:pt x="499" y="3383"/>
                  </a:lnTo>
                  <a:lnTo>
                    <a:pt x="1794" y="5571"/>
                  </a:lnTo>
                  <a:lnTo>
                    <a:pt x="3388" y="9650"/>
                  </a:lnTo>
                  <a:lnTo>
                    <a:pt x="5481" y="12834"/>
                  </a:lnTo>
                  <a:lnTo>
                    <a:pt x="7773" y="17709"/>
                  </a:lnTo>
                  <a:lnTo>
                    <a:pt x="9666" y="19699"/>
                  </a:lnTo>
                  <a:lnTo>
                    <a:pt x="10463" y="18803"/>
                  </a:lnTo>
                  <a:lnTo>
                    <a:pt x="3089" y="21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3" name="Freeform: Shape 1122">
              <a:extLst>
                <a:ext uri="{FF2B5EF4-FFF2-40B4-BE49-F238E27FC236}">
                  <a16:creationId xmlns:a16="http://schemas.microsoft.com/office/drawing/2014/main" id="{12BB893F-2B7C-4179-B80A-4930F133B652}"/>
                </a:ext>
              </a:extLst>
            </p:cNvPr>
            <p:cNvSpPr/>
            <p:nvPr/>
          </p:nvSpPr>
          <p:spPr>
            <a:xfrm>
              <a:off x="4128684" y="4381860"/>
              <a:ext cx="16640" cy="26165"/>
            </a:xfrm>
            <a:custGeom>
              <a:avLst/>
              <a:gdLst>
                <a:gd name="connsiteX0" fmla="*/ 15146 w 16640"/>
                <a:gd name="connsiteY0" fmla="*/ 5571 h 26165"/>
                <a:gd name="connsiteX1" fmla="*/ 14847 w 16640"/>
                <a:gd name="connsiteY1" fmla="*/ 4079 h 26165"/>
                <a:gd name="connsiteX2" fmla="*/ 14548 w 16640"/>
                <a:gd name="connsiteY2" fmla="*/ 3781 h 26165"/>
                <a:gd name="connsiteX3" fmla="*/ 12655 w 16640"/>
                <a:gd name="connsiteY3" fmla="*/ 398 h 26165"/>
                <a:gd name="connsiteX4" fmla="*/ 11858 w 16640"/>
                <a:gd name="connsiteY4" fmla="*/ 0 h 26165"/>
                <a:gd name="connsiteX5" fmla="*/ 11060 w 16640"/>
                <a:gd name="connsiteY5" fmla="*/ 497 h 26165"/>
                <a:gd name="connsiteX6" fmla="*/ 10363 w 16640"/>
                <a:gd name="connsiteY6" fmla="*/ 1194 h 26165"/>
                <a:gd name="connsiteX7" fmla="*/ 9666 w 16640"/>
                <a:gd name="connsiteY7" fmla="*/ 1791 h 26165"/>
                <a:gd name="connsiteX8" fmla="*/ 7175 w 16640"/>
                <a:gd name="connsiteY8" fmla="*/ 2786 h 26165"/>
                <a:gd name="connsiteX9" fmla="*/ 4982 w 16640"/>
                <a:gd name="connsiteY9" fmla="*/ 3979 h 26165"/>
                <a:gd name="connsiteX10" fmla="*/ 3587 w 16640"/>
                <a:gd name="connsiteY10" fmla="*/ 5969 h 26165"/>
                <a:gd name="connsiteX11" fmla="*/ 3587 w 16640"/>
                <a:gd name="connsiteY11" fmla="*/ 9252 h 26165"/>
                <a:gd name="connsiteX12" fmla="*/ 4185 w 16640"/>
                <a:gd name="connsiteY12" fmla="*/ 13530 h 26165"/>
                <a:gd name="connsiteX13" fmla="*/ 3587 w 16640"/>
                <a:gd name="connsiteY13" fmla="*/ 18306 h 26165"/>
                <a:gd name="connsiteX14" fmla="*/ 2192 w 16640"/>
                <a:gd name="connsiteY14" fmla="*/ 22584 h 26165"/>
                <a:gd name="connsiteX15" fmla="*/ 0 w 16640"/>
                <a:gd name="connsiteY15" fmla="*/ 25170 h 26165"/>
                <a:gd name="connsiteX16" fmla="*/ 0 w 16640"/>
                <a:gd name="connsiteY16" fmla="*/ 26165 h 26165"/>
                <a:gd name="connsiteX17" fmla="*/ 8370 w 16640"/>
                <a:gd name="connsiteY17" fmla="*/ 25170 h 26165"/>
                <a:gd name="connsiteX18" fmla="*/ 8470 w 16640"/>
                <a:gd name="connsiteY18" fmla="*/ 23977 h 26165"/>
                <a:gd name="connsiteX19" fmla="*/ 10264 w 16640"/>
                <a:gd name="connsiteY19" fmla="*/ 18405 h 26165"/>
                <a:gd name="connsiteX20" fmla="*/ 11360 w 16640"/>
                <a:gd name="connsiteY20" fmla="*/ 16813 h 26165"/>
                <a:gd name="connsiteX21" fmla="*/ 10363 w 16640"/>
                <a:gd name="connsiteY21" fmla="*/ 19499 h 26165"/>
                <a:gd name="connsiteX22" fmla="*/ 10064 w 16640"/>
                <a:gd name="connsiteY22" fmla="*/ 20892 h 26165"/>
                <a:gd name="connsiteX23" fmla="*/ 10463 w 16640"/>
                <a:gd name="connsiteY23" fmla="*/ 22484 h 26165"/>
                <a:gd name="connsiteX24" fmla="*/ 15644 w 16640"/>
                <a:gd name="connsiteY24" fmla="*/ 13530 h 26165"/>
                <a:gd name="connsiteX25" fmla="*/ 15844 w 16640"/>
                <a:gd name="connsiteY25" fmla="*/ 12336 h 26165"/>
                <a:gd name="connsiteX26" fmla="*/ 16541 w 16640"/>
                <a:gd name="connsiteY26" fmla="*/ 9551 h 26165"/>
                <a:gd name="connsiteX27" fmla="*/ 16640 w 16640"/>
                <a:gd name="connsiteY27" fmla="*/ 8357 h 26165"/>
                <a:gd name="connsiteX28" fmla="*/ 16242 w 16640"/>
                <a:gd name="connsiteY28" fmla="*/ 7462 h 26165"/>
                <a:gd name="connsiteX29" fmla="*/ 15146 w 16640"/>
                <a:gd name="connsiteY29" fmla="*/ 5571 h 2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640" h="26165">
                  <a:moveTo>
                    <a:pt x="15146" y="5571"/>
                  </a:moveTo>
                  <a:lnTo>
                    <a:pt x="14847" y="4079"/>
                  </a:lnTo>
                  <a:lnTo>
                    <a:pt x="14548" y="3781"/>
                  </a:lnTo>
                  <a:lnTo>
                    <a:pt x="12655" y="398"/>
                  </a:lnTo>
                  <a:lnTo>
                    <a:pt x="11858" y="0"/>
                  </a:lnTo>
                  <a:lnTo>
                    <a:pt x="11060" y="497"/>
                  </a:lnTo>
                  <a:lnTo>
                    <a:pt x="10363" y="1194"/>
                  </a:lnTo>
                  <a:lnTo>
                    <a:pt x="9666" y="1791"/>
                  </a:lnTo>
                  <a:lnTo>
                    <a:pt x="7175" y="2786"/>
                  </a:lnTo>
                  <a:lnTo>
                    <a:pt x="4982" y="3979"/>
                  </a:lnTo>
                  <a:lnTo>
                    <a:pt x="3587" y="5969"/>
                  </a:lnTo>
                  <a:lnTo>
                    <a:pt x="3587" y="9252"/>
                  </a:lnTo>
                  <a:lnTo>
                    <a:pt x="4185" y="13530"/>
                  </a:lnTo>
                  <a:lnTo>
                    <a:pt x="3587" y="18306"/>
                  </a:lnTo>
                  <a:lnTo>
                    <a:pt x="2192" y="22584"/>
                  </a:lnTo>
                  <a:lnTo>
                    <a:pt x="0" y="25170"/>
                  </a:lnTo>
                  <a:lnTo>
                    <a:pt x="0" y="26165"/>
                  </a:lnTo>
                  <a:lnTo>
                    <a:pt x="8370" y="25170"/>
                  </a:lnTo>
                  <a:lnTo>
                    <a:pt x="8470" y="23977"/>
                  </a:lnTo>
                  <a:lnTo>
                    <a:pt x="10264" y="18405"/>
                  </a:lnTo>
                  <a:lnTo>
                    <a:pt x="11360" y="16813"/>
                  </a:lnTo>
                  <a:lnTo>
                    <a:pt x="10363" y="19499"/>
                  </a:lnTo>
                  <a:lnTo>
                    <a:pt x="10064" y="20892"/>
                  </a:lnTo>
                  <a:lnTo>
                    <a:pt x="10463" y="22484"/>
                  </a:lnTo>
                  <a:lnTo>
                    <a:pt x="15644" y="13530"/>
                  </a:lnTo>
                  <a:lnTo>
                    <a:pt x="15844" y="12336"/>
                  </a:lnTo>
                  <a:lnTo>
                    <a:pt x="16541" y="9551"/>
                  </a:lnTo>
                  <a:lnTo>
                    <a:pt x="16640" y="8357"/>
                  </a:lnTo>
                  <a:lnTo>
                    <a:pt x="16242" y="7462"/>
                  </a:lnTo>
                  <a:lnTo>
                    <a:pt x="15146" y="557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4" name="Freeform: Shape 1123">
              <a:extLst>
                <a:ext uri="{FF2B5EF4-FFF2-40B4-BE49-F238E27FC236}">
                  <a16:creationId xmlns:a16="http://schemas.microsoft.com/office/drawing/2014/main" id="{7D18B000-79DD-44E3-8F27-29958B7C87B2}"/>
                </a:ext>
              </a:extLst>
            </p:cNvPr>
            <p:cNvSpPr/>
            <p:nvPr/>
          </p:nvSpPr>
          <p:spPr>
            <a:xfrm>
              <a:off x="3695431" y="4366638"/>
              <a:ext cx="22519" cy="14127"/>
            </a:xfrm>
            <a:custGeom>
              <a:avLst/>
              <a:gdLst>
                <a:gd name="connsiteX0" fmla="*/ 12156 w 22519"/>
                <a:gd name="connsiteY0" fmla="*/ 9451 h 14127"/>
                <a:gd name="connsiteX1" fmla="*/ 13352 w 22519"/>
                <a:gd name="connsiteY1" fmla="*/ 7859 h 14127"/>
                <a:gd name="connsiteX2" fmla="*/ 14647 w 22519"/>
                <a:gd name="connsiteY2" fmla="*/ 4079 h 14127"/>
                <a:gd name="connsiteX3" fmla="*/ 15544 w 22519"/>
                <a:gd name="connsiteY3" fmla="*/ 2786 h 14127"/>
                <a:gd name="connsiteX4" fmla="*/ 16840 w 22519"/>
                <a:gd name="connsiteY4" fmla="*/ 2089 h 14127"/>
                <a:gd name="connsiteX5" fmla="*/ 17438 w 22519"/>
                <a:gd name="connsiteY5" fmla="*/ 2288 h 14127"/>
                <a:gd name="connsiteX6" fmla="*/ 18036 w 22519"/>
                <a:gd name="connsiteY6" fmla="*/ 2786 h 14127"/>
                <a:gd name="connsiteX7" fmla="*/ 19032 w 22519"/>
                <a:gd name="connsiteY7" fmla="*/ 2786 h 14127"/>
                <a:gd name="connsiteX8" fmla="*/ 21324 w 22519"/>
                <a:gd name="connsiteY8" fmla="*/ 2189 h 14127"/>
                <a:gd name="connsiteX9" fmla="*/ 22021 w 22519"/>
                <a:gd name="connsiteY9" fmla="*/ 1492 h 14127"/>
                <a:gd name="connsiteX10" fmla="*/ 22520 w 22519"/>
                <a:gd name="connsiteY10" fmla="*/ 0 h 14127"/>
                <a:gd name="connsiteX11" fmla="*/ 17338 w 22519"/>
                <a:gd name="connsiteY11" fmla="*/ 0 h 14127"/>
                <a:gd name="connsiteX12" fmla="*/ 16043 w 22519"/>
                <a:gd name="connsiteY12" fmla="*/ 497 h 14127"/>
                <a:gd name="connsiteX13" fmla="*/ 13950 w 22519"/>
                <a:gd name="connsiteY13" fmla="*/ 1691 h 14127"/>
                <a:gd name="connsiteX14" fmla="*/ 13352 w 22519"/>
                <a:gd name="connsiteY14" fmla="*/ 1890 h 14127"/>
                <a:gd name="connsiteX15" fmla="*/ 6377 w 22519"/>
                <a:gd name="connsiteY15" fmla="*/ 6665 h 14127"/>
                <a:gd name="connsiteX16" fmla="*/ 5082 w 22519"/>
                <a:gd name="connsiteY16" fmla="*/ 7163 h 14127"/>
                <a:gd name="connsiteX17" fmla="*/ 4484 w 22519"/>
                <a:gd name="connsiteY17" fmla="*/ 8456 h 14127"/>
                <a:gd name="connsiteX18" fmla="*/ 3089 w 22519"/>
                <a:gd name="connsiteY18" fmla="*/ 8357 h 14127"/>
                <a:gd name="connsiteX19" fmla="*/ 1494 w 22519"/>
                <a:gd name="connsiteY19" fmla="*/ 7959 h 14127"/>
                <a:gd name="connsiteX20" fmla="*/ 398 w 22519"/>
                <a:gd name="connsiteY20" fmla="*/ 8058 h 14127"/>
                <a:gd name="connsiteX21" fmla="*/ 0 w 22519"/>
                <a:gd name="connsiteY21" fmla="*/ 9352 h 14127"/>
                <a:gd name="connsiteX22" fmla="*/ 199 w 22519"/>
                <a:gd name="connsiteY22" fmla="*/ 11242 h 14127"/>
                <a:gd name="connsiteX23" fmla="*/ 896 w 22519"/>
                <a:gd name="connsiteY23" fmla="*/ 13132 h 14127"/>
                <a:gd name="connsiteX24" fmla="*/ 1794 w 22519"/>
                <a:gd name="connsiteY24" fmla="*/ 14127 h 14127"/>
                <a:gd name="connsiteX25" fmla="*/ 3985 w 22519"/>
                <a:gd name="connsiteY25" fmla="*/ 13829 h 14127"/>
                <a:gd name="connsiteX26" fmla="*/ 10463 w 22519"/>
                <a:gd name="connsiteY26" fmla="*/ 10645 h 14127"/>
                <a:gd name="connsiteX27" fmla="*/ 12156 w 22519"/>
                <a:gd name="connsiteY27" fmla="*/ 9451 h 1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2519" h="14127">
                  <a:moveTo>
                    <a:pt x="12156" y="9451"/>
                  </a:moveTo>
                  <a:lnTo>
                    <a:pt x="13352" y="7859"/>
                  </a:lnTo>
                  <a:lnTo>
                    <a:pt x="14647" y="4079"/>
                  </a:lnTo>
                  <a:lnTo>
                    <a:pt x="15544" y="2786"/>
                  </a:lnTo>
                  <a:lnTo>
                    <a:pt x="16840" y="2089"/>
                  </a:lnTo>
                  <a:lnTo>
                    <a:pt x="17438" y="2288"/>
                  </a:lnTo>
                  <a:lnTo>
                    <a:pt x="18036" y="2786"/>
                  </a:lnTo>
                  <a:lnTo>
                    <a:pt x="19032" y="2786"/>
                  </a:lnTo>
                  <a:lnTo>
                    <a:pt x="21324" y="2189"/>
                  </a:lnTo>
                  <a:lnTo>
                    <a:pt x="22021" y="1492"/>
                  </a:lnTo>
                  <a:lnTo>
                    <a:pt x="22520" y="0"/>
                  </a:lnTo>
                  <a:lnTo>
                    <a:pt x="17338" y="0"/>
                  </a:lnTo>
                  <a:lnTo>
                    <a:pt x="16043" y="497"/>
                  </a:lnTo>
                  <a:lnTo>
                    <a:pt x="13950" y="1691"/>
                  </a:lnTo>
                  <a:lnTo>
                    <a:pt x="13352" y="1890"/>
                  </a:lnTo>
                  <a:lnTo>
                    <a:pt x="6377" y="6665"/>
                  </a:lnTo>
                  <a:lnTo>
                    <a:pt x="5082" y="7163"/>
                  </a:lnTo>
                  <a:lnTo>
                    <a:pt x="4484" y="8456"/>
                  </a:lnTo>
                  <a:lnTo>
                    <a:pt x="3089" y="8357"/>
                  </a:lnTo>
                  <a:lnTo>
                    <a:pt x="1494" y="7959"/>
                  </a:lnTo>
                  <a:lnTo>
                    <a:pt x="398" y="8058"/>
                  </a:lnTo>
                  <a:lnTo>
                    <a:pt x="0" y="9352"/>
                  </a:lnTo>
                  <a:lnTo>
                    <a:pt x="199" y="11242"/>
                  </a:lnTo>
                  <a:lnTo>
                    <a:pt x="896" y="13132"/>
                  </a:lnTo>
                  <a:lnTo>
                    <a:pt x="1794" y="14127"/>
                  </a:lnTo>
                  <a:lnTo>
                    <a:pt x="3985" y="13829"/>
                  </a:lnTo>
                  <a:lnTo>
                    <a:pt x="10463" y="10645"/>
                  </a:lnTo>
                  <a:lnTo>
                    <a:pt x="12156" y="945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5" name="Freeform: Shape 1124">
              <a:extLst>
                <a:ext uri="{FF2B5EF4-FFF2-40B4-BE49-F238E27FC236}">
                  <a16:creationId xmlns:a16="http://schemas.microsoft.com/office/drawing/2014/main" id="{9DCEF924-B679-4117-A8B6-9B979C8FDC74}"/>
                </a:ext>
              </a:extLst>
            </p:cNvPr>
            <p:cNvSpPr/>
            <p:nvPr/>
          </p:nvSpPr>
          <p:spPr>
            <a:xfrm>
              <a:off x="3690250" y="4363852"/>
              <a:ext cx="12057" cy="6665"/>
            </a:xfrm>
            <a:custGeom>
              <a:avLst/>
              <a:gdLst>
                <a:gd name="connsiteX0" fmla="*/ 12057 w 12057"/>
                <a:gd name="connsiteY0" fmla="*/ 1791 h 6665"/>
                <a:gd name="connsiteX1" fmla="*/ 10762 w 12057"/>
                <a:gd name="connsiteY1" fmla="*/ 0 h 6665"/>
                <a:gd name="connsiteX2" fmla="*/ 8171 w 12057"/>
                <a:gd name="connsiteY2" fmla="*/ 696 h 6665"/>
                <a:gd name="connsiteX3" fmla="*/ 4882 w 12057"/>
                <a:gd name="connsiteY3" fmla="*/ 2189 h 6665"/>
                <a:gd name="connsiteX4" fmla="*/ 1595 w 12057"/>
                <a:gd name="connsiteY4" fmla="*/ 2786 h 6665"/>
                <a:gd name="connsiteX5" fmla="*/ 0 w 12057"/>
                <a:gd name="connsiteY5" fmla="*/ 3681 h 6665"/>
                <a:gd name="connsiteX6" fmla="*/ 498 w 12057"/>
                <a:gd name="connsiteY6" fmla="*/ 4875 h 6665"/>
                <a:gd name="connsiteX7" fmla="*/ 1993 w 12057"/>
                <a:gd name="connsiteY7" fmla="*/ 5969 h 6665"/>
                <a:gd name="connsiteX8" fmla="*/ 3388 w 12057"/>
                <a:gd name="connsiteY8" fmla="*/ 6566 h 6665"/>
                <a:gd name="connsiteX9" fmla="*/ 5281 w 12057"/>
                <a:gd name="connsiteY9" fmla="*/ 6665 h 6665"/>
                <a:gd name="connsiteX10" fmla="*/ 8470 w 12057"/>
                <a:gd name="connsiteY10" fmla="*/ 6168 h 6665"/>
                <a:gd name="connsiteX11" fmla="*/ 10264 w 12057"/>
                <a:gd name="connsiteY11" fmla="*/ 6566 h 6665"/>
                <a:gd name="connsiteX12" fmla="*/ 9566 w 12057"/>
                <a:gd name="connsiteY12" fmla="*/ 4775 h 6665"/>
                <a:gd name="connsiteX13" fmla="*/ 9466 w 12057"/>
                <a:gd name="connsiteY13" fmla="*/ 3084 h 6665"/>
                <a:gd name="connsiteX14" fmla="*/ 10264 w 12057"/>
                <a:gd name="connsiteY14" fmla="*/ 1890 h 6665"/>
                <a:gd name="connsiteX15" fmla="*/ 12057 w 12057"/>
                <a:gd name="connsiteY15" fmla="*/ 1791 h 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057" h="6665">
                  <a:moveTo>
                    <a:pt x="12057" y="1791"/>
                  </a:moveTo>
                  <a:lnTo>
                    <a:pt x="10762" y="0"/>
                  </a:lnTo>
                  <a:lnTo>
                    <a:pt x="8171" y="696"/>
                  </a:lnTo>
                  <a:lnTo>
                    <a:pt x="4882" y="2189"/>
                  </a:lnTo>
                  <a:lnTo>
                    <a:pt x="1595" y="2786"/>
                  </a:lnTo>
                  <a:lnTo>
                    <a:pt x="0" y="3681"/>
                  </a:lnTo>
                  <a:lnTo>
                    <a:pt x="498" y="4875"/>
                  </a:lnTo>
                  <a:lnTo>
                    <a:pt x="1993" y="5969"/>
                  </a:lnTo>
                  <a:lnTo>
                    <a:pt x="3388" y="6566"/>
                  </a:lnTo>
                  <a:lnTo>
                    <a:pt x="5281" y="6665"/>
                  </a:lnTo>
                  <a:lnTo>
                    <a:pt x="8470" y="6168"/>
                  </a:lnTo>
                  <a:lnTo>
                    <a:pt x="10264" y="6566"/>
                  </a:lnTo>
                  <a:lnTo>
                    <a:pt x="9566" y="4775"/>
                  </a:lnTo>
                  <a:lnTo>
                    <a:pt x="9466" y="3084"/>
                  </a:lnTo>
                  <a:lnTo>
                    <a:pt x="10264" y="1890"/>
                  </a:lnTo>
                  <a:lnTo>
                    <a:pt x="12057" y="179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E3983B54-2EA7-4161-914F-9E8F4DD14800}"/>
                </a:ext>
              </a:extLst>
            </p:cNvPr>
            <p:cNvSpPr/>
            <p:nvPr/>
          </p:nvSpPr>
          <p:spPr>
            <a:xfrm>
              <a:off x="3876883" y="4361067"/>
              <a:ext cx="10363" cy="11241"/>
            </a:xfrm>
            <a:custGeom>
              <a:avLst/>
              <a:gdLst>
                <a:gd name="connsiteX0" fmla="*/ 7972 w 10363"/>
                <a:gd name="connsiteY0" fmla="*/ 8456 h 11241"/>
                <a:gd name="connsiteX1" fmla="*/ 6677 w 10363"/>
                <a:gd name="connsiteY1" fmla="*/ 7760 h 11241"/>
                <a:gd name="connsiteX2" fmla="*/ 5182 w 10363"/>
                <a:gd name="connsiteY2" fmla="*/ 6566 h 11241"/>
                <a:gd name="connsiteX3" fmla="*/ 3986 w 10363"/>
                <a:gd name="connsiteY3" fmla="*/ 4775 h 11241"/>
                <a:gd name="connsiteX4" fmla="*/ 3090 w 10363"/>
                <a:gd name="connsiteY4" fmla="*/ 2786 h 11241"/>
                <a:gd name="connsiteX5" fmla="*/ 1893 w 10363"/>
                <a:gd name="connsiteY5" fmla="*/ 1094 h 11241"/>
                <a:gd name="connsiteX6" fmla="*/ 0 w 10363"/>
                <a:gd name="connsiteY6" fmla="*/ 0 h 11241"/>
                <a:gd name="connsiteX7" fmla="*/ 0 w 10363"/>
                <a:gd name="connsiteY7" fmla="*/ 1691 h 11241"/>
                <a:gd name="connsiteX8" fmla="*/ 1196 w 10363"/>
                <a:gd name="connsiteY8" fmla="*/ 3780 h 11241"/>
                <a:gd name="connsiteX9" fmla="*/ 6577 w 10363"/>
                <a:gd name="connsiteY9" fmla="*/ 10546 h 11241"/>
                <a:gd name="connsiteX10" fmla="*/ 7972 w 10363"/>
                <a:gd name="connsiteY10" fmla="*/ 11242 h 11241"/>
                <a:gd name="connsiteX11" fmla="*/ 10363 w 10363"/>
                <a:gd name="connsiteY11" fmla="*/ 11242 h 11241"/>
                <a:gd name="connsiteX12" fmla="*/ 9267 w 10363"/>
                <a:gd name="connsiteY12" fmla="*/ 9352 h 11241"/>
                <a:gd name="connsiteX13" fmla="*/ 7972 w 10363"/>
                <a:gd name="connsiteY13" fmla="*/ 8456 h 11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363" h="11241">
                  <a:moveTo>
                    <a:pt x="7972" y="8456"/>
                  </a:moveTo>
                  <a:lnTo>
                    <a:pt x="6677" y="7760"/>
                  </a:lnTo>
                  <a:lnTo>
                    <a:pt x="5182" y="6566"/>
                  </a:lnTo>
                  <a:lnTo>
                    <a:pt x="3986" y="4775"/>
                  </a:lnTo>
                  <a:lnTo>
                    <a:pt x="3090" y="2786"/>
                  </a:lnTo>
                  <a:lnTo>
                    <a:pt x="1893" y="1094"/>
                  </a:lnTo>
                  <a:lnTo>
                    <a:pt x="0" y="0"/>
                  </a:lnTo>
                  <a:lnTo>
                    <a:pt x="0" y="1691"/>
                  </a:lnTo>
                  <a:lnTo>
                    <a:pt x="1196" y="3780"/>
                  </a:lnTo>
                  <a:lnTo>
                    <a:pt x="6577" y="10546"/>
                  </a:lnTo>
                  <a:lnTo>
                    <a:pt x="7972" y="11242"/>
                  </a:lnTo>
                  <a:lnTo>
                    <a:pt x="10363" y="11242"/>
                  </a:lnTo>
                  <a:lnTo>
                    <a:pt x="9267" y="9352"/>
                  </a:lnTo>
                  <a:lnTo>
                    <a:pt x="7972" y="845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92539BB6-F7FA-4D91-8F25-7DC4DF4BE794}"/>
                </a:ext>
              </a:extLst>
            </p:cNvPr>
            <p:cNvSpPr/>
            <p:nvPr/>
          </p:nvSpPr>
          <p:spPr>
            <a:xfrm>
              <a:off x="3699816" y="4360072"/>
              <a:ext cx="53907" cy="79888"/>
            </a:xfrm>
            <a:custGeom>
              <a:avLst/>
              <a:gdLst>
                <a:gd name="connsiteX0" fmla="*/ 47630 w 53907"/>
                <a:gd name="connsiteY0" fmla="*/ 77103 h 79888"/>
                <a:gd name="connsiteX1" fmla="*/ 48427 w 53907"/>
                <a:gd name="connsiteY1" fmla="*/ 76108 h 79888"/>
                <a:gd name="connsiteX2" fmla="*/ 49324 w 53907"/>
                <a:gd name="connsiteY2" fmla="*/ 74416 h 79888"/>
                <a:gd name="connsiteX3" fmla="*/ 50021 w 53907"/>
                <a:gd name="connsiteY3" fmla="*/ 72427 h 79888"/>
                <a:gd name="connsiteX4" fmla="*/ 50220 w 53907"/>
                <a:gd name="connsiteY4" fmla="*/ 70636 h 79888"/>
                <a:gd name="connsiteX5" fmla="*/ 49423 w 53907"/>
                <a:gd name="connsiteY5" fmla="*/ 68547 h 79888"/>
                <a:gd name="connsiteX6" fmla="*/ 47131 w 53907"/>
                <a:gd name="connsiteY6" fmla="*/ 66656 h 79888"/>
                <a:gd name="connsiteX7" fmla="*/ 46833 w 53907"/>
                <a:gd name="connsiteY7" fmla="*/ 64965 h 79888"/>
                <a:gd name="connsiteX8" fmla="*/ 49922 w 53907"/>
                <a:gd name="connsiteY8" fmla="*/ 65960 h 79888"/>
                <a:gd name="connsiteX9" fmla="*/ 51616 w 53907"/>
                <a:gd name="connsiteY9" fmla="*/ 65065 h 79888"/>
                <a:gd name="connsiteX10" fmla="*/ 53807 w 53907"/>
                <a:gd name="connsiteY10" fmla="*/ 60190 h 79888"/>
                <a:gd name="connsiteX11" fmla="*/ 53110 w 53907"/>
                <a:gd name="connsiteY11" fmla="*/ 57902 h 79888"/>
                <a:gd name="connsiteX12" fmla="*/ 53907 w 53907"/>
                <a:gd name="connsiteY12" fmla="*/ 52728 h 79888"/>
                <a:gd name="connsiteX13" fmla="*/ 52811 w 53907"/>
                <a:gd name="connsiteY13" fmla="*/ 50739 h 79888"/>
                <a:gd name="connsiteX14" fmla="*/ 50320 w 53907"/>
                <a:gd name="connsiteY14" fmla="*/ 50241 h 79888"/>
                <a:gd name="connsiteX15" fmla="*/ 47630 w 53907"/>
                <a:gd name="connsiteY15" fmla="*/ 51435 h 79888"/>
                <a:gd name="connsiteX16" fmla="*/ 43245 w 53907"/>
                <a:gd name="connsiteY16" fmla="*/ 54619 h 79888"/>
                <a:gd name="connsiteX17" fmla="*/ 43644 w 53907"/>
                <a:gd name="connsiteY17" fmla="*/ 51136 h 79888"/>
                <a:gd name="connsiteX18" fmla="*/ 46135 w 53907"/>
                <a:gd name="connsiteY18" fmla="*/ 50042 h 79888"/>
                <a:gd name="connsiteX19" fmla="*/ 48925 w 53907"/>
                <a:gd name="connsiteY19" fmla="*/ 50042 h 79888"/>
                <a:gd name="connsiteX20" fmla="*/ 50220 w 53907"/>
                <a:gd name="connsiteY20" fmla="*/ 49445 h 79888"/>
                <a:gd name="connsiteX21" fmla="*/ 50619 w 53907"/>
                <a:gd name="connsiteY21" fmla="*/ 49047 h 79888"/>
                <a:gd name="connsiteX22" fmla="*/ 51516 w 53907"/>
                <a:gd name="connsiteY22" fmla="*/ 48351 h 79888"/>
                <a:gd name="connsiteX23" fmla="*/ 52413 w 53907"/>
                <a:gd name="connsiteY23" fmla="*/ 47257 h 79888"/>
                <a:gd name="connsiteX24" fmla="*/ 52811 w 53907"/>
                <a:gd name="connsiteY24" fmla="*/ 45665 h 79888"/>
                <a:gd name="connsiteX25" fmla="*/ 52413 w 53907"/>
                <a:gd name="connsiteY25" fmla="*/ 44371 h 79888"/>
                <a:gd name="connsiteX26" fmla="*/ 50619 w 53907"/>
                <a:gd name="connsiteY26" fmla="*/ 41685 h 79888"/>
                <a:gd name="connsiteX27" fmla="*/ 50220 w 53907"/>
                <a:gd name="connsiteY27" fmla="*/ 40989 h 79888"/>
                <a:gd name="connsiteX28" fmla="*/ 50320 w 53907"/>
                <a:gd name="connsiteY28" fmla="*/ 39497 h 79888"/>
                <a:gd name="connsiteX29" fmla="*/ 51018 w 53907"/>
                <a:gd name="connsiteY29" fmla="*/ 36910 h 79888"/>
                <a:gd name="connsiteX30" fmla="*/ 51117 w 53907"/>
                <a:gd name="connsiteY30" fmla="*/ 35318 h 79888"/>
                <a:gd name="connsiteX31" fmla="*/ 51018 w 53907"/>
                <a:gd name="connsiteY31" fmla="*/ 34124 h 79888"/>
                <a:gd name="connsiteX32" fmla="*/ 50320 w 53907"/>
                <a:gd name="connsiteY32" fmla="*/ 31239 h 79888"/>
                <a:gd name="connsiteX33" fmla="*/ 50121 w 53907"/>
                <a:gd name="connsiteY33" fmla="*/ 26663 h 79888"/>
                <a:gd name="connsiteX34" fmla="*/ 49722 w 53907"/>
                <a:gd name="connsiteY34" fmla="*/ 24275 h 79888"/>
                <a:gd name="connsiteX35" fmla="*/ 48825 w 53907"/>
                <a:gd name="connsiteY35" fmla="*/ 22186 h 79888"/>
                <a:gd name="connsiteX36" fmla="*/ 47231 w 53907"/>
                <a:gd name="connsiteY36" fmla="*/ 20296 h 79888"/>
                <a:gd name="connsiteX37" fmla="*/ 45836 w 53907"/>
                <a:gd name="connsiteY37" fmla="*/ 17808 h 79888"/>
                <a:gd name="connsiteX38" fmla="*/ 44242 w 53907"/>
                <a:gd name="connsiteY38" fmla="*/ 14326 h 79888"/>
                <a:gd name="connsiteX39" fmla="*/ 42349 w 53907"/>
                <a:gd name="connsiteY39" fmla="*/ 11640 h 79888"/>
                <a:gd name="connsiteX40" fmla="*/ 39858 w 53907"/>
                <a:gd name="connsiteY40" fmla="*/ 11242 h 79888"/>
                <a:gd name="connsiteX41" fmla="*/ 38363 w 53907"/>
                <a:gd name="connsiteY41" fmla="*/ 13232 h 79888"/>
                <a:gd name="connsiteX42" fmla="*/ 37865 w 53907"/>
                <a:gd name="connsiteY42" fmla="*/ 16415 h 79888"/>
                <a:gd name="connsiteX43" fmla="*/ 37765 w 53907"/>
                <a:gd name="connsiteY43" fmla="*/ 19997 h 79888"/>
                <a:gd name="connsiteX44" fmla="*/ 37267 w 53907"/>
                <a:gd name="connsiteY44" fmla="*/ 22683 h 79888"/>
                <a:gd name="connsiteX45" fmla="*/ 35971 w 53907"/>
                <a:gd name="connsiteY45" fmla="*/ 24573 h 79888"/>
                <a:gd name="connsiteX46" fmla="*/ 33381 w 53907"/>
                <a:gd name="connsiteY46" fmla="*/ 27657 h 79888"/>
                <a:gd name="connsiteX47" fmla="*/ 29395 w 53907"/>
                <a:gd name="connsiteY47" fmla="*/ 35616 h 79888"/>
                <a:gd name="connsiteX48" fmla="*/ 27402 w 53907"/>
                <a:gd name="connsiteY48" fmla="*/ 37407 h 79888"/>
                <a:gd name="connsiteX49" fmla="*/ 25011 w 53907"/>
                <a:gd name="connsiteY49" fmla="*/ 36711 h 79888"/>
                <a:gd name="connsiteX50" fmla="*/ 26904 w 53907"/>
                <a:gd name="connsiteY50" fmla="*/ 35716 h 79888"/>
                <a:gd name="connsiteX51" fmla="*/ 27502 w 53907"/>
                <a:gd name="connsiteY51" fmla="*/ 34224 h 79888"/>
                <a:gd name="connsiteX52" fmla="*/ 27900 w 53907"/>
                <a:gd name="connsiteY52" fmla="*/ 32532 h 79888"/>
                <a:gd name="connsiteX53" fmla="*/ 29993 w 53907"/>
                <a:gd name="connsiteY53" fmla="*/ 28553 h 79888"/>
                <a:gd name="connsiteX54" fmla="*/ 30391 w 53907"/>
                <a:gd name="connsiteY54" fmla="*/ 26165 h 79888"/>
                <a:gd name="connsiteX55" fmla="*/ 29694 w 53907"/>
                <a:gd name="connsiteY55" fmla="*/ 24573 h 79888"/>
                <a:gd name="connsiteX56" fmla="*/ 27701 w 53907"/>
                <a:gd name="connsiteY56" fmla="*/ 25469 h 79888"/>
                <a:gd name="connsiteX57" fmla="*/ 24512 w 53907"/>
                <a:gd name="connsiteY57" fmla="*/ 23479 h 79888"/>
                <a:gd name="connsiteX58" fmla="*/ 23217 w 53907"/>
                <a:gd name="connsiteY58" fmla="*/ 22285 h 79888"/>
                <a:gd name="connsiteX59" fmla="*/ 23715 w 53907"/>
                <a:gd name="connsiteY59" fmla="*/ 21688 h 79888"/>
                <a:gd name="connsiteX60" fmla="*/ 26007 w 53907"/>
                <a:gd name="connsiteY60" fmla="*/ 21191 h 79888"/>
                <a:gd name="connsiteX61" fmla="*/ 26505 w 53907"/>
                <a:gd name="connsiteY61" fmla="*/ 19997 h 79888"/>
                <a:gd name="connsiteX62" fmla="*/ 25509 w 53907"/>
                <a:gd name="connsiteY62" fmla="*/ 19002 h 79888"/>
                <a:gd name="connsiteX63" fmla="*/ 23316 w 53907"/>
                <a:gd name="connsiteY63" fmla="*/ 18803 h 79888"/>
                <a:gd name="connsiteX64" fmla="*/ 23316 w 53907"/>
                <a:gd name="connsiteY64" fmla="*/ 17908 h 79888"/>
                <a:gd name="connsiteX65" fmla="*/ 27203 w 53907"/>
                <a:gd name="connsiteY65" fmla="*/ 17211 h 79888"/>
                <a:gd name="connsiteX66" fmla="*/ 30292 w 53907"/>
                <a:gd name="connsiteY66" fmla="*/ 15420 h 79888"/>
                <a:gd name="connsiteX67" fmla="*/ 38164 w 53907"/>
                <a:gd name="connsiteY67" fmla="*/ 8954 h 79888"/>
                <a:gd name="connsiteX68" fmla="*/ 39360 w 53907"/>
                <a:gd name="connsiteY68" fmla="*/ 7362 h 79888"/>
                <a:gd name="connsiteX69" fmla="*/ 38462 w 53907"/>
                <a:gd name="connsiteY69" fmla="*/ 6566 h 79888"/>
                <a:gd name="connsiteX70" fmla="*/ 36968 w 53907"/>
                <a:gd name="connsiteY70" fmla="*/ 5870 h 79888"/>
                <a:gd name="connsiteX71" fmla="*/ 35872 w 53907"/>
                <a:gd name="connsiteY71" fmla="*/ 3979 h 79888"/>
                <a:gd name="connsiteX72" fmla="*/ 34975 w 53907"/>
                <a:gd name="connsiteY72" fmla="*/ 1791 h 79888"/>
                <a:gd name="connsiteX73" fmla="*/ 33779 w 53907"/>
                <a:gd name="connsiteY73" fmla="*/ 0 h 79888"/>
                <a:gd name="connsiteX74" fmla="*/ 30292 w 53907"/>
                <a:gd name="connsiteY74" fmla="*/ 1890 h 79888"/>
                <a:gd name="connsiteX75" fmla="*/ 28797 w 53907"/>
                <a:gd name="connsiteY75" fmla="*/ 3781 h 79888"/>
                <a:gd name="connsiteX76" fmla="*/ 23616 w 53907"/>
                <a:gd name="connsiteY76" fmla="*/ 5969 h 79888"/>
                <a:gd name="connsiteX77" fmla="*/ 21623 w 53907"/>
                <a:gd name="connsiteY77" fmla="*/ 7561 h 79888"/>
                <a:gd name="connsiteX78" fmla="*/ 20925 w 53907"/>
                <a:gd name="connsiteY78" fmla="*/ 9252 h 79888"/>
                <a:gd name="connsiteX79" fmla="*/ 20626 w 53907"/>
                <a:gd name="connsiteY79" fmla="*/ 10247 h 79888"/>
                <a:gd name="connsiteX80" fmla="*/ 20227 w 53907"/>
                <a:gd name="connsiteY80" fmla="*/ 11143 h 79888"/>
                <a:gd name="connsiteX81" fmla="*/ 18932 w 53907"/>
                <a:gd name="connsiteY81" fmla="*/ 12237 h 79888"/>
                <a:gd name="connsiteX82" fmla="*/ 17238 w 53907"/>
                <a:gd name="connsiteY82" fmla="*/ 12834 h 79888"/>
                <a:gd name="connsiteX83" fmla="*/ 12954 w 53907"/>
                <a:gd name="connsiteY83" fmla="*/ 13232 h 79888"/>
                <a:gd name="connsiteX84" fmla="*/ 12456 w 53907"/>
                <a:gd name="connsiteY84" fmla="*/ 14227 h 79888"/>
                <a:gd name="connsiteX85" fmla="*/ 11658 w 53907"/>
                <a:gd name="connsiteY85" fmla="*/ 17609 h 79888"/>
                <a:gd name="connsiteX86" fmla="*/ 11160 w 53907"/>
                <a:gd name="connsiteY86" fmla="*/ 18803 h 79888"/>
                <a:gd name="connsiteX87" fmla="*/ 9665 w 53907"/>
                <a:gd name="connsiteY87" fmla="*/ 19897 h 79888"/>
                <a:gd name="connsiteX88" fmla="*/ 6278 w 53907"/>
                <a:gd name="connsiteY88" fmla="*/ 20992 h 79888"/>
                <a:gd name="connsiteX89" fmla="*/ 4982 w 53907"/>
                <a:gd name="connsiteY89" fmla="*/ 21688 h 79888"/>
                <a:gd name="connsiteX90" fmla="*/ 3886 w 53907"/>
                <a:gd name="connsiteY90" fmla="*/ 22882 h 79888"/>
                <a:gd name="connsiteX91" fmla="*/ 3886 w 53907"/>
                <a:gd name="connsiteY91" fmla="*/ 23578 h 79888"/>
                <a:gd name="connsiteX92" fmla="*/ 4285 w 53907"/>
                <a:gd name="connsiteY92" fmla="*/ 24175 h 79888"/>
                <a:gd name="connsiteX93" fmla="*/ 4185 w 53907"/>
                <a:gd name="connsiteY93" fmla="*/ 25469 h 79888"/>
                <a:gd name="connsiteX94" fmla="*/ 4185 w 53907"/>
                <a:gd name="connsiteY94" fmla="*/ 26165 h 79888"/>
                <a:gd name="connsiteX95" fmla="*/ 4085 w 53907"/>
                <a:gd name="connsiteY95" fmla="*/ 27160 h 79888"/>
                <a:gd name="connsiteX96" fmla="*/ 3388 w 53907"/>
                <a:gd name="connsiteY96" fmla="*/ 27458 h 79888"/>
                <a:gd name="connsiteX97" fmla="*/ 1594 w 53907"/>
                <a:gd name="connsiteY97" fmla="*/ 26364 h 79888"/>
                <a:gd name="connsiteX98" fmla="*/ 698 w 53907"/>
                <a:gd name="connsiteY98" fmla="*/ 27259 h 79888"/>
                <a:gd name="connsiteX99" fmla="*/ 0 w 53907"/>
                <a:gd name="connsiteY99" fmla="*/ 28254 h 79888"/>
                <a:gd name="connsiteX100" fmla="*/ 7872 w 53907"/>
                <a:gd name="connsiteY100" fmla="*/ 31438 h 79888"/>
                <a:gd name="connsiteX101" fmla="*/ 10363 w 53907"/>
                <a:gd name="connsiteY101" fmla="*/ 32930 h 79888"/>
                <a:gd name="connsiteX102" fmla="*/ 10363 w 53907"/>
                <a:gd name="connsiteY102" fmla="*/ 33925 h 79888"/>
                <a:gd name="connsiteX103" fmla="*/ 9565 w 53907"/>
                <a:gd name="connsiteY103" fmla="*/ 35019 h 79888"/>
                <a:gd name="connsiteX104" fmla="*/ 10562 w 53907"/>
                <a:gd name="connsiteY104" fmla="*/ 35915 h 79888"/>
                <a:gd name="connsiteX105" fmla="*/ 12256 w 53907"/>
                <a:gd name="connsiteY105" fmla="*/ 37009 h 79888"/>
                <a:gd name="connsiteX106" fmla="*/ 13751 w 53907"/>
                <a:gd name="connsiteY106" fmla="*/ 38601 h 79888"/>
                <a:gd name="connsiteX107" fmla="*/ 13751 w 53907"/>
                <a:gd name="connsiteY107" fmla="*/ 40292 h 79888"/>
                <a:gd name="connsiteX108" fmla="*/ 13153 w 53907"/>
                <a:gd name="connsiteY108" fmla="*/ 42083 h 79888"/>
                <a:gd name="connsiteX109" fmla="*/ 13253 w 53907"/>
                <a:gd name="connsiteY109" fmla="*/ 43675 h 79888"/>
                <a:gd name="connsiteX110" fmla="*/ 15145 w 53907"/>
                <a:gd name="connsiteY110" fmla="*/ 44272 h 79888"/>
                <a:gd name="connsiteX111" fmla="*/ 14249 w 53907"/>
                <a:gd name="connsiteY111" fmla="*/ 45764 h 79888"/>
                <a:gd name="connsiteX112" fmla="*/ 14449 w 53907"/>
                <a:gd name="connsiteY112" fmla="*/ 49246 h 79888"/>
                <a:gd name="connsiteX113" fmla="*/ 16342 w 53907"/>
                <a:gd name="connsiteY113" fmla="*/ 58499 h 79888"/>
                <a:gd name="connsiteX114" fmla="*/ 17138 w 53907"/>
                <a:gd name="connsiteY114" fmla="*/ 60090 h 79888"/>
                <a:gd name="connsiteX115" fmla="*/ 18135 w 53907"/>
                <a:gd name="connsiteY115" fmla="*/ 61185 h 79888"/>
                <a:gd name="connsiteX116" fmla="*/ 19729 w 53907"/>
                <a:gd name="connsiteY116" fmla="*/ 61583 h 79888"/>
                <a:gd name="connsiteX117" fmla="*/ 21224 w 53907"/>
                <a:gd name="connsiteY117" fmla="*/ 61185 h 79888"/>
                <a:gd name="connsiteX118" fmla="*/ 22818 w 53907"/>
                <a:gd name="connsiteY118" fmla="*/ 60588 h 79888"/>
                <a:gd name="connsiteX119" fmla="*/ 24612 w 53907"/>
                <a:gd name="connsiteY119" fmla="*/ 60190 h 79888"/>
                <a:gd name="connsiteX120" fmla="*/ 31288 w 53907"/>
                <a:gd name="connsiteY120" fmla="*/ 60090 h 79888"/>
                <a:gd name="connsiteX121" fmla="*/ 33779 w 53907"/>
                <a:gd name="connsiteY121" fmla="*/ 59294 h 79888"/>
                <a:gd name="connsiteX122" fmla="*/ 35573 w 53907"/>
                <a:gd name="connsiteY122" fmla="*/ 57404 h 79888"/>
                <a:gd name="connsiteX123" fmla="*/ 34975 w 53907"/>
                <a:gd name="connsiteY123" fmla="*/ 60289 h 79888"/>
                <a:gd name="connsiteX124" fmla="*/ 30790 w 53907"/>
                <a:gd name="connsiteY124" fmla="*/ 62777 h 79888"/>
                <a:gd name="connsiteX125" fmla="*/ 22420 w 53907"/>
                <a:gd name="connsiteY125" fmla="*/ 65861 h 79888"/>
                <a:gd name="connsiteX126" fmla="*/ 25011 w 53907"/>
                <a:gd name="connsiteY126" fmla="*/ 66756 h 79888"/>
                <a:gd name="connsiteX127" fmla="*/ 28100 w 53907"/>
                <a:gd name="connsiteY127" fmla="*/ 71034 h 79888"/>
                <a:gd name="connsiteX128" fmla="*/ 31089 w 53907"/>
                <a:gd name="connsiteY128" fmla="*/ 71432 h 79888"/>
                <a:gd name="connsiteX129" fmla="*/ 30691 w 53907"/>
                <a:gd name="connsiteY129" fmla="*/ 70935 h 79888"/>
                <a:gd name="connsiteX130" fmla="*/ 30292 w 53907"/>
                <a:gd name="connsiteY130" fmla="*/ 70636 h 79888"/>
                <a:gd name="connsiteX131" fmla="*/ 37665 w 53907"/>
                <a:gd name="connsiteY131" fmla="*/ 65861 h 79888"/>
                <a:gd name="connsiteX132" fmla="*/ 39658 w 53907"/>
                <a:gd name="connsiteY132" fmla="*/ 64866 h 79888"/>
                <a:gd name="connsiteX133" fmla="*/ 41851 w 53907"/>
                <a:gd name="connsiteY133" fmla="*/ 62975 h 79888"/>
                <a:gd name="connsiteX134" fmla="*/ 44043 w 53907"/>
                <a:gd name="connsiteY134" fmla="*/ 61682 h 79888"/>
                <a:gd name="connsiteX135" fmla="*/ 46334 w 53907"/>
                <a:gd name="connsiteY135" fmla="*/ 62478 h 79888"/>
                <a:gd name="connsiteX136" fmla="*/ 46334 w 53907"/>
                <a:gd name="connsiteY136" fmla="*/ 64070 h 79888"/>
                <a:gd name="connsiteX137" fmla="*/ 44441 w 53907"/>
                <a:gd name="connsiteY137" fmla="*/ 65562 h 79888"/>
                <a:gd name="connsiteX138" fmla="*/ 37665 w 53907"/>
                <a:gd name="connsiteY138" fmla="*/ 68746 h 79888"/>
                <a:gd name="connsiteX139" fmla="*/ 35872 w 53907"/>
                <a:gd name="connsiteY139" fmla="*/ 70039 h 79888"/>
                <a:gd name="connsiteX140" fmla="*/ 34576 w 53907"/>
                <a:gd name="connsiteY140" fmla="*/ 71830 h 79888"/>
                <a:gd name="connsiteX141" fmla="*/ 33779 w 53907"/>
                <a:gd name="connsiteY141" fmla="*/ 74317 h 79888"/>
                <a:gd name="connsiteX142" fmla="*/ 27103 w 53907"/>
                <a:gd name="connsiteY142" fmla="*/ 72029 h 79888"/>
                <a:gd name="connsiteX143" fmla="*/ 24413 w 53907"/>
                <a:gd name="connsiteY143" fmla="*/ 71929 h 79888"/>
                <a:gd name="connsiteX144" fmla="*/ 25011 w 53907"/>
                <a:gd name="connsiteY144" fmla="*/ 74317 h 79888"/>
                <a:gd name="connsiteX145" fmla="*/ 20726 w 53907"/>
                <a:gd name="connsiteY145" fmla="*/ 76207 h 79888"/>
                <a:gd name="connsiteX146" fmla="*/ 28797 w 53907"/>
                <a:gd name="connsiteY146" fmla="*/ 76008 h 79888"/>
                <a:gd name="connsiteX147" fmla="*/ 32583 w 53907"/>
                <a:gd name="connsiteY147" fmla="*/ 77003 h 79888"/>
                <a:gd name="connsiteX148" fmla="*/ 34676 w 53907"/>
                <a:gd name="connsiteY148" fmla="*/ 79888 h 79888"/>
                <a:gd name="connsiteX149" fmla="*/ 35573 w 53907"/>
                <a:gd name="connsiteY149" fmla="*/ 79888 h 79888"/>
                <a:gd name="connsiteX150" fmla="*/ 36769 w 53907"/>
                <a:gd name="connsiteY150" fmla="*/ 78098 h 79888"/>
                <a:gd name="connsiteX151" fmla="*/ 36868 w 53907"/>
                <a:gd name="connsiteY151" fmla="*/ 76904 h 79888"/>
                <a:gd name="connsiteX152" fmla="*/ 34676 w 53907"/>
                <a:gd name="connsiteY152" fmla="*/ 74317 h 79888"/>
                <a:gd name="connsiteX153" fmla="*/ 37865 w 53907"/>
                <a:gd name="connsiteY153" fmla="*/ 75113 h 79888"/>
                <a:gd name="connsiteX154" fmla="*/ 40655 w 53907"/>
                <a:gd name="connsiteY154" fmla="*/ 77202 h 79888"/>
                <a:gd name="connsiteX155" fmla="*/ 43644 w 53907"/>
                <a:gd name="connsiteY155" fmla="*/ 78495 h 79888"/>
                <a:gd name="connsiteX156" fmla="*/ 47630 w 53907"/>
                <a:gd name="connsiteY156" fmla="*/ 77103 h 7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53907" h="79888">
                  <a:moveTo>
                    <a:pt x="47630" y="77103"/>
                  </a:moveTo>
                  <a:lnTo>
                    <a:pt x="48427" y="76108"/>
                  </a:lnTo>
                  <a:lnTo>
                    <a:pt x="49324" y="74416"/>
                  </a:lnTo>
                  <a:lnTo>
                    <a:pt x="50021" y="72427"/>
                  </a:lnTo>
                  <a:lnTo>
                    <a:pt x="50220" y="70636"/>
                  </a:lnTo>
                  <a:lnTo>
                    <a:pt x="49423" y="68547"/>
                  </a:lnTo>
                  <a:lnTo>
                    <a:pt x="47131" y="66656"/>
                  </a:lnTo>
                  <a:lnTo>
                    <a:pt x="46833" y="64965"/>
                  </a:lnTo>
                  <a:lnTo>
                    <a:pt x="49922" y="65960"/>
                  </a:lnTo>
                  <a:lnTo>
                    <a:pt x="51616" y="65065"/>
                  </a:lnTo>
                  <a:lnTo>
                    <a:pt x="53807" y="60190"/>
                  </a:lnTo>
                  <a:lnTo>
                    <a:pt x="53110" y="57902"/>
                  </a:lnTo>
                  <a:lnTo>
                    <a:pt x="53907" y="52728"/>
                  </a:lnTo>
                  <a:lnTo>
                    <a:pt x="52811" y="50739"/>
                  </a:lnTo>
                  <a:lnTo>
                    <a:pt x="50320" y="50241"/>
                  </a:lnTo>
                  <a:lnTo>
                    <a:pt x="47630" y="51435"/>
                  </a:lnTo>
                  <a:lnTo>
                    <a:pt x="43245" y="54619"/>
                  </a:lnTo>
                  <a:lnTo>
                    <a:pt x="43644" y="51136"/>
                  </a:lnTo>
                  <a:lnTo>
                    <a:pt x="46135" y="50042"/>
                  </a:lnTo>
                  <a:lnTo>
                    <a:pt x="48925" y="50042"/>
                  </a:lnTo>
                  <a:lnTo>
                    <a:pt x="50220" y="49445"/>
                  </a:lnTo>
                  <a:lnTo>
                    <a:pt x="50619" y="49047"/>
                  </a:lnTo>
                  <a:lnTo>
                    <a:pt x="51516" y="48351"/>
                  </a:lnTo>
                  <a:lnTo>
                    <a:pt x="52413" y="47257"/>
                  </a:lnTo>
                  <a:lnTo>
                    <a:pt x="52811" y="45665"/>
                  </a:lnTo>
                  <a:lnTo>
                    <a:pt x="52413" y="44371"/>
                  </a:lnTo>
                  <a:lnTo>
                    <a:pt x="50619" y="41685"/>
                  </a:lnTo>
                  <a:lnTo>
                    <a:pt x="50220" y="40989"/>
                  </a:lnTo>
                  <a:lnTo>
                    <a:pt x="50320" y="39497"/>
                  </a:lnTo>
                  <a:lnTo>
                    <a:pt x="51018" y="36910"/>
                  </a:lnTo>
                  <a:lnTo>
                    <a:pt x="51117" y="35318"/>
                  </a:lnTo>
                  <a:lnTo>
                    <a:pt x="51018" y="34124"/>
                  </a:lnTo>
                  <a:lnTo>
                    <a:pt x="50320" y="31239"/>
                  </a:lnTo>
                  <a:lnTo>
                    <a:pt x="50121" y="26663"/>
                  </a:lnTo>
                  <a:lnTo>
                    <a:pt x="49722" y="24275"/>
                  </a:lnTo>
                  <a:lnTo>
                    <a:pt x="48825" y="22186"/>
                  </a:lnTo>
                  <a:lnTo>
                    <a:pt x="47231" y="20296"/>
                  </a:lnTo>
                  <a:lnTo>
                    <a:pt x="45836" y="17808"/>
                  </a:lnTo>
                  <a:lnTo>
                    <a:pt x="44242" y="14326"/>
                  </a:lnTo>
                  <a:lnTo>
                    <a:pt x="42349" y="11640"/>
                  </a:lnTo>
                  <a:lnTo>
                    <a:pt x="39858" y="11242"/>
                  </a:lnTo>
                  <a:lnTo>
                    <a:pt x="38363" y="13232"/>
                  </a:lnTo>
                  <a:lnTo>
                    <a:pt x="37865" y="16415"/>
                  </a:lnTo>
                  <a:lnTo>
                    <a:pt x="37765" y="19997"/>
                  </a:lnTo>
                  <a:lnTo>
                    <a:pt x="37267" y="22683"/>
                  </a:lnTo>
                  <a:lnTo>
                    <a:pt x="35971" y="24573"/>
                  </a:lnTo>
                  <a:lnTo>
                    <a:pt x="33381" y="27657"/>
                  </a:lnTo>
                  <a:lnTo>
                    <a:pt x="29395" y="35616"/>
                  </a:lnTo>
                  <a:lnTo>
                    <a:pt x="27402" y="37407"/>
                  </a:lnTo>
                  <a:lnTo>
                    <a:pt x="25011" y="36711"/>
                  </a:lnTo>
                  <a:lnTo>
                    <a:pt x="26904" y="35716"/>
                  </a:lnTo>
                  <a:lnTo>
                    <a:pt x="27502" y="34224"/>
                  </a:lnTo>
                  <a:lnTo>
                    <a:pt x="27900" y="32532"/>
                  </a:lnTo>
                  <a:lnTo>
                    <a:pt x="29993" y="28553"/>
                  </a:lnTo>
                  <a:lnTo>
                    <a:pt x="30391" y="26165"/>
                  </a:lnTo>
                  <a:lnTo>
                    <a:pt x="29694" y="24573"/>
                  </a:lnTo>
                  <a:lnTo>
                    <a:pt x="27701" y="25469"/>
                  </a:lnTo>
                  <a:lnTo>
                    <a:pt x="24512" y="23479"/>
                  </a:lnTo>
                  <a:lnTo>
                    <a:pt x="23217" y="22285"/>
                  </a:lnTo>
                  <a:lnTo>
                    <a:pt x="23715" y="21688"/>
                  </a:lnTo>
                  <a:lnTo>
                    <a:pt x="26007" y="21191"/>
                  </a:lnTo>
                  <a:lnTo>
                    <a:pt x="26505" y="19997"/>
                  </a:lnTo>
                  <a:lnTo>
                    <a:pt x="25509" y="19002"/>
                  </a:lnTo>
                  <a:lnTo>
                    <a:pt x="23316" y="18803"/>
                  </a:lnTo>
                  <a:lnTo>
                    <a:pt x="23316" y="17908"/>
                  </a:lnTo>
                  <a:lnTo>
                    <a:pt x="27203" y="17211"/>
                  </a:lnTo>
                  <a:lnTo>
                    <a:pt x="30292" y="15420"/>
                  </a:lnTo>
                  <a:lnTo>
                    <a:pt x="38164" y="8954"/>
                  </a:lnTo>
                  <a:lnTo>
                    <a:pt x="39360" y="7362"/>
                  </a:lnTo>
                  <a:lnTo>
                    <a:pt x="38462" y="6566"/>
                  </a:lnTo>
                  <a:lnTo>
                    <a:pt x="36968" y="5870"/>
                  </a:lnTo>
                  <a:lnTo>
                    <a:pt x="35872" y="3979"/>
                  </a:lnTo>
                  <a:lnTo>
                    <a:pt x="34975" y="1791"/>
                  </a:lnTo>
                  <a:lnTo>
                    <a:pt x="33779" y="0"/>
                  </a:lnTo>
                  <a:lnTo>
                    <a:pt x="30292" y="1890"/>
                  </a:lnTo>
                  <a:lnTo>
                    <a:pt x="28797" y="3781"/>
                  </a:lnTo>
                  <a:lnTo>
                    <a:pt x="23616" y="5969"/>
                  </a:lnTo>
                  <a:lnTo>
                    <a:pt x="21623" y="7561"/>
                  </a:lnTo>
                  <a:lnTo>
                    <a:pt x="20925" y="9252"/>
                  </a:lnTo>
                  <a:lnTo>
                    <a:pt x="20626" y="10247"/>
                  </a:lnTo>
                  <a:lnTo>
                    <a:pt x="20227" y="11143"/>
                  </a:lnTo>
                  <a:lnTo>
                    <a:pt x="18932" y="12237"/>
                  </a:lnTo>
                  <a:lnTo>
                    <a:pt x="17238" y="12834"/>
                  </a:lnTo>
                  <a:lnTo>
                    <a:pt x="12954" y="13232"/>
                  </a:lnTo>
                  <a:lnTo>
                    <a:pt x="12456" y="14227"/>
                  </a:lnTo>
                  <a:lnTo>
                    <a:pt x="11658" y="17609"/>
                  </a:lnTo>
                  <a:lnTo>
                    <a:pt x="11160" y="18803"/>
                  </a:lnTo>
                  <a:lnTo>
                    <a:pt x="9665" y="19897"/>
                  </a:lnTo>
                  <a:lnTo>
                    <a:pt x="6278" y="20992"/>
                  </a:lnTo>
                  <a:lnTo>
                    <a:pt x="4982" y="21688"/>
                  </a:lnTo>
                  <a:lnTo>
                    <a:pt x="3886" y="22882"/>
                  </a:lnTo>
                  <a:lnTo>
                    <a:pt x="3886" y="23578"/>
                  </a:lnTo>
                  <a:lnTo>
                    <a:pt x="4285" y="24175"/>
                  </a:lnTo>
                  <a:lnTo>
                    <a:pt x="4185" y="25469"/>
                  </a:lnTo>
                  <a:lnTo>
                    <a:pt x="4185" y="26165"/>
                  </a:lnTo>
                  <a:lnTo>
                    <a:pt x="4085" y="27160"/>
                  </a:lnTo>
                  <a:lnTo>
                    <a:pt x="3388" y="27458"/>
                  </a:lnTo>
                  <a:lnTo>
                    <a:pt x="1594" y="26364"/>
                  </a:lnTo>
                  <a:lnTo>
                    <a:pt x="698" y="27259"/>
                  </a:lnTo>
                  <a:lnTo>
                    <a:pt x="0" y="28254"/>
                  </a:lnTo>
                  <a:lnTo>
                    <a:pt x="7872" y="31438"/>
                  </a:lnTo>
                  <a:lnTo>
                    <a:pt x="10363" y="32930"/>
                  </a:lnTo>
                  <a:lnTo>
                    <a:pt x="10363" y="33925"/>
                  </a:lnTo>
                  <a:lnTo>
                    <a:pt x="9565" y="35019"/>
                  </a:lnTo>
                  <a:lnTo>
                    <a:pt x="10562" y="35915"/>
                  </a:lnTo>
                  <a:lnTo>
                    <a:pt x="12256" y="37009"/>
                  </a:lnTo>
                  <a:lnTo>
                    <a:pt x="13751" y="38601"/>
                  </a:lnTo>
                  <a:lnTo>
                    <a:pt x="13751" y="40292"/>
                  </a:lnTo>
                  <a:lnTo>
                    <a:pt x="13153" y="42083"/>
                  </a:lnTo>
                  <a:lnTo>
                    <a:pt x="13253" y="43675"/>
                  </a:lnTo>
                  <a:lnTo>
                    <a:pt x="15145" y="44272"/>
                  </a:lnTo>
                  <a:lnTo>
                    <a:pt x="14249" y="45764"/>
                  </a:lnTo>
                  <a:lnTo>
                    <a:pt x="14449" y="49246"/>
                  </a:lnTo>
                  <a:lnTo>
                    <a:pt x="16342" y="58499"/>
                  </a:lnTo>
                  <a:lnTo>
                    <a:pt x="17138" y="60090"/>
                  </a:lnTo>
                  <a:lnTo>
                    <a:pt x="18135" y="61185"/>
                  </a:lnTo>
                  <a:lnTo>
                    <a:pt x="19729" y="61583"/>
                  </a:lnTo>
                  <a:lnTo>
                    <a:pt x="21224" y="61185"/>
                  </a:lnTo>
                  <a:lnTo>
                    <a:pt x="22818" y="60588"/>
                  </a:lnTo>
                  <a:lnTo>
                    <a:pt x="24612" y="60190"/>
                  </a:lnTo>
                  <a:lnTo>
                    <a:pt x="31288" y="60090"/>
                  </a:lnTo>
                  <a:lnTo>
                    <a:pt x="33779" y="59294"/>
                  </a:lnTo>
                  <a:lnTo>
                    <a:pt x="35573" y="57404"/>
                  </a:lnTo>
                  <a:lnTo>
                    <a:pt x="34975" y="60289"/>
                  </a:lnTo>
                  <a:lnTo>
                    <a:pt x="30790" y="62777"/>
                  </a:lnTo>
                  <a:lnTo>
                    <a:pt x="22420" y="65861"/>
                  </a:lnTo>
                  <a:lnTo>
                    <a:pt x="25011" y="66756"/>
                  </a:lnTo>
                  <a:lnTo>
                    <a:pt x="28100" y="71034"/>
                  </a:lnTo>
                  <a:lnTo>
                    <a:pt x="31089" y="71432"/>
                  </a:lnTo>
                  <a:lnTo>
                    <a:pt x="30691" y="70935"/>
                  </a:lnTo>
                  <a:lnTo>
                    <a:pt x="30292" y="70636"/>
                  </a:lnTo>
                  <a:lnTo>
                    <a:pt x="37665" y="65861"/>
                  </a:lnTo>
                  <a:lnTo>
                    <a:pt x="39658" y="64866"/>
                  </a:lnTo>
                  <a:lnTo>
                    <a:pt x="41851" y="62975"/>
                  </a:lnTo>
                  <a:lnTo>
                    <a:pt x="44043" y="61682"/>
                  </a:lnTo>
                  <a:lnTo>
                    <a:pt x="46334" y="62478"/>
                  </a:lnTo>
                  <a:lnTo>
                    <a:pt x="46334" y="64070"/>
                  </a:lnTo>
                  <a:lnTo>
                    <a:pt x="44441" y="65562"/>
                  </a:lnTo>
                  <a:lnTo>
                    <a:pt x="37665" y="68746"/>
                  </a:lnTo>
                  <a:lnTo>
                    <a:pt x="35872" y="70039"/>
                  </a:lnTo>
                  <a:lnTo>
                    <a:pt x="34576" y="71830"/>
                  </a:lnTo>
                  <a:lnTo>
                    <a:pt x="33779" y="74317"/>
                  </a:lnTo>
                  <a:lnTo>
                    <a:pt x="27103" y="72029"/>
                  </a:lnTo>
                  <a:lnTo>
                    <a:pt x="24413" y="71929"/>
                  </a:lnTo>
                  <a:lnTo>
                    <a:pt x="25011" y="74317"/>
                  </a:lnTo>
                  <a:lnTo>
                    <a:pt x="20726" y="76207"/>
                  </a:lnTo>
                  <a:lnTo>
                    <a:pt x="28797" y="76008"/>
                  </a:lnTo>
                  <a:lnTo>
                    <a:pt x="32583" y="77003"/>
                  </a:lnTo>
                  <a:lnTo>
                    <a:pt x="34676" y="79888"/>
                  </a:lnTo>
                  <a:lnTo>
                    <a:pt x="35573" y="79888"/>
                  </a:lnTo>
                  <a:lnTo>
                    <a:pt x="36769" y="78098"/>
                  </a:lnTo>
                  <a:lnTo>
                    <a:pt x="36868" y="76904"/>
                  </a:lnTo>
                  <a:lnTo>
                    <a:pt x="34676" y="74317"/>
                  </a:lnTo>
                  <a:lnTo>
                    <a:pt x="37865" y="75113"/>
                  </a:lnTo>
                  <a:lnTo>
                    <a:pt x="40655" y="77202"/>
                  </a:lnTo>
                  <a:lnTo>
                    <a:pt x="43644" y="78495"/>
                  </a:lnTo>
                  <a:lnTo>
                    <a:pt x="47630" y="7710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A263E97F-97CA-4810-9B36-62A19857DC9B}"/>
                </a:ext>
              </a:extLst>
            </p:cNvPr>
            <p:cNvSpPr/>
            <p:nvPr/>
          </p:nvSpPr>
          <p:spPr>
            <a:xfrm>
              <a:off x="3707189" y="4353605"/>
              <a:ext cx="6477" cy="4178"/>
            </a:xfrm>
            <a:custGeom>
              <a:avLst/>
              <a:gdLst>
                <a:gd name="connsiteX0" fmla="*/ 4384 w 6477"/>
                <a:gd name="connsiteY0" fmla="*/ 3084 h 4178"/>
                <a:gd name="connsiteX1" fmla="*/ 5879 w 6477"/>
                <a:gd name="connsiteY1" fmla="*/ 995 h 4178"/>
                <a:gd name="connsiteX2" fmla="*/ 6477 w 6477"/>
                <a:gd name="connsiteY2" fmla="*/ 0 h 4178"/>
                <a:gd name="connsiteX3" fmla="*/ 5580 w 6477"/>
                <a:gd name="connsiteY3" fmla="*/ 0 h 4178"/>
                <a:gd name="connsiteX4" fmla="*/ 1794 w 6477"/>
                <a:gd name="connsiteY4" fmla="*/ 398 h 4178"/>
                <a:gd name="connsiteX5" fmla="*/ 0 w 6477"/>
                <a:gd name="connsiteY5" fmla="*/ 1194 h 4178"/>
                <a:gd name="connsiteX6" fmla="*/ 0 w 6477"/>
                <a:gd name="connsiteY6" fmla="*/ 3084 h 4178"/>
                <a:gd name="connsiteX7" fmla="*/ 2093 w 6477"/>
                <a:gd name="connsiteY7" fmla="*/ 4178 h 4178"/>
                <a:gd name="connsiteX8" fmla="*/ 4384 w 6477"/>
                <a:gd name="connsiteY8" fmla="*/ 3084 h 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77" h="4178">
                  <a:moveTo>
                    <a:pt x="4384" y="3084"/>
                  </a:moveTo>
                  <a:lnTo>
                    <a:pt x="5879" y="995"/>
                  </a:lnTo>
                  <a:lnTo>
                    <a:pt x="6477" y="0"/>
                  </a:lnTo>
                  <a:lnTo>
                    <a:pt x="5580" y="0"/>
                  </a:lnTo>
                  <a:lnTo>
                    <a:pt x="1794" y="398"/>
                  </a:lnTo>
                  <a:lnTo>
                    <a:pt x="0" y="1194"/>
                  </a:lnTo>
                  <a:lnTo>
                    <a:pt x="0" y="3084"/>
                  </a:lnTo>
                  <a:lnTo>
                    <a:pt x="2093" y="4178"/>
                  </a:lnTo>
                  <a:lnTo>
                    <a:pt x="4384" y="308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01F9ECC0-5FC9-4CAF-BEA9-D3AA79845D21}"/>
                </a:ext>
              </a:extLst>
            </p:cNvPr>
            <p:cNvSpPr/>
            <p:nvPr/>
          </p:nvSpPr>
          <p:spPr>
            <a:xfrm>
              <a:off x="3717254" y="4350620"/>
              <a:ext cx="15444" cy="7859"/>
            </a:xfrm>
            <a:custGeom>
              <a:avLst/>
              <a:gdLst>
                <a:gd name="connsiteX0" fmla="*/ 4583 w 15444"/>
                <a:gd name="connsiteY0" fmla="*/ 6168 h 7859"/>
                <a:gd name="connsiteX1" fmla="*/ 7074 w 15444"/>
                <a:gd name="connsiteY1" fmla="*/ 3482 h 7859"/>
                <a:gd name="connsiteX2" fmla="*/ 8470 w 15444"/>
                <a:gd name="connsiteY2" fmla="*/ 2985 h 7859"/>
                <a:gd name="connsiteX3" fmla="*/ 10662 w 15444"/>
                <a:gd name="connsiteY3" fmla="*/ 2885 h 7859"/>
                <a:gd name="connsiteX4" fmla="*/ 11758 w 15444"/>
                <a:gd name="connsiteY4" fmla="*/ 3283 h 7859"/>
                <a:gd name="connsiteX5" fmla="*/ 13053 w 15444"/>
                <a:gd name="connsiteY5" fmla="*/ 4079 h 7859"/>
                <a:gd name="connsiteX6" fmla="*/ 14449 w 15444"/>
                <a:gd name="connsiteY6" fmla="*/ 4576 h 7859"/>
                <a:gd name="connsiteX7" fmla="*/ 15345 w 15444"/>
                <a:gd name="connsiteY7" fmla="*/ 3781 h 7859"/>
                <a:gd name="connsiteX8" fmla="*/ 15445 w 15444"/>
                <a:gd name="connsiteY8" fmla="*/ 2587 h 7859"/>
                <a:gd name="connsiteX9" fmla="*/ 14647 w 15444"/>
                <a:gd name="connsiteY9" fmla="*/ 1492 h 7859"/>
                <a:gd name="connsiteX10" fmla="*/ 13651 w 15444"/>
                <a:gd name="connsiteY10" fmla="*/ 597 h 7859"/>
                <a:gd name="connsiteX11" fmla="*/ 12854 w 15444"/>
                <a:gd name="connsiteY11" fmla="*/ 199 h 7859"/>
                <a:gd name="connsiteX12" fmla="*/ 10762 w 15444"/>
                <a:gd name="connsiteY12" fmla="*/ 0 h 7859"/>
                <a:gd name="connsiteX13" fmla="*/ 8171 w 15444"/>
                <a:gd name="connsiteY13" fmla="*/ 597 h 7859"/>
                <a:gd name="connsiteX14" fmla="*/ 5879 w 15444"/>
                <a:gd name="connsiteY14" fmla="*/ 1691 h 7859"/>
                <a:gd name="connsiteX15" fmla="*/ 3487 w 15444"/>
                <a:gd name="connsiteY15" fmla="*/ 3383 h 7859"/>
                <a:gd name="connsiteX16" fmla="*/ 698 w 15444"/>
                <a:gd name="connsiteY16" fmla="*/ 4776 h 7859"/>
                <a:gd name="connsiteX17" fmla="*/ 0 w 15444"/>
                <a:gd name="connsiteY17" fmla="*/ 6069 h 7859"/>
                <a:gd name="connsiteX18" fmla="*/ 598 w 15444"/>
                <a:gd name="connsiteY18" fmla="*/ 7462 h 7859"/>
                <a:gd name="connsiteX19" fmla="*/ 2192 w 15444"/>
                <a:gd name="connsiteY19" fmla="*/ 7860 h 7859"/>
                <a:gd name="connsiteX20" fmla="*/ 4583 w 15444"/>
                <a:gd name="connsiteY20" fmla="*/ 6168 h 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444" h="7859">
                  <a:moveTo>
                    <a:pt x="4583" y="6168"/>
                  </a:moveTo>
                  <a:lnTo>
                    <a:pt x="7074" y="3482"/>
                  </a:lnTo>
                  <a:lnTo>
                    <a:pt x="8470" y="2985"/>
                  </a:lnTo>
                  <a:lnTo>
                    <a:pt x="10662" y="2885"/>
                  </a:lnTo>
                  <a:lnTo>
                    <a:pt x="11758" y="3283"/>
                  </a:lnTo>
                  <a:lnTo>
                    <a:pt x="13053" y="4079"/>
                  </a:lnTo>
                  <a:lnTo>
                    <a:pt x="14449" y="4576"/>
                  </a:lnTo>
                  <a:lnTo>
                    <a:pt x="15345" y="3781"/>
                  </a:lnTo>
                  <a:lnTo>
                    <a:pt x="15445" y="2587"/>
                  </a:lnTo>
                  <a:lnTo>
                    <a:pt x="14647" y="1492"/>
                  </a:lnTo>
                  <a:lnTo>
                    <a:pt x="13651" y="597"/>
                  </a:lnTo>
                  <a:lnTo>
                    <a:pt x="12854" y="199"/>
                  </a:lnTo>
                  <a:lnTo>
                    <a:pt x="10762" y="0"/>
                  </a:lnTo>
                  <a:lnTo>
                    <a:pt x="8171" y="597"/>
                  </a:lnTo>
                  <a:lnTo>
                    <a:pt x="5879" y="1691"/>
                  </a:lnTo>
                  <a:lnTo>
                    <a:pt x="3487" y="3383"/>
                  </a:lnTo>
                  <a:lnTo>
                    <a:pt x="698" y="4776"/>
                  </a:lnTo>
                  <a:lnTo>
                    <a:pt x="0" y="6069"/>
                  </a:lnTo>
                  <a:lnTo>
                    <a:pt x="598" y="7462"/>
                  </a:lnTo>
                  <a:lnTo>
                    <a:pt x="2192" y="7860"/>
                  </a:lnTo>
                  <a:lnTo>
                    <a:pt x="4583" y="616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8D80939F-99CF-4E83-A5E4-833E358FCACA}"/>
                </a:ext>
              </a:extLst>
            </p:cNvPr>
            <p:cNvSpPr/>
            <p:nvPr/>
          </p:nvSpPr>
          <p:spPr>
            <a:xfrm>
              <a:off x="3845196" y="4325649"/>
              <a:ext cx="2790" cy="5372"/>
            </a:xfrm>
            <a:custGeom>
              <a:avLst/>
              <a:gdLst>
                <a:gd name="connsiteX0" fmla="*/ 2591 w 2790"/>
                <a:gd name="connsiteY0" fmla="*/ 1990 h 5372"/>
                <a:gd name="connsiteX1" fmla="*/ 2192 w 2790"/>
                <a:gd name="connsiteY1" fmla="*/ 1293 h 5372"/>
                <a:gd name="connsiteX2" fmla="*/ 1295 w 2790"/>
                <a:gd name="connsiteY2" fmla="*/ 0 h 5372"/>
                <a:gd name="connsiteX3" fmla="*/ 299 w 2790"/>
                <a:gd name="connsiteY3" fmla="*/ 497 h 5372"/>
                <a:gd name="connsiteX4" fmla="*/ 0 w 2790"/>
                <a:gd name="connsiteY4" fmla="*/ 2985 h 5372"/>
                <a:gd name="connsiteX5" fmla="*/ 698 w 2790"/>
                <a:gd name="connsiteY5" fmla="*/ 4775 h 5372"/>
                <a:gd name="connsiteX6" fmla="*/ 1993 w 2790"/>
                <a:gd name="connsiteY6" fmla="*/ 5372 h 5372"/>
                <a:gd name="connsiteX7" fmla="*/ 2790 w 2790"/>
                <a:gd name="connsiteY7" fmla="*/ 4676 h 5372"/>
                <a:gd name="connsiteX8" fmla="*/ 2790 w 2790"/>
                <a:gd name="connsiteY8" fmla="*/ 2985 h 5372"/>
                <a:gd name="connsiteX9" fmla="*/ 2591 w 2790"/>
                <a:gd name="connsiteY9" fmla="*/ 1990 h 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90" h="5372">
                  <a:moveTo>
                    <a:pt x="2591" y="1990"/>
                  </a:moveTo>
                  <a:lnTo>
                    <a:pt x="2192" y="1293"/>
                  </a:lnTo>
                  <a:lnTo>
                    <a:pt x="1295" y="0"/>
                  </a:lnTo>
                  <a:lnTo>
                    <a:pt x="299" y="497"/>
                  </a:lnTo>
                  <a:lnTo>
                    <a:pt x="0" y="2985"/>
                  </a:lnTo>
                  <a:lnTo>
                    <a:pt x="698" y="4775"/>
                  </a:lnTo>
                  <a:lnTo>
                    <a:pt x="1993" y="5372"/>
                  </a:lnTo>
                  <a:lnTo>
                    <a:pt x="2790" y="4676"/>
                  </a:lnTo>
                  <a:lnTo>
                    <a:pt x="2790" y="2985"/>
                  </a:lnTo>
                  <a:lnTo>
                    <a:pt x="2591" y="19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3D66A2AD-F317-496E-A656-046CC99EE2E6}"/>
                </a:ext>
              </a:extLst>
            </p:cNvPr>
            <p:cNvSpPr/>
            <p:nvPr/>
          </p:nvSpPr>
          <p:spPr>
            <a:xfrm>
              <a:off x="3976627" y="4305154"/>
              <a:ext cx="59188" cy="79192"/>
            </a:xfrm>
            <a:custGeom>
              <a:avLst/>
              <a:gdLst>
                <a:gd name="connsiteX0" fmla="*/ 59189 w 59188"/>
                <a:gd name="connsiteY0" fmla="*/ 76605 h 79192"/>
                <a:gd name="connsiteX1" fmla="*/ 57096 w 59188"/>
                <a:gd name="connsiteY1" fmla="*/ 68647 h 79192"/>
                <a:gd name="connsiteX2" fmla="*/ 56199 w 59188"/>
                <a:gd name="connsiteY2" fmla="*/ 66657 h 79192"/>
                <a:gd name="connsiteX3" fmla="*/ 50619 w 59188"/>
                <a:gd name="connsiteY3" fmla="*/ 60588 h 79192"/>
                <a:gd name="connsiteX4" fmla="*/ 49224 w 59188"/>
                <a:gd name="connsiteY4" fmla="*/ 59692 h 79192"/>
                <a:gd name="connsiteX5" fmla="*/ 48427 w 59188"/>
                <a:gd name="connsiteY5" fmla="*/ 58598 h 79192"/>
                <a:gd name="connsiteX6" fmla="*/ 45339 w 59188"/>
                <a:gd name="connsiteY6" fmla="*/ 52132 h 79192"/>
                <a:gd name="connsiteX7" fmla="*/ 42947 w 59188"/>
                <a:gd name="connsiteY7" fmla="*/ 50142 h 79192"/>
                <a:gd name="connsiteX8" fmla="*/ 37964 w 59188"/>
                <a:gd name="connsiteY8" fmla="*/ 47456 h 79192"/>
                <a:gd name="connsiteX9" fmla="*/ 35772 w 59188"/>
                <a:gd name="connsiteY9" fmla="*/ 45665 h 79192"/>
                <a:gd name="connsiteX10" fmla="*/ 28598 w 59188"/>
                <a:gd name="connsiteY10" fmla="*/ 35418 h 79192"/>
                <a:gd name="connsiteX11" fmla="*/ 25011 w 59188"/>
                <a:gd name="connsiteY11" fmla="*/ 28951 h 79192"/>
                <a:gd name="connsiteX12" fmla="*/ 23516 w 59188"/>
                <a:gd name="connsiteY12" fmla="*/ 24673 h 79192"/>
                <a:gd name="connsiteX13" fmla="*/ 21623 w 59188"/>
                <a:gd name="connsiteY13" fmla="*/ 22484 h 79192"/>
                <a:gd name="connsiteX14" fmla="*/ 19630 w 59188"/>
                <a:gd name="connsiteY14" fmla="*/ 20694 h 79192"/>
                <a:gd name="connsiteX15" fmla="*/ 18435 w 59188"/>
                <a:gd name="connsiteY15" fmla="*/ 19201 h 79192"/>
                <a:gd name="connsiteX16" fmla="*/ 17637 w 59188"/>
                <a:gd name="connsiteY16" fmla="*/ 16615 h 79192"/>
                <a:gd name="connsiteX17" fmla="*/ 16641 w 59188"/>
                <a:gd name="connsiteY17" fmla="*/ 7860 h 79192"/>
                <a:gd name="connsiteX18" fmla="*/ 15246 w 59188"/>
                <a:gd name="connsiteY18" fmla="*/ 6268 h 79192"/>
                <a:gd name="connsiteX19" fmla="*/ 13751 w 59188"/>
                <a:gd name="connsiteY19" fmla="*/ 5372 h 79192"/>
                <a:gd name="connsiteX20" fmla="*/ 10463 w 59188"/>
                <a:gd name="connsiteY20" fmla="*/ 4079 h 79192"/>
                <a:gd name="connsiteX21" fmla="*/ 6975 w 59188"/>
                <a:gd name="connsiteY21" fmla="*/ 896 h 79192"/>
                <a:gd name="connsiteX22" fmla="*/ 6178 w 59188"/>
                <a:gd name="connsiteY22" fmla="*/ 298 h 79192"/>
                <a:gd name="connsiteX23" fmla="*/ 4285 w 59188"/>
                <a:gd name="connsiteY23" fmla="*/ 0 h 79192"/>
                <a:gd name="connsiteX24" fmla="*/ 3189 w 59188"/>
                <a:gd name="connsiteY24" fmla="*/ 498 h 79192"/>
                <a:gd name="connsiteX25" fmla="*/ 598 w 59188"/>
                <a:gd name="connsiteY25" fmla="*/ 3582 h 79192"/>
                <a:gd name="connsiteX26" fmla="*/ 0 w 59188"/>
                <a:gd name="connsiteY26" fmla="*/ 4676 h 79192"/>
                <a:gd name="connsiteX27" fmla="*/ 199 w 59188"/>
                <a:gd name="connsiteY27" fmla="*/ 5770 h 79192"/>
                <a:gd name="connsiteX28" fmla="*/ 997 w 59188"/>
                <a:gd name="connsiteY28" fmla="*/ 6865 h 79192"/>
                <a:gd name="connsiteX29" fmla="*/ 2093 w 59188"/>
                <a:gd name="connsiteY29" fmla="*/ 7661 h 79192"/>
                <a:gd name="connsiteX30" fmla="*/ 6178 w 59188"/>
                <a:gd name="connsiteY30" fmla="*/ 9750 h 79192"/>
                <a:gd name="connsiteX31" fmla="*/ 11758 w 59188"/>
                <a:gd name="connsiteY31" fmla="*/ 14625 h 79192"/>
                <a:gd name="connsiteX32" fmla="*/ 12655 w 59188"/>
                <a:gd name="connsiteY32" fmla="*/ 15023 h 79192"/>
                <a:gd name="connsiteX33" fmla="*/ 13353 w 59188"/>
                <a:gd name="connsiteY33" fmla="*/ 15620 h 79192"/>
                <a:gd name="connsiteX34" fmla="*/ 13950 w 59188"/>
                <a:gd name="connsiteY34" fmla="*/ 17311 h 79192"/>
                <a:gd name="connsiteX35" fmla="*/ 14449 w 59188"/>
                <a:gd name="connsiteY35" fmla="*/ 19002 h 79192"/>
                <a:gd name="connsiteX36" fmla="*/ 14648 w 59188"/>
                <a:gd name="connsiteY36" fmla="*/ 20694 h 79192"/>
                <a:gd name="connsiteX37" fmla="*/ 14449 w 59188"/>
                <a:gd name="connsiteY37" fmla="*/ 22385 h 79192"/>
                <a:gd name="connsiteX38" fmla="*/ 13950 w 59188"/>
                <a:gd name="connsiteY38" fmla="*/ 23778 h 79192"/>
                <a:gd name="connsiteX39" fmla="*/ 18235 w 59188"/>
                <a:gd name="connsiteY39" fmla="*/ 24176 h 79192"/>
                <a:gd name="connsiteX40" fmla="*/ 21424 w 59188"/>
                <a:gd name="connsiteY40" fmla="*/ 26066 h 79192"/>
                <a:gd name="connsiteX41" fmla="*/ 23616 w 59188"/>
                <a:gd name="connsiteY41" fmla="*/ 29349 h 79192"/>
                <a:gd name="connsiteX42" fmla="*/ 24313 w 59188"/>
                <a:gd name="connsiteY42" fmla="*/ 33726 h 79192"/>
                <a:gd name="connsiteX43" fmla="*/ 24911 w 59188"/>
                <a:gd name="connsiteY43" fmla="*/ 35617 h 79192"/>
                <a:gd name="connsiteX44" fmla="*/ 27402 w 59188"/>
                <a:gd name="connsiteY44" fmla="*/ 39198 h 79192"/>
                <a:gd name="connsiteX45" fmla="*/ 28299 w 59188"/>
                <a:gd name="connsiteY45" fmla="*/ 43078 h 79192"/>
                <a:gd name="connsiteX46" fmla="*/ 35075 w 59188"/>
                <a:gd name="connsiteY46" fmla="*/ 54022 h 79192"/>
                <a:gd name="connsiteX47" fmla="*/ 37765 w 59188"/>
                <a:gd name="connsiteY47" fmla="*/ 56011 h 79192"/>
                <a:gd name="connsiteX48" fmla="*/ 41452 w 59188"/>
                <a:gd name="connsiteY48" fmla="*/ 56808 h 79192"/>
                <a:gd name="connsiteX49" fmla="*/ 44043 w 59188"/>
                <a:gd name="connsiteY49" fmla="*/ 58996 h 79192"/>
                <a:gd name="connsiteX50" fmla="*/ 44641 w 59188"/>
                <a:gd name="connsiteY50" fmla="*/ 63473 h 79192"/>
                <a:gd name="connsiteX51" fmla="*/ 43544 w 59188"/>
                <a:gd name="connsiteY51" fmla="*/ 67154 h 79192"/>
                <a:gd name="connsiteX52" fmla="*/ 41053 w 59188"/>
                <a:gd name="connsiteY52" fmla="*/ 67154 h 79192"/>
                <a:gd name="connsiteX53" fmla="*/ 39758 w 59188"/>
                <a:gd name="connsiteY53" fmla="*/ 69243 h 79192"/>
                <a:gd name="connsiteX54" fmla="*/ 37267 w 59188"/>
                <a:gd name="connsiteY54" fmla="*/ 71034 h 79192"/>
                <a:gd name="connsiteX55" fmla="*/ 34577 w 59188"/>
                <a:gd name="connsiteY55" fmla="*/ 72328 h 79192"/>
                <a:gd name="connsiteX56" fmla="*/ 32684 w 59188"/>
                <a:gd name="connsiteY56" fmla="*/ 72825 h 79192"/>
                <a:gd name="connsiteX57" fmla="*/ 29993 w 59188"/>
                <a:gd name="connsiteY57" fmla="*/ 74218 h 79192"/>
                <a:gd name="connsiteX58" fmla="*/ 31388 w 59188"/>
                <a:gd name="connsiteY58" fmla="*/ 77003 h 79192"/>
                <a:gd name="connsiteX59" fmla="*/ 34776 w 59188"/>
                <a:gd name="connsiteY59" fmla="*/ 79192 h 79192"/>
                <a:gd name="connsiteX60" fmla="*/ 37964 w 59188"/>
                <a:gd name="connsiteY60" fmla="*/ 78894 h 79192"/>
                <a:gd name="connsiteX61" fmla="*/ 40157 w 59188"/>
                <a:gd name="connsiteY61" fmla="*/ 77003 h 79192"/>
                <a:gd name="connsiteX62" fmla="*/ 42150 w 59188"/>
                <a:gd name="connsiteY62" fmla="*/ 75909 h 79192"/>
                <a:gd name="connsiteX63" fmla="*/ 47929 w 59188"/>
                <a:gd name="connsiteY63" fmla="*/ 74715 h 79192"/>
                <a:gd name="connsiteX64" fmla="*/ 50919 w 59188"/>
                <a:gd name="connsiteY64" fmla="*/ 74516 h 79192"/>
                <a:gd name="connsiteX65" fmla="*/ 53509 w 59188"/>
                <a:gd name="connsiteY65" fmla="*/ 74715 h 79192"/>
                <a:gd name="connsiteX66" fmla="*/ 59189 w 59188"/>
                <a:gd name="connsiteY66" fmla="*/ 76605 h 79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59188" h="79192">
                  <a:moveTo>
                    <a:pt x="59189" y="76605"/>
                  </a:moveTo>
                  <a:lnTo>
                    <a:pt x="57096" y="68647"/>
                  </a:lnTo>
                  <a:lnTo>
                    <a:pt x="56199" y="66657"/>
                  </a:lnTo>
                  <a:lnTo>
                    <a:pt x="50619" y="60588"/>
                  </a:lnTo>
                  <a:lnTo>
                    <a:pt x="49224" y="59692"/>
                  </a:lnTo>
                  <a:lnTo>
                    <a:pt x="48427" y="58598"/>
                  </a:lnTo>
                  <a:lnTo>
                    <a:pt x="45339" y="52132"/>
                  </a:lnTo>
                  <a:lnTo>
                    <a:pt x="42947" y="50142"/>
                  </a:lnTo>
                  <a:lnTo>
                    <a:pt x="37964" y="47456"/>
                  </a:lnTo>
                  <a:lnTo>
                    <a:pt x="35772" y="45665"/>
                  </a:lnTo>
                  <a:lnTo>
                    <a:pt x="28598" y="35418"/>
                  </a:lnTo>
                  <a:lnTo>
                    <a:pt x="25011" y="28951"/>
                  </a:lnTo>
                  <a:lnTo>
                    <a:pt x="23516" y="24673"/>
                  </a:lnTo>
                  <a:lnTo>
                    <a:pt x="21623" y="22484"/>
                  </a:lnTo>
                  <a:lnTo>
                    <a:pt x="19630" y="20694"/>
                  </a:lnTo>
                  <a:lnTo>
                    <a:pt x="18435" y="19201"/>
                  </a:lnTo>
                  <a:lnTo>
                    <a:pt x="17637" y="16615"/>
                  </a:lnTo>
                  <a:lnTo>
                    <a:pt x="16641" y="7860"/>
                  </a:lnTo>
                  <a:lnTo>
                    <a:pt x="15246" y="6268"/>
                  </a:lnTo>
                  <a:lnTo>
                    <a:pt x="13751" y="5372"/>
                  </a:lnTo>
                  <a:lnTo>
                    <a:pt x="10463" y="4079"/>
                  </a:lnTo>
                  <a:lnTo>
                    <a:pt x="6975" y="896"/>
                  </a:lnTo>
                  <a:lnTo>
                    <a:pt x="6178" y="298"/>
                  </a:lnTo>
                  <a:lnTo>
                    <a:pt x="4285" y="0"/>
                  </a:lnTo>
                  <a:lnTo>
                    <a:pt x="3189" y="498"/>
                  </a:lnTo>
                  <a:lnTo>
                    <a:pt x="598" y="3582"/>
                  </a:lnTo>
                  <a:lnTo>
                    <a:pt x="0" y="4676"/>
                  </a:lnTo>
                  <a:lnTo>
                    <a:pt x="199" y="5770"/>
                  </a:lnTo>
                  <a:lnTo>
                    <a:pt x="997" y="6865"/>
                  </a:lnTo>
                  <a:lnTo>
                    <a:pt x="2093" y="7661"/>
                  </a:lnTo>
                  <a:lnTo>
                    <a:pt x="6178" y="9750"/>
                  </a:lnTo>
                  <a:lnTo>
                    <a:pt x="11758" y="14625"/>
                  </a:lnTo>
                  <a:lnTo>
                    <a:pt x="12655" y="15023"/>
                  </a:lnTo>
                  <a:lnTo>
                    <a:pt x="13353" y="15620"/>
                  </a:lnTo>
                  <a:lnTo>
                    <a:pt x="13950" y="17311"/>
                  </a:lnTo>
                  <a:lnTo>
                    <a:pt x="14449" y="19002"/>
                  </a:lnTo>
                  <a:lnTo>
                    <a:pt x="14648" y="20694"/>
                  </a:lnTo>
                  <a:lnTo>
                    <a:pt x="14449" y="22385"/>
                  </a:lnTo>
                  <a:lnTo>
                    <a:pt x="13950" y="23778"/>
                  </a:lnTo>
                  <a:lnTo>
                    <a:pt x="18235" y="24176"/>
                  </a:lnTo>
                  <a:lnTo>
                    <a:pt x="21424" y="26066"/>
                  </a:lnTo>
                  <a:lnTo>
                    <a:pt x="23616" y="29349"/>
                  </a:lnTo>
                  <a:lnTo>
                    <a:pt x="24313" y="33726"/>
                  </a:lnTo>
                  <a:lnTo>
                    <a:pt x="24911" y="35617"/>
                  </a:lnTo>
                  <a:lnTo>
                    <a:pt x="27402" y="39198"/>
                  </a:lnTo>
                  <a:lnTo>
                    <a:pt x="28299" y="43078"/>
                  </a:lnTo>
                  <a:lnTo>
                    <a:pt x="35075" y="54022"/>
                  </a:lnTo>
                  <a:lnTo>
                    <a:pt x="37765" y="56011"/>
                  </a:lnTo>
                  <a:lnTo>
                    <a:pt x="41452" y="56808"/>
                  </a:lnTo>
                  <a:lnTo>
                    <a:pt x="44043" y="58996"/>
                  </a:lnTo>
                  <a:lnTo>
                    <a:pt x="44641" y="63473"/>
                  </a:lnTo>
                  <a:lnTo>
                    <a:pt x="43544" y="67154"/>
                  </a:lnTo>
                  <a:lnTo>
                    <a:pt x="41053" y="67154"/>
                  </a:lnTo>
                  <a:lnTo>
                    <a:pt x="39758" y="69243"/>
                  </a:lnTo>
                  <a:lnTo>
                    <a:pt x="37267" y="71034"/>
                  </a:lnTo>
                  <a:lnTo>
                    <a:pt x="34577" y="72328"/>
                  </a:lnTo>
                  <a:lnTo>
                    <a:pt x="32684" y="72825"/>
                  </a:lnTo>
                  <a:lnTo>
                    <a:pt x="29993" y="74218"/>
                  </a:lnTo>
                  <a:lnTo>
                    <a:pt x="31388" y="77003"/>
                  </a:lnTo>
                  <a:lnTo>
                    <a:pt x="34776" y="79192"/>
                  </a:lnTo>
                  <a:lnTo>
                    <a:pt x="37964" y="78894"/>
                  </a:lnTo>
                  <a:lnTo>
                    <a:pt x="40157" y="77003"/>
                  </a:lnTo>
                  <a:lnTo>
                    <a:pt x="42150" y="75909"/>
                  </a:lnTo>
                  <a:lnTo>
                    <a:pt x="47929" y="74715"/>
                  </a:lnTo>
                  <a:lnTo>
                    <a:pt x="50919" y="74516"/>
                  </a:lnTo>
                  <a:lnTo>
                    <a:pt x="53509" y="74715"/>
                  </a:lnTo>
                  <a:lnTo>
                    <a:pt x="59189" y="7660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C444BA85-E78A-430B-AD45-36BAC0B27003}"/>
                </a:ext>
              </a:extLst>
            </p:cNvPr>
            <p:cNvSpPr/>
            <p:nvPr/>
          </p:nvSpPr>
          <p:spPr>
            <a:xfrm>
              <a:off x="3747944" y="4252526"/>
              <a:ext cx="37764" cy="13331"/>
            </a:xfrm>
            <a:custGeom>
              <a:avLst/>
              <a:gdLst>
                <a:gd name="connsiteX0" fmla="*/ 29893 w 37764"/>
                <a:gd name="connsiteY0" fmla="*/ 696 h 13331"/>
                <a:gd name="connsiteX1" fmla="*/ 28199 w 37764"/>
                <a:gd name="connsiteY1" fmla="*/ 0 h 13331"/>
                <a:gd name="connsiteX2" fmla="*/ 26107 w 37764"/>
                <a:gd name="connsiteY2" fmla="*/ 0 h 13331"/>
                <a:gd name="connsiteX3" fmla="*/ 20825 w 37764"/>
                <a:gd name="connsiteY3" fmla="*/ 995 h 13331"/>
                <a:gd name="connsiteX4" fmla="*/ 15345 w 37764"/>
                <a:gd name="connsiteY4" fmla="*/ 796 h 13331"/>
                <a:gd name="connsiteX5" fmla="*/ 13452 w 37764"/>
                <a:gd name="connsiteY5" fmla="*/ 995 h 13331"/>
                <a:gd name="connsiteX6" fmla="*/ 9167 w 37764"/>
                <a:gd name="connsiteY6" fmla="*/ 2586 h 13331"/>
                <a:gd name="connsiteX7" fmla="*/ 7274 w 37764"/>
                <a:gd name="connsiteY7" fmla="*/ 2885 h 13331"/>
                <a:gd name="connsiteX8" fmla="*/ 4384 w 37764"/>
                <a:gd name="connsiteY8" fmla="*/ 4079 h 13331"/>
                <a:gd name="connsiteX9" fmla="*/ 1395 w 37764"/>
                <a:gd name="connsiteY9" fmla="*/ 6367 h 13331"/>
                <a:gd name="connsiteX10" fmla="*/ 0 w 37764"/>
                <a:gd name="connsiteY10" fmla="*/ 8954 h 13331"/>
                <a:gd name="connsiteX11" fmla="*/ 2092 w 37764"/>
                <a:gd name="connsiteY11" fmla="*/ 11341 h 13331"/>
                <a:gd name="connsiteX12" fmla="*/ 3687 w 37764"/>
                <a:gd name="connsiteY12" fmla="*/ 11541 h 13331"/>
                <a:gd name="connsiteX13" fmla="*/ 6078 w 37764"/>
                <a:gd name="connsiteY13" fmla="*/ 11441 h 13331"/>
                <a:gd name="connsiteX14" fmla="*/ 8470 w 37764"/>
                <a:gd name="connsiteY14" fmla="*/ 11640 h 13331"/>
                <a:gd name="connsiteX15" fmla="*/ 10363 w 37764"/>
                <a:gd name="connsiteY15" fmla="*/ 12734 h 13331"/>
                <a:gd name="connsiteX16" fmla="*/ 12057 w 37764"/>
                <a:gd name="connsiteY16" fmla="*/ 13331 h 13331"/>
                <a:gd name="connsiteX17" fmla="*/ 13850 w 37764"/>
                <a:gd name="connsiteY17" fmla="*/ 12336 h 13331"/>
                <a:gd name="connsiteX18" fmla="*/ 15245 w 37764"/>
                <a:gd name="connsiteY18" fmla="*/ 10645 h 13331"/>
                <a:gd name="connsiteX19" fmla="*/ 16043 w 37764"/>
                <a:gd name="connsiteY19" fmla="*/ 9551 h 13331"/>
                <a:gd name="connsiteX20" fmla="*/ 20028 w 37764"/>
                <a:gd name="connsiteY20" fmla="*/ 11341 h 13331"/>
                <a:gd name="connsiteX21" fmla="*/ 23117 w 37764"/>
                <a:gd name="connsiteY21" fmla="*/ 11441 h 13331"/>
                <a:gd name="connsiteX22" fmla="*/ 36370 w 37764"/>
                <a:gd name="connsiteY22" fmla="*/ 5273 h 13331"/>
                <a:gd name="connsiteX23" fmla="*/ 37765 w 37764"/>
                <a:gd name="connsiteY23" fmla="*/ 3581 h 13331"/>
                <a:gd name="connsiteX24" fmla="*/ 32982 w 37764"/>
                <a:gd name="connsiteY24" fmla="*/ 2487 h 13331"/>
                <a:gd name="connsiteX25" fmla="*/ 29893 w 37764"/>
                <a:gd name="connsiteY25" fmla="*/ 696 h 13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7764" h="13331">
                  <a:moveTo>
                    <a:pt x="29893" y="696"/>
                  </a:moveTo>
                  <a:lnTo>
                    <a:pt x="28199" y="0"/>
                  </a:lnTo>
                  <a:lnTo>
                    <a:pt x="26107" y="0"/>
                  </a:lnTo>
                  <a:lnTo>
                    <a:pt x="20825" y="995"/>
                  </a:lnTo>
                  <a:lnTo>
                    <a:pt x="15345" y="796"/>
                  </a:lnTo>
                  <a:lnTo>
                    <a:pt x="13452" y="995"/>
                  </a:lnTo>
                  <a:lnTo>
                    <a:pt x="9167" y="2586"/>
                  </a:lnTo>
                  <a:lnTo>
                    <a:pt x="7274" y="2885"/>
                  </a:lnTo>
                  <a:lnTo>
                    <a:pt x="4384" y="4079"/>
                  </a:lnTo>
                  <a:lnTo>
                    <a:pt x="1395" y="6367"/>
                  </a:lnTo>
                  <a:lnTo>
                    <a:pt x="0" y="8954"/>
                  </a:lnTo>
                  <a:lnTo>
                    <a:pt x="2092" y="11341"/>
                  </a:lnTo>
                  <a:lnTo>
                    <a:pt x="3687" y="11541"/>
                  </a:lnTo>
                  <a:lnTo>
                    <a:pt x="6078" y="11441"/>
                  </a:lnTo>
                  <a:lnTo>
                    <a:pt x="8470" y="11640"/>
                  </a:lnTo>
                  <a:lnTo>
                    <a:pt x="10363" y="12734"/>
                  </a:lnTo>
                  <a:lnTo>
                    <a:pt x="12057" y="13331"/>
                  </a:lnTo>
                  <a:lnTo>
                    <a:pt x="13850" y="12336"/>
                  </a:lnTo>
                  <a:lnTo>
                    <a:pt x="15245" y="10645"/>
                  </a:lnTo>
                  <a:lnTo>
                    <a:pt x="16043" y="9551"/>
                  </a:lnTo>
                  <a:lnTo>
                    <a:pt x="20028" y="11341"/>
                  </a:lnTo>
                  <a:lnTo>
                    <a:pt x="23117" y="11441"/>
                  </a:lnTo>
                  <a:lnTo>
                    <a:pt x="36370" y="5273"/>
                  </a:lnTo>
                  <a:lnTo>
                    <a:pt x="37765" y="3581"/>
                  </a:lnTo>
                  <a:lnTo>
                    <a:pt x="32982" y="2487"/>
                  </a:lnTo>
                  <a:lnTo>
                    <a:pt x="29893" y="6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CCBBBBCC-5F1C-48C2-811D-7B082D99A9EB}"/>
                </a:ext>
              </a:extLst>
            </p:cNvPr>
            <p:cNvSpPr/>
            <p:nvPr/>
          </p:nvSpPr>
          <p:spPr>
            <a:xfrm>
              <a:off x="3636343" y="4235613"/>
              <a:ext cx="91771" cy="128537"/>
            </a:xfrm>
            <a:custGeom>
              <a:avLst/>
              <a:gdLst>
                <a:gd name="connsiteX0" fmla="*/ 88882 w 91771"/>
                <a:gd name="connsiteY0" fmla="*/ 78794 h 128537"/>
                <a:gd name="connsiteX1" fmla="*/ 89281 w 91771"/>
                <a:gd name="connsiteY1" fmla="*/ 75611 h 128537"/>
                <a:gd name="connsiteX2" fmla="*/ 89580 w 91771"/>
                <a:gd name="connsiteY2" fmla="*/ 72327 h 128537"/>
                <a:gd name="connsiteX3" fmla="*/ 89380 w 91771"/>
                <a:gd name="connsiteY3" fmla="*/ 69840 h 128537"/>
                <a:gd name="connsiteX4" fmla="*/ 88185 w 91771"/>
                <a:gd name="connsiteY4" fmla="*/ 67851 h 128537"/>
                <a:gd name="connsiteX5" fmla="*/ 83502 w 91771"/>
                <a:gd name="connsiteY5" fmla="*/ 63175 h 128537"/>
                <a:gd name="connsiteX6" fmla="*/ 82007 w 91771"/>
                <a:gd name="connsiteY6" fmla="*/ 62279 h 128537"/>
                <a:gd name="connsiteX7" fmla="*/ 79815 w 91771"/>
                <a:gd name="connsiteY7" fmla="*/ 61284 h 128537"/>
                <a:gd name="connsiteX8" fmla="*/ 77722 w 91771"/>
                <a:gd name="connsiteY8" fmla="*/ 59096 h 128537"/>
                <a:gd name="connsiteX9" fmla="*/ 72142 w 91771"/>
                <a:gd name="connsiteY9" fmla="*/ 50739 h 128537"/>
                <a:gd name="connsiteX10" fmla="*/ 64370 w 91771"/>
                <a:gd name="connsiteY10" fmla="*/ 31836 h 128537"/>
                <a:gd name="connsiteX11" fmla="*/ 62776 w 91771"/>
                <a:gd name="connsiteY11" fmla="*/ 29747 h 128537"/>
                <a:gd name="connsiteX12" fmla="*/ 60882 w 91771"/>
                <a:gd name="connsiteY12" fmla="*/ 28553 h 128537"/>
                <a:gd name="connsiteX13" fmla="*/ 58591 w 91771"/>
                <a:gd name="connsiteY13" fmla="*/ 28254 h 128537"/>
                <a:gd name="connsiteX14" fmla="*/ 57793 w 91771"/>
                <a:gd name="connsiteY14" fmla="*/ 26762 h 128537"/>
                <a:gd name="connsiteX15" fmla="*/ 58292 w 91771"/>
                <a:gd name="connsiteY15" fmla="*/ 23380 h 128537"/>
                <a:gd name="connsiteX16" fmla="*/ 59886 w 91771"/>
                <a:gd name="connsiteY16" fmla="*/ 17908 h 128537"/>
                <a:gd name="connsiteX17" fmla="*/ 57793 w 91771"/>
                <a:gd name="connsiteY17" fmla="*/ 16316 h 128537"/>
                <a:gd name="connsiteX18" fmla="*/ 56797 w 91771"/>
                <a:gd name="connsiteY18" fmla="*/ 14028 h 128537"/>
                <a:gd name="connsiteX19" fmla="*/ 57096 w 91771"/>
                <a:gd name="connsiteY19" fmla="*/ 11541 h 128537"/>
                <a:gd name="connsiteX20" fmla="*/ 58989 w 91771"/>
                <a:gd name="connsiteY20" fmla="*/ 9451 h 128537"/>
                <a:gd name="connsiteX21" fmla="*/ 57594 w 91771"/>
                <a:gd name="connsiteY21" fmla="*/ 7462 h 128537"/>
                <a:gd name="connsiteX22" fmla="*/ 55900 w 91771"/>
                <a:gd name="connsiteY22" fmla="*/ 6367 h 128537"/>
                <a:gd name="connsiteX23" fmla="*/ 54107 w 91771"/>
                <a:gd name="connsiteY23" fmla="*/ 5372 h 128537"/>
                <a:gd name="connsiteX24" fmla="*/ 52512 w 91771"/>
                <a:gd name="connsiteY24" fmla="*/ 4179 h 128537"/>
                <a:gd name="connsiteX25" fmla="*/ 50320 w 91771"/>
                <a:gd name="connsiteY25" fmla="*/ 3283 h 128537"/>
                <a:gd name="connsiteX26" fmla="*/ 48427 w 91771"/>
                <a:gd name="connsiteY26" fmla="*/ 4179 h 128537"/>
                <a:gd name="connsiteX27" fmla="*/ 46534 w 91771"/>
                <a:gd name="connsiteY27" fmla="*/ 5671 h 128537"/>
                <a:gd name="connsiteX28" fmla="*/ 44640 w 91771"/>
                <a:gd name="connsiteY28" fmla="*/ 6467 h 128537"/>
                <a:gd name="connsiteX29" fmla="*/ 42548 w 91771"/>
                <a:gd name="connsiteY29" fmla="*/ 6069 h 128537"/>
                <a:gd name="connsiteX30" fmla="*/ 41452 w 91771"/>
                <a:gd name="connsiteY30" fmla="*/ 4776 h 128537"/>
                <a:gd name="connsiteX31" fmla="*/ 40555 w 91771"/>
                <a:gd name="connsiteY31" fmla="*/ 3283 h 128537"/>
                <a:gd name="connsiteX32" fmla="*/ 39060 w 91771"/>
                <a:gd name="connsiteY32" fmla="*/ 1791 h 128537"/>
                <a:gd name="connsiteX33" fmla="*/ 37067 w 91771"/>
                <a:gd name="connsiteY33" fmla="*/ 995 h 128537"/>
                <a:gd name="connsiteX34" fmla="*/ 32484 w 91771"/>
                <a:gd name="connsiteY34" fmla="*/ 100 h 128537"/>
                <a:gd name="connsiteX35" fmla="*/ 30391 w 91771"/>
                <a:gd name="connsiteY35" fmla="*/ 0 h 128537"/>
                <a:gd name="connsiteX36" fmla="*/ 28896 w 91771"/>
                <a:gd name="connsiteY36" fmla="*/ 2985 h 128537"/>
                <a:gd name="connsiteX37" fmla="*/ 30591 w 91771"/>
                <a:gd name="connsiteY37" fmla="*/ 8357 h 128537"/>
                <a:gd name="connsiteX38" fmla="*/ 33281 w 91771"/>
                <a:gd name="connsiteY38" fmla="*/ 14028 h 128537"/>
                <a:gd name="connsiteX39" fmla="*/ 34576 w 91771"/>
                <a:gd name="connsiteY39" fmla="*/ 18405 h 128537"/>
                <a:gd name="connsiteX40" fmla="*/ 35772 w 91771"/>
                <a:gd name="connsiteY40" fmla="*/ 24573 h 128537"/>
                <a:gd name="connsiteX41" fmla="*/ 36071 w 91771"/>
                <a:gd name="connsiteY41" fmla="*/ 28454 h 128537"/>
                <a:gd name="connsiteX42" fmla="*/ 35074 w 91771"/>
                <a:gd name="connsiteY42" fmla="*/ 30244 h 128537"/>
                <a:gd name="connsiteX43" fmla="*/ 33978 w 91771"/>
                <a:gd name="connsiteY43" fmla="*/ 31040 h 128537"/>
                <a:gd name="connsiteX44" fmla="*/ 32982 w 91771"/>
                <a:gd name="connsiteY44" fmla="*/ 32831 h 128537"/>
                <a:gd name="connsiteX45" fmla="*/ 32285 w 91771"/>
                <a:gd name="connsiteY45" fmla="*/ 34821 h 128537"/>
                <a:gd name="connsiteX46" fmla="*/ 32085 w 91771"/>
                <a:gd name="connsiteY46" fmla="*/ 35915 h 128537"/>
                <a:gd name="connsiteX47" fmla="*/ 32583 w 91771"/>
                <a:gd name="connsiteY47" fmla="*/ 37109 h 128537"/>
                <a:gd name="connsiteX48" fmla="*/ 33580 w 91771"/>
                <a:gd name="connsiteY48" fmla="*/ 38502 h 128537"/>
                <a:gd name="connsiteX49" fmla="*/ 34078 w 91771"/>
                <a:gd name="connsiteY49" fmla="*/ 39596 h 128537"/>
                <a:gd name="connsiteX50" fmla="*/ 32882 w 91771"/>
                <a:gd name="connsiteY50" fmla="*/ 39695 h 128537"/>
                <a:gd name="connsiteX51" fmla="*/ 32484 w 91771"/>
                <a:gd name="connsiteY51" fmla="*/ 41685 h 128537"/>
                <a:gd name="connsiteX52" fmla="*/ 30790 w 91771"/>
                <a:gd name="connsiteY52" fmla="*/ 44968 h 128537"/>
                <a:gd name="connsiteX53" fmla="*/ 30391 w 91771"/>
                <a:gd name="connsiteY53" fmla="*/ 46759 h 128537"/>
                <a:gd name="connsiteX54" fmla="*/ 29694 w 91771"/>
                <a:gd name="connsiteY54" fmla="*/ 47555 h 128537"/>
                <a:gd name="connsiteX55" fmla="*/ 26405 w 91771"/>
                <a:gd name="connsiteY55" fmla="*/ 48152 h 128537"/>
                <a:gd name="connsiteX56" fmla="*/ 25210 w 91771"/>
                <a:gd name="connsiteY56" fmla="*/ 49047 h 128537"/>
                <a:gd name="connsiteX57" fmla="*/ 25708 w 91771"/>
                <a:gd name="connsiteY57" fmla="*/ 52430 h 128537"/>
                <a:gd name="connsiteX58" fmla="*/ 23814 w 91771"/>
                <a:gd name="connsiteY58" fmla="*/ 55116 h 128537"/>
                <a:gd name="connsiteX59" fmla="*/ 21025 w 91771"/>
                <a:gd name="connsiteY59" fmla="*/ 57404 h 128537"/>
                <a:gd name="connsiteX60" fmla="*/ 19032 w 91771"/>
                <a:gd name="connsiteY60" fmla="*/ 59494 h 128537"/>
                <a:gd name="connsiteX61" fmla="*/ 17936 w 91771"/>
                <a:gd name="connsiteY61" fmla="*/ 63573 h 128537"/>
                <a:gd name="connsiteX62" fmla="*/ 17537 w 91771"/>
                <a:gd name="connsiteY62" fmla="*/ 65960 h 128537"/>
                <a:gd name="connsiteX63" fmla="*/ 17736 w 91771"/>
                <a:gd name="connsiteY63" fmla="*/ 66955 h 128537"/>
                <a:gd name="connsiteX64" fmla="*/ 19530 w 91771"/>
                <a:gd name="connsiteY64" fmla="*/ 67950 h 128537"/>
                <a:gd name="connsiteX65" fmla="*/ 20527 w 91771"/>
                <a:gd name="connsiteY65" fmla="*/ 69940 h 128537"/>
                <a:gd name="connsiteX66" fmla="*/ 21323 w 91771"/>
                <a:gd name="connsiteY66" fmla="*/ 72228 h 128537"/>
                <a:gd name="connsiteX67" fmla="*/ 22520 w 91771"/>
                <a:gd name="connsiteY67" fmla="*/ 73621 h 128537"/>
                <a:gd name="connsiteX68" fmla="*/ 22619 w 91771"/>
                <a:gd name="connsiteY68" fmla="*/ 68348 h 128537"/>
                <a:gd name="connsiteX69" fmla="*/ 22121 w 91771"/>
                <a:gd name="connsiteY69" fmla="*/ 66259 h 128537"/>
                <a:gd name="connsiteX70" fmla="*/ 20825 w 91771"/>
                <a:gd name="connsiteY70" fmla="*/ 65065 h 128537"/>
                <a:gd name="connsiteX71" fmla="*/ 22619 w 91771"/>
                <a:gd name="connsiteY71" fmla="*/ 64368 h 128537"/>
                <a:gd name="connsiteX72" fmla="*/ 23416 w 91771"/>
                <a:gd name="connsiteY72" fmla="*/ 65662 h 128537"/>
                <a:gd name="connsiteX73" fmla="*/ 23715 w 91771"/>
                <a:gd name="connsiteY73" fmla="*/ 67950 h 128537"/>
                <a:gd name="connsiteX74" fmla="*/ 24213 w 91771"/>
                <a:gd name="connsiteY74" fmla="*/ 69840 h 128537"/>
                <a:gd name="connsiteX75" fmla="*/ 25011 w 91771"/>
                <a:gd name="connsiteY75" fmla="*/ 70835 h 128537"/>
                <a:gd name="connsiteX76" fmla="*/ 27003 w 91771"/>
                <a:gd name="connsiteY76" fmla="*/ 72626 h 128537"/>
                <a:gd name="connsiteX77" fmla="*/ 27800 w 91771"/>
                <a:gd name="connsiteY77" fmla="*/ 73621 h 128537"/>
                <a:gd name="connsiteX78" fmla="*/ 27900 w 91771"/>
                <a:gd name="connsiteY78" fmla="*/ 74516 h 128537"/>
                <a:gd name="connsiteX79" fmla="*/ 27601 w 91771"/>
                <a:gd name="connsiteY79" fmla="*/ 76605 h 128537"/>
                <a:gd name="connsiteX80" fmla="*/ 27800 w 91771"/>
                <a:gd name="connsiteY80" fmla="*/ 77401 h 128537"/>
                <a:gd name="connsiteX81" fmla="*/ 28896 w 91771"/>
                <a:gd name="connsiteY81" fmla="*/ 78595 h 128537"/>
                <a:gd name="connsiteX82" fmla="*/ 30192 w 91771"/>
                <a:gd name="connsiteY82" fmla="*/ 79690 h 128537"/>
                <a:gd name="connsiteX83" fmla="*/ 31089 w 91771"/>
                <a:gd name="connsiteY83" fmla="*/ 81082 h 128537"/>
                <a:gd name="connsiteX84" fmla="*/ 31189 w 91771"/>
                <a:gd name="connsiteY84" fmla="*/ 83072 h 128537"/>
                <a:gd name="connsiteX85" fmla="*/ 30491 w 91771"/>
                <a:gd name="connsiteY85" fmla="*/ 83769 h 128537"/>
                <a:gd name="connsiteX86" fmla="*/ 29395 w 91771"/>
                <a:gd name="connsiteY86" fmla="*/ 83470 h 128537"/>
                <a:gd name="connsiteX87" fmla="*/ 28100 w 91771"/>
                <a:gd name="connsiteY87" fmla="*/ 82674 h 128537"/>
                <a:gd name="connsiteX88" fmla="*/ 26804 w 91771"/>
                <a:gd name="connsiteY88" fmla="*/ 82077 h 128537"/>
                <a:gd name="connsiteX89" fmla="*/ 27502 w 91771"/>
                <a:gd name="connsiteY89" fmla="*/ 84763 h 128537"/>
                <a:gd name="connsiteX90" fmla="*/ 27103 w 91771"/>
                <a:gd name="connsiteY90" fmla="*/ 87748 h 128537"/>
                <a:gd name="connsiteX91" fmla="*/ 25907 w 91771"/>
                <a:gd name="connsiteY91" fmla="*/ 89539 h 128537"/>
                <a:gd name="connsiteX92" fmla="*/ 23814 w 91771"/>
                <a:gd name="connsiteY92" fmla="*/ 88245 h 128537"/>
                <a:gd name="connsiteX93" fmla="*/ 23416 w 91771"/>
                <a:gd name="connsiteY93" fmla="*/ 85858 h 128537"/>
                <a:gd name="connsiteX94" fmla="*/ 24114 w 91771"/>
                <a:gd name="connsiteY94" fmla="*/ 82972 h 128537"/>
                <a:gd name="connsiteX95" fmla="*/ 24114 w 91771"/>
                <a:gd name="connsiteY95" fmla="*/ 80485 h 128537"/>
                <a:gd name="connsiteX96" fmla="*/ 21623 w 91771"/>
                <a:gd name="connsiteY96" fmla="*/ 79291 h 128537"/>
                <a:gd name="connsiteX97" fmla="*/ 22021 w 91771"/>
                <a:gd name="connsiteY97" fmla="*/ 82376 h 128537"/>
                <a:gd name="connsiteX98" fmla="*/ 20925 w 91771"/>
                <a:gd name="connsiteY98" fmla="*/ 83470 h 128537"/>
                <a:gd name="connsiteX99" fmla="*/ 19032 w 91771"/>
                <a:gd name="connsiteY99" fmla="*/ 83967 h 128537"/>
                <a:gd name="connsiteX100" fmla="*/ 15644 w 91771"/>
                <a:gd name="connsiteY100" fmla="*/ 86057 h 128537"/>
                <a:gd name="connsiteX101" fmla="*/ 14747 w 91771"/>
                <a:gd name="connsiteY101" fmla="*/ 85559 h 128537"/>
                <a:gd name="connsiteX102" fmla="*/ 14050 w 91771"/>
                <a:gd name="connsiteY102" fmla="*/ 84365 h 128537"/>
                <a:gd name="connsiteX103" fmla="*/ 13850 w 91771"/>
                <a:gd name="connsiteY103" fmla="*/ 83072 h 128537"/>
                <a:gd name="connsiteX104" fmla="*/ 14249 w 91771"/>
                <a:gd name="connsiteY104" fmla="*/ 82674 h 128537"/>
                <a:gd name="connsiteX105" fmla="*/ 16441 w 91771"/>
                <a:gd name="connsiteY105" fmla="*/ 81182 h 128537"/>
                <a:gd name="connsiteX106" fmla="*/ 17637 w 91771"/>
                <a:gd name="connsiteY106" fmla="*/ 79391 h 128537"/>
                <a:gd name="connsiteX107" fmla="*/ 18434 w 91771"/>
                <a:gd name="connsiteY107" fmla="*/ 77600 h 128537"/>
                <a:gd name="connsiteX108" fmla="*/ 18932 w 91771"/>
                <a:gd name="connsiteY108" fmla="*/ 75511 h 128537"/>
                <a:gd name="connsiteX109" fmla="*/ 19032 w 91771"/>
                <a:gd name="connsiteY109" fmla="*/ 73123 h 128537"/>
                <a:gd name="connsiteX110" fmla="*/ 18334 w 91771"/>
                <a:gd name="connsiteY110" fmla="*/ 70238 h 128537"/>
                <a:gd name="connsiteX111" fmla="*/ 16640 w 91771"/>
                <a:gd name="connsiteY111" fmla="*/ 68447 h 128537"/>
                <a:gd name="connsiteX112" fmla="*/ 14548 w 91771"/>
                <a:gd name="connsiteY112" fmla="*/ 68348 h 128537"/>
                <a:gd name="connsiteX113" fmla="*/ 12954 w 91771"/>
                <a:gd name="connsiteY113" fmla="*/ 70736 h 128537"/>
                <a:gd name="connsiteX114" fmla="*/ 13850 w 91771"/>
                <a:gd name="connsiteY114" fmla="*/ 72327 h 128537"/>
                <a:gd name="connsiteX115" fmla="*/ 13651 w 91771"/>
                <a:gd name="connsiteY115" fmla="*/ 73521 h 128537"/>
                <a:gd name="connsiteX116" fmla="*/ 12654 w 91771"/>
                <a:gd name="connsiteY116" fmla="*/ 74616 h 128537"/>
                <a:gd name="connsiteX117" fmla="*/ 11260 w 91771"/>
                <a:gd name="connsiteY117" fmla="*/ 75412 h 128537"/>
                <a:gd name="connsiteX118" fmla="*/ 10263 w 91771"/>
                <a:gd name="connsiteY118" fmla="*/ 75113 h 128537"/>
                <a:gd name="connsiteX119" fmla="*/ 9067 w 91771"/>
                <a:gd name="connsiteY119" fmla="*/ 74218 h 128537"/>
                <a:gd name="connsiteX120" fmla="*/ 8171 w 91771"/>
                <a:gd name="connsiteY120" fmla="*/ 74019 h 128537"/>
                <a:gd name="connsiteX121" fmla="*/ 7772 w 91771"/>
                <a:gd name="connsiteY121" fmla="*/ 76009 h 128537"/>
                <a:gd name="connsiteX122" fmla="*/ 6676 w 91771"/>
                <a:gd name="connsiteY122" fmla="*/ 77202 h 128537"/>
                <a:gd name="connsiteX123" fmla="*/ 4185 w 91771"/>
                <a:gd name="connsiteY123" fmla="*/ 78595 h 128537"/>
                <a:gd name="connsiteX124" fmla="*/ 1594 w 91771"/>
                <a:gd name="connsiteY124" fmla="*/ 79789 h 128537"/>
                <a:gd name="connsiteX125" fmla="*/ 0 w 91771"/>
                <a:gd name="connsiteY125" fmla="*/ 80187 h 128537"/>
                <a:gd name="connsiteX126" fmla="*/ 1494 w 91771"/>
                <a:gd name="connsiteY126" fmla="*/ 83371 h 128537"/>
                <a:gd name="connsiteX127" fmla="*/ 3985 w 91771"/>
                <a:gd name="connsiteY127" fmla="*/ 86256 h 128537"/>
                <a:gd name="connsiteX128" fmla="*/ 11558 w 91771"/>
                <a:gd name="connsiteY128" fmla="*/ 93120 h 128537"/>
                <a:gd name="connsiteX129" fmla="*/ 27402 w 91771"/>
                <a:gd name="connsiteY129" fmla="*/ 102074 h 128537"/>
                <a:gd name="connsiteX130" fmla="*/ 29893 w 91771"/>
                <a:gd name="connsiteY130" fmla="*/ 102771 h 128537"/>
                <a:gd name="connsiteX131" fmla="*/ 33281 w 91771"/>
                <a:gd name="connsiteY131" fmla="*/ 102173 h 128537"/>
                <a:gd name="connsiteX132" fmla="*/ 35174 w 91771"/>
                <a:gd name="connsiteY132" fmla="*/ 100681 h 128537"/>
                <a:gd name="connsiteX133" fmla="*/ 36769 w 91771"/>
                <a:gd name="connsiteY133" fmla="*/ 98891 h 128537"/>
                <a:gd name="connsiteX134" fmla="*/ 39060 w 91771"/>
                <a:gd name="connsiteY134" fmla="*/ 97100 h 128537"/>
                <a:gd name="connsiteX135" fmla="*/ 38263 w 91771"/>
                <a:gd name="connsiteY135" fmla="*/ 106452 h 128537"/>
                <a:gd name="connsiteX136" fmla="*/ 39060 w 91771"/>
                <a:gd name="connsiteY136" fmla="*/ 110531 h 128537"/>
                <a:gd name="connsiteX137" fmla="*/ 42947 w 91771"/>
                <a:gd name="connsiteY137" fmla="*/ 112222 h 128537"/>
                <a:gd name="connsiteX138" fmla="*/ 45936 w 91771"/>
                <a:gd name="connsiteY138" fmla="*/ 113913 h 128537"/>
                <a:gd name="connsiteX139" fmla="*/ 47231 w 91771"/>
                <a:gd name="connsiteY139" fmla="*/ 117893 h 128537"/>
                <a:gd name="connsiteX140" fmla="*/ 48029 w 91771"/>
                <a:gd name="connsiteY140" fmla="*/ 122668 h 128537"/>
                <a:gd name="connsiteX141" fmla="*/ 49523 w 91771"/>
                <a:gd name="connsiteY141" fmla="*/ 126349 h 128537"/>
                <a:gd name="connsiteX142" fmla="*/ 50320 w 91771"/>
                <a:gd name="connsiteY142" fmla="*/ 127344 h 128537"/>
                <a:gd name="connsiteX143" fmla="*/ 51416 w 91771"/>
                <a:gd name="connsiteY143" fmla="*/ 128140 h 128537"/>
                <a:gd name="connsiteX144" fmla="*/ 52612 w 91771"/>
                <a:gd name="connsiteY144" fmla="*/ 128538 h 128537"/>
                <a:gd name="connsiteX145" fmla="*/ 53807 w 91771"/>
                <a:gd name="connsiteY145" fmla="*/ 128239 h 128537"/>
                <a:gd name="connsiteX146" fmla="*/ 54605 w 91771"/>
                <a:gd name="connsiteY146" fmla="*/ 127344 h 128537"/>
                <a:gd name="connsiteX147" fmla="*/ 54505 w 91771"/>
                <a:gd name="connsiteY147" fmla="*/ 126349 h 128537"/>
                <a:gd name="connsiteX148" fmla="*/ 54107 w 91771"/>
                <a:gd name="connsiteY148" fmla="*/ 125155 h 128537"/>
                <a:gd name="connsiteX149" fmla="*/ 53807 w 91771"/>
                <a:gd name="connsiteY149" fmla="*/ 124061 h 128537"/>
                <a:gd name="connsiteX150" fmla="*/ 54405 w 91771"/>
                <a:gd name="connsiteY150" fmla="*/ 122867 h 128537"/>
                <a:gd name="connsiteX151" fmla="*/ 59487 w 91771"/>
                <a:gd name="connsiteY151" fmla="*/ 119285 h 128537"/>
                <a:gd name="connsiteX152" fmla="*/ 60982 w 91771"/>
                <a:gd name="connsiteY152" fmla="*/ 118589 h 128537"/>
                <a:gd name="connsiteX153" fmla="*/ 65366 w 91771"/>
                <a:gd name="connsiteY153" fmla="*/ 118589 h 128537"/>
                <a:gd name="connsiteX154" fmla="*/ 67658 w 91771"/>
                <a:gd name="connsiteY154" fmla="*/ 117893 h 128537"/>
                <a:gd name="connsiteX155" fmla="*/ 72342 w 91771"/>
                <a:gd name="connsiteY155" fmla="*/ 114709 h 128537"/>
                <a:gd name="connsiteX156" fmla="*/ 73836 w 91771"/>
                <a:gd name="connsiteY156" fmla="*/ 113117 h 128537"/>
                <a:gd name="connsiteX157" fmla="*/ 72342 w 91771"/>
                <a:gd name="connsiteY157" fmla="*/ 110133 h 128537"/>
                <a:gd name="connsiteX158" fmla="*/ 73338 w 91771"/>
                <a:gd name="connsiteY158" fmla="*/ 109038 h 128537"/>
                <a:gd name="connsiteX159" fmla="*/ 77224 w 91771"/>
                <a:gd name="connsiteY159" fmla="*/ 108441 h 128537"/>
                <a:gd name="connsiteX160" fmla="*/ 78520 w 91771"/>
                <a:gd name="connsiteY160" fmla="*/ 107347 h 128537"/>
                <a:gd name="connsiteX161" fmla="*/ 79616 w 91771"/>
                <a:gd name="connsiteY161" fmla="*/ 105755 h 128537"/>
                <a:gd name="connsiteX162" fmla="*/ 80911 w 91771"/>
                <a:gd name="connsiteY162" fmla="*/ 104362 h 128537"/>
                <a:gd name="connsiteX163" fmla="*/ 82904 w 91771"/>
                <a:gd name="connsiteY163" fmla="*/ 103765 h 128537"/>
                <a:gd name="connsiteX164" fmla="*/ 87587 w 91771"/>
                <a:gd name="connsiteY164" fmla="*/ 103069 h 128537"/>
                <a:gd name="connsiteX165" fmla="*/ 90576 w 91771"/>
                <a:gd name="connsiteY165" fmla="*/ 100880 h 128537"/>
                <a:gd name="connsiteX166" fmla="*/ 91772 w 91771"/>
                <a:gd name="connsiteY166" fmla="*/ 97398 h 128537"/>
                <a:gd name="connsiteX167" fmla="*/ 91174 w 91771"/>
                <a:gd name="connsiteY167" fmla="*/ 92523 h 128537"/>
                <a:gd name="connsiteX168" fmla="*/ 88384 w 91771"/>
                <a:gd name="connsiteY168" fmla="*/ 86653 h 128537"/>
                <a:gd name="connsiteX169" fmla="*/ 87288 w 91771"/>
                <a:gd name="connsiteY169" fmla="*/ 83271 h 128537"/>
                <a:gd name="connsiteX170" fmla="*/ 88085 w 91771"/>
                <a:gd name="connsiteY170" fmla="*/ 80684 h 128537"/>
                <a:gd name="connsiteX171" fmla="*/ 88882 w 91771"/>
                <a:gd name="connsiteY171" fmla="*/ 78794 h 12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91771" h="128537">
                  <a:moveTo>
                    <a:pt x="88882" y="78794"/>
                  </a:moveTo>
                  <a:lnTo>
                    <a:pt x="89281" y="75611"/>
                  </a:lnTo>
                  <a:lnTo>
                    <a:pt x="89580" y="72327"/>
                  </a:lnTo>
                  <a:lnTo>
                    <a:pt x="89380" y="69840"/>
                  </a:lnTo>
                  <a:lnTo>
                    <a:pt x="88185" y="67851"/>
                  </a:lnTo>
                  <a:lnTo>
                    <a:pt x="83502" y="63175"/>
                  </a:lnTo>
                  <a:lnTo>
                    <a:pt x="82007" y="62279"/>
                  </a:lnTo>
                  <a:lnTo>
                    <a:pt x="79815" y="61284"/>
                  </a:lnTo>
                  <a:lnTo>
                    <a:pt x="77722" y="59096"/>
                  </a:lnTo>
                  <a:lnTo>
                    <a:pt x="72142" y="50739"/>
                  </a:lnTo>
                  <a:lnTo>
                    <a:pt x="64370" y="31836"/>
                  </a:lnTo>
                  <a:lnTo>
                    <a:pt x="62776" y="29747"/>
                  </a:lnTo>
                  <a:lnTo>
                    <a:pt x="60882" y="28553"/>
                  </a:lnTo>
                  <a:lnTo>
                    <a:pt x="58591" y="28254"/>
                  </a:lnTo>
                  <a:lnTo>
                    <a:pt x="57793" y="26762"/>
                  </a:lnTo>
                  <a:lnTo>
                    <a:pt x="58292" y="23380"/>
                  </a:lnTo>
                  <a:lnTo>
                    <a:pt x="59886" y="17908"/>
                  </a:lnTo>
                  <a:lnTo>
                    <a:pt x="57793" y="16316"/>
                  </a:lnTo>
                  <a:lnTo>
                    <a:pt x="56797" y="14028"/>
                  </a:lnTo>
                  <a:lnTo>
                    <a:pt x="57096" y="11541"/>
                  </a:lnTo>
                  <a:lnTo>
                    <a:pt x="58989" y="9451"/>
                  </a:lnTo>
                  <a:lnTo>
                    <a:pt x="57594" y="7462"/>
                  </a:lnTo>
                  <a:lnTo>
                    <a:pt x="55900" y="6367"/>
                  </a:lnTo>
                  <a:lnTo>
                    <a:pt x="54107" y="5372"/>
                  </a:lnTo>
                  <a:lnTo>
                    <a:pt x="52512" y="4179"/>
                  </a:lnTo>
                  <a:lnTo>
                    <a:pt x="50320" y="3283"/>
                  </a:lnTo>
                  <a:lnTo>
                    <a:pt x="48427" y="4179"/>
                  </a:lnTo>
                  <a:lnTo>
                    <a:pt x="46534" y="5671"/>
                  </a:lnTo>
                  <a:lnTo>
                    <a:pt x="44640" y="6467"/>
                  </a:lnTo>
                  <a:lnTo>
                    <a:pt x="42548" y="6069"/>
                  </a:lnTo>
                  <a:lnTo>
                    <a:pt x="41452" y="4776"/>
                  </a:lnTo>
                  <a:lnTo>
                    <a:pt x="40555" y="3283"/>
                  </a:lnTo>
                  <a:lnTo>
                    <a:pt x="39060" y="1791"/>
                  </a:lnTo>
                  <a:lnTo>
                    <a:pt x="37067" y="995"/>
                  </a:lnTo>
                  <a:lnTo>
                    <a:pt x="32484" y="100"/>
                  </a:lnTo>
                  <a:lnTo>
                    <a:pt x="30391" y="0"/>
                  </a:lnTo>
                  <a:lnTo>
                    <a:pt x="28896" y="2985"/>
                  </a:lnTo>
                  <a:lnTo>
                    <a:pt x="30591" y="8357"/>
                  </a:lnTo>
                  <a:lnTo>
                    <a:pt x="33281" y="14028"/>
                  </a:lnTo>
                  <a:lnTo>
                    <a:pt x="34576" y="18405"/>
                  </a:lnTo>
                  <a:lnTo>
                    <a:pt x="35772" y="24573"/>
                  </a:lnTo>
                  <a:lnTo>
                    <a:pt x="36071" y="28454"/>
                  </a:lnTo>
                  <a:lnTo>
                    <a:pt x="35074" y="30244"/>
                  </a:lnTo>
                  <a:lnTo>
                    <a:pt x="33978" y="31040"/>
                  </a:lnTo>
                  <a:lnTo>
                    <a:pt x="32982" y="32831"/>
                  </a:lnTo>
                  <a:lnTo>
                    <a:pt x="32285" y="34821"/>
                  </a:lnTo>
                  <a:lnTo>
                    <a:pt x="32085" y="35915"/>
                  </a:lnTo>
                  <a:lnTo>
                    <a:pt x="32583" y="37109"/>
                  </a:lnTo>
                  <a:lnTo>
                    <a:pt x="33580" y="38502"/>
                  </a:lnTo>
                  <a:lnTo>
                    <a:pt x="34078" y="39596"/>
                  </a:lnTo>
                  <a:lnTo>
                    <a:pt x="32882" y="39695"/>
                  </a:lnTo>
                  <a:lnTo>
                    <a:pt x="32484" y="41685"/>
                  </a:lnTo>
                  <a:lnTo>
                    <a:pt x="30790" y="44968"/>
                  </a:lnTo>
                  <a:lnTo>
                    <a:pt x="30391" y="46759"/>
                  </a:lnTo>
                  <a:lnTo>
                    <a:pt x="29694" y="47555"/>
                  </a:lnTo>
                  <a:lnTo>
                    <a:pt x="26405" y="48152"/>
                  </a:lnTo>
                  <a:lnTo>
                    <a:pt x="25210" y="49047"/>
                  </a:lnTo>
                  <a:lnTo>
                    <a:pt x="25708" y="52430"/>
                  </a:lnTo>
                  <a:lnTo>
                    <a:pt x="23814" y="55116"/>
                  </a:lnTo>
                  <a:lnTo>
                    <a:pt x="21025" y="57404"/>
                  </a:lnTo>
                  <a:lnTo>
                    <a:pt x="19032" y="59494"/>
                  </a:lnTo>
                  <a:lnTo>
                    <a:pt x="17936" y="63573"/>
                  </a:lnTo>
                  <a:lnTo>
                    <a:pt x="17537" y="65960"/>
                  </a:lnTo>
                  <a:lnTo>
                    <a:pt x="17736" y="66955"/>
                  </a:lnTo>
                  <a:lnTo>
                    <a:pt x="19530" y="67950"/>
                  </a:lnTo>
                  <a:lnTo>
                    <a:pt x="20527" y="69940"/>
                  </a:lnTo>
                  <a:lnTo>
                    <a:pt x="21323" y="72228"/>
                  </a:lnTo>
                  <a:lnTo>
                    <a:pt x="22520" y="73621"/>
                  </a:lnTo>
                  <a:lnTo>
                    <a:pt x="22619" y="68348"/>
                  </a:lnTo>
                  <a:lnTo>
                    <a:pt x="22121" y="66259"/>
                  </a:lnTo>
                  <a:lnTo>
                    <a:pt x="20825" y="65065"/>
                  </a:lnTo>
                  <a:lnTo>
                    <a:pt x="22619" y="64368"/>
                  </a:lnTo>
                  <a:lnTo>
                    <a:pt x="23416" y="65662"/>
                  </a:lnTo>
                  <a:lnTo>
                    <a:pt x="23715" y="67950"/>
                  </a:lnTo>
                  <a:lnTo>
                    <a:pt x="24213" y="69840"/>
                  </a:lnTo>
                  <a:lnTo>
                    <a:pt x="25011" y="70835"/>
                  </a:lnTo>
                  <a:lnTo>
                    <a:pt x="27003" y="72626"/>
                  </a:lnTo>
                  <a:lnTo>
                    <a:pt x="27800" y="73621"/>
                  </a:lnTo>
                  <a:lnTo>
                    <a:pt x="27900" y="74516"/>
                  </a:lnTo>
                  <a:lnTo>
                    <a:pt x="27601" y="76605"/>
                  </a:lnTo>
                  <a:lnTo>
                    <a:pt x="27800" y="77401"/>
                  </a:lnTo>
                  <a:lnTo>
                    <a:pt x="28896" y="78595"/>
                  </a:lnTo>
                  <a:lnTo>
                    <a:pt x="30192" y="79690"/>
                  </a:lnTo>
                  <a:lnTo>
                    <a:pt x="31089" y="81082"/>
                  </a:lnTo>
                  <a:lnTo>
                    <a:pt x="31189" y="83072"/>
                  </a:lnTo>
                  <a:lnTo>
                    <a:pt x="30491" y="83769"/>
                  </a:lnTo>
                  <a:lnTo>
                    <a:pt x="29395" y="83470"/>
                  </a:lnTo>
                  <a:lnTo>
                    <a:pt x="28100" y="82674"/>
                  </a:lnTo>
                  <a:lnTo>
                    <a:pt x="26804" y="82077"/>
                  </a:lnTo>
                  <a:lnTo>
                    <a:pt x="27502" y="84763"/>
                  </a:lnTo>
                  <a:lnTo>
                    <a:pt x="27103" y="87748"/>
                  </a:lnTo>
                  <a:lnTo>
                    <a:pt x="25907" y="89539"/>
                  </a:lnTo>
                  <a:lnTo>
                    <a:pt x="23814" y="88245"/>
                  </a:lnTo>
                  <a:lnTo>
                    <a:pt x="23416" y="85858"/>
                  </a:lnTo>
                  <a:lnTo>
                    <a:pt x="24114" y="82972"/>
                  </a:lnTo>
                  <a:lnTo>
                    <a:pt x="24114" y="80485"/>
                  </a:lnTo>
                  <a:lnTo>
                    <a:pt x="21623" y="79291"/>
                  </a:lnTo>
                  <a:lnTo>
                    <a:pt x="22021" y="82376"/>
                  </a:lnTo>
                  <a:lnTo>
                    <a:pt x="20925" y="83470"/>
                  </a:lnTo>
                  <a:lnTo>
                    <a:pt x="19032" y="83967"/>
                  </a:lnTo>
                  <a:lnTo>
                    <a:pt x="15644" y="86057"/>
                  </a:lnTo>
                  <a:lnTo>
                    <a:pt x="14747" y="85559"/>
                  </a:lnTo>
                  <a:lnTo>
                    <a:pt x="14050" y="84365"/>
                  </a:lnTo>
                  <a:lnTo>
                    <a:pt x="13850" y="83072"/>
                  </a:lnTo>
                  <a:lnTo>
                    <a:pt x="14249" y="82674"/>
                  </a:lnTo>
                  <a:lnTo>
                    <a:pt x="16441" y="81182"/>
                  </a:lnTo>
                  <a:lnTo>
                    <a:pt x="17637" y="79391"/>
                  </a:lnTo>
                  <a:lnTo>
                    <a:pt x="18434" y="77600"/>
                  </a:lnTo>
                  <a:lnTo>
                    <a:pt x="18932" y="75511"/>
                  </a:lnTo>
                  <a:lnTo>
                    <a:pt x="19032" y="73123"/>
                  </a:lnTo>
                  <a:lnTo>
                    <a:pt x="18334" y="70238"/>
                  </a:lnTo>
                  <a:lnTo>
                    <a:pt x="16640" y="68447"/>
                  </a:lnTo>
                  <a:lnTo>
                    <a:pt x="14548" y="68348"/>
                  </a:lnTo>
                  <a:lnTo>
                    <a:pt x="12954" y="70736"/>
                  </a:lnTo>
                  <a:lnTo>
                    <a:pt x="13850" y="72327"/>
                  </a:lnTo>
                  <a:lnTo>
                    <a:pt x="13651" y="73521"/>
                  </a:lnTo>
                  <a:lnTo>
                    <a:pt x="12654" y="74616"/>
                  </a:lnTo>
                  <a:lnTo>
                    <a:pt x="11260" y="75412"/>
                  </a:lnTo>
                  <a:lnTo>
                    <a:pt x="10263" y="75113"/>
                  </a:lnTo>
                  <a:lnTo>
                    <a:pt x="9067" y="74218"/>
                  </a:lnTo>
                  <a:lnTo>
                    <a:pt x="8171" y="74019"/>
                  </a:lnTo>
                  <a:lnTo>
                    <a:pt x="7772" y="76009"/>
                  </a:lnTo>
                  <a:lnTo>
                    <a:pt x="6676" y="77202"/>
                  </a:lnTo>
                  <a:lnTo>
                    <a:pt x="4185" y="78595"/>
                  </a:lnTo>
                  <a:lnTo>
                    <a:pt x="1594" y="79789"/>
                  </a:lnTo>
                  <a:lnTo>
                    <a:pt x="0" y="80187"/>
                  </a:lnTo>
                  <a:lnTo>
                    <a:pt x="1494" y="83371"/>
                  </a:lnTo>
                  <a:lnTo>
                    <a:pt x="3985" y="86256"/>
                  </a:lnTo>
                  <a:lnTo>
                    <a:pt x="11558" y="93120"/>
                  </a:lnTo>
                  <a:lnTo>
                    <a:pt x="27402" y="102074"/>
                  </a:lnTo>
                  <a:lnTo>
                    <a:pt x="29893" y="102771"/>
                  </a:lnTo>
                  <a:lnTo>
                    <a:pt x="33281" y="102173"/>
                  </a:lnTo>
                  <a:lnTo>
                    <a:pt x="35174" y="100681"/>
                  </a:lnTo>
                  <a:lnTo>
                    <a:pt x="36769" y="98891"/>
                  </a:lnTo>
                  <a:lnTo>
                    <a:pt x="39060" y="97100"/>
                  </a:lnTo>
                  <a:lnTo>
                    <a:pt x="38263" y="106452"/>
                  </a:lnTo>
                  <a:lnTo>
                    <a:pt x="39060" y="110531"/>
                  </a:lnTo>
                  <a:lnTo>
                    <a:pt x="42947" y="112222"/>
                  </a:lnTo>
                  <a:lnTo>
                    <a:pt x="45936" y="113913"/>
                  </a:lnTo>
                  <a:lnTo>
                    <a:pt x="47231" y="117893"/>
                  </a:lnTo>
                  <a:lnTo>
                    <a:pt x="48029" y="122668"/>
                  </a:lnTo>
                  <a:lnTo>
                    <a:pt x="49523" y="126349"/>
                  </a:lnTo>
                  <a:lnTo>
                    <a:pt x="50320" y="127344"/>
                  </a:lnTo>
                  <a:lnTo>
                    <a:pt x="51416" y="128140"/>
                  </a:lnTo>
                  <a:lnTo>
                    <a:pt x="52612" y="128538"/>
                  </a:lnTo>
                  <a:lnTo>
                    <a:pt x="53807" y="128239"/>
                  </a:lnTo>
                  <a:lnTo>
                    <a:pt x="54605" y="127344"/>
                  </a:lnTo>
                  <a:lnTo>
                    <a:pt x="54505" y="126349"/>
                  </a:lnTo>
                  <a:lnTo>
                    <a:pt x="54107" y="125155"/>
                  </a:lnTo>
                  <a:lnTo>
                    <a:pt x="53807" y="124061"/>
                  </a:lnTo>
                  <a:lnTo>
                    <a:pt x="54405" y="122867"/>
                  </a:lnTo>
                  <a:lnTo>
                    <a:pt x="59487" y="119285"/>
                  </a:lnTo>
                  <a:lnTo>
                    <a:pt x="60982" y="118589"/>
                  </a:lnTo>
                  <a:lnTo>
                    <a:pt x="65366" y="118589"/>
                  </a:lnTo>
                  <a:lnTo>
                    <a:pt x="67658" y="117893"/>
                  </a:lnTo>
                  <a:lnTo>
                    <a:pt x="72342" y="114709"/>
                  </a:lnTo>
                  <a:lnTo>
                    <a:pt x="73836" y="113117"/>
                  </a:lnTo>
                  <a:lnTo>
                    <a:pt x="72342" y="110133"/>
                  </a:lnTo>
                  <a:lnTo>
                    <a:pt x="73338" y="109038"/>
                  </a:lnTo>
                  <a:lnTo>
                    <a:pt x="77224" y="108441"/>
                  </a:lnTo>
                  <a:lnTo>
                    <a:pt x="78520" y="107347"/>
                  </a:lnTo>
                  <a:lnTo>
                    <a:pt x="79616" y="105755"/>
                  </a:lnTo>
                  <a:lnTo>
                    <a:pt x="80911" y="104362"/>
                  </a:lnTo>
                  <a:lnTo>
                    <a:pt x="82904" y="103765"/>
                  </a:lnTo>
                  <a:lnTo>
                    <a:pt x="87587" y="103069"/>
                  </a:lnTo>
                  <a:lnTo>
                    <a:pt x="90576" y="100880"/>
                  </a:lnTo>
                  <a:lnTo>
                    <a:pt x="91772" y="97398"/>
                  </a:lnTo>
                  <a:lnTo>
                    <a:pt x="91174" y="92523"/>
                  </a:lnTo>
                  <a:lnTo>
                    <a:pt x="88384" y="86653"/>
                  </a:lnTo>
                  <a:lnTo>
                    <a:pt x="87288" y="83271"/>
                  </a:lnTo>
                  <a:lnTo>
                    <a:pt x="88085" y="80684"/>
                  </a:lnTo>
                  <a:lnTo>
                    <a:pt x="88882" y="787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5CE0FC9E-D70B-46B8-8694-4C4FE043680C}"/>
                </a:ext>
              </a:extLst>
            </p:cNvPr>
            <p:cNvSpPr/>
            <p:nvPr/>
          </p:nvSpPr>
          <p:spPr>
            <a:xfrm>
              <a:off x="3704200" y="4204076"/>
              <a:ext cx="8868" cy="3780"/>
            </a:xfrm>
            <a:custGeom>
              <a:avLst/>
              <a:gdLst>
                <a:gd name="connsiteX0" fmla="*/ 100 w 8868"/>
                <a:gd name="connsiteY0" fmla="*/ 3283 h 3780"/>
                <a:gd name="connsiteX1" fmla="*/ 0 w 8868"/>
                <a:gd name="connsiteY1" fmla="*/ 3581 h 3780"/>
                <a:gd name="connsiteX2" fmla="*/ 2391 w 8868"/>
                <a:gd name="connsiteY2" fmla="*/ 3681 h 3780"/>
                <a:gd name="connsiteX3" fmla="*/ 3487 w 8868"/>
                <a:gd name="connsiteY3" fmla="*/ 3780 h 3780"/>
                <a:gd name="connsiteX4" fmla="*/ 5480 w 8868"/>
                <a:gd name="connsiteY4" fmla="*/ 3780 h 3780"/>
                <a:gd name="connsiteX5" fmla="*/ 6975 w 8868"/>
                <a:gd name="connsiteY5" fmla="*/ 3084 h 3780"/>
                <a:gd name="connsiteX6" fmla="*/ 8270 w 8868"/>
                <a:gd name="connsiteY6" fmla="*/ 1592 h 3780"/>
                <a:gd name="connsiteX7" fmla="*/ 8868 w 8868"/>
                <a:gd name="connsiteY7" fmla="*/ 99 h 3780"/>
                <a:gd name="connsiteX8" fmla="*/ 8569 w 8868"/>
                <a:gd name="connsiteY8" fmla="*/ 0 h 3780"/>
                <a:gd name="connsiteX9" fmla="*/ 7573 w 8868"/>
                <a:gd name="connsiteY9" fmla="*/ 1293 h 3780"/>
                <a:gd name="connsiteX10" fmla="*/ 6078 w 8868"/>
                <a:gd name="connsiteY10" fmla="*/ 2189 h 3780"/>
                <a:gd name="connsiteX11" fmla="*/ 4085 w 8868"/>
                <a:gd name="connsiteY11" fmla="*/ 2288 h 3780"/>
                <a:gd name="connsiteX12" fmla="*/ 2591 w 8868"/>
                <a:gd name="connsiteY12" fmla="*/ 2189 h 3780"/>
                <a:gd name="connsiteX13" fmla="*/ 1893 w 8868"/>
                <a:gd name="connsiteY13" fmla="*/ 2288 h 3780"/>
                <a:gd name="connsiteX14" fmla="*/ 896 w 8868"/>
                <a:gd name="connsiteY14" fmla="*/ 2686 h 3780"/>
                <a:gd name="connsiteX15" fmla="*/ 100 w 8868"/>
                <a:gd name="connsiteY15" fmla="*/ 3283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868" h="3780">
                  <a:moveTo>
                    <a:pt x="100" y="3283"/>
                  </a:moveTo>
                  <a:lnTo>
                    <a:pt x="0" y="3581"/>
                  </a:lnTo>
                  <a:lnTo>
                    <a:pt x="2391" y="3681"/>
                  </a:lnTo>
                  <a:lnTo>
                    <a:pt x="3487" y="3780"/>
                  </a:lnTo>
                  <a:lnTo>
                    <a:pt x="5480" y="3780"/>
                  </a:lnTo>
                  <a:lnTo>
                    <a:pt x="6975" y="3084"/>
                  </a:lnTo>
                  <a:lnTo>
                    <a:pt x="8270" y="1592"/>
                  </a:lnTo>
                  <a:lnTo>
                    <a:pt x="8868" y="99"/>
                  </a:lnTo>
                  <a:lnTo>
                    <a:pt x="8569" y="0"/>
                  </a:lnTo>
                  <a:lnTo>
                    <a:pt x="7573" y="1293"/>
                  </a:lnTo>
                  <a:lnTo>
                    <a:pt x="6078" y="2189"/>
                  </a:lnTo>
                  <a:lnTo>
                    <a:pt x="4085" y="2288"/>
                  </a:lnTo>
                  <a:lnTo>
                    <a:pt x="2591" y="2189"/>
                  </a:lnTo>
                  <a:lnTo>
                    <a:pt x="1893" y="2288"/>
                  </a:lnTo>
                  <a:lnTo>
                    <a:pt x="896" y="2686"/>
                  </a:lnTo>
                  <a:lnTo>
                    <a:pt x="100" y="328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95EFBB37-7FAC-4480-8DC6-478FC4C40371}"/>
                </a:ext>
              </a:extLst>
            </p:cNvPr>
            <p:cNvSpPr/>
            <p:nvPr/>
          </p:nvSpPr>
          <p:spPr>
            <a:xfrm>
              <a:off x="3846492" y="4186267"/>
              <a:ext cx="85096" cy="126746"/>
            </a:xfrm>
            <a:custGeom>
              <a:avLst/>
              <a:gdLst>
                <a:gd name="connsiteX0" fmla="*/ 82804 w 85096"/>
                <a:gd name="connsiteY0" fmla="*/ 57504 h 126746"/>
                <a:gd name="connsiteX1" fmla="*/ 79018 w 85096"/>
                <a:gd name="connsiteY1" fmla="*/ 55017 h 126746"/>
                <a:gd name="connsiteX2" fmla="*/ 71046 w 85096"/>
                <a:gd name="connsiteY2" fmla="*/ 49147 h 126746"/>
                <a:gd name="connsiteX3" fmla="*/ 63374 w 85096"/>
                <a:gd name="connsiteY3" fmla="*/ 41685 h 126746"/>
                <a:gd name="connsiteX4" fmla="*/ 56897 w 85096"/>
                <a:gd name="connsiteY4" fmla="*/ 32731 h 126746"/>
                <a:gd name="connsiteX5" fmla="*/ 54804 w 85096"/>
                <a:gd name="connsiteY5" fmla="*/ 31140 h 126746"/>
                <a:gd name="connsiteX6" fmla="*/ 52712 w 85096"/>
                <a:gd name="connsiteY6" fmla="*/ 30543 h 126746"/>
                <a:gd name="connsiteX7" fmla="*/ 46933 w 85096"/>
                <a:gd name="connsiteY7" fmla="*/ 30344 h 126746"/>
                <a:gd name="connsiteX8" fmla="*/ 41053 w 85096"/>
                <a:gd name="connsiteY8" fmla="*/ 28951 h 126746"/>
                <a:gd name="connsiteX9" fmla="*/ 36370 w 85096"/>
                <a:gd name="connsiteY9" fmla="*/ 26265 h 126746"/>
                <a:gd name="connsiteX10" fmla="*/ 20228 w 85096"/>
                <a:gd name="connsiteY10" fmla="*/ 14028 h 126746"/>
                <a:gd name="connsiteX11" fmla="*/ 17837 w 85096"/>
                <a:gd name="connsiteY11" fmla="*/ 13331 h 126746"/>
                <a:gd name="connsiteX12" fmla="*/ 16641 w 85096"/>
                <a:gd name="connsiteY12" fmla="*/ 11839 h 126746"/>
                <a:gd name="connsiteX13" fmla="*/ 15544 w 85096"/>
                <a:gd name="connsiteY13" fmla="*/ 9252 h 126746"/>
                <a:gd name="connsiteX14" fmla="*/ 14150 w 85096"/>
                <a:gd name="connsiteY14" fmla="*/ 7959 h 126746"/>
                <a:gd name="connsiteX15" fmla="*/ 12157 w 85096"/>
                <a:gd name="connsiteY15" fmla="*/ 10546 h 126746"/>
                <a:gd name="connsiteX16" fmla="*/ 11858 w 85096"/>
                <a:gd name="connsiteY16" fmla="*/ 7561 h 126746"/>
                <a:gd name="connsiteX17" fmla="*/ 11858 w 85096"/>
                <a:gd name="connsiteY17" fmla="*/ 5273 h 126746"/>
                <a:gd name="connsiteX18" fmla="*/ 12456 w 85096"/>
                <a:gd name="connsiteY18" fmla="*/ 3084 h 126746"/>
                <a:gd name="connsiteX19" fmla="*/ 13851 w 85096"/>
                <a:gd name="connsiteY19" fmla="*/ 995 h 126746"/>
                <a:gd name="connsiteX20" fmla="*/ 12356 w 85096"/>
                <a:gd name="connsiteY20" fmla="*/ 199 h 126746"/>
                <a:gd name="connsiteX21" fmla="*/ 10463 w 85096"/>
                <a:gd name="connsiteY21" fmla="*/ 0 h 126746"/>
                <a:gd name="connsiteX22" fmla="*/ 6079 w 85096"/>
                <a:gd name="connsiteY22" fmla="*/ 0 h 126746"/>
                <a:gd name="connsiteX23" fmla="*/ 6975 w 85096"/>
                <a:gd name="connsiteY23" fmla="*/ 0 h 126746"/>
                <a:gd name="connsiteX24" fmla="*/ 4882 w 85096"/>
                <a:gd name="connsiteY24" fmla="*/ 10347 h 126746"/>
                <a:gd name="connsiteX25" fmla="*/ 3189 w 85096"/>
                <a:gd name="connsiteY25" fmla="*/ 15719 h 126746"/>
                <a:gd name="connsiteX26" fmla="*/ 0 w 85096"/>
                <a:gd name="connsiteY26" fmla="*/ 19002 h 126746"/>
                <a:gd name="connsiteX27" fmla="*/ 1893 w 85096"/>
                <a:gd name="connsiteY27" fmla="*/ 19301 h 126746"/>
                <a:gd name="connsiteX28" fmla="*/ 6377 w 85096"/>
                <a:gd name="connsiteY28" fmla="*/ 16913 h 126746"/>
                <a:gd name="connsiteX29" fmla="*/ 9068 w 85096"/>
                <a:gd name="connsiteY29" fmla="*/ 16216 h 126746"/>
                <a:gd name="connsiteX30" fmla="*/ 11559 w 85096"/>
                <a:gd name="connsiteY30" fmla="*/ 16415 h 126746"/>
                <a:gd name="connsiteX31" fmla="*/ 16740 w 85096"/>
                <a:gd name="connsiteY31" fmla="*/ 17808 h 126746"/>
                <a:gd name="connsiteX32" fmla="*/ 19530 w 85096"/>
                <a:gd name="connsiteY32" fmla="*/ 18007 h 126746"/>
                <a:gd name="connsiteX33" fmla="*/ 24513 w 85096"/>
                <a:gd name="connsiteY33" fmla="*/ 19499 h 126746"/>
                <a:gd name="connsiteX34" fmla="*/ 32185 w 85096"/>
                <a:gd name="connsiteY34" fmla="*/ 26762 h 126746"/>
                <a:gd name="connsiteX35" fmla="*/ 37367 w 85096"/>
                <a:gd name="connsiteY35" fmla="*/ 29349 h 126746"/>
                <a:gd name="connsiteX36" fmla="*/ 47530 w 85096"/>
                <a:gd name="connsiteY36" fmla="*/ 31637 h 126746"/>
                <a:gd name="connsiteX37" fmla="*/ 52313 w 85096"/>
                <a:gd name="connsiteY37" fmla="*/ 33328 h 126746"/>
                <a:gd name="connsiteX38" fmla="*/ 55602 w 85096"/>
                <a:gd name="connsiteY38" fmla="*/ 36014 h 126746"/>
                <a:gd name="connsiteX39" fmla="*/ 65964 w 85096"/>
                <a:gd name="connsiteY39" fmla="*/ 51136 h 126746"/>
                <a:gd name="connsiteX40" fmla="*/ 69950 w 85096"/>
                <a:gd name="connsiteY40" fmla="*/ 54220 h 126746"/>
                <a:gd name="connsiteX41" fmla="*/ 74534 w 85096"/>
                <a:gd name="connsiteY41" fmla="*/ 56608 h 126746"/>
                <a:gd name="connsiteX42" fmla="*/ 78520 w 85096"/>
                <a:gd name="connsiteY42" fmla="*/ 59991 h 126746"/>
                <a:gd name="connsiteX43" fmla="*/ 80812 w 85096"/>
                <a:gd name="connsiteY43" fmla="*/ 66259 h 126746"/>
                <a:gd name="connsiteX44" fmla="*/ 80812 w 85096"/>
                <a:gd name="connsiteY44" fmla="*/ 69243 h 126746"/>
                <a:gd name="connsiteX45" fmla="*/ 79815 w 85096"/>
                <a:gd name="connsiteY45" fmla="*/ 77103 h 126746"/>
                <a:gd name="connsiteX46" fmla="*/ 79317 w 85096"/>
                <a:gd name="connsiteY46" fmla="*/ 78098 h 126746"/>
                <a:gd name="connsiteX47" fmla="*/ 75630 w 85096"/>
                <a:gd name="connsiteY47" fmla="*/ 81480 h 126746"/>
                <a:gd name="connsiteX48" fmla="*/ 74833 w 85096"/>
                <a:gd name="connsiteY48" fmla="*/ 82376 h 126746"/>
                <a:gd name="connsiteX49" fmla="*/ 74534 w 85096"/>
                <a:gd name="connsiteY49" fmla="*/ 82873 h 126746"/>
                <a:gd name="connsiteX50" fmla="*/ 73737 w 85096"/>
                <a:gd name="connsiteY50" fmla="*/ 85261 h 126746"/>
                <a:gd name="connsiteX51" fmla="*/ 72740 w 85096"/>
                <a:gd name="connsiteY51" fmla="*/ 91528 h 126746"/>
                <a:gd name="connsiteX52" fmla="*/ 72541 w 85096"/>
                <a:gd name="connsiteY52" fmla="*/ 95010 h 126746"/>
                <a:gd name="connsiteX53" fmla="*/ 73339 w 85096"/>
                <a:gd name="connsiteY53" fmla="*/ 96602 h 126746"/>
                <a:gd name="connsiteX54" fmla="*/ 74633 w 85096"/>
                <a:gd name="connsiteY54" fmla="*/ 95309 h 126746"/>
                <a:gd name="connsiteX55" fmla="*/ 76128 w 85096"/>
                <a:gd name="connsiteY55" fmla="*/ 93120 h 126746"/>
                <a:gd name="connsiteX56" fmla="*/ 77124 w 85096"/>
                <a:gd name="connsiteY56" fmla="*/ 92424 h 126746"/>
                <a:gd name="connsiteX57" fmla="*/ 77224 w 85096"/>
                <a:gd name="connsiteY57" fmla="*/ 95508 h 126746"/>
                <a:gd name="connsiteX58" fmla="*/ 76926 w 85096"/>
                <a:gd name="connsiteY58" fmla="*/ 97498 h 126746"/>
                <a:gd name="connsiteX59" fmla="*/ 76328 w 85096"/>
                <a:gd name="connsiteY59" fmla="*/ 98691 h 126746"/>
                <a:gd name="connsiteX60" fmla="*/ 74235 w 85096"/>
                <a:gd name="connsiteY60" fmla="*/ 100781 h 126746"/>
                <a:gd name="connsiteX61" fmla="*/ 73537 w 85096"/>
                <a:gd name="connsiteY61" fmla="*/ 101676 h 126746"/>
                <a:gd name="connsiteX62" fmla="*/ 73039 w 85096"/>
                <a:gd name="connsiteY62" fmla="*/ 102770 h 126746"/>
                <a:gd name="connsiteX63" fmla="*/ 72441 w 85096"/>
                <a:gd name="connsiteY63" fmla="*/ 103666 h 126746"/>
                <a:gd name="connsiteX64" fmla="*/ 71644 w 85096"/>
                <a:gd name="connsiteY64" fmla="*/ 104064 h 126746"/>
                <a:gd name="connsiteX65" fmla="*/ 59189 w 85096"/>
                <a:gd name="connsiteY65" fmla="*/ 101975 h 126746"/>
                <a:gd name="connsiteX66" fmla="*/ 57096 w 85096"/>
                <a:gd name="connsiteY66" fmla="*/ 102074 h 126746"/>
                <a:gd name="connsiteX67" fmla="*/ 56797 w 85096"/>
                <a:gd name="connsiteY67" fmla="*/ 103367 h 126746"/>
                <a:gd name="connsiteX68" fmla="*/ 59488 w 85096"/>
                <a:gd name="connsiteY68" fmla="*/ 106451 h 126746"/>
                <a:gd name="connsiteX69" fmla="*/ 61879 w 85096"/>
                <a:gd name="connsiteY69" fmla="*/ 107944 h 126746"/>
                <a:gd name="connsiteX70" fmla="*/ 67359 w 85096"/>
                <a:gd name="connsiteY70" fmla="*/ 110133 h 126746"/>
                <a:gd name="connsiteX71" fmla="*/ 69452 w 85096"/>
                <a:gd name="connsiteY71" fmla="*/ 111625 h 126746"/>
                <a:gd name="connsiteX72" fmla="*/ 71246 w 85096"/>
                <a:gd name="connsiteY72" fmla="*/ 115505 h 126746"/>
                <a:gd name="connsiteX73" fmla="*/ 72641 w 85096"/>
                <a:gd name="connsiteY73" fmla="*/ 120579 h 126746"/>
                <a:gd name="connsiteX74" fmla="*/ 74833 w 85096"/>
                <a:gd name="connsiteY74" fmla="*/ 124857 h 126746"/>
                <a:gd name="connsiteX75" fmla="*/ 79018 w 85096"/>
                <a:gd name="connsiteY75" fmla="*/ 126747 h 126746"/>
                <a:gd name="connsiteX76" fmla="*/ 77324 w 85096"/>
                <a:gd name="connsiteY76" fmla="*/ 122369 h 126746"/>
                <a:gd name="connsiteX77" fmla="*/ 76926 w 85096"/>
                <a:gd name="connsiteY77" fmla="*/ 116997 h 126746"/>
                <a:gd name="connsiteX78" fmla="*/ 77224 w 85096"/>
                <a:gd name="connsiteY78" fmla="*/ 107347 h 126746"/>
                <a:gd name="connsiteX79" fmla="*/ 77922 w 85096"/>
                <a:gd name="connsiteY79" fmla="*/ 105457 h 126746"/>
                <a:gd name="connsiteX80" fmla="*/ 80911 w 85096"/>
                <a:gd name="connsiteY80" fmla="*/ 100681 h 126746"/>
                <a:gd name="connsiteX81" fmla="*/ 81609 w 85096"/>
                <a:gd name="connsiteY81" fmla="*/ 97896 h 126746"/>
                <a:gd name="connsiteX82" fmla="*/ 82107 w 85096"/>
                <a:gd name="connsiteY82" fmla="*/ 91329 h 126746"/>
                <a:gd name="connsiteX83" fmla="*/ 81609 w 85096"/>
                <a:gd name="connsiteY83" fmla="*/ 89041 h 126746"/>
                <a:gd name="connsiteX84" fmla="*/ 80014 w 85096"/>
                <a:gd name="connsiteY84" fmla="*/ 85559 h 126746"/>
                <a:gd name="connsiteX85" fmla="*/ 79417 w 85096"/>
                <a:gd name="connsiteY85" fmla="*/ 83072 h 126746"/>
                <a:gd name="connsiteX86" fmla="*/ 79815 w 85096"/>
                <a:gd name="connsiteY86" fmla="*/ 80386 h 126746"/>
                <a:gd name="connsiteX87" fmla="*/ 80513 w 85096"/>
                <a:gd name="connsiteY87" fmla="*/ 79988 h 126746"/>
                <a:gd name="connsiteX88" fmla="*/ 81708 w 85096"/>
                <a:gd name="connsiteY88" fmla="*/ 79490 h 126746"/>
                <a:gd name="connsiteX89" fmla="*/ 82904 w 85096"/>
                <a:gd name="connsiteY89" fmla="*/ 78595 h 126746"/>
                <a:gd name="connsiteX90" fmla="*/ 83402 w 85096"/>
                <a:gd name="connsiteY90" fmla="*/ 77103 h 126746"/>
                <a:gd name="connsiteX91" fmla="*/ 83502 w 85096"/>
                <a:gd name="connsiteY91" fmla="*/ 75909 h 126746"/>
                <a:gd name="connsiteX92" fmla="*/ 84100 w 85096"/>
                <a:gd name="connsiteY92" fmla="*/ 73720 h 126746"/>
                <a:gd name="connsiteX93" fmla="*/ 85096 w 85096"/>
                <a:gd name="connsiteY93" fmla="*/ 61980 h 126746"/>
                <a:gd name="connsiteX94" fmla="*/ 84399 w 85096"/>
                <a:gd name="connsiteY94" fmla="*/ 59394 h 126746"/>
                <a:gd name="connsiteX95" fmla="*/ 82804 w 85096"/>
                <a:gd name="connsiteY95" fmla="*/ 57504 h 126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85096" h="126746">
                  <a:moveTo>
                    <a:pt x="82804" y="57504"/>
                  </a:moveTo>
                  <a:lnTo>
                    <a:pt x="79018" y="55017"/>
                  </a:lnTo>
                  <a:lnTo>
                    <a:pt x="71046" y="49147"/>
                  </a:lnTo>
                  <a:lnTo>
                    <a:pt x="63374" y="41685"/>
                  </a:lnTo>
                  <a:lnTo>
                    <a:pt x="56897" y="32731"/>
                  </a:lnTo>
                  <a:lnTo>
                    <a:pt x="54804" y="31140"/>
                  </a:lnTo>
                  <a:lnTo>
                    <a:pt x="52712" y="30543"/>
                  </a:lnTo>
                  <a:lnTo>
                    <a:pt x="46933" y="30344"/>
                  </a:lnTo>
                  <a:lnTo>
                    <a:pt x="41053" y="28951"/>
                  </a:lnTo>
                  <a:lnTo>
                    <a:pt x="36370" y="26265"/>
                  </a:lnTo>
                  <a:lnTo>
                    <a:pt x="20228" y="14028"/>
                  </a:lnTo>
                  <a:lnTo>
                    <a:pt x="17837" y="13331"/>
                  </a:lnTo>
                  <a:lnTo>
                    <a:pt x="16641" y="11839"/>
                  </a:lnTo>
                  <a:lnTo>
                    <a:pt x="15544" y="9252"/>
                  </a:lnTo>
                  <a:lnTo>
                    <a:pt x="14150" y="7959"/>
                  </a:lnTo>
                  <a:lnTo>
                    <a:pt x="12157" y="10546"/>
                  </a:lnTo>
                  <a:lnTo>
                    <a:pt x="11858" y="7561"/>
                  </a:lnTo>
                  <a:lnTo>
                    <a:pt x="11858" y="5273"/>
                  </a:lnTo>
                  <a:lnTo>
                    <a:pt x="12456" y="3084"/>
                  </a:lnTo>
                  <a:lnTo>
                    <a:pt x="13851" y="995"/>
                  </a:lnTo>
                  <a:lnTo>
                    <a:pt x="12356" y="199"/>
                  </a:lnTo>
                  <a:lnTo>
                    <a:pt x="10463" y="0"/>
                  </a:lnTo>
                  <a:lnTo>
                    <a:pt x="6079" y="0"/>
                  </a:lnTo>
                  <a:lnTo>
                    <a:pt x="6975" y="0"/>
                  </a:lnTo>
                  <a:lnTo>
                    <a:pt x="4882" y="10347"/>
                  </a:lnTo>
                  <a:lnTo>
                    <a:pt x="3189" y="15719"/>
                  </a:lnTo>
                  <a:lnTo>
                    <a:pt x="0" y="19002"/>
                  </a:lnTo>
                  <a:lnTo>
                    <a:pt x="1893" y="19301"/>
                  </a:lnTo>
                  <a:lnTo>
                    <a:pt x="6377" y="16913"/>
                  </a:lnTo>
                  <a:lnTo>
                    <a:pt x="9068" y="16216"/>
                  </a:lnTo>
                  <a:lnTo>
                    <a:pt x="11559" y="16415"/>
                  </a:lnTo>
                  <a:lnTo>
                    <a:pt x="16740" y="17808"/>
                  </a:lnTo>
                  <a:lnTo>
                    <a:pt x="19530" y="18007"/>
                  </a:lnTo>
                  <a:lnTo>
                    <a:pt x="24513" y="19499"/>
                  </a:lnTo>
                  <a:lnTo>
                    <a:pt x="32185" y="26762"/>
                  </a:lnTo>
                  <a:lnTo>
                    <a:pt x="37367" y="29349"/>
                  </a:lnTo>
                  <a:lnTo>
                    <a:pt x="47530" y="31637"/>
                  </a:lnTo>
                  <a:lnTo>
                    <a:pt x="52313" y="33328"/>
                  </a:lnTo>
                  <a:lnTo>
                    <a:pt x="55602" y="36014"/>
                  </a:lnTo>
                  <a:lnTo>
                    <a:pt x="65964" y="51136"/>
                  </a:lnTo>
                  <a:lnTo>
                    <a:pt x="69950" y="54220"/>
                  </a:lnTo>
                  <a:lnTo>
                    <a:pt x="74534" y="56608"/>
                  </a:lnTo>
                  <a:lnTo>
                    <a:pt x="78520" y="59991"/>
                  </a:lnTo>
                  <a:lnTo>
                    <a:pt x="80812" y="66259"/>
                  </a:lnTo>
                  <a:lnTo>
                    <a:pt x="80812" y="69243"/>
                  </a:lnTo>
                  <a:lnTo>
                    <a:pt x="79815" y="77103"/>
                  </a:lnTo>
                  <a:lnTo>
                    <a:pt x="79317" y="78098"/>
                  </a:lnTo>
                  <a:lnTo>
                    <a:pt x="75630" y="81480"/>
                  </a:lnTo>
                  <a:lnTo>
                    <a:pt x="74833" y="82376"/>
                  </a:lnTo>
                  <a:lnTo>
                    <a:pt x="74534" y="82873"/>
                  </a:lnTo>
                  <a:lnTo>
                    <a:pt x="73737" y="85261"/>
                  </a:lnTo>
                  <a:lnTo>
                    <a:pt x="72740" y="91528"/>
                  </a:lnTo>
                  <a:lnTo>
                    <a:pt x="72541" y="95010"/>
                  </a:lnTo>
                  <a:lnTo>
                    <a:pt x="73339" y="96602"/>
                  </a:lnTo>
                  <a:lnTo>
                    <a:pt x="74633" y="95309"/>
                  </a:lnTo>
                  <a:lnTo>
                    <a:pt x="76128" y="93120"/>
                  </a:lnTo>
                  <a:lnTo>
                    <a:pt x="77124" y="92424"/>
                  </a:lnTo>
                  <a:lnTo>
                    <a:pt x="77224" y="95508"/>
                  </a:lnTo>
                  <a:lnTo>
                    <a:pt x="76926" y="97498"/>
                  </a:lnTo>
                  <a:lnTo>
                    <a:pt x="76328" y="98691"/>
                  </a:lnTo>
                  <a:lnTo>
                    <a:pt x="74235" y="100781"/>
                  </a:lnTo>
                  <a:lnTo>
                    <a:pt x="73537" y="101676"/>
                  </a:lnTo>
                  <a:lnTo>
                    <a:pt x="73039" y="102770"/>
                  </a:lnTo>
                  <a:lnTo>
                    <a:pt x="72441" y="103666"/>
                  </a:lnTo>
                  <a:lnTo>
                    <a:pt x="71644" y="104064"/>
                  </a:lnTo>
                  <a:lnTo>
                    <a:pt x="59189" y="101975"/>
                  </a:lnTo>
                  <a:lnTo>
                    <a:pt x="57096" y="102074"/>
                  </a:lnTo>
                  <a:lnTo>
                    <a:pt x="56797" y="103367"/>
                  </a:lnTo>
                  <a:lnTo>
                    <a:pt x="59488" y="106451"/>
                  </a:lnTo>
                  <a:lnTo>
                    <a:pt x="61879" y="107944"/>
                  </a:lnTo>
                  <a:lnTo>
                    <a:pt x="67359" y="110133"/>
                  </a:lnTo>
                  <a:lnTo>
                    <a:pt x="69452" y="111625"/>
                  </a:lnTo>
                  <a:lnTo>
                    <a:pt x="71246" y="115505"/>
                  </a:lnTo>
                  <a:lnTo>
                    <a:pt x="72641" y="120579"/>
                  </a:lnTo>
                  <a:lnTo>
                    <a:pt x="74833" y="124857"/>
                  </a:lnTo>
                  <a:lnTo>
                    <a:pt x="79018" y="126747"/>
                  </a:lnTo>
                  <a:lnTo>
                    <a:pt x="77324" y="122369"/>
                  </a:lnTo>
                  <a:lnTo>
                    <a:pt x="76926" y="116997"/>
                  </a:lnTo>
                  <a:lnTo>
                    <a:pt x="77224" y="107347"/>
                  </a:lnTo>
                  <a:lnTo>
                    <a:pt x="77922" y="105457"/>
                  </a:lnTo>
                  <a:lnTo>
                    <a:pt x="80911" y="100681"/>
                  </a:lnTo>
                  <a:lnTo>
                    <a:pt x="81609" y="97896"/>
                  </a:lnTo>
                  <a:lnTo>
                    <a:pt x="82107" y="91329"/>
                  </a:lnTo>
                  <a:lnTo>
                    <a:pt x="81609" y="89041"/>
                  </a:lnTo>
                  <a:lnTo>
                    <a:pt x="80014" y="85559"/>
                  </a:lnTo>
                  <a:lnTo>
                    <a:pt x="79417" y="83072"/>
                  </a:lnTo>
                  <a:lnTo>
                    <a:pt x="79815" y="80386"/>
                  </a:lnTo>
                  <a:lnTo>
                    <a:pt x="80513" y="79988"/>
                  </a:lnTo>
                  <a:lnTo>
                    <a:pt x="81708" y="79490"/>
                  </a:lnTo>
                  <a:lnTo>
                    <a:pt x="82904" y="78595"/>
                  </a:lnTo>
                  <a:lnTo>
                    <a:pt x="83402" y="77103"/>
                  </a:lnTo>
                  <a:lnTo>
                    <a:pt x="83502" y="75909"/>
                  </a:lnTo>
                  <a:lnTo>
                    <a:pt x="84100" y="73720"/>
                  </a:lnTo>
                  <a:lnTo>
                    <a:pt x="85096" y="61980"/>
                  </a:lnTo>
                  <a:lnTo>
                    <a:pt x="84399" y="59394"/>
                  </a:lnTo>
                  <a:lnTo>
                    <a:pt x="82804" y="5750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D1924B5E-62D9-46A1-89E9-8530476AFFC4}"/>
                </a:ext>
              </a:extLst>
            </p:cNvPr>
            <p:cNvSpPr/>
            <p:nvPr/>
          </p:nvSpPr>
          <p:spPr>
            <a:xfrm>
              <a:off x="3706691" y="4155028"/>
              <a:ext cx="8668" cy="11341"/>
            </a:xfrm>
            <a:custGeom>
              <a:avLst/>
              <a:gdLst>
                <a:gd name="connsiteX0" fmla="*/ 3687 w 8668"/>
                <a:gd name="connsiteY0" fmla="*/ 1691 h 11341"/>
                <a:gd name="connsiteX1" fmla="*/ 2491 w 8668"/>
                <a:gd name="connsiteY1" fmla="*/ 298 h 11341"/>
                <a:gd name="connsiteX2" fmla="*/ 896 w 8668"/>
                <a:gd name="connsiteY2" fmla="*/ 0 h 11341"/>
                <a:gd name="connsiteX3" fmla="*/ 0 w 8668"/>
                <a:gd name="connsiteY3" fmla="*/ 1095 h 11341"/>
                <a:gd name="connsiteX4" fmla="*/ 896 w 8668"/>
                <a:gd name="connsiteY4" fmla="*/ 2885 h 11341"/>
                <a:gd name="connsiteX5" fmla="*/ 3487 w 8668"/>
                <a:gd name="connsiteY5" fmla="*/ 5671 h 11341"/>
                <a:gd name="connsiteX6" fmla="*/ 5480 w 8668"/>
                <a:gd name="connsiteY6" fmla="*/ 9352 h 11341"/>
                <a:gd name="connsiteX7" fmla="*/ 7074 w 8668"/>
                <a:gd name="connsiteY7" fmla="*/ 11242 h 11341"/>
                <a:gd name="connsiteX8" fmla="*/ 8669 w 8668"/>
                <a:gd name="connsiteY8" fmla="*/ 11342 h 11341"/>
                <a:gd name="connsiteX9" fmla="*/ 8470 w 8668"/>
                <a:gd name="connsiteY9" fmla="*/ 10148 h 11341"/>
                <a:gd name="connsiteX10" fmla="*/ 3687 w 8668"/>
                <a:gd name="connsiteY10" fmla="*/ 1691 h 11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668" h="11341">
                  <a:moveTo>
                    <a:pt x="3687" y="1691"/>
                  </a:moveTo>
                  <a:lnTo>
                    <a:pt x="2491" y="298"/>
                  </a:lnTo>
                  <a:lnTo>
                    <a:pt x="896" y="0"/>
                  </a:lnTo>
                  <a:lnTo>
                    <a:pt x="0" y="1095"/>
                  </a:lnTo>
                  <a:lnTo>
                    <a:pt x="896" y="2885"/>
                  </a:lnTo>
                  <a:lnTo>
                    <a:pt x="3487" y="5671"/>
                  </a:lnTo>
                  <a:lnTo>
                    <a:pt x="5480" y="9352"/>
                  </a:lnTo>
                  <a:lnTo>
                    <a:pt x="7074" y="11242"/>
                  </a:lnTo>
                  <a:lnTo>
                    <a:pt x="8669" y="11342"/>
                  </a:lnTo>
                  <a:lnTo>
                    <a:pt x="8470" y="10148"/>
                  </a:lnTo>
                  <a:lnTo>
                    <a:pt x="3687" y="169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8186D067-9EAF-4F5D-901A-9F8098CB4A01}"/>
                </a:ext>
              </a:extLst>
            </p:cNvPr>
            <p:cNvSpPr/>
            <p:nvPr/>
          </p:nvSpPr>
          <p:spPr>
            <a:xfrm>
              <a:off x="3745752" y="4079119"/>
              <a:ext cx="5181" cy="9551"/>
            </a:xfrm>
            <a:custGeom>
              <a:avLst/>
              <a:gdLst>
                <a:gd name="connsiteX0" fmla="*/ 4684 w 5181"/>
                <a:gd name="connsiteY0" fmla="*/ 5372 h 9551"/>
                <a:gd name="connsiteX1" fmla="*/ 5182 w 5181"/>
                <a:gd name="connsiteY1" fmla="*/ 4278 h 9551"/>
                <a:gd name="connsiteX2" fmla="*/ 4484 w 5181"/>
                <a:gd name="connsiteY2" fmla="*/ 3383 h 9551"/>
                <a:gd name="connsiteX3" fmla="*/ 1096 w 5181"/>
                <a:gd name="connsiteY3" fmla="*/ 696 h 9551"/>
                <a:gd name="connsiteX4" fmla="*/ 0 w 5181"/>
                <a:gd name="connsiteY4" fmla="*/ 0 h 9551"/>
                <a:gd name="connsiteX5" fmla="*/ 0 w 5181"/>
                <a:gd name="connsiteY5" fmla="*/ 2686 h 9551"/>
                <a:gd name="connsiteX6" fmla="*/ 897 w 5181"/>
                <a:gd name="connsiteY6" fmla="*/ 4477 h 9551"/>
                <a:gd name="connsiteX7" fmla="*/ 1594 w 5181"/>
                <a:gd name="connsiteY7" fmla="*/ 6467 h 9551"/>
                <a:gd name="connsiteX8" fmla="*/ 897 w 5181"/>
                <a:gd name="connsiteY8" fmla="*/ 9551 h 9551"/>
                <a:gd name="connsiteX9" fmla="*/ 4684 w 5181"/>
                <a:gd name="connsiteY9" fmla="*/ 5372 h 9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181" h="9551">
                  <a:moveTo>
                    <a:pt x="4684" y="5372"/>
                  </a:moveTo>
                  <a:lnTo>
                    <a:pt x="5182" y="4278"/>
                  </a:lnTo>
                  <a:lnTo>
                    <a:pt x="4484" y="3383"/>
                  </a:lnTo>
                  <a:lnTo>
                    <a:pt x="1096" y="696"/>
                  </a:lnTo>
                  <a:lnTo>
                    <a:pt x="0" y="0"/>
                  </a:lnTo>
                  <a:lnTo>
                    <a:pt x="0" y="2686"/>
                  </a:lnTo>
                  <a:lnTo>
                    <a:pt x="897" y="4477"/>
                  </a:lnTo>
                  <a:lnTo>
                    <a:pt x="1594" y="6467"/>
                  </a:lnTo>
                  <a:lnTo>
                    <a:pt x="897" y="9551"/>
                  </a:lnTo>
                  <a:lnTo>
                    <a:pt x="4684" y="537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FDFF1F62-EB3D-4297-A43A-320D70889493}"/>
                </a:ext>
              </a:extLst>
            </p:cNvPr>
            <p:cNvSpPr/>
            <p:nvPr/>
          </p:nvSpPr>
          <p:spPr>
            <a:xfrm>
              <a:off x="3783915" y="4059321"/>
              <a:ext cx="5380" cy="5770"/>
            </a:xfrm>
            <a:custGeom>
              <a:avLst/>
              <a:gdLst>
                <a:gd name="connsiteX0" fmla="*/ 4982 w 5380"/>
                <a:gd name="connsiteY0" fmla="*/ 1393 h 5770"/>
                <a:gd name="connsiteX1" fmla="*/ 5281 w 5380"/>
                <a:gd name="connsiteY1" fmla="*/ 1393 h 5770"/>
                <a:gd name="connsiteX2" fmla="*/ 5381 w 5380"/>
                <a:gd name="connsiteY2" fmla="*/ 1293 h 5770"/>
                <a:gd name="connsiteX3" fmla="*/ 5082 w 5380"/>
                <a:gd name="connsiteY3" fmla="*/ 796 h 5770"/>
                <a:gd name="connsiteX4" fmla="*/ 4285 w 5380"/>
                <a:gd name="connsiteY4" fmla="*/ 199 h 5770"/>
                <a:gd name="connsiteX5" fmla="*/ 3089 w 5380"/>
                <a:gd name="connsiteY5" fmla="*/ 0 h 5770"/>
                <a:gd name="connsiteX6" fmla="*/ 2092 w 5380"/>
                <a:gd name="connsiteY6" fmla="*/ 298 h 5770"/>
                <a:gd name="connsiteX7" fmla="*/ 1395 w 5380"/>
                <a:gd name="connsiteY7" fmla="*/ 995 h 5770"/>
                <a:gd name="connsiteX8" fmla="*/ 698 w 5380"/>
                <a:gd name="connsiteY8" fmla="*/ 1393 h 5770"/>
                <a:gd name="connsiteX9" fmla="*/ 199 w 5380"/>
                <a:gd name="connsiteY9" fmla="*/ 1393 h 5770"/>
                <a:gd name="connsiteX10" fmla="*/ 0 w 5380"/>
                <a:gd name="connsiteY10" fmla="*/ 1890 h 5770"/>
                <a:gd name="connsiteX11" fmla="*/ 797 w 5380"/>
                <a:gd name="connsiteY11" fmla="*/ 2686 h 5770"/>
                <a:gd name="connsiteX12" fmla="*/ 1395 w 5380"/>
                <a:gd name="connsiteY12" fmla="*/ 3681 h 5770"/>
                <a:gd name="connsiteX13" fmla="*/ 1893 w 5380"/>
                <a:gd name="connsiteY13" fmla="*/ 5174 h 5770"/>
                <a:gd name="connsiteX14" fmla="*/ 2989 w 5380"/>
                <a:gd name="connsiteY14" fmla="*/ 5770 h 5770"/>
                <a:gd name="connsiteX15" fmla="*/ 3487 w 5380"/>
                <a:gd name="connsiteY15" fmla="*/ 5770 h 5770"/>
                <a:gd name="connsiteX16" fmla="*/ 3985 w 5380"/>
                <a:gd name="connsiteY16" fmla="*/ 5770 h 5770"/>
                <a:gd name="connsiteX17" fmla="*/ 4683 w 5380"/>
                <a:gd name="connsiteY17" fmla="*/ 5174 h 5770"/>
                <a:gd name="connsiteX18" fmla="*/ 4384 w 5380"/>
                <a:gd name="connsiteY18" fmla="*/ 3582 h 5770"/>
                <a:gd name="connsiteX19" fmla="*/ 4583 w 5380"/>
                <a:gd name="connsiteY19" fmla="*/ 1890 h 5770"/>
                <a:gd name="connsiteX20" fmla="*/ 4783 w 5380"/>
                <a:gd name="connsiteY20" fmla="*/ 1791 h 5770"/>
                <a:gd name="connsiteX21" fmla="*/ 4683 w 5380"/>
                <a:gd name="connsiteY21" fmla="*/ 1791 h 5770"/>
                <a:gd name="connsiteX22" fmla="*/ 4484 w 5380"/>
                <a:gd name="connsiteY22" fmla="*/ 1492 h 5770"/>
                <a:gd name="connsiteX23" fmla="*/ 4583 w 5380"/>
                <a:gd name="connsiteY23" fmla="*/ 1293 h 5770"/>
                <a:gd name="connsiteX24" fmla="*/ 4982 w 5380"/>
                <a:gd name="connsiteY24" fmla="*/ 1393 h 5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380" h="5770">
                  <a:moveTo>
                    <a:pt x="4982" y="1393"/>
                  </a:moveTo>
                  <a:lnTo>
                    <a:pt x="5281" y="1393"/>
                  </a:lnTo>
                  <a:lnTo>
                    <a:pt x="5381" y="1293"/>
                  </a:lnTo>
                  <a:lnTo>
                    <a:pt x="5082" y="796"/>
                  </a:lnTo>
                  <a:lnTo>
                    <a:pt x="4285" y="199"/>
                  </a:lnTo>
                  <a:lnTo>
                    <a:pt x="3089" y="0"/>
                  </a:lnTo>
                  <a:lnTo>
                    <a:pt x="2092" y="298"/>
                  </a:lnTo>
                  <a:lnTo>
                    <a:pt x="1395" y="995"/>
                  </a:lnTo>
                  <a:lnTo>
                    <a:pt x="698" y="1393"/>
                  </a:lnTo>
                  <a:lnTo>
                    <a:pt x="199" y="1393"/>
                  </a:lnTo>
                  <a:lnTo>
                    <a:pt x="0" y="1890"/>
                  </a:lnTo>
                  <a:lnTo>
                    <a:pt x="797" y="2686"/>
                  </a:lnTo>
                  <a:lnTo>
                    <a:pt x="1395" y="3681"/>
                  </a:lnTo>
                  <a:lnTo>
                    <a:pt x="1893" y="5174"/>
                  </a:lnTo>
                  <a:lnTo>
                    <a:pt x="2989" y="5770"/>
                  </a:lnTo>
                  <a:lnTo>
                    <a:pt x="3487" y="5770"/>
                  </a:lnTo>
                  <a:lnTo>
                    <a:pt x="3985" y="5770"/>
                  </a:lnTo>
                  <a:lnTo>
                    <a:pt x="4683" y="5174"/>
                  </a:lnTo>
                  <a:lnTo>
                    <a:pt x="4384" y="3582"/>
                  </a:lnTo>
                  <a:lnTo>
                    <a:pt x="4583" y="1890"/>
                  </a:lnTo>
                  <a:lnTo>
                    <a:pt x="4783" y="1791"/>
                  </a:lnTo>
                  <a:lnTo>
                    <a:pt x="4683" y="1791"/>
                  </a:lnTo>
                  <a:lnTo>
                    <a:pt x="4484" y="1492"/>
                  </a:lnTo>
                  <a:lnTo>
                    <a:pt x="4583" y="1293"/>
                  </a:lnTo>
                  <a:lnTo>
                    <a:pt x="4982" y="13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F45CFBCA-B19F-489D-AA3C-DD9DE7D92900}"/>
                </a:ext>
              </a:extLst>
            </p:cNvPr>
            <p:cNvSpPr/>
            <p:nvPr/>
          </p:nvSpPr>
          <p:spPr>
            <a:xfrm>
              <a:off x="3705994" y="4040717"/>
              <a:ext cx="7373" cy="6864"/>
            </a:xfrm>
            <a:custGeom>
              <a:avLst/>
              <a:gdLst>
                <a:gd name="connsiteX0" fmla="*/ 5082 w 7373"/>
                <a:gd name="connsiteY0" fmla="*/ 895 h 6864"/>
                <a:gd name="connsiteX1" fmla="*/ 4484 w 7373"/>
                <a:gd name="connsiteY1" fmla="*/ 298 h 6864"/>
                <a:gd name="connsiteX2" fmla="*/ 698 w 7373"/>
                <a:gd name="connsiteY2" fmla="*/ 995 h 6864"/>
                <a:gd name="connsiteX3" fmla="*/ 0 w 7373"/>
                <a:gd name="connsiteY3" fmla="*/ 1492 h 6864"/>
                <a:gd name="connsiteX4" fmla="*/ 299 w 7373"/>
                <a:gd name="connsiteY4" fmla="*/ 2686 h 6864"/>
                <a:gd name="connsiteX5" fmla="*/ 797 w 7373"/>
                <a:gd name="connsiteY5" fmla="*/ 3880 h 6864"/>
                <a:gd name="connsiteX6" fmla="*/ 2591 w 7373"/>
                <a:gd name="connsiteY6" fmla="*/ 5969 h 6864"/>
                <a:gd name="connsiteX7" fmla="*/ 2790 w 7373"/>
                <a:gd name="connsiteY7" fmla="*/ 6566 h 6864"/>
                <a:gd name="connsiteX8" fmla="*/ 3089 w 7373"/>
                <a:gd name="connsiteY8" fmla="*/ 6865 h 6864"/>
                <a:gd name="connsiteX9" fmla="*/ 3886 w 7373"/>
                <a:gd name="connsiteY9" fmla="*/ 6865 h 6864"/>
                <a:gd name="connsiteX10" fmla="*/ 4683 w 7373"/>
                <a:gd name="connsiteY10" fmla="*/ 5671 h 6864"/>
                <a:gd name="connsiteX11" fmla="*/ 5182 w 7373"/>
                <a:gd name="connsiteY11" fmla="*/ 4179 h 6864"/>
                <a:gd name="connsiteX12" fmla="*/ 5780 w 7373"/>
                <a:gd name="connsiteY12" fmla="*/ 3184 h 6864"/>
                <a:gd name="connsiteX13" fmla="*/ 5780 w 7373"/>
                <a:gd name="connsiteY13" fmla="*/ 2587 h 6864"/>
                <a:gd name="connsiteX14" fmla="*/ 6278 w 7373"/>
                <a:gd name="connsiteY14" fmla="*/ 1791 h 6864"/>
                <a:gd name="connsiteX15" fmla="*/ 7374 w 7373"/>
                <a:gd name="connsiteY15" fmla="*/ 398 h 6864"/>
                <a:gd name="connsiteX16" fmla="*/ 6975 w 7373"/>
                <a:gd name="connsiteY16" fmla="*/ 0 h 6864"/>
                <a:gd name="connsiteX17" fmla="*/ 5580 w 7373"/>
                <a:gd name="connsiteY17" fmla="*/ 1094 h 6864"/>
                <a:gd name="connsiteX18" fmla="*/ 4982 w 7373"/>
                <a:gd name="connsiteY18" fmla="*/ 1791 h 6864"/>
                <a:gd name="connsiteX19" fmla="*/ 4484 w 7373"/>
                <a:gd name="connsiteY19" fmla="*/ 2189 h 6864"/>
                <a:gd name="connsiteX20" fmla="*/ 3587 w 7373"/>
                <a:gd name="connsiteY20" fmla="*/ 2786 h 6864"/>
                <a:gd name="connsiteX21" fmla="*/ 3886 w 7373"/>
                <a:gd name="connsiteY21" fmla="*/ 2388 h 6864"/>
                <a:gd name="connsiteX22" fmla="*/ 5082 w 7373"/>
                <a:gd name="connsiteY22" fmla="*/ 895 h 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373" h="6864">
                  <a:moveTo>
                    <a:pt x="5082" y="895"/>
                  </a:moveTo>
                  <a:lnTo>
                    <a:pt x="4484" y="298"/>
                  </a:lnTo>
                  <a:lnTo>
                    <a:pt x="698" y="995"/>
                  </a:lnTo>
                  <a:lnTo>
                    <a:pt x="0" y="1492"/>
                  </a:lnTo>
                  <a:lnTo>
                    <a:pt x="299" y="2686"/>
                  </a:lnTo>
                  <a:lnTo>
                    <a:pt x="797" y="3880"/>
                  </a:lnTo>
                  <a:lnTo>
                    <a:pt x="2591" y="5969"/>
                  </a:lnTo>
                  <a:lnTo>
                    <a:pt x="2790" y="6566"/>
                  </a:lnTo>
                  <a:lnTo>
                    <a:pt x="3089" y="6865"/>
                  </a:lnTo>
                  <a:lnTo>
                    <a:pt x="3886" y="6865"/>
                  </a:lnTo>
                  <a:lnTo>
                    <a:pt x="4683" y="5671"/>
                  </a:lnTo>
                  <a:lnTo>
                    <a:pt x="5182" y="4179"/>
                  </a:lnTo>
                  <a:lnTo>
                    <a:pt x="5780" y="3184"/>
                  </a:lnTo>
                  <a:lnTo>
                    <a:pt x="5780" y="2587"/>
                  </a:lnTo>
                  <a:lnTo>
                    <a:pt x="6278" y="1791"/>
                  </a:lnTo>
                  <a:lnTo>
                    <a:pt x="7374" y="398"/>
                  </a:lnTo>
                  <a:lnTo>
                    <a:pt x="6975" y="0"/>
                  </a:lnTo>
                  <a:lnTo>
                    <a:pt x="5580" y="1094"/>
                  </a:lnTo>
                  <a:lnTo>
                    <a:pt x="4982" y="1791"/>
                  </a:lnTo>
                  <a:lnTo>
                    <a:pt x="4484" y="2189"/>
                  </a:lnTo>
                  <a:lnTo>
                    <a:pt x="3587" y="2786"/>
                  </a:lnTo>
                  <a:lnTo>
                    <a:pt x="3886" y="2388"/>
                  </a:lnTo>
                  <a:lnTo>
                    <a:pt x="5082" y="8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9DD4ECEF-2CB6-4A69-84F8-14459090B714}"/>
                </a:ext>
              </a:extLst>
            </p:cNvPr>
            <p:cNvSpPr/>
            <p:nvPr/>
          </p:nvSpPr>
          <p:spPr>
            <a:xfrm>
              <a:off x="3565894" y="4013358"/>
              <a:ext cx="138903" cy="44272"/>
            </a:xfrm>
            <a:custGeom>
              <a:avLst/>
              <a:gdLst>
                <a:gd name="connsiteX0" fmla="*/ 49922 w 138903"/>
                <a:gd name="connsiteY0" fmla="*/ 22285 h 44272"/>
                <a:gd name="connsiteX1" fmla="*/ 48029 w 138903"/>
                <a:gd name="connsiteY1" fmla="*/ 23778 h 44272"/>
                <a:gd name="connsiteX2" fmla="*/ 47729 w 138903"/>
                <a:gd name="connsiteY2" fmla="*/ 25469 h 44272"/>
                <a:gd name="connsiteX3" fmla="*/ 46135 w 138903"/>
                <a:gd name="connsiteY3" fmla="*/ 26762 h 44272"/>
                <a:gd name="connsiteX4" fmla="*/ 45637 w 138903"/>
                <a:gd name="connsiteY4" fmla="*/ 27956 h 44272"/>
                <a:gd name="connsiteX5" fmla="*/ 44640 w 138903"/>
                <a:gd name="connsiteY5" fmla="*/ 28553 h 44272"/>
                <a:gd name="connsiteX6" fmla="*/ 43245 w 138903"/>
                <a:gd name="connsiteY6" fmla="*/ 29448 h 44272"/>
                <a:gd name="connsiteX7" fmla="*/ 41452 w 138903"/>
                <a:gd name="connsiteY7" fmla="*/ 30244 h 44272"/>
                <a:gd name="connsiteX8" fmla="*/ 38861 w 138903"/>
                <a:gd name="connsiteY8" fmla="*/ 32035 h 44272"/>
                <a:gd name="connsiteX9" fmla="*/ 35971 w 138903"/>
                <a:gd name="connsiteY9" fmla="*/ 33328 h 44272"/>
                <a:gd name="connsiteX10" fmla="*/ 32982 w 138903"/>
                <a:gd name="connsiteY10" fmla="*/ 33328 h 44272"/>
                <a:gd name="connsiteX11" fmla="*/ 28896 w 138903"/>
                <a:gd name="connsiteY11" fmla="*/ 31538 h 44272"/>
                <a:gd name="connsiteX12" fmla="*/ 26904 w 138903"/>
                <a:gd name="connsiteY12" fmla="*/ 31836 h 44272"/>
                <a:gd name="connsiteX13" fmla="*/ 24413 w 138903"/>
                <a:gd name="connsiteY13" fmla="*/ 32333 h 44272"/>
                <a:gd name="connsiteX14" fmla="*/ 20626 w 138903"/>
                <a:gd name="connsiteY14" fmla="*/ 27259 h 44272"/>
                <a:gd name="connsiteX15" fmla="*/ 4285 w 138903"/>
                <a:gd name="connsiteY15" fmla="*/ 17012 h 44272"/>
                <a:gd name="connsiteX16" fmla="*/ 3487 w 138903"/>
                <a:gd name="connsiteY16" fmla="*/ 16117 h 44272"/>
                <a:gd name="connsiteX17" fmla="*/ 2491 w 138903"/>
                <a:gd name="connsiteY17" fmla="*/ 15420 h 44272"/>
                <a:gd name="connsiteX18" fmla="*/ 1395 w 138903"/>
                <a:gd name="connsiteY18" fmla="*/ 15122 h 44272"/>
                <a:gd name="connsiteX19" fmla="*/ 0 w 138903"/>
                <a:gd name="connsiteY19" fmla="*/ 15122 h 44272"/>
                <a:gd name="connsiteX20" fmla="*/ 1395 w 138903"/>
                <a:gd name="connsiteY20" fmla="*/ 17211 h 44272"/>
                <a:gd name="connsiteX21" fmla="*/ 7473 w 138903"/>
                <a:gd name="connsiteY21" fmla="*/ 22186 h 44272"/>
                <a:gd name="connsiteX22" fmla="*/ 20726 w 138903"/>
                <a:gd name="connsiteY22" fmla="*/ 35716 h 44272"/>
                <a:gd name="connsiteX23" fmla="*/ 26206 w 138903"/>
                <a:gd name="connsiteY23" fmla="*/ 38999 h 44272"/>
                <a:gd name="connsiteX24" fmla="*/ 29295 w 138903"/>
                <a:gd name="connsiteY24" fmla="*/ 41984 h 44272"/>
                <a:gd name="connsiteX25" fmla="*/ 34377 w 138903"/>
                <a:gd name="connsiteY25" fmla="*/ 43774 h 44272"/>
                <a:gd name="connsiteX26" fmla="*/ 39558 w 138903"/>
                <a:gd name="connsiteY26" fmla="*/ 44272 h 44272"/>
                <a:gd name="connsiteX27" fmla="*/ 40754 w 138903"/>
                <a:gd name="connsiteY27" fmla="*/ 43675 h 44272"/>
                <a:gd name="connsiteX28" fmla="*/ 43445 w 138903"/>
                <a:gd name="connsiteY28" fmla="*/ 43476 h 44272"/>
                <a:gd name="connsiteX29" fmla="*/ 44541 w 138903"/>
                <a:gd name="connsiteY29" fmla="*/ 42481 h 44272"/>
                <a:gd name="connsiteX30" fmla="*/ 46833 w 138903"/>
                <a:gd name="connsiteY30" fmla="*/ 40889 h 44272"/>
                <a:gd name="connsiteX31" fmla="*/ 49523 w 138903"/>
                <a:gd name="connsiteY31" fmla="*/ 39596 h 44272"/>
                <a:gd name="connsiteX32" fmla="*/ 51715 w 138903"/>
                <a:gd name="connsiteY32" fmla="*/ 38104 h 44272"/>
                <a:gd name="connsiteX33" fmla="*/ 54206 w 138903"/>
                <a:gd name="connsiteY33" fmla="*/ 37407 h 44272"/>
                <a:gd name="connsiteX34" fmla="*/ 58093 w 138903"/>
                <a:gd name="connsiteY34" fmla="*/ 34124 h 44272"/>
                <a:gd name="connsiteX35" fmla="*/ 60484 w 138903"/>
                <a:gd name="connsiteY35" fmla="*/ 33428 h 44272"/>
                <a:gd name="connsiteX36" fmla="*/ 62676 w 138903"/>
                <a:gd name="connsiteY36" fmla="*/ 33030 h 44272"/>
                <a:gd name="connsiteX37" fmla="*/ 89380 w 138903"/>
                <a:gd name="connsiteY37" fmla="*/ 26265 h 44272"/>
                <a:gd name="connsiteX38" fmla="*/ 96356 w 138903"/>
                <a:gd name="connsiteY38" fmla="*/ 26265 h 44272"/>
                <a:gd name="connsiteX39" fmla="*/ 113793 w 138903"/>
                <a:gd name="connsiteY39" fmla="*/ 22882 h 44272"/>
                <a:gd name="connsiteX40" fmla="*/ 121366 w 138903"/>
                <a:gd name="connsiteY40" fmla="*/ 21191 h 44272"/>
                <a:gd name="connsiteX41" fmla="*/ 129637 w 138903"/>
                <a:gd name="connsiteY41" fmla="*/ 20693 h 44272"/>
                <a:gd name="connsiteX42" fmla="*/ 131331 w 138903"/>
                <a:gd name="connsiteY42" fmla="*/ 20992 h 44272"/>
                <a:gd name="connsiteX43" fmla="*/ 132427 w 138903"/>
                <a:gd name="connsiteY43" fmla="*/ 21589 h 44272"/>
                <a:gd name="connsiteX44" fmla="*/ 134619 w 138903"/>
                <a:gd name="connsiteY44" fmla="*/ 23479 h 44272"/>
                <a:gd name="connsiteX45" fmla="*/ 135516 w 138903"/>
                <a:gd name="connsiteY45" fmla="*/ 23778 h 44272"/>
                <a:gd name="connsiteX46" fmla="*/ 137907 w 138903"/>
                <a:gd name="connsiteY46" fmla="*/ 22882 h 44272"/>
                <a:gd name="connsiteX47" fmla="*/ 138904 w 138903"/>
                <a:gd name="connsiteY47" fmla="*/ 20594 h 44272"/>
                <a:gd name="connsiteX48" fmla="*/ 138804 w 138903"/>
                <a:gd name="connsiteY48" fmla="*/ 17908 h 44272"/>
                <a:gd name="connsiteX49" fmla="*/ 136612 w 138903"/>
                <a:gd name="connsiteY49" fmla="*/ 13033 h 44272"/>
                <a:gd name="connsiteX50" fmla="*/ 136911 w 138903"/>
                <a:gd name="connsiteY50" fmla="*/ 10148 h 44272"/>
                <a:gd name="connsiteX51" fmla="*/ 137509 w 138903"/>
                <a:gd name="connsiteY51" fmla="*/ 7263 h 44272"/>
                <a:gd name="connsiteX52" fmla="*/ 137210 w 138903"/>
                <a:gd name="connsiteY52" fmla="*/ 4776 h 44272"/>
                <a:gd name="connsiteX53" fmla="*/ 135317 w 138903"/>
                <a:gd name="connsiteY53" fmla="*/ 5571 h 44272"/>
                <a:gd name="connsiteX54" fmla="*/ 134121 w 138903"/>
                <a:gd name="connsiteY54" fmla="*/ 7064 h 44272"/>
                <a:gd name="connsiteX55" fmla="*/ 133224 w 138903"/>
                <a:gd name="connsiteY55" fmla="*/ 8855 h 44272"/>
                <a:gd name="connsiteX56" fmla="*/ 132128 w 138903"/>
                <a:gd name="connsiteY56" fmla="*/ 10446 h 44272"/>
                <a:gd name="connsiteX57" fmla="*/ 130135 w 138903"/>
                <a:gd name="connsiteY57" fmla="*/ 11242 h 44272"/>
                <a:gd name="connsiteX58" fmla="*/ 122064 w 138903"/>
                <a:gd name="connsiteY58" fmla="*/ 11342 h 44272"/>
                <a:gd name="connsiteX59" fmla="*/ 119473 w 138903"/>
                <a:gd name="connsiteY59" fmla="*/ 11739 h 44272"/>
                <a:gd name="connsiteX60" fmla="*/ 115487 w 138903"/>
                <a:gd name="connsiteY60" fmla="*/ 13530 h 44272"/>
                <a:gd name="connsiteX61" fmla="*/ 111502 w 138903"/>
                <a:gd name="connsiteY61" fmla="*/ 14724 h 44272"/>
                <a:gd name="connsiteX62" fmla="*/ 105324 w 138903"/>
                <a:gd name="connsiteY62" fmla="*/ 13928 h 44272"/>
                <a:gd name="connsiteX63" fmla="*/ 100840 w 138903"/>
                <a:gd name="connsiteY63" fmla="*/ 15719 h 44272"/>
                <a:gd name="connsiteX64" fmla="*/ 98448 w 138903"/>
                <a:gd name="connsiteY64" fmla="*/ 15321 h 44272"/>
                <a:gd name="connsiteX65" fmla="*/ 94462 w 138903"/>
                <a:gd name="connsiteY65" fmla="*/ 13530 h 44272"/>
                <a:gd name="connsiteX66" fmla="*/ 91872 w 138903"/>
                <a:gd name="connsiteY66" fmla="*/ 14824 h 44272"/>
                <a:gd name="connsiteX67" fmla="*/ 90178 w 138903"/>
                <a:gd name="connsiteY67" fmla="*/ 17410 h 44272"/>
                <a:gd name="connsiteX68" fmla="*/ 85993 w 138903"/>
                <a:gd name="connsiteY68" fmla="*/ 17211 h 44272"/>
                <a:gd name="connsiteX69" fmla="*/ 79516 w 138903"/>
                <a:gd name="connsiteY69" fmla="*/ 16117 h 44272"/>
                <a:gd name="connsiteX70" fmla="*/ 73637 w 138903"/>
                <a:gd name="connsiteY70" fmla="*/ 14724 h 44272"/>
                <a:gd name="connsiteX71" fmla="*/ 71046 w 138903"/>
                <a:gd name="connsiteY71" fmla="*/ 15420 h 44272"/>
                <a:gd name="connsiteX72" fmla="*/ 60584 w 138903"/>
                <a:gd name="connsiteY72" fmla="*/ 11342 h 44272"/>
                <a:gd name="connsiteX73" fmla="*/ 58192 w 138903"/>
                <a:gd name="connsiteY73" fmla="*/ 9949 h 44272"/>
                <a:gd name="connsiteX74" fmla="*/ 57495 w 138903"/>
                <a:gd name="connsiteY74" fmla="*/ 7462 h 44272"/>
                <a:gd name="connsiteX75" fmla="*/ 55900 w 138903"/>
                <a:gd name="connsiteY75" fmla="*/ 4377 h 44272"/>
                <a:gd name="connsiteX76" fmla="*/ 53708 w 138903"/>
                <a:gd name="connsiteY76" fmla="*/ 1691 h 44272"/>
                <a:gd name="connsiteX77" fmla="*/ 51316 w 138903"/>
                <a:gd name="connsiteY77" fmla="*/ 0 h 44272"/>
                <a:gd name="connsiteX78" fmla="*/ 50320 w 138903"/>
                <a:gd name="connsiteY78" fmla="*/ 5870 h 44272"/>
                <a:gd name="connsiteX79" fmla="*/ 49523 w 138903"/>
                <a:gd name="connsiteY79" fmla="*/ 7561 h 44272"/>
                <a:gd name="connsiteX80" fmla="*/ 46135 w 138903"/>
                <a:gd name="connsiteY80" fmla="*/ 11441 h 44272"/>
                <a:gd name="connsiteX81" fmla="*/ 45238 w 138903"/>
                <a:gd name="connsiteY81" fmla="*/ 13232 h 44272"/>
                <a:gd name="connsiteX82" fmla="*/ 50520 w 138903"/>
                <a:gd name="connsiteY82" fmla="*/ 14227 h 44272"/>
                <a:gd name="connsiteX83" fmla="*/ 53509 w 138903"/>
                <a:gd name="connsiteY83" fmla="*/ 16117 h 44272"/>
                <a:gd name="connsiteX84" fmla="*/ 53807 w 138903"/>
                <a:gd name="connsiteY84" fmla="*/ 17510 h 44272"/>
                <a:gd name="connsiteX85" fmla="*/ 51516 w 138903"/>
                <a:gd name="connsiteY85" fmla="*/ 19102 h 44272"/>
                <a:gd name="connsiteX86" fmla="*/ 49922 w 138903"/>
                <a:gd name="connsiteY86" fmla="*/ 22285 h 4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138903" h="44272">
                  <a:moveTo>
                    <a:pt x="49922" y="22285"/>
                  </a:moveTo>
                  <a:lnTo>
                    <a:pt x="48029" y="23778"/>
                  </a:lnTo>
                  <a:lnTo>
                    <a:pt x="47729" y="25469"/>
                  </a:lnTo>
                  <a:lnTo>
                    <a:pt x="46135" y="26762"/>
                  </a:lnTo>
                  <a:lnTo>
                    <a:pt x="45637" y="27956"/>
                  </a:lnTo>
                  <a:lnTo>
                    <a:pt x="44640" y="28553"/>
                  </a:lnTo>
                  <a:lnTo>
                    <a:pt x="43245" y="29448"/>
                  </a:lnTo>
                  <a:lnTo>
                    <a:pt x="41452" y="30244"/>
                  </a:lnTo>
                  <a:lnTo>
                    <a:pt x="38861" y="32035"/>
                  </a:lnTo>
                  <a:lnTo>
                    <a:pt x="35971" y="33328"/>
                  </a:lnTo>
                  <a:lnTo>
                    <a:pt x="32982" y="33328"/>
                  </a:lnTo>
                  <a:lnTo>
                    <a:pt x="28896" y="31538"/>
                  </a:lnTo>
                  <a:lnTo>
                    <a:pt x="26904" y="31836"/>
                  </a:lnTo>
                  <a:lnTo>
                    <a:pt x="24413" y="32333"/>
                  </a:lnTo>
                  <a:lnTo>
                    <a:pt x="20626" y="27259"/>
                  </a:lnTo>
                  <a:lnTo>
                    <a:pt x="4285" y="17012"/>
                  </a:lnTo>
                  <a:lnTo>
                    <a:pt x="3487" y="16117"/>
                  </a:lnTo>
                  <a:lnTo>
                    <a:pt x="2491" y="15420"/>
                  </a:lnTo>
                  <a:lnTo>
                    <a:pt x="1395" y="15122"/>
                  </a:lnTo>
                  <a:lnTo>
                    <a:pt x="0" y="15122"/>
                  </a:lnTo>
                  <a:lnTo>
                    <a:pt x="1395" y="17211"/>
                  </a:lnTo>
                  <a:lnTo>
                    <a:pt x="7473" y="22186"/>
                  </a:lnTo>
                  <a:lnTo>
                    <a:pt x="20726" y="35716"/>
                  </a:lnTo>
                  <a:lnTo>
                    <a:pt x="26206" y="38999"/>
                  </a:lnTo>
                  <a:lnTo>
                    <a:pt x="29295" y="41984"/>
                  </a:lnTo>
                  <a:lnTo>
                    <a:pt x="34377" y="43774"/>
                  </a:lnTo>
                  <a:lnTo>
                    <a:pt x="39558" y="44272"/>
                  </a:lnTo>
                  <a:lnTo>
                    <a:pt x="40754" y="43675"/>
                  </a:lnTo>
                  <a:lnTo>
                    <a:pt x="43445" y="43476"/>
                  </a:lnTo>
                  <a:lnTo>
                    <a:pt x="44541" y="42481"/>
                  </a:lnTo>
                  <a:lnTo>
                    <a:pt x="46833" y="40889"/>
                  </a:lnTo>
                  <a:lnTo>
                    <a:pt x="49523" y="39596"/>
                  </a:lnTo>
                  <a:lnTo>
                    <a:pt x="51715" y="38104"/>
                  </a:lnTo>
                  <a:lnTo>
                    <a:pt x="54206" y="37407"/>
                  </a:lnTo>
                  <a:lnTo>
                    <a:pt x="58093" y="34124"/>
                  </a:lnTo>
                  <a:lnTo>
                    <a:pt x="60484" y="33428"/>
                  </a:lnTo>
                  <a:lnTo>
                    <a:pt x="62676" y="33030"/>
                  </a:lnTo>
                  <a:lnTo>
                    <a:pt x="89380" y="26265"/>
                  </a:lnTo>
                  <a:lnTo>
                    <a:pt x="96356" y="26265"/>
                  </a:lnTo>
                  <a:lnTo>
                    <a:pt x="113793" y="22882"/>
                  </a:lnTo>
                  <a:lnTo>
                    <a:pt x="121366" y="21191"/>
                  </a:lnTo>
                  <a:lnTo>
                    <a:pt x="129637" y="20693"/>
                  </a:lnTo>
                  <a:lnTo>
                    <a:pt x="131331" y="20992"/>
                  </a:lnTo>
                  <a:lnTo>
                    <a:pt x="132427" y="21589"/>
                  </a:lnTo>
                  <a:lnTo>
                    <a:pt x="134619" y="23479"/>
                  </a:lnTo>
                  <a:lnTo>
                    <a:pt x="135516" y="23778"/>
                  </a:lnTo>
                  <a:lnTo>
                    <a:pt x="137907" y="22882"/>
                  </a:lnTo>
                  <a:lnTo>
                    <a:pt x="138904" y="20594"/>
                  </a:lnTo>
                  <a:lnTo>
                    <a:pt x="138804" y="17908"/>
                  </a:lnTo>
                  <a:lnTo>
                    <a:pt x="136612" y="13033"/>
                  </a:lnTo>
                  <a:lnTo>
                    <a:pt x="136911" y="10148"/>
                  </a:lnTo>
                  <a:lnTo>
                    <a:pt x="137509" y="7263"/>
                  </a:lnTo>
                  <a:lnTo>
                    <a:pt x="137210" y="4776"/>
                  </a:lnTo>
                  <a:lnTo>
                    <a:pt x="135317" y="5571"/>
                  </a:lnTo>
                  <a:lnTo>
                    <a:pt x="134121" y="7064"/>
                  </a:lnTo>
                  <a:lnTo>
                    <a:pt x="133224" y="8855"/>
                  </a:lnTo>
                  <a:lnTo>
                    <a:pt x="132128" y="10446"/>
                  </a:lnTo>
                  <a:lnTo>
                    <a:pt x="130135" y="11242"/>
                  </a:lnTo>
                  <a:lnTo>
                    <a:pt x="122064" y="11342"/>
                  </a:lnTo>
                  <a:lnTo>
                    <a:pt x="119473" y="11739"/>
                  </a:lnTo>
                  <a:lnTo>
                    <a:pt x="115487" y="13530"/>
                  </a:lnTo>
                  <a:lnTo>
                    <a:pt x="111502" y="14724"/>
                  </a:lnTo>
                  <a:lnTo>
                    <a:pt x="105324" y="13928"/>
                  </a:lnTo>
                  <a:lnTo>
                    <a:pt x="100840" y="15719"/>
                  </a:lnTo>
                  <a:lnTo>
                    <a:pt x="98448" y="15321"/>
                  </a:lnTo>
                  <a:lnTo>
                    <a:pt x="94462" y="13530"/>
                  </a:lnTo>
                  <a:lnTo>
                    <a:pt x="91872" y="14824"/>
                  </a:lnTo>
                  <a:lnTo>
                    <a:pt x="90178" y="17410"/>
                  </a:lnTo>
                  <a:lnTo>
                    <a:pt x="85993" y="17211"/>
                  </a:lnTo>
                  <a:lnTo>
                    <a:pt x="79516" y="16117"/>
                  </a:lnTo>
                  <a:lnTo>
                    <a:pt x="73637" y="14724"/>
                  </a:lnTo>
                  <a:lnTo>
                    <a:pt x="71046" y="15420"/>
                  </a:lnTo>
                  <a:lnTo>
                    <a:pt x="60584" y="11342"/>
                  </a:lnTo>
                  <a:lnTo>
                    <a:pt x="58192" y="9949"/>
                  </a:lnTo>
                  <a:lnTo>
                    <a:pt x="57495" y="7462"/>
                  </a:lnTo>
                  <a:lnTo>
                    <a:pt x="55900" y="4377"/>
                  </a:lnTo>
                  <a:lnTo>
                    <a:pt x="53708" y="1691"/>
                  </a:lnTo>
                  <a:lnTo>
                    <a:pt x="51316" y="0"/>
                  </a:lnTo>
                  <a:lnTo>
                    <a:pt x="50320" y="5870"/>
                  </a:lnTo>
                  <a:lnTo>
                    <a:pt x="49523" y="7561"/>
                  </a:lnTo>
                  <a:lnTo>
                    <a:pt x="46135" y="11441"/>
                  </a:lnTo>
                  <a:lnTo>
                    <a:pt x="45238" y="13232"/>
                  </a:lnTo>
                  <a:lnTo>
                    <a:pt x="50520" y="14227"/>
                  </a:lnTo>
                  <a:lnTo>
                    <a:pt x="53509" y="16117"/>
                  </a:lnTo>
                  <a:lnTo>
                    <a:pt x="53807" y="17510"/>
                  </a:lnTo>
                  <a:lnTo>
                    <a:pt x="51516" y="19102"/>
                  </a:lnTo>
                  <a:lnTo>
                    <a:pt x="49922" y="2228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5F39B3C3-8923-4D17-8405-31BABA49ED6F}"/>
                </a:ext>
              </a:extLst>
            </p:cNvPr>
            <p:cNvSpPr/>
            <p:nvPr/>
          </p:nvSpPr>
          <p:spPr>
            <a:xfrm>
              <a:off x="3697225" y="3996943"/>
              <a:ext cx="120070" cy="144853"/>
            </a:xfrm>
            <a:custGeom>
              <a:avLst/>
              <a:gdLst>
                <a:gd name="connsiteX0" fmla="*/ 119772 w 120070"/>
                <a:gd name="connsiteY0" fmla="*/ 83569 h 144853"/>
                <a:gd name="connsiteX1" fmla="*/ 119473 w 120070"/>
                <a:gd name="connsiteY1" fmla="*/ 82873 h 144853"/>
                <a:gd name="connsiteX2" fmla="*/ 118875 w 120070"/>
                <a:gd name="connsiteY2" fmla="*/ 82176 h 144853"/>
                <a:gd name="connsiteX3" fmla="*/ 118277 w 120070"/>
                <a:gd name="connsiteY3" fmla="*/ 81182 h 144853"/>
                <a:gd name="connsiteX4" fmla="*/ 117979 w 120070"/>
                <a:gd name="connsiteY4" fmla="*/ 79689 h 144853"/>
                <a:gd name="connsiteX5" fmla="*/ 118178 w 120070"/>
                <a:gd name="connsiteY5" fmla="*/ 78595 h 144853"/>
                <a:gd name="connsiteX6" fmla="*/ 119772 w 120070"/>
                <a:gd name="connsiteY6" fmla="*/ 75411 h 144853"/>
                <a:gd name="connsiteX7" fmla="*/ 117779 w 120070"/>
                <a:gd name="connsiteY7" fmla="*/ 74914 h 144853"/>
                <a:gd name="connsiteX8" fmla="*/ 116086 w 120070"/>
                <a:gd name="connsiteY8" fmla="*/ 74019 h 144853"/>
                <a:gd name="connsiteX9" fmla="*/ 114889 w 120070"/>
                <a:gd name="connsiteY9" fmla="*/ 72427 h 144853"/>
                <a:gd name="connsiteX10" fmla="*/ 114491 w 120070"/>
                <a:gd name="connsiteY10" fmla="*/ 70238 h 144853"/>
                <a:gd name="connsiteX11" fmla="*/ 114491 w 120070"/>
                <a:gd name="connsiteY11" fmla="*/ 64070 h 144853"/>
                <a:gd name="connsiteX12" fmla="*/ 114889 w 120070"/>
                <a:gd name="connsiteY12" fmla="*/ 63075 h 144853"/>
                <a:gd name="connsiteX13" fmla="*/ 116584 w 120070"/>
                <a:gd name="connsiteY13" fmla="*/ 62080 h 144853"/>
                <a:gd name="connsiteX14" fmla="*/ 116584 w 120070"/>
                <a:gd name="connsiteY14" fmla="*/ 59792 h 144853"/>
                <a:gd name="connsiteX15" fmla="*/ 115687 w 120070"/>
                <a:gd name="connsiteY15" fmla="*/ 57305 h 144853"/>
                <a:gd name="connsiteX16" fmla="*/ 114491 w 120070"/>
                <a:gd name="connsiteY16" fmla="*/ 55514 h 144853"/>
                <a:gd name="connsiteX17" fmla="*/ 112997 w 120070"/>
                <a:gd name="connsiteY17" fmla="*/ 54220 h 144853"/>
                <a:gd name="connsiteX18" fmla="*/ 108413 w 120070"/>
                <a:gd name="connsiteY18" fmla="*/ 51634 h 144853"/>
                <a:gd name="connsiteX19" fmla="*/ 102235 w 120070"/>
                <a:gd name="connsiteY19" fmla="*/ 47356 h 144853"/>
                <a:gd name="connsiteX20" fmla="*/ 98747 w 120070"/>
                <a:gd name="connsiteY20" fmla="*/ 45665 h 144853"/>
                <a:gd name="connsiteX21" fmla="*/ 91075 w 120070"/>
                <a:gd name="connsiteY21" fmla="*/ 44172 h 144853"/>
                <a:gd name="connsiteX22" fmla="*/ 87786 w 120070"/>
                <a:gd name="connsiteY22" fmla="*/ 42183 h 144853"/>
                <a:gd name="connsiteX23" fmla="*/ 85096 w 120070"/>
                <a:gd name="connsiteY23" fmla="*/ 39198 h 144853"/>
                <a:gd name="connsiteX24" fmla="*/ 83203 w 120070"/>
                <a:gd name="connsiteY24" fmla="*/ 35418 h 144853"/>
                <a:gd name="connsiteX25" fmla="*/ 87388 w 120070"/>
                <a:gd name="connsiteY25" fmla="*/ 35517 h 144853"/>
                <a:gd name="connsiteX26" fmla="*/ 89082 w 120070"/>
                <a:gd name="connsiteY26" fmla="*/ 35019 h 144853"/>
                <a:gd name="connsiteX27" fmla="*/ 90178 w 120070"/>
                <a:gd name="connsiteY27" fmla="*/ 33428 h 144853"/>
                <a:gd name="connsiteX28" fmla="*/ 85993 w 120070"/>
                <a:gd name="connsiteY28" fmla="*/ 33229 h 144853"/>
                <a:gd name="connsiteX29" fmla="*/ 83004 w 120070"/>
                <a:gd name="connsiteY29" fmla="*/ 32234 h 144853"/>
                <a:gd name="connsiteX30" fmla="*/ 80413 w 120070"/>
                <a:gd name="connsiteY30" fmla="*/ 30543 h 144853"/>
                <a:gd name="connsiteX31" fmla="*/ 57096 w 120070"/>
                <a:gd name="connsiteY31" fmla="*/ 8158 h 144853"/>
                <a:gd name="connsiteX32" fmla="*/ 51815 w 120070"/>
                <a:gd name="connsiteY32" fmla="*/ 4178 h 144853"/>
                <a:gd name="connsiteX33" fmla="*/ 45039 w 120070"/>
                <a:gd name="connsiteY33" fmla="*/ 1094 h 144853"/>
                <a:gd name="connsiteX34" fmla="*/ 42149 w 120070"/>
                <a:gd name="connsiteY34" fmla="*/ 3383 h 144853"/>
                <a:gd name="connsiteX35" fmla="*/ 35473 w 120070"/>
                <a:gd name="connsiteY35" fmla="*/ 2786 h 144853"/>
                <a:gd name="connsiteX36" fmla="*/ 23815 w 120070"/>
                <a:gd name="connsiteY36" fmla="*/ 199 h 144853"/>
                <a:gd name="connsiteX37" fmla="*/ 11858 w 120070"/>
                <a:gd name="connsiteY37" fmla="*/ 0 h 144853"/>
                <a:gd name="connsiteX38" fmla="*/ 6178 w 120070"/>
                <a:gd name="connsiteY38" fmla="*/ 995 h 144853"/>
                <a:gd name="connsiteX39" fmla="*/ 1594 w 120070"/>
                <a:gd name="connsiteY39" fmla="*/ 3979 h 144853"/>
                <a:gd name="connsiteX40" fmla="*/ 698 w 120070"/>
                <a:gd name="connsiteY40" fmla="*/ 4178 h 144853"/>
                <a:gd name="connsiteX41" fmla="*/ 299 w 120070"/>
                <a:gd name="connsiteY41" fmla="*/ 4377 h 144853"/>
                <a:gd name="connsiteX42" fmla="*/ 0 w 120070"/>
                <a:gd name="connsiteY42" fmla="*/ 4875 h 144853"/>
                <a:gd name="connsiteX43" fmla="*/ 2591 w 120070"/>
                <a:gd name="connsiteY43" fmla="*/ 4875 h 144853"/>
                <a:gd name="connsiteX44" fmla="*/ 6676 w 120070"/>
                <a:gd name="connsiteY44" fmla="*/ 3383 h 144853"/>
                <a:gd name="connsiteX45" fmla="*/ 16640 w 120070"/>
                <a:gd name="connsiteY45" fmla="*/ 2586 h 144853"/>
                <a:gd name="connsiteX46" fmla="*/ 19032 w 120070"/>
                <a:gd name="connsiteY46" fmla="*/ 2985 h 144853"/>
                <a:gd name="connsiteX47" fmla="*/ 21224 w 120070"/>
                <a:gd name="connsiteY47" fmla="*/ 3979 h 144853"/>
                <a:gd name="connsiteX48" fmla="*/ 24811 w 120070"/>
                <a:gd name="connsiteY48" fmla="*/ 6367 h 144853"/>
                <a:gd name="connsiteX49" fmla="*/ 26306 w 120070"/>
                <a:gd name="connsiteY49" fmla="*/ 6765 h 144853"/>
                <a:gd name="connsiteX50" fmla="*/ 31288 w 120070"/>
                <a:gd name="connsiteY50" fmla="*/ 6765 h 144853"/>
                <a:gd name="connsiteX51" fmla="*/ 33680 w 120070"/>
                <a:gd name="connsiteY51" fmla="*/ 7064 h 144853"/>
                <a:gd name="connsiteX52" fmla="*/ 41053 w 120070"/>
                <a:gd name="connsiteY52" fmla="*/ 9551 h 144853"/>
                <a:gd name="connsiteX53" fmla="*/ 44043 w 120070"/>
                <a:gd name="connsiteY53" fmla="*/ 9949 h 144853"/>
                <a:gd name="connsiteX54" fmla="*/ 46235 w 120070"/>
                <a:gd name="connsiteY54" fmla="*/ 9252 h 144853"/>
                <a:gd name="connsiteX55" fmla="*/ 48626 w 120070"/>
                <a:gd name="connsiteY55" fmla="*/ 7959 h 144853"/>
                <a:gd name="connsiteX56" fmla="*/ 51416 w 120070"/>
                <a:gd name="connsiteY56" fmla="*/ 8058 h 144853"/>
                <a:gd name="connsiteX57" fmla="*/ 54206 w 120070"/>
                <a:gd name="connsiteY57" fmla="*/ 9053 h 144853"/>
                <a:gd name="connsiteX58" fmla="*/ 56398 w 120070"/>
                <a:gd name="connsiteY58" fmla="*/ 10546 h 144853"/>
                <a:gd name="connsiteX59" fmla="*/ 59786 w 120070"/>
                <a:gd name="connsiteY59" fmla="*/ 14625 h 144853"/>
                <a:gd name="connsiteX60" fmla="*/ 65566 w 120070"/>
                <a:gd name="connsiteY60" fmla="*/ 24076 h 144853"/>
                <a:gd name="connsiteX61" fmla="*/ 67658 w 120070"/>
                <a:gd name="connsiteY61" fmla="*/ 28851 h 144853"/>
                <a:gd name="connsiteX62" fmla="*/ 66961 w 120070"/>
                <a:gd name="connsiteY62" fmla="*/ 31040 h 144853"/>
                <a:gd name="connsiteX63" fmla="*/ 67858 w 120070"/>
                <a:gd name="connsiteY63" fmla="*/ 32433 h 144853"/>
                <a:gd name="connsiteX64" fmla="*/ 69851 w 120070"/>
                <a:gd name="connsiteY64" fmla="*/ 33229 h 144853"/>
                <a:gd name="connsiteX65" fmla="*/ 72441 w 120070"/>
                <a:gd name="connsiteY65" fmla="*/ 33428 h 144853"/>
                <a:gd name="connsiteX66" fmla="*/ 73139 w 120070"/>
                <a:gd name="connsiteY66" fmla="*/ 33129 h 144853"/>
                <a:gd name="connsiteX67" fmla="*/ 73737 w 120070"/>
                <a:gd name="connsiteY67" fmla="*/ 32333 h 144853"/>
                <a:gd name="connsiteX68" fmla="*/ 74335 w 120070"/>
                <a:gd name="connsiteY68" fmla="*/ 31836 h 144853"/>
                <a:gd name="connsiteX69" fmla="*/ 75032 w 120070"/>
                <a:gd name="connsiteY69" fmla="*/ 32035 h 144853"/>
                <a:gd name="connsiteX70" fmla="*/ 75530 w 120070"/>
                <a:gd name="connsiteY70" fmla="*/ 32731 h 144853"/>
                <a:gd name="connsiteX71" fmla="*/ 76128 w 120070"/>
                <a:gd name="connsiteY71" fmla="*/ 34224 h 144853"/>
                <a:gd name="connsiteX72" fmla="*/ 77523 w 120070"/>
                <a:gd name="connsiteY72" fmla="*/ 36114 h 144853"/>
                <a:gd name="connsiteX73" fmla="*/ 77922 w 120070"/>
                <a:gd name="connsiteY73" fmla="*/ 37308 h 144853"/>
                <a:gd name="connsiteX74" fmla="*/ 77822 w 120070"/>
                <a:gd name="connsiteY74" fmla="*/ 38402 h 144853"/>
                <a:gd name="connsiteX75" fmla="*/ 77224 w 120070"/>
                <a:gd name="connsiteY75" fmla="*/ 39297 h 144853"/>
                <a:gd name="connsiteX76" fmla="*/ 78719 w 120070"/>
                <a:gd name="connsiteY76" fmla="*/ 42680 h 144853"/>
                <a:gd name="connsiteX77" fmla="*/ 80213 w 120070"/>
                <a:gd name="connsiteY77" fmla="*/ 45068 h 144853"/>
                <a:gd name="connsiteX78" fmla="*/ 82406 w 120070"/>
                <a:gd name="connsiteY78" fmla="*/ 46361 h 144853"/>
                <a:gd name="connsiteX79" fmla="*/ 94164 w 120070"/>
                <a:gd name="connsiteY79" fmla="*/ 48152 h 144853"/>
                <a:gd name="connsiteX80" fmla="*/ 97053 w 120070"/>
                <a:gd name="connsiteY80" fmla="*/ 49445 h 144853"/>
                <a:gd name="connsiteX81" fmla="*/ 101537 w 120070"/>
                <a:gd name="connsiteY81" fmla="*/ 50639 h 144853"/>
                <a:gd name="connsiteX82" fmla="*/ 102534 w 120070"/>
                <a:gd name="connsiteY82" fmla="*/ 52728 h 144853"/>
                <a:gd name="connsiteX83" fmla="*/ 101936 w 120070"/>
                <a:gd name="connsiteY83" fmla="*/ 55215 h 144853"/>
                <a:gd name="connsiteX84" fmla="*/ 100640 w 120070"/>
                <a:gd name="connsiteY84" fmla="*/ 57404 h 144853"/>
                <a:gd name="connsiteX85" fmla="*/ 100042 w 120070"/>
                <a:gd name="connsiteY85" fmla="*/ 57802 h 144853"/>
                <a:gd name="connsiteX86" fmla="*/ 99146 w 120070"/>
                <a:gd name="connsiteY86" fmla="*/ 58200 h 144853"/>
                <a:gd name="connsiteX87" fmla="*/ 98349 w 120070"/>
                <a:gd name="connsiteY87" fmla="*/ 58797 h 144853"/>
                <a:gd name="connsiteX88" fmla="*/ 97950 w 120070"/>
                <a:gd name="connsiteY88" fmla="*/ 59692 h 144853"/>
                <a:gd name="connsiteX89" fmla="*/ 98149 w 120070"/>
                <a:gd name="connsiteY89" fmla="*/ 62379 h 144853"/>
                <a:gd name="connsiteX90" fmla="*/ 97950 w 120070"/>
                <a:gd name="connsiteY90" fmla="*/ 63075 h 144853"/>
                <a:gd name="connsiteX91" fmla="*/ 97053 w 120070"/>
                <a:gd name="connsiteY91" fmla="*/ 64766 h 144853"/>
                <a:gd name="connsiteX92" fmla="*/ 96057 w 120070"/>
                <a:gd name="connsiteY92" fmla="*/ 66059 h 144853"/>
                <a:gd name="connsiteX93" fmla="*/ 94662 w 120070"/>
                <a:gd name="connsiteY93" fmla="*/ 66856 h 144853"/>
                <a:gd name="connsiteX94" fmla="*/ 92769 w 120070"/>
                <a:gd name="connsiteY94" fmla="*/ 66856 h 144853"/>
                <a:gd name="connsiteX95" fmla="*/ 92968 w 120070"/>
                <a:gd name="connsiteY95" fmla="*/ 76705 h 144853"/>
                <a:gd name="connsiteX96" fmla="*/ 94064 w 120070"/>
                <a:gd name="connsiteY96" fmla="*/ 78396 h 144853"/>
                <a:gd name="connsiteX97" fmla="*/ 94264 w 120070"/>
                <a:gd name="connsiteY97" fmla="*/ 79689 h 144853"/>
                <a:gd name="connsiteX98" fmla="*/ 90178 w 120070"/>
                <a:gd name="connsiteY98" fmla="*/ 85559 h 144853"/>
                <a:gd name="connsiteX99" fmla="*/ 92370 w 120070"/>
                <a:gd name="connsiteY99" fmla="*/ 87648 h 144853"/>
                <a:gd name="connsiteX100" fmla="*/ 92769 w 120070"/>
                <a:gd name="connsiteY100" fmla="*/ 89439 h 144853"/>
                <a:gd name="connsiteX101" fmla="*/ 92769 w 120070"/>
                <a:gd name="connsiteY101" fmla="*/ 93120 h 144853"/>
                <a:gd name="connsiteX102" fmla="*/ 92271 w 120070"/>
                <a:gd name="connsiteY102" fmla="*/ 95110 h 144853"/>
                <a:gd name="connsiteX103" fmla="*/ 91274 w 120070"/>
                <a:gd name="connsiteY103" fmla="*/ 96403 h 144853"/>
                <a:gd name="connsiteX104" fmla="*/ 89978 w 120070"/>
                <a:gd name="connsiteY104" fmla="*/ 97597 h 144853"/>
                <a:gd name="connsiteX105" fmla="*/ 89281 w 120070"/>
                <a:gd name="connsiteY105" fmla="*/ 99189 h 144853"/>
                <a:gd name="connsiteX106" fmla="*/ 89480 w 120070"/>
                <a:gd name="connsiteY106" fmla="*/ 100681 h 144853"/>
                <a:gd name="connsiteX107" fmla="*/ 90377 w 120070"/>
                <a:gd name="connsiteY107" fmla="*/ 101676 h 144853"/>
                <a:gd name="connsiteX108" fmla="*/ 91473 w 120070"/>
                <a:gd name="connsiteY108" fmla="*/ 102572 h 144853"/>
                <a:gd name="connsiteX109" fmla="*/ 91971 w 120070"/>
                <a:gd name="connsiteY109" fmla="*/ 103467 h 144853"/>
                <a:gd name="connsiteX110" fmla="*/ 92071 w 120070"/>
                <a:gd name="connsiteY110" fmla="*/ 105158 h 144853"/>
                <a:gd name="connsiteX111" fmla="*/ 92370 w 120070"/>
                <a:gd name="connsiteY111" fmla="*/ 106451 h 144853"/>
                <a:gd name="connsiteX112" fmla="*/ 92868 w 120070"/>
                <a:gd name="connsiteY112" fmla="*/ 107645 h 144853"/>
                <a:gd name="connsiteX113" fmla="*/ 93666 w 120070"/>
                <a:gd name="connsiteY113" fmla="*/ 108740 h 144853"/>
                <a:gd name="connsiteX114" fmla="*/ 90377 w 120070"/>
                <a:gd name="connsiteY114" fmla="*/ 110133 h 144853"/>
                <a:gd name="connsiteX115" fmla="*/ 87388 w 120070"/>
                <a:gd name="connsiteY115" fmla="*/ 112520 h 144853"/>
                <a:gd name="connsiteX116" fmla="*/ 82804 w 120070"/>
                <a:gd name="connsiteY116" fmla="*/ 117793 h 144853"/>
                <a:gd name="connsiteX117" fmla="*/ 81309 w 120070"/>
                <a:gd name="connsiteY117" fmla="*/ 118490 h 144853"/>
                <a:gd name="connsiteX118" fmla="*/ 79416 w 120070"/>
                <a:gd name="connsiteY118" fmla="*/ 118788 h 144853"/>
                <a:gd name="connsiteX119" fmla="*/ 77822 w 120070"/>
                <a:gd name="connsiteY119" fmla="*/ 119186 h 144853"/>
                <a:gd name="connsiteX120" fmla="*/ 76427 w 120070"/>
                <a:gd name="connsiteY120" fmla="*/ 122569 h 144853"/>
                <a:gd name="connsiteX121" fmla="*/ 74534 w 120070"/>
                <a:gd name="connsiteY121" fmla="*/ 124061 h 144853"/>
                <a:gd name="connsiteX122" fmla="*/ 72242 w 120070"/>
                <a:gd name="connsiteY122" fmla="*/ 124857 h 144853"/>
                <a:gd name="connsiteX123" fmla="*/ 70249 w 120070"/>
                <a:gd name="connsiteY123" fmla="*/ 124857 h 144853"/>
                <a:gd name="connsiteX124" fmla="*/ 72740 w 120070"/>
                <a:gd name="connsiteY124" fmla="*/ 128239 h 144853"/>
                <a:gd name="connsiteX125" fmla="*/ 82007 w 120070"/>
                <a:gd name="connsiteY125" fmla="*/ 130229 h 144853"/>
                <a:gd name="connsiteX126" fmla="*/ 84000 w 120070"/>
                <a:gd name="connsiteY126" fmla="*/ 132020 h 144853"/>
                <a:gd name="connsiteX127" fmla="*/ 84797 w 120070"/>
                <a:gd name="connsiteY127" fmla="*/ 134905 h 144853"/>
                <a:gd name="connsiteX128" fmla="*/ 86889 w 120070"/>
                <a:gd name="connsiteY128" fmla="*/ 139183 h 144853"/>
                <a:gd name="connsiteX129" fmla="*/ 89879 w 120070"/>
                <a:gd name="connsiteY129" fmla="*/ 143162 h 144853"/>
                <a:gd name="connsiteX130" fmla="*/ 93267 w 120070"/>
                <a:gd name="connsiteY130" fmla="*/ 144854 h 144853"/>
                <a:gd name="connsiteX131" fmla="*/ 97751 w 120070"/>
                <a:gd name="connsiteY131" fmla="*/ 140576 h 144853"/>
                <a:gd name="connsiteX132" fmla="*/ 98249 w 120070"/>
                <a:gd name="connsiteY132" fmla="*/ 130527 h 144853"/>
                <a:gd name="connsiteX133" fmla="*/ 97551 w 120070"/>
                <a:gd name="connsiteY133" fmla="*/ 119385 h 144853"/>
                <a:gd name="connsiteX134" fmla="*/ 98947 w 120070"/>
                <a:gd name="connsiteY134" fmla="*/ 111625 h 144853"/>
                <a:gd name="connsiteX135" fmla="*/ 98747 w 120070"/>
                <a:gd name="connsiteY135" fmla="*/ 108939 h 144853"/>
                <a:gd name="connsiteX136" fmla="*/ 99844 w 120070"/>
                <a:gd name="connsiteY136" fmla="*/ 98294 h 144853"/>
                <a:gd name="connsiteX137" fmla="*/ 101039 w 120070"/>
                <a:gd name="connsiteY137" fmla="*/ 94911 h 144853"/>
                <a:gd name="connsiteX138" fmla="*/ 103829 w 120070"/>
                <a:gd name="connsiteY138" fmla="*/ 91727 h 144853"/>
                <a:gd name="connsiteX139" fmla="*/ 107317 w 120070"/>
                <a:gd name="connsiteY139" fmla="*/ 88643 h 144853"/>
                <a:gd name="connsiteX140" fmla="*/ 111203 w 120070"/>
                <a:gd name="connsiteY140" fmla="*/ 86455 h 144853"/>
                <a:gd name="connsiteX141" fmla="*/ 115288 w 120070"/>
                <a:gd name="connsiteY141" fmla="*/ 86057 h 144853"/>
                <a:gd name="connsiteX142" fmla="*/ 114790 w 120070"/>
                <a:gd name="connsiteY142" fmla="*/ 88046 h 144853"/>
                <a:gd name="connsiteX143" fmla="*/ 114491 w 120070"/>
                <a:gd name="connsiteY143" fmla="*/ 88643 h 144853"/>
                <a:gd name="connsiteX144" fmla="*/ 116783 w 120070"/>
                <a:gd name="connsiteY144" fmla="*/ 88245 h 144853"/>
                <a:gd name="connsiteX145" fmla="*/ 117779 w 120070"/>
                <a:gd name="connsiteY145" fmla="*/ 87748 h 144853"/>
                <a:gd name="connsiteX146" fmla="*/ 118776 w 120070"/>
                <a:gd name="connsiteY146" fmla="*/ 86852 h 144853"/>
                <a:gd name="connsiteX147" fmla="*/ 119872 w 120070"/>
                <a:gd name="connsiteY147" fmla="*/ 85758 h 144853"/>
                <a:gd name="connsiteX148" fmla="*/ 120071 w 120070"/>
                <a:gd name="connsiteY148" fmla="*/ 85161 h 144853"/>
                <a:gd name="connsiteX149" fmla="*/ 119971 w 120070"/>
                <a:gd name="connsiteY149" fmla="*/ 84664 h 144853"/>
                <a:gd name="connsiteX150" fmla="*/ 119772 w 120070"/>
                <a:gd name="connsiteY150" fmla="*/ 83569 h 144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120070" h="144853">
                  <a:moveTo>
                    <a:pt x="119772" y="83569"/>
                  </a:moveTo>
                  <a:lnTo>
                    <a:pt x="119473" y="82873"/>
                  </a:lnTo>
                  <a:lnTo>
                    <a:pt x="118875" y="82176"/>
                  </a:lnTo>
                  <a:lnTo>
                    <a:pt x="118277" y="81182"/>
                  </a:lnTo>
                  <a:lnTo>
                    <a:pt x="117979" y="79689"/>
                  </a:lnTo>
                  <a:lnTo>
                    <a:pt x="118178" y="78595"/>
                  </a:lnTo>
                  <a:lnTo>
                    <a:pt x="119772" y="75411"/>
                  </a:lnTo>
                  <a:lnTo>
                    <a:pt x="117779" y="74914"/>
                  </a:lnTo>
                  <a:lnTo>
                    <a:pt x="116086" y="74019"/>
                  </a:lnTo>
                  <a:lnTo>
                    <a:pt x="114889" y="72427"/>
                  </a:lnTo>
                  <a:lnTo>
                    <a:pt x="114491" y="70238"/>
                  </a:lnTo>
                  <a:lnTo>
                    <a:pt x="114491" y="64070"/>
                  </a:lnTo>
                  <a:lnTo>
                    <a:pt x="114889" y="63075"/>
                  </a:lnTo>
                  <a:lnTo>
                    <a:pt x="116584" y="62080"/>
                  </a:lnTo>
                  <a:lnTo>
                    <a:pt x="116584" y="59792"/>
                  </a:lnTo>
                  <a:lnTo>
                    <a:pt x="115687" y="57305"/>
                  </a:lnTo>
                  <a:lnTo>
                    <a:pt x="114491" y="55514"/>
                  </a:lnTo>
                  <a:lnTo>
                    <a:pt x="112997" y="54220"/>
                  </a:lnTo>
                  <a:lnTo>
                    <a:pt x="108413" y="51634"/>
                  </a:lnTo>
                  <a:lnTo>
                    <a:pt x="102235" y="47356"/>
                  </a:lnTo>
                  <a:lnTo>
                    <a:pt x="98747" y="45665"/>
                  </a:lnTo>
                  <a:lnTo>
                    <a:pt x="91075" y="44172"/>
                  </a:lnTo>
                  <a:lnTo>
                    <a:pt x="87786" y="42183"/>
                  </a:lnTo>
                  <a:lnTo>
                    <a:pt x="85096" y="39198"/>
                  </a:lnTo>
                  <a:lnTo>
                    <a:pt x="83203" y="35418"/>
                  </a:lnTo>
                  <a:lnTo>
                    <a:pt x="87388" y="35517"/>
                  </a:lnTo>
                  <a:lnTo>
                    <a:pt x="89082" y="35019"/>
                  </a:lnTo>
                  <a:lnTo>
                    <a:pt x="90178" y="33428"/>
                  </a:lnTo>
                  <a:lnTo>
                    <a:pt x="85993" y="33229"/>
                  </a:lnTo>
                  <a:lnTo>
                    <a:pt x="83004" y="32234"/>
                  </a:lnTo>
                  <a:lnTo>
                    <a:pt x="80413" y="30543"/>
                  </a:lnTo>
                  <a:lnTo>
                    <a:pt x="57096" y="8158"/>
                  </a:lnTo>
                  <a:lnTo>
                    <a:pt x="51815" y="4178"/>
                  </a:lnTo>
                  <a:lnTo>
                    <a:pt x="45039" y="1094"/>
                  </a:lnTo>
                  <a:lnTo>
                    <a:pt x="42149" y="3383"/>
                  </a:lnTo>
                  <a:lnTo>
                    <a:pt x="35473" y="2786"/>
                  </a:lnTo>
                  <a:lnTo>
                    <a:pt x="23815" y="199"/>
                  </a:lnTo>
                  <a:lnTo>
                    <a:pt x="11858" y="0"/>
                  </a:lnTo>
                  <a:lnTo>
                    <a:pt x="6178" y="995"/>
                  </a:lnTo>
                  <a:lnTo>
                    <a:pt x="1594" y="3979"/>
                  </a:lnTo>
                  <a:lnTo>
                    <a:pt x="698" y="4178"/>
                  </a:lnTo>
                  <a:lnTo>
                    <a:pt x="299" y="4377"/>
                  </a:lnTo>
                  <a:lnTo>
                    <a:pt x="0" y="4875"/>
                  </a:lnTo>
                  <a:lnTo>
                    <a:pt x="2591" y="4875"/>
                  </a:lnTo>
                  <a:lnTo>
                    <a:pt x="6676" y="3383"/>
                  </a:lnTo>
                  <a:lnTo>
                    <a:pt x="16640" y="2586"/>
                  </a:lnTo>
                  <a:lnTo>
                    <a:pt x="19032" y="2985"/>
                  </a:lnTo>
                  <a:lnTo>
                    <a:pt x="21224" y="3979"/>
                  </a:lnTo>
                  <a:lnTo>
                    <a:pt x="24811" y="6367"/>
                  </a:lnTo>
                  <a:lnTo>
                    <a:pt x="26306" y="6765"/>
                  </a:lnTo>
                  <a:lnTo>
                    <a:pt x="31288" y="6765"/>
                  </a:lnTo>
                  <a:lnTo>
                    <a:pt x="33680" y="7064"/>
                  </a:lnTo>
                  <a:lnTo>
                    <a:pt x="41053" y="9551"/>
                  </a:lnTo>
                  <a:lnTo>
                    <a:pt x="44043" y="9949"/>
                  </a:lnTo>
                  <a:lnTo>
                    <a:pt x="46235" y="9252"/>
                  </a:lnTo>
                  <a:lnTo>
                    <a:pt x="48626" y="7959"/>
                  </a:lnTo>
                  <a:lnTo>
                    <a:pt x="51416" y="8058"/>
                  </a:lnTo>
                  <a:lnTo>
                    <a:pt x="54206" y="9053"/>
                  </a:lnTo>
                  <a:lnTo>
                    <a:pt x="56398" y="10546"/>
                  </a:lnTo>
                  <a:lnTo>
                    <a:pt x="59786" y="14625"/>
                  </a:lnTo>
                  <a:lnTo>
                    <a:pt x="65566" y="24076"/>
                  </a:lnTo>
                  <a:lnTo>
                    <a:pt x="67658" y="28851"/>
                  </a:lnTo>
                  <a:lnTo>
                    <a:pt x="66961" y="31040"/>
                  </a:lnTo>
                  <a:lnTo>
                    <a:pt x="67858" y="32433"/>
                  </a:lnTo>
                  <a:lnTo>
                    <a:pt x="69851" y="33229"/>
                  </a:lnTo>
                  <a:lnTo>
                    <a:pt x="72441" y="33428"/>
                  </a:lnTo>
                  <a:lnTo>
                    <a:pt x="73139" y="33129"/>
                  </a:lnTo>
                  <a:lnTo>
                    <a:pt x="73737" y="32333"/>
                  </a:lnTo>
                  <a:lnTo>
                    <a:pt x="74335" y="31836"/>
                  </a:lnTo>
                  <a:lnTo>
                    <a:pt x="75032" y="32035"/>
                  </a:lnTo>
                  <a:lnTo>
                    <a:pt x="75530" y="32731"/>
                  </a:lnTo>
                  <a:lnTo>
                    <a:pt x="76128" y="34224"/>
                  </a:lnTo>
                  <a:lnTo>
                    <a:pt x="77523" y="36114"/>
                  </a:lnTo>
                  <a:lnTo>
                    <a:pt x="77922" y="37308"/>
                  </a:lnTo>
                  <a:lnTo>
                    <a:pt x="77822" y="38402"/>
                  </a:lnTo>
                  <a:lnTo>
                    <a:pt x="77224" y="39297"/>
                  </a:lnTo>
                  <a:lnTo>
                    <a:pt x="78719" y="42680"/>
                  </a:lnTo>
                  <a:lnTo>
                    <a:pt x="80213" y="45068"/>
                  </a:lnTo>
                  <a:lnTo>
                    <a:pt x="82406" y="46361"/>
                  </a:lnTo>
                  <a:lnTo>
                    <a:pt x="94164" y="48152"/>
                  </a:lnTo>
                  <a:lnTo>
                    <a:pt x="97053" y="49445"/>
                  </a:lnTo>
                  <a:lnTo>
                    <a:pt x="101537" y="50639"/>
                  </a:lnTo>
                  <a:lnTo>
                    <a:pt x="102534" y="52728"/>
                  </a:lnTo>
                  <a:lnTo>
                    <a:pt x="101936" y="55215"/>
                  </a:lnTo>
                  <a:lnTo>
                    <a:pt x="100640" y="57404"/>
                  </a:lnTo>
                  <a:lnTo>
                    <a:pt x="100042" y="57802"/>
                  </a:lnTo>
                  <a:lnTo>
                    <a:pt x="99146" y="58200"/>
                  </a:lnTo>
                  <a:lnTo>
                    <a:pt x="98349" y="58797"/>
                  </a:lnTo>
                  <a:lnTo>
                    <a:pt x="97950" y="59692"/>
                  </a:lnTo>
                  <a:lnTo>
                    <a:pt x="98149" y="62379"/>
                  </a:lnTo>
                  <a:lnTo>
                    <a:pt x="97950" y="63075"/>
                  </a:lnTo>
                  <a:lnTo>
                    <a:pt x="97053" y="64766"/>
                  </a:lnTo>
                  <a:lnTo>
                    <a:pt x="96057" y="66059"/>
                  </a:lnTo>
                  <a:lnTo>
                    <a:pt x="94662" y="66856"/>
                  </a:lnTo>
                  <a:lnTo>
                    <a:pt x="92769" y="66856"/>
                  </a:lnTo>
                  <a:lnTo>
                    <a:pt x="92968" y="76705"/>
                  </a:lnTo>
                  <a:lnTo>
                    <a:pt x="94064" y="78396"/>
                  </a:lnTo>
                  <a:lnTo>
                    <a:pt x="94264" y="79689"/>
                  </a:lnTo>
                  <a:lnTo>
                    <a:pt x="90178" y="85559"/>
                  </a:lnTo>
                  <a:lnTo>
                    <a:pt x="92370" y="87648"/>
                  </a:lnTo>
                  <a:lnTo>
                    <a:pt x="92769" y="89439"/>
                  </a:lnTo>
                  <a:lnTo>
                    <a:pt x="92769" y="93120"/>
                  </a:lnTo>
                  <a:lnTo>
                    <a:pt x="92271" y="95110"/>
                  </a:lnTo>
                  <a:lnTo>
                    <a:pt x="91274" y="96403"/>
                  </a:lnTo>
                  <a:lnTo>
                    <a:pt x="89978" y="97597"/>
                  </a:lnTo>
                  <a:lnTo>
                    <a:pt x="89281" y="99189"/>
                  </a:lnTo>
                  <a:lnTo>
                    <a:pt x="89480" y="100681"/>
                  </a:lnTo>
                  <a:lnTo>
                    <a:pt x="90377" y="101676"/>
                  </a:lnTo>
                  <a:lnTo>
                    <a:pt x="91473" y="102572"/>
                  </a:lnTo>
                  <a:lnTo>
                    <a:pt x="91971" y="103467"/>
                  </a:lnTo>
                  <a:lnTo>
                    <a:pt x="92071" y="105158"/>
                  </a:lnTo>
                  <a:lnTo>
                    <a:pt x="92370" y="106451"/>
                  </a:lnTo>
                  <a:lnTo>
                    <a:pt x="92868" y="107645"/>
                  </a:lnTo>
                  <a:lnTo>
                    <a:pt x="93666" y="108740"/>
                  </a:lnTo>
                  <a:lnTo>
                    <a:pt x="90377" y="110133"/>
                  </a:lnTo>
                  <a:lnTo>
                    <a:pt x="87388" y="112520"/>
                  </a:lnTo>
                  <a:lnTo>
                    <a:pt x="82804" y="117793"/>
                  </a:lnTo>
                  <a:lnTo>
                    <a:pt x="81309" y="118490"/>
                  </a:lnTo>
                  <a:lnTo>
                    <a:pt x="79416" y="118788"/>
                  </a:lnTo>
                  <a:lnTo>
                    <a:pt x="77822" y="119186"/>
                  </a:lnTo>
                  <a:lnTo>
                    <a:pt x="76427" y="122569"/>
                  </a:lnTo>
                  <a:lnTo>
                    <a:pt x="74534" y="124061"/>
                  </a:lnTo>
                  <a:lnTo>
                    <a:pt x="72242" y="124857"/>
                  </a:lnTo>
                  <a:lnTo>
                    <a:pt x="70249" y="124857"/>
                  </a:lnTo>
                  <a:lnTo>
                    <a:pt x="72740" y="128239"/>
                  </a:lnTo>
                  <a:lnTo>
                    <a:pt x="82007" y="130229"/>
                  </a:lnTo>
                  <a:lnTo>
                    <a:pt x="84000" y="132020"/>
                  </a:lnTo>
                  <a:lnTo>
                    <a:pt x="84797" y="134905"/>
                  </a:lnTo>
                  <a:lnTo>
                    <a:pt x="86889" y="139183"/>
                  </a:lnTo>
                  <a:lnTo>
                    <a:pt x="89879" y="143162"/>
                  </a:lnTo>
                  <a:lnTo>
                    <a:pt x="93267" y="144854"/>
                  </a:lnTo>
                  <a:lnTo>
                    <a:pt x="97751" y="140576"/>
                  </a:lnTo>
                  <a:lnTo>
                    <a:pt x="98249" y="130527"/>
                  </a:lnTo>
                  <a:lnTo>
                    <a:pt x="97551" y="119385"/>
                  </a:lnTo>
                  <a:lnTo>
                    <a:pt x="98947" y="111625"/>
                  </a:lnTo>
                  <a:lnTo>
                    <a:pt x="98747" y="108939"/>
                  </a:lnTo>
                  <a:lnTo>
                    <a:pt x="99844" y="98294"/>
                  </a:lnTo>
                  <a:lnTo>
                    <a:pt x="101039" y="94911"/>
                  </a:lnTo>
                  <a:lnTo>
                    <a:pt x="103829" y="91727"/>
                  </a:lnTo>
                  <a:lnTo>
                    <a:pt x="107317" y="88643"/>
                  </a:lnTo>
                  <a:lnTo>
                    <a:pt x="111203" y="86455"/>
                  </a:lnTo>
                  <a:lnTo>
                    <a:pt x="115288" y="86057"/>
                  </a:lnTo>
                  <a:lnTo>
                    <a:pt x="114790" y="88046"/>
                  </a:lnTo>
                  <a:lnTo>
                    <a:pt x="114491" y="88643"/>
                  </a:lnTo>
                  <a:lnTo>
                    <a:pt x="116783" y="88245"/>
                  </a:lnTo>
                  <a:lnTo>
                    <a:pt x="117779" y="87748"/>
                  </a:lnTo>
                  <a:lnTo>
                    <a:pt x="118776" y="86852"/>
                  </a:lnTo>
                  <a:lnTo>
                    <a:pt x="119872" y="85758"/>
                  </a:lnTo>
                  <a:lnTo>
                    <a:pt x="120071" y="85161"/>
                  </a:lnTo>
                  <a:lnTo>
                    <a:pt x="119971" y="84664"/>
                  </a:lnTo>
                  <a:lnTo>
                    <a:pt x="119772" y="8356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7921242B-D1FE-461C-BC89-554D3ECC2FC7}"/>
                </a:ext>
              </a:extLst>
            </p:cNvPr>
            <p:cNvSpPr/>
            <p:nvPr/>
          </p:nvSpPr>
          <p:spPr>
            <a:xfrm>
              <a:off x="4448342" y="4680223"/>
              <a:ext cx="16640" cy="11142"/>
            </a:xfrm>
            <a:custGeom>
              <a:avLst/>
              <a:gdLst>
                <a:gd name="connsiteX0" fmla="*/ 15744 w 16640"/>
                <a:gd name="connsiteY0" fmla="*/ 4676 h 11142"/>
                <a:gd name="connsiteX1" fmla="*/ 16142 w 16640"/>
                <a:gd name="connsiteY1" fmla="*/ 2586 h 11142"/>
                <a:gd name="connsiteX2" fmla="*/ 15843 w 16640"/>
                <a:gd name="connsiteY2" fmla="*/ 1492 h 11142"/>
                <a:gd name="connsiteX3" fmla="*/ 14349 w 16640"/>
                <a:gd name="connsiteY3" fmla="*/ 995 h 11142"/>
                <a:gd name="connsiteX4" fmla="*/ 13352 w 16640"/>
                <a:gd name="connsiteY4" fmla="*/ 895 h 11142"/>
                <a:gd name="connsiteX5" fmla="*/ 11658 w 16640"/>
                <a:gd name="connsiteY5" fmla="*/ 199 h 11142"/>
                <a:gd name="connsiteX6" fmla="*/ 10961 w 16640"/>
                <a:gd name="connsiteY6" fmla="*/ 0 h 11142"/>
                <a:gd name="connsiteX7" fmla="*/ 3487 w 16640"/>
                <a:gd name="connsiteY7" fmla="*/ 0 h 11142"/>
                <a:gd name="connsiteX8" fmla="*/ 2391 w 16640"/>
                <a:gd name="connsiteY8" fmla="*/ 298 h 11142"/>
                <a:gd name="connsiteX9" fmla="*/ 1395 w 16640"/>
                <a:gd name="connsiteY9" fmla="*/ 895 h 11142"/>
                <a:gd name="connsiteX10" fmla="*/ 598 w 16640"/>
                <a:gd name="connsiteY10" fmla="*/ 1791 h 11142"/>
                <a:gd name="connsiteX11" fmla="*/ 0 w 16640"/>
                <a:gd name="connsiteY11" fmla="*/ 2785 h 11142"/>
                <a:gd name="connsiteX12" fmla="*/ 1395 w 16640"/>
                <a:gd name="connsiteY12" fmla="*/ 3581 h 11142"/>
                <a:gd name="connsiteX13" fmla="*/ 1494 w 16640"/>
                <a:gd name="connsiteY13" fmla="*/ 4875 h 11142"/>
                <a:gd name="connsiteX14" fmla="*/ 1295 w 16640"/>
                <a:gd name="connsiteY14" fmla="*/ 6168 h 11142"/>
                <a:gd name="connsiteX15" fmla="*/ 1794 w 16640"/>
                <a:gd name="connsiteY15" fmla="*/ 7462 h 11142"/>
                <a:gd name="connsiteX16" fmla="*/ 2989 w 16640"/>
                <a:gd name="connsiteY16" fmla="*/ 8058 h 11142"/>
                <a:gd name="connsiteX17" fmla="*/ 4384 w 16640"/>
                <a:gd name="connsiteY17" fmla="*/ 8357 h 11142"/>
                <a:gd name="connsiteX18" fmla="*/ 5580 w 16640"/>
                <a:gd name="connsiteY18" fmla="*/ 8058 h 11142"/>
                <a:gd name="connsiteX19" fmla="*/ 6078 w 16640"/>
                <a:gd name="connsiteY19" fmla="*/ 7063 h 11142"/>
                <a:gd name="connsiteX20" fmla="*/ 9167 w 16640"/>
                <a:gd name="connsiteY20" fmla="*/ 3482 h 11142"/>
                <a:gd name="connsiteX21" fmla="*/ 11260 w 16640"/>
                <a:gd name="connsiteY21" fmla="*/ 2288 h 11142"/>
                <a:gd name="connsiteX22" fmla="*/ 12156 w 16640"/>
                <a:gd name="connsiteY22" fmla="*/ 4676 h 11142"/>
                <a:gd name="connsiteX23" fmla="*/ 11758 w 16640"/>
                <a:gd name="connsiteY23" fmla="*/ 6267 h 11142"/>
                <a:gd name="connsiteX24" fmla="*/ 9765 w 16640"/>
                <a:gd name="connsiteY24" fmla="*/ 9451 h 11142"/>
                <a:gd name="connsiteX25" fmla="*/ 9566 w 16640"/>
                <a:gd name="connsiteY25" fmla="*/ 11143 h 11142"/>
                <a:gd name="connsiteX26" fmla="*/ 16640 w 16640"/>
                <a:gd name="connsiteY26" fmla="*/ 11143 h 11142"/>
                <a:gd name="connsiteX27" fmla="*/ 15744 w 16640"/>
                <a:gd name="connsiteY27" fmla="*/ 4676 h 1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640" h="11142">
                  <a:moveTo>
                    <a:pt x="15744" y="4676"/>
                  </a:moveTo>
                  <a:lnTo>
                    <a:pt x="16142" y="2586"/>
                  </a:lnTo>
                  <a:lnTo>
                    <a:pt x="15843" y="1492"/>
                  </a:lnTo>
                  <a:lnTo>
                    <a:pt x="14349" y="995"/>
                  </a:lnTo>
                  <a:lnTo>
                    <a:pt x="13352" y="895"/>
                  </a:lnTo>
                  <a:lnTo>
                    <a:pt x="11658" y="199"/>
                  </a:lnTo>
                  <a:lnTo>
                    <a:pt x="10961" y="0"/>
                  </a:lnTo>
                  <a:lnTo>
                    <a:pt x="3487" y="0"/>
                  </a:lnTo>
                  <a:lnTo>
                    <a:pt x="2391" y="298"/>
                  </a:lnTo>
                  <a:lnTo>
                    <a:pt x="1395" y="895"/>
                  </a:lnTo>
                  <a:lnTo>
                    <a:pt x="598" y="1791"/>
                  </a:lnTo>
                  <a:lnTo>
                    <a:pt x="0" y="2785"/>
                  </a:lnTo>
                  <a:lnTo>
                    <a:pt x="1395" y="3581"/>
                  </a:lnTo>
                  <a:lnTo>
                    <a:pt x="1494" y="4875"/>
                  </a:lnTo>
                  <a:lnTo>
                    <a:pt x="1295" y="6168"/>
                  </a:lnTo>
                  <a:lnTo>
                    <a:pt x="1794" y="7462"/>
                  </a:lnTo>
                  <a:lnTo>
                    <a:pt x="2989" y="8058"/>
                  </a:lnTo>
                  <a:lnTo>
                    <a:pt x="4384" y="8357"/>
                  </a:lnTo>
                  <a:lnTo>
                    <a:pt x="5580" y="8058"/>
                  </a:lnTo>
                  <a:lnTo>
                    <a:pt x="6078" y="7063"/>
                  </a:lnTo>
                  <a:lnTo>
                    <a:pt x="9167" y="3482"/>
                  </a:lnTo>
                  <a:lnTo>
                    <a:pt x="11260" y="2288"/>
                  </a:lnTo>
                  <a:lnTo>
                    <a:pt x="12156" y="4676"/>
                  </a:lnTo>
                  <a:lnTo>
                    <a:pt x="11758" y="6267"/>
                  </a:lnTo>
                  <a:lnTo>
                    <a:pt x="9765" y="9451"/>
                  </a:lnTo>
                  <a:lnTo>
                    <a:pt x="9566" y="11143"/>
                  </a:lnTo>
                  <a:lnTo>
                    <a:pt x="16640" y="11143"/>
                  </a:lnTo>
                  <a:lnTo>
                    <a:pt x="15744" y="467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169B126C-1152-4411-B5EC-9350E1CD9CCB}"/>
                </a:ext>
              </a:extLst>
            </p:cNvPr>
            <p:cNvSpPr/>
            <p:nvPr/>
          </p:nvSpPr>
          <p:spPr>
            <a:xfrm>
              <a:off x="3698819" y="4660723"/>
              <a:ext cx="41252" cy="26065"/>
            </a:xfrm>
            <a:custGeom>
              <a:avLst/>
              <a:gdLst>
                <a:gd name="connsiteX0" fmla="*/ 39957 w 41252"/>
                <a:gd name="connsiteY0" fmla="*/ 6566 h 26065"/>
                <a:gd name="connsiteX1" fmla="*/ 37765 w 41252"/>
                <a:gd name="connsiteY1" fmla="*/ 4377 h 26065"/>
                <a:gd name="connsiteX2" fmla="*/ 36470 w 41252"/>
                <a:gd name="connsiteY2" fmla="*/ 4577 h 26065"/>
                <a:gd name="connsiteX3" fmla="*/ 35473 w 41252"/>
                <a:gd name="connsiteY3" fmla="*/ 5671 h 26065"/>
                <a:gd name="connsiteX4" fmla="*/ 33779 w 41252"/>
                <a:gd name="connsiteY4" fmla="*/ 6566 h 26065"/>
                <a:gd name="connsiteX5" fmla="*/ 32384 w 41252"/>
                <a:gd name="connsiteY5" fmla="*/ 6069 h 26065"/>
                <a:gd name="connsiteX6" fmla="*/ 28299 w 41252"/>
                <a:gd name="connsiteY6" fmla="*/ 3382 h 26065"/>
                <a:gd name="connsiteX7" fmla="*/ 26904 w 41252"/>
                <a:gd name="connsiteY7" fmla="*/ 2785 h 26065"/>
                <a:gd name="connsiteX8" fmla="*/ 26008 w 41252"/>
                <a:gd name="connsiteY8" fmla="*/ 3084 h 26065"/>
                <a:gd name="connsiteX9" fmla="*/ 24114 w 41252"/>
                <a:gd name="connsiteY9" fmla="*/ 4377 h 26065"/>
                <a:gd name="connsiteX10" fmla="*/ 23018 w 41252"/>
                <a:gd name="connsiteY10" fmla="*/ 4676 h 26065"/>
                <a:gd name="connsiteX11" fmla="*/ 22520 w 41252"/>
                <a:gd name="connsiteY11" fmla="*/ 4278 h 26065"/>
                <a:gd name="connsiteX12" fmla="*/ 21324 w 41252"/>
                <a:gd name="connsiteY12" fmla="*/ 2487 h 26065"/>
                <a:gd name="connsiteX13" fmla="*/ 20826 w 41252"/>
                <a:gd name="connsiteY13" fmla="*/ 1890 h 26065"/>
                <a:gd name="connsiteX14" fmla="*/ 19431 w 41252"/>
                <a:gd name="connsiteY14" fmla="*/ 1094 h 26065"/>
                <a:gd name="connsiteX15" fmla="*/ 17837 w 41252"/>
                <a:gd name="connsiteY15" fmla="*/ 398 h 26065"/>
                <a:gd name="connsiteX16" fmla="*/ 16142 w 41252"/>
                <a:gd name="connsiteY16" fmla="*/ 298 h 26065"/>
                <a:gd name="connsiteX17" fmla="*/ 13950 w 41252"/>
                <a:gd name="connsiteY17" fmla="*/ 895 h 26065"/>
                <a:gd name="connsiteX18" fmla="*/ 12456 w 41252"/>
                <a:gd name="connsiteY18" fmla="*/ 1890 h 26065"/>
                <a:gd name="connsiteX19" fmla="*/ 11260 w 41252"/>
                <a:gd name="connsiteY19" fmla="*/ 2985 h 26065"/>
                <a:gd name="connsiteX20" fmla="*/ 9865 w 41252"/>
                <a:gd name="connsiteY20" fmla="*/ 3681 h 26065"/>
                <a:gd name="connsiteX21" fmla="*/ 7773 w 41252"/>
                <a:gd name="connsiteY21" fmla="*/ 3681 h 26065"/>
                <a:gd name="connsiteX22" fmla="*/ 5780 w 41252"/>
                <a:gd name="connsiteY22" fmla="*/ 2686 h 26065"/>
                <a:gd name="connsiteX23" fmla="*/ 4185 w 41252"/>
                <a:gd name="connsiteY23" fmla="*/ 1194 h 26065"/>
                <a:gd name="connsiteX24" fmla="*/ 2491 w 41252"/>
                <a:gd name="connsiteY24" fmla="*/ 100 h 26065"/>
                <a:gd name="connsiteX25" fmla="*/ 0 w 41252"/>
                <a:gd name="connsiteY25" fmla="*/ 0 h 26065"/>
                <a:gd name="connsiteX26" fmla="*/ 997 w 41252"/>
                <a:gd name="connsiteY26" fmla="*/ 895 h 26065"/>
                <a:gd name="connsiteX27" fmla="*/ 299 w 41252"/>
                <a:gd name="connsiteY27" fmla="*/ 4079 h 26065"/>
                <a:gd name="connsiteX28" fmla="*/ 1893 w 41252"/>
                <a:gd name="connsiteY28" fmla="*/ 6367 h 26065"/>
                <a:gd name="connsiteX29" fmla="*/ 4086 w 41252"/>
                <a:gd name="connsiteY29" fmla="*/ 8158 h 26065"/>
                <a:gd name="connsiteX30" fmla="*/ 5182 w 41252"/>
                <a:gd name="connsiteY30" fmla="*/ 9750 h 26065"/>
                <a:gd name="connsiteX31" fmla="*/ 6079 w 41252"/>
                <a:gd name="connsiteY31" fmla="*/ 11939 h 26065"/>
                <a:gd name="connsiteX32" fmla="*/ 7972 w 41252"/>
                <a:gd name="connsiteY32" fmla="*/ 12734 h 26065"/>
                <a:gd name="connsiteX33" fmla="*/ 10064 w 41252"/>
                <a:gd name="connsiteY33" fmla="*/ 12137 h 26065"/>
                <a:gd name="connsiteX34" fmla="*/ 11360 w 41252"/>
                <a:gd name="connsiteY34" fmla="*/ 10247 h 26065"/>
                <a:gd name="connsiteX35" fmla="*/ 12157 w 41252"/>
                <a:gd name="connsiteY35" fmla="*/ 10247 h 26065"/>
                <a:gd name="connsiteX36" fmla="*/ 12954 w 41252"/>
                <a:gd name="connsiteY36" fmla="*/ 13033 h 26065"/>
                <a:gd name="connsiteX37" fmla="*/ 13651 w 41252"/>
                <a:gd name="connsiteY37" fmla="*/ 11839 h 26065"/>
                <a:gd name="connsiteX38" fmla="*/ 13851 w 41252"/>
                <a:gd name="connsiteY38" fmla="*/ 10745 h 26065"/>
                <a:gd name="connsiteX39" fmla="*/ 13651 w 41252"/>
                <a:gd name="connsiteY39" fmla="*/ 9551 h 26065"/>
                <a:gd name="connsiteX40" fmla="*/ 12954 w 41252"/>
                <a:gd name="connsiteY40" fmla="*/ 8357 h 26065"/>
                <a:gd name="connsiteX41" fmla="*/ 15445 w 41252"/>
                <a:gd name="connsiteY41" fmla="*/ 9053 h 26065"/>
                <a:gd name="connsiteX42" fmla="*/ 16741 w 41252"/>
                <a:gd name="connsiteY42" fmla="*/ 9750 h 26065"/>
                <a:gd name="connsiteX43" fmla="*/ 17438 w 41252"/>
                <a:gd name="connsiteY43" fmla="*/ 10645 h 26065"/>
                <a:gd name="connsiteX44" fmla="*/ 17039 w 41252"/>
                <a:gd name="connsiteY44" fmla="*/ 12137 h 26065"/>
                <a:gd name="connsiteX45" fmla="*/ 16242 w 41252"/>
                <a:gd name="connsiteY45" fmla="*/ 13630 h 26065"/>
                <a:gd name="connsiteX46" fmla="*/ 15744 w 41252"/>
                <a:gd name="connsiteY46" fmla="*/ 15122 h 26065"/>
                <a:gd name="connsiteX47" fmla="*/ 16142 w 41252"/>
                <a:gd name="connsiteY47" fmla="*/ 16216 h 26065"/>
                <a:gd name="connsiteX48" fmla="*/ 17837 w 41252"/>
                <a:gd name="connsiteY48" fmla="*/ 17609 h 26065"/>
                <a:gd name="connsiteX49" fmla="*/ 20626 w 41252"/>
                <a:gd name="connsiteY49" fmla="*/ 18902 h 26065"/>
                <a:gd name="connsiteX50" fmla="*/ 23317 w 41252"/>
                <a:gd name="connsiteY50" fmla="*/ 19400 h 26065"/>
                <a:gd name="connsiteX51" fmla="*/ 25111 w 41252"/>
                <a:gd name="connsiteY51" fmla="*/ 18604 h 26065"/>
                <a:gd name="connsiteX52" fmla="*/ 26605 w 41252"/>
                <a:gd name="connsiteY52" fmla="*/ 19798 h 26065"/>
                <a:gd name="connsiteX53" fmla="*/ 27502 w 41252"/>
                <a:gd name="connsiteY53" fmla="*/ 20992 h 26065"/>
                <a:gd name="connsiteX54" fmla="*/ 28100 w 41252"/>
                <a:gd name="connsiteY54" fmla="*/ 22285 h 26065"/>
                <a:gd name="connsiteX55" fmla="*/ 29595 w 41252"/>
                <a:gd name="connsiteY55" fmla="*/ 24474 h 26065"/>
                <a:gd name="connsiteX56" fmla="*/ 29993 w 41252"/>
                <a:gd name="connsiteY56" fmla="*/ 25270 h 26065"/>
                <a:gd name="connsiteX57" fmla="*/ 30491 w 41252"/>
                <a:gd name="connsiteY57" fmla="*/ 25966 h 26065"/>
                <a:gd name="connsiteX58" fmla="*/ 31288 w 41252"/>
                <a:gd name="connsiteY58" fmla="*/ 26066 h 26065"/>
                <a:gd name="connsiteX59" fmla="*/ 32185 w 41252"/>
                <a:gd name="connsiteY59" fmla="*/ 25469 h 26065"/>
                <a:gd name="connsiteX60" fmla="*/ 32086 w 41252"/>
                <a:gd name="connsiteY60" fmla="*/ 24573 h 26065"/>
                <a:gd name="connsiteX61" fmla="*/ 31588 w 41252"/>
                <a:gd name="connsiteY61" fmla="*/ 23678 h 26065"/>
                <a:gd name="connsiteX62" fmla="*/ 31288 w 41252"/>
                <a:gd name="connsiteY62" fmla="*/ 23181 h 26065"/>
                <a:gd name="connsiteX63" fmla="*/ 32285 w 41252"/>
                <a:gd name="connsiteY63" fmla="*/ 20992 h 26065"/>
                <a:gd name="connsiteX64" fmla="*/ 33580 w 41252"/>
                <a:gd name="connsiteY64" fmla="*/ 20594 h 26065"/>
                <a:gd name="connsiteX65" fmla="*/ 34477 w 41252"/>
                <a:gd name="connsiteY65" fmla="*/ 21688 h 26065"/>
                <a:gd name="connsiteX66" fmla="*/ 33779 w 41252"/>
                <a:gd name="connsiteY66" fmla="*/ 24175 h 26065"/>
                <a:gd name="connsiteX67" fmla="*/ 36470 w 41252"/>
                <a:gd name="connsiteY67" fmla="*/ 22086 h 26065"/>
                <a:gd name="connsiteX68" fmla="*/ 37964 w 41252"/>
                <a:gd name="connsiteY68" fmla="*/ 21489 h 26065"/>
                <a:gd name="connsiteX69" fmla="*/ 39957 w 41252"/>
                <a:gd name="connsiteY69" fmla="*/ 21489 h 26065"/>
                <a:gd name="connsiteX70" fmla="*/ 38562 w 41252"/>
                <a:gd name="connsiteY70" fmla="*/ 19201 h 26065"/>
                <a:gd name="connsiteX71" fmla="*/ 38164 w 41252"/>
                <a:gd name="connsiteY71" fmla="*/ 17908 h 26065"/>
                <a:gd name="connsiteX72" fmla="*/ 40854 w 41252"/>
                <a:gd name="connsiteY72" fmla="*/ 11739 h 26065"/>
                <a:gd name="connsiteX73" fmla="*/ 41253 w 41252"/>
                <a:gd name="connsiteY73" fmla="*/ 9949 h 26065"/>
                <a:gd name="connsiteX74" fmla="*/ 40954 w 41252"/>
                <a:gd name="connsiteY74" fmla="*/ 8258 h 26065"/>
                <a:gd name="connsiteX75" fmla="*/ 39957 w 41252"/>
                <a:gd name="connsiteY75" fmla="*/ 6566 h 26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41252" h="26065">
                  <a:moveTo>
                    <a:pt x="39957" y="6566"/>
                  </a:moveTo>
                  <a:lnTo>
                    <a:pt x="37765" y="4377"/>
                  </a:lnTo>
                  <a:lnTo>
                    <a:pt x="36470" y="4577"/>
                  </a:lnTo>
                  <a:lnTo>
                    <a:pt x="35473" y="5671"/>
                  </a:lnTo>
                  <a:lnTo>
                    <a:pt x="33779" y="6566"/>
                  </a:lnTo>
                  <a:lnTo>
                    <a:pt x="32384" y="6069"/>
                  </a:lnTo>
                  <a:lnTo>
                    <a:pt x="28299" y="3382"/>
                  </a:lnTo>
                  <a:lnTo>
                    <a:pt x="26904" y="2785"/>
                  </a:lnTo>
                  <a:lnTo>
                    <a:pt x="26008" y="3084"/>
                  </a:lnTo>
                  <a:lnTo>
                    <a:pt x="24114" y="4377"/>
                  </a:lnTo>
                  <a:lnTo>
                    <a:pt x="23018" y="4676"/>
                  </a:lnTo>
                  <a:lnTo>
                    <a:pt x="22520" y="4278"/>
                  </a:lnTo>
                  <a:lnTo>
                    <a:pt x="21324" y="2487"/>
                  </a:lnTo>
                  <a:lnTo>
                    <a:pt x="20826" y="1890"/>
                  </a:lnTo>
                  <a:lnTo>
                    <a:pt x="19431" y="1094"/>
                  </a:lnTo>
                  <a:lnTo>
                    <a:pt x="17837" y="398"/>
                  </a:lnTo>
                  <a:lnTo>
                    <a:pt x="16142" y="298"/>
                  </a:lnTo>
                  <a:lnTo>
                    <a:pt x="13950" y="895"/>
                  </a:lnTo>
                  <a:lnTo>
                    <a:pt x="12456" y="1890"/>
                  </a:lnTo>
                  <a:lnTo>
                    <a:pt x="11260" y="2985"/>
                  </a:lnTo>
                  <a:lnTo>
                    <a:pt x="9865" y="3681"/>
                  </a:lnTo>
                  <a:lnTo>
                    <a:pt x="7773" y="3681"/>
                  </a:lnTo>
                  <a:lnTo>
                    <a:pt x="5780" y="2686"/>
                  </a:lnTo>
                  <a:lnTo>
                    <a:pt x="4185" y="1194"/>
                  </a:lnTo>
                  <a:lnTo>
                    <a:pt x="2491" y="100"/>
                  </a:lnTo>
                  <a:lnTo>
                    <a:pt x="0" y="0"/>
                  </a:lnTo>
                  <a:lnTo>
                    <a:pt x="997" y="895"/>
                  </a:lnTo>
                  <a:lnTo>
                    <a:pt x="299" y="4079"/>
                  </a:lnTo>
                  <a:lnTo>
                    <a:pt x="1893" y="6367"/>
                  </a:lnTo>
                  <a:lnTo>
                    <a:pt x="4086" y="8158"/>
                  </a:lnTo>
                  <a:lnTo>
                    <a:pt x="5182" y="9750"/>
                  </a:lnTo>
                  <a:lnTo>
                    <a:pt x="6079" y="11939"/>
                  </a:lnTo>
                  <a:lnTo>
                    <a:pt x="7972" y="12734"/>
                  </a:lnTo>
                  <a:lnTo>
                    <a:pt x="10064" y="12137"/>
                  </a:lnTo>
                  <a:lnTo>
                    <a:pt x="11360" y="10247"/>
                  </a:lnTo>
                  <a:lnTo>
                    <a:pt x="12157" y="10247"/>
                  </a:lnTo>
                  <a:lnTo>
                    <a:pt x="12954" y="13033"/>
                  </a:lnTo>
                  <a:lnTo>
                    <a:pt x="13651" y="11839"/>
                  </a:lnTo>
                  <a:lnTo>
                    <a:pt x="13851" y="10745"/>
                  </a:lnTo>
                  <a:lnTo>
                    <a:pt x="13651" y="9551"/>
                  </a:lnTo>
                  <a:lnTo>
                    <a:pt x="12954" y="8357"/>
                  </a:lnTo>
                  <a:lnTo>
                    <a:pt x="15445" y="9053"/>
                  </a:lnTo>
                  <a:lnTo>
                    <a:pt x="16741" y="9750"/>
                  </a:lnTo>
                  <a:lnTo>
                    <a:pt x="17438" y="10645"/>
                  </a:lnTo>
                  <a:lnTo>
                    <a:pt x="17039" y="12137"/>
                  </a:lnTo>
                  <a:lnTo>
                    <a:pt x="16242" y="13630"/>
                  </a:lnTo>
                  <a:lnTo>
                    <a:pt x="15744" y="15122"/>
                  </a:lnTo>
                  <a:lnTo>
                    <a:pt x="16142" y="16216"/>
                  </a:lnTo>
                  <a:lnTo>
                    <a:pt x="17837" y="17609"/>
                  </a:lnTo>
                  <a:lnTo>
                    <a:pt x="20626" y="18902"/>
                  </a:lnTo>
                  <a:lnTo>
                    <a:pt x="23317" y="19400"/>
                  </a:lnTo>
                  <a:lnTo>
                    <a:pt x="25111" y="18604"/>
                  </a:lnTo>
                  <a:lnTo>
                    <a:pt x="26605" y="19798"/>
                  </a:lnTo>
                  <a:lnTo>
                    <a:pt x="27502" y="20992"/>
                  </a:lnTo>
                  <a:lnTo>
                    <a:pt x="28100" y="22285"/>
                  </a:lnTo>
                  <a:lnTo>
                    <a:pt x="29595" y="24474"/>
                  </a:lnTo>
                  <a:lnTo>
                    <a:pt x="29993" y="25270"/>
                  </a:lnTo>
                  <a:lnTo>
                    <a:pt x="30491" y="25966"/>
                  </a:lnTo>
                  <a:lnTo>
                    <a:pt x="31288" y="26066"/>
                  </a:lnTo>
                  <a:lnTo>
                    <a:pt x="32185" y="25469"/>
                  </a:lnTo>
                  <a:lnTo>
                    <a:pt x="32086" y="24573"/>
                  </a:lnTo>
                  <a:lnTo>
                    <a:pt x="31588" y="23678"/>
                  </a:lnTo>
                  <a:lnTo>
                    <a:pt x="31288" y="23181"/>
                  </a:lnTo>
                  <a:lnTo>
                    <a:pt x="32285" y="20992"/>
                  </a:lnTo>
                  <a:lnTo>
                    <a:pt x="33580" y="20594"/>
                  </a:lnTo>
                  <a:lnTo>
                    <a:pt x="34477" y="21688"/>
                  </a:lnTo>
                  <a:lnTo>
                    <a:pt x="33779" y="24175"/>
                  </a:lnTo>
                  <a:lnTo>
                    <a:pt x="36470" y="22086"/>
                  </a:lnTo>
                  <a:lnTo>
                    <a:pt x="37964" y="21489"/>
                  </a:lnTo>
                  <a:lnTo>
                    <a:pt x="39957" y="21489"/>
                  </a:lnTo>
                  <a:lnTo>
                    <a:pt x="38562" y="19201"/>
                  </a:lnTo>
                  <a:lnTo>
                    <a:pt x="38164" y="17908"/>
                  </a:lnTo>
                  <a:lnTo>
                    <a:pt x="40854" y="11739"/>
                  </a:lnTo>
                  <a:lnTo>
                    <a:pt x="41253" y="9949"/>
                  </a:lnTo>
                  <a:lnTo>
                    <a:pt x="40954" y="8258"/>
                  </a:lnTo>
                  <a:lnTo>
                    <a:pt x="39957" y="656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79A7D168-64AF-423C-9744-A2A92A2F5ABF}"/>
                </a:ext>
              </a:extLst>
            </p:cNvPr>
            <p:cNvSpPr/>
            <p:nvPr/>
          </p:nvSpPr>
          <p:spPr>
            <a:xfrm>
              <a:off x="3707588" y="4632170"/>
              <a:ext cx="15544" cy="18404"/>
            </a:xfrm>
            <a:custGeom>
              <a:avLst/>
              <a:gdLst>
                <a:gd name="connsiteX0" fmla="*/ 9267 w 15544"/>
                <a:gd name="connsiteY0" fmla="*/ 14923 h 18404"/>
                <a:gd name="connsiteX1" fmla="*/ 12555 w 15544"/>
                <a:gd name="connsiteY1" fmla="*/ 18405 h 18404"/>
                <a:gd name="connsiteX2" fmla="*/ 15544 w 15544"/>
                <a:gd name="connsiteY2" fmla="*/ 18305 h 18404"/>
                <a:gd name="connsiteX3" fmla="*/ 13751 w 15544"/>
                <a:gd name="connsiteY3" fmla="*/ 15818 h 18404"/>
                <a:gd name="connsiteX4" fmla="*/ 11459 w 15544"/>
                <a:gd name="connsiteY4" fmla="*/ 13729 h 18404"/>
                <a:gd name="connsiteX5" fmla="*/ 9466 w 15544"/>
                <a:gd name="connsiteY5" fmla="*/ 11540 h 18404"/>
                <a:gd name="connsiteX6" fmla="*/ 7872 w 15544"/>
                <a:gd name="connsiteY6" fmla="*/ 5671 h 18404"/>
                <a:gd name="connsiteX7" fmla="*/ 5879 w 15544"/>
                <a:gd name="connsiteY7" fmla="*/ 2288 h 18404"/>
                <a:gd name="connsiteX8" fmla="*/ 3089 w 15544"/>
                <a:gd name="connsiteY8" fmla="*/ 0 h 18404"/>
                <a:gd name="connsiteX9" fmla="*/ 0 w 15544"/>
                <a:gd name="connsiteY9" fmla="*/ 597 h 18404"/>
                <a:gd name="connsiteX10" fmla="*/ 1495 w 15544"/>
                <a:gd name="connsiteY10" fmla="*/ 1492 h 18404"/>
                <a:gd name="connsiteX11" fmla="*/ 3787 w 15544"/>
                <a:gd name="connsiteY11" fmla="*/ 3283 h 18404"/>
                <a:gd name="connsiteX12" fmla="*/ 5182 w 15544"/>
                <a:gd name="connsiteY12" fmla="*/ 5372 h 18404"/>
                <a:gd name="connsiteX13" fmla="*/ 4185 w 15544"/>
                <a:gd name="connsiteY13" fmla="*/ 7163 h 18404"/>
                <a:gd name="connsiteX14" fmla="*/ 9267 w 15544"/>
                <a:gd name="connsiteY14" fmla="*/ 14923 h 18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544" h="18404">
                  <a:moveTo>
                    <a:pt x="9267" y="14923"/>
                  </a:moveTo>
                  <a:lnTo>
                    <a:pt x="12555" y="18405"/>
                  </a:lnTo>
                  <a:lnTo>
                    <a:pt x="15544" y="18305"/>
                  </a:lnTo>
                  <a:lnTo>
                    <a:pt x="13751" y="15818"/>
                  </a:lnTo>
                  <a:lnTo>
                    <a:pt x="11459" y="13729"/>
                  </a:lnTo>
                  <a:lnTo>
                    <a:pt x="9466" y="11540"/>
                  </a:lnTo>
                  <a:lnTo>
                    <a:pt x="7872" y="5671"/>
                  </a:lnTo>
                  <a:lnTo>
                    <a:pt x="5879" y="2288"/>
                  </a:lnTo>
                  <a:lnTo>
                    <a:pt x="3089" y="0"/>
                  </a:lnTo>
                  <a:lnTo>
                    <a:pt x="0" y="597"/>
                  </a:lnTo>
                  <a:lnTo>
                    <a:pt x="1495" y="1492"/>
                  </a:lnTo>
                  <a:lnTo>
                    <a:pt x="3787" y="3283"/>
                  </a:lnTo>
                  <a:lnTo>
                    <a:pt x="5182" y="5372"/>
                  </a:lnTo>
                  <a:lnTo>
                    <a:pt x="4185" y="7163"/>
                  </a:lnTo>
                  <a:lnTo>
                    <a:pt x="9267" y="1492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199944E4-06BE-4BB1-A3BF-44E222D0E249}"/>
                </a:ext>
              </a:extLst>
            </p:cNvPr>
            <p:cNvSpPr/>
            <p:nvPr/>
          </p:nvSpPr>
          <p:spPr>
            <a:xfrm>
              <a:off x="3686663" y="4631871"/>
              <a:ext cx="27800" cy="29348"/>
            </a:xfrm>
            <a:custGeom>
              <a:avLst/>
              <a:gdLst>
                <a:gd name="connsiteX0" fmla="*/ 14548 w 27800"/>
                <a:gd name="connsiteY0" fmla="*/ 13729 h 29348"/>
                <a:gd name="connsiteX1" fmla="*/ 13950 w 27800"/>
                <a:gd name="connsiteY1" fmla="*/ 12336 h 29348"/>
                <a:gd name="connsiteX2" fmla="*/ 13153 w 27800"/>
                <a:gd name="connsiteY2" fmla="*/ 11142 h 29348"/>
                <a:gd name="connsiteX3" fmla="*/ 11558 w 27800"/>
                <a:gd name="connsiteY3" fmla="*/ 10645 h 29348"/>
                <a:gd name="connsiteX4" fmla="*/ 8470 w 27800"/>
                <a:gd name="connsiteY4" fmla="*/ 11142 h 29348"/>
                <a:gd name="connsiteX5" fmla="*/ 7374 w 27800"/>
                <a:gd name="connsiteY5" fmla="*/ 10645 h 29348"/>
                <a:gd name="connsiteX6" fmla="*/ 6576 w 27800"/>
                <a:gd name="connsiteY6" fmla="*/ 8357 h 29348"/>
                <a:gd name="connsiteX7" fmla="*/ 7473 w 27800"/>
                <a:gd name="connsiteY7" fmla="*/ 6765 h 29348"/>
                <a:gd name="connsiteX8" fmla="*/ 8868 w 27800"/>
                <a:gd name="connsiteY8" fmla="*/ 5372 h 29348"/>
                <a:gd name="connsiteX9" fmla="*/ 9566 w 27800"/>
                <a:gd name="connsiteY9" fmla="*/ 4079 h 29348"/>
                <a:gd name="connsiteX10" fmla="*/ 8968 w 27800"/>
                <a:gd name="connsiteY10" fmla="*/ 2189 h 29348"/>
                <a:gd name="connsiteX11" fmla="*/ 7374 w 27800"/>
                <a:gd name="connsiteY11" fmla="*/ 995 h 29348"/>
                <a:gd name="connsiteX12" fmla="*/ 5381 w 27800"/>
                <a:gd name="connsiteY12" fmla="*/ 298 h 29348"/>
                <a:gd name="connsiteX13" fmla="*/ 3487 w 27800"/>
                <a:gd name="connsiteY13" fmla="*/ 0 h 29348"/>
                <a:gd name="connsiteX14" fmla="*/ 4882 w 27800"/>
                <a:gd name="connsiteY14" fmla="*/ 2388 h 29348"/>
                <a:gd name="connsiteX15" fmla="*/ 5381 w 27800"/>
                <a:gd name="connsiteY15" fmla="*/ 3880 h 29348"/>
                <a:gd name="connsiteX16" fmla="*/ 5182 w 27800"/>
                <a:gd name="connsiteY16" fmla="*/ 8854 h 29348"/>
                <a:gd name="connsiteX17" fmla="*/ 4783 w 27800"/>
                <a:gd name="connsiteY17" fmla="*/ 11043 h 29348"/>
                <a:gd name="connsiteX18" fmla="*/ 3687 w 27800"/>
                <a:gd name="connsiteY18" fmla="*/ 13232 h 29348"/>
                <a:gd name="connsiteX19" fmla="*/ 2093 w 27800"/>
                <a:gd name="connsiteY19" fmla="*/ 15022 h 29348"/>
                <a:gd name="connsiteX20" fmla="*/ 0 w 27800"/>
                <a:gd name="connsiteY20" fmla="*/ 15719 h 29348"/>
                <a:gd name="connsiteX21" fmla="*/ 1196 w 27800"/>
                <a:gd name="connsiteY21" fmla="*/ 17907 h 29348"/>
                <a:gd name="connsiteX22" fmla="*/ 5182 w 27800"/>
                <a:gd name="connsiteY22" fmla="*/ 20793 h 29348"/>
                <a:gd name="connsiteX23" fmla="*/ 6078 w 27800"/>
                <a:gd name="connsiteY23" fmla="*/ 22783 h 29348"/>
                <a:gd name="connsiteX24" fmla="*/ 6975 w 27800"/>
                <a:gd name="connsiteY24" fmla="*/ 23578 h 29348"/>
                <a:gd name="connsiteX25" fmla="*/ 11459 w 27800"/>
                <a:gd name="connsiteY25" fmla="*/ 26165 h 29348"/>
                <a:gd name="connsiteX26" fmla="*/ 13153 w 27800"/>
                <a:gd name="connsiteY26" fmla="*/ 26961 h 29348"/>
                <a:gd name="connsiteX27" fmla="*/ 11957 w 27800"/>
                <a:gd name="connsiteY27" fmla="*/ 23479 h 29348"/>
                <a:gd name="connsiteX28" fmla="*/ 14149 w 27800"/>
                <a:gd name="connsiteY28" fmla="*/ 22384 h 29348"/>
                <a:gd name="connsiteX29" fmla="*/ 16840 w 27800"/>
                <a:gd name="connsiteY29" fmla="*/ 23380 h 29348"/>
                <a:gd name="connsiteX30" fmla="*/ 17338 w 27800"/>
                <a:gd name="connsiteY30" fmla="*/ 26065 h 29348"/>
                <a:gd name="connsiteX31" fmla="*/ 18334 w 27800"/>
                <a:gd name="connsiteY31" fmla="*/ 27259 h 29348"/>
                <a:gd name="connsiteX32" fmla="*/ 18633 w 27800"/>
                <a:gd name="connsiteY32" fmla="*/ 27856 h 29348"/>
                <a:gd name="connsiteX33" fmla="*/ 19032 w 27800"/>
                <a:gd name="connsiteY33" fmla="*/ 28851 h 29348"/>
                <a:gd name="connsiteX34" fmla="*/ 19630 w 27800"/>
                <a:gd name="connsiteY34" fmla="*/ 28652 h 29348"/>
                <a:gd name="connsiteX35" fmla="*/ 21124 w 27800"/>
                <a:gd name="connsiteY35" fmla="*/ 28155 h 29348"/>
                <a:gd name="connsiteX36" fmla="*/ 21722 w 27800"/>
                <a:gd name="connsiteY36" fmla="*/ 27956 h 29348"/>
                <a:gd name="connsiteX37" fmla="*/ 23018 w 27800"/>
                <a:gd name="connsiteY37" fmla="*/ 29349 h 29348"/>
                <a:gd name="connsiteX38" fmla="*/ 24911 w 27800"/>
                <a:gd name="connsiteY38" fmla="*/ 27061 h 29348"/>
                <a:gd name="connsiteX39" fmla="*/ 27800 w 27800"/>
                <a:gd name="connsiteY39" fmla="*/ 21390 h 29348"/>
                <a:gd name="connsiteX40" fmla="*/ 26505 w 27800"/>
                <a:gd name="connsiteY40" fmla="*/ 20494 h 29348"/>
                <a:gd name="connsiteX41" fmla="*/ 23915 w 27800"/>
                <a:gd name="connsiteY41" fmla="*/ 19997 h 29348"/>
                <a:gd name="connsiteX42" fmla="*/ 22520 w 27800"/>
                <a:gd name="connsiteY42" fmla="*/ 19499 h 29348"/>
                <a:gd name="connsiteX43" fmla="*/ 21623 w 27800"/>
                <a:gd name="connsiteY43" fmla="*/ 18803 h 29348"/>
                <a:gd name="connsiteX44" fmla="*/ 20726 w 27800"/>
                <a:gd name="connsiteY44" fmla="*/ 17907 h 29348"/>
                <a:gd name="connsiteX45" fmla="*/ 19630 w 27800"/>
                <a:gd name="connsiteY45" fmla="*/ 17112 h 29348"/>
                <a:gd name="connsiteX46" fmla="*/ 18135 w 27800"/>
                <a:gd name="connsiteY46" fmla="*/ 16714 h 29348"/>
                <a:gd name="connsiteX47" fmla="*/ 19929 w 27800"/>
                <a:gd name="connsiteY47" fmla="*/ 15818 h 29348"/>
                <a:gd name="connsiteX48" fmla="*/ 22121 w 27800"/>
                <a:gd name="connsiteY48" fmla="*/ 15321 h 29348"/>
                <a:gd name="connsiteX49" fmla="*/ 23516 w 27800"/>
                <a:gd name="connsiteY49" fmla="*/ 14326 h 29348"/>
                <a:gd name="connsiteX50" fmla="*/ 22520 w 27800"/>
                <a:gd name="connsiteY50" fmla="*/ 12038 h 29348"/>
                <a:gd name="connsiteX51" fmla="*/ 21623 w 27800"/>
                <a:gd name="connsiteY51" fmla="*/ 13431 h 29348"/>
                <a:gd name="connsiteX52" fmla="*/ 20327 w 27800"/>
                <a:gd name="connsiteY52" fmla="*/ 13629 h 29348"/>
                <a:gd name="connsiteX53" fmla="*/ 19032 w 27800"/>
                <a:gd name="connsiteY53" fmla="*/ 12834 h 29348"/>
                <a:gd name="connsiteX54" fmla="*/ 18135 w 27800"/>
                <a:gd name="connsiteY54" fmla="*/ 11142 h 29348"/>
                <a:gd name="connsiteX55" fmla="*/ 17438 w 27800"/>
                <a:gd name="connsiteY55" fmla="*/ 11739 h 29348"/>
                <a:gd name="connsiteX56" fmla="*/ 16740 w 27800"/>
                <a:gd name="connsiteY56" fmla="*/ 12336 h 29348"/>
                <a:gd name="connsiteX57" fmla="*/ 16242 w 27800"/>
                <a:gd name="connsiteY57" fmla="*/ 13132 h 29348"/>
                <a:gd name="connsiteX58" fmla="*/ 15644 w 27800"/>
                <a:gd name="connsiteY58" fmla="*/ 13928 h 29348"/>
                <a:gd name="connsiteX59" fmla="*/ 17338 w 27800"/>
                <a:gd name="connsiteY59" fmla="*/ 14923 h 29348"/>
                <a:gd name="connsiteX60" fmla="*/ 15445 w 27800"/>
                <a:gd name="connsiteY60" fmla="*/ 14724 h 29348"/>
                <a:gd name="connsiteX61" fmla="*/ 14548 w 27800"/>
                <a:gd name="connsiteY61" fmla="*/ 13729 h 29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7800" h="29348">
                  <a:moveTo>
                    <a:pt x="14548" y="13729"/>
                  </a:moveTo>
                  <a:lnTo>
                    <a:pt x="13950" y="12336"/>
                  </a:lnTo>
                  <a:lnTo>
                    <a:pt x="13153" y="11142"/>
                  </a:lnTo>
                  <a:lnTo>
                    <a:pt x="11558" y="10645"/>
                  </a:lnTo>
                  <a:lnTo>
                    <a:pt x="8470" y="11142"/>
                  </a:lnTo>
                  <a:lnTo>
                    <a:pt x="7374" y="10645"/>
                  </a:lnTo>
                  <a:lnTo>
                    <a:pt x="6576" y="8357"/>
                  </a:lnTo>
                  <a:lnTo>
                    <a:pt x="7473" y="6765"/>
                  </a:lnTo>
                  <a:lnTo>
                    <a:pt x="8868" y="5372"/>
                  </a:lnTo>
                  <a:lnTo>
                    <a:pt x="9566" y="4079"/>
                  </a:lnTo>
                  <a:lnTo>
                    <a:pt x="8968" y="2189"/>
                  </a:lnTo>
                  <a:lnTo>
                    <a:pt x="7374" y="995"/>
                  </a:lnTo>
                  <a:lnTo>
                    <a:pt x="5381" y="298"/>
                  </a:lnTo>
                  <a:lnTo>
                    <a:pt x="3487" y="0"/>
                  </a:lnTo>
                  <a:lnTo>
                    <a:pt x="4882" y="2388"/>
                  </a:lnTo>
                  <a:lnTo>
                    <a:pt x="5381" y="3880"/>
                  </a:lnTo>
                  <a:lnTo>
                    <a:pt x="5182" y="8854"/>
                  </a:lnTo>
                  <a:lnTo>
                    <a:pt x="4783" y="11043"/>
                  </a:lnTo>
                  <a:lnTo>
                    <a:pt x="3687" y="13232"/>
                  </a:lnTo>
                  <a:lnTo>
                    <a:pt x="2093" y="15022"/>
                  </a:lnTo>
                  <a:lnTo>
                    <a:pt x="0" y="15719"/>
                  </a:lnTo>
                  <a:lnTo>
                    <a:pt x="1196" y="17907"/>
                  </a:lnTo>
                  <a:lnTo>
                    <a:pt x="5182" y="20793"/>
                  </a:lnTo>
                  <a:lnTo>
                    <a:pt x="6078" y="22783"/>
                  </a:lnTo>
                  <a:lnTo>
                    <a:pt x="6975" y="23578"/>
                  </a:lnTo>
                  <a:lnTo>
                    <a:pt x="11459" y="26165"/>
                  </a:lnTo>
                  <a:lnTo>
                    <a:pt x="13153" y="26961"/>
                  </a:lnTo>
                  <a:lnTo>
                    <a:pt x="11957" y="23479"/>
                  </a:lnTo>
                  <a:lnTo>
                    <a:pt x="14149" y="22384"/>
                  </a:lnTo>
                  <a:lnTo>
                    <a:pt x="16840" y="23380"/>
                  </a:lnTo>
                  <a:lnTo>
                    <a:pt x="17338" y="26065"/>
                  </a:lnTo>
                  <a:lnTo>
                    <a:pt x="18334" y="27259"/>
                  </a:lnTo>
                  <a:lnTo>
                    <a:pt x="18633" y="27856"/>
                  </a:lnTo>
                  <a:lnTo>
                    <a:pt x="19032" y="28851"/>
                  </a:lnTo>
                  <a:lnTo>
                    <a:pt x="19630" y="28652"/>
                  </a:lnTo>
                  <a:lnTo>
                    <a:pt x="21124" y="28155"/>
                  </a:lnTo>
                  <a:lnTo>
                    <a:pt x="21722" y="27956"/>
                  </a:lnTo>
                  <a:lnTo>
                    <a:pt x="23018" y="29349"/>
                  </a:lnTo>
                  <a:lnTo>
                    <a:pt x="24911" y="27061"/>
                  </a:lnTo>
                  <a:lnTo>
                    <a:pt x="27800" y="21390"/>
                  </a:lnTo>
                  <a:lnTo>
                    <a:pt x="26505" y="20494"/>
                  </a:lnTo>
                  <a:lnTo>
                    <a:pt x="23915" y="19997"/>
                  </a:lnTo>
                  <a:lnTo>
                    <a:pt x="22520" y="19499"/>
                  </a:lnTo>
                  <a:lnTo>
                    <a:pt x="21623" y="18803"/>
                  </a:lnTo>
                  <a:lnTo>
                    <a:pt x="20726" y="17907"/>
                  </a:lnTo>
                  <a:lnTo>
                    <a:pt x="19630" y="17112"/>
                  </a:lnTo>
                  <a:lnTo>
                    <a:pt x="18135" y="16714"/>
                  </a:lnTo>
                  <a:lnTo>
                    <a:pt x="19929" y="15818"/>
                  </a:lnTo>
                  <a:lnTo>
                    <a:pt x="22121" y="15321"/>
                  </a:lnTo>
                  <a:lnTo>
                    <a:pt x="23516" y="14326"/>
                  </a:lnTo>
                  <a:lnTo>
                    <a:pt x="22520" y="12038"/>
                  </a:lnTo>
                  <a:lnTo>
                    <a:pt x="21623" y="13431"/>
                  </a:lnTo>
                  <a:lnTo>
                    <a:pt x="20327" y="13629"/>
                  </a:lnTo>
                  <a:lnTo>
                    <a:pt x="19032" y="12834"/>
                  </a:lnTo>
                  <a:lnTo>
                    <a:pt x="18135" y="11142"/>
                  </a:lnTo>
                  <a:lnTo>
                    <a:pt x="17438" y="11739"/>
                  </a:lnTo>
                  <a:lnTo>
                    <a:pt x="16740" y="12336"/>
                  </a:lnTo>
                  <a:lnTo>
                    <a:pt x="16242" y="13132"/>
                  </a:lnTo>
                  <a:lnTo>
                    <a:pt x="15644" y="13928"/>
                  </a:lnTo>
                  <a:lnTo>
                    <a:pt x="17338" y="14923"/>
                  </a:lnTo>
                  <a:lnTo>
                    <a:pt x="15445" y="14724"/>
                  </a:lnTo>
                  <a:lnTo>
                    <a:pt x="14548" y="1372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0104041B-F3C4-4E4D-862A-E4555BD1FD06}"/>
                </a:ext>
              </a:extLst>
            </p:cNvPr>
            <p:cNvSpPr/>
            <p:nvPr/>
          </p:nvSpPr>
          <p:spPr>
            <a:xfrm>
              <a:off x="3652783" y="4615257"/>
              <a:ext cx="38263" cy="23280"/>
            </a:xfrm>
            <a:custGeom>
              <a:avLst/>
              <a:gdLst>
                <a:gd name="connsiteX0" fmla="*/ 17936 w 38263"/>
                <a:gd name="connsiteY0" fmla="*/ 17211 h 23280"/>
                <a:gd name="connsiteX1" fmla="*/ 21124 w 38263"/>
                <a:gd name="connsiteY1" fmla="*/ 17908 h 23280"/>
                <a:gd name="connsiteX2" fmla="*/ 24114 w 38263"/>
                <a:gd name="connsiteY2" fmla="*/ 17908 h 23280"/>
                <a:gd name="connsiteX3" fmla="*/ 26904 w 38263"/>
                <a:gd name="connsiteY3" fmla="*/ 18405 h 23280"/>
                <a:gd name="connsiteX4" fmla="*/ 33082 w 38263"/>
                <a:gd name="connsiteY4" fmla="*/ 22385 h 23280"/>
                <a:gd name="connsiteX5" fmla="*/ 36171 w 38263"/>
                <a:gd name="connsiteY5" fmla="*/ 23280 h 23280"/>
                <a:gd name="connsiteX6" fmla="*/ 38264 w 38263"/>
                <a:gd name="connsiteY6" fmla="*/ 21191 h 23280"/>
                <a:gd name="connsiteX7" fmla="*/ 36669 w 38263"/>
                <a:gd name="connsiteY7" fmla="*/ 20992 h 23280"/>
                <a:gd name="connsiteX8" fmla="*/ 34875 w 38263"/>
                <a:gd name="connsiteY8" fmla="*/ 20296 h 23280"/>
                <a:gd name="connsiteX9" fmla="*/ 33879 w 38263"/>
                <a:gd name="connsiteY9" fmla="*/ 20296 h 23280"/>
                <a:gd name="connsiteX10" fmla="*/ 31189 w 38263"/>
                <a:gd name="connsiteY10" fmla="*/ 17211 h 23280"/>
                <a:gd name="connsiteX11" fmla="*/ 30491 w 38263"/>
                <a:gd name="connsiteY11" fmla="*/ 15818 h 23280"/>
                <a:gd name="connsiteX12" fmla="*/ 30093 w 38263"/>
                <a:gd name="connsiteY12" fmla="*/ 11242 h 23280"/>
                <a:gd name="connsiteX13" fmla="*/ 29295 w 38263"/>
                <a:gd name="connsiteY13" fmla="*/ 9153 h 23280"/>
                <a:gd name="connsiteX14" fmla="*/ 28100 w 38263"/>
                <a:gd name="connsiteY14" fmla="*/ 7163 h 23280"/>
                <a:gd name="connsiteX15" fmla="*/ 26904 w 38263"/>
                <a:gd name="connsiteY15" fmla="*/ 5472 h 23280"/>
                <a:gd name="connsiteX16" fmla="*/ 24612 w 38263"/>
                <a:gd name="connsiteY16" fmla="*/ 3084 h 23280"/>
                <a:gd name="connsiteX17" fmla="*/ 21424 w 38263"/>
                <a:gd name="connsiteY17" fmla="*/ 1094 h 23280"/>
                <a:gd name="connsiteX18" fmla="*/ 18135 w 38263"/>
                <a:gd name="connsiteY18" fmla="*/ 199 h 23280"/>
                <a:gd name="connsiteX19" fmla="*/ 15644 w 38263"/>
                <a:gd name="connsiteY19" fmla="*/ 1691 h 23280"/>
                <a:gd name="connsiteX20" fmla="*/ 14648 w 38263"/>
                <a:gd name="connsiteY20" fmla="*/ 0 h 23280"/>
                <a:gd name="connsiteX21" fmla="*/ 12854 w 38263"/>
                <a:gd name="connsiteY21" fmla="*/ 0 h 23280"/>
                <a:gd name="connsiteX22" fmla="*/ 8769 w 38263"/>
                <a:gd name="connsiteY22" fmla="*/ 1691 h 23280"/>
                <a:gd name="connsiteX23" fmla="*/ 4285 w 38263"/>
                <a:gd name="connsiteY23" fmla="*/ 1592 h 23280"/>
                <a:gd name="connsiteX24" fmla="*/ 1794 w 38263"/>
                <a:gd name="connsiteY24" fmla="*/ 2288 h 23280"/>
                <a:gd name="connsiteX25" fmla="*/ 0 w 38263"/>
                <a:gd name="connsiteY25" fmla="*/ 4477 h 23280"/>
                <a:gd name="connsiteX26" fmla="*/ 797 w 38263"/>
                <a:gd name="connsiteY26" fmla="*/ 4576 h 23280"/>
                <a:gd name="connsiteX27" fmla="*/ 1395 w 38263"/>
                <a:gd name="connsiteY27" fmla="*/ 4576 h 23280"/>
                <a:gd name="connsiteX28" fmla="*/ 1993 w 38263"/>
                <a:gd name="connsiteY28" fmla="*/ 4776 h 23280"/>
                <a:gd name="connsiteX29" fmla="*/ 2591 w 38263"/>
                <a:gd name="connsiteY29" fmla="*/ 5472 h 23280"/>
                <a:gd name="connsiteX30" fmla="*/ 5481 w 38263"/>
                <a:gd name="connsiteY30" fmla="*/ 3681 h 23280"/>
                <a:gd name="connsiteX31" fmla="*/ 8370 w 38263"/>
                <a:gd name="connsiteY31" fmla="*/ 4974 h 23280"/>
                <a:gd name="connsiteX32" fmla="*/ 10463 w 38263"/>
                <a:gd name="connsiteY32" fmla="*/ 7660 h 23280"/>
                <a:gd name="connsiteX33" fmla="*/ 10363 w 38263"/>
                <a:gd name="connsiteY33" fmla="*/ 10048 h 23280"/>
                <a:gd name="connsiteX34" fmla="*/ 9267 w 38263"/>
                <a:gd name="connsiteY34" fmla="*/ 9551 h 23280"/>
                <a:gd name="connsiteX35" fmla="*/ 8669 w 38263"/>
                <a:gd name="connsiteY35" fmla="*/ 10546 h 23280"/>
                <a:gd name="connsiteX36" fmla="*/ 8769 w 38263"/>
                <a:gd name="connsiteY36" fmla="*/ 12336 h 23280"/>
                <a:gd name="connsiteX37" fmla="*/ 9566 w 38263"/>
                <a:gd name="connsiteY37" fmla="*/ 13729 h 23280"/>
                <a:gd name="connsiteX38" fmla="*/ 10662 w 38263"/>
                <a:gd name="connsiteY38" fmla="*/ 14127 h 23280"/>
                <a:gd name="connsiteX39" fmla="*/ 11559 w 38263"/>
                <a:gd name="connsiteY39" fmla="*/ 13232 h 23280"/>
                <a:gd name="connsiteX40" fmla="*/ 12057 w 38263"/>
                <a:gd name="connsiteY40" fmla="*/ 11839 h 23280"/>
                <a:gd name="connsiteX41" fmla="*/ 12257 w 38263"/>
                <a:gd name="connsiteY41" fmla="*/ 10546 h 23280"/>
                <a:gd name="connsiteX42" fmla="*/ 13651 w 38263"/>
                <a:gd name="connsiteY42" fmla="*/ 9352 h 23280"/>
                <a:gd name="connsiteX43" fmla="*/ 16242 w 38263"/>
                <a:gd name="connsiteY43" fmla="*/ 10745 h 23280"/>
                <a:gd name="connsiteX44" fmla="*/ 17438 w 38263"/>
                <a:gd name="connsiteY44" fmla="*/ 13033 h 23280"/>
                <a:gd name="connsiteX45" fmla="*/ 14748 w 38263"/>
                <a:gd name="connsiteY45" fmla="*/ 14625 h 23280"/>
                <a:gd name="connsiteX46" fmla="*/ 17936 w 38263"/>
                <a:gd name="connsiteY46" fmla="*/ 17211 h 2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8263" h="23280">
                  <a:moveTo>
                    <a:pt x="17936" y="17211"/>
                  </a:moveTo>
                  <a:lnTo>
                    <a:pt x="21124" y="17908"/>
                  </a:lnTo>
                  <a:lnTo>
                    <a:pt x="24114" y="17908"/>
                  </a:lnTo>
                  <a:lnTo>
                    <a:pt x="26904" y="18405"/>
                  </a:lnTo>
                  <a:lnTo>
                    <a:pt x="33082" y="22385"/>
                  </a:lnTo>
                  <a:lnTo>
                    <a:pt x="36171" y="23280"/>
                  </a:lnTo>
                  <a:lnTo>
                    <a:pt x="38264" y="21191"/>
                  </a:lnTo>
                  <a:lnTo>
                    <a:pt x="36669" y="20992"/>
                  </a:lnTo>
                  <a:lnTo>
                    <a:pt x="34875" y="20296"/>
                  </a:lnTo>
                  <a:lnTo>
                    <a:pt x="33879" y="20296"/>
                  </a:lnTo>
                  <a:lnTo>
                    <a:pt x="31189" y="17211"/>
                  </a:lnTo>
                  <a:lnTo>
                    <a:pt x="30491" y="15818"/>
                  </a:lnTo>
                  <a:lnTo>
                    <a:pt x="30093" y="11242"/>
                  </a:lnTo>
                  <a:lnTo>
                    <a:pt x="29295" y="9153"/>
                  </a:lnTo>
                  <a:lnTo>
                    <a:pt x="28100" y="7163"/>
                  </a:lnTo>
                  <a:lnTo>
                    <a:pt x="26904" y="5472"/>
                  </a:lnTo>
                  <a:lnTo>
                    <a:pt x="24612" y="3084"/>
                  </a:lnTo>
                  <a:lnTo>
                    <a:pt x="21424" y="1094"/>
                  </a:lnTo>
                  <a:lnTo>
                    <a:pt x="18135" y="199"/>
                  </a:lnTo>
                  <a:lnTo>
                    <a:pt x="15644" y="1691"/>
                  </a:lnTo>
                  <a:lnTo>
                    <a:pt x="14648" y="0"/>
                  </a:lnTo>
                  <a:lnTo>
                    <a:pt x="12854" y="0"/>
                  </a:lnTo>
                  <a:lnTo>
                    <a:pt x="8769" y="1691"/>
                  </a:lnTo>
                  <a:lnTo>
                    <a:pt x="4285" y="1592"/>
                  </a:lnTo>
                  <a:lnTo>
                    <a:pt x="1794" y="2288"/>
                  </a:lnTo>
                  <a:lnTo>
                    <a:pt x="0" y="4477"/>
                  </a:lnTo>
                  <a:lnTo>
                    <a:pt x="797" y="4576"/>
                  </a:lnTo>
                  <a:lnTo>
                    <a:pt x="1395" y="4576"/>
                  </a:lnTo>
                  <a:lnTo>
                    <a:pt x="1993" y="4776"/>
                  </a:lnTo>
                  <a:lnTo>
                    <a:pt x="2591" y="5472"/>
                  </a:lnTo>
                  <a:lnTo>
                    <a:pt x="5481" y="3681"/>
                  </a:lnTo>
                  <a:lnTo>
                    <a:pt x="8370" y="4974"/>
                  </a:lnTo>
                  <a:lnTo>
                    <a:pt x="10463" y="7660"/>
                  </a:lnTo>
                  <a:lnTo>
                    <a:pt x="10363" y="10048"/>
                  </a:lnTo>
                  <a:lnTo>
                    <a:pt x="9267" y="9551"/>
                  </a:lnTo>
                  <a:lnTo>
                    <a:pt x="8669" y="10546"/>
                  </a:lnTo>
                  <a:lnTo>
                    <a:pt x="8769" y="12336"/>
                  </a:lnTo>
                  <a:lnTo>
                    <a:pt x="9566" y="13729"/>
                  </a:lnTo>
                  <a:lnTo>
                    <a:pt x="10662" y="14127"/>
                  </a:lnTo>
                  <a:lnTo>
                    <a:pt x="11559" y="13232"/>
                  </a:lnTo>
                  <a:lnTo>
                    <a:pt x="12057" y="11839"/>
                  </a:lnTo>
                  <a:lnTo>
                    <a:pt x="12257" y="10546"/>
                  </a:lnTo>
                  <a:lnTo>
                    <a:pt x="13651" y="9352"/>
                  </a:lnTo>
                  <a:lnTo>
                    <a:pt x="16242" y="10745"/>
                  </a:lnTo>
                  <a:lnTo>
                    <a:pt x="17438" y="13033"/>
                  </a:lnTo>
                  <a:lnTo>
                    <a:pt x="14748" y="14625"/>
                  </a:lnTo>
                  <a:lnTo>
                    <a:pt x="17936" y="1721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3EDB1932-C2B4-4302-B5BE-0BE418776C85}"/>
                </a:ext>
              </a:extLst>
            </p:cNvPr>
            <p:cNvSpPr/>
            <p:nvPr/>
          </p:nvSpPr>
          <p:spPr>
            <a:xfrm>
              <a:off x="3604157" y="4598245"/>
              <a:ext cx="53010" cy="19499"/>
            </a:xfrm>
            <a:custGeom>
              <a:avLst/>
              <a:gdLst>
                <a:gd name="connsiteX0" fmla="*/ 36769 w 53010"/>
                <a:gd name="connsiteY0" fmla="*/ 16017 h 19499"/>
                <a:gd name="connsiteX1" fmla="*/ 35972 w 53010"/>
                <a:gd name="connsiteY1" fmla="*/ 15918 h 19499"/>
                <a:gd name="connsiteX2" fmla="*/ 35075 w 53010"/>
                <a:gd name="connsiteY2" fmla="*/ 15818 h 19499"/>
                <a:gd name="connsiteX3" fmla="*/ 34677 w 53010"/>
                <a:gd name="connsiteY3" fmla="*/ 16316 h 19499"/>
                <a:gd name="connsiteX4" fmla="*/ 34577 w 53010"/>
                <a:gd name="connsiteY4" fmla="*/ 17410 h 19499"/>
                <a:gd name="connsiteX5" fmla="*/ 34377 w 53010"/>
                <a:gd name="connsiteY5" fmla="*/ 17908 h 19499"/>
                <a:gd name="connsiteX6" fmla="*/ 34079 w 53010"/>
                <a:gd name="connsiteY6" fmla="*/ 18206 h 19499"/>
                <a:gd name="connsiteX7" fmla="*/ 33779 w 53010"/>
                <a:gd name="connsiteY7" fmla="*/ 18704 h 19499"/>
                <a:gd name="connsiteX8" fmla="*/ 33779 w 53010"/>
                <a:gd name="connsiteY8" fmla="*/ 19499 h 19499"/>
                <a:gd name="connsiteX9" fmla="*/ 49523 w 53010"/>
                <a:gd name="connsiteY9" fmla="*/ 15918 h 19499"/>
                <a:gd name="connsiteX10" fmla="*/ 50520 w 53010"/>
                <a:gd name="connsiteY10" fmla="*/ 16216 h 19499"/>
                <a:gd name="connsiteX11" fmla="*/ 51715 w 53010"/>
                <a:gd name="connsiteY11" fmla="*/ 16714 h 19499"/>
                <a:gd name="connsiteX12" fmla="*/ 52612 w 53010"/>
                <a:gd name="connsiteY12" fmla="*/ 16714 h 19499"/>
                <a:gd name="connsiteX13" fmla="*/ 53011 w 53010"/>
                <a:gd name="connsiteY13" fmla="*/ 15420 h 19499"/>
                <a:gd name="connsiteX14" fmla="*/ 52513 w 53010"/>
                <a:gd name="connsiteY14" fmla="*/ 14227 h 19499"/>
                <a:gd name="connsiteX15" fmla="*/ 44043 w 53010"/>
                <a:gd name="connsiteY15" fmla="*/ 5571 h 19499"/>
                <a:gd name="connsiteX16" fmla="*/ 43445 w 53010"/>
                <a:gd name="connsiteY16" fmla="*/ 3681 h 19499"/>
                <a:gd name="connsiteX17" fmla="*/ 44641 w 53010"/>
                <a:gd name="connsiteY17" fmla="*/ 4377 h 19499"/>
                <a:gd name="connsiteX18" fmla="*/ 45139 w 53010"/>
                <a:gd name="connsiteY18" fmla="*/ 4576 h 19499"/>
                <a:gd name="connsiteX19" fmla="*/ 43644 w 53010"/>
                <a:gd name="connsiteY19" fmla="*/ 2586 h 19499"/>
                <a:gd name="connsiteX20" fmla="*/ 41053 w 53010"/>
                <a:gd name="connsiteY20" fmla="*/ 1094 h 19499"/>
                <a:gd name="connsiteX21" fmla="*/ 37964 w 53010"/>
                <a:gd name="connsiteY21" fmla="*/ 298 h 19499"/>
                <a:gd name="connsiteX22" fmla="*/ 35175 w 53010"/>
                <a:gd name="connsiteY22" fmla="*/ 0 h 19499"/>
                <a:gd name="connsiteX23" fmla="*/ 32883 w 53010"/>
                <a:gd name="connsiteY23" fmla="*/ 895 h 19499"/>
                <a:gd name="connsiteX24" fmla="*/ 31189 w 53010"/>
                <a:gd name="connsiteY24" fmla="*/ 2786 h 19499"/>
                <a:gd name="connsiteX25" fmla="*/ 29196 w 53010"/>
                <a:gd name="connsiteY25" fmla="*/ 4377 h 19499"/>
                <a:gd name="connsiteX26" fmla="*/ 26008 w 53010"/>
                <a:gd name="connsiteY26" fmla="*/ 4576 h 19499"/>
                <a:gd name="connsiteX27" fmla="*/ 22819 w 53010"/>
                <a:gd name="connsiteY27" fmla="*/ 4278 h 19499"/>
                <a:gd name="connsiteX28" fmla="*/ 19232 w 53010"/>
                <a:gd name="connsiteY28" fmla="*/ 4576 h 19499"/>
                <a:gd name="connsiteX29" fmla="*/ 15744 w 53010"/>
                <a:gd name="connsiteY29" fmla="*/ 4278 h 19499"/>
                <a:gd name="connsiteX30" fmla="*/ 12655 w 53010"/>
                <a:gd name="connsiteY30" fmla="*/ 2288 h 19499"/>
                <a:gd name="connsiteX31" fmla="*/ 6975 w 53010"/>
                <a:gd name="connsiteY31" fmla="*/ 1194 h 19499"/>
                <a:gd name="connsiteX32" fmla="*/ 5580 w 53010"/>
                <a:gd name="connsiteY32" fmla="*/ 1393 h 19499"/>
                <a:gd name="connsiteX33" fmla="*/ 4584 w 53010"/>
                <a:gd name="connsiteY33" fmla="*/ 1393 h 19499"/>
                <a:gd name="connsiteX34" fmla="*/ 3288 w 53010"/>
                <a:gd name="connsiteY34" fmla="*/ 696 h 19499"/>
                <a:gd name="connsiteX35" fmla="*/ 2093 w 53010"/>
                <a:gd name="connsiteY35" fmla="*/ 995 h 19499"/>
                <a:gd name="connsiteX36" fmla="*/ 1694 w 53010"/>
                <a:gd name="connsiteY36" fmla="*/ 3681 h 19499"/>
                <a:gd name="connsiteX37" fmla="*/ 499 w 53010"/>
                <a:gd name="connsiteY37" fmla="*/ 3183 h 19499"/>
                <a:gd name="connsiteX38" fmla="*/ 0 w 53010"/>
                <a:gd name="connsiteY38" fmla="*/ 2786 h 19499"/>
                <a:gd name="connsiteX39" fmla="*/ 299 w 53010"/>
                <a:gd name="connsiteY39" fmla="*/ 7362 h 19499"/>
                <a:gd name="connsiteX40" fmla="*/ 2392 w 53010"/>
                <a:gd name="connsiteY40" fmla="*/ 6268 h 19499"/>
                <a:gd name="connsiteX41" fmla="*/ 4982 w 53010"/>
                <a:gd name="connsiteY41" fmla="*/ 4377 h 19499"/>
                <a:gd name="connsiteX42" fmla="*/ 6975 w 53010"/>
                <a:gd name="connsiteY42" fmla="*/ 6467 h 19499"/>
                <a:gd name="connsiteX43" fmla="*/ 5082 w 53010"/>
                <a:gd name="connsiteY43" fmla="*/ 8058 h 19499"/>
                <a:gd name="connsiteX44" fmla="*/ 7374 w 53010"/>
                <a:gd name="connsiteY44" fmla="*/ 9551 h 19499"/>
                <a:gd name="connsiteX45" fmla="*/ 11061 w 53010"/>
                <a:gd name="connsiteY45" fmla="*/ 10745 h 19499"/>
                <a:gd name="connsiteX46" fmla="*/ 16242 w 53010"/>
                <a:gd name="connsiteY46" fmla="*/ 11640 h 19499"/>
                <a:gd name="connsiteX47" fmla="*/ 19730 w 53010"/>
                <a:gd name="connsiteY47" fmla="*/ 14127 h 19499"/>
                <a:gd name="connsiteX48" fmla="*/ 22619 w 53010"/>
                <a:gd name="connsiteY48" fmla="*/ 14923 h 19499"/>
                <a:gd name="connsiteX49" fmla="*/ 28299 w 53010"/>
                <a:gd name="connsiteY49" fmla="*/ 15122 h 19499"/>
                <a:gd name="connsiteX50" fmla="*/ 31786 w 53010"/>
                <a:gd name="connsiteY50" fmla="*/ 14625 h 19499"/>
                <a:gd name="connsiteX51" fmla="*/ 34278 w 53010"/>
                <a:gd name="connsiteY51" fmla="*/ 13530 h 19499"/>
                <a:gd name="connsiteX52" fmla="*/ 35972 w 53010"/>
                <a:gd name="connsiteY52" fmla="*/ 12734 h 19499"/>
                <a:gd name="connsiteX53" fmla="*/ 36968 w 53010"/>
                <a:gd name="connsiteY53" fmla="*/ 13331 h 19499"/>
                <a:gd name="connsiteX54" fmla="*/ 37367 w 53010"/>
                <a:gd name="connsiteY54" fmla="*/ 14625 h 19499"/>
                <a:gd name="connsiteX55" fmla="*/ 37267 w 53010"/>
                <a:gd name="connsiteY55" fmla="*/ 15918 h 19499"/>
                <a:gd name="connsiteX56" fmla="*/ 36769 w 53010"/>
                <a:gd name="connsiteY56" fmla="*/ 16017 h 19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3010" h="19499">
                  <a:moveTo>
                    <a:pt x="36769" y="16017"/>
                  </a:moveTo>
                  <a:lnTo>
                    <a:pt x="35972" y="15918"/>
                  </a:lnTo>
                  <a:lnTo>
                    <a:pt x="35075" y="15818"/>
                  </a:lnTo>
                  <a:lnTo>
                    <a:pt x="34677" y="16316"/>
                  </a:lnTo>
                  <a:lnTo>
                    <a:pt x="34577" y="17410"/>
                  </a:lnTo>
                  <a:lnTo>
                    <a:pt x="34377" y="17908"/>
                  </a:lnTo>
                  <a:lnTo>
                    <a:pt x="34079" y="18206"/>
                  </a:lnTo>
                  <a:lnTo>
                    <a:pt x="33779" y="18704"/>
                  </a:lnTo>
                  <a:lnTo>
                    <a:pt x="33779" y="19499"/>
                  </a:lnTo>
                  <a:lnTo>
                    <a:pt x="49523" y="15918"/>
                  </a:lnTo>
                  <a:lnTo>
                    <a:pt x="50520" y="16216"/>
                  </a:lnTo>
                  <a:lnTo>
                    <a:pt x="51715" y="16714"/>
                  </a:lnTo>
                  <a:lnTo>
                    <a:pt x="52612" y="16714"/>
                  </a:lnTo>
                  <a:lnTo>
                    <a:pt x="53011" y="15420"/>
                  </a:lnTo>
                  <a:lnTo>
                    <a:pt x="52513" y="14227"/>
                  </a:lnTo>
                  <a:lnTo>
                    <a:pt x="44043" y="5571"/>
                  </a:lnTo>
                  <a:lnTo>
                    <a:pt x="43445" y="3681"/>
                  </a:lnTo>
                  <a:lnTo>
                    <a:pt x="44641" y="4377"/>
                  </a:lnTo>
                  <a:lnTo>
                    <a:pt x="45139" y="4576"/>
                  </a:lnTo>
                  <a:lnTo>
                    <a:pt x="43644" y="2586"/>
                  </a:lnTo>
                  <a:lnTo>
                    <a:pt x="41053" y="1094"/>
                  </a:lnTo>
                  <a:lnTo>
                    <a:pt x="37964" y="298"/>
                  </a:lnTo>
                  <a:lnTo>
                    <a:pt x="35175" y="0"/>
                  </a:lnTo>
                  <a:lnTo>
                    <a:pt x="32883" y="895"/>
                  </a:lnTo>
                  <a:lnTo>
                    <a:pt x="31189" y="2786"/>
                  </a:lnTo>
                  <a:lnTo>
                    <a:pt x="29196" y="4377"/>
                  </a:lnTo>
                  <a:lnTo>
                    <a:pt x="26008" y="4576"/>
                  </a:lnTo>
                  <a:lnTo>
                    <a:pt x="22819" y="4278"/>
                  </a:lnTo>
                  <a:lnTo>
                    <a:pt x="19232" y="4576"/>
                  </a:lnTo>
                  <a:lnTo>
                    <a:pt x="15744" y="4278"/>
                  </a:lnTo>
                  <a:lnTo>
                    <a:pt x="12655" y="2288"/>
                  </a:lnTo>
                  <a:lnTo>
                    <a:pt x="6975" y="1194"/>
                  </a:lnTo>
                  <a:lnTo>
                    <a:pt x="5580" y="1393"/>
                  </a:lnTo>
                  <a:lnTo>
                    <a:pt x="4584" y="1393"/>
                  </a:lnTo>
                  <a:lnTo>
                    <a:pt x="3288" y="696"/>
                  </a:lnTo>
                  <a:lnTo>
                    <a:pt x="2093" y="995"/>
                  </a:lnTo>
                  <a:lnTo>
                    <a:pt x="1694" y="3681"/>
                  </a:lnTo>
                  <a:lnTo>
                    <a:pt x="499" y="3183"/>
                  </a:lnTo>
                  <a:lnTo>
                    <a:pt x="0" y="2786"/>
                  </a:lnTo>
                  <a:lnTo>
                    <a:pt x="299" y="7362"/>
                  </a:lnTo>
                  <a:lnTo>
                    <a:pt x="2392" y="6268"/>
                  </a:lnTo>
                  <a:lnTo>
                    <a:pt x="4982" y="4377"/>
                  </a:lnTo>
                  <a:lnTo>
                    <a:pt x="6975" y="6467"/>
                  </a:lnTo>
                  <a:lnTo>
                    <a:pt x="5082" y="8058"/>
                  </a:lnTo>
                  <a:lnTo>
                    <a:pt x="7374" y="9551"/>
                  </a:lnTo>
                  <a:lnTo>
                    <a:pt x="11061" y="10745"/>
                  </a:lnTo>
                  <a:lnTo>
                    <a:pt x="16242" y="11640"/>
                  </a:lnTo>
                  <a:lnTo>
                    <a:pt x="19730" y="14127"/>
                  </a:lnTo>
                  <a:lnTo>
                    <a:pt x="22619" y="14923"/>
                  </a:lnTo>
                  <a:lnTo>
                    <a:pt x="28299" y="15122"/>
                  </a:lnTo>
                  <a:lnTo>
                    <a:pt x="31786" y="14625"/>
                  </a:lnTo>
                  <a:lnTo>
                    <a:pt x="34278" y="13530"/>
                  </a:lnTo>
                  <a:lnTo>
                    <a:pt x="35972" y="12734"/>
                  </a:lnTo>
                  <a:lnTo>
                    <a:pt x="36968" y="13331"/>
                  </a:lnTo>
                  <a:lnTo>
                    <a:pt x="37367" y="14625"/>
                  </a:lnTo>
                  <a:lnTo>
                    <a:pt x="37267" y="15918"/>
                  </a:lnTo>
                  <a:lnTo>
                    <a:pt x="36769" y="1601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8" name="Freeform: Shape 1147">
              <a:extLst>
                <a:ext uri="{FF2B5EF4-FFF2-40B4-BE49-F238E27FC236}">
                  <a16:creationId xmlns:a16="http://schemas.microsoft.com/office/drawing/2014/main" id="{A73DEB9C-C45C-430A-9D3E-066B551AE6F1}"/>
                </a:ext>
              </a:extLst>
            </p:cNvPr>
            <p:cNvSpPr/>
            <p:nvPr/>
          </p:nvSpPr>
          <p:spPr>
            <a:xfrm>
              <a:off x="3708585" y="4678730"/>
              <a:ext cx="8369" cy="12635"/>
            </a:xfrm>
            <a:custGeom>
              <a:avLst/>
              <a:gdLst>
                <a:gd name="connsiteX0" fmla="*/ 7274 w 8369"/>
                <a:gd name="connsiteY0" fmla="*/ 1990 h 12635"/>
                <a:gd name="connsiteX1" fmla="*/ 8370 w 8369"/>
                <a:gd name="connsiteY1" fmla="*/ 597 h 12635"/>
                <a:gd name="connsiteX2" fmla="*/ 6377 w 8369"/>
                <a:gd name="connsiteY2" fmla="*/ 497 h 12635"/>
                <a:gd name="connsiteX3" fmla="*/ 2989 w 8369"/>
                <a:gd name="connsiteY3" fmla="*/ 0 h 12635"/>
                <a:gd name="connsiteX4" fmla="*/ 1594 w 8369"/>
                <a:gd name="connsiteY4" fmla="*/ 597 h 12635"/>
                <a:gd name="connsiteX5" fmla="*/ 896 w 8369"/>
                <a:gd name="connsiteY5" fmla="*/ 1890 h 12635"/>
                <a:gd name="connsiteX6" fmla="*/ 299 w 8369"/>
                <a:gd name="connsiteY6" fmla="*/ 12038 h 12635"/>
                <a:gd name="connsiteX7" fmla="*/ 0 w 8369"/>
                <a:gd name="connsiteY7" fmla="*/ 12635 h 12635"/>
                <a:gd name="connsiteX8" fmla="*/ 7274 w 8369"/>
                <a:gd name="connsiteY8" fmla="*/ 12635 h 12635"/>
                <a:gd name="connsiteX9" fmla="*/ 6377 w 8369"/>
                <a:gd name="connsiteY9" fmla="*/ 12237 h 12635"/>
                <a:gd name="connsiteX10" fmla="*/ 4982 w 8369"/>
                <a:gd name="connsiteY10" fmla="*/ 10844 h 12635"/>
                <a:gd name="connsiteX11" fmla="*/ 3886 w 8369"/>
                <a:gd name="connsiteY11" fmla="*/ 9551 h 12635"/>
                <a:gd name="connsiteX12" fmla="*/ 2989 w 8369"/>
                <a:gd name="connsiteY12" fmla="*/ 8158 h 12635"/>
                <a:gd name="connsiteX13" fmla="*/ 2591 w 8369"/>
                <a:gd name="connsiteY13" fmla="*/ 6268 h 12635"/>
                <a:gd name="connsiteX14" fmla="*/ 2391 w 8369"/>
                <a:gd name="connsiteY14" fmla="*/ 3880 h 12635"/>
                <a:gd name="connsiteX15" fmla="*/ 3189 w 8369"/>
                <a:gd name="connsiteY15" fmla="*/ 2686 h 12635"/>
                <a:gd name="connsiteX16" fmla="*/ 7274 w 8369"/>
                <a:gd name="connsiteY16" fmla="*/ 1990 h 12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369" h="12635">
                  <a:moveTo>
                    <a:pt x="7274" y="1990"/>
                  </a:moveTo>
                  <a:lnTo>
                    <a:pt x="8370" y="597"/>
                  </a:lnTo>
                  <a:lnTo>
                    <a:pt x="6377" y="497"/>
                  </a:lnTo>
                  <a:lnTo>
                    <a:pt x="2989" y="0"/>
                  </a:lnTo>
                  <a:lnTo>
                    <a:pt x="1594" y="597"/>
                  </a:lnTo>
                  <a:lnTo>
                    <a:pt x="896" y="1890"/>
                  </a:lnTo>
                  <a:lnTo>
                    <a:pt x="299" y="12038"/>
                  </a:lnTo>
                  <a:lnTo>
                    <a:pt x="0" y="12635"/>
                  </a:lnTo>
                  <a:lnTo>
                    <a:pt x="7274" y="12635"/>
                  </a:lnTo>
                  <a:lnTo>
                    <a:pt x="6377" y="12237"/>
                  </a:lnTo>
                  <a:lnTo>
                    <a:pt x="4982" y="10844"/>
                  </a:lnTo>
                  <a:lnTo>
                    <a:pt x="3886" y="9551"/>
                  </a:lnTo>
                  <a:lnTo>
                    <a:pt x="2989" y="8158"/>
                  </a:lnTo>
                  <a:lnTo>
                    <a:pt x="2591" y="6268"/>
                  </a:lnTo>
                  <a:lnTo>
                    <a:pt x="2391" y="3880"/>
                  </a:lnTo>
                  <a:lnTo>
                    <a:pt x="3189" y="2686"/>
                  </a:lnTo>
                  <a:lnTo>
                    <a:pt x="7274" y="19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49" name="Freeform: Shape 1148">
              <a:extLst>
                <a:ext uri="{FF2B5EF4-FFF2-40B4-BE49-F238E27FC236}">
                  <a16:creationId xmlns:a16="http://schemas.microsoft.com/office/drawing/2014/main" id="{69871C96-65E1-4E81-BC7D-27D1594E07C7}"/>
                </a:ext>
              </a:extLst>
            </p:cNvPr>
            <p:cNvSpPr/>
            <p:nvPr/>
          </p:nvSpPr>
          <p:spPr>
            <a:xfrm>
              <a:off x="3741267" y="4684102"/>
              <a:ext cx="12854" cy="7262"/>
            </a:xfrm>
            <a:custGeom>
              <a:avLst/>
              <a:gdLst>
                <a:gd name="connsiteX0" fmla="*/ 11858 w 12854"/>
                <a:gd name="connsiteY0" fmla="*/ 3980 h 7262"/>
                <a:gd name="connsiteX1" fmla="*/ 7473 w 12854"/>
                <a:gd name="connsiteY1" fmla="*/ 299 h 7262"/>
                <a:gd name="connsiteX2" fmla="*/ 5480 w 12854"/>
                <a:gd name="connsiteY2" fmla="*/ 0 h 7262"/>
                <a:gd name="connsiteX3" fmla="*/ 3089 w 12854"/>
                <a:gd name="connsiteY3" fmla="*/ 1592 h 7262"/>
                <a:gd name="connsiteX4" fmla="*/ 1096 w 12854"/>
                <a:gd name="connsiteY4" fmla="*/ 3980 h 7262"/>
                <a:gd name="connsiteX5" fmla="*/ 0 w 12854"/>
                <a:gd name="connsiteY5" fmla="*/ 6367 h 7262"/>
                <a:gd name="connsiteX6" fmla="*/ 1794 w 12854"/>
                <a:gd name="connsiteY6" fmla="*/ 5472 h 7262"/>
                <a:gd name="connsiteX7" fmla="*/ 2691 w 12854"/>
                <a:gd name="connsiteY7" fmla="*/ 5770 h 7262"/>
                <a:gd name="connsiteX8" fmla="*/ 3687 w 12854"/>
                <a:gd name="connsiteY8" fmla="*/ 7263 h 7262"/>
                <a:gd name="connsiteX9" fmla="*/ 12854 w 12854"/>
                <a:gd name="connsiteY9" fmla="*/ 7263 h 7262"/>
                <a:gd name="connsiteX10" fmla="*/ 12356 w 12854"/>
                <a:gd name="connsiteY10" fmla="*/ 5174 h 7262"/>
                <a:gd name="connsiteX11" fmla="*/ 11858 w 12854"/>
                <a:gd name="connsiteY11" fmla="*/ 3980 h 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854" h="7262">
                  <a:moveTo>
                    <a:pt x="11858" y="3980"/>
                  </a:moveTo>
                  <a:lnTo>
                    <a:pt x="7473" y="299"/>
                  </a:lnTo>
                  <a:lnTo>
                    <a:pt x="5480" y="0"/>
                  </a:lnTo>
                  <a:lnTo>
                    <a:pt x="3089" y="1592"/>
                  </a:lnTo>
                  <a:lnTo>
                    <a:pt x="1096" y="3980"/>
                  </a:lnTo>
                  <a:lnTo>
                    <a:pt x="0" y="6367"/>
                  </a:lnTo>
                  <a:lnTo>
                    <a:pt x="1794" y="5472"/>
                  </a:lnTo>
                  <a:lnTo>
                    <a:pt x="2691" y="5770"/>
                  </a:lnTo>
                  <a:lnTo>
                    <a:pt x="3687" y="7263"/>
                  </a:lnTo>
                  <a:lnTo>
                    <a:pt x="12854" y="7263"/>
                  </a:lnTo>
                  <a:lnTo>
                    <a:pt x="12356" y="5174"/>
                  </a:lnTo>
                  <a:lnTo>
                    <a:pt x="11858" y="398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CCABB96D-A97B-4332-A2DB-64C201CB2C98}"/>
                </a:ext>
              </a:extLst>
            </p:cNvPr>
            <p:cNvSpPr/>
            <p:nvPr/>
          </p:nvSpPr>
          <p:spPr>
            <a:xfrm>
              <a:off x="2811588" y="4509502"/>
              <a:ext cx="894106" cy="181863"/>
            </a:xfrm>
            <a:custGeom>
              <a:avLst/>
              <a:gdLst>
                <a:gd name="connsiteX0" fmla="*/ 891516 w 894106"/>
                <a:gd name="connsiteY0" fmla="*/ 176889 h 181863"/>
                <a:gd name="connsiteX1" fmla="*/ 885736 w 894106"/>
                <a:gd name="connsiteY1" fmla="*/ 170820 h 181863"/>
                <a:gd name="connsiteX2" fmla="*/ 884242 w 894106"/>
                <a:gd name="connsiteY2" fmla="*/ 169825 h 181863"/>
                <a:gd name="connsiteX3" fmla="*/ 882747 w 894106"/>
                <a:gd name="connsiteY3" fmla="*/ 169228 h 181863"/>
                <a:gd name="connsiteX4" fmla="*/ 881651 w 894106"/>
                <a:gd name="connsiteY4" fmla="*/ 167935 h 181863"/>
                <a:gd name="connsiteX5" fmla="*/ 879459 w 894106"/>
                <a:gd name="connsiteY5" fmla="*/ 163955 h 181863"/>
                <a:gd name="connsiteX6" fmla="*/ 878562 w 894106"/>
                <a:gd name="connsiteY6" fmla="*/ 161468 h 181863"/>
                <a:gd name="connsiteX7" fmla="*/ 877864 w 894106"/>
                <a:gd name="connsiteY7" fmla="*/ 160573 h 181863"/>
                <a:gd name="connsiteX8" fmla="*/ 875473 w 894106"/>
                <a:gd name="connsiteY8" fmla="*/ 158185 h 181863"/>
                <a:gd name="connsiteX9" fmla="*/ 873779 w 894106"/>
                <a:gd name="connsiteY9" fmla="*/ 154703 h 181863"/>
                <a:gd name="connsiteX10" fmla="*/ 872583 w 894106"/>
                <a:gd name="connsiteY10" fmla="*/ 153409 h 181863"/>
                <a:gd name="connsiteX11" fmla="*/ 870690 w 894106"/>
                <a:gd name="connsiteY11" fmla="*/ 154006 h 181863"/>
                <a:gd name="connsiteX12" fmla="*/ 870491 w 894106"/>
                <a:gd name="connsiteY12" fmla="*/ 153907 h 181863"/>
                <a:gd name="connsiteX13" fmla="*/ 869096 w 894106"/>
                <a:gd name="connsiteY13" fmla="*/ 153509 h 181863"/>
                <a:gd name="connsiteX14" fmla="*/ 867501 w 894106"/>
                <a:gd name="connsiteY14" fmla="*/ 153111 h 181863"/>
                <a:gd name="connsiteX15" fmla="*/ 865907 w 894106"/>
                <a:gd name="connsiteY15" fmla="*/ 152514 h 181863"/>
                <a:gd name="connsiteX16" fmla="*/ 864612 w 894106"/>
                <a:gd name="connsiteY16" fmla="*/ 151221 h 181863"/>
                <a:gd name="connsiteX17" fmla="*/ 865010 w 894106"/>
                <a:gd name="connsiteY17" fmla="*/ 150724 h 181863"/>
                <a:gd name="connsiteX18" fmla="*/ 865409 w 894106"/>
                <a:gd name="connsiteY18" fmla="*/ 150525 h 181863"/>
                <a:gd name="connsiteX19" fmla="*/ 862121 w 894106"/>
                <a:gd name="connsiteY19" fmla="*/ 150525 h 181863"/>
                <a:gd name="connsiteX20" fmla="*/ 861124 w 894106"/>
                <a:gd name="connsiteY20" fmla="*/ 150325 h 181863"/>
                <a:gd name="connsiteX21" fmla="*/ 860426 w 894106"/>
                <a:gd name="connsiteY21" fmla="*/ 149132 h 181863"/>
                <a:gd name="connsiteX22" fmla="*/ 860327 w 894106"/>
                <a:gd name="connsiteY22" fmla="*/ 147640 h 181863"/>
                <a:gd name="connsiteX23" fmla="*/ 860128 w 894106"/>
                <a:gd name="connsiteY23" fmla="*/ 146247 h 181863"/>
                <a:gd name="connsiteX24" fmla="*/ 858932 w 894106"/>
                <a:gd name="connsiteY24" fmla="*/ 145650 h 181863"/>
                <a:gd name="connsiteX25" fmla="*/ 852754 w 894106"/>
                <a:gd name="connsiteY25" fmla="*/ 145251 h 181863"/>
                <a:gd name="connsiteX26" fmla="*/ 850761 w 894106"/>
                <a:gd name="connsiteY26" fmla="*/ 144655 h 181863"/>
                <a:gd name="connsiteX27" fmla="*/ 846377 w 894106"/>
                <a:gd name="connsiteY27" fmla="*/ 142864 h 181863"/>
                <a:gd name="connsiteX28" fmla="*/ 845181 w 894106"/>
                <a:gd name="connsiteY28" fmla="*/ 142864 h 181863"/>
                <a:gd name="connsiteX29" fmla="*/ 843886 w 894106"/>
                <a:gd name="connsiteY29" fmla="*/ 142963 h 181863"/>
                <a:gd name="connsiteX30" fmla="*/ 842590 w 894106"/>
                <a:gd name="connsiteY30" fmla="*/ 142963 h 181863"/>
                <a:gd name="connsiteX31" fmla="*/ 841594 w 894106"/>
                <a:gd name="connsiteY31" fmla="*/ 142366 h 181863"/>
                <a:gd name="connsiteX32" fmla="*/ 840697 w 894106"/>
                <a:gd name="connsiteY32" fmla="*/ 141570 h 181863"/>
                <a:gd name="connsiteX33" fmla="*/ 838405 w 894106"/>
                <a:gd name="connsiteY33" fmla="*/ 140377 h 181863"/>
                <a:gd name="connsiteX34" fmla="*/ 837210 w 894106"/>
                <a:gd name="connsiteY34" fmla="*/ 139482 h 181863"/>
                <a:gd name="connsiteX35" fmla="*/ 836313 w 894106"/>
                <a:gd name="connsiteY35" fmla="*/ 138288 h 181863"/>
                <a:gd name="connsiteX36" fmla="*/ 835117 w 894106"/>
                <a:gd name="connsiteY36" fmla="*/ 135701 h 181863"/>
                <a:gd name="connsiteX37" fmla="*/ 834320 w 894106"/>
                <a:gd name="connsiteY37" fmla="*/ 134408 h 181863"/>
                <a:gd name="connsiteX38" fmla="*/ 833822 w 894106"/>
                <a:gd name="connsiteY38" fmla="*/ 134706 h 181863"/>
                <a:gd name="connsiteX39" fmla="*/ 832526 w 894106"/>
                <a:gd name="connsiteY39" fmla="*/ 135402 h 181863"/>
                <a:gd name="connsiteX40" fmla="*/ 832526 w 894106"/>
                <a:gd name="connsiteY40" fmla="*/ 134507 h 181863"/>
                <a:gd name="connsiteX41" fmla="*/ 832426 w 894106"/>
                <a:gd name="connsiteY41" fmla="*/ 132617 h 181863"/>
                <a:gd name="connsiteX42" fmla="*/ 832526 w 894106"/>
                <a:gd name="connsiteY42" fmla="*/ 131622 h 181863"/>
                <a:gd name="connsiteX43" fmla="*/ 830135 w 894106"/>
                <a:gd name="connsiteY43" fmla="*/ 132020 h 181863"/>
                <a:gd name="connsiteX44" fmla="*/ 822562 w 894106"/>
                <a:gd name="connsiteY44" fmla="*/ 130727 h 181863"/>
                <a:gd name="connsiteX45" fmla="*/ 819473 w 894106"/>
                <a:gd name="connsiteY45" fmla="*/ 129831 h 181863"/>
                <a:gd name="connsiteX46" fmla="*/ 817281 w 894106"/>
                <a:gd name="connsiteY46" fmla="*/ 128637 h 181863"/>
                <a:gd name="connsiteX47" fmla="*/ 814391 w 894106"/>
                <a:gd name="connsiteY47" fmla="*/ 126648 h 181863"/>
                <a:gd name="connsiteX48" fmla="*/ 811801 w 894106"/>
                <a:gd name="connsiteY48" fmla="*/ 124459 h 181863"/>
                <a:gd name="connsiteX49" fmla="*/ 810804 w 894106"/>
                <a:gd name="connsiteY49" fmla="*/ 122767 h 181863"/>
                <a:gd name="connsiteX50" fmla="*/ 809010 w 894106"/>
                <a:gd name="connsiteY50" fmla="*/ 121574 h 181863"/>
                <a:gd name="connsiteX51" fmla="*/ 795160 w 894106"/>
                <a:gd name="connsiteY51" fmla="*/ 116599 h 181863"/>
                <a:gd name="connsiteX52" fmla="*/ 791075 w 894106"/>
                <a:gd name="connsiteY52" fmla="*/ 112620 h 181863"/>
                <a:gd name="connsiteX53" fmla="*/ 787288 w 894106"/>
                <a:gd name="connsiteY53" fmla="*/ 112023 h 181863"/>
                <a:gd name="connsiteX54" fmla="*/ 787288 w 894106"/>
                <a:gd name="connsiteY54" fmla="*/ 113018 h 181863"/>
                <a:gd name="connsiteX55" fmla="*/ 788384 w 894106"/>
                <a:gd name="connsiteY55" fmla="*/ 113615 h 181863"/>
                <a:gd name="connsiteX56" fmla="*/ 789281 w 894106"/>
                <a:gd name="connsiteY56" fmla="*/ 114510 h 181863"/>
                <a:gd name="connsiteX57" fmla="*/ 790875 w 894106"/>
                <a:gd name="connsiteY57" fmla="*/ 116798 h 181863"/>
                <a:gd name="connsiteX58" fmla="*/ 788882 w 894106"/>
                <a:gd name="connsiteY58" fmla="*/ 121076 h 181863"/>
                <a:gd name="connsiteX59" fmla="*/ 787786 w 894106"/>
                <a:gd name="connsiteY59" fmla="*/ 122171 h 181863"/>
                <a:gd name="connsiteX60" fmla="*/ 786491 w 894106"/>
                <a:gd name="connsiteY60" fmla="*/ 120380 h 181863"/>
                <a:gd name="connsiteX61" fmla="*/ 785295 w 894106"/>
                <a:gd name="connsiteY61" fmla="*/ 120977 h 181863"/>
                <a:gd name="connsiteX62" fmla="*/ 784797 w 894106"/>
                <a:gd name="connsiteY62" fmla="*/ 121375 h 181863"/>
                <a:gd name="connsiteX63" fmla="*/ 782406 w 894106"/>
                <a:gd name="connsiteY63" fmla="*/ 113416 h 181863"/>
                <a:gd name="connsiteX64" fmla="*/ 781708 w 894106"/>
                <a:gd name="connsiteY64" fmla="*/ 112023 h 181863"/>
                <a:gd name="connsiteX65" fmla="*/ 775829 w 894106"/>
                <a:gd name="connsiteY65" fmla="*/ 112421 h 181863"/>
                <a:gd name="connsiteX66" fmla="*/ 763273 w 894106"/>
                <a:gd name="connsiteY66" fmla="*/ 110928 h 181863"/>
                <a:gd name="connsiteX67" fmla="*/ 756299 w 894106"/>
                <a:gd name="connsiteY67" fmla="*/ 110133 h 181863"/>
                <a:gd name="connsiteX68" fmla="*/ 753409 w 894106"/>
                <a:gd name="connsiteY68" fmla="*/ 110232 h 181863"/>
                <a:gd name="connsiteX69" fmla="*/ 751017 w 894106"/>
                <a:gd name="connsiteY69" fmla="*/ 110730 h 181863"/>
                <a:gd name="connsiteX70" fmla="*/ 746235 w 894106"/>
                <a:gd name="connsiteY70" fmla="*/ 112620 h 181863"/>
                <a:gd name="connsiteX71" fmla="*/ 743444 w 894106"/>
                <a:gd name="connsiteY71" fmla="*/ 113018 h 181863"/>
                <a:gd name="connsiteX72" fmla="*/ 742050 w 894106"/>
                <a:gd name="connsiteY72" fmla="*/ 112719 h 181863"/>
                <a:gd name="connsiteX73" fmla="*/ 740057 w 894106"/>
                <a:gd name="connsiteY73" fmla="*/ 111525 h 181863"/>
                <a:gd name="connsiteX74" fmla="*/ 738761 w 894106"/>
                <a:gd name="connsiteY74" fmla="*/ 111227 h 181863"/>
                <a:gd name="connsiteX75" fmla="*/ 737167 w 894106"/>
                <a:gd name="connsiteY75" fmla="*/ 111426 h 181863"/>
                <a:gd name="connsiteX76" fmla="*/ 736868 w 894106"/>
                <a:gd name="connsiteY76" fmla="*/ 112023 h 181863"/>
                <a:gd name="connsiteX77" fmla="*/ 736669 w 894106"/>
                <a:gd name="connsiteY77" fmla="*/ 112918 h 181863"/>
                <a:gd name="connsiteX78" fmla="*/ 735273 w 894106"/>
                <a:gd name="connsiteY78" fmla="*/ 113814 h 181863"/>
                <a:gd name="connsiteX79" fmla="*/ 732882 w 894106"/>
                <a:gd name="connsiteY79" fmla="*/ 113814 h 181863"/>
                <a:gd name="connsiteX80" fmla="*/ 726206 w 894106"/>
                <a:gd name="connsiteY80" fmla="*/ 112421 h 181863"/>
                <a:gd name="connsiteX81" fmla="*/ 724811 w 894106"/>
                <a:gd name="connsiteY81" fmla="*/ 112520 h 181863"/>
                <a:gd name="connsiteX82" fmla="*/ 723815 w 894106"/>
                <a:gd name="connsiteY82" fmla="*/ 114013 h 181863"/>
                <a:gd name="connsiteX83" fmla="*/ 721523 w 894106"/>
                <a:gd name="connsiteY83" fmla="*/ 113217 h 181863"/>
                <a:gd name="connsiteX84" fmla="*/ 719131 w 894106"/>
                <a:gd name="connsiteY84" fmla="*/ 111525 h 181863"/>
                <a:gd name="connsiteX85" fmla="*/ 717836 w 894106"/>
                <a:gd name="connsiteY85" fmla="*/ 110232 h 181863"/>
                <a:gd name="connsiteX86" fmla="*/ 714448 w 894106"/>
                <a:gd name="connsiteY86" fmla="*/ 110730 h 181863"/>
                <a:gd name="connsiteX87" fmla="*/ 710761 w 894106"/>
                <a:gd name="connsiteY87" fmla="*/ 108939 h 181863"/>
                <a:gd name="connsiteX88" fmla="*/ 701295 w 894106"/>
                <a:gd name="connsiteY88" fmla="*/ 100880 h 181863"/>
                <a:gd name="connsiteX89" fmla="*/ 700299 w 894106"/>
                <a:gd name="connsiteY89" fmla="*/ 100084 h 181863"/>
                <a:gd name="connsiteX90" fmla="*/ 699601 w 894106"/>
                <a:gd name="connsiteY90" fmla="*/ 98492 h 181863"/>
                <a:gd name="connsiteX91" fmla="*/ 696213 w 894106"/>
                <a:gd name="connsiteY91" fmla="*/ 93319 h 181863"/>
                <a:gd name="connsiteX92" fmla="*/ 694818 w 894106"/>
                <a:gd name="connsiteY92" fmla="*/ 92921 h 181863"/>
                <a:gd name="connsiteX93" fmla="*/ 691131 w 894106"/>
                <a:gd name="connsiteY93" fmla="*/ 92822 h 181863"/>
                <a:gd name="connsiteX94" fmla="*/ 689238 w 894106"/>
                <a:gd name="connsiteY94" fmla="*/ 92424 h 181863"/>
                <a:gd name="connsiteX95" fmla="*/ 688441 w 894106"/>
                <a:gd name="connsiteY95" fmla="*/ 91827 h 181863"/>
                <a:gd name="connsiteX96" fmla="*/ 685253 w 894106"/>
                <a:gd name="connsiteY96" fmla="*/ 88245 h 181863"/>
                <a:gd name="connsiteX97" fmla="*/ 684057 w 894106"/>
                <a:gd name="connsiteY97" fmla="*/ 86256 h 181863"/>
                <a:gd name="connsiteX98" fmla="*/ 682363 w 894106"/>
                <a:gd name="connsiteY98" fmla="*/ 82077 h 181863"/>
                <a:gd name="connsiteX99" fmla="*/ 680868 w 894106"/>
                <a:gd name="connsiteY99" fmla="*/ 79789 h 181863"/>
                <a:gd name="connsiteX100" fmla="*/ 679473 w 894106"/>
                <a:gd name="connsiteY100" fmla="*/ 78297 h 181863"/>
                <a:gd name="connsiteX101" fmla="*/ 678178 w 894106"/>
                <a:gd name="connsiteY101" fmla="*/ 77202 h 181863"/>
                <a:gd name="connsiteX102" fmla="*/ 676584 w 894106"/>
                <a:gd name="connsiteY102" fmla="*/ 76406 h 181863"/>
                <a:gd name="connsiteX103" fmla="*/ 674690 w 894106"/>
                <a:gd name="connsiteY103" fmla="*/ 75809 h 181863"/>
                <a:gd name="connsiteX104" fmla="*/ 674591 w 894106"/>
                <a:gd name="connsiteY104" fmla="*/ 75710 h 181863"/>
                <a:gd name="connsiteX105" fmla="*/ 671502 w 894106"/>
                <a:gd name="connsiteY105" fmla="*/ 61881 h 181863"/>
                <a:gd name="connsiteX106" fmla="*/ 670406 w 894106"/>
                <a:gd name="connsiteY106" fmla="*/ 61185 h 181863"/>
                <a:gd name="connsiteX107" fmla="*/ 667516 w 894106"/>
                <a:gd name="connsiteY107" fmla="*/ 61583 h 181863"/>
                <a:gd name="connsiteX108" fmla="*/ 667416 w 894106"/>
                <a:gd name="connsiteY108" fmla="*/ 61881 h 181863"/>
                <a:gd name="connsiteX109" fmla="*/ 666818 w 894106"/>
                <a:gd name="connsiteY109" fmla="*/ 62578 h 181863"/>
                <a:gd name="connsiteX110" fmla="*/ 666021 w 894106"/>
                <a:gd name="connsiteY110" fmla="*/ 63175 h 181863"/>
                <a:gd name="connsiteX111" fmla="*/ 665324 w 894106"/>
                <a:gd name="connsiteY111" fmla="*/ 63473 h 181863"/>
                <a:gd name="connsiteX112" fmla="*/ 664526 w 894106"/>
                <a:gd name="connsiteY112" fmla="*/ 63274 h 181863"/>
                <a:gd name="connsiteX113" fmla="*/ 664128 w 894106"/>
                <a:gd name="connsiteY113" fmla="*/ 62677 h 181863"/>
                <a:gd name="connsiteX114" fmla="*/ 663729 w 894106"/>
                <a:gd name="connsiteY114" fmla="*/ 62080 h 181863"/>
                <a:gd name="connsiteX115" fmla="*/ 656256 w 894106"/>
                <a:gd name="connsiteY115" fmla="*/ 56708 h 181863"/>
                <a:gd name="connsiteX116" fmla="*/ 654064 w 894106"/>
                <a:gd name="connsiteY116" fmla="*/ 56011 h 181863"/>
                <a:gd name="connsiteX117" fmla="*/ 648782 w 894106"/>
                <a:gd name="connsiteY117" fmla="*/ 55514 h 181863"/>
                <a:gd name="connsiteX118" fmla="*/ 647388 w 894106"/>
                <a:gd name="connsiteY118" fmla="*/ 55116 h 181863"/>
                <a:gd name="connsiteX119" fmla="*/ 646192 w 894106"/>
                <a:gd name="connsiteY119" fmla="*/ 54320 h 181863"/>
                <a:gd name="connsiteX120" fmla="*/ 645395 w 894106"/>
                <a:gd name="connsiteY120" fmla="*/ 53425 h 181863"/>
                <a:gd name="connsiteX121" fmla="*/ 644100 w 894106"/>
                <a:gd name="connsiteY121" fmla="*/ 51336 h 181863"/>
                <a:gd name="connsiteX122" fmla="*/ 645694 w 894106"/>
                <a:gd name="connsiteY122" fmla="*/ 46361 h 181863"/>
                <a:gd name="connsiteX123" fmla="*/ 647089 w 894106"/>
                <a:gd name="connsiteY123" fmla="*/ 45267 h 181863"/>
                <a:gd name="connsiteX124" fmla="*/ 650078 w 894106"/>
                <a:gd name="connsiteY124" fmla="*/ 46660 h 181863"/>
                <a:gd name="connsiteX125" fmla="*/ 652370 w 894106"/>
                <a:gd name="connsiteY125" fmla="*/ 45068 h 181863"/>
                <a:gd name="connsiteX126" fmla="*/ 653566 w 894106"/>
                <a:gd name="connsiteY126" fmla="*/ 43974 h 181863"/>
                <a:gd name="connsiteX127" fmla="*/ 653566 w 894106"/>
                <a:gd name="connsiteY127" fmla="*/ 42979 h 181863"/>
                <a:gd name="connsiteX128" fmla="*/ 652469 w 894106"/>
                <a:gd name="connsiteY128" fmla="*/ 42680 h 181863"/>
                <a:gd name="connsiteX129" fmla="*/ 644697 w 894106"/>
                <a:gd name="connsiteY129" fmla="*/ 44869 h 181863"/>
                <a:gd name="connsiteX130" fmla="*/ 640512 w 894106"/>
                <a:gd name="connsiteY130" fmla="*/ 48749 h 181863"/>
                <a:gd name="connsiteX131" fmla="*/ 637922 w 894106"/>
                <a:gd name="connsiteY131" fmla="*/ 49545 h 181863"/>
                <a:gd name="connsiteX132" fmla="*/ 637922 w 894106"/>
                <a:gd name="connsiteY132" fmla="*/ 49246 h 181863"/>
                <a:gd name="connsiteX133" fmla="*/ 637922 w 894106"/>
                <a:gd name="connsiteY133" fmla="*/ 48550 h 181863"/>
                <a:gd name="connsiteX134" fmla="*/ 637523 w 894106"/>
                <a:gd name="connsiteY134" fmla="*/ 47853 h 181863"/>
                <a:gd name="connsiteX135" fmla="*/ 636626 w 894106"/>
                <a:gd name="connsiteY135" fmla="*/ 47555 h 181863"/>
                <a:gd name="connsiteX136" fmla="*/ 634334 w 894106"/>
                <a:gd name="connsiteY136" fmla="*/ 47655 h 181863"/>
                <a:gd name="connsiteX137" fmla="*/ 633637 w 894106"/>
                <a:gd name="connsiteY137" fmla="*/ 47555 h 181863"/>
                <a:gd name="connsiteX138" fmla="*/ 628854 w 894106"/>
                <a:gd name="connsiteY138" fmla="*/ 44769 h 181863"/>
                <a:gd name="connsiteX139" fmla="*/ 628555 w 894106"/>
                <a:gd name="connsiteY139" fmla="*/ 43874 h 181863"/>
                <a:gd name="connsiteX140" fmla="*/ 625765 w 894106"/>
                <a:gd name="connsiteY140" fmla="*/ 38800 h 181863"/>
                <a:gd name="connsiteX141" fmla="*/ 625267 w 894106"/>
                <a:gd name="connsiteY141" fmla="*/ 37407 h 181863"/>
                <a:gd name="connsiteX142" fmla="*/ 624171 w 894106"/>
                <a:gd name="connsiteY142" fmla="*/ 36313 h 181863"/>
                <a:gd name="connsiteX143" fmla="*/ 622875 w 894106"/>
                <a:gd name="connsiteY143" fmla="*/ 35318 h 181863"/>
                <a:gd name="connsiteX144" fmla="*/ 621480 w 894106"/>
                <a:gd name="connsiteY144" fmla="*/ 34522 h 181863"/>
                <a:gd name="connsiteX145" fmla="*/ 620982 w 894106"/>
                <a:gd name="connsiteY145" fmla="*/ 37805 h 181863"/>
                <a:gd name="connsiteX146" fmla="*/ 618491 w 894106"/>
                <a:gd name="connsiteY146" fmla="*/ 38303 h 181863"/>
                <a:gd name="connsiteX147" fmla="*/ 615502 w 894106"/>
                <a:gd name="connsiteY147" fmla="*/ 37308 h 181863"/>
                <a:gd name="connsiteX148" fmla="*/ 608726 w 894106"/>
                <a:gd name="connsiteY148" fmla="*/ 34025 h 181863"/>
                <a:gd name="connsiteX149" fmla="*/ 606633 w 894106"/>
                <a:gd name="connsiteY149" fmla="*/ 34124 h 181863"/>
                <a:gd name="connsiteX150" fmla="*/ 607530 w 894106"/>
                <a:gd name="connsiteY150" fmla="*/ 37308 h 181863"/>
                <a:gd name="connsiteX151" fmla="*/ 599957 w 894106"/>
                <a:gd name="connsiteY151" fmla="*/ 40293 h 181863"/>
                <a:gd name="connsiteX152" fmla="*/ 596071 w 894106"/>
                <a:gd name="connsiteY152" fmla="*/ 41088 h 181863"/>
                <a:gd name="connsiteX153" fmla="*/ 591886 w 894106"/>
                <a:gd name="connsiteY153" fmla="*/ 40989 h 181863"/>
                <a:gd name="connsiteX154" fmla="*/ 589694 w 894106"/>
                <a:gd name="connsiteY154" fmla="*/ 40491 h 181863"/>
                <a:gd name="connsiteX155" fmla="*/ 587601 w 894106"/>
                <a:gd name="connsiteY155" fmla="*/ 39695 h 181863"/>
                <a:gd name="connsiteX156" fmla="*/ 585608 w 894106"/>
                <a:gd name="connsiteY156" fmla="*/ 38601 h 181863"/>
                <a:gd name="connsiteX157" fmla="*/ 583715 w 894106"/>
                <a:gd name="connsiteY157" fmla="*/ 36910 h 181863"/>
                <a:gd name="connsiteX158" fmla="*/ 582121 w 894106"/>
                <a:gd name="connsiteY158" fmla="*/ 36412 h 181863"/>
                <a:gd name="connsiteX159" fmla="*/ 574946 w 894106"/>
                <a:gd name="connsiteY159" fmla="*/ 36412 h 181863"/>
                <a:gd name="connsiteX160" fmla="*/ 572655 w 894106"/>
                <a:gd name="connsiteY160" fmla="*/ 35816 h 181863"/>
                <a:gd name="connsiteX161" fmla="*/ 570960 w 894106"/>
                <a:gd name="connsiteY161" fmla="*/ 34423 h 181863"/>
                <a:gd name="connsiteX162" fmla="*/ 569665 w 894106"/>
                <a:gd name="connsiteY162" fmla="*/ 32831 h 181863"/>
                <a:gd name="connsiteX163" fmla="*/ 568469 w 894106"/>
                <a:gd name="connsiteY163" fmla="*/ 31637 h 181863"/>
                <a:gd name="connsiteX164" fmla="*/ 566476 w 894106"/>
                <a:gd name="connsiteY164" fmla="*/ 30941 h 181863"/>
                <a:gd name="connsiteX165" fmla="*/ 561395 w 894106"/>
                <a:gd name="connsiteY165" fmla="*/ 29946 h 181863"/>
                <a:gd name="connsiteX166" fmla="*/ 559402 w 894106"/>
                <a:gd name="connsiteY166" fmla="*/ 29846 h 181863"/>
                <a:gd name="connsiteX167" fmla="*/ 556711 w 894106"/>
                <a:gd name="connsiteY167" fmla="*/ 27956 h 181863"/>
                <a:gd name="connsiteX168" fmla="*/ 552128 w 894106"/>
                <a:gd name="connsiteY168" fmla="*/ 19699 h 181863"/>
                <a:gd name="connsiteX169" fmla="*/ 552028 w 894106"/>
                <a:gd name="connsiteY169" fmla="*/ 19400 h 181863"/>
                <a:gd name="connsiteX170" fmla="*/ 548441 w 894106"/>
                <a:gd name="connsiteY170" fmla="*/ 16813 h 181863"/>
                <a:gd name="connsiteX171" fmla="*/ 551729 w 894106"/>
                <a:gd name="connsiteY171" fmla="*/ 10247 h 181863"/>
                <a:gd name="connsiteX172" fmla="*/ 552825 w 894106"/>
                <a:gd name="connsiteY172" fmla="*/ 9252 h 181863"/>
                <a:gd name="connsiteX173" fmla="*/ 552825 w 894106"/>
                <a:gd name="connsiteY173" fmla="*/ 8357 h 181863"/>
                <a:gd name="connsiteX174" fmla="*/ 551630 w 894106"/>
                <a:gd name="connsiteY174" fmla="*/ 7661 h 181863"/>
                <a:gd name="connsiteX175" fmla="*/ 550035 w 894106"/>
                <a:gd name="connsiteY175" fmla="*/ 7362 h 181863"/>
                <a:gd name="connsiteX176" fmla="*/ 548342 w 894106"/>
                <a:gd name="connsiteY176" fmla="*/ 7561 h 181863"/>
                <a:gd name="connsiteX177" fmla="*/ 546647 w 894106"/>
                <a:gd name="connsiteY177" fmla="*/ 8357 h 181863"/>
                <a:gd name="connsiteX178" fmla="*/ 549039 w 894106"/>
                <a:gd name="connsiteY178" fmla="*/ 11043 h 181863"/>
                <a:gd name="connsiteX179" fmla="*/ 548342 w 894106"/>
                <a:gd name="connsiteY179" fmla="*/ 13530 h 181863"/>
                <a:gd name="connsiteX180" fmla="*/ 545950 w 894106"/>
                <a:gd name="connsiteY180" fmla="*/ 15620 h 181863"/>
                <a:gd name="connsiteX181" fmla="*/ 543260 w 894106"/>
                <a:gd name="connsiteY181" fmla="*/ 16813 h 181863"/>
                <a:gd name="connsiteX182" fmla="*/ 540071 w 894106"/>
                <a:gd name="connsiteY182" fmla="*/ 16913 h 181863"/>
                <a:gd name="connsiteX183" fmla="*/ 534192 w 894106"/>
                <a:gd name="connsiteY183" fmla="*/ 15620 h 181863"/>
                <a:gd name="connsiteX184" fmla="*/ 531103 w 894106"/>
                <a:gd name="connsiteY184" fmla="*/ 15719 h 181863"/>
                <a:gd name="connsiteX185" fmla="*/ 511174 w 894106"/>
                <a:gd name="connsiteY185" fmla="*/ 19599 h 181863"/>
                <a:gd name="connsiteX186" fmla="*/ 508583 w 894106"/>
                <a:gd name="connsiteY186" fmla="*/ 20395 h 181863"/>
                <a:gd name="connsiteX187" fmla="*/ 505694 w 894106"/>
                <a:gd name="connsiteY187" fmla="*/ 20892 h 181863"/>
                <a:gd name="connsiteX188" fmla="*/ 503402 w 894106"/>
                <a:gd name="connsiteY188" fmla="*/ 20196 h 181863"/>
                <a:gd name="connsiteX189" fmla="*/ 502405 w 894106"/>
                <a:gd name="connsiteY189" fmla="*/ 17211 h 181863"/>
                <a:gd name="connsiteX190" fmla="*/ 502405 w 894106"/>
                <a:gd name="connsiteY190" fmla="*/ 15023 h 181863"/>
                <a:gd name="connsiteX191" fmla="*/ 502206 w 894106"/>
                <a:gd name="connsiteY191" fmla="*/ 14525 h 181863"/>
                <a:gd name="connsiteX192" fmla="*/ 501708 w 894106"/>
                <a:gd name="connsiteY192" fmla="*/ 14724 h 181863"/>
                <a:gd name="connsiteX193" fmla="*/ 500811 w 894106"/>
                <a:gd name="connsiteY193" fmla="*/ 14824 h 181863"/>
                <a:gd name="connsiteX194" fmla="*/ 495530 w 894106"/>
                <a:gd name="connsiteY194" fmla="*/ 13829 h 181863"/>
                <a:gd name="connsiteX195" fmla="*/ 494733 w 894106"/>
                <a:gd name="connsiteY195" fmla="*/ 14028 h 181863"/>
                <a:gd name="connsiteX196" fmla="*/ 492142 w 894106"/>
                <a:gd name="connsiteY196" fmla="*/ 14625 h 181863"/>
                <a:gd name="connsiteX197" fmla="*/ 490647 w 894106"/>
                <a:gd name="connsiteY197" fmla="*/ 14824 h 181863"/>
                <a:gd name="connsiteX198" fmla="*/ 490050 w 894106"/>
                <a:gd name="connsiteY198" fmla="*/ 15520 h 181863"/>
                <a:gd name="connsiteX199" fmla="*/ 488654 w 894106"/>
                <a:gd name="connsiteY199" fmla="*/ 18803 h 181863"/>
                <a:gd name="connsiteX200" fmla="*/ 488057 w 894106"/>
                <a:gd name="connsiteY200" fmla="*/ 19997 h 181863"/>
                <a:gd name="connsiteX201" fmla="*/ 486163 w 894106"/>
                <a:gd name="connsiteY201" fmla="*/ 22285 h 181863"/>
                <a:gd name="connsiteX202" fmla="*/ 485267 w 894106"/>
                <a:gd name="connsiteY202" fmla="*/ 23678 h 181863"/>
                <a:gd name="connsiteX203" fmla="*/ 484171 w 894106"/>
                <a:gd name="connsiteY203" fmla="*/ 24275 h 181863"/>
                <a:gd name="connsiteX204" fmla="*/ 481680 w 894106"/>
                <a:gd name="connsiteY204" fmla="*/ 24275 h 181863"/>
                <a:gd name="connsiteX205" fmla="*/ 477096 w 894106"/>
                <a:gd name="connsiteY205" fmla="*/ 21887 h 181863"/>
                <a:gd name="connsiteX206" fmla="*/ 469921 w 894106"/>
                <a:gd name="connsiteY206" fmla="*/ 13431 h 181863"/>
                <a:gd name="connsiteX207" fmla="*/ 464341 w 894106"/>
                <a:gd name="connsiteY207" fmla="*/ 12038 h 181863"/>
                <a:gd name="connsiteX208" fmla="*/ 464341 w 894106"/>
                <a:gd name="connsiteY208" fmla="*/ 11143 h 181863"/>
                <a:gd name="connsiteX209" fmla="*/ 466036 w 894106"/>
                <a:gd name="connsiteY209" fmla="*/ 9551 h 181863"/>
                <a:gd name="connsiteX210" fmla="*/ 473011 w 894106"/>
                <a:gd name="connsiteY210" fmla="*/ 5372 h 181863"/>
                <a:gd name="connsiteX211" fmla="*/ 478690 w 894106"/>
                <a:gd name="connsiteY211" fmla="*/ 3880 h 181863"/>
                <a:gd name="connsiteX212" fmla="*/ 482278 w 894106"/>
                <a:gd name="connsiteY212" fmla="*/ 2487 h 181863"/>
                <a:gd name="connsiteX213" fmla="*/ 484071 w 894106"/>
                <a:gd name="connsiteY213" fmla="*/ 895 h 181863"/>
                <a:gd name="connsiteX214" fmla="*/ 481680 w 894106"/>
                <a:gd name="connsiteY214" fmla="*/ 0 h 181863"/>
                <a:gd name="connsiteX215" fmla="*/ 479587 w 894106"/>
                <a:gd name="connsiteY215" fmla="*/ 597 h 181863"/>
                <a:gd name="connsiteX216" fmla="*/ 474007 w 894106"/>
                <a:gd name="connsiteY216" fmla="*/ 3880 h 181863"/>
                <a:gd name="connsiteX217" fmla="*/ 470918 w 894106"/>
                <a:gd name="connsiteY217" fmla="*/ 6268 h 181863"/>
                <a:gd name="connsiteX218" fmla="*/ 466135 w 894106"/>
                <a:gd name="connsiteY218" fmla="*/ 8556 h 181863"/>
                <a:gd name="connsiteX219" fmla="*/ 464341 w 894106"/>
                <a:gd name="connsiteY219" fmla="*/ 9252 h 181863"/>
                <a:gd name="connsiteX220" fmla="*/ 458363 w 894106"/>
                <a:gd name="connsiteY220" fmla="*/ 10048 h 181863"/>
                <a:gd name="connsiteX221" fmla="*/ 455174 w 894106"/>
                <a:gd name="connsiteY221" fmla="*/ 11043 h 181863"/>
                <a:gd name="connsiteX222" fmla="*/ 453779 w 894106"/>
                <a:gd name="connsiteY222" fmla="*/ 12436 h 181863"/>
                <a:gd name="connsiteX223" fmla="*/ 452384 w 894106"/>
                <a:gd name="connsiteY223" fmla="*/ 13132 h 181863"/>
                <a:gd name="connsiteX224" fmla="*/ 441722 w 894106"/>
                <a:gd name="connsiteY224" fmla="*/ 14923 h 181863"/>
                <a:gd name="connsiteX225" fmla="*/ 440626 w 894106"/>
                <a:gd name="connsiteY225" fmla="*/ 15023 h 181863"/>
                <a:gd name="connsiteX226" fmla="*/ 439630 w 894106"/>
                <a:gd name="connsiteY226" fmla="*/ 15321 h 181863"/>
                <a:gd name="connsiteX227" fmla="*/ 438633 w 894106"/>
                <a:gd name="connsiteY227" fmla="*/ 16216 h 181863"/>
                <a:gd name="connsiteX228" fmla="*/ 438135 w 894106"/>
                <a:gd name="connsiteY228" fmla="*/ 17410 h 181863"/>
                <a:gd name="connsiteX229" fmla="*/ 437338 w 894106"/>
                <a:gd name="connsiteY229" fmla="*/ 20694 h 181863"/>
                <a:gd name="connsiteX230" fmla="*/ 436840 w 894106"/>
                <a:gd name="connsiteY230" fmla="*/ 21390 h 181863"/>
                <a:gd name="connsiteX231" fmla="*/ 434947 w 894106"/>
                <a:gd name="connsiteY231" fmla="*/ 22186 h 181863"/>
                <a:gd name="connsiteX232" fmla="*/ 433552 w 894106"/>
                <a:gd name="connsiteY232" fmla="*/ 22584 h 181863"/>
                <a:gd name="connsiteX233" fmla="*/ 432057 w 894106"/>
                <a:gd name="connsiteY233" fmla="*/ 22385 h 181863"/>
                <a:gd name="connsiteX234" fmla="*/ 430562 w 894106"/>
                <a:gd name="connsiteY234" fmla="*/ 21589 h 181863"/>
                <a:gd name="connsiteX235" fmla="*/ 430562 w 894106"/>
                <a:gd name="connsiteY235" fmla="*/ 21191 h 181863"/>
                <a:gd name="connsiteX236" fmla="*/ 431359 w 894106"/>
                <a:gd name="connsiteY236" fmla="*/ 20594 h 181863"/>
                <a:gd name="connsiteX237" fmla="*/ 432057 w 894106"/>
                <a:gd name="connsiteY237" fmla="*/ 19599 h 181863"/>
                <a:gd name="connsiteX238" fmla="*/ 432754 w 894106"/>
                <a:gd name="connsiteY238" fmla="*/ 17211 h 181863"/>
                <a:gd name="connsiteX239" fmla="*/ 433153 w 894106"/>
                <a:gd name="connsiteY239" fmla="*/ 14028 h 181863"/>
                <a:gd name="connsiteX240" fmla="*/ 432654 w 894106"/>
                <a:gd name="connsiteY240" fmla="*/ 11242 h 181863"/>
                <a:gd name="connsiteX241" fmla="*/ 429964 w 894106"/>
                <a:gd name="connsiteY241" fmla="*/ 9750 h 181863"/>
                <a:gd name="connsiteX242" fmla="*/ 427772 w 894106"/>
                <a:gd name="connsiteY242" fmla="*/ 7959 h 181863"/>
                <a:gd name="connsiteX243" fmla="*/ 426876 w 894106"/>
                <a:gd name="connsiteY243" fmla="*/ 7462 h 181863"/>
                <a:gd name="connsiteX244" fmla="*/ 425181 w 894106"/>
                <a:gd name="connsiteY244" fmla="*/ 7263 h 181863"/>
                <a:gd name="connsiteX245" fmla="*/ 423687 w 894106"/>
                <a:gd name="connsiteY245" fmla="*/ 7263 h 181863"/>
                <a:gd name="connsiteX246" fmla="*/ 422292 w 894106"/>
                <a:gd name="connsiteY246" fmla="*/ 7163 h 181863"/>
                <a:gd name="connsiteX247" fmla="*/ 420797 w 894106"/>
                <a:gd name="connsiteY247" fmla="*/ 6367 h 181863"/>
                <a:gd name="connsiteX248" fmla="*/ 419203 w 894106"/>
                <a:gd name="connsiteY248" fmla="*/ 7263 h 181863"/>
                <a:gd name="connsiteX249" fmla="*/ 417210 w 894106"/>
                <a:gd name="connsiteY249" fmla="*/ 7561 h 181863"/>
                <a:gd name="connsiteX250" fmla="*/ 413921 w 894106"/>
                <a:gd name="connsiteY250" fmla="*/ 7561 h 181863"/>
                <a:gd name="connsiteX251" fmla="*/ 394092 w 894106"/>
                <a:gd name="connsiteY251" fmla="*/ 7462 h 181863"/>
                <a:gd name="connsiteX252" fmla="*/ 391303 w 894106"/>
                <a:gd name="connsiteY252" fmla="*/ 8357 h 181863"/>
                <a:gd name="connsiteX253" fmla="*/ 387516 w 894106"/>
                <a:gd name="connsiteY253" fmla="*/ 7462 h 181863"/>
                <a:gd name="connsiteX254" fmla="*/ 379445 w 894106"/>
                <a:gd name="connsiteY254" fmla="*/ 6666 h 181863"/>
                <a:gd name="connsiteX255" fmla="*/ 375658 w 894106"/>
                <a:gd name="connsiteY255" fmla="*/ 5571 h 181863"/>
                <a:gd name="connsiteX256" fmla="*/ 370876 w 894106"/>
                <a:gd name="connsiteY256" fmla="*/ 2288 h 181863"/>
                <a:gd name="connsiteX257" fmla="*/ 369580 w 894106"/>
                <a:gd name="connsiteY257" fmla="*/ 1592 h 181863"/>
                <a:gd name="connsiteX258" fmla="*/ 368185 w 894106"/>
                <a:gd name="connsiteY258" fmla="*/ 1890 h 181863"/>
                <a:gd name="connsiteX259" fmla="*/ 366890 w 894106"/>
                <a:gd name="connsiteY259" fmla="*/ 2388 h 181863"/>
                <a:gd name="connsiteX260" fmla="*/ 365594 w 894106"/>
                <a:gd name="connsiteY260" fmla="*/ 2686 h 181863"/>
                <a:gd name="connsiteX261" fmla="*/ 362605 w 894106"/>
                <a:gd name="connsiteY261" fmla="*/ 2985 h 181863"/>
                <a:gd name="connsiteX262" fmla="*/ 361110 w 894106"/>
                <a:gd name="connsiteY262" fmla="*/ 3283 h 181863"/>
                <a:gd name="connsiteX263" fmla="*/ 357523 w 894106"/>
                <a:gd name="connsiteY263" fmla="*/ 4278 h 181863"/>
                <a:gd name="connsiteX264" fmla="*/ 354832 w 894106"/>
                <a:gd name="connsiteY264" fmla="*/ 4576 h 181863"/>
                <a:gd name="connsiteX265" fmla="*/ 345965 w 894106"/>
                <a:gd name="connsiteY265" fmla="*/ 2487 h 181863"/>
                <a:gd name="connsiteX266" fmla="*/ 341979 w 894106"/>
                <a:gd name="connsiteY266" fmla="*/ 4079 h 181863"/>
                <a:gd name="connsiteX267" fmla="*/ 333110 w 894106"/>
                <a:gd name="connsiteY267" fmla="*/ 5571 h 181863"/>
                <a:gd name="connsiteX268" fmla="*/ 327331 w 894106"/>
                <a:gd name="connsiteY268" fmla="*/ 8058 h 181863"/>
                <a:gd name="connsiteX269" fmla="*/ 322249 w 894106"/>
                <a:gd name="connsiteY269" fmla="*/ 8855 h 181863"/>
                <a:gd name="connsiteX270" fmla="*/ 320256 w 894106"/>
                <a:gd name="connsiteY270" fmla="*/ 10048 h 181863"/>
                <a:gd name="connsiteX271" fmla="*/ 316569 w 894106"/>
                <a:gd name="connsiteY271" fmla="*/ 12934 h 181863"/>
                <a:gd name="connsiteX272" fmla="*/ 314576 w 894106"/>
                <a:gd name="connsiteY272" fmla="*/ 14127 h 181863"/>
                <a:gd name="connsiteX273" fmla="*/ 313281 w 894106"/>
                <a:gd name="connsiteY273" fmla="*/ 14625 h 181863"/>
                <a:gd name="connsiteX274" fmla="*/ 311786 w 894106"/>
                <a:gd name="connsiteY274" fmla="*/ 14824 h 181863"/>
                <a:gd name="connsiteX275" fmla="*/ 311188 w 894106"/>
                <a:gd name="connsiteY275" fmla="*/ 15222 h 181863"/>
                <a:gd name="connsiteX276" fmla="*/ 309893 w 894106"/>
                <a:gd name="connsiteY276" fmla="*/ 17211 h 181863"/>
                <a:gd name="connsiteX277" fmla="*/ 309196 w 894106"/>
                <a:gd name="connsiteY277" fmla="*/ 17609 h 181863"/>
                <a:gd name="connsiteX278" fmla="*/ 306406 w 894106"/>
                <a:gd name="connsiteY278" fmla="*/ 18405 h 181863"/>
                <a:gd name="connsiteX279" fmla="*/ 300826 w 894106"/>
                <a:gd name="connsiteY279" fmla="*/ 21589 h 181863"/>
                <a:gd name="connsiteX280" fmla="*/ 298235 w 894106"/>
                <a:gd name="connsiteY280" fmla="*/ 21390 h 181863"/>
                <a:gd name="connsiteX281" fmla="*/ 295245 w 894106"/>
                <a:gd name="connsiteY281" fmla="*/ 22683 h 181863"/>
                <a:gd name="connsiteX282" fmla="*/ 283488 w 894106"/>
                <a:gd name="connsiteY282" fmla="*/ 24275 h 181863"/>
                <a:gd name="connsiteX283" fmla="*/ 272028 w 894106"/>
                <a:gd name="connsiteY283" fmla="*/ 23678 h 181863"/>
                <a:gd name="connsiteX284" fmla="*/ 269239 w 894106"/>
                <a:gd name="connsiteY284" fmla="*/ 24673 h 181863"/>
                <a:gd name="connsiteX285" fmla="*/ 266150 w 894106"/>
                <a:gd name="connsiteY285" fmla="*/ 25170 h 181863"/>
                <a:gd name="connsiteX286" fmla="*/ 261665 w 894106"/>
                <a:gd name="connsiteY286" fmla="*/ 24474 h 181863"/>
                <a:gd name="connsiteX287" fmla="*/ 257481 w 894106"/>
                <a:gd name="connsiteY287" fmla="*/ 24573 h 181863"/>
                <a:gd name="connsiteX288" fmla="*/ 255786 w 894106"/>
                <a:gd name="connsiteY288" fmla="*/ 27459 h 181863"/>
                <a:gd name="connsiteX289" fmla="*/ 254392 w 894106"/>
                <a:gd name="connsiteY289" fmla="*/ 30841 h 181863"/>
                <a:gd name="connsiteX290" fmla="*/ 254092 w 894106"/>
                <a:gd name="connsiteY290" fmla="*/ 31040 h 181863"/>
                <a:gd name="connsiteX291" fmla="*/ 251601 w 894106"/>
                <a:gd name="connsiteY291" fmla="*/ 32731 h 181863"/>
                <a:gd name="connsiteX292" fmla="*/ 249409 w 894106"/>
                <a:gd name="connsiteY292" fmla="*/ 32533 h 181863"/>
                <a:gd name="connsiteX293" fmla="*/ 249708 w 894106"/>
                <a:gd name="connsiteY293" fmla="*/ 29846 h 181863"/>
                <a:gd name="connsiteX294" fmla="*/ 248512 w 894106"/>
                <a:gd name="connsiteY294" fmla="*/ 31239 h 181863"/>
                <a:gd name="connsiteX295" fmla="*/ 247516 w 894106"/>
                <a:gd name="connsiteY295" fmla="*/ 31737 h 181863"/>
                <a:gd name="connsiteX296" fmla="*/ 246719 w 894106"/>
                <a:gd name="connsiteY296" fmla="*/ 31239 h 181863"/>
                <a:gd name="connsiteX297" fmla="*/ 246221 w 894106"/>
                <a:gd name="connsiteY297" fmla="*/ 29846 h 181863"/>
                <a:gd name="connsiteX298" fmla="*/ 246719 w 894106"/>
                <a:gd name="connsiteY298" fmla="*/ 29050 h 181863"/>
                <a:gd name="connsiteX299" fmla="*/ 248014 w 894106"/>
                <a:gd name="connsiteY299" fmla="*/ 28851 h 181863"/>
                <a:gd name="connsiteX300" fmla="*/ 248812 w 894106"/>
                <a:gd name="connsiteY300" fmla="*/ 28454 h 181863"/>
                <a:gd name="connsiteX301" fmla="*/ 248014 w 894106"/>
                <a:gd name="connsiteY301" fmla="*/ 26961 h 181863"/>
                <a:gd name="connsiteX302" fmla="*/ 246819 w 894106"/>
                <a:gd name="connsiteY302" fmla="*/ 26364 h 181863"/>
                <a:gd name="connsiteX303" fmla="*/ 245922 w 894106"/>
                <a:gd name="connsiteY303" fmla="*/ 26762 h 181863"/>
                <a:gd name="connsiteX304" fmla="*/ 245124 w 894106"/>
                <a:gd name="connsiteY304" fmla="*/ 27558 h 181863"/>
                <a:gd name="connsiteX305" fmla="*/ 244526 w 894106"/>
                <a:gd name="connsiteY305" fmla="*/ 27956 h 181863"/>
                <a:gd name="connsiteX306" fmla="*/ 243132 w 894106"/>
                <a:gd name="connsiteY306" fmla="*/ 27558 h 181863"/>
                <a:gd name="connsiteX307" fmla="*/ 241437 w 894106"/>
                <a:gd name="connsiteY307" fmla="*/ 26364 h 181863"/>
                <a:gd name="connsiteX308" fmla="*/ 240043 w 894106"/>
                <a:gd name="connsiteY308" fmla="*/ 26066 h 181863"/>
                <a:gd name="connsiteX309" fmla="*/ 239345 w 894106"/>
                <a:gd name="connsiteY309" fmla="*/ 26364 h 181863"/>
                <a:gd name="connsiteX310" fmla="*/ 237651 w 894106"/>
                <a:gd name="connsiteY310" fmla="*/ 27459 h 181863"/>
                <a:gd name="connsiteX311" fmla="*/ 236655 w 894106"/>
                <a:gd name="connsiteY311" fmla="*/ 27956 h 181863"/>
                <a:gd name="connsiteX312" fmla="*/ 231374 w 894106"/>
                <a:gd name="connsiteY312" fmla="*/ 28951 h 181863"/>
                <a:gd name="connsiteX313" fmla="*/ 228584 w 894106"/>
                <a:gd name="connsiteY313" fmla="*/ 30145 h 181863"/>
                <a:gd name="connsiteX314" fmla="*/ 226690 w 894106"/>
                <a:gd name="connsiteY314" fmla="*/ 31737 h 181863"/>
                <a:gd name="connsiteX315" fmla="*/ 226591 w 894106"/>
                <a:gd name="connsiteY315" fmla="*/ 33527 h 181863"/>
                <a:gd name="connsiteX316" fmla="*/ 228883 w 894106"/>
                <a:gd name="connsiteY316" fmla="*/ 35418 h 181863"/>
                <a:gd name="connsiteX317" fmla="*/ 227986 w 894106"/>
                <a:gd name="connsiteY317" fmla="*/ 36313 h 181863"/>
                <a:gd name="connsiteX318" fmla="*/ 226890 w 894106"/>
                <a:gd name="connsiteY318" fmla="*/ 37706 h 181863"/>
                <a:gd name="connsiteX319" fmla="*/ 225594 w 894106"/>
                <a:gd name="connsiteY319" fmla="*/ 38502 h 181863"/>
                <a:gd name="connsiteX320" fmla="*/ 224099 w 894106"/>
                <a:gd name="connsiteY320" fmla="*/ 37805 h 181863"/>
                <a:gd name="connsiteX321" fmla="*/ 223103 w 894106"/>
                <a:gd name="connsiteY321" fmla="*/ 36114 h 181863"/>
                <a:gd name="connsiteX322" fmla="*/ 222804 w 894106"/>
                <a:gd name="connsiteY322" fmla="*/ 34224 h 181863"/>
                <a:gd name="connsiteX323" fmla="*/ 223402 w 894106"/>
                <a:gd name="connsiteY323" fmla="*/ 32533 h 181863"/>
                <a:gd name="connsiteX324" fmla="*/ 224498 w 894106"/>
                <a:gd name="connsiteY324" fmla="*/ 31637 h 181863"/>
                <a:gd name="connsiteX325" fmla="*/ 224498 w 894106"/>
                <a:gd name="connsiteY325" fmla="*/ 30841 h 181863"/>
                <a:gd name="connsiteX326" fmla="*/ 222804 w 894106"/>
                <a:gd name="connsiteY326" fmla="*/ 29349 h 181863"/>
                <a:gd name="connsiteX327" fmla="*/ 220811 w 894106"/>
                <a:gd name="connsiteY327" fmla="*/ 28652 h 181863"/>
                <a:gd name="connsiteX328" fmla="*/ 218420 w 894106"/>
                <a:gd name="connsiteY328" fmla="*/ 28752 h 181863"/>
                <a:gd name="connsiteX329" fmla="*/ 215829 w 894106"/>
                <a:gd name="connsiteY329" fmla="*/ 29846 h 181863"/>
                <a:gd name="connsiteX330" fmla="*/ 209352 w 894106"/>
                <a:gd name="connsiteY330" fmla="*/ 34025 h 181863"/>
                <a:gd name="connsiteX331" fmla="*/ 207559 w 894106"/>
                <a:gd name="connsiteY331" fmla="*/ 34522 h 181863"/>
                <a:gd name="connsiteX332" fmla="*/ 205267 w 894106"/>
                <a:gd name="connsiteY332" fmla="*/ 35617 h 181863"/>
                <a:gd name="connsiteX333" fmla="*/ 202875 w 894106"/>
                <a:gd name="connsiteY333" fmla="*/ 38203 h 181863"/>
                <a:gd name="connsiteX334" fmla="*/ 200982 w 894106"/>
                <a:gd name="connsiteY334" fmla="*/ 41188 h 181863"/>
                <a:gd name="connsiteX335" fmla="*/ 200284 w 894106"/>
                <a:gd name="connsiteY335" fmla="*/ 43476 h 181863"/>
                <a:gd name="connsiteX336" fmla="*/ 199188 w 894106"/>
                <a:gd name="connsiteY336" fmla="*/ 44570 h 181863"/>
                <a:gd name="connsiteX337" fmla="*/ 197195 w 894106"/>
                <a:gd name="connsiteY337" fmla="*/ 45764 h 181863"/>
                <a:gd name="connsiteX338" fmla="*/ 195801 w 894106"/>
                <a:gd name="connsiteY338" fmla="*/ 46162 h 181863"/>
                <a:gd name="connsiteX339" fmla="*/ 196697 w 894106"/>
                <a:gd name="connsiteY339" fmla="*/ 44769 h 181863"/>
                <a:gd name="connsiteX340" fmla="*/ 194605 w 894106"/>
                <a:gd name="connsiteY340" fmla="*/ 43874 h 181863"/>
                <a:gd name="connsiteX341" fmla="*/ 193011 w 894106"/>
                <a:gd name="connsiteY341" fmla="*/ 42780 h 181863"/>
                <a:gd name="connsiteX342" fmla="*/ 191615 w 894106"/>
                <a:gd name="connsiteY342" fmla="*/ 42183 h 181863"/>
                <a:gd name="connsiteX343" fmla="*/ 189722 w 894106"/>
                <a:gd name="connsiteY343" fmla="*/ 42979 h 181863"/>
                <a:gd name="connsiteX344" fmla="*/ 188626 w 894106"/>
                <a:gd name="connsiteY344" fmla="*/ 44570 h 181863"/>
                <a:gd name="connsiteX345" fmla="*/ 187630 w 894106"/>
                <a:gd name="connsiteY345" fmla="*/ 46660 h 181863"/>
                <a:gd name="connsiteX346" fmla="*/ 186135 w 894106"/>
                <a:gd name="connsiteY346" fmla="*/ 48053 h 181863"/>
                <a:gd name="connsiteX347" fmla="*/ 183644 w 894106"/>
                <a:gd name="connsiteY347" fmla="*/ 47555 h 181863"/>
                <a:gd name="connsiteX348" fmla="*/ 184043 w 894106"/>
                <a:gd name="connsiteY348" fmla="*/ 47058 h 181863"/>
                <a:gd name="connsiteX349" fmla="*/ 184242 w 894106"/>
                <a:gd name="connsiteY349" fmla="*/ 46660 h 181863"/>
                <a:gd name="connsiteX350" fmla="*/ 184541 w 894106"/>
                <a:gd name="connsiteY350" fmla="*/ 45764 h 181863"/>
                <a:gd name="connsiteX351" fmla="*/ 179260 w 894106"/>
                <a:gd name="connsiteY351" fmla="*/ 45764 h 181863"/>
                <a:gd name="connsiteX352" fmla="*/ 178462 w 894106"/>
                <a:gd name="connsiteY352" fmla="*/ 46162 h 181863"/>
                <a:gd name="connsiteX353" fmla="*/ 176868 w 894106"/>
                <a:gd name="connsiteY353" fmla="*/ 50540 h 181863"/>
                <a:gd name="connsiteX354" fmla="*/ 176370 w 894106"/>
                <a:gd name="connsiteY354" fmla="*/ 51336 h 181863"/>
                <a:gd name="connsiteX355" fmla="*/ 169993 w 894106"/>
                <a:gd name="connsiteY355" fmla="*/ 51634 h 181863"/>
                <a:gd name="connsiteX356" fmla="*/ 167203 w 894106"/>
                <a:gd name="connsiteY356" fmla="*/ 52430 h 181863"/>
                <a:gd name="connsiteX357" fmla="*/ 164512 w 894106"/>
                <a:gd name="connsiteY357" fmla="*/ 54121 h 181863"/>
                <a:gd name="connsiteX358" fmla="*/ 165110 w 894106"/>
                <a:gd name="connsiteY358" fmla="*/ 54221 h 181863"/>
                <a:gd name="connsiteX359" fmla="*/ 165310 w 894106"/>
                <a:gd name="connsiteY359" fmla="*/ 54320 h 181863"/>
                <a:gd name="connsiteX360" fmla="*/ 165210 w 894106"/>
                <a:gd name="connsiteY360" fmla="*/ 54619 h 181863"/>
                <a:gd name="connsiteX361" fmla="*/ 165409 w 894106"/>
                <a:gd name="connsiteY361" fmla="*/ 55116 h 181863"/>
                <a:gd name="connsiteX362" fmla="*/ 166306 w 894106"/>
                <a:gd name="connsiteY362" fmla="*/ 54519 h 181863"/>
                <a:gd name="connsiteX363" fmla="*/ 167203 w 894106"/>
                <a:gd name="connsiteY363" fmla="*/ 54121 h 181863"/>
                <a:gd name="connsiteX364" fmla="*/ 167203 w 894106"/>
                <a:gd name="connsiteY364" fmla="*/ 55116 h 181863"/>
                <a:gd name="connsiteX365" fmla="*/ 166306 w 894106"/>
                <a:gd name="connsiteY365" fmla="*/ 55613 h 181863"/>
                <a:gd name="connsiteX366" fmla="*/ 164512 w 894106"/>
                <a:gd name="connsiteY366" fmla="*/ 56708 h 181863"/>
                <a:gd name="connsiteX367" fmla="*/ 163715 w 894106"/>
                <a:gd name="connsiteY367" fmla="*/ 57006 h 181863"/>
                <a:gd name="connsiteX368" fmla="*/ 162320 w 894106"/>
                <a:gd name="connsiteY368" fmla="*/ 57006 h 181863"/>
                <a:gd name="connsiteX369" fmla="*/ 160726 w 894106"/>
                <a:gd name="connsiteY369" fmla="*/ 56210 h 181863"/>
                <a:gd name="connsiteX370" fmla="*/ 159231 w 894106"/>
                <a:gd name="connsiteY370" fmla="*/ 56011 h 181863"/>
                <a:gd name="connsiteX371" fmla="*/ 157239 w 894106"/>
                <a:gd name="connsiteY371" fmla="*/ 56210 h 181863"/>
                <a:gd name="connsiteX372" fmla="*/ 152854 w 894106"/>
                <a:gd name="connsiteY372" fmla="*/ 57802 h 181863"/>
                <a:gd name="connsiteX373" fmla="*/ 144086 w 894106"/>
                <a:gd name="connsiteY373" fmla="*/ 62180 h 181863"/>
                <a:gd name="connsiteX374" fmla="*/ 141993 w 894106"/>
                <a:gd name="connsiteY374" fmla="*/ 62578 h 181863"/>
                <a:gd name="connsiteX375" fmla="*/ 136413 w 894106"/>
                <a:gd name="connsiteY375" fmla="*/ 62976 h 181863"/>
                <a:gd name="connsiteX376" fmla="*/ 134520 w 894106"/>
                <a:gd name="connsiteY376" fmla="*/ 64269 h 181863"/>
                <a:gd name="connsiteX377" fmla="*/ 133324 w 894106"/>
                <a:gd name="connsiteY377" fmla="*/ 67154 h 181863"/>
                <a:gd name="connsiteX378" fmla="*/ 131530 w 894106"/>
                <a:gd name="connsiteY378" fmla="*/ 65363 h 181863"/>
                <a:gd name="connsiteX379" fmla="*/ 123858 w 894106"/>
                <a:gd name="connsiteY379" fmla="*/ 70935 h 181863"/>
                <a:gd name="connsiteX380" fmla="*/ 122363 w 894106"/>
                <a:gd name="connsiteY380" fmla="*/ 71631 h 181863"/>
                <a:gd name="connsiteX381" fmla="*/ 120669 w 894106"/>
                <a:gd name="connsiteY381" fmla="*/ 71930 h 181863"/>
                <a:gd name="connsiteX382" fmla="*/ 119373 w 894106"/>
                <a:gd name="connsiteY382" fmla="*/ 71233 h 181863"/>
                <a:gd name="connsiteX383" fmla="*/ 118577 w 894106"/>
                <a:gd name="connsiteY383" fmla="*/ 69542 h 181863"/>
                <a:gd name="connsiteX384" fmla="*/ 117480 w 894106"/>
                <a:gd name="connsiteY384" fmla="*/ 67950 h 181863"/>
                <a:gd name="connsiteX385" fmla="*/ 115488 w 894106"/>
                <a:gd name="connsiteY385" fmla="*/ 67154 h 181863"/>
                <a:gd name="connsiteX386" fmla="*/ 114192 w 894106"/>
                <a:gd name="connsiteY386" fmla="*/ 67452 h 181863"/>
                <a:gd name="connsiteX387" fmla="*/ 113096 w 894106"/>
                <a:gd name="connsiteY387" fmla="*/ 68149 h 181863"/>
                <a:gd name="connsiteX388" fmla="*/ 112199 w 894106"/>
                <a:gd name="connsiteY388" fmla="*/ 69044 h 181863"/>
                <a:gd name="connsiteX389" fmla="*/ 111601 w 894106"/>
                <a:gd name="connsiteY389" fmla="*/ 70139 h 181863"/>
                <a:gd name="connsiteX390" fmla="*/ 113694 w 894106"/>
                <a:gd name="connsiteY390" fmla="*/ 69940 h 181863"/>
                <a:gd name="connsiteX391" fmla="*/ 115388 w 894106"/>
                <a:gd name="connsiteY391" fmla="*/ 70338 h 181863"/>
                <a:gd name="connsiteX392" fmla="*/ 116683 w 894106"/>
                <a:gd name="connsiteY392" fmla="*/ 71233 h 181863"/>
                <a:gd name="connsiteX393" fmla="*/ 117680 w 894106"/>
                <a:gd name="connsiteY393" fmla="*/ 72825 h 181863"/>
                <a:gd name="connsiteX394" fmla="*/ 116284 w 894106"/>
                <a:gd name="connsiteY394" fmla="*/ 74118 h 181863"/>
                <a:gd name="connsiteX395" fmla="*/ 115089 w 894106"/>
                <a:gd name="connsiteY395" fmla="*/ 75611 h 181863"/>
                <a:gd name="connsiteX396" fmla="*/ 113694 w 894106"/>
                <a:gd name="connsiteY396" fmla="*/ 76307 h 181863"/>
                <a:gd name="connsiteX397" fmla="*/ 112000 w 894106"/>
                <a:gd name="connsiteY397" fmla="*/ 75212 h 181863"/>
                <a:gd name="connsiteX398" fmla="*/ 110406 w 894106"/>
                <a:gd name="connsiteY398" fmla="*/ 74516 h 181863"/>
                <a:gd name="connsiteX399" fmla="*/ 109509 w 894106"/>
                <a:gd name="connsiteY399" fmla="*/ 76207 h 181863"/>
                <a:gd name="connsiteX400" fmla="*/ 109110 w 894106"/>
                <a:gd name="connsiteY400" fmla="*/ 78496 h 181863"/>
                <a:gd name="connsiteX401" fmla="*/ 109011 w 894106"/>
                <a:gd name="connsiteY401" fmla="*/ 79789 h 181863"/>
                <a:gd name="connsiteX402" fmla="*/ 108313 w 894106"/>
                <a:gd name="connsiteY402" fmla="*/ 80485 h 181863"/>
                <a:gd name="connsiteX403" fmla="*/ 105025 w 894106"/>
                <a:gd name="connsiteY403" fmla="*/ 80784 h 181863"/>
                <a:gd name="connsiteX404" fmla="*/ 103829 w 894106"/>
                <a:gd name="connsiteY404" fmla="*/ 81281 h 181863"/>
                <a:gd name="connsiteX405" fmla="*/ 103131 w 894106"/>
                <a:gd name="connsiteY405" fmla="*/ 82575 h 181863"/>
                <a:gd name="connsiteX406" fmla="*/ 102035 w 894106"/>
                <a:gd name="connsiteY406" fmla="*/ 87748 h 181863"/>
                <a:gd name="connsiteX407" fmla="*/ 100940 w 894106"/>
                <a:gd name="connsiteY407" fmla="*/ 85957 h 181863"/>
                <a:gd name="connsiteX408" fmla="*/ 99445 w 894106"/>
                <a:gd name="connsiteY408" fmla="*/ 85261 h 181863"/>
                <a:gd name="connsiteX409" fmla="*/ 97751 w 894106"/>
                <a:gd name="connsiteY409" fmla="*/ 85460 h 181863"/>
                <a:gd name="connsiteX410" fmla="*/ 95957 w 894106"/>
                <a:gd name="connsiteY410" fmla="*/ 86853 h 181863"/>
                <a:gd name="connsiteX411" fmla="*/ 94662 w 894106"/>
                <a:gd name="connsiteY411" fmla="*/ 86256 h 181863"/>
                <a:gd name="connsiteX412" fmla="*/ 93366 w 894106"/>
                <a:gd name="connsiteY412" fmla="*/ 85858 h 181863"/>
                <a:gd name="connsiteX413" fmla="*/ 93366 w 894106"/>
                <a:gd name="connsiteY413" fmla="*/ 86853 h 181863"/>
                <a:gd name="connsiteX414" fmla="*/ 94861 w 894106"/>
                <a:gd name="connsiteY414" fmla="*/ 88643 h 181863"/>
                <a:gd name="connsiteX415" fmla="*/ 94264 w 894106"/>
                <a:gd name="connsiteY415" fmla="*/ 91529 h 181863"/>
                <a:gd name="connsiteX416" fmla="*/ 92669 w 894106"/>
                <a:gd name="connsiteY416" fmla="*/ 94613 h 181863"/>
                <a:gd name="connsiteX417" fmla="*/ 91175 w 894106"/>
                <a:gd name="connsiteY417" fmla="*/ 96702 h 181863"/>
                <a:gd name="connsiteX418" fmla="*/ 88783 w 894106"/>
                <a:gd name="connsiteY418" fmla="*/ 98095 h 181863"/>
                <a:gd name="connsiteX419" fmla="*/ 83402 w 894106"/>
                <a:gd name="connsiteY419" fmla="*/ 98990 h 181863"/>
                <a:gd name="connsiteX420" fmla="*/ 81110 w 894106"/>
                <a:gd name="connsiteY420" fmla="*/ 100781 h 181863"/>
                <a:gd name="connsiteX421" fmla="*/ 83701 w 894106"/>
                <a:gd name="connsiteY421" fmla="*/ 100781 h 181863"/>
                <a:gd name="connsiteX422" fmla="*/ 83701 w 894106"/>
                <a:gd name="connsiteY422" fmla="*/ 101875 h 181863"/>
                <a:gd name="connsiteX423" fmla="*/ 81509 w 894106"/>
                <a:gd name="connsiteY423" fmla="*/ 103268 h 181863"/>
                <a:gd name="connsiteX424" fmla="*/ 79616 w 894106"/>
                <a:gd name="connsiteY424" fmla="*/ 105357 h 181863"/>
                <a:gd name="connsiteX425" fmla="*/ 76926 w 894106"/>
                <a:gd name="connsiteY425" fmla="*/ 109237 h 181863"/>
                <a:gd name="connsiteX426" fmla="*/ 76626 w 894106"/>
                <a:gd name="connsiteY426" fmla="*/ 109934 h 181863"/>
                <a:gd name="connsiteX427" fmla="*/ 76128 w 894106"/>
                <a:gd name="connsiteY427" fmla="*/ 111625 h 181863"/>
                <a:gd name="connsiteX428" fmla="*/ 75530 w 894106"/>
                <a:gd name="connsiteY428" fmla="*/ 112520 h 181863"/>
                <a:gd name="connsiteX429" fmla="*/ 74933 w 894106"/>
                <a:gd name="connsiteY429" fmla="*/ 112918 h 181863"/>
                <a:gd name="connsiteX430" fmla="*/ 73637 w 894106"/>
                <a:gd name="connsiteY430" fmla="*/ 113117 h 181863"/>
                <a:gd name="connsiteX431" fmla="*/ 72940 w 894106"/>
                <a:gd name="connsiteY431" fmla="*/ 113416 h 181863"/>
                <a:gd name="connsiteX432" fmla="*/ 71146 w 894106"/>
                <a:gd name="connsiteY432" fmla="*/ 116898 h 181863"/>
                <a:gd name="connsiteX433" fmla="*/ 70747 w 894106"/>
                <a:gd name="connsiteY433" fmla="*/ 117196 h 181863"/>
                <a:gd name="connsiteX434" fmla="*/ 68954 w 894106"/>
                <a:gd name="connsiteY434" fmla="*/ 123265 h 181863"/>
                <a:gd name="connsiteX435" fmla="*/ 68356 w 894106"/>
                <a:gd name="connsiteY435" fmla="*/ 126150 h 181863"/>
                <a:gd name="connsiteX436" fmla="*/ 68157 w 894106"/>
                <a:gd name="connsiteY436" fmla="*/ 129234 h 181863"/>
                <a:gd name="connsiteX437" fmla="*/ 67658 w 894106"/>
                <a:gd name="connsiteY437" fmla="*/ 131622 h 181863"/>
                <a:gd name="connsiteX438" fmla="*/ 66562 w 894106"/>
                <a:gd name="connsiteY438" fmla="*/ 134010 h 181863"/>
                <a:gd name="connsiteX439" fmla="*/ 65167 w 894106"/>
                <a:gd name="connsiteY439" fmla="*/ 136099 h 181863"/>
                <a:gd name="connsiteX440" fmla="*/ 63872 w 894106"/>
                <a:gd name="connsiteY440" fmla="*/ 137293 h 181863"/>
                <a:gd name="connsiteX441" fmla="*/ 65865 w 894106"/>
                <a:gd name="connsiteY441" fmla="*/ 137790 h 181863"/>
                <a:gd name="connsiteX442" fmla="*/ 67060 w 894106"/>
                <a:gd name="connsiteY442" fmla="*/ 139581 h 181863"/>
                <a:gd name="connsiteX443" fmla="*/ 67957 w 894106"/>
                <a:gd name="connsiteY443" fmla="*/ 141770 h 181863"/>
                <a:gd name="connsiteX444" fmla="*/ 68954 w 894106"/>
                <a:gd name="connsiteY444" fmla="*/ 143759 h 181863"/>
                <a:gd name="connsiteX445" fmla="*/ 70548 w 894106"/>
                <a:gd name="connsiteY445" fmla="*/ 145053 h 181863"/>
                <a:gd name="connsiteX446" fmla="*/ 72840 w 894106"/>
                <a:gd name="connsiteY446" fmla="*/ 146247 h 181863"/>
                <a:gd name="connsiteX447" fmla="*/ 75431 w 894106"/>
                <a:gd name="connsiteY447" fmla="*/ 147142 h 181863"/>
                <a:gd name="connsiteX448" fmla="*/ 77722 w 894106"/>
                <a:gd name="connsiteY448" fmla="*/ 147440 h 181863"/>
                <a:gd name="connsiteX449" fmla="*/ 77124 w 894106"/>
                <a:gd name="connsiteY449" fmla="*/ 148336 h 181863"/>
                <a:gd name="connsiteX450" fmla="*/ 75929 w 894106"/>
                <a:gd name="connsiteY450" fmla="*/ 151221 h 181863"/>
                <a:gd name="connsiteX451" fmla="*/ 78520 w 894106"/>
                <a:gd name="connsiteY451" fmla="*/ 152514 h 181863"/>
                <a:gd name="connsiteX452" fmla="*/ 78918 w 894106"/>
                <a:gd name="connsiteY452" fmla="*/ 154106 h 181863"/>
                <a:gd name="connsiteX453" fmla="*/ 78719 w 894106"/>
                <a:gd name="connsiteY453" fmla="*/ 156096 h 181863"/>
                <a:gd name="connsiteX454" fmla="*/ 79516 w 894106"/>
                <a:gd name="connsiteY454" fmla="*/ 158683 h 181863"/>
                <a:gd name="connsiteX455" fmla="*/ 81210 w 894106"/>
                <a:gd name="connsiteY455" fmla="*/ 160175 h 181863"/>
                <a:gd name="connsiteX456" fmla="*/ 82704 w 894106"/>
                <a:gd name="connsiteY456" fmla="*/ 158981 h 181863"/>
                <a:gd name="connsiteX457" fmla="*/ 84100 w 894106"/>
                <a:gd name="connsiteY457" fmla="*/ 156593 h 181863"/>
                <a:gd name="connsiteX458" fmla="*/ 85595 w 894106"/>
                <a:gd name="connsiteY458" fmla="*/ 154902 h 181863"/>
                <a:gd name="connsiteX459" fmla="*/ 83701 w 894106"/>
                <a:gd name="connsiteY459" fmla="*/ 162364 h 181863"/>
                <a:gd name="connsiteX460" fmla="*/ 81808 w 894106"/>
                <a:gd name="connsiteY460" fmla="*/ 162065 h 181863"/>
                <a:gd name="connsiteX461" fmla="*/ 78420 w 894106"/>
                <a:gd name="connsiteY461" fmla="*/ 164552 h 181863"/>
                <a:gd name="connsiteX462" fmla="*/ 77722 w 894106"/>
                <a:gd name="connsiteY462" fmla="*/ 163757 h 181863"/>
                <a:gd name="connsiteX463" fmla="*/ 77025 w 894106"/>
                <a:gd name="connsiteY463" fmla="*/ 162264 h 181863"/>
                <a:gd name="connsiteX464" fmla="*/ 75231 w 894106"/>
                <a:gd name="connsiteY464" fmla="*/ 160573 h 181863"/>
                <a:gd name="connsiteX465" fmla="*/ 73039 w 894106"/>
                <a:gd name="connsiteY465" fmla="*/ 159279 h 181863"/>
                <a:gd name="connsiteX466" fmla="*/ 71246 w 894106"/>
                <a:gd name="connsiteY466" fmla="*/ 158683 h 181863"/>
                <a:gd name="connsiteX467" fmla="*/ 67559 w 894106"/>
                <a:gd name="connsiteY467" fmla="*/ 159578 h 181863"/>
                <a:gd name="connsiteX468" fmla="*/ 64569 w 894106"/>
                <a:gd name="connsiteY468" fmla="*/ 161369 h 181863"/>
                <a:gd name="connsiteX469" fmla="*/ 61680 w 894106"/>
                <a:gd name="connsiteY469" fmla="*/ 162164 h 181863"/>
                <a:gd name="connsiteX470" fmla="*/ 57694 w 894106"/>
                <a:gd name="connsiteY470" fmla="*/ 160473 h 181863"/>
                <a:gd name="connsiteX471" fmla="*/ 58292 w 894106"/>
                <a:gd name="connsiteY471" fmla="*/ 159379 h 181863"/>
                <a:gd name="connsiteX472" fmla="*/ 57495 w 894106"/>
                <a:gd name="connsiteY472" fmla="*/ 158782 h 181863"/>
                <a:gd name="connsiteX473" fmla="*/ 55900 w 894106"/>
                <a:gd name="connsiteY473" fmla="*/ 158583 h 181863"/>
                <a:gd name="connsiteX474" fmla="*/ 54206 w 894106"/>
                <a:gd name="connsiteY474" fmla="*/ 158683 h 181863"/>
                <a:gd name="connsiteX475" fmla="*/ 53309 w 894106"/>
                <a:gd name="connsiteY475" fmla="*/ 159180 h 181863"/>
                <a:gd name="connsiteX476" fmla="*/ 46434 w 894106"/>
                <a:gd name="connsiteY476" fmla="*/ 164154 h 181863"/>
                <a:gd name="connsiteX477" fmla="*/ 35573 w 894106"/>
                <a:gd name="connsiteY477" fmla="*/ 169029 h 181863"/>
                <a:gd name="connsiteX478" fmla="*/ 26406 w 894106"/>
                <a:gd name="connsiteY478" fmla="*/ 171715 h 181863"/>
                <a:gd name="connsiteX479" fmla="*/ 16043 w 894106"/>
                <a:gd name="connsiteY479" fmla="*/ 177287 h 181863"/>
                <a:gd name="connsiteX480" fmla="*/ 16043 w 894106"/>
                <a:gd name="connsiteY480" fmla="*/ 174600 h 181863"/>
                <a:gd name="connsiteX481" fmla="*/ 14847 w 894106"/>
                <a:gd name="connsiteY481" fmla="*/ 173208 h 181863"/>
                <a:gd name="connsiteX482" fmla="*/ 12854 w 894106"/>
                <a:gd name="connsiteY482" fmla="*/ 173208 h 181863"/>
                <a:gd name="connsiteX483" fmla="*/ 10762 w 894106"/>
                <a:gd name="connsiteY483" fmla="*/ 174402 h 181863"/>
                <a:gd name="connsiteX484" fmla="*/ 12854 w 894106"/>
                <a:gd name="connsiteY484" fmla="*/ 175894 h 181863"/>
                <a:gd name="connsiteX485" fmla="*/ 12755 w 894106"/>
                <a:gd name="connsiteY485" fmla="*/ 177684 h 181863"/>
                <a:gd name="connsiteX486" fmla="*/ 11260 w 894106"/>
                <a:gd name="connsiteY486" fmla="*/ 179177 h 181863"/>
                <a:gd name="connsiteX487" fmla="*/ 9067 w 894106"/>
                <a:gd name="connsiteY487" fmla="*/ 180072 h 181863"/>
                <a:gd name="connsiteX488" fmla="*/ 7971 w 894106"/>
                <a:gd name="connsiteY488" fmla="*/ 180172 h 181863"/>
                <a:gd name="connsiteX489" fmla="*/ 6875 w 894106"/>
                <a:gd name="connsiteY489" fmla="*/ 180072 h 181863"/>
                <a:gd name="connsiteX490" fmla="*/ 5780 w 894106"/>
                <a:gd name="connsiteY490" fmla="*/ 179674 h 181863"/>
                <a:gd name="connsiteX491" fmla="*/ 4882 w 894106"/>
                <a:gd name="connsiteY491" fmla="*/ 178878 h 181863"/>
                <a:gd name="connsiteX492" fmla="*/ 4484 w 894106"/>
                <a:gd name="connsiteY492" fmla="*/ 178281 h 181863"/>
                <a:gd name="connsiteX493" fmla="*/ 4185 w 894106"/>
                <a:gd name="connsiteY493" fmla="*/ 177486 h 181863"/>
                <a:gd name="connsiteX494" fmla="*/ 3687 w 894106"/>
                <a:gd name="connsiteY494" fmla="*/ 176789 h 181863"/>
                <a:gd name="connsiteX495" fmla="*/ 3089 w 894106"/>
                <a:gd name="connsiteY495" fmla="*/ 176491 h 181863"/>
                <a:gd name="connsiteX496" fmla="*/ 2292 w 894106"/>
                <a:gd name="connsiteY496" fmla="*/ 176789 h 181863"/>
                <a:gd name="connsiteX497" fmla="*/ 1495 w 894106"/>
                <a:gd name="connsiteY497" fmla="*/ 177684 h 181863"/>
                <a:gd name="connsiteX498" fmla="*/ 797 w 894106"/>
                <a:gd name="connsiteY498" fmla="*/ 178779 h 181863"/>
                <a:gd name="connsiteX499" fmla="*/ 398 w 894106"/>
                <a:gd name="connsiteY499" fmla="*/ 179674 h 181863"/>
                <a:gd name="connsiteX500" fmla="*/ 0 w 894106"/>
                <a:gd name="connsiteY500" fmla="*/ 181863 h 181863"/>
                <a:gd name="connsiteX501" fmla="*/ 28199 w 894106"/>
                <a:gd name="connsiteY501" fmla="*/ 181863 h 181863"/>
                <a:gd name="connsiteX502" fmla="*/ 31786 w 894106"/>
                <a:gd name="connsiteY502" fmla="*/ 179475 h 181863"/>
                <a:gd name="connsiteX503" fmla="*/ 36669 w 894106"/>
                <a:gd name="connsiteY503" fmla="*/ 177187 h 181863"/>
                <a:gd name="connsiteX504" fmla="*/ 46733 w 894106"/>
                <a:gd name="connsiteY504" fmla="*/ 174203 h 181863"/>
                <a:gd name="connsiteX505" fmla="*/ 52413 w 894106"/>
                <a:gd name="connsiteY505" fmla="*/ 173307 h 181863"/>
                <a:gd name="connsiteX506" fmla="*/ 57395 w 894106"/>
                <a:gd name="connsiteY506" fmla="*/ 174203 h 181863"/>
                <a:gd name="connsiteX507" fmla="*/ 60285 w 894106"/>
                <a:gd name="connsiteY507" fmla="*/ 178182 h 181863"/>
                <a:gd name="connsiteX508" fmla="*/ 59587 w 894106"/>
                <a:gd name="connsiteY508" fmla="*/ 181863 h 181863"/>
                <a:gd name="connsiteX509" fmla="*/ 80513 w 894106"/>
                <a:gd name="connsiteY509" fmla="*/ 181863 h 181863"/>
                <a:gd name="connsiteX510" fmla="*/ 81609 w 894106"/>
                <a:gd name="connsiteY510" fmla="*/ 180868 h 181863"/>
                <a:gd name="connsiteX511" fmla="*/ 85595 w 894106"/>
                <a:gd name="connsiteY511" fmla="*/ 179674 h 181863"/>
                <a:gd name="connsiteX512" fmla="*/ 88484 w 894106"/>
                <a:gd name="connsiteY512" fmla="*/ 177884 h 181863"/>
                <a:gd name="connsiteX513" fmla="*/ 89879 w 894106"/>
                <a:gd name="connsiteY513" fmla="*/ 177287 h 181863"/>
                <a:gd name="connsiteX514" fmla="*/ 91175 w 894106"/>
                <a:gd name="connsiteY514" fmla="*/ 177187 h 181863"/>
                <a:gd name="connsiteX515" fmla="*/ 93765 w 894106"/>
                <a:gd name="connsiteY515" fmla="*/ 177486 h 181863"/>
                <a:gd name="connsiteX516" fmla="*/ 95060 w 894106"/>
                <a:gd name="connsiteY516" fmla="*/ 177287 h 181863"/>
                <a:gd name="connsiteX517" fmla="*/ 97452 w 894106"/>
                <a:gd name="connsiteY517" fmla="*/ 176292 h 181863"/>
                <a:gd name="connsiteX518" fmla="*/ 102335 w 894106"/>
                <a:gd name="connsiteY518" fmla="*/ 173307 h 181863"/>
                <a:gd name="connsiteX519" fmla="*/ 105025 w 894106"/>
                <a:gd name="connsiteY519" fmla="*/ 172710 h 181863"/>
                <a:gd name="connsiteX520" fmla="*/ 107915 w 894106"/>
                <a:gd name="connsiteY520" fmla="*/ 173208 h 181863"/>
                <a:gd name="connsiteX521" fmla="*/ 112697 w 894106"/>
                <a:gd name="connsiteY521" fmla="*/ 175794 h 181863"/>
                <a:gd name="connsiteX522" fmla="*/ 115089 w 894106"/>
                <a:gd name="connsiteY522" fmla="*/ 176391 h 181863"/>
                <a:gd name="connsiteX523" fmla="*/ 116584 w 894106"/>
                <a:gd name="connsiteY523" fmla="*/ 176093 h 181863"/>
                <a:gd name="connsiteX524" fmla="*/ 118078 w 894106"/>
                <a:gd name="connsiteY524" fmla="*/ 175297 h 181863"/>
                <a:gd name="connsiteX525" fmla="*/ 119473 w 894106"/>
                <a:gd name="connsiteY525" fmla="*/ 174302 h 181863"/>
                <a:gd name="connsiteX526" fmla="*/ 120669 w 894106"/>
                <a:gd name="connsiteY526" fmla="*/ 173108 h 181863"/>
                <a:gd name="connsiteX527" fmla="*/ 121267 w 894106"/>
                <a:gd name="connsiteY527" fmla="*/ 171815 h 181863"/>
                <a:gd name="connsiteX528" fmla="*/ 120669 w 894106"/>
                <a:gd name="connsiteY528" fmla="*/ 170820 h 181863"/>
                <a:gd name="connsiteX529" fmla="*/ 119872 w 894106"/>
                <a:gd name="connsiteY529" fmla="*/ 170024 h 181863"/>
                <a:gd name="connsiteX530" fmla="*/ 119373 w 894106"/>
                <a:gd name="connsiteY530" fmla="*/ 169427 h 181863"/>
                <a:gd name="connsiteX531" fmla="*/ 120470 w 894106"/>
                <a:gd name="connsiteY531" fmla="*/ 166641 h 181863"/>
                <a:gd name="connsiteX532" fmla="*/ 124755 w 894106"/>
                <a:gd name="connsiteY532" fmla="*/ 163358 h 181863"/>
                <a:gd name="connsiteX533" fmla="*/ 125551 w 894106"/>
                <a:gd name="connsiteY533" fmla="*/ 160473 h 181863"/>
                <a:gd name="connsiteX534" fmla="*/ 123957 w 894106"/>
                <a:gd name="connsiteY534" fmla="*/ 161667 h 181863"/>
                <a:gd name="connsiteX535" fmla="*/ 122462 w 894106"/>
                <a:gd name="connsiteY535" fmla="*/ 162065 h 181863"/>
                <a:gd name="connsiteX536" fmla="*/ 121267 w 894106"/>
                <a:gd name="connsiteY536" fmla="*/ 161369 h 181863"/>
                <a:gd name="connsiteX537" fmla="*/ 120270 w 894106"/>
                <a:gd name="connsiteY537" fmla="*/ 159578 h 181863"/>
                <a:gd name="connsiteX538" fmla="*/ 120071 w 894106"/>
                <a:gd name="connsiteY538" fmla="*/ 157389 h 181863"/>
                <a:gd name="connsiteX539" fmla="*/ 120968 w 894106"/>
                <a:gd name="connsiteY539" fmla="*/ 155897 h 181863"/>
                <a:gd name="connsiteX540" fmla="*/ 122363 w 894106"/>
                <a:gd name="connsiteY540" fmla="*/ 155598 h 181863"/>
                <a:gd name="connsiteX541" fmla="*/ 123858 w 894106"/>
                <a:gd name="connsiteY541" fmla="*/ 156792 h 181863"/>
                <a:gd name="connsiteX542" fmla="*/ 123758 w 894106"/>
                <a:gd name="connsiteY542" fmla="*/ 154802 h 181863"/>
                <a:gd name="connsiteX543" fmla="*/ 123559 w 894106"/>
                <a:gd name="connsiteY543" fmla="*/ 154006 h 181863"/>
                <a:gd name="connsiteX544" fmla="*/ 122861 w 894106"/>
                <a:gd name="connsiteY544" fmla="*/ 153111 h 181863"/>
                <a:gd name="connsiteX545" fmla="*/ 123459 w 894106"/>
                <a:gd name="connsiteY545" fmla="*/ 151818 h 181863"/>
                <a:gd name="connsiteX546" fmla="*/ 124455 w 894106"/>
                <a:gd name="connsiteY546" fmla="*/ 148037 h 181863"/>
                <a:gd name="connsiteX547" fmla="*/ 124655 w 894106"/>
                <a:gd name="connsiteY547" fmla="*/ 146943 h 181863"/>
                <a:gd name="connsiteX548" fmla="*/ 129737 w 894106"/>
                <a:gd name="connsiteY548" fmla="*/ 141869 h 181863"/>
                <a:gd name="connsiteX549" fmla="*/ 132626 w 894106"/>
                <a:gd name="connsiteY549" fmla="*/ 141272 h 181863"/>
                <a:gd name="connsiteX550" fmla="*/ 142491 w 894106"/>
                <a:gd name="connsiteY550" fmla="*/ 141869 h 181863"/>
                <a:gd name="connsiteX551" fmla="*/ 144284 w 894106"/>
                <a:gd name="connsiteY551" fmla="*/ 141471 h 181863"/>
                <a:gd name="connsiteX552" fmla="*/ 145779 w 894106"/>
                <a:gd name="connsiteY552" fmla="*/ 139482 h 181863"/>
                <a:gd name="connsiteX553" fmla="*/ 147274 w 894106"/>
                <a:gd name="connsiteY553" fmla="*/ 139083 h 181863"/>
                <a:gd name="connsiteX554" fmla="*/ 147075 w 894106"/>
                <a:gd name="connsiteY554" fmla="*/ 139482 h 181863"/>
                <a:gd name="connsiteX555" fmla="*/ 147274 w 894106"/>
                <a:gd name="connsiteY555" fmla="*/ 140377 h 181863"/>
                <a:gd name="connsiteX556" fmla="*/ 147673 w 894106"/>
                <a:gd name="connsiteY556" fmla="*/ 141372 h 181863"/>
                <a:gd name="connsiteX557" fmla="*/ 148071 w 894106"/>
                <a:gd name="connsiteY557" fmla="*/ 141869 h 181863"/>
                <a:gd name="connsiteX558" fmla="*/ 148769 w 894106"/>
                <a:gd name="connsiteY558" fmla="*/ 141969 h 181863"/>
                <a:gd name="connsiteX559" fmla="*/ 162819 w 894106"/>
                <a:gd name="connsiteY559" fmla="*/ 139979 h 181863"/>
                <a:gd name="connsiteX560" fmla="*/ 162519 w 894106"/>
                <a:gd name="connsiteY560" fmla="*/ 140476 h 181863"/>
                <a:gd name="connsiteX561" fmla="*/ 162320 w 894106"/>
                <a:gd name="connsiteY561" fmla="*/ 141372 h 181863"/>
                <a:gd name="connsiteX562" fmla="*/ 162021 w 894106"/>
                <a:gd name="connsiteY562" fmla="*/ 141869 h 181863"/>
                <a:gd name="connsiteX563" fmla="*/ 165509 w 894106"/>
                <a:gd name="connsiteY563" fmla="*/ 140974 h 181863"/>
                <a:gd name="connsiteX564" fmla="*/ 169195 w 894106"/>
                <a:gd name="connsiteY564" fmla="*/ 138586 h 181863"/>
                <a:gd name="connsiteX565" fmla="*/ 172384 w 894106"/>
                <a:gd name="connsiteY565" fmla="*/ 135303 h 181863"/>
                <a:gd name="connsiteX566" fmla="*/ 174079 w 894106"/>
                <a:gd name="connsiteY566" fmla="*/ 131622 h 181863"/>
                <a:gd name="connsiteX567" fmla="*/ 174975 w 894106"/>
                <a:gd name="connsiteY567" fmla="*/ 131622 h 181863"/>
                <a:gd name="connsiteX568" fmla="*/ 175772 w 894106"/>
                <a:gd name="connsiteY568" fmla="*/ 133214 h 181863"/>
                <a:gd name="connsiteX569" fmla="*/ 176669 w 894106"/>
                <a:gd name="connsiteY569" fmla="*/ 134805 h 181863"/>
                <a:gd name="connsiteX570" fmla="*/ 176968 w 894106"/>
                <a:gd name="connsiteY570" fmla="*/ 136198 h 181863"/>
                <a:gd name="connsiteX571" fmla="*/ 175971 w 894106"/>
                <a:gd name="connsiteY571" fmla="*/ 137293 h 181863"/>
                <a:gd name="connsiteX572" fmla="*/ 181552 w 894106"/>
                <a:gd name="connsiteY572" fmla="*/ 139581 h 181863"/>
                <a:gd name="connsiteX573" fmla="*/ 188128 w 894106"/>
                <a:gd name="connsiteY573" fmla="*/ 140476 h 181863"/>
                <a:gd name="connsiteX574" fmla="*/ 194406 w 894106"/>
                <a:gd name="connsiteY574" fmla="*/ 139879 h 181863"/>
                <a:gd name="connsiteX575" fmla="*/ 196498 w 894106"/>
                <a:gd name="connsiteY575" fmla="*/ 137591 h 181863"/>
                <a:gd name="connsiteX576" fmla="*/ 196598 w 894106"/>
                <a:gd name="connsiteY576" fmla="*/ 135402 h 181863"/>
                <a:gd name="connsiteX577" fmla="*/ 197694 w 894106"/>
                <a:gd name="connsiteY577" fmla="*/ 135303 h 181863"/>
                <a:gd name="connsiteX578" fmla="*/ 198790 w 894106"/>
                <a:gd name="connsiteY578" fmla="*/ 135701 h 181863"/>
                <a:gd name="connsiteX579" fmla="*/ 199488 w 894106"/>
                <a:gd name="connsiteY579" fmla="*/ 137094 h 181863"/>
                <a:gd name="connsiteX580" fmla="*/ 200384 w 894106"/>
                <a:gd name="connsiteY580" fmla="*/ 136099 h 181863"/>
                <a:gd name="connsiteX581" fmla="*/ 200484 w 894106"/>
                <a:gd name="connsiteY581" fmla="*/ 134507 h 181863"/>
                <a:gd name="connsiteX582" fmla="*/ 200683 w 894106"/>
                <a:gd name="connsiteY582" fmla="*/ 134905 h 181863"/>
                <a:gd name="connsiteX583" fmla="*/ 201082 w 894106"/>
                <a:gd name="connsiteY583" fmla="*/ 135402 h 181863"/>
                <a:gd name="connsiteX584" fmla="*/ 202178 w 894106"/>
                <a:gd name="connsiteY584" fmla="*/ 134507 h 181863"/>
                <a:gd name="connsiteX585" fmla="*/ 202775 w 894106"/>
                <a:gd name="connsiteY585" fmla="*/ 133612 h 181863"/>
                <a:gd name="connsiteX586" fmla="*/ 203673 w 894106"/>
                <a:gd name="connsiteY586" fmla="*/ 131622 h 181863"/>
                <a:gd name="connsiteX587" fmla="*/ 203772 w 894106"/>
                <a:gd name="connsiteY587" fmla="*/ 131025 h 181863"/>
                <a:gd name="connsiteX588" fmla="*/ 203673 w 894106"/>
                <a:gd name="connsiteY588" fmla="*/ 130527 h 181863"/>
                <a:gd name="connsiteX589" fmla="*/ 203772 w 894106"/>
                <a:gd name="connsiteY589" fmla="*/ 129931 h 181863"/>
                <a:gd name="connsiteX590" fmla="*/ 204470 w 894106"/>
                <a:gd name="connsiteY590" fmla="*/ 128737 h 181863"/>
                <a:gd name="connsiteX591" fmla="*/ 206064 w 894106"/>
                <a:gd name="connsiteY591" fmla="*/ 127046 h 181863"/>
                <a:gd name="connsiteX592" fmla="*/ 210648 w 894106"/>
                <a:gd name="connsiteY592" fmla="*/ 124160 h 181863"/>
                <a:gd name="connsiteX593" fmla="*/ 210747 w 894106"/>
                <a:gd name="connsiteY593" fmla="*/ 123762 h 181863"/>
                <a:gd name="connsiteX594" fmla="*/ 210648 w 894106"/>
                <a:gd name="connsiteY594" fmla="*/ 121872 h 181863"/>
                <a:gd name="connsiteX595" fmla="*/ 210847 w 894106"/>
                <a:gd name="connsiteY595" fmla="*/ 121275 h 181863"/>
                <a:gd name="connsiteX596" fmla="*/ 211345 w 894106"/>
                <a:gd name="connsiteY596" fmla="*/ 121375 h 181863"/>
                <a:gd name="connsiteX597" fmla="*/ 211943 w 894106"/>
                <a:gd name="connsiteY597" fmla="*/ 121574 h 181863"/>
                <a:gd name="connsiteX598" fmla="*/ 212840 w 894106"/>
                <a:gd name="connsiteY598" fmla="*/ 121176 h 181863"/>
                <a:gd name="connsiteX599" fmla="*/ 213437 w 894106"/>
                <a:gd name="connsiteY599" fmla="*/ 121375 h 181863"/>
                <a:gd name="connsiteX600" fmla="*/ 213836 w 894106"/>
                <a:gd name="connsiteY600" fmla="*/ 121375 h 181863"/>
                <a:gd name="connsiteX601" fmla="*/ 214135 w 894106"/>
                <a:gd name="connsiteY601" fmla="*/ 120877 h 181863"/>
                <a:gd name="connsiteX602" fmla="*/ 214035 w 894106"/>
                <a:gd name="connsiteY602" fmla="*/ 118987 h 181863"/>
                <a:gd name="connsiteX603" fmla="*/ 214135 w 894106"/>
                <a:gd name="connsiteY603" fmla="*/ 118688 h 181863"/>
                <a:gd name="connsiteX604" fmla="*/ 215929 w 894106"/>
                <a:gd name="connsiteY604" fmla="*/ 118191 h 181863"/>
                <a:gd name="connsiteX605" fmla="*/ 217623 w 894106"/>
                <a:gd name="connsiteY605" fmla="*/ 118291 h 181863"/>
                <a:gd name="connsiteX606" fmla="*/ 221808 w 894106"/>
                <a:gd name="connsiteY606" fmla="*/ 119485 h 181863"/>
                <a:gd name="connsiteX607" fmla="*/ 225893 w 894106"/>
                <a:gd name="connsiteY607" fmla="*/ 118987 h 181863"/>
                <a:gd name="connsiteX608" fmla="*/ 228982 w 894106"/>
                <a:gd name="connsiteY608" fmla="*/ 116002 h 181863"/>
                <a:gd name="connsiteX609" fmla="*/ 236157 w 894106"/>
                <a:gd name="connsiteY609" fmla="*/ 102174 h 181863"/>
                <a:gd name="connsiteX610" fmla="*/ 239644 w 894106"/>
                <a:gd name="connsiteY610" fmla="*/ 98592 h 181863"/>
                <a:gd name="connsiteX611" fmla="*/ 243829 w 894106"/>
                <a:gd name="connsiteY611" fmla="*/ 95806 h 181863"/>
                <a:gd name="connsiteX612" fmla="*/ 252199 w 894106"/>
                <a:gd name="connsiteY612" fmla="*/ 91429 h 181863"/>
                <a:gd name="connsiteX613" fmla="*/ 254192 w 894106"/>
                <a:gd name="connsiteY613" fmla="*/ 90832 h 181863"/>
                <a:gd name="connsiteX614" fmla="*/ 257082 w 894106"/>
                <a:gd name="connsiteY614" fmla="*/ 90633 h 181863"/>
                <a:gd name="connsiteX615" fmla="*/ 258577 w 894106"/>
                <a:gd name="connsiteY615" fmla="*/ 89638 h 181863"/>
                <a:gd name="connsiteX616" fmla="*/ 266150 w 894106"/>
                <a:gd name="connsiteY616" fmla="*/ 83172 h 181863"/>
                <a:gd name="connsiteX617" fmla="*/ 270434 w 894106"/>
                <a:gd name="connsiteY617" fmla="*/ 81679 h 181863"/>
                <a:gd name="connsiteX618" fmla="*/ 272327 w 894106"/>
                <a:gd name="connsiteY618" fmla="*/ 80485 h 181863"/>
                <a:gd name="connsiteX619" fmla="*/ 273124 w 894106"/>
                <a:gd name="connsiteY619" fmla="*/ 77998 h 181863"/>
                <a:gd name="connsiteX620" fmla="*/ 273124 w 894106"/>
                <a:gd name="connsiteY620" fmla="*/ 75312 h 181863"/>
                <a:gd name="connsiteX621" fmla="*/ 273523 w 894106"/>
                <a:gd name="connsiteY621" fmla="*/ 72626 h 181863"/>
                <a:gd name="connsiteX622" fmla="*/ 274918 w 894106"/>
                <a:gd name="connsiteY622" fmla="*/ 70437 h 181863"/>
                <a:gd name="connsiteX623" fmla="*/ 277509 w 894106"/>
                <a:gd name="connsiteY623" fmla="*/ 69044 h 181863"/>
                <a:gd name="connsiteX624" fmla="*/ 280199 w 894106"/>
                <a:gd name="connsiteY624" fmla="*/ 69044 h 181863"/>
                <a:gd name="connsiteX625" fmla="*/ 293552 w 894106"/>
                <a:gd name="connsiteY625" fmla="*/ 72626 h 181863"/>
                <a:gd name="connsiteX626" fmla="*/ 298135 w 894106"/>
                <a:gd name="connsiteY626" fmla="*/ 71531 h 181863"/>
                <a:gd name="connsiteX627" fmla="*/ 304014 w 894106"/>
                <a:gd name="connsiteY627" fmla="*/ 72825 h 181863"/>
                <a:gd name="connsiteX628" fmla="*/ 305310 w 894106"/>
                <a:gd name="connsiteY628" fmla="*/ 72526 h 181863"/>
                <a:gd name="connsiteX629" fmla="*/ 307701 w 894106"/>
                <a:gd name="connsiteY629" fmla="*/ 71233 h 181863"/>
                <a:gd name="connsiteX630" fmla="*/ 309196 w 894106"/>
                <a:gd name="connsiteY630" fmla="*/ 70935 h 181863"/>
                <a:gd name="connsiteX631" fmla="*/ 315872 w 894106"/>
                <a:gd name="connsiteY631" fmla="*/ 72626 h 181863"/>
                <a:gd name="connsiteX632" fmla="*/ 324242 w 894106"/>
                <a:gd name="connsiteY632" fmla="*/ 71531 h 181863"/>
                <a:gd name="connsiteX633" fmla="*/ 328228 w 894106"/>
                <a:gd name="connsiteY633" fmla="*/ 72526 h 181863"/>
                <a:gd name="connsiteX634" fmla="*/ 330818 w 894106"/>
                <a:gd name="connsiteY634" fmla="*/ 72825 h 181863"/>
                <a:gd name="connsiteX635" fmla="*/ 333608 w 894106"/>
                <a:gd name="connsiteY635" fmla="*/ 72526 h 181863"/>
                <a:gd name="connsiteX636" fmla="*/ 338989 w 894106"/>
                <a:gd name="connsiteY636" fmla="*/ 71830 h 181863"/>
                <a:gd name="connsiteX637" fmla="*/ 348655 w 894106"/>
                <a:gd name="connsiteY637" fmla="*/ 71830 h 181863"/>
                <a:gd name="connsiteX638" fmla="*/ 357224 w 894106"/>
                <a:gd name="connsiteY638" fmla="*/ 74317 h 181863"/>
                <a:gd name="connsiteX639" fmla="*/ 361310 w 894106"/>
                <a:gd name="connsiteY639" fmla="*/ 76009 h 181863"/>
                <a:gd name="connsiteX640" fmla="*/ 374761 w 894106"/>
                <a:gd name="connsiteY640" fmla="*/ 73720 h 181863"/>
                <a:gd name="connsiteX641" fmla="*/ 384925 w 894106"/>
                <a:gd name="connsiteY641" fmla="*/ 72825 h 181863"/>
                <a:gd name="connsiteX642" fmla="*/ 389310 w 894106"/>
                <a:gd name="connsiteY642" fmla="*/ 72725 h 181863"/>
                <a:gd name="connsiteX643" fmla="*/ 400669 w 894106"/>
                <a:gd name="connsiteY643" fmla="*/ 76705 h 181863"/>
                <a:gd name="connsiteX644" fmla="*/ 405153 w 894106"/>
                <a:gd name="connsiteY644" fmla="*/ 78396 h 181863"/>
                <a:gd name="connsiteX645" fmla="*/ 409438 w 894106"/>
                <a:gd name="connsiteY645" fmla="*/ 81679 h 181863"/>
                <a:gd name="connsiteX646" fmla="*/ 411829 w 894106"/>
                <a:gd name="connsiteY646" fmla="*/ 83569 h 181863"/>
                <a:gd name="connsiteX647" fmla="*/ 415316 w 894106"/>
                <a:gd name="connsiteY647" fmla="*/ 86554 h 181863"/>
                <a:gd name="connsiteX648" fmla="*/ 417210 w 894106"/>
                <a:gd name="connsiteY648" fmla="*/ 86653 h 181863"/>
                <a:gd name="connsiteX649" fmla="*/ 419103 w 894106"/>
                <a:gd name="connsiteY649" fmla="*/ 87251 h 181863"/>
                <a:gd name="connsiteX650" fmla="*/ 419103 w 894106"/>
                <a:gd name="connsiteY650" fmla="*/ 88743 h 181863"/>
                <a:gd name="connsiteX651" fmla="*/ 418007 w 894106"/>
                <a:gd name="connsiteY651" fmla="*/ 92523 h 181863"/>
                <a:gd name="connsiteX652" fmla="*/ 418405 w 894106"/>
                <a:gd name="connsiteY652" fmla="*/ 94712 h 181863"/>
                <a:gd name="connsiteX653" fmla="*/ 417808 w 894106"/>
                <a:gd name="connsiteY653" fmla="*/ 96005 h 181863"/>
                <a:gd name="connsiteX654" fmla="*/ 418007 w 894106"/>
                <a:gd name="connsiteY654" fmla="*/ 98791 h 181863"/>
                <a:gd name="connsiteX655" fmla="*/ 416811 w 894106"/>
                <a:gd name="connsiteY655" fmla="*/ 99289 h 181863"/>
                <a:gd name="connsiteX656" fmla="*/ 415616 w 894106"/>
                <a:gd name="connsiteY656" fmla="*/ 100482 h 181863"/>
                <a:gd name="connsiteX657" fmla="*/ 413921 w 894106"/>
                <a:gd name="connsiteY657" fmla="*/ 102174 h 181863"/>
                <a:gd name="connsiteX658" fmla="*/ 412128 w 894106"/>
                <a:gd name="connsiteY658" fmla="*/ 102671 h 181863"/>
                <a:gd name="connsiteX659" fmla="*/ 410733 w 894106"/>
                <a:gd name="connsiteY659" fmla="*/ 102970 h 181863"/>
                <a:gd name="connsiteX660" fmla="*/ 408242 w 894106"/>
                <a:gd name="connsiteY660" fmla="*/ 102970 h 181863"/>
                <a:gd name="connsiteX661" fmla="*/ 406947 w 894106"/>
                <a:gd name="connsiteY661" fmla="*/ 103666 h 181863"/>
                <a:gd name="connsiteX662" fmla="*/ 405452 w 894106"/>
                <a:gd name="connsiteY662" fmla="*/ 103368 h 181863"/>
                <a:gd name="connsiteX663" fmla="*/ 400470 w 894106"/>
                <a:gd name="connsiteY663" fmla="*/ 105556 h 181863"/>
                <a:gd name="connsiteX664" fmla="*/ 393992 w 894106"/>
                <a:gd name="connsiteY664" fmla="*/ 106551 h 181863"/>
                <a:gd name="connsiteX665" fmla="*/ 391103 w 894106"/>
                <a:gd name="connsiteY665" fmla="*/ 106352 h 181863"/>
                <a:gd name="connsiteX666" fmla="*/ 387715 w 894106"/>
                <a:gd name="connsiteY666" fmla="*/ 105556 h 181863"/>
                <a:gd name="connsiteX667" fmla="*/ 385423 w 894106"/>
                <a:gd name="connsiteY667" fmla="*/ 105954 h 181863"/>
                <a:gd name="connsiteX668" fmla="*/ 381537 w 894106"/>
                <a:gd name="connsiteY668" fmla="*/ 106253 h 181863"/>
                <a:gd name="connsiteX669" fmla="*/ 378149 w 894106"/>
                <a:gd name="connsiteY669" fmla="*/ 105755 h 181863"/>
                <a:gd name="connsiteX670" fmla="*/ 373367 w 894106"/>
                <a:gd name="connsiteY670" fmla="*/ 106949 h 181863"/>
                <a:gd name="connsiteX671" fmla="*/ 358818 w 894106"/>
                <a:gd name="connsiteY671" fmla="*/ 106452 h 181863"/>
                <a:gd name="connsiteX672" fmla="*/ 357224 w 894106"/>
                <a:gd name="connsiteY672" fmla="*/ 106949 h 181863"/>
                <a:gd name="connsiteX673" fmla="*/ 355331 w 894106"/>
                <a:gd name="connsiteY673" fmla="*/ 107745 h 181863"/>
                <a:gd name="connsiteX674" fmla="*/ 353737 w 894106"/>
                <a:gd name="connsiteY674" fmla="*/ 109038 h 181863"/>
                <a:gd name="connsiteX675" fmla="*/ 353039 w 894106"/>
                <a:gd name="connsiteY675" fmla="*/ 111227 h 181863"/>
                <a:gd name="connsiteX676" fmla="*/ 354235 w 894106"/>
                <a:gd name="connsiteY676" fmla="*/ 113515 h 181863"/>
                <a:gd name="connsiteX677" fmla="*/ 356427 w 894106"/>
                <a:gd name="connsiteY677" fmla="*/ 114610 h 181863"/>
                <a:gd name="connsiteX678" fmla="*/ 358719 w 894106"/>
                <a:gd name="connsiteY678" fmla="*/ 114908 h 181863"/>
                <a:gd name="connsiteX679" fmla="*/ 360412 w 894106"/>
                <a:gd name="connsiteY679" fmla="*/ 114809 h 181863"/>
                <a:gd name="connsiteX680" fmla="*/ 360612 w 894106"/>
                <a:gd name="connsiteY680" fmla="*/ 115405 h 181863"/>
                <a:gd name="connsiteX681" fmla="*/ 362007 w 894106"/>
                <a:gd name="connsiteY681" fmla="*/ 117893 h 181863"/>
                <a:gd name="connsiteX682" fmla="*/ 362605 w 894106"/>
                <a:gd name="connsiteY682" fmla="*/ 118688 h 181863"/>
                <a:gd name="connsiteX683" fmla="*/ 363701 w 894106"/>
                <a:gd name="connsiteY683" fmla="*/ 119086 h 181863"/>
                <a:gd name="connsiteX684" fmla="*/ 366192 w 894106"/>
                <a:gd name="connsiteY684" fmla="*/ 119285 h 181863"/>
                <a:gd name="connsiteX685" fmla="*/ 367388 w 894106"/>
                <a:gd name="connsiteY685" fmla="*/ 119982 h 181863"/>
                <a:gd name="connsiteX686" fmla="*/ 369281 w 894106"/>
                <a:gd name="connsiteY686" fmla="*/ 121574 h 181863"/>
                <a:gd name="connsiteX687" fmla="*/ 371074 w 894106"/>
                <a:gd name="connsiteY687" fmla="*/ 122569 h 181863"/>
                <a:gd name="connsiteX688" fmla="*/ 389110 w 894106"/>
                <a:gd name="connsiteY688" fmla="*/ 129831 h 181863"/>
                <a:gd name="connsiteX689" fmla="*/ 391303 w 894106"/>
                <a:gd name="connsiteY689" fmla="*/ 132120 h 181863"/>
                <a:gd name="connsiteX690" fmla="*/ 391801 w 894106"/>
                <a:gd name="connsiteY690" fmla="*/ 134109 h 181863"/>
                <a:gd name="connsiteX691" fmla="*/ 392897 w 894106"/>
                <a:gd name="connsiteY691" fmla="*/ 135900 h 181863"/>
                <a:gd name="connsiteX692" fmla="*/ 396085 w 894106"/>
                <a:gd name="connsiteY692" fmla="*/ 139482 h 181863"/>
                <a:gd name="connsiteX693" fmla="*/ 397879 w 894106"/>
                <a:gd name="connsiteY693" fmla="*/ 140178 h 181863"/>
                <a:gd name="connsiteX694" fmla="*/ 403758 w 894106"/>
                <a:gd name="connsiteY694" fmla="*/ 140974 h 181863"/>
                <a:gd name="connsiteX695" fmla="*/ 405153 w 894106"/>
                <a:gd name="connsiteY695" fmla="*/ 140974 h 181863"/>
                <a:gd name="connsiteX696" fmla="*/ 404854 w 894106"/>
                <a:gd name="connsiteY696" fmla="*/ 139979 h 181863"/>
                <a:gd name="connsiteX697" fmla="*/ 404654 w 894106"/>
                <a:gd name="connsiteY697" fmla="*/ 139581 h 181863"/>
                <a:gd name="connsiteX698" fmla="*/ 404256 w 894106"/>
                <a:gd name="connsiteY698" fmla="*/ 139083 h 181863"/>
                <a:gd name="connsiteX699" fmla="*/ 406647 w 894106"/>
                <a:gd name="connsiteY699" fmla="*/ 139382 h 181863"/>
                <a:gd name="connsiteX700" fmla="*/ 407445 w 894106"/>
                <a:gd name="connsiteY700" fmla="*/ 138984 h 181863"/>
                <a:gd name="connsiteX701" fmla="*/ 407843 w 894106"/>
                <a:gd name="connsiteY701" fmla="*/ 137293 h 181863"/>
                <a:gd name="connsiteX702" fmla="*/ 408640 w 894106"/>
                <a:gd name="connsiteY702" fmla="*/ 137293 h 181863"/>
                <a:gd name="connsiteX703" fmla="*/ 410334 w 894106"/>
                <a:gd name="connsiteY703" fmla="*/ 138089 h 181863"/>
                <a:gd name="connsiteX704" fmla="*/ 413323 w 894106"/>
                <a:gd name="connsiteY704" fmla="*/ 138387 h 181863"/>
                <a:gd name="connsiteX705" fmla="*/ 416114 w 894106"/>
                <a:gd name="connsiteY705" fmla="*/ 138288 h 181863"/>
                <a:gd name="connsiteX706" fmla="*/ 417309 w 894106"/>
                <a:gd name="connsiteY706" fmla="*/ 137691 h 181863"/>
                <a:gd name="connsiteX707" fmla="*/ 418007 w 894106"/>
                <a:gd name="connsiteY707" fmla="*/ 136198 h 181863"/>
                <a:gd name="connsiteX708" fmla="*/ 419501 w 894106"/>
                <a:gd name="connsiteY708" fmla="*/ 136298 h 181863"/>
                <a:gd name="connsiteX709" fmla="*/ 420996 w 894106"/>
                <a:gd name="connsiteY709" fmla="*/ 136895 h 181863"/>
                <a:gd name="connsiteX710" fmla="*/ 421694 w 894106"/>
                <a:gd name="connsiteY710" fmla="*/ 137293 h 181863"/>
                <a:gd name="connsiteX711" fmla="*/ 426876 w 894106"/>
                <a:gd name="connsiteY711" fmla="*/ 139083 h 181863"/>
                <a:gd name="connsiteX712" fmla="*/ 427473 w 894106"/>
                <a:gd name="connsiteY712" fmla="*/ 139482 h 181863"/>
                <a:gd name="connsiteX713" fmla="*/ 427772 w 894106"/>
                <a:gd name="connsiteY713" fmla="*/ 140675 h 181863"/>
                <a:gd name="connsiteX714" fmla="*/ 428171 w 894106"/>
                <a:gd name="connsiteY714" fmla="*/ 140974 h 181863"/>
                <a:gd name="connsiteX715" fmla="*/ 428968 w 894106"/>
                <a:gd name="connsiteY715" fmla="*/ 140775 h 181863"/>
                <a:gd name="connsiteX716" fmla="*/ 429367 w 894106"/>
                <a:gd name="connsiteY716" fmla="*/ 140476 h 181863"/>
                <a:gd name="connsiteX717" fmla="*/ 429566 w 894106"/>
                <a:gd name="connsiteY717" fmla="*/ 140078 h 181863"/>
                <a:gd name="connsiteX718" fmla="*/ 429865 w 894106"/>
                <a:gd name="connsiteY718" fmla="*/ 139979 h 181863"/>
                <a:gd name="connsiteX719" fmla="*/ 431359 w 894106"/>
                <a:gd name="connsiteY719" fmla="*/ 139482 h 181863"/>
                <a:gd name="connsiteX720" fmla="*/ 433252 w 894106"/>
                <a:gd name="connsiteY720" fmla="*/ 137691 h 181863"/>
                <a:gd name="connsiteX721" fmla="*/ 434249 w 894106"/>
                <a:gd name="connsiteY721" fmla="*/ 137293 h 181863"/>
                <a:gd name="connsiteX722" fmla="*/ 435644 w 894106"/>
                <a:gd name="connsiteY722" fmla="*/ 137691 h 181863"/>
                <a:gd name="connsiteX723" fmla="*/ 438036 w 894106"/>
                <a:gd name="connsiteY723" fmla="*/ 139482 h 181863"/>
                <a:gd name="connsiteX724" fmla="*/ 439430 w 894106"/>
                <a:gd name="connsiteY724" fmla="*/ 139979 h 181863"/>
                <a:gd name="connsiteX725" fmla="*/ 445509 w 894106"/>
                <a:gd name="connsiteY725" fmla="*/ 139979 h 181863"/>
                <a:gd name="connsiteX726" fmla="*/ 450391 w 894106"/>
                <a:gd name="connsiteY726" fmla="*/ 141969 h 181863"/>
                <a:gd name="connsiteX727" fmla="*/ 453181 w 894106"/>
                <a:gd name="connsiteY727" fmla="*/ 151022 h 181863"/>
                <a:gd name="connsiteX728" fmla="*/ 457765 w 894106"/>
                <a:gd name="connsiteY728" fmla="*/ 153111 h 181863"/>
                <a:gd name="connsiteX729" fmla="*/ 459359 w 894106"/>
                <a:gd name="connsiteY729" fmla="*/ 152713 h 181863"/>
                <a:gd name="connsiteX730" fmla="*/ 459658 w 894106"/>
                <a:gd name="connsiteY730" fmla="*/ 151918 h 181863"/>
                <a:gd name="connsiteX731" fmla="*/ 459858 w 894106"/>
                <a:gd name="connsiteY731" fmla="*/ 151022 h 181863"/>
                <a:gd name="connsiteX732" fmla="*/ 460754 w 894106"/>
                <a:gd name="connsiteY732" fmla="*/ 150325 h 181863"/>
                <a:gd name="connsiteX733" fmla="*/ 461751 w 894106"/>
                <a:gd name="connsiteY733" fmla="*/ 150624 h 181863"/>
                <a:gd name="connsiteX734" fmla="*/ 462647 w 894106"/>
                <a:gd name="connsiteY734" fmla="*/ 151420 h 181863"/>
                <a:gd name="connsiteX735" fmla="*/ 463644 w 894106"/>
                <a:gd name="connsiteY735" fmla="*/ 151918 h 181863"/>
                <a:gd name="connsiteX736" fmla="*/ 465139 w 894106"/>
                <a:gd name="connsiteY736" fmla="*/ 151221 h 181863"/>
                <a:gd name="connsiteX737" fmla="*/ 465736 w 894106"/>
                <a:gd name="connsiteY737" fmla="*/ 150226 h 181863"/>
                <a:gd name="connsiteX738" fmla="*/ 465537 w 894106"/>
                <a:gd name="connsiteY738" fmla="*/ 147640 h 181863"/>
                <a:gd name="connsiteX739" fmla="*/ 465936 w 894106"/>
                <a:gd name="connsiteY739" fmla="*/ 146545 h 181863"/>
                <a:gd name="connsiteX740" fmla="*/ 466733 w 894106"/>
                <a:gd name="connsiteY740" fmla="*/ 145948 h 181863"/>
                <a:gd name="connsiteX741" fmla="*/ 470220 w 894106"/>
                <a:gd name="connsiteY741" fmla="*/ 144655 h 181863"/>
                <a:gd name="connsiteX742" fmla="*/ 471416 w 894106"/>
                <a:gd name="connsiteY742" fmla="*/ 145550 h 181863"/>
                <a:gd name="connsiteX743" fmla="*/ 473309 w 894106"/>
                <a:gd name="connsiteY743" fmla="*/ 149530 h 181863"/>
                <a:gd name="connsiteX744" fmla="*/ 473807 w 894106"/>
                <a:gd name="connsiteY744" fmla="*/ 153808 h 181863"/>
                <a:gd name="connsiteX745" fmla="*/ 472014 w 894106"/>
                <a:gd name="connsiteY745" fmla="*/ 156792 h 181863"/>
                <a:gd name="connsiteX746" fmla="*/ 474605 w 894106"/>
                <a:gd name="connsiteY746" fmla="*/ 156991 h 181863"/>
                <a:gd name="connsiteX747" fmla="*/ 475601 w 894106"/>
                <a:gd name="connsiteY747" fmla="*/ 152813 h 181863"/>
                <a:gd name="connsiteX748" fmla="*/ 475502 w 894106"/>
                <a:gd name="connsiteY748" fmla="*/ 136298 h 181863"/>
                <a:gd name="connsiteX749" fmla="*/ 473807 w 894106"/>
                <a:gd name="connsiteY749" fmla="*/ 130527 h 181863"/>
                <a:gd name="connsiteX750" fmla="*/ 473708 w 894106"/>
                <a:gd name="connsiteY750" fmla="*/ 128737 h 181863"/>
                <a:gd name="connsiteX751" fmla="*/ 474505 w 894106"/>
                <a:gd name="connsiteY751" fmla="*/ 127344 h 181863"/>
                <a:gd name="connsiteX752" fmla="*/ 476000 w 894106"/>
                <a:gd name="connsiteY752" fmla="*/ 126946 h 181863"/>
                <a:gd name="connsiteX753" fmla="*/ 477694 w 894106"/>
                <a:gd name="connsiteY753" fmla="*/ 127245 h 181863"/>
                <a:gd name="connsiteX754" fmla="*/ 479388 w 894106"/>
                <a:gd name="connsiteY754" fmla="*/ 128339 h 181863"/>
                <a:gd name="connsiteX755" fmla="*/ 482776 w 894106"/>
                <a:gd name="connsiteY755" fmla="*/ 133612 h 181863"/>
                <a:gd name="connsiteX756" fmla="*/ 483374 w 894106"/>
                <a:gd name="connsiteY756" fmla="*/ 133910 h 181863"/>
                <a:gd name="connsiteX757" fmla="*/ 482377 w 894106"/>
                <a:gd name="connsiteY757" fmla="*/ 139680 h 181863"/>
                <a:gd name="connsiteX758" fmla="*/ 482476 w 894106"/>
                <a:gd name="connsiteY758" fmla="*/ 141869 h 181863"/>
                <a:gd name="connsiteX759" fmla="*/ 482875 w 894106"/>
                <a:gd name="connsiteY759" fmla="*/ 143163 h 181863"/>
                <a:gd name="connsiteX760" fmla="*/ 486163 w 894106"/>
                <a:gd name="connsiteY760" fmla="*/ 150127 h 181863"/>
                <a:gd name="connsiteX761" fmla="*/ 487459 w 894106"/>
                <a:gd name="connsiteY761" fmla="*/ 152116 h 181863"/>
                <a:gd name="connsiteX762" fmla="*/ 489352 w 894106"/>
                <a:gd name="connsiteY762" fmla="*/ 153509 h 181863"/>
                <a:gd name="connsiteX763" fmla="*/ 494334 w 894106"/>
                <a:gd name="connsiteY763" fmla="*/ 154504 h 181863"/>
                <a:gd name="connsiteX764" fmla="*/ 499117 w 894106"/>
                <a:gd name="connsiteY764" fmla="*/ 156991 h 181863"/>
                <a:gd name="connsiteX765" fmla="*/ 501609 w 894106"/>
                <a:gd name="connsiteY765" fmla="*/ 157787 h 181863"/>
                <a:gd name="connsiteX766" fmla="*/ 512569 w 894106"/>
                <a:gd name="connsiteY766" fmla="*/ 158882 h 181863"/>
                <a:gd name="connsiteX767" fmla="*/ 530904 w 894106"/>
                <a:gd name="connsiteY767" fmla="*/ 156892 h 181863"/>
                <a:gd name="connsiteX768" fmla="*/ 546448 w 894106"/>
                <a:gd name="connsiteY768" fmla="*/ 157986 h 181863"/>
                <a:gd name="connsiteX769" fmla="*/ 562192 w 894106"/>
                <a:gd name="connsiteY769" fmla="*/ 157588 h 181863"/>
                <a:gd name="connsiteX770" fmla="*/ 567673 w 894106"/>
                <a:gd name="connsiteY770" fmla="*/ 159578 h 181863"/>
                <a:gd name="connsiteX771" fmla="*/ 568469 w 894106"/>
                <a:gd name="connsiteY771" fmla="*/ 156395 h 181863"/>
                <a:gd name="connsiteX772" fmla="*/ 567673 w 894106"/>
                <a:gd name="connsiteY772" fmla="*/ 153111 h 181863"/>
                <a:gd name="connsiteX773" fmla="*/ 565978 w 894106"/>
                <a:gd name="connsiteY773" fmla="*/ 150027 h 181863"/>
                <a:gd name="connsiteX774" fmla="*/ 564085 w 894106"/>
                <a:gd name="connsiteY774" fmla="*/ 147440 h 181863"/>
                <a:gd name="connsiteX775" fmla="*/ 560299 w 894106"/>
                <a:gd name="connsiteY775" fmla="*/ 144655 h 181863"/>
                <a:gd name="connsiteX776" fmla="*/ 559103 w 894106"/>
                <a:gd name="connsiteY776" fmla="*/ 142864 h 181863"/>
                <a:gd name="connsiteX777" fmla="*/ 559800 w 894106"/>
                <a:gd name="connsiteY777" fmla="*/ 139979 h 181863"/>
                <a:gd name="connsiteX778" fmla="*/ 561594 w 894106"/>
                <a:gd name="connsiteY778" fmla="*/ 140775 h 181863"/>
                <a:gd name="connsiteX779" fmla="*/ 563487 w 894106"/>
                <a:gd name="connsiteY779" fmla="*/ 140974 h 181863"/>
                <a:gd name="connsiteX780" fmla="*/ 565082 w 894106"/>
                <a:gd name="connsiteY780" fmla="*/ 140476 h 181863"/>
                <a:gd name="connsiteX781" fmla="*/ 565978 w 894106"/>
                <a:gd name="connsiteY781" fmla="*/ 139083 h 181863"/>
                <a:gd name="connsiteX782" fmla="*/ 566975 w 894106"/>
                <a:gd name="connsiteY782" fmla="*/ 140675 h 181863"/>
                <a:gd name="connsiteX783" fmla="*/ 568071 w 894106"/>
                <a:gd name="connsiteY783" fmla="*/ 141869 h 181863"/>
                <a:gd name="connsiteX784" fmla="*/ 571160 w 894106"/>
                <a:gd name="connsiteY784" fmla="*/ 143759 h 181863"/>
                <a:gd name="connsiteX785" fmla="*/ 569267 w 894106"/>
                <a:gd name="connsiteY785" fmla="*/ 145749 h 181863"/>
                <a:gd name="connsiteX786" fmla="*/ 569466 w 894106"/>
                <a:gd name="connsiteY786" fmla="*/ 147440 h 181863"/>
                <a:gd name="connsiteX787" fmla="*/ 571060 w 894106"/>
                <a:gd name="connsiteY787" fmla="*/ 148435 h 181863"/>
                <a:gd name="connsiteX788" fmla="*/ 573551 w 894106"/>
                <a:gd name="connsiteY788" fmla="*/ 148435 h 181863"/>
                <a:gd name="connsiteX789" fmla="*/ 573452 w 894106"/>
                <a:gd name="connsiteY789" fmla="*/ 150226 h 181863"/>
                <a:gd name="connsiteX790" fmla="*/ 574548 w 894106"/>
                <a:gd name="connsiteY790" fmla="*/ 150325 h 181863"/>
                <a:gd name="connsiteX791" fmla="*/ 576142 w 894106"/>
                <a:gd name="connsiteY791" fmla="*/ 149928 h 181863"/>
                <a:gd name="connsiteX792" fmla="*/ 577138 w 894106"/>
                <a:gd name="connsiteY792" fmla="*/ 150325 h 181863"/>
                <a:gd name="connsiteX793" fmla="*/ 577138 w 894106"/>
                <a:gd name="connsiteY793" fmla="*/ 151420 h 181863"/>
                <a:gd name="connsiteX794" fmla="*/ 576541 w 894106"/>
                <a:gd name="connsiteY794" fmla="*/ 152514 h 181863"/>
                <a:gd name="connsiteX795" fmla="*/ 575943 w 894106"/>
                <a:gd name="connsiteY795" fmla="*/ 153708 h 181863"/>
                <a:gd name="connsiteX796" fmla="*/ 575445 w 894106"/>
                <a:gd name="connsiteY796" fmla="*/ 154902 h 181863"/>
                <a:gd name="connsiteX797" fmla="*/ 576142 w 894106"/>
                <a:gd name="connsiteY797" fmla="*/ 154504 h 181863"/>
                <a:gd name="connsiteX798" fmla="*/ 578035 w 894106"/>
                <a:gd name="connsiteY798" fmla="*/ 154006 h 181863"/>
                <a:gd name="connsiteX799" fmla="*/ 576342 w 894106"/>
                <a:gd name="connsiteY799" fmla="*/ 155499 h 181863"/>
                <a:gd name="connsiteX800" fmla="*/ 574149 w 894106"/>
                <a:gd name="connsiteY800" fmla="*/ 156096 h 181863"/>
                <a:gd name="connsiteX801" fmla="*/ 571957 w 894106"/>
                <a:gd name="connsiteY801" fmla="*/ 156195 h 181863"/>
                <a:gd name="connsiteX802" fmla="*/ 570164 w 894106"/>
                <a:gd name="connsiteY802" fmla="*/ 155897 h 181863"/>
                <a:gd name="connsiteX803" fmla="*/ 570164 w 894106"/>
                <a:gd name="connsiteY803" fmla="*/ 157489 h 181863"/>
                <a:gd name="connsiteX804" fmla="*/ 570562 w 894106"/>
                <a:gd name="connsiteY804" fmla="*/ 158384 h 181863"/>
                <a:gd name="connsiteX805" fmla="*/ 571957 w 894106"/>
                <a:gd name="connsiteY805" fmla="*/ 159578 h 181863"/>
                <a:gd name="connsiteX806" fmla="*/ 572356 w 894106"/>
                <a:gd name="connsiteY806" fmla="*/ 159777 h 181863"/>
                <a:gd name="connsiteX807" fmla="*/ 573950 w 894106"/>
                <a:gd name="connsiteY807" fmla="*/ 159479 h 181863"/>
                <a:gd name="connsiteX808" fmla="*/ 574548 w 894106"/>
                <a:gd name="connsiteY808" fmla="*/ 159578 h 181863"/>
                <a:gd name="connsiteX809" fmla="*/ 575046 w 894106"/>
                <a:gd name="connsiteY809" fmla="*/ 160374 h 181863"/>
                <a:gd name="connsiteX810" fmla="*/ 575146 w 894106"/>
                <a:gd name="connsiteY810" fmla="*/ 161070 h 181863"/>
                <a:gd name="connsiteX811" fmla="*/ 575146 w 894106"/>
                <a:gd name="connsiteY811" fmla="*/ 161767 h 181863"/>
                <a:gd name="connsiteX812" fmla="*/ 575445 w 894106"/>
                <a:gd name="connsiteY812" fmla="*/ 162364 h 181863"/>
                <a:gd name="connsiteX813" fmla="*/ 589196 w 894106"/>
                <a:gd name="connsiteY813" fmla="*/ 177187 h 181863"/>
                <a:gd name="connsiteX814" fmla="*/ 593082 w 894106"/>
                <a:gd name="connsiteY814" fmla="*/ 180570 h 181863"/>
                <a:gd name="connsiteX815" fmla="*/ 597366 w 894106"/>
                <a:gd name="connsiteY815" fmla="*/ 181863 h 181863"/>
                <a:gd name="connsiteX816" fmla="*/ 894106 w 894106"/>
                <a:gd name="connsiteY816" fmla="*/ 181863 h 181863"/>
                <a:gd name="connsiteX817" fmla="*/ 892014 w 894106"/>
                <a:gd name="connsiteY817" fmla="*/ 177983 h 181863"/>
                <a:gd name="connsiteX818" fmla="*/ 891516 w 894106"/>
                <a:gd name="connsiteY818" fmla="*/ 176889 h 181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</a:cxnLst>
              <a:rect l="l" t="t" r="r" b="b"/>
              <a:pathLst>
                <a:path w="894106" h="181863">
                  <a:moveTo>
                    <a:pt x="891516" y="176889"/>
                  </a:moveTo>
                  <a:lnTo>
                    <a:pt x="885736" y="170820"/>
                  </a:lnTo>
                  <a:lnTo>
                    <a:pt x="884242" y="169825"/>
                  </a:lnTo>
                  <a:lnTo>
                    <a:pt x="882747" y="169228"/>
                  </a:lnTo>
                  <a:lnTo>
                    <a:pt x="881651" y="167935"/>
                  </a:lnTo>
                  <a:lnTo>
                    <a:pt x="879459" y="163955"/>
                  </a:lnTo>
                  <a:lnTo>
                    <a:pt x="878562" y="161468"/>
                  </a:lnTo>
                  <a:lnTo>
                    <a:pt x="877864" y="160573"/>
                  </a:lnTo>
                  <a:lnTo>
                    <a:pt x="875473" y="158185"/>
                  </a:lnTo>
                  <a:lnTo>
                    <a:pt x="873779" y="154703"/>
                  </a:lnTo>
                  <a:lnTo>
                    <a:pt x="872583" y="153409"/>
                  </a:lnTo>
                  <a:lnTo>
                    <a:pt x="870690" y="154006"/>
                  </a:lnTo>
                  <a:lnTo>
                    <a:pt x="870491" y="153907"/>
                  </a:lnTo>
                  <a:lnTo>
                    <a:pt x="869096" y="153509"/>
                  </a:lnTo>
                  <a:lnTo>
                    <a:pt x="867501" y="153111"/>
                  </a:lnTo>
                  <a:lnTo>
                    <a:pt x="865907" y="152514"/>
                  </a:lnTo>
                  <a:lnTo>
                    <a:pt x="864612" y="151221"/>
                  </a:lnTo>
                  <a:lnTo>
                    <a:pt x="865010" y="150724"/>
                  </a:lnTo>
                  <a:lnTo>
                    <a:pt x="865409" y="150525"/>
                  </a:lnTo>
                  <a:lnTo>
                    <a:pt x="862121" y="150525"/>
                  </a:lnTo>
                  <a:lnTo>
                    <a:pt x="861124" y="150325"/>
                  </a:lnTo>
                  <a:lnTo>
                    <a:pt x="860426" y="149132"/>
                  </a:lnTo>
                  <a:lnTo>
                    <a:pt x="860327" y="147640"/>
                  </a:lnTo>
                  <a:lnTo>
                    <a:pt x="860128" y="146247"/>
                  </a:lnTo>
                  <a:lnTo>
                    <a:pt x="858932" y="145650"/>
                  </a:lnTo>
                  <a:lnTo>
                    <a:pt x="852754" y="145251"/>
                  </a:lnTo>
                  <a:lnTo>
                    <a:pt x="850761" y="144655"/>
                  </a:lnTo>
                  <a:lnTo>
                    <a:pt x="846377" y="142864"/>
                  </a:lnTo>
                  <a:lnTo>
                    <a:pt x="845181" y="142864"/>
                  </a:lnTo>
                  <a:lnTo>
                    <a:pt x="843886" y="142963"/>
                  </a:lnTo>
                  <a:lnTo>
                    <a:pt x="842590" y="142963"/>
                  </a:lnTo>
                  <a:lnTo>
                    <a:pt x="841594" y="142366"/>
                  </a:lnTo>
                  <a:lnTo>
                    <a:pt x="840697" y="141570"/>
                  </a:lnTo>
                  <a:lnTo>
                    <a:pt x="838405" y="140377"/>
                  </a:lnTo>
                  <a:lnTo>
                    <a:pt x="837210" y="139482"/>
                  </a:lnTo>
                  <a:lnTo>
                    <a:pt x="836313" y="138288"/>
                  </a:lnTo>
                  <a:lnTo>
                    <a:pt x="835117" y="135701"/>
                  </a:lnTo>
                  <a:lnTo>
                    <a:pt x="834320" y="134408"/>
                  </a:lnTo>
                  <a:lnTo>
                    <a:pt x="833822" y="134706"/>
                  </a:lnTo>
                  <a:lnTo>
                    <a:pt x="832526" y="135402"/>
                  </a:lnTo>
                  <a:lnTo>
                    <a:pt x="832526" y="134507"/>
                  </a:lnTo>
                  <a:lnTo>
                    <a:pt x="832426" y="132617"/>
                  </a:lnTo>
                  <a:lnTo>
                    <a:pt x="832526" y="131622"/>
                  </a:lnTo>
                  <a:lnTo>
                    <a:pt x="830135" y="132020"/>
                  </a:lnTo>
                  <a:lnTo>
                    <a:pt x="822562" y="130727"/>
                  </a:lnTo>
                  <a:lnTo>
                    <a:pt x="819473" y="129831"/>
                  </a:lnTo>
                  <a:lnTo>
                    <a:pt x="817281" y="128637"/>
                  </a:lnTo>
                  <a:lnTo>
                    <a:pt x="814391" y="126648"/>
                  </a:lnTo>
                  <a:lnTo>
                    <a:pt x="811801" y="124459"/>
                  </a:lnTo>
                  <a:lnTo>
                    <a:pt x="810804" y="122767"/>
                  </a:lnTo>
                  <a:lnTo>
                    <a:pt x="809010" y="121574"/>
                  </a:lnTo>
                  <a:lnTo>
                    <a:pt x="795160" y="116599"/>
                  </a:lnTo>
                  <a:lnTo>
                    <a:pt x="791075" y="112620"/>
                  </a:lnTo>
                  <a:lnTo>
                    <a:pt x="787288" y="112023"/>
                  </a:lnTo>
                  <a:lnTo>
                    <a:pt x="787288" y="113018"/>
                  </a:lnTo>
                  <a:lnTo>
                    <a:pt x="788384" y="113615"/>
                  </a:lnTo>
                  <a:lnTo>
                    <a:pt x="789281" y="114510"/>
                  </a:lnTo>
                  <a:lnTo>
                    <a:pt x="790875" y="116798"/>
                  </a:lnTo>
                  <a:lnTo>
                    <a:pt x="788882" y="121076"/>
                  </a:lnTo>
                  <a:lnTo>
                    <a:pt x="787786" y="122171"/>
                  </a:lnTo>
                  <a:lnTo>
                    <a:pt x="786491" y="120380"/>
                  </a:lnTo>
                  <a:lnTo>
                    <a:pt x="785295" y="120977"/>
                  </a:lnTo>
                  <a:lnTo>
                    <a:pt x="784797" y="121375"/>
                  </a:lnTo>
                  <a:lnTo>
                    <a:pt x="782406" y="113416"/>
                  </a:lnTo>
                  <a:lnTo>
                    <a:pt x="781708" y="112023"/>
                  </a:lnTo>
                  <a:lnTo>
                    <a:pt x="775829" y="112421"/>
                  </a:lnTo>
                  <a:lnTo>
                    <a:pt x="763273" y="110928"/>
                  </a:lnTo>
                  <a:lnTo>
                    <a:pt x="756299" y="110133"/>
                  </a:lnTo>
                  <a:lnTo>
                    <a:pt x="753409" y="110232"/>
                  </a:lnTo>
                  <a:lnTo>
                    <a:pt x="751017" y="110730"/>
                  </a:lnTo>
                  <a:lnTo>
                    <a:pt x="746235" y="112620"/>
                  </a:lnTo>
                  <a:lnTo>
                    <a:pt x="743444" y="113018"/>
                  </a:lnTo>
                  <a:lnTo>
                    <a:pt x="742050" y="112719"/>
                  </a:lnTo>
                  <a:lnTo>
                    <a:pt x="740057" y="111525"/>
                  </a:lnTo>
                  <a:lnTo>
                    <a:pt x="738761" y="111227"/>
                  </a:lnTo>
                  <a:lnTo>
                    <a:pt x="737167" y="111426"/>
                  </a:lnTo>
                  <a:lnTo>
                    <a:pt x="736868" y="112023"/>
                  </a:lnTo>
                  <a:lnTo>
                    <a:pt x="736669" y="112918"/>
                  </a:lnTo>
                  <a:lnTo>
                    <a:pt x="735273" y="113814"/>
                  </a:lnTo>
                  <a:lnTo>
                    <a:pt x="732882" y="113814"/>
                  </a:lnTo>
                  <a:lnTo>
                    <a:pt x="726206" y="112421"/>
                  </a:lnTo>
                  <a:lnTo>
                    <a:pt x="724811" y="112520"/>
                  </a:lnTo>
                  <a:lnTo>
                    <a:pt x="723815" y="114013"/>
                  </a:lnTo>
                  <a:lnTo>
                    <a:pt x="721523" y="113217"/>
                  </a:lnTo>
                  <a:lnTo>
                    <a:pt x="719131" y="111525"/>
                  </a:lnTo>
                  <a:lnTo>
                    <a:pt x="717836" y="110232"/>
                  </a:lnTo>
                  <a:lnTo>
                    <a:pt x="714448" y="110730"/>
                  </a:lnTo>
                  <a:lnTo>
                    <a:pt x="710761" y="108939"/>
                  </a:lnTo>
                  <a:lnTo>
                    <a:pt x="701295" y="100880"/>
                  </a:lnTo>
                  <a:lnTo>
                    <a:pt x="700299" y="100084"/>
                  </a:lnTo>
                  <a:lnTo>
                    <a:pt x="699601" y="98492"/>
                  </a:lnTo>
                  <a:lnTo>
                    <a:pt x="696213" y="93319"/>
                  </a:lnTo>
                  <a:lnTo>
                    <a:pt x="694818" y="92921"/>
                  </a:lnTo>
                  <a:lnTo>
                    <a:pt x="691131" y="92822"/>
                  </a:lnTo>
                  <a:lnTo>
                    <a:pt x="689238" y="92424"/>
                  </a:lnTo>
                  <a:lnTo>
                    <a:pt x="688441" y="91827"/>
                  </a:lnTo>
                  <a:lnTo>
                    <a:pt x="685253" y="88245"/>
                  </a:lnTo>
                  <a:lnTo>
                    <a:pt x="684057" y="86256"/>
                  </a:lnTo>
                  <a:lnTo>
                    <a:pt x="682363" y="82077"/>
                  </a:lnTo>
                  <a:lnTo>
                    <a:pt x="680868" y="79789"/>
                  </a:lnTo>
                  <a:lnTo>
                    <a:pt x="679473" y="78297"/>
                  </a:lnTo>
                  <a:lnTo>
                    <a:pt x="678178" y="77202"/>
                  </a:lnTo>
                  <a:lnTo>
                    <a:pt x="676584" y="76406"/>
                  </a:lnTo>
                  <a:lnTo>
                    <a:pt x="674690" y="75809"/>
                  </a:lnTo>
                  <a:lnTo>
                    <a:pt x="674591" y="75710"/>
                  </a:lnTo>
                  <a:lnTo>
                    <a:pt x="671502" y="61881"/>
                  </a:lnTo>
                  <a:lnTo>
                    <a:pt x="670406" y="61185"/>
                  </a:lnTo>
                  <a:lnTo>
                    <a:pt x="667516" y="61583"/>
                  </a:lnTo>
                  <a:lnTo>
                    <a:pt x="667416" y="61881"/>
                  </a:lnTo>
                  <a:lnTo>
                    <a:pt x="666818" y="62578"/>
                  </a:lnTo>
                  <a:lnTo>
                    <a:pt x="666021" y="63175"/>
                  </a:lnTo>
                  <a:lnTo>
                    <a:pt x="665324" y="63473"/>
                  </a:lnTo>
                  <a:lnTo>
                    <a:pt x="664526" y="63274"/>
                  </a:lnTo>
                  <a:lnTo>
                    <a:pt x="664128" y="62677"/>
                  </a:lnTo>
                  <a:lnTo>
                    <a:pt x="663729" y="62080"/>
                  </a:lnTo>
                  <a:lnTo>
                    <a:pt x="656256" y="56708"/>
                  </a:lnTo>
                  <a:lnTo>
                    <a:pt x="654064" y="56011"/>
                  </a:lnTo>
                  <a:lnTo>
                    <a:pt x="648782" y="55514"/>
                  </a:lnTo>
                  <a:lnTo>
                    <a:pt x="647388" y="55116"/>
                  </a:lnTo>
                  <a:lnTo>
                    <a:pt x="646192" y="54320"/>
                  </a:lnTo>
                  <a:lnTo>
                    <a:pt x="645395" y="53425"/>
                  </a:lnTo>
                  <a:lnTo>
                    <a:pt x="644100" y="51336"/>
                  </a:lnTo>
                  <a:lnTo>
                    <a:pt x="645694" y="46361"/>
                  </a:lnTo>
                  <a:lnTo>
                    <a:pt x="647089" y="45267"/>
                  </a:lnTo>
                  <a:lnTo>
                    <a:pt x="650078" y="46660"/>
                  </a:lnTo>
                  <a:lnTo>
                    <a:pt x="652370" y="45068"/>
                  </a:lnTo>
                  <a:lnTo>
                    <a:pt x="653566" y="43974"/>
                  </a:lnTo>
                  <a:lnTo>
                    <a:pt x="653566" y="42979"/>
                  </a:lnTo>
                  <a:lnTo>
                    <a:pt x="652469" y="42680"/>
                  </a:lnTo>
                  <a:lnTo>
                    <a:pt x="644697" y="44869"/>
                  </a:lnTo>
                  <a:lnTo>
                    <a:pt x="640512" y="48749"/>
                  </a:lnTo>
                  <a:lnTo>
                    <a:pt x="637922" y="49545"/>
                  </a:lnTo>
                  <a:lnTo>
                    <a:pt x="637922" y="49246"/>
                  </a:lnTo>
                  <a:lnTo>
                    <a:pt x="637922" y="48550"/>
                  </a:lnTo>
                  <a:lnTo>
                    <a:pt x="637523" y="47853"/>
                  </a:lnTo>
                  <a:lnTo>
                    <a:pt x="636626" y="47555"/>
                  </a:lnTo>
                  <a:lnTo>
                    <a:pt x="634334" y="47655"/>
                  </a:lnTo>
                  <a:lnTo>
                    <a:pt x="633637" y="47555"/>
                  </a:lnTo>
                  <a:lnTo>
                    <a:pt x="628854" y="44769"/>
                  </a:lnTo>
                  <a:lnTo>
                    <a:pt x="628555" y="43874"/>
                  </a:lnTo>
                  <a:lnTo>
                    <a:pt x="625765" y="38800"/>
                  </a:lnTo>
                  <a:lnTo>
                    <a:pt x="625267" y="37407"/>
                  </a:lnTo>
                  <a:lnTo>
                    <a:pt x="624171" y="36313"/>
                  </a:lnTo>
                  <a:lnTo>
                    <a:pt x="622875" y="35318"/>
                  </a:lnTo>
                  <a:lnTo>
                    <a:pt x="621480" y="34522"/>
                  </a:lnTo>
                  <a:lnTo>
                    <a:pt x="620982" y="37805"/>
                  </a:lnTo>
                  <a:lnTo>
                    <a:pt x="618491" y="38303"/>
                  </a:lnTo>
                  <a:lnTo>
                    <a:pt x="615502" y="37308"/>
                  </a:lnTo>
                  <a:lnTo>
                    <a:pt x="608726" y="34025"/>
                  </a:lnTo>
                  <a:lnTo>
                    <a:pt x="606633" y="34124"/>
                  </a:lnTo>
                  <a:lnTo>
                    <a:pt x="607530" y="37308"/>
                  </a:lnTo>
                  <a:lnTo>
                    <a:pt x="599957" y="40293"/>
                  </a:lnTo>
                  <a:lnTo>
                    <a:pt x="596071" y="41088"/>
                  </a:lnTo>
                  <a:lnTo>
                    <a:pt x="591886" y="40989"/>
                  </a:lnTo>
                  <a:lnTo>
                    <a:pt x="589694" y="40491"/>
                  </a:lnTo>
                  <a:lnTo>
                    <a:pt x="587601" y="39695"/>
                  </a:lnTo>
                  <a:lnTo>
                    <a:pt x="585608" y="38601"/>
                  </a:lnTo>
                  <a:lnTo>
                    <a:pt x="583715" y="36910"/>
                  </a:lnTo>
                  <a:lnTo>
                    <a:pt x="582121" y="36412"/>
                  </a:lnTo>
                  <a:lnTo>
                    <a:pt x="574946" y="36412"/>
                  </a:lnTo>
                  <a:lnTo>
                    <a:pt x="572655" y="35816"/>
                  </a:lnTo>
                  <a:lnTo>
                    <a:pt x="570960" y="34423"/>
                  </a:lnTo>
                  <a:lnTo>
                    <a:pt x="569665" y="32831"/>
                  </a:lnTo>
                  <a:lnTo>
                    <a:pt x="568469" y="31637"/>
                  </a:lnTo>
                  <a:lnTo>
                    <a:pt x="566476" y="30941"/>
                  </a:lnTo>
                  <a:lnTo>
                    <a:pt x="561395" y="29946"/>
                  </a:lnTo>
                  <a:lnTo>
                    <a:pt x="559402" y="29846"/>
                  </a:lnTo>
                  <a:lnTo>
                    <a:pt x="556711" y="27956"/>
                  </a:lnTo>
                  <a:lnTo>
                    <a:pt x="552128" y="19699"/>
                  </a:lnTo>
                  <a:lnTo>
                    <a:pt x="552028" y="19400"/>
                  </a:lnTo>
                  <a:lnTo>
                    <a:pt x="548441" y="16813"/>
                  </a:lnTo>
                  <a:lnTo>
                    <a:pt x="551729" y="10247"/>
                  </a:lnTo>
                  <a:lnTo>
                    <a:pt x="552825" y="9252"/>
                  </a:lnTo>
                  <a:lnTo>
                    <a:pt x="552825" y="8357"/>
                  </a:lnTo>
                  <a:lnTo>
                    <a:pt x="551630" y="7661"/>
                  </a:lnTo>
                  <a:lnTo>
                    <a:pt x="550035" y="7362"/>
                  </a:lnTo>
                  <a:lnTo>
                    <a:pt x="548342" y="7561"/>
                  </a:lnTo>
                  <a:lnTo>
                    <a:pt x="546647" y="8357"/>
                  </a:lnTo>
                  <a:lnTo>
                    <a:pt x="549039" y="11043"/>
                  </a:lnTo>
                  <a:lnTo>
                    <a:pt x="548342" y="13530"/>
                  </a:lnTo>
                  <a:lnTo>
                    <a:pt x="545950" y="15620"/>
                  </a:lnTo>
                  <a:lnTo>
                    <a:pt x="543260" y="16813"/>
                  </a:lnTo>
                  <a:lnTo>
                    <a:pt x="540071" y="16913"/>
                  </a:lnTo>
                  <a:lnTo>
                    <a:pt x="534192" y="15620"/>
                  </a:lnTo>
                  <a:lnTo>
                    <a:pt x="531103" y="15719"/>
                  </a:lnTo>
                  <a:lnTo>
                    <a:pt x="511174" y="19599"/>
                  </a:lnTo>
                  <a:lnTo>
                    <a:pt x="508583" y="20395"/>
                  </a:lnTo>
                  <a:lnTo>
                    <a:pt x="505694" y="20892"/>
                  </a:lnTo>
                  <a:lnTo>
                    <a:pt x="503402" y="20196"/>
                  </a:lnTo>
                  <a:lnTo>
                    <a:pt x="502405" y="17211"/>
                  </a:lnTo>
                  <a:lnTo>
                    <a:pt x="502405" y="15023"/>
                  </a:lnTo>
                  <a:lnTo>
                    <a:pt x="502206" y="14525"/>
                  </a:lnTo>
                  <a:lnTo>
                    <a:pt x="501708" y="14724"/>
                  </a:lnTo>
                  <a:lnTo>
                    <a:pt x="500811" y="14824"/>
                  </a:lnTo>
                  <a:lnTo>
                    <a:pt x="495530" y="13829"/>
                  </a:lnTo>
                  <a:lnTo>
                    <a:pt x="494733" y="14028"/>
                  </a:lnTo>
                  <a:lnTo>
                    <a:pt x="492142" y="14625"/>
                  </a:lnTo>
                  <a:lnTo>
                    <a:pt x="490647" y="14824"/>
                  </a:lnTo>
                  <a:lnTo>
                    <a:pt x="490050" y="15520"/>
                  </a:lnTo>
                  <a:lnTo>
                    <a:pt x="488654" y="18803"/>
                  </a:lnTo>
                  <a:lnTo>
                    <a:pt x="488057" y="19997"/>
                  </a:lnTo>
                  <a:lnTo>
                    <a:pt x="486163" y="22285"/>
                  </a:lnTo>
                  <a:lnTo>
                    <a:pt x="485267" y="23678"/>
                  </a:lnTo>
                  <a:lnTo>
                    <a:pt x="484171" y="24275"/>
                  </a:lnTo>
                  <a:lnTo>
                    <a:pt x="481680" y="24275"/>
                  </a:lnTo>
                  <a:lnTo>
                    <a:pt x="477096" y="21887"/>
                  </a:lnTo>
                  <a:lnTo>
                    <a:pt x="469921" y="13431"/>
                  </a:lnTo>
                  <a:lnTo>
                    <a:pt x="464341" y="12038"/>
                  </a:lnTo>
                  <a:lnTo>
                    <a:pt x="464341" y="11143"/>
                  </a:lnTo>
                  <a:lnTo>
                    <a:pt x="466036" y="9551"/>
                  </a:lnTo>
                  <a:lnTo>
                    <a:pt x="473011" y="5372"/>
                  </a:lnTo>
                  <a:lnTo>
                    <a:pt x="478690" y="3880"/>
                  </a:lnTo>
                  <a:lnTo>
                    <a:pt x="482278" y="2487"/>
                  </a:lnTo>
                  <a:lnTo>
                    <a:pt x="484071" y="895"/>
                  </a:lnTo>
                  <a:lnTo>
                    <a:pt x="481680" y="0"/>
                  </a:lnTo>
                  <a:lnTo>
                    <a:pt x="479587" y="597"/>
                  </a:lnTo>
                  <a:lnTo>
                    <a:pt x="474007" y="3880"/>
                  </a:lnTo>
                  <a:lnTo>
                    <a:pt x="470918" y="6268"/>
                  </a:lnTo>
                  <a:lnTo>
                    <a:pt x="466135" y="8556"/>
                  </a:lnTo>
                  <a:lnTo>
                    <a:pt x="464341" y="9252"/>
                  </a:lnTo>
                  <a:lnTo>
                    <a:pt x="458363" y="10048"/>
                  </a:lnTo>
                  <a:lnTo>
                    <a:pt x="455174" y="11043"/>
                  </a:lnTo>
                  <a:lnTo>
                    <a:pt x="453779" y="12436"/>
                  </a:lnTo>
                  <a:lnTo>
                    <a:pt x="452384" y="13132"/>
                  </a:lnTo>
                  <a:lnTo>
                    <a:pt x="441722" y="14923"/>
                  </a:lnTo>
                  <a:lnTo>
                    <a:pt x="440626" y="15023"/>
                  </a:lnTo>
                  <a:lnTo>
                    <a:pt x="439630" y="15321"/>
                  </a:lnTo>
                  <a:lnTo>
                    <a:pt x="438633" y="16216"/>
                  </a:lnTo>
                  <a:lnTo>
                    <a:pt x="438135" y="17410"/>
                  </a:lnTo>
                  <a:lnTo>
                    <a:pt x="437338" y="20694"/>
                  </a:lnTo>
                  <a:lnTo>
                    <a:pt x="436840" y="21390"/>
                  </a:lnTo>
                  <a:lnTo>
                    <a:pt x="434947" y="22186"/>
                  </a:lnTo>
                  <a:lnTo>
                    <a:pt x="433552" y="22584"/>
                  </a:lnTo>
                  <a:lnTo>
                    <a:pt x="432057" y="22385"/>
                  </a:lnTo>
                  <a:lnTo>
                    <a:pt x="430562" y="21589"/>
                  </a:lnTo>
                  <a:lnTo>
                    <a:pt x="430562" y="21191"/>
                  </a:lnTo>
                  <a:lnTo>
                    <a:pt x="431359" y="20594"/>
                  </a:lnTo>
                  <a:lnTo>
                    <a:pt x="432057" y="19599"/>
                  </a:lnTo>
                  <a:lnTo>
                    <a:pt x="432754" y="17211"/>
                  </a:lnTo>
                  <a:lnTo>
                    <a:pt x="433153" y="14028"/>
                  </a:lnTo>
                  <a:lnTo>
                    <a:pt x="432654" y="11242"/>
                  </a:lnTo>
                  <a:lnTo>
                    <a:pt x="429964" y="9750"/>
                  </a:lnTo>
                  <a:lnTo>
                    <a:pt x="427772" y="7959"/>
                  </a:lnTo>
                  <a:lnTo>
                    <a:pt x="426876" y="7462"/>
                  </a:lnTo>
                  <a:lnTo>
                    <a:pt x="425181" y="7263"/>
                  </a:lnTo>
                  <a:lnTo>
                    <a:pt x="423687" y="7263"/>
                  </a:lnTo>
                  <a:lnTo>
                    <a:pt x="422292" y="7163"/>
                  </a:lnTo>
                  <a:lnTo>
                    <a:pt x="420797" y="6367"/>
                  </a:lnTo>
                  <a:lnTo>
                    <a:pt x="419203" y="7263"/>
                  </a:lnTo>
                  <a:lnTo>
                    <a:pt x="417210" y="7561"/>
                  </a:lnTo>
                  <a:lnTo>
                    <a:pt x="413921" y="7561"/>
                  </a:lnTo>
                  <a:lnTo>
                    <a:pt x="394092" y="7462"/>
                  </a:lnTo>
                  <a:lnTo>
                    <a:pt x="391303" y="8357"/>
                  </a:lnTo>
                  <a:lnTo>
                    <a:pt x="387516" y="7462"/>
                  </a:lnTo>
                  <a:lnTo>
                    <a:pt x="379445" y="6666"/>
                  </a:lnTo>
                  <a:lnTo>
                    <a:pt x="375658" y="5571"/>
                  </a:lnTo>
                  <a:lnTo>
                    <a:pt x="370876" y="2288"/>
                  </a:lnTo>
                  <a:lnTo>
                    <a:pt x="369580" y="1592"/>
                  </a:lnTo>
                  <a:lnTo>
                    <a:pt x="368185" y="1890"/>
                  </a:lnTo>
                  <a:lnTo>
                    <a:pt x="366890" y="2388"/>
                  </a:lnTo>
                  <a:lnTo>
                    <a:pt x="365594" y="2686"/>
                  </a:lnTo>
                  <a:lnTo>
                    <a:pt x="362605" y="2985"/>
                  </a:lnTo>
                  <a:lnTo>
                    <a:pt x="361110" y="3283"/>
                  </a:lnTo>
                  <a:lnTo>
                    <a:pt x="357523" y="4278"/>
                  </a:lnTo>
                  <a:lnTo>
                    <a:pt x="354832" y="4576"/>
                  </a:lnTo>
                  <a:lnTo>
                    <a:pt x="345965" y="2487"/>
                  </a:lnTo>
                  <a:lnTo>
                    <a:pt x="341979" y="4079"/>
                  </a:lnTo>
                  <a:lnTo>
                    <a:pt x="333110" y="5571"/>
                  </a:lnTo>
                  <a:lnTo>
                    <a:pt x="327331" y="8058"/>
                  </a:lnTo>
                  <a:lnTo>
                    <a:pt x="322249" y="8855"/>
                  </a:lnTo>
                  <a:lnTo>
                    <a:pt x="320256" y="10048"/>
                  </a:lnTo>
                  <a:lnTo>
                    <a:pt x="316569" y="12934"/>
                  </a:lnTo>
                  <a:lnTo>
                    <a:pt x="314576" y="14127"/>
                  </a:lnTo>
                  <a:lnTo>
                    <a:pt x="313281" y="14625"/>
                  </a:lnTo>
                  <a:lnTo>
                    <a:pt x="311786" y="14824"/>
                  </a:lnTo>
                  <a:lnTo>
                    <a:pt x="311188" y="15222"/>
                  </a:lnTo>
                  <a:lnTo>
                    <a:pt x="309893" y="17211"/>
                  </a:lnTo>
                  <a:lnTo>
                    <a:pt x="309196" y="17609"/>
                  </a:lnTo>
                  <a:lnTo>
                    <a:pt x="306406" y="18405"/>
                  </a:lnTo>
                  <a:lnTo>
                    <a:pt x="300826" y="21589"/>
                  </a:lnTo>
                  <a:lnTo>
                    <a:pt x="298235" y="21390"/>
                  </a:lnTo>
                  <a:lnTo>
                    <a:pt x="295245" y="22683"/>
                  </a:lnTo>
                  <a:lnTo>
                    <a:pt x="283488" y="24275"/>
                  </a:lnTo>
                  <a:lnTo>
                    <a:pt x="272028" y="23678"/>
                  </a:lnTo>
                  <a:lnTo>
                    <a:pt x="269239" y="24673"/>
                  </a:lnTo>
                  <a:lnTo>
                    <a:pt x="266150" y="25170"/>
                  </a:lnTo>
                  <a:lnTo>
                    <a:pt x="261665" y="24474"/>
                  </a:lnTo>
                  <a:lnTo>
                    <a:pt x="257481" y="24573"/>
                  </a:lnTo>
                  <a:lnTo>
                    <a:pt x="255786" y="27459"/>
                  </a:lnTo>
                  <a:lnTo>
                    <a:pt x="254392" y="30841"/>
                  </a:lnTo>
                  <a:lnTo>
                    <a:pt x="254092" y="31040"/>
                  </a:lnTo>
                  <a:lnTo>
                    <a:pt x="251601" y="32731"/>
                  </a:lnTo>
                  <a:lnTo>
                    <a:pt x="249409" y="32533"/>
                  </a:lnTo>
                  <a:lnTo>
                    <a:pt x="249708" y="29846"/>
                  </a:lnTo>
                  <a:lnTo>
                    <a:pt x="248512" y="31239"/>
                  </a:lnTo>
                  <a:lnTo>
                    <a:pt x="247516" y="31737"/>
                  </a:lnTo>
                  <a:lnTo>
                    <a:pt x="246719" y="31239"/>
                  </a:lnTo>
                  <a:lnTo>
                    <a:pt x="246221" y="29846"/>
                  </a:lnTo>
                  <a:lnTo>
                    <a:pt x="246719" y="29050"/>
                  </a:lnTo>
                  <a:lnTo>
                    <a:pt x="248014" y="28851"/>
                  </a:lnTo>
                  <a:lnTo>
                    <a:pt x="248812" y="28454"/>
                  </a:lnTo>
                  <a:lnTo>
                    <a:pt x="248014" y="26961"/>
                  </a:lnTo>
                  <a:lnTo>
                    <a:pt x="246819" y="26364"/>
                  </a:lnTo>
                  <a:lnTo>
                    <a:pt x="245922" y="26762"/>
                  </a:lnTo>
                  <a:lnTo>
                    <a:pt x="245124" y="27558"/>
                  </a:lnTo>
                  <a:lnTo>
                    <a:pt x="244526" y="27956"/>
                  </a:lnTo>
                  <a:lnTo>
                    <a:pt x="243132" y="27558"/>
                  </a:lnTo>
                  <a:lnTo>
                    <a:pt x="241437" y="26364"/>
                  </a:lnTo>
                  <a:lnTo>
                    <a:pt x="240043" y="26066"/>
                  </a:lnTo>
                  <a:lnTo>
                    <a:pt x="239345" y="26364"/>
                  </a:lnTo>
                  <a:lnTo>
                    <a:pt x="237651" y="27459"/>
                  </a:lnTo>
                  <a:lnTo>
                    <a:pt x="236655" y="27956"/>
                  </a:lnTo>
                  <a:lnTo>
                    <a:pt x="231374" y="28951"/>
                  </a:lnTo>
                  <a:lnTo>
                    <a:pt x="228584" y="30145"/>
                  </a:lnTo>
                  <a:lnTo>
                    <a:pt x="226690" y="31737"/>
                  </a:lnTo>
                  <a:lnTo>
                    <a:pt x="226591" y="33527"/>
                  </a:lnTo>
                  <a:lnTo>
                    <a:pt x="228883" y="35418"/>
                  </a:lnTo>
                  <a:lnTo>
                    <a:pt x="227986" y="36313"/>
                  </a:lnTo>
                  <a:lnTo>
                    <a:pt x="226890" y="37706"/>
                  </a:lnTo>
                  <a:lnTo>
                    <a:pt x="225594" y="38502"/>
                  </a:lnTo>
                  <a:lnTo>
                    <a:pt x="224099" y="37805"/>
                  </a:lnTo>
                  <a:lnTo>
                    <a:pt x="223103" y="36114"/>
                  </a:lnTo>
                  <a:lnTo>
                    <a:pt x="222804" y="34224"/>
                  </a:lnTo>
                  <a:lnTo>
                    <a:pt x="223402" y="32533"/>
                  </a:lnTo>
                  <a:lnTo>
                    <a:pt x="224498" y="31637"/>
                  </a:lnTo>
                  <a:lnTo>
                    <a:pt x="224498" y="30841"/>
                  </a:lnTo>
                  <a:lnTo>
                    <a:pt x="222804" y="29349"/>
                  </a:lnTo>
                  <a:lnTo>
                    <a:pt x="220811" y="28652"/>
                  </a:lnTo>
                  <a:lnTo>
                    <a:pt x="218420" y="28752"/>
                  </a:lnTo>
                  <a:lnTo>
                    <a:pt x="215829" y="29846"/>
                  </a:lnTo>
                  <a:lnTo>
                    <a:pt x="209352" y="34025"/>
                  </a:lnTo>
                  <a:lnTo>
                    <a:pt x="207559" y="34522"/>
                  </a:lnTo>
                  <a:lnTo>
                    <a:pt x="205267" y="35617"/>
                  </a:lnTo>
                  <a:lnTo>
                    <a:pt x="202875" y="38203"/>
                  </a:lnTo>
                  <a:lnTo>
                    <a:pt x="200982" y="41188"/>
                  </a:lnTo>
                  <a:lnTo>
                    <a:pt x="200284" y="43476"/>
                  </a:lnTo>
                  <a:lnTo>
                    <a:pt x="199188" y="44570"/>
                  </a:lnTo>
                  <a:lnTo>
                    <a:pt x="197195" y="45764"/>
                  </a:lnTo>
                  <a:lnTo>
                    <a:pt x="195801" y="46162"/>
                  </a:lnTo>
                  <a:lnTo>
                    <a:pt x="196697" y="44769"/>
                  </a:lnTo>
                  <a:lnTo>
                    <a:pt x="194605" y="43874"/>
                  </a:lnTo>
                  <a:lnTo>
                    <a:pt x="193011" y="42780"/>
                  </a:lnTo>
                  <a:lnTo>
                    <a:pt x="191615" y="42183"/>
                  </a:lnTo>
                  <a:lnTo>
                    <a:pt x="189722" y="42979"/>
                  </a:lnTo>
                  <a:lnTo>
                    <a:pt x="188626" y="44570"/>
                  </a:lnTo>
                  <a:lnTo>
                    <a:pt x="187630" y="46660"/>
                  </a:lnTo>
                  <a:lnTo>
                    <a:pt x="186135" y="48053"/>
                  </a:lnTo>
                  <a:lnTo>
                    <a:pt x="183644" y="47555"/>
                  </a:lnTo>
                  <a:lnTo>
                    <a:pt x="184043" y="47058"/>
                  </a:lnTo>
                  <a:lnTo>
                    <a:pt x="184242" y="46660"/>
                  </a:lnTo>
                  <a:lnTo>
                    <a:pt x="184541" y="45764"/>
                  </a:lnTo>
                  <a:lnTo>
                    <a:pt x="179260" y="45764"/>
                  </a:lnTo>
                  <a:lnTo>
                    <a:pt x="178462" y="46162"/>
                  </a:lnTo>
                  <a:lnTo>
                    <a:pt x="176868" y="50540"/>
                  </a:lnTo>
                  <a:lnTo>
                    <a:pt x="176370" y="51336"/>
                  </a:lnTo>
                  <a:lnTo>
                    <a:pt x="169993" y="51634"/>
                  </a:lnTo>
                  <a:lnTo>
                    <a:pt x="167203" y="52430"/>
                  </a:lnTo>
                  <a:lnTo>
                    <a:pt x="164512" y="54121"/>
                  </a:lnTo>
                  <a:lnTo>
                    <a:pt x="165110" y="54221"/>
                  </a:lnTo>
                  <a:lnTo>
                    <a:pt x="165310" y="54320"/>
                  </a:lnTo>
                  <a:lnTo>
                    <a:pt x="165210" y="54619"/>
                  </a:lnTo>
                  <a:lnTo>
                    <a:pt x="165409" y="55116"/>
                  </a:lnTo>
                  <a:lnTo>
                    <a:pt x="166306" y="54519"/>
                  </a:lnTo>
                  <a:lnTo>
                    <a:pt x="167203" y="54121"/>
                  </a:lnTo>
                  <a:lnTo>
                    <a:pt x="167203" y="55116"/>
                  </a:lnTo>
                  <a:lnTo>
                    <a:pt x="166306" y="55613"/>
                  </a:lnTo>
                  <a:lnTo>
                    <a:pt x="164512" y="56708"/>
                  </a:lnTo>
                  <a:lnTo>
                    <a:pt x="163715" y="57006"/>
                  </a:lnTo>
                  <a:lnTo>
                    <a:pt x="162320" y="57006"/>
                  </a:lnTo>
                  <a:lnTo>
                    <a:pt x="160726" y="56210"/>
                  </a:lnTo>
                  <a:lnTo>
                    <a:pt x="159231" y="56011"/>
                  </a:lnTo>
                  <a:lnTo>
                    <a:pt x="157239" y="56210"/>
                  </a:lnTo>
                  <a:lnTo>
                    <a:pt x="152854" y="57802"/>
                  </a:lnTo>
                  <a:lnTo>
                    <a:pt x="144086" y="62180"/>
                  </a:lnTo>
                  <a:lnTo>
                    <a:pt x="141993" y="62578"/>
                  </a:lnTo>
                  <a:lnTo>
                    <a:pt x="136413" y="62976"/>
                  </a:lnTo>
                  <a:lnTo>
                    <a:pt x="134520" y="64269"/>
                  </a:lnTo>
                  <a:lnTo>
                    <a:pt x="133324" y="67154"/>
                  </a:lnTo>
                  <a:lnTo>
                    <a:pt x="131530" y="65363"/>
                  </a:lnTo>
                  <a:lnTo>
                    <a:pt x="123858" y="70935"/>
                  </a:lnTo>
                  <a:lnTo>
                    <a:pt x="122363" y="71631"/>
                  </a:lnTo>
                  <a:lnTo>
                    <a:pt x="120669" y="71930"/>
                  </a:lnTo>
                  <a:lnTo>
                    <a:pt x="119373" y="71233"/>
                  </a:lnTo>
                  <a:lnTo>
                    <a:pt x="118577" y="69542"/>
                  </a:lnTo>
                  <a:lnTo>
                    <a:pt x="117480" y="67950"/>
                  </a:lnTo>
                  <a:lnTo>
                    <a:pt x="115488" y="67154"/>
                  </a:lnTo>
                  <a:lnTo>
                    <a:pt x="114192" y="67452"/>
                  </a:lnTo>
                  <a:lnTo>
                    <a:pt x="113096" y="68149"/>
                  </a:lnTo>
                  <a:lnTo>
                    <a:pt x="112199" y="69044"/>
                  </a:lnTo>
                  <a:lnTo>
                    <a:pt x="111601" y="70139"/>
                  </a:lnTo>
                  <a:lnTo>
                    <a:pt x="113694" y="69940"/>
                  </a:lnTo>
                  <a:lnTo>
                    <a:pt x="115388" y="70338"/>
                  </a:lnTo>
                  <a:lnTo>
                    <a:pt x="116683" y="71233"/>
                  </a:lnTo>
                  <a:lnTo>
                    <a:pt x="117680" y="72825"/>
                  </a:lnTo>
                  <a:lnTo>
                    <a:pt x="116284" y="74118"/>
                  </a:lnTo>
                  <a:lnTo>
                    <a:pt x="115089" y="75611"/>
                  </a:lnTo>
                  <a:lnTo>
                    <a:pt x="113694" y="76307"/>
                  </a:lnTo>
                  <a:lnTo>
                    <a:pt x="112000" y="75212"/>
                  </a:lnTo>
                  <a:lnTo>
                    <a:pt x="110406" y="74516"/>
                  </a:lnTo>
                  <a:lnTo>
                    <a:pt x="109509" y="76207"/>
                  </a:lnTo>
                  <a:lnTo>
                    <a:pt x="109110" y="78496"/>
                  </a:lnTo>
                  <a:lnTo>
                    <a:pt x="109011" y="79789"/>
                  </a:lnTo>
                  <a:lnTo>
                    <a:pt x="108313" y="80485"/>
                  </a:lnTo>
                  <a:lnTo>
                    <a:pt x="105025" y="80784"/>
                  </a:lnTo>
                  <a:lnTo>
                    <a:pt x="103829" y="81281"/>
                  </a:lnTo>
                  <a:lnTo>
                    <a:pt x="103131" y="82575"/>
                  </a:lnTo>
                  <a:lnTo>
                    <a:pt x="102035" y="87748"/>
                  </a:lnTo>
                  <a:lnTo>
                    <a:pt x="100940" y="85957"/>
                  </a:lnTo>
                  <a:lnTo>
                    <a:pt x="99445" y="85261"/>
                  </a:lnTo>
                  <a:lnTo>
                    <a:pt x="97751" y="85460"/>
                  </a:lnTo>
                  <a:lnTo>
                    <a:pt x="95957" y="86853"/>
                  </a:lnTo>
                  <a:lnTo>
                    <a:pt x="94662" y="86256"/>
                  </a:lnTo>
                  <a:lnTo>
                    <a:pt x="93366" y="85858"/>
                  </a:lnTo>
                  <a:lnTo>
                    <a:pt x="93366" y="86853"/>
                  </a:lnTo>
                  <a:lnTo>
                    <a:pt x="94861" y="88643"/>
                  </a:lnTo>
                  <a:lnTo>
                    <a:pt x="94264" y="91529"/>
                  </a:lnTo>
                  <a:lnTo>
                    <a:pt x="92669" y="94613"/>
                  </a:lnTo>
                  <a:lnTo>
                    <a:pt x="91175" y="96702"/>
                  </a:lnTo>
                  <a:lnTo>
                    <a:pt x="88783" y="98095"/>
                  </a:lnTo>
                  <a:lnTo>
                    <a:pt x="83402" y="98990"/>
                  </a:lnTo>
                  <a:lnTo>
                    <a:pt x="81110" y="100781"/>
                  </a:lnTo>
                  <a:lnTo>
                    <a:pt x="83701" y="100781"/>
                  </a:lnTo>
                  <a:lnTo>
                    <a:pt x="83701" y="101875"/>
                  </a:lnTo>
                  <a:lnTo>
                    <a:pt x="81509" y="103268"/>
                  </a:lnTo>
                  <a:lnTo>
                    <a:pt x="79616" y="105357"/>
                  </a:lnTo>
                  <a:lnTo>
                    <a:pt x="76926" y="109237"/>
                  </a:lnTo>
                  <a:lnTo>
                    <a:pt x="76626" y="109934"/>
                  </a:lnTo>
                  <a:lnTo>
                    <a:pt x="76128" y="111625"/>
                  </a:lnTo>
                  <a:lnTo>
                    <a:pt x="75530" y="112520"/>
                  </a:lnTo>
                  <a:lnTo>
                    <a:pt x="74933" y="112918"/>
                  </a:lnTo>
                  <a:lnTo>
                    <a:pt x="73637" y="113117"/>
                  </a:lnTo>
                  <a:lnTo>
                    <a:pt x="72940" y="113416"/>
                  </a:lnTo>
                  <a:lnTo>
                    <a:pt x="71146" y="116898"/>
                  </a:lnTo>
                  <a:lnTo>
                    <a:pt x="70747" y="117196"/>
                  </a:lnTo>
                  <a:lnTo>
                    <a:pt x="68954" y="123265"/>
                  </a:lnTo>
                  <a:lnTo>
                    <a:pt x="68356" y="126150"/>
                  </a:lnTo>
                  <a:lnTo>
                    <a:pt x="68157" y="129234"/>
                  </a:lnTo>
                  <a:lnTo>
                    <a:pt x="67658" y="131622"/>
                  </a:lnTo>
                  <a:lnTo>
                    <a:pt x="66562" y="134010"/>
                  </a:lnTo>
                  <a:lnTo>
                    <a:pt x="65167" y="136099"/>
                  </a:lnTo>
                  <a:lnTo>
                    <a:pt x="63872" y="137293"/>
                  </a:lnTo>
                  <a:lnTo>
                    <a:pt x="65865" y="137790"/>
                  </a:lnTo>
                  <a:lnTo>
                    <a:pt x="67060" y="139581"/>
                  </a:lnTo>
                  <a:lnTo>
                    <a:pt x="67957" y="141770"/>
                  </a:lnTo>
                  <a:lnTo>
                    <a:pt x="68954" y="143759"/>
                  </a:lnTo>
                  <a:lnTo>
                    <a:pt x="70548" y="145053"/>
                  </a:lnTo>
                  <a:lnTo>
                    <a:pt x="72840" y="146247"/>
                  </a:lnTo>
                  <a:lnTo>
                    <a:pt x="75431" y="147142"/>
                  </a:lnTo>
                  <a:lnTo>
                    <a:pt x="77722" y="147440"/>
                  </a:lnTo>
                  <a:lnTo>
                    <a:pt x="77124" y="148336"/>
                  </a:lnTo>
                  <a:lnTo>
                    <a:pt x="75929" y="151221"/>
                  </a:lnTo>
                  <a:lnTo>
                    <a:pt x="78520" y="152514"/>
                  </a:lnTo>
                  <a:lnTo>
                    <a:pt x="78918" y="154106"/>
                  </a:lnTo>
                  <a:lnTo>
                    <a:pt x="78719" y="156096"/>
                  </a:lnTo>
                  <a:lnTo>
                    <a:pt x="79516" y="158683"/>
                  </a:lnTo>
                  <a:lnTo>
                    <a:pt x="81210" y="160175"/>
                  </a:lnTo>
                  <a:lnTo>
                    <a:pt x="82704" y="158981"/>
                  </a:lnTo>
                  <a:lnTo>
                    <a:pt x="84100" y="156593"/>
                  </a:lnTo>
                  <a:lnTo>
                    <a:pt x="85595" y="154902"/>
                  </a:lnTo>
                  <a:lnTo>
                    <a:pt x="83701" y="162364"/>
                  </a:lnTo>
                  <a:lnTo>
                    <a:pt x="81808" y="162065"/>
                  </a:lnTo>
                  <a:lnTo>
                    <a:pt x="78420" y="164552"/>
                  </a:lnTo>
                  <a:lnTo>
                    <a:pt x="77722" y="163757"/>
                  </a:lnTo>
                  <a:lnTo>
                    <a:pt x="77025" y="162264"/>
                  </a:lnTo>
                  <a:lnTo>
                    <a:pt x="75231" y="160573"/>
                  </a:lnTo>
                  <a:lnTo>
                    <a:pt x="73039" y="159279"/>
                  </a:lnTo>
                  <a:lnTo>
                    <a:pt x="71246" y="158683"/>
                  </a:lnTo>
                  <a:lnTo>
                    <a:pt x="67559" y="159578"/>
                  </a:lnTo>
                  <a:lnTo>
                    <a:pt x="64569" y="161369"/>
                  </a:lnTo>
                  <a:lnTo>
                    <a:pt x="61680" y="162164"/>
                  </a:lnTo>
                  <a:lnTo>
                    <a:pt x="57694" y="160473"/>
                  </a:lnTo>
                  <a:lnTo>
                    <a:pt x="58292" y="159379"/>
                  </a:lnTo>
                  <a:lnTo>
                    <a:pt x="57495" y="158782"/>
                  </a:lnTo>
                  <a:lnTo>
                    <a:pt x="55900" y="158583"/>
                  </a:lnTo>
                  <a:lnTo>
                    <a:pt x="54206" y="158683"/>
                  </a:lnTo>
                  <a:lnTo>
                    <a:pt x="53309" y="159180"/>
                  </a:lnTo>
                  <a:lnTo>
                    <a:pt x="46434" y="164154"/>
                  </a:lnTo>
                  <a:lnTo>
                    <a:pt x="35573" y="169029"/>
                  </a:lnTo>
                  <a:lnTo>
                    <a:pt x="26406" y="171715"/>
                  </a:lnTo>
                  <a:lnTo>
                    <a:pt x="16043" y="177287"/>
                  </a:lnTo>
                  <a:lnTo>
                    <a:pt x="16043" y="174600"/>
                  </a:lnTo>
                  <a:lnTo>
                    <a:pt x="14847" y="173208"/>
                  </a:lnTo>
                  <a:lnTo>
                    <a:pt x="12854" y="173208"/>
                  </a:lnTo>
                  <a:lnTo>
                    <a:pt x="10762" y="174402"/>
                  </a:lnTo>
                  <a:lnTo>
                    <a:pt x="12854" y="175894"/>
                  </a:lnTo>
                  <a:lnTo>
                    <a:pt x="12755" y="177684"/>
                  </a:lnTo>
                  <a:lnTo>
                    <a:pt x="11260" y="179177"/>
                  </a:lnTo>
                  <a:lnTo>
                    <a:pt x="9067" y="180072"/>
                  </a:lnTo>
                  <a:lnTo>
                    <a:pt x="7971" y="180172"/>
                  </a:lnTo>
                  <a:lnTo>
                    <a:pt x="6875" y="180072"/>
                  </a:lnTo>
                  <a:lnTo>
                    <a:pt x="5780" y="179674"/>
                  </a:lnTo>
                  <a:lnTo>
                    <a:pt x="4882" y="178878"/>
                  </a:lnTo>
                  <a:lnTo>
                    <a:pt x="4484" y="178281"/>
                  </a:lnTo>
                  <a:lnTo>
                    <a:pt x="4185" y="177486"/>
                  </a:lnTo>
                  <a:lnTo>
                    <a:pt x="3687" y="176789"/>
                  </a:lnTo>
                  <a:lnTo>
                    <a:pt x="3089" y="176491"/>
                  </a:lnTo>
                  <a:lnTo>
                    <a:pt x="2292" y="176789"/>
                  </a:lnTo>
                  <a:lnTo>
                    <a:pt x="1495" y="177684"/>
                  </a:lnTo>
                  <a:lnTo>
                    <a:pt x="797" y="178779"/>
                  </a:lnTo>
                  <a:lnTo>
                    <a:pt x="398" y="179674"/>
                  </a:lnTo>
                  <a:lnTo>
                    <a:pt x="0" y="181863"/>
                  </a:lnTo>
                  <a:lnTo>
                    <a:pt x="28199" y="181863"/>
                  </a:lnTo>
                  <a:lnTo>
                    <a:pt x="31786" y="179475"/>
                  </a:lnTo>
                  <a:lnTo>
                    <a:pt x="36669" y="177187"/>
                  </a:lnTo>
                  <a:lnTo>
                    <a:pt x="46733" y="174203"/>
                  </a:lnTo>
                  <a:lnTo>
                    <a:pt x="52413" y="173307"/>
                  </a:lnTo>
                  <a:lnTo>
                    <a:pt x="57395" y="174203"/>
                  </a:lnTo>
                  <a:lnTo>
                    <a:pt x="60285" y="178182"/>
                  </a:lnTo>
                  <a:lnTo>
                    <a:pt x="59587" y="181863"/>
                  </a:lnTo>
                  <a:lnTo>
                    <a:pt x="80513" y="181863"/>
                  </a:lnTo>
                  <a:lnTo>
                    <a:pt x="81609" y="180868"/>
                  </a:lnTo>
                  <a:lnTo>
                    <a:pt x="85595" y="179674"/>
                  </a:lnTo>
                  <a:lnTo>
                    <a:pt x="88484" y="177884"/>
                  </a:lnTo>
                  <a:lnTo>
                    <a:pt x="89879" y="177287"/>
                  </a:lnTo>
                  <a:lnTo>
                    <a:pt x="91175" y="177187"/>
                  </a:lnTo>
                  <a:lnTo>
                    <a:pt x="93765" y="177486"/>
                  </a:lnTo>
                  <a:lnTo>
                    <a:pt x="95060" y="177287"/>
                  </a:lnTo>
                  <a:lnTo>
                    <a:pt x="97452" y="176292"/>
                  </a:lnTo>
                  <a:lnTo>
                    <a:pt x="102335" y="173307"/>
                  </a:lnTo>
                  <a:lnTo>
                    <a:pt x="105025" y="172710"/>
                  </a:lnTo>
                  <a:lnTo>
                    <a:pt x="107915" y="173208"/>
                  </a:lnTo>
                  <a:lnTo>
                    <a:pt x="112697" y="175794"/>
                  </a:lnTo>
                  <a:lnTo>
                    <a:pt x="115089" y="176391"/>
                  </a:lnTo>
                  <a:lnTo>
                    <a:pt x="116584" y="176093"/>
                  </a:lnTo>
                  <a:lnTo>
                    <a:pt x="118078" y="175297"/>
                  </a:lnTo>
                  <a:lnTo>
                    <a:pt x="119473" y="174302"/>
                  </a:lnTo>
                  <a:lnTo>
                    <a:pt x="120669" y="173108"/>
                  </a:lnTo>
                  <a:lnTo>
                    <a:pt x="121267" y="171815"/>
                  </a:lnTo>
                  <a:lnTo>
                    <a:pt x="120669" y="170820"/>
                  </a:lnTo>
                  <a:lnTo>
                    <a:pt x="119872" y="170024"/>
                  </a:lnTo>
                  <a:lnTo>
                    <a:pt x="119373" y="169427"/>
                  </a:lnTo>
                  <a:lnTo>
                    <a:pt x="120470" y="166641"/>
                  </a:lnTo>
                  <a:lnTo>
                    <a:pt x="124755" y="163358"/>
                  </a:lnTo>
                  <a:lnTo>
                    <a:pt x="125551" y="160473"/>
                  </a:lnTo>
                  <a:lnTo>
                    <a:pt x="123957" y="161667"/>
                  </a:lnTo>
                  <a:lnTo>
                    <a:pt x="122462" y="162065"/>
                  </a:lnTo>
                  <a:lnTo>
                    <a:pt x="121267" y="161369"/>
                  </a:lnTo>
                  <a:lnTo>
                    <a:pt x="120270" y="159578"/>
                  </a:lnTo>
                  <a:lnTo>
                    <a:pt x="120071" y="157389"/>
                  </a:lnTo>
                  <a:lnTo>
                    <a:pt x="120968" y="155897"/>
                  </a:lnTo>
                  <a:lnTo>
                    <a:pt x="122363" y="155598"/>
                  </a:lnTo>
                  <a:lnTo>
                    <a:pt x="123858" y="156792"/>
                  </a:lnTo>
                  <a:lnTo>
                    <a:pt x="123758" y="154802"/>
                  </a:lnTo>
                  <a:lnTo>
                    <a:pt x="123559" y="154006"/>
                  </a:lnTo>
                  <a:lnTo>
                    <a:pt x="122861" y="153111"/>
                  </a:lnTo>
                  <a:lnTo>
                    <a:pt x="123459" y="151818"/>
                  </a:lnTo>
                  <a:lnTo>
                    <a:pt x="124455" y="148037"/>
                  </a:lnTo>
                  <a:lnTo>
                    <a:pt x="124655" y="146943"/>
                  </a:lnTo>
                  <a:lnTo>
                    <a:pt x="129737" y="141869"/>
                  </a:lnTo>
                  <a:lnTo>
                    <a:pt x="132626" y="141272"/>
                  </a:lnTo>
                  <a:lnTo>
                    <a:pt x="142491" y="141869"/>
                  </a:lnTo>
                  <a:lnTo>
                    <a:pt x="144284" y="141471"/>
                  </a:lnTo>
                  <a:lnTo>
                    <a:pt x="145779" y="139482"/>
                  </a:lnTo>
                  <a:lnTo>
                    <a:pt x="147274" y="139083"/>
                  </a:lnTo>
                  <a:lnTo>
                    <a:pt x="147075" y="139482"/>
                  </a:lnTo>
                  <a:lnTo>
                    <a:pt x="147274" y="140377"/>
                  </a:lnTo>
                  <a:lnTo>
                    <a:pt x="147673" y="141372"/>
                  </a:lnTo>
                  <a:lnTo>
                    <a:pt x="148071" y="141869"/>
                  </a:lnTo>
                  <a:lnTo>
                    <a:pt x="148769" y="141969"/>
                  </a:lnTo>
                  <a:lnTo>
                    <a:pt x="162819" y="139979"/>
                  </a:lnTo>
                  <a:lnTo>
                    <a:pt x="162519" y="140476"/>
                  </a:lnTo>
                  <a:lnTo>
                    <a:pt x="162320" y="141372"/>
                  </a:lnTo>
                  <a:lnTo>
                    <a:pt x="162021" y="141869"/>
                  </a:lnTo>
                  <a:lnTo>
                    <a:pt x="165509" y="140974"/>
                  </a:lnTo>
                  <a:lnTo>
                    <a:pt x="169195" y="138586"/>
                  </a:lnTo>
                  <a:lnTo>
                    <a:pt x="172384" y="135303"/>
                  </a:lnTo>
                  <a:lnTo>
                    <a:pt x="174079" y="131622"/>
                  </a:lnTo>
                  <a:lnTo>
                    <a:pt x="174975" y="131622"/>
                  </a:lnTo>
                  <a:lnTo>
                    <a:pt x="175772" y="133214"/>
                  </a:lnTo>
                  <a:lnTo>
                    <a:pt x="176669" y="134805"/>
                  </a:lnTo>
                  <a:lnTo>
                    <a:pt x="176968" y="136198"/>
                  </a:lnTo>
                  <a:lnTo>
                    <a:pt x="175971" y="137293"/>
                  </a:lnTo>
                  <a:lnTo>
                    <a:pt x="181552" y="139581"/>
                  </a:lnTo>
                  <a:lnTo>
                    <a:pt x="188128" y="140476"/>
                  </a:lnTo>
                  <a:lnTo>
                    <a:pt x="194406" y="139879"/>
                  </a:lnTo>
                  <a:lnTo>
                    <a:pt x="196498" y="137591"/>
                  </a:lnTo>
                  <a:lnTo>
                    <a:pt x="196598" y="135402"/>
                  </a:lnTo>
                  <a:lnTo>
                    <a:pt x="197694" y="135303"/>
                  </a:lnTo>
                  <a:lnTo>
                    <a:pt x="198790" y="135701"/>
                  </a:lnTo>
                  <a:lnTo>
                    <a:pt x="199488" y="137094"/>
                  </a:lnTo>
                  <a:lnTo>
                    <a:pt x="200384" y="136099"/>
                  </a:lnTo>
                  <a:lnTo>
                    <a:pt x="200484" y="134507"/>
                  </a:lnTo>
                  <a:lnTo>
                    <a:pt x="200683" y="134905"/>
                  </a:lnTo>
                  <a:lnTo>
                    <a:pt x="201082" y="135402"/>
                  </a:lnTo>
                  <a:lnTo>
                    <a:pt x="202178" y="134507"/>
                  </a:lnTo>
                  <a:lnTo>
                    <a:pt x="202775" y="133612"/>
                  </a:lnTo>
                  <a:lnTo>
                    <a:pt x="203673" y="131622"/>
                  </a:lnTo>
                  <a:lnTo>
                    <a:pt x="203772" y="131025"/>
                  </a:lnTo>
                  <a:lnTo>
                    <a:pt x="203673" y="130527"/>
                  </a:lnTo>
                  <a:lnTo>
                    <a:pt x="203772" y="129931"/>
                  </a:lnTo>
                  <a:lnTo>
                    <a:pt x="204470" y="128737"/>
                  </a:lnTo>
                  <a:lnTo>
                    <a:pt x="206064" y="127046"/>
                  </a:lnTo>
                  <a:lnTo>
                    <a:pt x="210648" y="124160"/>
                  </a:lnTo>
                  <a:lnTo>
                    <a:pt x="210747" y="123762"/>
                  </a:lnTo>
                  <a:lnTo>
                    <a:pt x="210648" y="121872"/>
                  </a:lnTo>
                  <a:lnTo>
                    <a:pt x="210847" y="121275"/>
                  </a:lnTo>
                  <a:lnTo>
                    <a:pt x="211345" y="121375"/>
                  </a:lnTo>
                  <a:lnTo>
                    <a:pt x="211943" y="121574"/>
                  </a:lnTo>
                  <a:lnTo>
                    <a:pt x="212840" y="121176"/>
                  </a:lnTo>
                  <a:lnTo>
                    <a:pt x="213437" y="121375"/>
                  </a:lnTo>
                  <a:lnTo>
                    <a:pt x="213836" y="121375"/>
                  </a:lnTo>
                  <a:lnTo>
                    <a:pt x="214135" y="120877"/>
                  </a:lnTo>
                  <a:lnTo>
                    <a:pt x="214035" y="118987"/>
                  </a:lnTo>
                  <a:lnTo>
                    <a:pt x="214135" y="118688"/>
                  </a:lnTo>
                  <a:lnTo>
                    <a:pt x="215929" y="118191"/>
                  </a:lnTo>
                  <a:lnTo>
                    <a:pt x="217623" y="118291"/>
                  </a:lnTo>
                  <a:lnTo>
                    <a:pt x="221808" y="119485"/>
                  </a:lnTo>
                  <a:lnTo>
                    <a:pt x="225893" y="118987"/>
                  </a:lnTo>
                  <a:lnTo>
                    <a:pt x="228982" y="116002"/>
                  </a:lnTo>
                  <a:lnTo>
                    <a:pt x="236157" y="102174"/>
                  </a:lnTo>
                  <a:lnTo>
                    <a:pt x="239644" y="98592"/>
                  </a:lnTo>
                  <a:lnTo>
                    <a:pt x="243829" y="95806"/>
                  </a:lnTo>
                  <a:lnTo>
                    <a:pt x="252199" y="91429"/>
                  </a:lnTo>
                  <a:lnTo>
                    <a:pt x="254192" y="90832"/>
                  </a:lnTo>
                  <a:lnTo>
                    <a:pt x="257082" y="90633"/>
                  </a:lnTo>
                  <a:lnTo>
                    <a:pt x="258577" y="89638"/>
                  </a:lnTo>
                  <a:lnTo>
                    <a:pt x="266150" y="83172"/>
                  </a:lnTo>
                  <a:lnTo>
                    <a:pt x="270434" y="81679"/>
                  </a:lnTo>
                  <a:lnTo>
                    <a:pt x="272327" y="80485"/>
                  </a:lnTo>
                  <a:lnTo>
                    <a:pt x="273124" y="77998"/>
                  </a:lnTo>
                  <a:lnTo>
                    <a:pt x="273124" y="75312"/>
                  </a:lnTo>
                  <a:lnTo>
                    <a:pt x="273523" y="72626"/>
                  </a:lnTo>
                  <a:lnTo>
                    <a:pt x="274918" y="70437"/>
                  </a:lnTo>
                  <a:lnTo>
                    <a:pt x="277509" y="69044"/>
                  </a:lnTo>
                  <a:lnTo>
                    <a:pt x="280199" y="69044"/>
                  </a:lnTo>
                  <a:lnTo>
                    <a:pt x="293552" y="72626"/>
                  </a:lnTo>
                  <a:lnTo>
                    <a:pt x="298135" y="71531"/>
                  </a:lnTo>
                  <a:lnTo>
                    <a:pt x="304014" y="72825"/>
                  </a:lnTo>
                  <a:lnTo>
                    <a:pt x="305310" y="72526"/>
                  </a:lnTo>
                  <a:lnTo>
                    <a:pt x="307701" y="71233"/>
                  </a:lnTo>
                  <a:lnTo>
                    <a:pt x="309196" y="70935"/>
                  </a:lnTo>
                  <a:lnTo>
                    <a:pt x="315872" y="72626"/>
                  </a:lnTo>
                  <a:lnTo>
                    <a:pt x="324242" y="71531"/>
                  </a:lnTo>
                  <a:lnTo>
                    <a:pt x="328228" y="72526"/>
                  </a:lnTo>
                  <a:lnTo>
                    <a:pt x="330818" y="72825"/>
                  </a:lnTo>
                  <a:lnTo>
                    <a:pt x="333608" y="72526"/>
                  </a:lnTo>
                  <a:lnTo>
                    <a:pt x="338989" y="71830"/>
                  </a:lnTo>
                  <a:lnTo>
                    <a:pt x="348655" y="71830"/>
                  </a:lnTo>
                  <a:lnTo>
                    <a:pt x="357224" y="74317"/>
                  </a:lnTo>
                  <a:lnTo>
                    <a:pt x="361310" y="76009"/>
                  </a:lnTo>
                  <a:lnTo>
                    <a:pt x="374761" y="73720"/>
                  </a:lnTo>
                  <a:lnTo>
                    <a:pt x="384925" y="72825"/>
                  </a:lnTo>
                  <a:lnTo>
                    <a:pt x="389310" y="72725"/>
                  </a:lnTo>
                  <a:lnTo>
                    <a:pt x="400669" y="76705"/>
                  </a:lnTo>
                  <a:lnTo>
                    <a:pt x="405153" y="78396"/>
                  </a:lnTo>
                  <a:lnTo>
                    <a:pt x="409438" y="81679"/>
                  </a:lnTo>
                  <a:lnTo>
                    <a:pt x="411829" y="83569"/>
                  </a:lnTo>
                  <a:lnTo>
                    <a:pt x="415316" y="86554"/>
                  </a:lnTo>
                  <a:lnTo>
                    <a:pt x="417210" y="86653"/>
                  </a:lnTo>
                  <a:lnTo>
                    <a:pt x="419103" y="87251"/>
                  </a:lnTo>
                  <a:lnTo>
                    <a:pt x="419103" y="88743"/>
                  </a:lnTo>
                  <a:lnTo>
                    <a:pt x="418007" y="92523"/>
                  </a:lnTo>
                  <a:lnTo>
                    <a:pt x="418405" y="94712"/>
                  </a:lnTo>
                  <a:lnTo>
                    <a:pt x="417808" y="96005"/>
                  </a:lnTo>
                  <a:lnTo>
                    <a:pt x="418007" y="98791"/>
                  </a:lnTo>
                  <a:lnTo>
                    <a:pt x="416811" y="99289"/>
                  </a:lnTo>
                  <a:lnTo>
                    <a:pt x="415616" y="100482"/>
                  </a:lnTo>
                  <a:lnTo>
                    <a:pt x="413921" y="102174"/>
                  </a:lnTo>
                  <a:lnTo>
                    <a:pt x="412128" y="102671"/>
                  </a:lnTo>
                  <a:lnTo>
                    <a:pt x="410733" y="102970"/>
                  </a:lnTo>
                  <a:lnTo>
                    <a:pt x="408242" y="102970"/>
                  </a:lnTo>
                  <a:lnTo>
                    <a:pt x="406947" y="103666"/>
                  </a:lnTo>
                  <a:lnTo>
                    <a:pt x="405452" y="103368"/>
                  </a:lnTo>
                  <a:lnTo>
                    <a:pt x="400470" y="105556"/>
                  </a:lnTo>
                  <a:lnTo>
                    <a:pt x="393992" y="106551"/>
                  </a:lnTo>
                  <a:lnTo>
                    <a:pt x="391103" y="106352"/>
                  </a:lnTo>
                  <a:lnTo>
                    <a:pt x="387715" y="105556"/>
                  </a:lnTo>
                  <a:lnTo>
                    <a:pt x="385423" y="105954"/>
                  </a:lnTo>
                  <a:lnTo>
                    <a:pt x="381537" y="106253"/>
                  </a:lnTo>
                  <a:lnTo>
                    <a:pt x="378149" y="105755"/>
                  </a:lnTo>
                  <a:lnTo>
                    <a:pt x="373367" y="106949"/>
                  </a:lnTo>
                  <a:lnTo>
                    <a:pt x="358818" y="106452"/>
                  </a:lnTo>
                  <a:lnTo>
                    <a:pt x="357224" y="106949"/>
                  </a:lnTo>
                  <a:lnTo>
                    <a:pt x="355331" y="107745"/>
                  </a:lnTo>
                  <a:lnTo>
                    <a:pt x="353737" y="109038"/>
                  </a:lnTo>
                  <a:lnTo>
                    <a:pt x="353039" y="111227"/>
                  </a:lnTo>
                  <a:lnTo>
                    <a:pt x="354235" y="113515"/>
                  </a:lnTo>
                  <a:lnTo>
                    <a:pt x="356427" y="114610"/>
                  </a:lnTo>
                  <a:lnTo>
                    <a:pt x="358719" y="114908"/>
                  </a:lnTo>
                  <a:lnTo>
                    <a:pt x="360412" y="114809"/>
                  </a:lnTo>
                  <a:lnTo>
                    <a:pt x="360612" y="115405"/>
                  </a:lnTo>
                  <a:lnTo>
                    <a:pt x="362007" y="117893"/>
                  </a:lnTo>
                  <a:lnTo>
                    <a:pt x="362605" y="118688"/>
                  </a:lnTo>
                  <a:lnTo>
                    <a:pt x="363701" y="119086"/>
                  </a:lnTo>
                  <a:lnTo>
                    <a:pt x="366192" y="119285"/>
                  </a:lnTo>
                  <a:lnTo>
                    <a:pt x="367388" y="119982"/>
                  </a:lnTo>
                  <a:lnTo>
                    <a:pt x="369281" y="121574"/>
                  </a:lnTo>
                  <a:lnTo>
                    <a:pt x="371074" y="122569"/>
                  </a:lnTo>
                  <a:lnTo>
                    <a:pt x="389110" y="129831"/>
                  </a:lnTo>
                  <a:lnTo>
                    <a:pt x="391303" y="132120"/>
                  </a:lnTo>
                  <a:lnTo>
                    <a:pt x="391801" y="134109"/>
                  </a:lnTo>
                  <a:lnTo>
                    <a:pt x="392897" y="135900"/>
                  </a:lnTo>
                  <a:lnTo>
                    <a:pt x="396085" y="139482"/>
                  </a:lnTo>
                  <a:lnTo>
                    <a:pt x="397879" y="140178"/>
                  </a:lnTo>
                  <a:lnTo>
                    <a:pt x="403758" y="140974"/>
                  </a:lnTo>
                  <a:lnTo>
                    <a:pt x="405153" y="140974"/>
                  </a:lnTo>
                  <a:lnTo>
                    <a:pt x="404854" y="139979"/>
                  </a:lnTo>
                  <a:lnTo>
                    <a:pt x="404654" y="139581"/>
                  </a:lnTo>
                  <a:lnTo>
                    <a:pt x="404256" y="139083"/>
                  </a:lnTo>
                  <a:lnTo>
                    <a:pt x="406647" y="139382"/>
                  </a:lnTo>
                  <a:lnTo>
                    <a:pt x="407445" y="138984"/>
                  </a:lnTo>
                  <a:lnTo>
                    <a:pt x="407843" y="137293"/>
                  </a:lnTo>
                  <a:lnTo>
                    <a:pt x="408640" y="137293"/>
                  </a:lnTo>
                  <a:lnTo>
                    <a:pt x="410334" y="138089"/>
                  </a:lnTo>
                  <a:lnTo>
                    <a:pt x="413323" y="138387"/>
                  </a:lnTo>
                  <a:lnTo>
                    <a:pt x="416114" y="138288"/>
                  </a:lnTo>
                  <a:lnTo>
                    <a:pt x="417309" y="137691"/>
                  </a:lnTo>
                  <a:lnTo>
                    <a:pt x="418007" y="136198"/>
                  </a:lnTo>
                  <a:lnTo>
                    <a:pt x="419501" y="136298"/>
                  </a:lnTo>
                  <a:lnTo>
                    <a:pt x="420996" y="136895"/>
                  </a:lnTo>
                  <a:lnTo>
                    <a:pt x="421694" y="137293"/>
                  </a:lnTo>
                  <a:lnTo>
                    <a:pt x="426876" y="139083"/>
                  </a:lnTo>
                  <a:lnTo>
                    <a:pt x="427473" y="139482"/>
                  </a:lnTo>
                  <a:lnTo>
                    <a:pt x="427772" y="140675"/>
                  </a:lnTo>
                  <a:lnTo>
                    <a:pt x="428171" y="140974"/>
                  </a:lnTo>
                  <a:lnTo>
                    <a:pt x="428968" y="140775"/>
                  </a:lnTo>
                  <a:lnTo>
                    <a:pt x="429367" y="140476"/>
                  </a:lnTo>
                  <a:lnTo>
                    <a:pt x="429566" y="140078"/>
                  </a:lnTo>
                  <a:lnTo>
                    <a:pt x="429865" y="139979"/>
                  </a:lnTo>
                  <a:lnTo>
                    <a:pt x="431359" y="139482"/>
                  </a:lnTo>
                  <a:lnTo>
                    <a:pt x="433252" y="137691"/>
                  </a:lnTo>
                  <a:lnTo>
                    <a:pt x="434249" y="137293"/>
                  </a:lnTo>
                  <a:lnTo>
                    <a:pt x="435644" y="137691"/>
                  </a:lnTo>
                  <a:lnTo>
                    <a:pt x="438036" y="139482"/>
                  </a:lnTo>
                  <a:lnTo>
                    <a:pt x="439430" y="139979"/>
                  </a:lnTo>
                  <a:lnTo>
                    <a:pt x="445509" y="139979"/>
                  </a:lnTo>
                  <a:lnTo>
                    <a:pt x="450391" y="141969"/>
                  </a:lnTo>
                  <a:lnTo>
                    <a:pt x="453181" y="151022"/>
                  </a:lnTo>
                  <a:lnTo>
                    <a:pt x="457765" y="153111"/>
                  </a:lnTo>
                  <a:lnTo>
                    <a:pt x="459359" y="152713"/>
                  </a:lnTo>
                  <a:lnTo>
                    <a:pt x="459658" y="151918"/>
                  </a:lnTo>
                  <a:lnTo>
                    <a:pt x="459858" y="151022"/>
                  </a:lnTo>
                  <a:lnTo>
                    <a:pt x="460754" y="150325"/>
                  </a:lnTo>
                  <a:lnTo>
                    <a:pt x="461751" y="150624"/>
                  </a:lnTo>
                  <a:lnTo>
                    <a:pt x="462647" y="151420"/>
                  </a:lnTo>
                  <a:lnTo>
                    <a:pt x="463644" y="151918"/>
                  </a:lnTo>
                  <a:lnTo>
                    <a:pt x="465139" y="151221"/>
                  </a:lnTo>
                  <a:lnTo>
                    <a:pt x="465736" y="150226"/>
                  </a:lnTo>
                  <a:lnTo>
                    <a:pt x="465537" y="147640"/>
                  </a:lnTo>
                  <a:lnTo>
                    <a:pt x="465936" y="146545"/>
                  </a:lnTo>
                  <a:lnTo>
                    <a:pt x="466733" y="145948"/>
                  </a:lnTo>
                  <a:lnTo>
                    <a:pt x="470220" y="144655"/>
                  </a:lnTo>
                  <a:lnTo>
                    <a:pt x="471416" y="145550"/>
                  </a:lnTo>
                  <a:lnTo>
                    <a:pt x="473309" y="149530"/>
                  </a:lnTo>
                  <a:lnTo>
                    <a:pt x="473807" y="153808"/>
                  </a:lnTo>
                  <a:lnTo>
                    <a:pt x="472014" y="156792"/>
                  </a:lnTo>
                  <a:lnTo>
                    <a:pt x="474605" y="156991"/>
                  </a:lnTo>
                  <a:lnTo>
                    <a:pt x="475601" y="152813"/>
                  </a:lnTo>
                  <a:lnTo>
                    <a:pt x="475502" y="136298"/>
                  </a:lnTo>
                  <a:lnTo>
                    <a:pt x="473807" y="130527"/>
                  </a:lnTo>
                  <a:lnTo>
                    <a:pt x="473708" y="128737"/>
                  </a:lnTo>
                  <a:lnTo>
                    <a:pt x="474505" y="127344"/>
                  </a:lnTo>
                  <a:lnTo>
                    <a:pt x="476000" y="126946"/>
                  </a:lnTo>
                  <a:lnTo>
                    <a:pt x="477694" y="127245"/>
                  </a:lnTo>
                  <a:lnTo>
                    <a:pt x="479388" y="128339"/>
                  </a:lnTo>
                  <a:lnTo>
                    <a:pt x="482776" y="133612"/>
                  </a:lnTo>
                  <a:lnTo>
                    <a:pt x="483374" y="133910"/>
                  </a:lnTo>
                  <a:lnTo>
                    <a:pt x="482377" y="139680"/>
                  </a:lnTo>
                  <a:lnTo>
                    <a:pt x="482476" y="141869"/>
                  </a:lnTo>
                  <a:lnTo>
                    <a:pt x="482875" y="143163"/>
                  </a:lnTo>
                  <a:lnTo>
                    <a:pt x="486163" y="150127"/>
                  </a:lnTo>
                  <a:lnTo>
                    <a:pt x="487459" y="152116"/>
                  </a:lnTo>
                  <a:lnTo>
                    <a:pt x="489352" y="153509"/>
                  </a:lnTo>
                  <a:lnTo>
                    <a:pt x="494334" y="154504"/>
                  </a:lnTo>
                  <a:lnTo>
                    <a:pt x="499117" y="156991"/>
                  </a:lnTo>
                  <a:lnTo>
                    <a:pt x="501609" y="157787"/>
                  </a:lnTo>
                  <a:lnTo>
                    <a:pt x="512569" y="158882"/>
                  </a:lnTo>
                  <a:lnTo>
                    <a:pt x="530904" y="156892"/>
                  </a:lnTo>
                  <a:lnTo>
                    <a:pt x="546448" y="157986"/>
                  </a:lnTo>
                  <a:lnTo>
                    <a:pt x="562192" y="157588"/>
                  </a:lnTo>
                  <a:lnTo>
                    <a:pt x="567673" y="159578"/>
                  </a:lnTo>
                  <a:lnTo>
                    <a:pt x="568469" y="156395"/>
                  </a:lnTo>
                  <a:lnTo>
                    <a:pt x="567673" y="153111"/>
                  </a:lnTo>
                  <a:lnTo>
                    <a:pt x="565978" y="150027"/>
                  </a:lnTo>
                  <a:lnTo>
                    <a:pt x="564085" y="147440"/>
                  </a:lnTo>
                  <a:lnTo>
                    <a:pt x="560299" y="144655"/>
                  </a:lnTo>
                  <a:lnTo>
                    <a:pt x="559103" y="142864"/>
                  </a:lnTo>
                  <a:lnTo>
                    <a:pt x="559800" y="139979"/>
                  </a:lnTo>
                  <a:lnTo>
                    <a:pt x="561594" y="140775"/>
                  </a:lnTo>
                  <a:lnTo>
                    <a:pt x="563487" y="140974"/>
                  </a:lnTo>
                  <a:lnTo>
                    <a:pt x="565082" y="140476"/>
                  </a:lnTo>
                  <a:lnTo>
                    <a:pt x="565978" y="139083"/>
                  </a:lnTo>
                  <a:lnTo>
                    <a:pt x="566975" y="140675"/>
                  </a:lnTo>
                  <a:lnTo>
                    <a:pt x="568071" y="141869"/>
                  </a:lnTo>
                  <a:lnTo>
                    <a:pt x="571160" y="143759"/>
                  </a:lnTo>
                  <a:lnTo>
                    <a:pt x="569267" y="145749"/>
                  </a:lnTo>
                  <a:lnTo>
                    <a:pt x="569466" y="147440"/>
                  </a:lnTo>
                  <a:lnTo>
                    <a:pt x="571060" y="148435"/>
                  </a:lnTo>
                  <a:lnTo>
                    <a:pt x="573551" y="148435"/>
                  </a:lnTo>
                  <a:lnTo>
                    <a:pt x="573452" y="150226"/>
                  </a:lnTo>
                  <a:lnTo>
                    <a:pt x="574548" y="150325"/>
                  </a:lnTo>
                  <a:lnTo>
                    <a:pt x="576142" y="149928"/>
                  </a:lnTo>
                  <a:lnTo>
                    <a:pt x="577138" y="150325"/>
                  </a:lnTo>
                  <a:lnTo>
                    <a:pt x="577138" y="151420"/>
                  </a:lnTo>
                  <a:lnTo>
                    <a:pt x="576541" y="152514"/>
                  </a:lnTo>
                  <a:lnTo>
                    <a:pt x="575943" y="153708"/>
                  </a:lnTo>
                  <a:lnTo>
                    <a:pt x="575445" y="154902"/>
                  </a:lnTo>
                  <a:lnTo>
                    <a:pt x="576142" y="154504"/>
                  </a:lnTo>
                  <a:lnTo>
                    <a:pt x="578035" y="154006"/>
                  </a:lnTo>
                  <a:lnTo>
                    <a:pt x="576342" y="155499"/>
                  </a:lnTo>
                  <a:lnTo>
                    <a:pt x="574149" y="156096"/>
                  </a:lnTo>
                  <a:lnTo>
                    <a:pt x="571957" y="156195"/>
                  </a:lnTo>
                  <a:lnTo>
                    <a:pt x="570164" y="155897"/>
                  </a:lnTo>
                  <a:lnTo>
                    <a:pt x="570164" y="157489"/>
                  </a:lnTo>
                  <a:lnTo>
                    <a:pt x="570562" y="158384"/>
                  </a:lnTo>
                  <a:lnTo>
                    <a:pt x="571957" y="159578"/>
                  </a:lnTo>
                  <a:lnTo>
                    <a:pt x="572356" y="159777"/>
                  </a:lnTo>
                  <a:lnTo>
                    <a:pt x="573950" y="159479"/>
                  </a:lnTo>
                  <a:lnTo>
                    <a:pt x="574548" y="159578"/>
                  </a:lnTo>
                  <a:lnTo>
                    <a:pt x="575046" y="160374"/>
                  </a:lnTo>
                  <a:lnTo>
                    <a:pt x="575146" y="161070"/>
                  </a:lnTo>
                  <a:lnTo>
                    <a:pt x="575146" y="161767"/>
                  </a:lnTo>
                  <a:lnTo>
                    <a:pt x="575445" y="162364"/>
                  </a:lnTo>
                  <a:lnTo>
                    <a:pt x="589196" y="177187"/>
                  </a:lnTo>
                  <a:lnTo>
                    <a:pt x="593082" y="180570"/>
                  </a:lnTo>
                  <a:lnTo>
                    <a:pt x="597366" y="181863"/>
                  </a:lnTo>
                  <a:lnTo>
                    <a:pt x="894106" y="181863"/>
                  </a:lnTo>
                  <a:lnTo>
                    <a:pt x="892014" y="177983"/>
                  </a:lnTo>
                  <a:lnTo>
                    <a:pt x="891516" y="17688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8BCD2F19-047C-4189-8743-61001CDAF628}"/>
                </a:ext>
              </a:extLst>
            </p:cNvPr>
            <p:cNvSpPr/>
            <p:nvPr/>
          </p:nvSpPr>
          <p:spPr>
            <a:xfrm>
              <a:off x="3977624" y="4644109"/>
              <a:ext cx="4484" cy="6765"/>
            </a:xfrm>
            <a:custGeom>
              <a:avLst/>
              <a:gdLst>
                <a:gd name="connsiteX0" fmla="*/ 3487 w 4484"/>
                <a:gd name="connsiteY0" fmla="*/ 2985 h 6765"/>
                <a:gd name="connsiteX1" fmla="*/ 2391 w 4484"/>
                <a:gd name="connsiteY1" fmla="*/ 895 h 6765"/>
                <a:gd name="connsiteX2" fmla="*/ 1694 w 4484"/>
                <a:gd name="connsiteY2" fmla="*/ 0 h 6765"/>
                <a:gd name="connsiteX3" fmla="*/ 1295 w 4484"/>
                <a:gd name="connsiteY3" fmla="*/ 298 h 6765"/>
                <a:gd name="connsiteX4" fmla="*/ 1993 w 4484"/>
                <a:gd name="connsiteY4" fmla="*/ 2586 h 6765"/>
                <a:gd name="connsiteX5" fmla="*/ 2092 w 4484"/>
                <a:gd name="connsiteY5" fmla="*/ 3382 h 6765"/>
                <a:gd name="connsiteX6" fmla="*/ 1395 w 4484"/>
                <a:gd name="connsiteY6" fmla="*/ 2885 h 6765"/>
                <a:gd name="connsiteX7" fmla="*/ 598 w 4484"/>
                <a:gd name="connsiteY7" fmla="*/ 2586 h 6765"/>
                <a:gd name="connsiteX8" fmla="*/ 0 w 4484"/>
                <a:gd name="connsiteY8" fmla="*/ 2785 h 6765"/>
                <a:gd name="connsiteX9" fmla="*/ 199 w 4484"/>
                <a:gd name="connsiteY9" fmla="*/ 3880 h 6765"/>
                <a:gd name="connsiteX10" fmla="*/ 896 w 4484"/>
                <a:gd name="connsiteY10" fmla="*/ 5670 h 6765"/>
                <a:gd name="connsiteX11" fmla="*/ 1993 w 4484"/>
                <a:gd name="connsiteY11" fmla="*/ 6765 h 6765"/>
                <a:gd name="connsiteX12" fmla="*/ 3487 w 4484"/>
                <a:gd name="connsiteY12" fmla="*/ 6765 h 6765"/>
                <a:gd name="connsiteX13" fmla="*/ 4484 w 4484"/>
                <a:gd name="connsiteY13" fmla="*/ 5770 h 6765"/>
                <a:gd name="connsiteX14" fmla="*/ 3985 w 4484"/>
                <a:gd name="connsiteY14" fmla="*/ 3979 h 6765"/>
                <a:gd name="connsiteX15" fmla="*/ 3487 w 4484"/>
                <a:gd name="connsiteY15" fmla="*/ 2985 h 6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84" h="6765">
                  <a:moveTo>
                    <a:pt x="3487" y="2985"/>
                  </a:moveTo>
                  <a:lnTo>
                    <a:pt x="2391" y="895"/>
                  </a:lnTo>
                  <a:lnTo>
                    <a:pt x="1694" y="0"/>
                  </a:lnTo>
                  <a:lnTo>
                    <a:pt x="1295" y="298"/>
                  </a:lnTo>
                  <a:lnTo>
                    <a:pt x="1993" y="2586"/>
                  </a:lnTo>
                  <a:lnTo>
                    <a:pt x="2092" y="3382"/>
                  </a:lnTo>
                  <a:lnTo>
                    <a:pt x="1395" y="2885"/>
                  </a:lnTo>
                  <a:lnTo>
                    <a:pt x="598" y="2586"/>
                  </a:lnTo>
                  <a:lnTo>
                    <a:pt x="0" y="2785"/>
                  </a:lnTo>
                  <a:lnTo>
                    <a:pt x="199" y="3880"/>
                  </a:lnTo>
                  <a:lnTo>
                    <a:pt x="896" y="5670"/>
                  </a:lnTo>
                  <a:lnTo>
                    <a:pt x="1993" y="6765"/>
                  </a:lnTo>
                  <a:lnTo>
                    <a:pt x="3487" y="6765"/>
                  </a:lnTo>
                  <a:lnTo>
                    <a:pt x="4484" y="5770"/>
                  </a:lnTo>
                  <a:lnTo>
                    <a:pt x="3985" y="3979"/>
                  </a:lnTo>
                  <a:lnTo>
                    <a:pt x="3487" y="298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2" name="Freeform: Shape 1151">
              <a:extLst>
                <a:ext uri="{FF2B5EF4-FFF2-40B4-BE49-F238E27FC236}">
                  <a16:creationId xmlns:a16="http://schemas.microsoft.com/office/drawing/2014/main" id="{AFAAFB93-33D7-4717-AF61-8D2934D338F6}"/>
                </a:ext>
              </a:extLst>
            </p:cNvPr>
            <p:cNvSpPr/>
            <p:nvPr/>
          </p:nvSpPr>
          <p:spPr>
            <a:xfrm>
              <a:off x="3977125" y="4638935"/>
              <a:ext cx="1095" cy="3780"/>
            </a:xfrm>
            <a:custGeom>
              <a:avLst/>
              <a:gdLst>
                <a:gd name="connsiteX0" fmla="*/ 996 w 1095"/>
                <a:gd name="connsiteY0" fmla="*/ 3681 h 3780"/>
                <a:gd name="connsiteX1" fmla="*/ 1096 w 1095"/>
                <a:gd name="connsiteY1" fmla="*/ 2487 h 3780"/>
                <a:gd name="connsiteX2" fmla="*/ 797 w 1095"/>
                <a:gd name="connsiteY2" fmla="*/ 199 h 3780"/>
                <a:gd name="connsiteX3" fmla="*/ 199 w 1095"/>
                <a:gd name="connsiteY3" fmla="*/ 0 h 3780"/>
                <a:gd name="connsiteX4" fmla="*/ 0 w 1095"/>
                <a:gd name="connsiteY4" fmla="*/ 3482 h 3780"/>
                <a:gd name="connsiteX5" fmla="*/ 498 w 1095"/>
                <a:gd name="connsiteY5" fmla="*/ 3781 h 3780"/>
                <a:gd name="connsiteX6" fmla="*/ 996 w 1095"/>
                <a:gd name="connsiteY6" fmla="*/ 3681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5" h="3780">
                  <a:moveTo>
                    <a:pt x="996" y="3681"/>
                  </a:moveTo>
                  <a:lnTo>
                    <a:pt x="1096" y="2487"/>
                  </a:lnTo>
                  <a:lnTo>
                    <a:pt x="797" y="199"/>
                  </a:lnTo>
                  <a:lnTo>
                    <a:pt x="199" y="0"/>
                  </a:lnTo>
                  <a:lnTo>
                    <a:pt x="0" y="3482"/>
                  </a:lnTo>
                  <a:lnTo>
                    <a:pt x="498" y="3781"/>
                  </a:lnTo>
                  <a:lnTo>
                    <a:pt x="996" y="368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3" name="Freeform: Shape 1152">
              <a:extLst>
                <a:ext uri="{FF2B5EF4-FFF2-40B4-BE49-F238E27FC236}">
                  <a16:creationId xmlns:a16="http://schemas.microsoft.com/office/drawing/2014/main" id="{24844DD6-9867-477D-86F6-EB2EBB43714E}"/>
                </a:ext>
              </a:extLst>
            </p:cNvPr>
            <p:cNvSpPr/>
            <p:nvPr/>
          </p:nvSpPr>
          <p:spPr>
            <a:xfrm>
              <a:off x="3968257" y="4621923"/>
              <a:ext cx="2689" cy="5471"/>
            </a:xfrm>
            <a:custGeom>
              <a:avLst/>
              <a:gdLst>
                <a:gd name="connsiteX0" fmla="*/ 1494 w 2689"/>
                <a:gd name="connsiteY0" fmla="*/ 2288 h 5471"/>
                <a:gd name="connsiteX1" fmla="*/ 1295 w 2689"/>
                <a:gd name="connsiteY1" fmla="*/ 1393 h 5471"/>
                <a:gd name="connsiteX2" fmla="*/ 498 w 2689"/>
                <a:gd name="connsiteY2" fmla="*/ 0 h 5471"/>
                <a:gd name="connsiteX3" fmla="*/ 0 w 2689"/>
                <a:gd name="connsiteY3" fmla="*/ 298 h 5471"/>
                <a:gd name="connsiteX4" fmla="*/ 498 w 2689"/>
                <a:gd name="connsiteY4" fmla="*/ 2288 h 5471"/>
                <a:gd name="connsiteX5" fmla="*/ 1295 w 2689"/>
                <a:gd name="connsiteY5" fmla="*/ 4377 h 5471"/>
                <a:gd name="connsiteX6" fmla="*/ 2292 w 2689"/>
                <a:gd name="connsiteY6" fmla="*/ 5472 h 5471"/>
                <a:gd name="connsiteX7" fmla="*/ 2690 w 2689"/>
                <a:gd name="connsiteY7" fmla="*/ 4775 h 5471"/>
                <a:gd name="connsiteX8" fmla="*/ 1993 w 2689"/>
                <a:gd name="connsiteY8" fmla="*/ 3084 h 5471"/>
                <a:gd name="connsiteX9" fmla="*/ 1494 w 2689"/>
                <a:gd name="connsiteY9" fmla="*/ 2288 h 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89" h="5471">
                  <a:moveTo>
                    <a:pt x="1494" y="2288"/>
                  </a:moveTo>
                  <a:lnTo>
                    <a:pt x="1295" y="1393"/>
                  </a:lnTo>
                  <a:lnTo>
                    <a:pt x="498" y="0"/>
                  </a:lnTo>
                  <a:lnTo>
                    <a:pt x="0" y="298"/>
                  </a:lnTo>
                  <a:lnTo>
                    <a:pt x="498" y="2288"/>
                  </a:lnTo>
                  <a:lnTo>
                    <a:pt x="1295" y="4377"/>
                  </a:lnTo>
                  <a:lnTo>
                    <a:pt x="2292" y="5472"/>
                  </a:lnTo>
                  <a:lnTo>
                    <a:pt x="2690" y="4775"/>
                  </a:lnTo>
                  <a:lnTo>
                    <a:pt x="1993" y="3084"/>
                  </a:lnTo>
                  <a:lnTo>
                    <a:pt x="1494" y="228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4" name="Freeform: Shape 1153">
              <a:extLst>
                <a:ext uri="{FF2B5EF4-FFF2-40B4-BE49-F238E27FC236}">
                  <a16:creationId xmlns:a16="http://schemas.microsoft.com/office/drawing/2014/main" id="{F8BDA9FE-A8AE-482B-B2E2-0AF21266B87F}"/>
                </a:ext>
              </a:extLst>
            </p:cNvPr>
            <p:cNvSpPr/>
            <p:nvPr/>
          </p:nvSpPr>
          <p:spPr>
            <a:xfrm>
              <a:off x="4305154" y="4612173"/>
              <a:ext cx="53209" cy="23379"/>
            </a:xfrm>
            <a:custGeom>
              <a:avLst/>
              <a:gdLst>
                <a:gd name="connsiteX0" fmla="*/ 51018 w 53209"/>
                <a:gd name="connsiteY0" fmla="*/ 14525 h 23379"/>
                <a:gd name="connsiteX1" fmla="*/ 48527 w 53209"/>
                <a:gd name="connsiteY1" fmla="*/ 14525 h 23379"/>
                <a:gd name="connsiteX2" fmla="*/ 47231 w 53209"/>
                <a:gd name="connsiteY2" fmla="*/ 13630 h 23379"/>
                <a:gd name="connsiteX3" fmla="*/ 45637 w 53209"/>
                <a:gd name="connsiteY3" fmla="*/ 11640 h 23379"/>
                <a:gd name="connsiteX4" fmla="*/ 44640 w 53209"/>
                <a:gd name="connsiteY4" fmla="*/ 10745 h 23379"/>
                <a:gd name="connsiteX5" fmla="*/ 43744 w 53209"/>
                <a:gd name="connsiteY5" fmla="*/ 10347 h 23379"/>
                <a:gd name="connsiteX6" fmla="*/ 40854 w 53209"/>
                <a:gd name="connsiteY6" fmla="*/ 10247 h 23379"/>
                <a:gd name="connsiteX7" fmla="*/ 38562 w 53209"/>
                <a:gd name="connsiteY7" fmla="*/ 9949 h 23379"/>
                <a:gd name="connsiteX8" fmla="*/ 36569 w 53209"/>
                <a:gd name="connsiteY8" fmla="*/ 9053 h 23379"/>
                <a:gd name="connsiteX9" fmla="*/ 34576 w 53209"/>
                <a:gd name="connsiteY9" fmla="*/ 7561 h 23379"/>
                <a:gd name="connsiteX10" fmla="*/ 33182 w 53209"/>
                <a:gd name="connsiteY10" fmla="*/ 8257 h 23379"/>
                <a:gd name="connsiteX11" fmla="*/ 31189 w 53209"/>
                <a:gd name="connsiteY11" fmla="*/ 7660 h 23379"/>
                <a:gd name="connsiteX12" fmla="*/ 26904 w 53209"/>
                <a:gd name="connsiteY12" fmla="*/ 5571 h 23379"/>
                <a:gd name="connsiteX13" fmla="*/ 28000 w 53209"/>
                <a:gd name="connsiteY13" fmla="*/ 7760 h 23379"/>
                <a:gd name="connsiteX14" fmla="*/ 28698 w 53209"/>
                <a:gd name="connsiteY14" fmla="*/ 8556 h 23379"/>
                <a:gd name="connsiteX15" fmla="*/ 25609 w 53209"/>
                <a:gd name="connsiteY15" fmla="*/ 8456 h 23379"/>
                <a:gd name="connsiteX16" fmla="*/ 19131 w 53209"/>
                <a:gd name="connsiteY16" fmla="*/ 3979 h 23379"/>
                <a:gd name="connsiteX17" fmla="*/ 15943 w 53209"/>
                <a:gd name="connsiteY17" fmla="*/ 2786 h 23379"/>
                <a:gd name="connsiteX18" fmla="*/ 14947 w 53209"/>
                <a:gd name="connsiteY18" fmla="*/ 2686 h 23379"/>
                <a:gd name="connsiteX19" fmla="*/ 13053 w 53209"/>
                <a:gd name="connsiteY19" fmla="*/ 1990 h 23379"/>
                <a:gd name="connsiteX20" fmla="*/ 12156 w 53209"/>
                <a:gd name="connsiteY20" fmla="*/ 1990 h 23379"/>
                <a:gd name="connsiteX21" fmla="*/ 11260 w 53209"/>
                <a:gd name="connsiteY21" fmla="*/ 2288 h 23379"/>
                <a:gd name="connsiteX22" fmla="*/ 10263 w 53209"/>
                <a:gd name="connsiteY22" fmla="*/ 2885 h 23379"/>
                <a:gd name="connsiteX23" fmla="*/ 9466 w 53209"/>
                <a:gd name="connsiteY23" fmla="*/ 3581 h 23379"/>
                <a:gd name="connsiteX24" fmla="*/ 9565 w 53209"/>
                <a:gd name="connsiteY24" fmla="*/ 3781 h 23379"/>
                <a:gd name="connsiteX25" fmla="*/ 7573 w 53209"/>
                <a:gd name="connsiteY25" fmla="*/ 3581 h 23379"/>
                <a:gd name="connsiteX26" fmla="*/ 6477 w 53209"/>
                <a:gd name="connsiteY26" fmla="*/ 2885 h 23379"/>
                <a:gd name="connsiteX27" fmla="*/ 4285 w 53209"/>
                <a:gd name="connsiteY27" fmla="*/ 0 h 23379"/>
                <a:gd name="connsiteX28" fmla="*/ 2989 w 53209"/>
                <a:gd name="connsiteY28" fmla="*/ 1094 h 23379"/>
                <a:gd name="connsiteX29" fmla="*/ 2989 w 53209"/>
                <a:gd name="connsiteY29" fmla="*/ 2388 h 23379"/>
                <a:gd name="connsiteX30" fmla="*/ 3189 w 53209"/>
                <a:gd name="connsiteY30" fmla="*/ 3781 h 23379"/>
                <a:gd name="connsiteX31" fmla="*/ 2591 w 53209"/>
                <a:gd name="connsiteY31" fmla="*/ 5571 h 23379"/>
                <a:gd name="connsiteX32" fmla="*/ 1794 w 53209"/>
                <a:gd name="connsiteY32" fmla="*/ 6964 h 23379"/>
                <a:gd name="connsiteX33" fmla="*/ 1893 w 53209"/>
                <a:gd name="connsiteY33" fmla="*/ 7561 h 23379"/>
                <a:gd name="connsiteX34" fmla="*/ 2591 w 53209"/>
                <a:gd name="connsiteY34" fmla="*/ 8556 h 23379"/>
                <a:gd name="connsiteX35" fmla="*/ 299 w 53209"/>
                <a:gd name="connsiteY35" fmla="*/ 10347 h 23379"/>
                <a:gd name="connsiteX36" fmla="*/ 0 w 53209"/>
                <a:gd name="connsiteY36" fmla="*/ 11640 h 23379"/>
                <a:gd name="connsiteX37" fmla="*/ 1196 w 53209"/>
                <a:gd name="connsiteY37" fmla="*/ 12536 h 23379"/>
                <a:gd name="connsiteX38" fmla="*/ 3388 w 53209"/>
                <a:gd name="connsiteY38" fmla="*/ 13132 h 23379"/>
                <a:gd name="connsiteX39" fmla="*/ 8171 w 53209"/>
                <a:gd name="connsiteY39" fmla="*/ 14127 h 23379"/>
                <a:gd name="connsiteX40" fmla="*/ 8868 w 53209"/>
                <a:gd name="connsiteY40" fmla="*/ 14426 h 23379"/>
                <a:gd name="connsiteX41" fmla="*/ 9466 w 53209"/>
                <a:gd name="connsiteY41" fmla="*/ 15023 h 23379"/>
                <a:gd name="connsiteX42" fmla="*/ 10363 w 53209"/>
                <a:gd name="connsiteY42" fmla="*/ 15719 h 23379"/>
                <a:gd name="connsiteX43" fmla="*/ 11658 w 53209"/>
                <a:gd name="connsiteY43" fmla="*/ 16017 h 23379"/>
                <a:gd name="connsiteX44" fmla="*/ 14747 w 53209"/>
                <a:gd name="connsiteY44" fmla="*/ 15420 h 23379"/>
                <a:gd name="connsiteX45" fmla="*/ 19829 w 53209"/>
                <a:gd name="connsiteY45" fmla="*/ 12734 h 23379"/>
                <a:gd name="connsiteX46" fmla="*/ 22520 w 53209"/>
                <a:gd name="connsiteY46" fmla="*/ 12137 h 23379"/>
                <a:gd name="connsiteX47" fmla="*/ 23516 w 53209"/>
                <a:gd name="connsiteY47" fmla="*/ 12536 h 23379"/>
                <a:gd name="connsiteX48" fmla="*/ 24114 w 53209"/>
                <a:gd name="connsiteY48" fmla="*/ 13132 h 23379"/>
                <a:gd name="connsiteX49" fmla="*/ 25011 w 53209"/>
                <a:gd name="connsiteY49" fmla="*/ 13829 h 23379"/>
                <a:gd name="connsiteX50" fmla="*/ 26405 w 53209"/>
                <a:gd name="connsiteY50" fmla="*/ 14127 h 23379"/>
                <a:gd name="connsiteX51" fmla="*/ 27502 w 53209"/>
                <a:gd name="connsiteY51" fmla="*/ 13928 h 23379"/>
                <a:gd name="connsiteX52" fmla="*/ 29395 w 53209"/>
                <a:gd name="connsiteY52" fmla="*/ 13232 h 23379"/>
                <a:gd name="connsiteX53" fmla="*/ 30790 w 53209"/>
                <a:gd name="connsiteY53" fmla="*/ 13132 h 23379"/>
                <a:gd name="connsiteX54" fmla="*/ 33978 w 53209"/>
                <a:gd name="connsiteY54" fmla="*/ 13232 h 23379"/>
                <a:gd name="connsiteX55" fmla="*/ 36271 w 53209"/>
                <a:gd name="connsiteY55" fmla="*/ 13829 h 23379"/>
                <a:gd name="connsiteX56" fmla="*/ 38263 w 53209"/>
                <a:gd name="connsiteY56" fmla="*/ 14923 h 23379"/>
                <a:gd name="connsiteX57" fmla="*/ 40854 w 53209"/>
                <a:gd name="connsiteY57" fmla="*/ 16813 h 23379"/>
                <a:gd name="connsiteX58" fmla="*/ 46733 w 53209"/>
                <a:gd name="connsiteY58" fmla="*/ 22584 h 23379"/>
                <a:gd name="connsiteX59" fmla="*/ 49025 w 53209"/>
                <a:gd name="connsiteY59" fmla="*/ 23380 h 23379"/>
                <a:gd name="connsiteX60" fmla="*/ 51018 w 53209"/>
                <a:gd name="connsiteY60" fmla="*/ 22385 h 23379"/>
                <a:gd name="connsiteX61" fmla="*/ 52612 w 53209"/>
                <a:gd name="connsiteY61" fmla="*/ 20196 h 23379"/>
                <a:gd name="connsiteX62" fmla="*/ 53210 w 53209"/>
                <a:gd name="connsiteY62" fmla="*/ 17410 h 23379"/>
                <a:gd name="connsiteX63" fmla="*/ 52114 w 53209"/>
                <a:gd name="connsiteY63" fmla="*/ 14923 h 23379"/>
                <a:gd name="connsiteX64" fmla="*/ 51018 w 53209"/>
                <a:gd name="connsiteY64" fmla="*/ 14525 h 2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53209" h="23379">
                  <a:moveTo>
                    <a:pt x="51018" y="14525"/>
                  </a:moveTo>
                  <a:lnTo>
                    <a:pt x="48527" y="14525"/>
                  </a:lnTo>
                  <a:lnTo>
                    <a:pt x="47231" y="13630"/>
                  </a:lnTo>
                  <a:lnTo>
                    <a:pt x="45637" y="11640"/>
                  </a:lnTo>
                  <a:lnTo>
                    <a:pt x="44640" y="10745"/>
                  </a:lnTo>
                  <a:lnTo>
                    <a:pt x="43744" y="10347"/>
                  </a:lnTo>
                  <a:lnTo>
                    <a:pt x="40854" y="10247"/>
                  </a:lnTo>
                  <a:lnTo>
                    <a:pt x="38562" y="9949"/>
                  </a:lnTo>
                  <a:lnTo>
                    <a:pt x="36569" y="9053"/>
                  </a:lnTo>
                  <a:lnTo>
                    <a:pt x="34576" y="7561"/>
                  </a:lnTo>
                  <a:lnTo>
                    <a:pt x="33182" y="8257"/>
                  </a:lnTo>
                  <a:lnTo>
                    <a:pt x="31189" y="7660"/>
                  </a:lnTo>
                  <a:lnTo>
                    <a:pt x="26904" y="5571"/>
                  </a:lnTo>
                  <a:lnTo>
                    <a:pt x="28000" y="7760"/>
                  </a:lnTo>
                  <a:lnTo>
                    <a:pt x="28698" y="8556"/>
                  </a:lnTo>
                  <a:lnTo>
                    <a:pt x="25609" y="8456"/>
                  </a:lnTo>
                  <a:lnTo>
                    <a:pt x="19131" y="3979"/>
                  </a:lnTo>
                  <a:lnTo>
                    <a:pt x="15943" y="2786"/>
                  </a:lnTo>
                  <a:lnTo>
                    <a:pt x="14947" y="2686"/>
                  </a:lnTo>
                  <a:lnTo>
                    <a:pt x="13053" y="1990"/>
                  </a:lnTo>
                  <a:lnTo>
                    <a:pt x="12156" y="1990"/>
                  </a:lnTo>
                  <a:lnTo>
                    <a:pt x="11260" y="2288"/>
                  </a:lnTo>
                  <a:lnTo>
                    <a:pt x="10263" y="2885"/>
                  </a:lnTo>
                  <a:lnTo>
                    <a:pt x="9466" y="3581"/>
                  </a:lnTo>
                  <a:lnTo>
                    <a:pt x="9565" y="3781"/>
                  </a:lnTo>
                  <a:lnTo>
                    <a:pt x="7573" y="3581"/>
                  </a:lnTo>
                  <a:lnTo>
                    <a:pt x="6477" y="2885"/>
                  </a:lnTo>
                  <a:lnTo>
                    <a:pt x="4285" y="0"/>
                  </a:lnTo>
                  <a:lnTo>
                    <a:pt x="2989" y="1094"/>
                  </a:lnTo>
                  <a:lnTo>
                    <a:pt x="2989" y="2388"/>
                  </a:lnTo>
                  <a:lnTo>
                    <a:pt x="3189" y="3781"/>
                  </a:lnTo>
                  <a:lnTo>
                    <a:pt x="2591" y="5571"/>
                  </a:lnTo>
                  <a:lnTo>
                    <a:pt x="1794" y="6964"/>
                  </a:lnTo>
                  <a:lnTo>
                    <a:pt x="1893" y="7561"/>
                  </a:lnTo>
                  <a:lnTo>
                    <a:pt x="2591" y="8556"/>
                  </a:lnTo>
                  <a:lnTo>
                    <a:pt x="299" y="10347"/>
                  </a:lnTo>
                  <a:lnTo>
                    <a:pt x="0" y="11640"/>
                  </a:lnTo>
                  <a:lnTo>
                    <a:pt x="1196" y="12536"/>
                  </a:lnTo>
                  <a:lnTo>
                    <a:pt x="3388" y="13132"/>
                  </a:lnTo>
                  <a:lnTo>
                    <a:pt x="8171" y="14127"/>
                  </a:lnTo>
                  <a:lnTo>
                    <a:pt x="8868" y="14426"/>
                  </a:lnTo>
                  <a:lnTo>
                    <a:pt x="9466" y="15023"/>
                  </a:lnTo>
                  <a:lnTo>
                    <a:pt x="10363" y="15719"/>
                  </a:lnTo>
                  <a:lnTo>
                    <a:pt x="11658" y="16017"/>
                  </a:lnTo>
                  <a:lnTo>
                    <a:pt x="14747" y="15420"/>
                  </a:lnTo>
                  <a:lnTo>
                    <a:pt x="19829" y="12734"/>
                  </a:lnTo>
                  <a:lnTo>
                    <a:pt x="22520" y="12137"/>
                  </a:lnTo>
                  <a:lnTo>
                    <a:pt x="23516" y="12536"/>
                  </a:lnTo>
                  <a:lnTo>
                    <a:pt x="24114" y="13132"/>
                  </a:lnTo>
                  <a:lnTo>
                    <a:pt x="25011" y="13829"/>
                  </a:lnTo>
                  <a:lnTo>
                    <a:pt x="26405" y="14127"/>
                  </a:lnTo>
                  <a:lnTo>
                    <a:pt x="27502" y="13928"/>
                  </a:lnTo>
                  <a:lnTo>
                    <a:pt x="29395" y="13232"/>
                  </a:lnTo>
                  <a:lnTo>
                    <a:pt x="30790" y="13132"/>
                  </a:lnTo>
                  <a:lnTo>
                    <a:pt x="33978" y="13232"/>
                  </a:lnTo>
                  <a:lnTo>
                    <a:pt x="36271" y="13829"/>
                  </a:lnTo>
                  <a:lnTo>
                    <a:pt x="38263" y="14923"/>
                  </a:lnTo>
                  <a:lnTo>
                    <a:pt x="40854" y="16813"/>
                  </a:lnTo>
                  <a:lnTo>
                    <a:pt x="46733" y="22584"/>
                  </a:lnTo>
                  <a:lnTo>
                    <a:pt x="49025" y="23380"/>
                  </a:lnTo>
                  <a:lnTo>
                    <a:pt x="51018" y="22385"/>
                  </a:lnTo>
                  <a:lnTo>
                    <a:pt x="52612" y="20196"/>
                  </a:lnTo>
                  <a:lnTo>
                    <a:pt x="53210" y="17410"/>
                  </a:lnTo>
                  <a:lnTo>
                    <a:pt x="52114" y="14923"/>
                  </a:lnTo>
                  <a:lnTo>
                    <a:pt x="51018" y="1452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5" name="Freeform: Shape 1154">
              <a:extLst>
                <a:ext uri="{FF2B5EF4-FFF2-40B4-BE49-F238E27FC236}">
                  <a16:creationId xmlns:a16="http://schemas.microsoft.com/office/drawing/2014/main" id="{70EE0078-7E0A-4771-91DA-4FBA59BAF59B}"/>
                </a:ext>
              </a:extLst>
            </p:cNvPr>
            <p:cNvSpPr/>
            <p:nvPr/>
          </p:nvSpPr>
          <p:spPr>
            <a:xfrm>
              <a:off x="4246861" y="4591778"/>
              <a:ext cx="4085" cy="4775"/>
            </a:xfrm>
            <a:custGeom>
              <a:avLst/>
              <a:gdLst>
                <a:gd name="connsiteX0" fmla="*/ 997 w 4085"/>
                <a:gd name="connsiteY0" fmla="*/ 1094 h 4775"/>
                <a:gd name="connsiteX1" fmla="*/ 0 w 4085"/>
                <a:gd name="connsiteY1" fmla="*/ 4775 h 4775"/>
                <a:gd name="connsiteX2" fmla="*/ 2292 w 4085"/>
                <a:gd name="connsiteY2" fmla="*/ 4377 h 4775"/>
                <a:gd name="connsiteX3" fmla="*/ 4086 w 4085"/>
                <a:gd name="connsiteY3" fmla="*/ 995 h 4775"/>
                <a:gd name="connsiteX4" fmla="*/ 2491 w 4085"/>
                <a:gd name="connsiteY4" fmla="*/ 0 h 4775"/>
                <a:gd name="connsiteX5" fmla="*/ 997 w 4085"/>
                <a:gd name="connsiteY5" fmla="*/ 1094 h 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5" h="4775">
                  <a:moveTo>
                    <a:pt x="997" y="1094"/>
                  </a:moveTo>
                  <a:lnTo>
                    <a:pt x="0" y="4775"/>
                  </a:lnTo>
                  <a:lnTo>
                    <a:pt x="2292" y="4377"/>
                  </a:lnTo>
                  <a:lnTo>
                    <a:pt x="4086" y="995"/>
                  </a:lnTo>
                  <a:lnTo>
                    <a:pt x="2491" y="0"/>
                  </a:lnTo>
                  <a:lnTo>
                    <a:pt x="997" y="10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6" name="Freeform: Shape 1155">
              <a:extLst>
                <a:ext uri="{FF2B5EF4-FFF2-40B4-BE49-F238E27FC236}">
                  <a16:creationId xmlns:a16="http://schemas.microsoft.com/office/drawing/2014/main" id="{F474E147-883E-46F0-AC8F-BCFEA5C2C270}"/>
                </a:ext>
              </a:extLst>
            </p:cNvPr>
            <p:cNvSpPr/>
            <p:nvPr/>
          </p:nvSpPr>
          <p:spPr>
            <a:xfrm>
              <a:off x="4255332" y="4590783"/>
              <a:ext cx="11458" cy="4178"/>
            </a:xfrm>
            <a:custGeom>
              <a:avLst/>
              <a:gdLst>
                <a:gd name="connsiteX0" fmla="*/ 7274 w 11458"/>
                <a:gd name="connsiteY0" fmla="*/ 796 h 4178"/>
                <a:gd name="connsiteX1" fmla="*/ 4384 w 11458"/>
                <a:gd name="connsiteY1" fmla="*/ 0 h 4178"/>
                <a:gd name="connsiteX2" fmla="*/ 2292 w 11458"/>
                <a:gd name="connsiteY2" fmla="*/ 298 h 4178"/>
                <a:gd name="connsiteX3" fmla="*/ 0 w 11458"/>
                <a:gd name="connsiteY3" fmla="*/ 696 h 4178"/>
                <a:gd name="connsiteX4" fmla="*/ 299 w 11458"/>
                <a:gd name="connsiteY4" fmla="*/ 1393 h 4178"/>
                <a:gd name="connsiteX5" fmla="*/ 2889 w 11458"/>
                <a:gd name="connsiteY5" fmla="*/ 1791 h 4178"/>
                <a:gd name="connsiteX6" fmla="*/ 5281 w 11458"/>
                <a:gd name="connsiteY6" fmla="*/ 2487 h 4178"/>
                <a:gd name="connsiteX7" fmla="*/ 10562 w 11458"/>
                <a:gd name="connsiteY7" fmla="*/ 4178 h 4178"/>
                <a:gd name="connsiteX8" fmla="*/ 11459 w 11458"/>
                <a:gd name="connsiteY8" fmla="*/ 3979 h 4178"/>
                <a:gd name="connsiteX9" fmla="*/ 10163 w 11458"/>
                <a:gd name="connsiteY9" fmla="*/ 2089 h 4178"/>
                <a:gd name="connsiteX10" fmla="*/ 7274 w 11458"/>
                <a:gd name="connsiteY10" fmla="*/ 796 h 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458" h="4178">
                  <a:moveTo>
                    <a:pt x="7274" y="796"/>
                  </a:moveTo>
                  <a:lnTo>
                    <a:pt x="4384" y="0"/>
                  </a:lnTo>
                  <a:lnTo>
                    <a:pt x="2292" y="298"/>
                  </a:lnTo>
                  <a:lnTo>
                    <a:pt x="0" y="696"/>
                  </a:lnTo>
                  <a:lnTo>
                    <a:pt x="299" y="1393"/>
                  </a:lnTo>
                  <a:lnTo>
                    <a:pt x="2889" y="1791"/>
                  </a:lnTo>
                  <a:lnTo>
                    <a:pt x="5281" y="2487"/>
                  </a:lnTo>
                  <a:lnTo>
                    <a:pt x="10562" y="4178"/>
                  </a:lnTo>
                  <a:lnTo>
                    <a:pt x="11459" y="3979"/>
                  </a:lnTo>
                  <a:lnTo>
                    <a:pt x="10163" y="2089"/>
                  </a:lnTo>
                  <a:lnTo>
                    <a:pt x="7274" y="7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7" name="Freeform: Shape 1156">
              <a:extLst>
                <a:ext uri="{FF2B5EF4-FFF2-40B4-BE49-F238E27FC236}">
                  <a16:creationId xmlns:a16="http://schemas.microsoft.com/office/drawing/2014/main" id="{C9DFC979-B61A-4126-ABE5-D824C1DF0ABB}"/>
                </a:ext>
              </a:extLst>
            </p:cNvPr>
            <p:cNvSpPr/>
            <p:nvPr/>
          </p:nvSpPr>
          <p:spPr>
            <a:xfrm>
              <a:off x="4150506" y="4583222"/>
              <a:ext cx="12953" cy="17808"/>
            </a:xfrm>
            <a:custGeom>
              <a:avLst/>
              <a:gdLst>
                <a:gd name="connsiteX0" fmla="*/ 4882 w 12953"/>
                <a:gd name="connsiteY0" fmla="*/ 8058 h 17808"/>
                <a:gd name="connsiteX1" fmla="*/ 1196 w 12953"/>
                <a:gd name="connsiteY1" fmla="*/ 11939 h 17808"/>
                <a:gd name="connsiteX2" fmla="*/ 0 w 12953"/>
                <a:gd name="connsiteY2" fmla="*/ 17808 h 17808"/>
                <a:gd name="connsiteX3" fmla="*/ 3986 w 12953"/>
                <a:gd name="connsiteY3" fmla="*/ 14824 h 17808"/>
                <a:gd name="connsiteX4" fmla="*/ 8669 w 12953"/>
                <a:gd name="connsiteY4" fmla="*/ 9451 h 17808"/>
                <a:gd name="connsiteX5" fmla="*/ 12356 w 12953"/>
                <a:gd name="connsiteY5" fmla="*/ 3880 h 17808"/>
                <a:gd name="connsiteX6" fmla="*/ 12954 w 12953"/>
                <a:gd name="connsiteY6" fmla="*/ 0 h 17808"/>
                <a:gd name="connsiteX7" fmla="*/ 9367 w 12953"/>
                <a:gd name="connsiteY7" fmla="*/ 4576 h 17808"/>
                <a:gd name="connsiteX8" fmla="*/ 4882 w 12953"/>
                <a:gd name="connsiteY8" fmla="*/ 8058 h 17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953" h="17808">
                  <a:moveTo>
                    <a:pt x="4882" y="8058"/>
                  </a:moveTo>
                  <a:lnTo>
                    <a:pt x="1196" y="11939"/>
                  </a:lnTo>
                  <a:lnTo>
                    <a:pt x="0" y="17808"/>
                  </a:lnTo>
                  <a:lnTo>
                    <a:pt x="3986" y="14824"/>
                  </a:lnTo>
                  <a:lnTo>
                    <a:pt x="8669" y="9451"/>
                  </a:lnTo>
                  <a:lnTo>
                    <a:pt x="12356" y="3880"/>
                  </a:lnTo>
                  <a:lnTo>
                    <a:pt x="12954" y="0"/>
                  </a:lnTo>
                  <a:lnTo>
                    <a:pt x="9367" y="4576"/>
                  </a:lnTo>
                  <a:lnTo>
                    <a:pt x="4882" y="805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8" name="Freeform: Shape 1157">
              <a:extLst>
                <a:ext uri="{FF2B5EF4-FFF2-40B4-BE49-F238E27FC236}">
                  <a16:creationId xmlns:a16="http://schemas.microsoft.com/office/drawing/2014/main" id="{540F67F4-1C9B-473F-BCBB-81B46889136F}"/>
                </a:ext>
              </a:extLst>
            </p:cNvPr>
            <p:cNvSpPr/>
            <p:nvPr/>
          </p:nvSpPr>
          <p:spPr>
            <a:xfrm>
              <a:off x="4164157" y="4574865"/>
              <a:ext cx="56697" cy="76505"/>
            </a:xfrm>
            <a:custGeom>
              <a:avLst/>
              <a:gdLst>
                <a:gd name="connsiteX0" fmla="*/ 54306 w 56697"/>
                <a:gd name="connsiteY0" fmla="*/ 20594 h 76505"/>
                <a:gd name="connsiteX1" fmla="*/ 53210 w 56697"/>
                <a:gd name="connsiteY1" fmla="*/ 10446 h 76505"/>
                <a:gd name="connsiteX2" fmla="*/ 52313 w 56697"/>
                <a:gd name="connsiteY2" fmla="*/ 8357 h 76505"/>
                <a:gd name="connsiteX3" fmla="*/ 50819 w 56697"/>
                <a:gd name="connsiteY3" fmla="*/ 9252 h 76505"/>
                <a:gd name="connsiteX4" fmla="*/ 49523 w 56697"/>
                <a:gd name="connsiteY4" fmla="*/ 8357 h 76505"/>
                <a:gd name="connsiteX5" fmla="*/ 48427 w 56697"/>
                <a:gd name="connsiteY5" fmla="*/ 6566 h 76505"/>
                <a:gd name="connsiteX6" fmla="*/ 48029 w 56697"/>
                <a:gd name="connsiteY6" fmla="*/ 4776 h 76505"/>
                <a:gd name="connsiteX7" fmla="*/ 49224 w 56697"/>
                <a:gd name="connsiteY7" fmla="*/ 5173 h 76505"/>
                <a:gd name="connsiteX8" fmla="*/ 50022 w 56697"/>
                <a:gd name="connsiteY8" fmla="*/ 5969 h 76505"/>
                <a:gd name="connsiteX9" fmla="*/ 50520 w 56697"/>
                <a:gd name="connsiteY9" fmla="*/ 7064 h 76505"/>
                <a:gd name="connsiteX10" fmla="*/ 50520 w 56697"/>
                <a:gd name="connsiteY10" fmla="*/ 8357 h 76505"/>
                <a:gd name="connsiteX11" fmla="*/ 51915 w 56697"/>
                <a:gd name="connsiteY11" fmla="*/ 7064 h 76505"/>
                <a:gd name="connsiteX12" fmla="*/ 54904 w 56697"/>
                <a:gd name="connsiteY12" fmla="*/ 1791 h 76505"/>
                <a:gd name="connsiteX13" fmla="*/ 54406 w 56697"/>
                <a:gd name="connsiteY13" fmla="*/ 1393 h 76505"/>
                <a:gd name="connsiteX14" fmla="*/ 54306 w 56697"/>
                <a:gd name="connsiteY14" fmla="*/ 995 h 76505"/>
                <a:gd name="connsiteX15" fmla="*/ 54206 w 56697"/>
                <a:gd name="connsiteY15" fmla="*/ 497 h 76505"/>
                <a:gd name="connsiteX16" fmla="*/ 54107 w 56697"/>
                <a:gd name="connsiteY16" fmla="*/ 0 h 76505"/>
                <a:gd name="connsiteX17" fmla="*/ 50619 w 56697"/>
                <a:gd name="connsiteY17" fmla="*/ 1393 h 76505"/>
                <a:gd name="connsiteX18" fmla="*/ 47530 w 56697"/>
                <a:gd name="connsiteY18" fmla="*/ 1890 h 76505"/>
                <a:gd name="connsiteX19" fmla="*/ 40954 w 56697"/>
                <a:gd name="connsiteY19" fmla="*/ 1791 h 76505"/>
                <a:gd name="connsiteX20" fmla="*/ 41751 w 56697"/>
                <a:gd name="connsiteY20" fmla="*/ 2686 h 76505"/>
                <a:gd name="connsiteX21" fmla="*/ 42150 w 56697"/>
                <a:gd name="connsiteY21" fmla="*/ 3184 h 76505"/>
                <a:gd name="connsiteX22" fmla="*/ 42548 w 56697"/>
                <a:gd name="connsiteY22" fmla="*/ 3482 h 76505"/>
                <a:gd name="connsiteX23" fmla="*/ 43544 w 56697"/>
                <a:gd name="connsiteY23" fmla="*/ 3681 h 76505"/>
                <a:gd name="connsiteX24" fmla="*/ 43544 w 56697"/>
                <a:gd name="connsiteY24" fmla="*/ 4776 h 76505"/>
                <a:gd name="connsiteX25" fmla="*/ 43046 w 56697"/>
                <a:gd name="connsiteY25" fmla="*/ 4875 h 76505"/>
                <a:gd name="connsiteX26" fmla="*/ 42748 w 56697"/>
                <a:gd name="connsiteY26" fmla="*/ 4974 h 76505"/>
                <a:gd name="connsiteX27" fmla="*/ 41950 w 56697"/>
                <a:gd name="connsiteY27" fmla="*/ 5571 h 76505"/>
                <a:gd name="connsiteX28" fmla="*/ 40854 w 56697"/>
                <a:gd name="connsiteY28" fmla="*/ 5173 h 76505"/>
                <a:gd name="connsiteX29" fmla="*/ 39758 w 56697"/>
                <a:gd name="connsiteY29" fmla="*/ 5671 h 76505"/>
                <a:gd name="connsiteX30" fmla="*/ 38861 w 56697"/>
                <a:gd name="connsiteY30" fmla="*/ 6865 h 76505"/>
                <a:gd name="connsiteX31" fmla="*/ 38363 w 56697"/>
                <a:gd name="connsiteY31" fmla="*/ 8357 h 76505"/>
                <a:gd name="connsiteX32" fmla="*/ 37367 w 56697"/>
                <a:gd name="connsiteY32" fmla="*/ 7860 h 76505"/>
                <a:gd name="connsiteX33" fmla="*/ 33182 w 56697"/>
                <a:gd name="connsiteY33" fmla="*/ 6566 h 76505"/>
                <a:gd name="connsiteX34" fmla="*/ 34975 w 56697"/>
                <a:gd name="connsiteY34" fmla="*/ 9451 h 76505"/>
                <a:gd name="connsiteX35" fmla="*/ 35772 w 56697"/>
                <a:gd name="connsiteY35" fmla="*/ 10347 h 76505"/>
                <a:gd name="connsiteX36" fmla="*/ 34875 w 56697"/>
                <a:gd name="connsiteY36" fmla="*/ 10645 h 76505"/>
                <a:gd name="connsiteX37" fmla="*/ 33879 w 56697"/>
                <a:gd name="connsiteY37" fmla="*/ 11143 h 76505"/>
                <a:gd name="connsiteX38" fmla="*/ 33082 w 56697"/>
                <a:gd name="connsiteY38" fmla="*/ 11939 h 76505"/>
                <a:gd name="connsiteX39" fmla="*/ 31587 w 56697"/>
                <a:gd name="connsiteY39" fmla="*/ 14426 h 76505"/>
                <a:gd name="connsiteX40" fmla="*/ 31288 w 56697"/>
                <a:gd name="connsiteY40" fmla="*/ 14923 h 76505"/>
                <a:gd name="connsiteX41" fmla="*/ 33182 w 56697"/>
                <a:gd name="connsiteY41" fmla="*/ 16813 h 76505"/>
                <a:gd name="connsiteX42" fmla="*/ 37267 w 56697"/>
                <a:gd name="connsiteY42" fmla="*/ 18803 h 76505"/>
                <a:gd name="connsiteX43" fmla="*/ 46235 w 56697"/>
                <a:gd name="connsiteY43" fmla="*/ 18903 h 76505"/>
                <a:gd name="connsiteX44" fmla="*/ 49722 w 56697"/>
                <a:gd name="connsiteY44" fmla="*/ 21489 h 76505"/>
                <a:gd name="connsiteX45" fmla="*/ 51616 w 56697"/>
                <a:gd name="connsiteY45" fmla="*/ 26961 h 76505"/>
                <a:gd name="connsiteX46" fmla="*/ 50520 w 56697"/>
                <a:gd name="connsiteY46" fmla="*/ 31438 h 76505"/>
                <a:gd name="connsiteX47" fmla="*/ 46933 w 56697"/>
                <a:gd name="connsiteY47" fmla="*/ 34622 h 76505"/>
                <a:gd name="connsiteX48" fmla="*/ 41950 w 56697"/>
                <a:gd name="connsiteY48" fmla="*/ 36512 h 76505"/>
                <a:gd name="connsiteX49" fmla="*/ 39160 w 56697"/>
                <a:gd name="connsiteY49" fmla="*/ 36910 h 76505"/>
                <a:gd name="connsiteX50" fmla="*/ 36868 w 56697"/>
                <a:gd name="connsiteY50" fmla="*/ 37606 h 76505"/>
                <a:gd name="connsiteX51" fmla="*/ 35473 w 56697"/>
                <a:gd name="connsiteY51" fmla="*/ 39198 h 76505"/>
                <a:gd name="connsiteX52" fmla="*/ 34975 w 56697"/>
                <a:gd name="connsiteY52" fmla="*/ 42481 h 76505"/>
                <a:gd name="connsiteX53" fmla="*/ 33580 w 56697"/>
                <a:gd name="connsiteY53" fmla="*/ 44670 h 76505"/>
                <a:gd name="connsiteX54" fmla="*/ 30491 w 56697"/>
                <a:gd name="connsiteY54" fmla="*/ 45366 h 76505"/>
                <a:gd name="connsiteX55" fmla="*/ 27004 w 56697"/>
                <a:gd name="connsiteY55" fmla="*/ 45764 h 76505"/>
                <a:gd name="connsiteX56" fmla="*/ 24612 w 56697"/>
                <a:gd name="connsiteY56" fmla="*/ 46660 h 76505"/>
                <a:gd name="connsiteX57" fmla="*/ 24612 w 56697"/>
                <a:gd name="connsiteY57" fmla="*/ 47953 h 76505"/>
                <a:gd name="connsiteX58" fmla="*/ 25111 w 56697"/>
                <a:gd name="connsiteY58" fmla="*/ 49843 h 76505"/>
                <a:gd name="connsiteX59" fmla="*/ 25210 w 56697"/>
                <a:gd name="connsiteY59" fmla="*/ 51534 h 76505"/>
                <a:gd name="connsiteX60" fmla="*/ 23516 w 56697"/>
                <a:gd name="connsiteY60" fmla="*/ 52728 h 76505"/>
                <a:gd name="connsiteX61" fmla="*/ 22121 w 56697"/>
                <a:gd name="connsiteY61" fmla="*/ 54619 h 76505"/>
                <a:gd name="connsiteX62" fmla="*/ 21523 w 56697"/>
                <a:gd name="connsiteY62" fmla="*/ 55017 h 76505"/>
                <a:gd name="connsiteX63" fmla="*/ 18534 w 56697"/>
                <a:gd name="connsiteY63" fmla="*/ 55514 h 76505"/>
                <a:gd name="connsiteX64" fmla="*/ 14847 w 56697"/>
                <a:gd name="connsiteY64" fmla="*/ 57802 h 76505"/>
                <a:gd name="connsiteX65" fmla="*/ 12257 w 56697"/>
                <a:gd name="connsiteY65" fmla="*/ 58797 h 76505"/>
                <a:gd name="connsiteX66" fmla="*/ 12356 w 56697"/>
                <a:gd name="connsiteY66" fmla="*/ 59692 h 76505"/>
                <a:gd name="connsiteX67" fmla="*/ 12755 w 56697"/>
                <a:gd name="connsiteY67" fmla="*/ 60190 h 76505"/>
                <a:gd name="connsiteX68" fmla="*/ 13353 w 56697"/>
                <a:gd name="connsiteY68" fmla="*/ 60389 h 76505"/>
                <a:gd name="connsiteX69" fmla="*/ 14050 w 56697"/>
                <a:gd name="connsiteY69" fmla="*/ 60687 h 76505"/>
                <a:gd name="connsiteX70" fmla="*/ 13253 w 56697"/>
                <a:gd name="connsiteY70" fmla="*/ 60986 h 76505"/>
                <a:gd name="connsiteX71" fmla="*/ 10762 w 56697"/>
                <a:gd name="connsiteY71" fmla="*/ 62578 h 76505"/>
                <a:gd name="connsiteX72" fmla="*/ 10762 w 56697"/>
                <a:gd name="connsiteY72" fmla="*/ 63373 h 76505"/>
                <a:gd name="connsiteX73" fmla="*/ 12057 w 56697"/>
                <a:gd name="connsiteY73" fmla="*/ 64468 h 76505"/>
                <a:gd name="connsiteX74" fmla="*/ 11957 w 56697"/>
                <a:gd name="connsiteY74" fmla="*/ 65264 h 76505"/>
                <a:gd name="connsiteX75" fmla="*/ 8171 w 56697"/>
                <a:gd name="connsiteY75" fmla="*/ 68647 h 76505"/>
                <a:gd name="connsiteX76" fmla="*/ 7075 w 56697"/>
                <a:gd name="connsiteY76" fmla="*/ 69144 h 76505"/>
                <a:gd name="connsiteX77" fmla="*/ 1993 w 56697"/>
                <a:gd name="connsiteY77" fmla="*/ 68746 h 76505"/>
                <a:gd name="connsiteX78" fmla="*/ 698 w 56697"/>
                <a:gd name="connsiteY78" fmla="*/ 69144 h 76505"/>
                <a:gd name="connsiteX79" fmla="*/ 199 w 56697"/>
                <a:gd name="connsiteY79" fmla="*/ 70437 h 76505"/>
                <a:gd name="connsiteX80" fmla="*/ 0 w 56697"/>
                <a:gd name="connsiteY80" fmla="*/ 75312 h 76505"/>
                <a:gd name="connsiteX81" fmla="*/ 199 w 56697"/>
                <a:gd name="connsiteY81" fmla="*/ 76506 h 76505"/>
                <a:gd name="connsiteX82" fmla="*/ 4285 w 56697"/>
                <a:gd name="connsiteY82" fmla="*/ 72626 h 76505"/>
                <a:gd name="connsiteX83" fmla="*/ 6477 w 56697"/>
                <a:gd name="connsiteY83" fmla="*/ 71432 h 76505"/>
                <a:gd name="connsiteX84" fmla="*/ 9367 w 56697"/>
                <a:gd name="connsiteY84" fmla="*/ 70935 h 76505"/>
                <a:gd name="connsiteX85" fmla="*/ 10662 w 56697"/>
                <a:gd name="connsiteY85" fmla="*/ 70338 h 76505"/>
                <a:gd name="connsiteX86" fmla="*/ 14050 w 56697"/>
                <a:gd name="connsiteY86" fmla="*/ 67353 h 76505"/>
                <a:gd name="connsiteX87" fmla="*/ 15046 w 56697"/>
                <a:gd name="connsiteY87" fmla="*/ 66258 h 76505"/>
                <a:gd name="connsiteX88" fmla="*/ 18235 w 56697"/>
                <a:gd name="connsiteY88" fmla="*/ 61185 h 76505"/>
                <a:gd name="connsiteX89" fmla="*/ 20128 w 56697"/>
                <a:gd name="connsiteY89" fmla="*/ 59494 h 76505"/>
                <a:gd name="connsiteX90" fmla="*/ 23317 w 56697"/>
                <a:gd name="connsiteY90" fmla="*/ 58797 h 76505"/>
                <a:gd name="connsiteX91" fmla="*/ 30989 w 56697"/>
                <a:gd name="connsiteY91" fmla="*/ 55613 h 76505"/>
                <a:gd name="connsiteX92" fmla="*/ 32384 w 56697"/>
                <a:gd name="connsiteY92" fmla="*/ 55514 h 76505"/>
                <a:gd name="connsiteX93" fmla="*/ 33480 w 56697"/>
                <a:gd name="connsiteY93" fmla="*/ 54917 h 76505"/>
                <a:gd name="connsiteX94" fmla="*/ 40157 w 56697"/>
                <a:gd name="connsiteY94" fmla="*/ 49445 h 76505"/>
                <a:gd name="connsiteX95" fmla="*/ 44342 w 56697"/>
                <a:gd name="connsiteY95" fmla="*/ 41287 h 76505"/>
                <a:gd name="connsiteX96" fmla="*/ 45737 w 56697"/>
                <a:gd name="connsiteY96" fmla="*/ 40093 h 76505"/>
                <a:gd name="connsiteX97" fmla="*/ 47331 w 56697"/>
                <a:gd name="connsiteY97" fmla="*/ 39497 h 76505"/>
                <a:gd name="connsiteX98" fmla="*/ 49224 w 56697"/>
                <a:gd name="connsiteY98" fmla="*/ 37905 h 76505"/>
                <a:gd name="connsiteX99" fmla="*/ 51117 w 56697"/>
                <a:gd name="connsiteY99" fmla="*/ 36114 h 76505"/>
                <a:gd name="connsiteX100" fmla="*/ 52313 w 56697"/>
                <a:gd name="connsiteY100" fmla="*/ 34522 h 76505"/>
                <a:gd name="connsiteX101" fmla="*/ 53110 w 56697"/>
                <a:gd name="connsiteY101" fmla="*/ 31935 h 76505"/>
                <a:gd name="connsiteX102" fmla="*/ 53609 w 56697"/>
                <a:gd name="connsiteY102" fmla="*/ 28951 h 76505"/>
                <a:gd name="connsiteX103" fmla="*/ 54506 w 56697"/>
                <a:gd name="connsiteY103" fmla="*/ 26663 h 76505"/>
                <a:gd name="connsiteX104" fmla="*/ 56698 w 56697"/>
                <a:gd name="connsiteY104" fmla="*/ 26165 h 76505"/>
                <a:gd name="connsiteX105" fmla="*/ 55103 w 56697"/>
                <a:gd name="connsiteY105" fmla="*/ 22584 h 76505"/>
                <a:gd name="connsiteX106" fmla="*/ 54306 w 56697"/>
                <a:gd name="connsiteY106" fmla="*/ 20594 h 7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56697" h="76505">
                  <a:moveTo>
                    <a:pt x="54306" y="20594"/>
                  </a:moveTo>
                  <a:lnTo>
                    <a:pt x="53210" y="10446"/>
                  </a:lnTo>
                  <a:lnTo>
                    <a:pt x="52313" y="8357"/>
                  </a:lnTo>
                  <a:lnTo>
                    <a:pt x="50819" y="9252"/>
                  </a:lnTo>
                  <a:lnTo>
                    <a:pt x="49523" y="8357"/>
                  </a:lnTo>
                  <a:lnTo>
                    <a:pt x="48427" y="6566"/>
                  </a:lnTo>
                  <a:lnTo>
                    <a:pt x="48029" y="4776"/>
                  </a:lnTo>
                  <a:lnTo>
                    <a:pt x="49224" y="5173"/>
                  </a:lnTo>
                  <a:lnTo>
                    <a:pt x="50022" y="5969"/>
                  </a:lnTo>
                  <a:lnTo>
                    <a:pt x="50520" y="7064"/>
                  </a:lnTo>
                  <a:lnTo>
                    <a:pt x="50520" y="8357"/>
                  </a:lnTo>
                  <a:lnTo>
                    <a:pt x="51915" y="7064"/>
                  </a:lnTo>
                  <a:lnTo>
                    <a:pt x="54904" y="1791"/>
                  </a:lnTo>
                  <a:lnTo>
                    <a:pt x="54406" y="1393"/>
                  </a:lnTo>
                  <a:lnTo>
                    <a:pt x="54306" y="995"/>
                  </a:lnTo>
                  <a:lnTo>
                    <a:pt x="54206" y="497"/>
                  </a:lnTo>
                  <a:lnTo>
                    <a:pt x="54107" y="0"/>
                  </a:lnTo>
                  <a:lnTo>
                    <a:pt x="50619" y="1393"/>
                  </a:lnTo>
                  <a:lnTo>
                    <a:pt x="47530" y="1890"/>
                  </a:lnTo>
                  <a:lnTo>
                    <a:pt x="40954" y="1791"/>
                  </a:lnTo>
                  <a:lnTo>
                    <a:pt x="41751" y="2686"/>
                  </a:lnTo>
                  <a:lnTo>
                    <a:pt x="42150" y="3184"/>
                  </a:lnTo>
                  <a:lnTo>
                    <a:pt x="42548" y="3482"/>
                  </a:lnTo>
                  <a:lnTo>
                    <a:pt x="43544" y="3681"/>
                  </a:lnTo>
                  <a:lnTo>
                    <a:pt x="43544" y="4776"/>
                  </a:lnTo>
                  <a:lnTo>
                    <a:pt x="43046" y="4875"/>
                  </a:lnTo>
                  <a:lnTo>
                    <a:pt x="42748" y="4974"/>
                  </a:lnTo>
                  <a:lnTo>
                    <a:pt x="41950" y="5571"/>
                  </a:lnTo>
                  <a:lnTo>
                    <a:pt x="40854" y="5173"/>
                  </a:lnTo>
                  <a:lnTo>
                    <a:pt x="39758" y="5671"/>
                  </a:lnTo>
                  <a:lnTo>
                    <a:pt x="38861" y="6865"/>
                  </a:lnTo>
                  <a:lnTo>
                    <a:pt x="38363" y="8357"/>
                  </a:lnTo>
                  <a:lnTo>
                    <a:pt x="37367" y="7860"/>
                  </a:lnTo>
                  <a:lnTo>
                    <a:pt x="33182" y="6566"/>
                  </a:lnTo>
                  <a:lnTo>
                    <a:pt x="34975" y="9451"/>
                  </a:lnTo>
                  <a:lnTo>
                    <a:pt x="35772" y="10347"/>
                  </a:lnTo>
                  <a:lnTo>
                    <a:pt x="34875" y="10645"/>
                  </a:lnTo>
                  <a:lnTo>
                    <a:pt x="33879" y="11143"/>
                  </a:lnTo>
                  <a:lnTo>
                    <a:pt x="33082" y="11939"/>
                  </a:lnTo>
                  <a:lnTo>
                    <a:pt x="31587" y="14426"/>
                  </a:lnTo>
                  <a:lnTo>
                    <a:pt x="31288" y="14923"/>
                  </a:lnTo>
                  <a:lnTo>
                    <a:pt x="33182" y="16813"/>
                  </a:lnTo>
                  <a:lnTo>
                    <a:pt x="37267" y="18803"/>
                  </a:lnTo>
                  <a:lnTo>
                    <a:pt x="46235" y="18903"/>
                  </a:lnTo>
                  <a:lnTo>
                    <a:pt x="49722" y="21489"/>
                  </a:lnTo>
                  <a:lnTo>
                    <a:pt x="51616" y="26961"/>
                  </a:lnTo>
                  <a:lnTo>
                    <a:pt x="50520" y="31438"/>
                  </a:lnTo>
                  <a:lnTo>
                    <a:pt x="46933" y="34622"/>
                  </a:lnTo>
                  <a:lnTo>
                    <a:pt x="41950" y="36512"/>
                  </a:lnTo>
                  <a:lnTo>
                    <a:pt x="39160" y="36910"/>
                  </a:lnTo>
                  <a:lnTo>
                    <a:pt x="36868" y="37606"/>
                  </a:lnTo>
                  <a:lnTo>
                    <a:pt x="35473" y="39198"/>
                  </a:lnTo>
                  <a:lnTo>
                    <a:pt x="34975" y="42481"/>
                  </a:lnTo>
                  <a:lnTo>
                    <a:pt x="33580" y="44670"/>
                  </a:lnTo>
                  <a:lnTo>
                    <a:pt x="30491" y="45366"/>
                  </a:lnTo>
                  <a:lnTo>
                    <a:pt x="27004" y="45764"/>
                  </a:lnTo>
                  <a:lnTo>
                    <a:pt x="24612" y="46660"/>
                  </a:lnTo>
                  <a:lnTo>
                    <a:pt x="24612" y="47953"/>
                  </a:lnTo>
                  <a:lnTo>
                    <a:pt x="25111" y="49843"/>
                  </a:lnTo>
                  <a:lnTo>
                    <a:pt x="25210" y="51534"/>
                  </a:lnTo>
                  <a:lnTo>
                    <a:pt x="23516" y="52728"/>
                  </a:lnTo>
                  <a:lnTo>
                    <a:pt x="22121" y="54619"/>
                  </a:lnTo>
                  <a:lnTo>
                    <a:pt x="21523" y="55017"/>
                  </a:lnTo>
                  <a:lnTo>
                    <a:pt x="18534" y="55514"/>
                  </a:lnTo>
                  <a:lnTo>
                    <a:pt x="14847" y="57802"/>
                  </a:lnTo>
                  <a:lnTo>
                    <a:pt x="12257" y="58797"/>
                  </a:lnTo>
                  <a:lnTo>
                    <a:pt x="12356" y="59692"/>
                  </a:lnTo>
                  <a:lnTo>
                    <a:pt x="12755" y="60190"/>
                  </a:lnTo>
                  <a:lnTo>
                    <a:pt x="13353" y="60389"/>
                  </a:lnTo>
                  <a:lnTo>
                    <a:pt x="14050" y="60687"/>
                  </a:lnTo>
                  <a:lnTo>
                    <a:pt x="13253" y="60986"/>
                  </a:lnTo>
                  <a:lnTo>
                    <a:pt x="10762" y="62578"/>
                  </a:lnTo>
                  <a:lnTo>
                    <a:pt x="10762" y="63373"/>
                  </a:lnTo>
                  <a:lnTo>
                    <a:pt x="12057" y="64468"/>
                  </a:lnTo>
                  <a:lnTo>
                    <a:pt x="11957" y="65264"/>
                  </a:lnTo>
                  <a:lnTo>
                    <a:pt x="8171" y="68647"/>
                  </a:lnTo>
                  <a:lnTo>
                    <a:pt x="7075" y="69144"/>
                  </a:lnTo>
                  <a:lnTo>
                    <a:pt x="1993" y="68746"/>
                  </a:lnTo>
                  <a:lnTo>
                    <a:pt x="698" y="69144"/>
                  </a:lnTo>
                  <a:lnTo>
                    <a:pt x="199" y="70437"/>
                  </a:lnTo>
                  <a:lnTo>
                    <a:pt x="0" y="75312"/>
                  </a:lnTo>
                  <a:lnTo>
                    <a:pt x="199" y="76506"/>
                  </a:lnTo>
                  <a:lnTo>
                    <a:pt x="4285" y="72626"/>
                  </a:lnTo>
                  <a:lnTo>
                    <a:pt x="6477" y="71432"/>
                  </a:lnTo>
                  <a:lnTo>
                    <a:pt x="9367" y="70935"/>
                  </a:lnTo>
                  <a:lnTo>
                    <a:pt x="10662" y="70338"/>
                  </a:lnTo>
                  <a:lnTo>
                    <a:pt x="14050" y="67353"/>
                  </a:lnTo>
                  <a:lnTo>
                    <a:pt x="15046" y="66258"/>
                  </a:lnTo>
                  <a:lnTo>
                    <a:pt x="18235" y="61185"/>
                  </a:lnTo>
                  <a:lnTo>
                    <a:pt x="20128" y="59494"/>
                  </a:lnTo>
                  <a:lnTo>
                    <a:pt x="23317" y="58797"/>
                  </a:lnTo>
                  <a:lnTo>
                    <a:pt x="30989" y="55613"/>
                  </a:lnTo>
                  <a:lnTo>
                    <a:pt x="32384" y="55514"/>
                  </a:lnTo>
                  <a:lnTo>
                    <a:pt x="33480" y="54917"/>
                  </a:lnTo>
                  <a:lnTo>
                    <a:pt x="40157" y="49445"/>
                  </a:lnTo>
                  <a:lnTo>
                    <a:pt x="44342" y="41287"/>
                  </a:lnTo>
                  <a:lnTo>
                    <a:pt x="45737" y="40093"/>
                  </a:lnTo>
                  <a:lnTo>
                    <a:pt x="47331" y="39497"/>
                  </a:lnTo>
                  <a:lnTo>
                    <a:pt x="49224" y="37905"/>
                  </a:lnTo>
                  <a:lnTo>
                    <a:pt x="51117" y="36114"/>
                  </a:lnTo>
                  <a:lnTo>
                    <a:pt x="52313" y="34522"/>
                  </a:lnTo>
                  <a:lnTo>
                    <a:pt x="53110" y="31935"/>
                  </a:lnTo>
                  <a:lnTo>
                    <a:pt x="53609" y="28951"/>
                  </a:lnTo>
                  <a:lnTo>
                    <a:pt x="54506" y="26663"/>
                  </a:lnTo>
                  <a:lnTo>
                    <a:pt x="56698" y="26165"/>
                  </a:lnTo>
                  <a:lnTo>
                    <a:pt x="55103" y="22584"/>
                  </a:lnTo>
                  <a:lnTo>
                    <a:pt x="54306" y="205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59" name="Freeform: Shape 1158">
              <a:extLst>
                <a:ext uri="{FF2B5EF4-FFF2-40B4-BE49-F238E27FC236}">
                  <a16:creationId xmlns:a16="http://schemas.microsoft.com/office/drawing/2014/main" id="{0F12C45F-91D8-435F-9A5B-A3B93BEC15D6}"/>
                </a:ext>
              </a:extLst>
            </p:cNvPr>
            <p:cNvSpPr/>
            <p:nvPr/>
          </p:nvSpPr>
          <p:spPr>
            <a:xfrm>
              <a:off x="4154790" y="4559942"/>
              <a:ext cx="42548" cy="25269"/>
            </a:xfrm>
            <a:custGeom>
              <a:avLst/>
              <a:gdLst>
                <a:gd name="connsiteX0" fmla="*/ 12356 w 42548"/>
                <a:gd name="connsiteY0" fmla="*/ 18306 h 25269"/>
                <a:gd name="connsiteX1" fmla="*/ 13053 w 42548"/>
                <a:gd name="connsiteY1" fmla="*/ 16714 h 25269"/>
                <a:gd name="connsiteX2" fmla="*/ 15146 w 42548"/>
                <a:gd name="connsiteY2" fmla="*/ 19002 h 25269"/>
                <a:gd name="connsiteX3" fmla="*/ 16442 w 42548"/>
                <a:gd name="connsiteY3" fmla="*/ 20096 h 25269"/>
                <a:gd name="connsiteX4" fmla="*/ 25808 w 42548"/>
                <a:gd name="connsiteY4" fmla="*/ 22484 h 25269"/>
                <a:gd name="connsiteX5" fmla="*/ 29097 w 42548"/>
                <a:gd name="connsiteY5" fmla="*/ 21489 h 25269"/>
                <a:gd name="connsiteX6" fmla="*/ 31388 w 42548"/>
                <a:gd name="connsiteY6" fmla="*/ 21091 h 25269"/>
                <a:gd name="connsiteX7" fmla="*/ 31288 w 42548"/>
                <a:gd name="connsiteY7" fmla="*/ 23280 h 25269"/>
                <a:gd name="connsiteX8" fmla="*/ 32684 w 42548"/>
                <a:gd name="connsiteY8" fmla="*/ 23877 h 25269"/>
                <a:gd name="connsiteX9" fmla="*/ 32684 w 42548"/>
                <a:gd name="connsiteY9" fmla="*/ 24175 h 25269"/>
                <a:gd name="connsiteX10" fmla="*/ 33182 w 42548"/>
                <a:gd name="connsiteY10" fmla="*/ 25270 h 25269"/>
                <a:gd name="connsiteX11" fmla="*/ 42548 w 42548"/>
                <a:gd name="connsiteY11" fmla="*/ 16714 h 25269"/>
                <a:gd name="connsiteX12" fmla="*/ 34975 w 42548"/>
                <a:gd name="connsiteY12" fmla="*/ 13729 h 25269"/>
                <a:gd name="connsiteX13" fmla="*/ 32185 w 42548"/>
                <a:gd name="connsiteY13" fmla="*/ 13033 h 25269"/>
                <a:gd name="connsiteX14" fmla="*/ 33182 w 42548"/>
                <a:gd name="connsiteY14" fmla="*/ 14923 h 25269"/>
                <a:gd name="connsiteX15" fmla="*/ 30491 w 42548"/>
                <a:gd name="connsiteY15" fmla="*/ 14227 h 25269"/>
                <a:gd name="connsiteX16" fmla="*/ 26007 w 42548"/>
                <a:gd name="connsiteY16" fmla="*/ 13928 h 25269"/>
                <a:gd name="connsiteX17" fmla="*/ 23417 w 42548"/>
                <a:gd name="connsiteY17" fmla="*/ 13033 h 25269"/>
                <a:gd name="connsiteX18" fmla="*/ 22918 w 42548"/>
                <a:gd name="connsiteY18" fmla="*/ 11541 h 25269"/>
                <a:gd name="connsiteX19" fmla="*/ 22619 w 42548"/>
                <a:gd name="connsiteY19" fmla="*/ 11143 h 25269"/>
                <a:gd name="connsiteX20" fmla="*/ 22121 w 42548"/>
                <a:gd name="connsiteY20" fmla="*/ 11043 h 25269"/>
                <a:gd name="connsiteX21" fmla="*/ 20527 w 42548"/>
                <a:gd name="connsiteY21" fmla="*/ 11242 h 25269"/>
                <a:gd name="connsiteX22" fmla="*/ 20128 w 42548"/>
                <a:gd name="connsiteY22" fmla="*/ 11143 h 25269"/>
                <a:gd name="connsiteX23" fmla="*/ 19730 w 42548"/>
                <a:gd name="connsiteY23" fmla="*/ 10148 h 25269"/>
                <a:gd name="connsiteX24" fmla="*/ 19630 w 42548"/>
                <a:gd name="connsiteY24" fmla="*/ 7760 h 25269"/>
                <a:gd name="connsiteX25" fmla="*/ 19231 w 42548"/>
                <a:gd name="connsiteY25" fmla="*/ 6566 h 25269"/>
                <a:gd name="connsiteX26" fmla="*/ 15644 w 42548"/>
                <a:gd name="connsiteY26" fmla="*/ 3681 h 25269"/>
                <a:gd name="connsiteX27" fmla="*/ 14449 w 42548"/>
                <a:gd name="connsiteY27" fmla="*/ 3283 h 25269"/>
                <a:gd name="connsiteX28" fmla="*/ 11659 w 42548"/>
                <a:gd name="connsiteY28" fmla="*/ 3084 h 25269"/>
                <a:gd name="connsiteX29" fmla="*/ 10463 w 42548"/>
                <a:gd name="connsiteY29" fmla="*/ 2786 h 25269"/>
                <a:gd name="connsiteX30" fmla="*/ 6776 w 42548"/>
                <a:gd name="connsiteY30" fmla="*/ 398 h 25269"/>
                <a:gd name="connsiteX31" fmla="*/ 5281 w 42548"/>
                <a:gd name="connsiteY31" fmla="*/ 0 h 25269"/>
                <a:gd name="connsiteX32" fmla="*/ 4484 w 42548"/>
                <a:gd name="connsiteY32" fmla="*/ 100 h 25269"/>
                <a:gd name="connsiteX33" fmla="*/ 2391 w 42548"/>
                <a:gd name="connsiteY33" fmla="*/ 796 h 25269"/>
                <a:gd name="connsiteX34" fmla="*/ 997 w 42548"/>
                <a:gd name="connsiteY34" fmla="*/ 895 h 25269"/>
                <a:gd name="connsiteX35" fmla="*/ 797 w 42548"/>
                <a:gd name="connsiteY35" fmla="*/ 1393 h 25269"/>
                <a:gd name="connsiteX36" fmla="*/ 698 w 42548"/>
                <a:gd name="connsiteY36" fmla="*/ 1890 h 25269"/>
                <a:gd name="connsiteX37" fmla="*/ 498 w 42548"/>
                <a:gd name="connsiteY37" fmla="*/ 2288 h 25269"/>
                <a:gd name="connsiteX38" fmla="*/ 0 w 42548"/>
                <a:gd name="connsiteY38" fmla="*/ 2786 h 25269"/>
                <a:gd name="connsiteX39" fmla="*/ 8271 w 42548"/>
                <a:gd name="connsiteY39" fmla="*/ 14923 h 25269"/>
                <a:gd name="connsiteX40" fmla="*/ 9367 w 42548"/>
                <a:gd name="connsiteY40" fmla="*/ 15520 h 25269"/>
                <a:gd name="connsiteX41" fmla="*/ 9367 w 42548"/>
                <a:gd name="connsiteY41" fmla="*/ 17112 h 25269"/>
                <a:gd name="connsiteX42" fmla="*/ 8669 w 42548"/>
                <a:gd name="connsiteY42" fmla="*/ 20096 h 25269"/>
                <a:gd name="connsiteX43" fmla="*/ 9367 w 42548"/>
                <a:gd name="connsiteY43" fmla="*/ 20395 h 25269"/>
                <a:gd name="connsiteX44" fmla="*/ 10861 w 42548"/>
                <a:gd name="connsiteY44" fmla="*/ 19699 h 25269"/>
                <a:gd name="connsiteX45" fmla="*/ 12356 w 42548"/>
                <a:gd name="connsiteY45" fmla="*/ 18306 h 25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2548" h="25269">
                  <a:moveTo>
                    <a:pt x="12356" y="18306"/>
                  </a:moveTo>
                  <a:lnTo>
                    <a:pt x="13053" y="16714"/>
                  </a:lnTo>
                  <a:lnTo>
                    <a:pt x="15146" y="19002"/>
                  </a:lnTo>
                  <a:lnTo>
                    <a:pt x="16442" y="20096"/>
                  </a:lnTo>
                  <a:lnTo>
                    <a:pt x="25808" y="22484"/>
                  </a:lnTo>
                  <a:lnTo>
                    <a:pt x="29097" y="21489"/>
                  </a:lnTo>
                  <a:lnTo>
                    <a:pt x="31388" y="21091"/>
                  </a:lnTo>
                  <a:lnTo>
                    <a:pt x="31288" y="23280"/>
                  </a:lnTo>
                  <a:lnTo>
                    <a:pt x="32684" y="23877"/>
                  </a:lnTo>
                  <a:lnTo>
                    <a:pt x="32684" y="24175"/>
                  </a:lnTo>
                  <a:lnTo>
                    <a:pt x="33182" y="25270"/>
                  </a:lnTo>
                  <a:lnTo>
                    <a:pt x="42548" y="16714"/>
                  </a:lnTo>
                  <a:lnTo>
                    <a:pt x="34975" y="13729"/>
                  </a:lnTo>
                  <a:lnTo>
                    <a:pt x="32185" y="13033"/>
                  </a:lnTo>
                  <a:lnTo>
                    <a:pt x="33182" y="14923"/>
                  </a:lnTo>
                  <a:lnTo>
                    <a:pt x="30491" y="14227"/>
                  </a:lnTo>
                  <a:lnTo>
                    <a:pt x="26007" y="13928"/>
                  </a:lnTo>
                  <a:lnTo>
                    <a:pt x="23417" y="13033"/>
                  </a:lnTo>
                  <a:lnTo>
                    <a:pt x="22918" y="11541"/>
                  </a:lnTo>
                  <a:lnTo>
                    <a:pt x="22619" y="11143"/>
                  </a:lnTo>
                  <a:lnTo>
                    <a:pt x="22121" y="11043"/>
                  </a:lnTo>
                  <a:lnTo>
                    <a:pt x="20527" y="11242"/>
                  </a:lnTo>
                  <a:lnTo>
                    <a:pt x="20128" y="11143"/>
                  </a:lnTo>
                  <a:lnTo>
                    <a:pt x="19730" y="10148"/>
                  </a:lnTo>
                  <a:lnTo>
                    <a:pt x="19630" y="7760"/>
                  </a:lnTo>
                  <a:lnTo>
                    <a:pt x="19231" y="6566"/>
                  </a:lnTo>
                  <a:lnTo>
                    <a:pt x="15644" y="3681"/>
                  </a:lnTo>
                  <a:lnTo>
                    <a:pt x="14449" y="3283"/>
                  </a:lnTo>
                  <a:lnTo>
                    <a:pt x="11659" y="3084"/>
                  </a:lnTo>
                  <a:lnTo>
                    <a:pt x="10463" y="2786"/>
                  </a:lnTo>
                  <a:lnTo>
                    <a:pt x="6776" y="398"/>
                  </a:lnTo>
                  <a:lnTo>
                    <a:pt x="5281" y="0"/>
                  </a:lnTo>
                  <a:lnTo>
                    <a:pt x="4484" y="100"/>
                  </a:lnTo>
                  <a:lnTo>
                    <a:pt x="2391" y="796"/>
                  </a:lnTo>
                  <a:lnTo>
                    <a:pt x="997" y="895"/>
                  </a:lnTo>
                  <a:lnTo>
                    <a:pt x="797" y="1393"/>
                  </a:lnTo>
                  <a:lnTo>
                    <a:pt x="698" y="1890"/>
                  </a:lnTo>
                  <a:lnTo>
                    <a:pt x="498" y="2288"/>
                  </a:lnTo>
                  <a:lnTo>
                    <a:pt x="0" y="2786"/>
                  </a:lnTo>
                  <a:lnTo>
                    <a:pt x="8271" y="14923"/>
                  </a:lnTo>
                  <a:lnTo>
                    <a:pt x="9367" y="15520"/>
                  </a:lnTo>
                  <a:lnTo>
                    <a:pt x="9367" y="17112"/>
                  </a:lnTo>
                  <a:lnTo>
                    <a:pt x="8669" y="20096"/>
                  </a:lnTo>
                  <a:lnTo>
                    <a:pt x="9367" y="20395"/>
                  </a:lnTo>
                  <a:lnTo>
                    <a:pt x="10861" y="19699"/>
                  </a:lnTo>
                  <a:lnTo>
                    <a:pt x="12356" y="1830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0" name="Freeform: Shape 1159">
              <a:extLst>
                <a:ext uri="{FF2B5EF4-FFF2-40B4-BE49-F238E27FC236}">
                  <a16:creationId xmlns:a16="http://schemas.microsoft.com/office/drawing/2014/main" id="{27CCF658-F437-4744-B5FF-7D954A158035}"/>
                </a:ext>
              </a:extLst>
            </p:cNvPr>
            <p:cNvSpPr/>
            <p:nvPr/>
          </p:nvSpPr>
          <p:spPr>
            <a:xfrm>
              <a:off x="4222648" y="4524325"/>
              <a:ext cx="19132" cy="4178"/>
            </a:xfrm>
            <a:custGeom>
              <a:avLst/>
              <a:gdLst>
                <a:gd name="connsiteX0" fmla="*/ 9466 w 19132"/>
                <a:gd name="connsiteY0" fmla="*/ 896 h 4178"/>
                <a:gd name="connsiteX1" fmla="*/ 0 w 19132"/>
                <a:gd name="connsiteY1" fmla="*/ 0 h 4178"/>
                <a:gd name="connsiteX2" fmla="*/ 2491 w 19132"/>
                <a:gd name="connsiteY2" fmla="*/ 4079 h 4178"/>
                <a:gd name="connsiteX3" fmla="*/ 7773 w 19132"/>
                <a:gd name="connsiteY3" fmla="*/ 4179 h 4178"/>
                <a:gd name="connsiteX4" fmla="*/ 19132 w 19132"/>
                <a:gd name="connsiteY4" fmla="*/ 1990 h 4178"/>
                <a:gd name="connsiteX5" fmla="*/ 19132 w 19132"/>
                <a:gd name="connsiteY5" fmla="*/ 896 h 4178"/>
                <a:gd name="connsiteX6" fmla="*/ 16641 w 19132"/>
                <a:gd name="connsiteY6" fmla="*/ 199 h 4178"/>
                <a:gd name="connsiteX7" fmla="*/ 9466 w 19132"/>
                <a:gd name="connsiteY7" fmla="*/ 896 h 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132" h="4178">
                  <a:moveTo>
                    <a:pt x="9466" y="896"/>
                  </a:moveTo>
                  <a:lnTo>
                    <a:pt x="0" y="0"/>
                  </a:lnTo>
                  <a:lnTo>
                    <a:pt x="2491" y="4079"/>
                  </a:lnTo>
                  <a:lnTo>
                    <a:pt x="7773" y="4179"/>
                  </a:lnTo>
                  <a:lnTo>
                    <a:pt x="19132" y="1990"/>
                  </a:lnTo>
                  <a:lnTo>
                    <a:pt x="19132" y="896"/>
                  </a:lnTo>
                  <a:lnTo>
                    <a:pt x="16641" y="199"/>
                  </a:lnTo>
                  <a:lnTo>
                    <a:pt x="9466" y="8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1" name="Freeform: Shape 1160">
              <a:extLst>
                <a:ext uri="{FF2B5EF4-FFF2-40B4-BE49-F238E27FC236}">
                  <a16:creationId xmlns:a16="http://schemas.microsoft.com/office/drawing/2014/main" id="{6F6A2EB4-7885-4342-90E1-A615AABD78B1}"/>
                </a:ext>
              </a:extLst>
            </p:cNvPr>
            <p:cNvSpPr/>
            <p:nvPr/>
          </p:nvSpPr>
          <p:spPr>
            <a:xfrm>
              <a:off x="3054620" y="4681714"/>
              <a:ext cx="43544" cy="9650"/>
            </a:xfrm>
            <a:custGeom>
              <a:avLst/>
              <a:gdLst>
                <a:gd name="connsiteX0" fmla="*/ 41551 w 43544"/>
                <a:gd name="connsiteY0" fmla="*/ 7561 h 9650"/>
                <a:gd name="connsiteX1" fmla="*/ 39360 w 43544"/>
                <a:gd name="connsiteY1" fmla="*/ 6567 h 9650"/>
                <a:gd name="connsiteX2" fmla="*/ 32185 w 43544"/>
                <a:gd name="connsiteY2" fmla="*/ 4577 h 9650"/>
                <a:gd name="connsiteX3" fmla="*/ 21922 w 43544"/>
                <a:gd name="connsiteY3" fmla="*/ 1990 h 9650"/>
                <a:gd name="connsiteX4" fmla="*/ 5381 w 43544"/>
                <a:gd name="connsiteY4" fmla="*/ 0 h 9650"/>
                <a:gd name="connsiteX5" fmla="*/ 4185 w 43544"/>
                <a:gd name="connsiteY5" fmla="*/ 896 h 9650"/>
                <a:gd name="connsiteX6" fmla="*/ 3388 w 43544"/>
                <a:gd name="connsiteY6" fmla="*/ 1194 h 9650"/>
                <a:gd name="connsiteX7" fmla="*/ 3388 w 43544"/>
                <a:gd name="connsiteY7" fmla="*/ 1493 h 9650"/>
                <a:gd name="connsiteX8" fmla="*/ 4982 w 43544"/>
                <a:gd name="connsiteY8" fmla="*/ 2189 h 9650"/>
                <a:gd name="connsiteX9" fmla="*/ 6477 w 43544"/>
                <a:gd name="connsiteY9" fmla="*/ 2189 h 9650"/>
                <a:gd name="connsiteX10" fmla="*/ 7872 w 43544"/>
                <a:gd name="connsiteY10" fmla="*/ 2487 h 9650"/>
                <a:gd name="connsiteX11" fmla="*/ 9267 w 43544"/>
                <a:gd name="connsiteY11" fmla="*/ 3184 h 9650"/>
                <a:gd name="connsiteX12" fmla="*/ 7174 w 43544"/>
                <a:gd name="connsiteY12" fmla="*/ 3581 h 9650"/>
                <a:gd name="connsiteX13" fmla="*/ 4185 w 43544"/>
                <a:gd name="connsiteY13" fmla="*/ 5074 h 9650"/>
                <a:gd name="connsiteX14" fmla="*/ 1694 w 43544"/>
                <a:gd name="connsiteY14" fmla="*/ 6865 h 9650"/>
                <a:gd name="connsiteX15" fmla="*/ 598 w 43544"/>
                <a:gd name="connsiteY15" fmla="*/ 8258 h 9650"/>
                <a:gd name="connsiteX16" fmla="*/ 0 w 43544"/>
                <a:gd name="connsiteY16" fmla="*/ 9651 h 9650"/>
                <a:gd name="connsiteX17" fmla="*/ 43544 w 43544"/>
                <a:gd name="connsiteY17" fmla="*/ 9651 h 9650"/>
                <a:gd name="connsiteX18" fmla="*/ 43345 w 43544"/>
                <a:gd name="connsiteY18" fmla="*/ 9054 h 9650"/>
                <a:gd name="connsiteX19" fmla="*/ 41551 w 43544"/>
                <a:gd name="connsiteY19" fmla="*/ 7561 h 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3544" h="9650">
                  <a:moveTo>
                    <a:pt x="41551" y="7561"/>
                  </a:moveTo>
                  <a:lnTo>
                    <a:pt x="39360" y="6567"/>
                  </a:lnTo>
                  <a:lnTo>
                    <a:pt x="32185" y="4577"/>
                  </a:lnTo>
                  <a:lnTo>
                    <a:pt x="21922" y="1990"/>
                  </a:lnTo>
                  <a:lnTo>
                    <a:pt x="5381" y="0"/>
                  </a:lnTo>
                  <a:lnTo>
                    <a:pt x="4185" y="896"/>
                  </a:lnTo>
                  <a:lnTo>
                    <a:pt x="3388" y="1194"/>
                  </a:lnTo>
                  <a:lnTo>
                    <a:pt x="3388" y="1493"/>
                  </a:lnTo>
                  <a:lnTo>
                    <a:pt x="4982" y="2189"/>
                  </a:lnTo>
                  <a:lnTo>
                    <a:pt x="6477" y="2189"/>
                  </a:lnTo>
                  <a:lnTo>
                    <a:pt x="7872" y="2487"/>
                  </a:lnTo>
                  <a:lnTo>
                    <a:pt x="9267" y="3184"/>
                  </a:lnTo>
                  <a:lnTo>
                    <a:pt x="7174" y="3581"/>
                  </a:lnTo>
                  <a:lnTo>
                    <a:pt x="4185" y="5074"/>
                  </a:lnTo>
                  <a:lnTo>
                    <a:pt x="1694" y="6865"/>
                  </a:lnTo>
                  <a:lnTo>
                    <a:pt x="598" y="8258"/>
                  </a:lnTo>
                  <a:lnTo>
                    <a:pt x="0" y="9651"/>
                  </a:lnTo>
                  <a:lnTo>
                    <a:pt x="43544" y="9651"/>
                  </a:lnTo>
                  <a:lnTo>
                    <a:pt x="43345" y="9054"/>
                  </a:lnTo>
                  <a:lnTo>
                    <a:pt x="41551" y="756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2" name="Freeform: Shape 1161">
              <a:extLst>
                <a:ext uri="{FF2B5EF4-FFF2-40B4-BE49-F238E27FC236}">
                  <a16:creationId xmlns:a16="http://schemas.microsoft.com/office/drawing/2014/main" id="{E78FBCC7-81F2-4A16-867C-5432A4BA1F47}"/>
                </a:ext>
              </a:extLst>
            </p:cNvPr>
            <p:cNvSpPr/>
            <p:nvPr/>
          </p:nvSpPr>
          <p:spPr>
            <a:xfrm>
              <a:off x="3100756" y="4680918"/>
              <a:ext cx="9764" cy="4576"/>
            </a:xfrm>
            <a:custGeom>
              <a:avLst/>
              <a:gdLst>
                <a:gd name="connsiteX0" fmla="*/ 2889 w 9764"/>
                <a:gd name="connsiteY0" fmla="*/ 0 h 4576"/>
                <a:gd name="connsiteX1" fmla="*/ 0 w 9764"/>
                <a:gd name="connsiteY1" fmla="*/ 696 h 4576"/>
                <a:gd name="connsiteX2" fmla="*/ 1295 w 9764"/>
                <a:gd name="connsiteY2" fmla="*/ 2985 h 4576"/>
                <a:gd name="connsiteX3" fmla="*/ 4783 w 9764"/>
                <a:gd name="connsiteY3" fmla="*/ 4577 h 4576"/>
                <a:gd name="connsiteX4" fmla="*/ 8270 w 9764"/>
                <a:gd name="connsiteY4" fmla="*/ 4377 h 4576"/>
                <a:gd name="connsiteX5" fmla="*/ 9765 w 9764"/>
                <a:gd name="connsiteY5" fmla="*/ 3781 h 4576"/>
                <a:gd name="connsiteX6" fmla="*/ 7573 w 9764"/>
                <a:gd name="connsiteY6" fmla="*/ 2089 h 4576"/>
                <a:gd name="connsiteX7" fmla="*/ 2889 w 9764"/>
                <a:gd name="connsiteY7" fmla="*/ 0 h 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64" h="4576">
                  <a:moveTo>
                    <a:pt x="2889" y="0"/>
                  </a:moveTo>
                  <a:lnTo>
                    <a:pt x="0" y="696"/>
                  </a:lnTo>
                  <a:lnTo>
                    <a:pt x="1295" y="2985"/>
                  </a:lnTo>
                  <a:lnTo>
                    <a:pt x="4783" y="4577"/>
                  </a:lnTo>
                  <a:lnTo>
                    <a:pt x="8270" y="4377"/>
                  </a:lnTo>
                  <a:lnTo>
                    <a:pt x="9765" y="3781"/>
                  </a:lnTo>
                  <a:lnTo>
                    <a:pt x="7573" y="2089"/>
                  </a:lnTo>
                  <a:lnTo>
                    <a:pt x="2889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0A2F321B-B2F2-425D-AF94-24B361A78AAF}"/>
                </a:ext>
              </a:extLst>
            </p:cNvPr>
            <p:cNvSpPr/>
            <p:nvPr/>
          </p:nvSpPr>
          <p:spPr>
            <a:xfrm>
              <a:off x="2981681" y="4678531"/>
              <a:ext cx="7871" cy="1790"/>
            </a:xfrm>
            <a:custGeom>
              <a:avLst/>
              <a:gdLst>
                <a:gd name="connsiteX0" fmla="*/ 6875 w 7871"/>
                <a:gd name="connsiteY0" fmla="*/ 1393 h 1790"/>
                <a:gd name="connsiteX1" fmla="*/ 4982 w 7871"/>
                <a:gd name="connsiteY1" fmla="*/ 796 h 1790"/>
                <a:gd name="connsiteX2" fmla="*/ 1196 w 7871"/>
                <a:gd name="connsiteY2" fmla="*/ 0 h 1790"/>
                <a:gd name="connsiteX3" fmla="*/ 0 w 7871"/>
                <a:gd name="connsiteY3" fmla="*/ 696 h 1790"/>
                <a:gd name="connsiteX4" fmla="*/ 1893 w 7871"/>
                <a:gd name="connsiteY4" fmla="*/ 1592 h 1790"/>
                <a:gd name="connsiteX5" fmla="*/ 4683 w 7871"/>
                <a:gd name="connsiteY5" fmla="*/ 1791 h 1790"/>
                <a:gd name="connsiteX6" fmla="*/ 7174 w 7871"/>
                <a:gd name="connsiteY6" fmla="*/ 1692 h 1790"/>
                <a:gd name="connsiteX7" fmla="*/ 7872 w 7871"/>
                <a:gd name="connsiteY7" fmla="*/ 1393 h 1790"/>
                <a:gd name="connsiteX8" fmla="*/ 7274 w 7871"/>
                <a:gd name="connsiteY8" fmla="*/ 1393 h 1790"/>
                <a:gd name="connsiteX9" fmla="*/ 6875 w 7871"/>
                <a:gd name="connsiteY9" fmla="*/ 1393 h 1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71" h="1790">
                  <a:moveTo>
                    <a:pt x="6875" y="1393"/>
                  </a:moveTo>
                  <a:lnTo>
                    <a:pt x="4982" y="796"/>
                  </a:lnTo>
                  <a:lnTo>
                    <a:pt x="1196" y="0"/>
                  </a:lnTo>
                  <a:lnTo>
                    <a:pt x="0" y="696"/>
                  </a:lnTo>
                  <a:lnTo>
                    <a:pt x="1893" y="1592"/>
                  </a:lnTo>
                  <a:lnTo>
                    <a:pt x="4683" y="1791"/>
                  </a:lnTo>
                  <a:lnTo>
                    <a:pt x="7174" y="1692"/>
                  </a:lnTo>
                  <a:lnTo>
                    <a:pt x="7872" y="1393"/>
                  </a:lnTo>
                  <a:lnTo>
                    <a:pt x="7274" y="1393"/>
                  </a:lnTo>
                  <a:lnTo>
                    <a:pt x="6875" y="13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4" name="Freeform: Shape 1163">
              <a:extLst>
                <a:ext uri="{FF2B5EF4-FFF2-40B4-BE49-F238E27FC236}">
                  <a16:creationId xmlns:a16="http://schemas.microsoft.com/office/drawing/2014/main" id="{39047C26-2FE3-471E-8E79-414D04039FC9}"/>
                </a:ext>
              </a:extLst>
            </p:cNvPr>
            <p:cNvSpPr/>
            <p:nvPr/>
          </p:nvSpPr>
          <p:spPr>
            <a:xfrm>
              <a:off x="3237567" y="4664304"/>
              <a:ext cx="5281" cy="4377"/>
            </a:xfrm>
            <a:custGeom>
              <a:avLst/>
              <a:gdLst>
                <a:gd name="connsiteX0" fmla="*/ 4085 w 5281"/>
                <a:gd name="connsiteY0" fmla="*/ 1393 h 4377"/>
                <a:gd name="connsiteX1" fmla="*/ 3487 w 5281"/>
                <a:gd name="connsiteY1" fmla="*/ 995 h 4377"/>
                <a:gd name="connsiteX2" fmla="*/ 2192 w 5281"/>
                <a:gd name="connsiteY2" fmla="*/ 299 h 4377"/>
                <a:gd name="connsiteX3" fmla="*/ 797 w 5281"/>
                <a:gd name="connsiteY3" fmla="*/ 0 h 4377"/>
                <a:gd name="connsiteX4" fmla="*/ 0 w 5281"/>
                <a:gd name="connsiteY4" fmla="*/ 497 h 4377"/>
                <a:gd name="connsiteX5" fmla="*/ 0 w 5281"/>
                <a:gd name="connsiteY5" fmla="*/ 1592 h 4377"/>
                <a:gd name="connsiteX6" fmla="*/ 299 w 5281"/>
                <a:gd name="connsiteY6" fmla="*/ 2686 h 4377"/>
                <a:gd name="connsiteX7" fmla="*/ 797 w 5281"/>
                <a:gd name="connsiteY7" fmla="*/ 3482 h 4377"/>
                <a:gd name="connsiteX8" fmla="*/ 1594 w 5281"/>
                <a:gd name="connsiteY8" fmla="*/ 3681 h 4377"/>
                <a:gd name="connsiteX9" fmla="*/ 2989 w 5281"/>
                <a:gd name="connsiteY9" fmla="*/ 3681 h 4377"/>
                <a:gd name="connsiteX10" fmla="*/ 4285 w 5281"/>
                <a:gd name="connsiteY10" fmla="*/ 4377 h 4377"/>
                <a:gd name="connsiteX11" fmla="*/ 5281 w 5281"/>
                <a:gd name="connsiteY11" fmla="*/ 4377 h 4377"/>
                <a:gd name="connsiteX12" fmla="*/ 4982 w 5281"/>
                <a:gd name="connsiteY12" fmla="*/ 2487 h 4377"/>
                <a:gd name="connsiteX13" fmla="*/ 4085 w 5281"/>
                <a:gd name="connsiteY13" fmla="*/ 1393 h 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81" h="4377">
                  <a:moveTo>
                    <a:pt x="4085" y="1393"/>
                  </a:moveTo>
                  <a:lnTo>
                    <a:pt x="3487" y="995"/>
                  </a:lnTo>
                  <a:lnTo>
                    <a:pt x="2192" y="299"/>
                  </a:lnTo>
                  <a:lnTo>
                    <a:pt x="797" y="0"/>
                  </a:lnTo>
                  <a:lnTo>
                    <a:pt x="0" y="497"/>
                  </a:lnTo>
                  <a:lnTo>
                    <a:pt x="0" y="1592"/>
                  </a:lnTo>
                  <a:lnTo>
                    <a:pt x="299" y="2686"/>
                  </a:lnTo>
                  <a:lnTo>
                    <a:pt x="797" y="3482"/>
                  </a:lnTo>
                  <a:lnTo>
                    <a:pt x="1594" y="3681"/>
                  </a:lnTo>
                  <a:lnTo>
                    <a:pt x="2989" y="3681"/>
                  </a:lnTo>
                  <a:lnTo>
                    <a:pt x="4285" y="4377"/>
                  </a:lnTo>
                  <a:lnTo>
                    <a:pt x="5281" y="4377"/>
                  </a:lnTo>
                  <a:lnTo>
                    <a:pt x="4982" y="2487"/>
                  </a:lnTo>
                  <a:lnTo>
                    <a:pt x="4085" y="13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5" name="Freeform: Shape 1164">
              <a:extLst>
                <a:ext uri="{FF2B5EF4-FFF2-40B4-BE49-F238E27FC236}">
                  <a16:creationId xmlns:a16="http://schemas.microsoft.com/office/drawing/2014/main" id="{BF748BEC-9BD0-4B27-82B6-9114C583D46C}"/>
                </a:ext>
              </a:extLst>
            </p:cNvPr>
            <p:cNvSpPr/>
            <p:nvPr/>
          </p:nvSpPr>
          <p:spPr>
            <a:xfrm>
              <a:off x="3595090" y="4599737"/>
              <a:ext cx="5081" cy="4377"/>
            </a:xfrm>
            <a:custGeom>
              <a:avLst/>
              <a:gdLst>
                <a:gd name="connsiteX0" fmla="*/ 3687 w 5081"/>
                <a:gd name="connsiteY0" fmla="*/ 1393 h 4377"/>
                <a:gd name="connsiteX1" fmla="*/ 2491 w 5081"/>
                <a:gd name="connsiteY1" fmla="*/ 1492 h 4377"/>
                <a:gd name="connsiteX2" fmla="*/ 698 w 5081"/>
                <a:gd name="connsiteY2" fmla="*/ 995 h 4377"/>
                <a:gd name="connsiteX3" fmla="*/ 0 w 5081"/>
                <a:gd name="connsiteY3" fmla="*/ 1293 h 4377"/>
                <a:gd name="connsiteX4" fmla="*/ 0 w 5081"/>
                <a:gd name="connsiteY4" fmla="*/ 3482 h 4377"/>
                <a:gd name="connsiteX5" fmla="*/ 199 w 5081"/>
                <a:gd name="connsiteY5" fmla="*/ 4377 h 4377"/>
                <a:gd name="connsiteX6" fmla="*/ 1395 w 5081"/>
                <a:gd name="connsiteY6" fmla="*/ 4377 h 4377"/>
                <a:gd name="connsiteX7" fmla="*/ 3687 w 5081"/>
                <a:gd name="connsiteY7" fmla="*/ 3581 h 4377"/>
                <a:gd name="connsiteX8" fmla="*/ 3986 w 5081"/>
                <a:gd name="connsiteY8" fmla="*/ 2786 h 4377"/>
                <a:gd name="connsiteX9" fmla="*/ 4982 w 5081"/>
                <a:gd name="connsiteY9" fmla="*/ 1293 h 4377"/>
                <a:gd name="connsiteX10" fmla="*/ 5082 w 5081"/>
                <a:gd name="connsiteY10" fmla="*/ 398 h 4377"/>
                <a:gd name="connsiteX11" fmla="*/ 4185 w 5081"/>
                <a:gd name="connsiteY11" fmla="*/ 0 h 4377"/>
                <a:gd name="connsiteX12" fmla="*/ 3886 w 5081"/>
                <a:gd name="connsiteY12" fmla="*/ 398 h 4377"/>
                <a:gd name="connsiteX13" fmla="*/ 3687 w 5081"/>
                <a:gd name="connsiteY13" fmla="*/ 1393 h 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81" h="4377">
                  <a:moveTo>
                    <a:pt x="3687" y="1393"/>
                  </a:moveTo>
                  <a:lnTo>
                    <a:pt x="2491" y="1492"/>
                  </a:lnTo>
                  <a:lnTo>
                    <a:pt x="698" y="995"/>
                  </a:lnTo>
                  <a:lnTo>
                    <a:pt x="0" y="1293"/>
                  </a:lnTo>
                  <a:lnTo>
                    <a:pt x="0" y="3482"/>
                  </a:lnTo>
                  <a:lnTo>
                    <a:pt x="199" y="4377"/>
                  </a:lnTo>
                  <a:lnTo>
                    <a:pt x="1395" y="4377"/>
                  </a:lnTo>
                  <a:lnTo>
                    <a:pt x="3687" y="3581"/>
                  </a:lnTo>
                  <a:lnTo>
                    <a:pt x="3986" y="2786"/>
                  </a:lnTo>
                  <a:lnTo>
                    <a:pt x="4982" y="1293"/>
                  </a:lnTo>
                  <a:lnTo>
                    <a:pt x="5082" y="398"/>
                  </a:lnTo>
                  <a:lnTo>
                    <a:pt x="4185" y="0"/>
                  </a:lnTo>
                  <a:lnTo>
                    <a:pt x="3886" y="398"/>
                  </a:lnTo>
                  <a:lnTo>
                    <a:pt x="3687" y="13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6" name="Freeform: Shape 1165">
              <a:extLst>
                <a:ext uri="{FF2B5EF4-FFF2-40B4-BE49-F238E27FC236}">
                  <a16:creationId xmlns:a16="http://schemas.microsoft.com/office/drawing/2014/main" id="{06D355DA-F4C5-4C54-B53A-7C3C03BF64B8}"/>
                </a:ext>
              </a:extLst>
            </p:cNvPr>
            <p:cNvSpPr/>
            <p:nvPr/>
          </p:nvSpPr>
          <p:spPr>
            <a:xfrm>
              <a:off x="3118492" y="4587500"/>
              <a:ext cx="2590" cy="11043"/>
            </a:xfrm>
            <a:custGeom>
              <a:avLst/>
              <a:gdLst>
                <a:gd name="connsiteX0" fmla="*/ 1694 w 2590"/>
                <a:gd name="connsiteY0" fmla="*/ 2089 h 11043"/>
                <a:gd name="connsiteX1" fmla="*/ 1495 w 2590"/>
                <a:gd name="connsiteY1" fmla="*/ 1592 h 11043"/>
                <a:gd name="connsiteX2" fmla="*/ 1096 w 2590"/>
                <a:gd name="connsiteY2" fmla="*/ 498 h 11043"/>
                <a:gd name="connsiteX3" fmla="*/ 399 w 2590"/>
                <a:gd name="connsiteY3" fmla="*/ 0 h 11043"/>
                <a:gd name="connsiteX4" fmla="*/ 0 w 2590"/>
                <a:gd name="connsiteY4" fmla="*/ 100 h 11043"/>
                <a:gd name="connsiteX5" fmla="*/ 0 w 2590"/>
                <a:gd name="connsiteY5" fmla="*/ 796 h 11043"/>
                <a:gd name="connsiteX6" fmla="*/ 399 w 2590"/>
                <a:gd name="connsiteY6" fmla="*/ 1990 h 11043"/>
                <a:gd name="connsiteX7" fmla="*/ 100 w 2590"/>
                <a:gd name="connsiteY7" fmla="*/ 10546 h 11043"/>
                <a:gd name="connsiteX8" fmla="*/ 698 w 2590"/>
                <a:gd name="connsiteY8" fmla="*/ 11043 h 11043"/>
                <a:gd name="connsiteX9" fmla="*/ 1196 w 2590"/>
                <a:gd name="connsiteY9" fmla="*/ 10247 h 11043"/>
                <a:gd name="connsiteX10" fmla="*/ 1794 w 2590"/>
                <a:gd name="connsiteY10" fmla="*/ 9253 h 11043"/>
                <a:gd name="connsiteX11" fmla="*/ 2591 w 2590"/>
                <a:gd name="connsiteY11" fmla="*/ 6865 h 11043"/>
                <a:gd name="connsiteX12" fmla="*/ 2192 w 2590"/>
                <a:gd name="connsiteY12" fmla="*/ 3781 h 11043"/>
                <a:gd name="connsiteX13" fmla="*/ 1694 w 2590"/>
                <a:gd name="connsiteY13" fmla="*/ 2089 h 11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90" h="11043">
                  <a:moveTo>
                    <a:pt x="1694" y="2089"/>
                  </a:moveTo>
                  <a:lnTo>
                    <a:pt x="1495" y="1592"/>
                  </a:lnTo>
                  <a:lnTo>
                    <a:pt x="1096" y="498"/>
                  </a:lnTo>
                  <a:lnTo>
                    <a:pt x="399" y="0"/>
                  </a:lnTo>
                  <a:lnTo>
                    <a:pt x="0" y="100"/>
                  </a:lnTo>
                  <a:lnTo>
                    <a:pt x="0" y="796"/>
                  </a:lnTo>
                  <a:lnTo>
                    <a:pt x="399" y="1990"/>
                  </a:lnTo>
                  <a:lnTo>
                    <a:pt x="100" y="10546"/>
                  </a:lnTo>
                  <a:lnTo>
                    <a:pt x="698" y="11043"/>
                  </a:lnTo>
                  <a:lnTo>
                    <a:pt x="1196" y="10247"/>
                  </a:lnTo>
                  <a:lnTo>
                    <a:pt x="1794" y="9253"/>
                  </a:lnTo>
                  <a:lnTo>
                    <a:pt x="2591" y="6865"/>
                  </a:lnTo>
                  <a:lnTo>
                    <a:pt x="2192" y="3781"/>
                  </a:lnTo>
                  <a:lnTo>
                    <a:pt x="1694" y="208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7" name="Freeform: Shape 1166">
              <a:extLst>
                <a:ext uri="{FF2B5EF4-FFF2-40B4-BE49-F238E27FC236}">
                  <a16:creationId xmlns:a16="http://schemas.microsoft.com/office/drawing/2014/main" id="{0B1AF265-2EF4-4630-AB11-F879D86C879F}"/>
                </a:ext>
              </a:extLst>
            </p:cNvPr>
            <p:cNvSpPr/>
            <p:nvPr/>
          </p:nvSpPr>
          <p:spPr>
            <a:xfrm>
              <a:off x="-365961" y="3976249"/>
              <a:ext cx="2989" cy="2089"/>
            </a:xfrm>
            <a:custGeom>
              <a:avLst/>
              <a:gdLst>
                <a:gd name="connsiteX0" fmla="*/ 0 w 2989"/>
                <a:gd name="connsiteY0" fmla="*/ 0 h 2089"/>
                <a:gd name="connsiteX1" fmla="*/ 2491 w 2989"/>
                <a:gd name="connsiteY1" fmla="*/ 2089 h 2089"/>
                <a:gd name="connsiteX2" fmla="*/ 2989 w 2989"/>
                <a:gd name="connsiteY2" fmla="*/ 1592 h 2089"/>
                <a:gd name="connsiteX3" fmla="*/ 0 w 2989"/>
                <a:gd name="connsiteY3" fmla="*/ 0 h 2089"/>
                <a:gd name="connsiteX4" fmla="*/ 0 w 2989"/>
                <a:gd name="connsiteY4" fmla="*/ 0 h 2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89" h="2089">
                  <a:moveTo>
                    <a:pt x="0" y="0"/>
                  </a:moveTo>
                  <a:lnTo>
                    <a:pt x="2491" y="2089"/>
                  </a:lnTo>
                  <a:lnTo>
                    <a:pt x="2989" y="159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8" name="Freeform: Shape 1167">
              <a:extLst>
                <a:ext uri="{FF2B5EF4-FFF2-40B4-BE49-F238E27FC236}">
                  <a16:creationId xmlns:a16="http://schemas.microsoft.com/office/drawing/2014/main" id="{5000BE07-7469-4A85-9C0B-C5F7854C0004}"/>
                </a:ext>
              </a:extLst>
            </p:cNvPr>
            <p:cNvSpPr/>
            <p:nvPr/>
          </p:nvSpPr>
          <p:spPr>
            <a:xfrm>
              <a:off x="-1252494" y="3185622"/>
              <a:ext cx="2516810" cy="1504250"/>
            </a:xfrm>
            <a:custGeom>
              <a:avLst/>
              <a:gdLst>
                <a:gd name="connsiteX0" fmla="*/ 2508739 w 2516810"/>
                <a:gd name="connsiteY0" fmla="*/ 947120 h 1504250"/>
                <a:gd name="connsiteX1" fmla="*/ 2502760 w 2516810"/>
                <a:gd name="connsiteY1" fmla="*/ 947120 h 1504250"/>
                <a:gd name="connsiteX2" fmla="*/ 2501067 w 2516810"/>
                <a:gd name="connsiteY2" fmla="*/ 947120 h 1504250"/>
                <a:gd name="connsiteX3" fmla="*/ 2501067 w 2516810"/>
                <a:gd name="connsiteY3" fmla="*/ 949309 h 1504250"/>
                <a:gd name="connsiteX4" fmla="*/ 2498775 w 2516810"/>
                <a:gd name="connsiteY4" fmla="*/ 951498 h 1504250"/>
                <a:gd name="connsiteX5" fmla="*/ 2495786 w 2516810"/>
                <a:gd name="connsiteY5" fmla="*/ 952393 h 1504250"/>
                <a:gd name="connsiteX6" fmla="*/ 2493593 w 2516810"/>
                <a:gd name="connsiteY6" fmla="*/ 950901 h 1504250"/>
                <a:gd name="connsiteX7" fmla="*/ 2490803 w 2516810"/>
                <a:gd name="connsiteY7" fmla="*/ 952891 h 1504250"/>
                <a:gd name="connsiteX8" fmla="*/ 2490305 w 2516810"/>
                <a:gd name="connsiteY8" fmla="*/ 953687 h 1504250"/>
                <a:gd name="connsiteX9" fmla="*/ 2490305 w 2516810"/>
                <a:gd name="connsiteY9" fmla="*/ 956273 h 1504250"/>
                <a:gd name="connsiteX10" fmla="*/ 2491202 w 2516810"/>
                <a:gd name="connsiteY10" fmla="*/ 959358 h 1504250"/>
                <a:gd name="connsiteX11" fmla="*/ 2491202 w 2516810"/>
                <a:gd name="connsiteY11" fmla="*/ 962044 h 1504250"/>
                <a:gd name="connsiteX12" fmla="*/ 2488611 w 2516810"/>
                <a:gd name="connsiteY12" fmla="*/ 963237 h 1504250"/>
                <a:gd name="connsiteX13" fmla="*/ 2487316 w 2516810"/>
                <a:gd name="connsiteY13" fmla="*/ 962740 h 1504250"/>
                <a:gd name="connsiteX14" fmla="*/ 2486817 w 2516810"/>
                <a:gd name="connsiteY14" fmla="*/ 961944 h 1504250"/>
                <a:gd name="connsiteX15" fmla="*/ 2486817 w 2516810"/>
                <a:gd name="connsiteY15" fmla="*/ 960949 h 1504250"/>
                <a:gd name="connsiteX16" fmla="*/ 2486020 w 2516810"/>
                <a:gd name="connsiteY16" fmla="*/ 960153 h 1504250"/>
                <a:gd name="connsiteX17" fmla="*/ 2484127 w 2516810"/>
                <a:gd name="connsiteY17" fmla="*/ 960153 h 1504250"/>
                <a:gd name="connsiteX18" fmla="*/ 2484127 w 2516810"/>
                <a:gd name="connsiteY18" fmla="*/ 960850 h 1504250"/>
                <a:gd name="connsiteX19" fmla="*/ 2484127 w 2516810"/>
                <a:gd name="connsiteY19" fmla="*/ 961646 h 1504250"/>
                <a:gd name="connsiteX20" fmla="*/ 2483629 w 2516810"/>
                <a:gd name="connsiteY20" fmla="*/ 962143 h 1504250"/>
                <a:gd name="connsiteX21" fmla="*/ 2480938 w 2516810"/>
                <a:gd name="connsiteY21" fmla="*/ 961646 h 1504250"/>
                <a:gd name="connsiteX22" fmla="*/ 2479643 w 2516810"/>
                <a:gd name="connsiteY22" fmla="*/ 959755 h 1504250"/>
                <a:gd name="connsiteX23" fmla="*/ 2478946 w 2516810"/>
                <a:gd name="connsiteY23" fmla="*/ 957567 h 1504250"/>
                <a:gd name="connsiteX24" fmla="*/ 2478049 w 2516810"/>
                <a:gd name="connsiteY24" fmla="*/ 956572 h 1504250"/>
                <a:gd name="connsiteX25" fmla="*/ 2475358 w 2516810"/>
                <a:gd name="connsiteY25" fmla="*/ 956572 h 1504250"/>
                <a:gd name="connsiteX26" fmla="*/ 2473266 w 2516810"/>
                <a:gd name="connsiteY26" fmla="*/ 956572 h 1504250"/>
                <a:gd name="connsiteX27" fmla="*/ 2471273 w 2516810"/>
                <a:gd name="connsiteY27" fmla="*/ 955676 h 1504250"/>
                <a:gd name="connsiteX28" fmla="*/ 2468981 w 2516810"/>
                <a:gd name="connsiteY28" fmla="*/ 954184 h 1504250"/>
                <a:gd name="connsiteX29" fmla="*/ 2463302 w 2516810"/>
                <a:gd name="connsiteY29" fmla="*/ 948414 h 1504250"/>
                <a:gd name="connsiteX30" fmla="*/ 2459615 w 2516810"/>
                <a:gd name="connsiteY30" fmla="*/ 946822 h 1504250"/>
                <a:gd name="connsiteX31" fmla="*/ 2458319 w 2516810"/>
                <a:gd name="connsiteY31" fmla="*/ 944932 h 1504250"/>
                <a:gd name="connsiteX32" fmla="*/ 2457323 w 2516810"/>
                <a:gd name="connsiteY32" fmla="*/ 942743 h 1504250"/>
                <a:gd name="connsiteX33" fmla="*/ 2456027 w 2516810"/>
                <a:gd name="connsiteY33" fmla="*/ 940952 h 1504250"/>
                <a:gd name="connsiteX34" fmla="*/ 2453636 w 2516810"/>
                <a:gd name="connsiteY34" fmla="*/ 939062 h 1504250"/>
                <a:gd name="connsiteX35" fmla="*/ 2451344 w 2516810"/>
                <a:gd name="connsiteY35" fmla="*/ 937967 h 1504250"/>
                <a:gd name="connsiteX36" fmla="*/ 2448853 w 2516810"/>
                <a:gd name="connsiteY36" fmla="*/ 937371 h 1504250"/>
                <a:gd name="connsiteX37" fmla="*/ 2437892 w 2516810"/>
                <a:gd name="connsiteY37" fmla="*/ 936774 h 1504250"/>
                <a:gd name="connsiteX38" fmla="*/ 2436198 w 2516810"/>
                <a:gd name="connsiteY38" fmla="*/ 936276 h 1504250"/>
                <a:gd name="connsiteX39" fmla="*/ 2436198 w 2516810"/>
                <a:gd name="connsiteY39" fmla="*/ 934088 h 1504250"/>
                <a:gd name="connsiteX40" fmla="*/ 2433707 w 2516810"/>
                <a:gd name="connsiteY40" fmla="*/ 933391 h 1504250"/>
                <a:gd name="connsiteX41" fmla="*/ 2423743 w 2516810"/>
                <a:gd name="connsiteY41" fmla="*/ 933391 h 1504250"/>
                <a:gd name="connsiteX42" fmla="*/ 2415771 w 2516810"/>
                <a:gd name="connsiteY42" fmla="*/ 934386 h 1504250"/>
                <a:gd name="connsiteX43" fmla="*/ 2408497 w 2516810"/>
                <a:gd name="connsiteY43" fmla="*/ 933391 h 1504250"/>
                <a:gd name="connsiteX44" fmla="*/ 2406803 w 2516810"/>
                <a:gd name="connsiteY44" fmla="*/ 933391 h 1504250"/>
                <a:gd name="connsiteX45" fmla="*/ 2402817 w 2516810"/>
                <a:gd name="connsiteY45" fmla="*/ 935480 h 1504250"/>
                <a:gd name="connsiteX46" fmla="*/ 2400227 w 2516810"/>
                <a:gd name="connsiteY46" fmla="*/ 936376 h 1504250"/>
                <a:gd name="connsiteX47" fmla="*/ 2398932 w 2516810"/>
                <a:gd name="connsiteY47" fmla="*/ 935779 h 1504250"/>
                <a:gd name="connsiteX48" fmla="*/ 2397935 w 2516810"/>
                <a:gd name="connsiteY48" fmla="*/ 932396 h 1504250"/>
                <a:gd name="connsiteX49" fmla="*/ 2395444 w 2516810"/>
                <a:gd name="connsiteY49" fmla="*/ 931899 h 1504250"/>
                <a:gd name="connsiteX50" fmla="*/ 2389465 w 2516810"/>
                <a:gd name="connsiteY50" fmla="*/ 933391 h 1504250"/>
                <a:gd name="connsiteX51" fmla="*/ 2385081 w 2516810"/>
                <a:gd name="connsiteY51" fmla="*/ 933391 h 1504250"/>
                <a:gd name="connsiteX52" fmla="*/ 2380398 w 2516810"/>
                <a:gd name="connsiteY52" fmla="*/ 931998 h 1504250"/>
                <a:gd name="connsiteX53" fmla="*/ 2370433 w 2516810"/>
                <a:gd name="connsiteY53" fmla="*/ 927024 h 1504250"/>
                <a:gd name="connsiteX54" fmla="*/ 2369337 w 2516810"/>
                <a:gd name="connsiteY54" fmla="*/ 925731 h 1504250"/>
                <a:gd name="connsiteX55" fmla="*/ 2366348 w 2516810"/>
                <a:gd name="connsiteY55" fmla="*/ 921254 h 1504250"/>
                <a:gd name="connsiteX56" fmla="*/ 2365551 w 2516810"/>
                <a:gd name="connsiteY56" fmla="*/ 920358 h 1504250"/>
                <a:gd name="connsiteX57" fmla="*/ 2362262 w 2516810"/>
                <a:gd name="connsiteY57" fmla="*/ 920358 h 1504250"/>
                <a:gd name="connsiteX58" fmla="*/ 2360768 w 2516810"/>
                <a:gd name="connsiteY58" fmla="*/ 920358 h 1504250"/>
                <a:gd name="connsiteX59" fmla="*/ 2360768 w 2516810"/>
                <a:gd name="connsiteY59" fmla="*/ 918966 h 1504250"/>
                <a:gd name="connsiteX60" fmla="*/ 2361764 w 2516810"/>
                <a:gd name="connsiteY60" fmla="*/ 916180 h 1504250"/>
                <a:gd name="connsiteX61" fmla="*/ 2358277 w 2516810"/>
                <a:gd name="connsiteY61" fmla="*/ 915185 h 1504250"/>
                <a:gd name="connsiteX62" fmla="*/ 2354291 w 2516810"/>
                <a:gd name="connsiteY62" fmla="*/ 912897 h 1504250"/>
                <a:gd name="connsiteX63" fmla="*/ 2350803 w 2516810"/>
                <a:gd name="connsiteY63" fmla="*/ 911703 h 1504250"/>
                <a:gd name="connsiteX64" fmla="*/ 2348811 w 2516810"/>
                <a:gd name="connsiteY64" fmla="*/ 914290 h 1504250"/>
                <a:gd name="connsiteX65" fmla="*/ 2346220 w 2516810"/>
                <a:gd name="connsiteY65" fmla="*/ 911106 h 1504250"/>
                <a:gd name="connsiteX66" fmla="*/ 2342632 w 2516810"/>
                <a:gd name="connsiteY66" fmla="*/ 909713 h 1504250"/>
                <a:gd name="connsiteX67" fmla="*/ 2338647 w 2516810"/>
                <a:gd name="connsiteY67" fmla="*/ 908619 h 1504250"/>
                <a:gd name="connsiteX68" fmla="*/ 2335060 w 2516810"/>
                <a:gd name="connsiteY68" fmla="*/ 906729 h 1504250"/>
                <a:gd name="connsiteX69" fmla="*/ 2327586 w 2516810"/>
                <a:gd name="connsiteY69" fmla="*/ 909614 h 1504250"/>
                <a:gd name="connsiteX70" fmla="*/ 2325992 w 2516810"/>
                <a:gd name="connsiteY70" fmla="*/ 909614 h 1504250"/>
                <a:gd name="connsiteX71" fmla="*/ 2324697 w 2516810"/>
                <a:gd name="connsiteY71" fmla="*/ 907325 h 1504250"/>
                <a:gd name="connsiteX72" fmla="*/ 2322106 w 2516810"/>
                <a:gd name="connsiteY72" fmla="*/ 904938 h 1504250"/>
                <a:gd name="connsiteX73" fmla="*/ 2321110 w 2516810"/>
                <a:gd name="connsiteY73" fmla="*/ 904938 h 1504250"/>
                <a:gd name="connsiteX74" fmla="*/ 2319914 w 2516810"/>
                <a:gd name="connsiteY74" fmla="*/ 904938 h 1504250"/>
                <a:gd name="connsiteX75" fmla="*/ 2319914 w 2516810"/>
                <a:gd name="connsiteY75" fmla="*/ 904241 h 1504250"/>
                <a:gd name="connsiteX76" fmla="*/ 2321508 w 2516810"/>
                <a:gd name="connsiteY76" fmla="*/ 902351 h 1504250"/>
                <a:gd name="connsiteX77" fmla="*/ 2320212 w 2516810"/>
                <a:gd name="connsiteY77" fmla="*/ 901157 h 1504250"/>
                <a:gd name="connsiteX78" fmla="*/ 2318818 w 2516810"/>
                <a:gd name="connsiteY78" fmla="*/ 900560 h 1504250"/>
                <a:gd name="connsiteX79" fmla="*/ 2315430 w 2516810"/>
                <a:gd name="connsiteY79" fmla="*/ 900560 h 1504250"/>
                <a:gd name="connsiteX80" fmla="*/ 2315928 w 2516810"/>
                <a:gd name="connsiteY80" fmla="*/ 898272 h 1504250"/>
                <a:gd name="connsiteX81" fmla="*/ 2314632 w 2516810"/>
                <a:gd name="connsiteY81" fmla="*/ 896581 h 1504250"/>
                <a:gd name="connsiteX82" fmla="*/ 2310248 w 2516810"/>
                <a:gd name="connsiteY82" fmla="*/ 893895 h 1504250"/>
                <a:gd name="connsiteX83" fmla="*/ 2308355 w 2516810"/>
                <a:gd name="connsiteY83" fmla="*/ 891607 h 1504250"/>
                <a:gd name="connsiteX84" fmla="*/ 2307658 w 2516810"/>
                <a:gd name="connsiteY84" fmla="*/ 891109 h 1504250"/>
                <a:gd name="connsiteX85" fmla="*/ 2306561 w 2516810"/>
                <a:gd name="connsiteY85" fmla="*/ 891109 h 1504250"/>
                <a:gd name="connsiteX86" fmla="*/ 2305664 w 2516810"/>
                <a:gd name="connsiteY86" fmla="*/ 891607 h 1504250"/>
                <a:gd name="connsiteX87" fmla="*/ 2304668 w 2516810"/>
                <a:gd name="connsiteY87" fmla="*/ 891607 h 1504250"/>
                <a:gd name="connsiteX88" fmla="*/ 2303273 w 2516810"/>
                <a:gd name="connsiteY88" fmla="*/ 890811 h 1504250"/>
                <a:gd name="connsiteX89" fmla="*/ 2302476 w 2516810"/>
                <a:gd name="connsiteY89" fmla="*/ 891706 h 1504250"/>
                <a:gd name="connsiteX90" fmla="*/ 2301480 w 2516810"/>
                <a:gd name="connsiteY90" fmla="*/ 891706 h 1504250"/>
                <a:gd name="connsiteX91" fmla="*/ 2300184 w 2516810"/>
                <a:gd name="connsiteY91" fmla="*/ 891706 h 1504250"/>
                <a:gd name="connsiteX92" fmla="*/ 2298989 w 2516810"/>
                <a:gd name="connsiteY92" fmla="*/ 890910 h 1504250"/>
                <a:gd name="connsiteX93" fmla="*/ 2296099 w 2516810"/>
                <a:gd name="connsiteY93" fmla="*/ 891507 h 1504250"/>
                <a:gd name="connsiteX94" fmla="*/ 2291515 w 2516810"/>
                <a:gd name="connsiteY94" fmla="*/ 888124 h 1504250"/>
                <a:gd name="connsiteX95" fmla="*/ 2289522 w 2516810"/>
                <a:gd name="connsiteY95" fmla="*/ 890015 h 1504250"/>
                <a:gd name="connsiteX96" fmla="*/ 2288426 w 2516810"/>
                <a:gd name="connsiteY96" fmla="*/ 887925 h 1504250"/>
                <a:gd name="connsiteX97" fmla="*/ 2287330 w 2516810"/>
                <a:gd name="connsiteY97" fmla="*/ 887130 h 1504250"/>
                <a:gd name="connsiteX98" fmla="*/ 2284241 w 2516810"/>
                <a:gd name="connsiteY98" fmla="*/ 887130 h 1504250"/>
                <a:gd name="connsiteX99" fmla="*/ 2282149 w 2516810"/>
                <a:gd name="connsiteY99" fmla="*/ 888025 h 1504250"/>
                <a:gd name="connsiteX100" fmla="*/ 2281351 w 2516810"/>
                <a:gd name="connsiteY100" fmla="*/ 888025 h 1504250"/>
                <a:gd name="connsiteX101" fmla="*/ 2280554 w 2516810"/>
                <a:gd name="connsiteY101" fmla="*/ 888025 h 1504250"/>
                <a:gd name="connsiteX102" fmla="*/ 2279757 w 2516810"/>
                <a:gd name="connsiteY102" fmla="*/ 886732 h 1504250"/>
                <a:gd name="connsiteX103" fmla="*/ 2279159 w 2516810"/>
                <a:gd name="connsiteY103" fmla="*/ 886732 h 1504250"/>
                <a:gd name="connsiteX104" fmla="*/ 2276668 w 2516810"/>
                <a:gd name="connsiteY104" fmla="*/ 886732 h 1504250"/>
                <a:gd name="connsiteX105" fmla="*/ 2274277 w 2516810"/>
                <a:gd name="connsiteY105" fmla="*/ 886732 h 1504250"/>
                <a:gd name="connsiteX106" fmla="*/ 2271885 w 2516810"/>
                <a:gd name="connsiteY106" fmla="*/ 886234 h 1504250"/>
                <a:gd name="connsiteX107" fmla="*/ 2269195 w 2516810"/>
                <a:gd name="connsiteY107" fmla="*/ 884145 h 1504250"/>
                <a:gd name="connsiteX108" fmla="*/ 2269195 w 2516810"/>
                <a:gd name="connsiteY108" fmla="*/ 882652 h 1504250"/>
                <a:gd name="connsiteX109" fmla="*/ 2269992 w 2516810"/>
                <a:gd name="connsiteY109" fmla="*/ 880862 h 1504250"/>
                <a:gd name="connsiteX110" fmla="*/ 2271088 w 2516810"/>
                <a:gd name="connsiteY110" fmla="*/ 879071 h 1504250"/>
                <a:gd name="connsiteX111" fmla="*/ 2271686 w 2516810"/>
                <a:gd name="connsiteY111" fmla="*/ 877579 h 1504250"/>
                <a:gd name="connsiteX112" fmla="*/ 2271686 w 2516810"/>
                <a:gd name="connsiteY112" fmla="*/ 875788 h 1504250"/>
                <a:gd name="connsiteX113" fmla="*/ 2270291 w 2516810"/>
                <a:gd name="connsiteY113" fmla="*/ 871908 h 1504250"/>
                <a:gd name="connsiteX114" fmla="*/ 2268697 w 2516810"/>
                <a:gd name="connsiteY114" fmla="*/ 870018 h 1504250"/>
                <a:gd name="connsiteX115" fmla="*/ 2265508 w 2516810"/>
                <a:gd name="connsiteY115" fmla="*/ 869222 h 1504250"/>
                <a:gd name="connsiteX116" fmla="*/ 2262419 w 2516810"/>
                <a:gd name="connsiteY116" fmla="*/ 867929 h 1504250"/>
                <a:gd name="connsiteX117" fmla="*/ 2261622 w 2516810"/>
                <a:gd name="connsiteY117" fmla="*/ 864745 h 1504250"/>
                <a:gd name="connsiteX118" fmla="*/ 2261622 w 2516810"/>
                <a:gd name="connsiteY118" fmla="*/ 864745 h 1504250"/>
                <a:gd name="connsiteX119" fmla="*/ 2256341 w 2516810"/>
                <a:gd name="connsiteY119" fmla="*/ 864745 h 1504250"/>
                <a:gd name="connsiteX120" fmla="*/ 2252654 w 2516810"/>
                <a:gd name="connsiteY120" fmla="*/ 863253 h 1504250"/>
                <a:gd name="connsiteX121" fmla="*/ 2251159 w 2516810"/>
                <a:gd name="connsiteY121" fmla="*/ 860169 h 1504250"/>
                <a:gd name="connsiteX122" fmla="*/ 2250661 w 2516810"/>
                <a:gd name="connsiteY122" fmla="*/ 858378 h 1504250"/>
                <a:gd name="connsiteX123" fmla="*/ 2248269 w 2516810"/>
                <a:gd name="connsiteY123" fmla="*/ 855194 h 1504250"/>
                <a:gd name="connsiteX124" fmla="*/ 2247672 w 2516810"/>
                <a:gd name="connsiteY124" fmla="*/ 853503 h 1504250"/>
                <a:gd name="connsiteX125" fmla="*/ 2248269 w 2516810"/>
                <a:gd name="connsiteY125" fmla="*/ 852409 h 1504250"/>
                <a:gd name="connsiteX126" fmla="*/ 2249665 w 2516810"/>
                <a:gd name="connsiteY126" fmla="*/ 853005 h 1504250"/>
                <a:gd name="connsiteX127" fmla="*/ 2251458 w 2516810"/>
                <a:gd name="connsiteY127" fmla="*/ 854299 h 1504250"/>
                <a:gd name="connsiteX128" fmla="*/ 2252953 w 2516810"/>
                <a:gd name="connsiteY128" fmla="*/ 854995 h 1504250"/>
                <a:gd name="connsiteX129" fmla="*/ 2252355 w 2516810"/>
                <a:gd name="connsiteY129" fmla="*/ 853204 h 1504250"/>
                <a:gd name="connsiteX130" fmla="*/ 2252953 w 2516810"/>
                <a:gd name="connsiteY130" fmla="*/ 846937 h 1504250"/>
                <a:gd name="connsiteX131" fmla="*/ 2252953 w 2516810"/>
                <a:gd name="connsiteY131" fmla="*/ 844649 h 1504250"/>
                <a:gd name="connsiteX132" fmla="*/ 2251757 w 2516810"/>
                <a:gd name="connsiteY132" fmla="*/ 840570 h 1504250"/>
                <a:gd name="connsiteX133" fmla="*/ 2251757 w 2516810"/>
                <a:gd name="connsiteY133" fmla="*/ 838480 h 1504250"/>
                <a:gd name="connsiteX134" fmla="*/ 2251757 w 2516810"/>
                <a:gd name="connsiteY134" fmla="*/ 832909 h 1504250"/>
                <a:gd name="connsiteX135" fmla="*/ 2251757 w 2516810"/>
                <a:gd name="connsiteY135" fmla="*/ 831317 h 1504250"/>
                <a:gd name="connsiteX136" fmla="*/ 2251757 w 2516810"/>
                <a:gd name="connsiteY136" fmla="*/ 831317 h 1504250"/>
                <a:gd name="connsiteX137" fmla="*/ 2251159 w 2516810"/>
                <a:gd name="connsiteY137" fmla="*/ 831317 h 1504250"/>
                <a:gd name="connsiteX138" fmla="*/ 2251159 w 2516810"/>
                <a:gd name="connsiteY138" fmla="*/ 830820 h 1504250"/>
                <a:gd name="connsiteX139" fmla="*/ 2251159 w 2516810"/>
                <a:gd name="connsiteY139" fmla="*/ 829427 h 1504250"/>
                <a:gd name="connsiteX140" fmla="*/ 2251159 w 2516810"/>
                <a:gd name="connsiteY140" fmla="*/ 828730 h 1504250"/>
                <a:gd name="connsiteX141" fmla="*/ 2248868 w 2516810"/>
                <a:gd name="connsiteY141" fmla="*/ 827139 h 1504250"/>
                <a:gd name="connsiteX142" fmla="*/ 2246476 w 2516810"/>
                <a:gd name="connsiteY142" fmla="*/ 829029 h 1504250"/>
                <a:gd name="connsiteX143" fmla="*/ 2245479 w 2516810"/>
                <a:gd name="connsiteY143" fmla="*/ 830223 h 1504250"/>
                <a:gd name="connsiteX144" fmla="*/ 2244583 w 2516810"/>
                <a:gd name="connsiteY144" fmla="*/ 831815 h 1504250"/>
                <a:gd name="connsiteX145" fmla="*/ 2243985 w 2516810"/>
                <a:gd name="connsiteY145" fmla="*/ 833605 h 1504250"/>
                <a:gd name="connsiteX146" fmla="*/ 2243985 w 2516810"/>
                <a:gd name="connsiteY146" fmla="*/ 834799 h 1504250"/>
                <a:gd name="connsiteX147" fmla="*/ 2243985 w 2516810"/>
                <a:gd name="connsiteY147" fmla="*/ 835694 h 1504250"/>
                <a:gd name="connsiteX148" fmla="*/ 2242789 w 2516810"/>
                <a:gd name="connsiteY148" fmla="*/ 836988 h 1504250"/>
                <a:gd name="connsiteX149" fmla="*/ 2239501 w 2516810"/>
                <a:gd name="connsiteY149" fmla="*/ 838580 h 1504250"/>
                <a:gd name="connsiteX150" fmla="*/ 2237807 w 2516810"/>
                <a:gd name="connsiteY150" fmla="*/ 836391 h 1504250"/>
                <a:gd name="connsiteX151" fmla="*/ 2236312 w 2516810"/>
                <a:gd name="connsiteY151" fmla="*/ 833705 h 1504250"/>
                <a:gd name="connsiteX152" fmla="*/ 2233821 w 2516810"/>
                <a:gd name="connsiteY152" fmla="*/ 833705 h 1504250"/>
                <a:gd name="connsiteX153" fmla="*/ 2233821 w 2516810"/>
                <a:gd name="connsiteY153" fmla="*/ 832113 h 1504250"/>
                <a:gd name="connsiteX154" fmla="*/ 2234419 w 2516810"/>
                <a:gd name="connsiteY154" fmla="*/ 830720 h 1504250"/>
                <a:gd name="connsiteX155" fmla="*/ 2235615 w 2516810"/>
                <a:gd name="connsiteY155" fmla="*/ 829825 h 1504250"/>
                <a:gd name="connsiteX156" fmla="*/ 2237010 w 2516810"/>
                <a:gd name="connsiteY156" fmla="*/ 829825 h 1504250"/>
                <a:gd name="connsiteX157" fmla="*/ 2238006 w 2516810"/>
                <a:gd name="connsiteY157" fmla="*/ 830919 h 1504250"/>
                <a:gd name="connsiteX158" fmla="*/ 2238006 w 2516810"/>
                <a:gd name="connsiteY158" fmla="*/ 832710 h 1504250"/>
                <a:gd name="connsiteX159" fmla="*/ 2238006 w 2516810"/>
                <a:gd name="connsiteY159" fmla="*/ 834501 h 1504250"/>
                <a:gd name="connsiteX160" fmla="*/ 2238006 w 2516810"/>
                <a:gd name="connsiteY160" fmla="*/ 835595 h 1504250"/>
                <a:gd name="connsiteX161" fmla="*/ 2239302 w 2516810"/>
                <a:gd name="connsiteY161" fmla="*/ 835595 h 1504250"/>
                <a:gd name="connsiteX162" fmla="*/ 2239302 w 2516810"/>
                <a:gd name="connsiteY162" fmla="*/ 834202 h 1504250"/>
                <a:gd name="connsiteX163" fmla="*/ 2238604 w 2516810"/>
                <a:gd name="connsiteY163" fmla="*/ 831417 h 1504250"/>
                <a:gd name="connsiteX164" fmla="*/ 2239501 w 2516810"/>
                <a:gd name="connsiteY164" fmla="*/ 829825 h 1504250"/>
                <a:gd name="connsiteX165" fmla="*/ 2240298 w 2516810"/>
                <a:gd name="connsiteY165" fmla="*/ 828531 h 1504250"/>
                <a:gd name="connsiteX166" fmla="*/ 2240896 w 2516810"/>
                <a:gd name="connsiteY166" fmla="*/ 827238 h 1504250"/>
                <a:gd name="connsiteX167" fmla="*/ 2240896 w 2516810"/>
                <a:gd name="connsiteY167" fmla="*/ 825248 h 1504250"/>
                <a:gd name="connsiteX168" fmla="*/ 2240298 w 2516810"/>
                <a:gd name="connsiteY168" fmla="*/ 819080 h 1504250"/>
                <a:gd name="connsiteX169" fmla="*/ 2239501 w 2516810"/>
                <a:gd name="connsiteY169" fmla="*/ 816195 h 1504250"/>
                <a:gd name="connsiteX170" fmla="*/ 2238305 w 2516810"/>
                <a:gd name="connsiteY170" fmla="*/ 814205 h 1504250"/>
                <a:gd name="connsiteX171" fmla="*/ 2233423 w 2516810"/>
                <a:gd name="connsiteY171" fmla="*/ 811818 h 1504250"/>
                <a:gd name="connsiteX172" fmla="*/ 2232028 w 2516810"/>
                <a:gd name="connsiteY172" fmla="*/ 810126 h 1504250"/>
                <a:gd name="connsiteX173" fmla="*/ 2233622 w 2516810"/>
                <a:gd name="connsiteY173" fmla="*/ 807142 h 1504250"/>
                <a:gd name="connsiteX174" fmla="*/ 2233622 w 2516810"/>
                <a:gd name="connsiteY174" fmla="*/ 805251 h 1504250"/>
                <a:gd name="connsiteX175" fmla="*/ 2231230 w 2516810"/>
                <a:gd name="connsiteY175" fmla="*/ 804157 h 1504250"/>
                <a:gd name="connsiteX176" fmla="*/ 2228341 w 2516810"/>
                <a:gd name="connsiteY176" fmla="*/ 803262 h 1504250"/>
                <a:gd name="connsiteX177" fmla="*/ 2226946 w 2516810"/>
                <a:gd name="connsiteY177" fmla="*/ 802466 h 1504250"/>
                <a:gd name="connsiteX178" fmla="*/ 2226946 w 2516810"/>
                <a:gd name="connsiteY178" fmla="*/ 801570 h 1504250"/>
                <a:gd name="connsiteX179" fmla="*/ 2225750 w 2516810"/>
                <a:gd name="connsiteY179" fmla="*/ 799780 h 1504250"/>
                <a:gd name="connsiteX180" fmla="*/ 2225750 w 2516810"/>
                <a:gd name="connsiteY180" fmla="*/ 798586 h 1504250"/>
                <a:gd name="connsiteX181" fmla="*/ 2226248 w 2516810"/>
                <a:gd name="connsiteY181" fmla="*/ 797193 h 1504250"/>
                <a:gd name="connsiteX182" fmla="*/ 2226248 w 2516810"/>
                <a:gd name="connsiteY182" fmla="*/ 797193 h 1504250"/>
                <a:gd name="connsiteX183" fmla="*/ 2228739 w 2516810"/>
                <a:gd name="connsiteY183" fmla="*/ 792716 h 1504250"/>
                <a:gd name="connsiteX184" fmla="*/ 2228739 w 2516810"/>
                <a:gd name="connsiteY184" fmla="*/ 791423 h 1504250"/>
                <a:gd name="connsiteX185" fmla="*/ 2228739 w 2516810"/>
                <a:gd name="connsiteY185" fmla="*/ 790229 h 1504250"/>
                <a:gd name="connsiteX186" fmla="*/ 2228141 w 2516810"/>
                <a:gd name="connsiteY186" fmla="*/ 789234 h 1504250"/>
                <a:gd name="connsiteX187" fmla="*/ 2227643 w 2516810"/>
                <a:gd name="connsiteY187" fmla="*/ 788438 h 1504250"/>
                <a:gd name="connsiteX188" fmla="*/ 2227643 w 2516810"/>
                <a:gd name="connsiteY188" fmla="*/ 787742 h 1504250"/>
                <a:gd name="connsiteX189" fmla="*/ 2227643 w 2516810"/>
                <a:gd name="connsiteY189" fmla="*/ 784956 h 1504250"/>
                <a:gd name="connsiteX190" fmla="*/ 2229537 w 2516810"/>
                <a:gd name="connsiteY190" fmla="*/ 778987 h 1504250"/>
                <a:gd name="connsiteX191" fmla="*/ 2230035 w 2516810"/>
                <a:gd name="connsiteY191" fmla="*/ 776300 h 1504250"/>
                <a:gd name="connsiteX192" fmla="*/ 2230035 w 2516810"/>
                <a:gd name="connsiteY192" fmla="*/ 773614 h 1504250"/>
                <a:gd name="connsiteX193" fmla="*/ 2229138 w 2516810"/>
                <a:gd name="connsiteY193" fmla="*/ 771127 h 1504250"/>
                <a:gd name="connsiteX194" fmla="*/ 2227842 w 2516810"/>
                <a:gd name="connsiteY194" fmla="*/ 768938 h 1504250"/>
                <a:gd name="connsiteX195" fmla="*/ 2225949 w 2516810"/>
                <a:gd name="connsiteY195" fmla="*/ 766750 h 1504250"/>
                <a:gd name="connsiteX196" fmla="*/ 2225949 w 2516810"/>
                <a:gd name="connsiteY196" fmla="*/ 766750 h 1504250"/>
                <a:gd name="connsiteX197" fmla="*/ 2224554 w 2516810"/>
                <a:gd name="connsiteY197" fmla="*/ 766053 h 1504250"/>
                <a:gd name="connsiteX198" fmla="*/ 2224554 w 2516810"/>
                <a:gd name="connsiteY198" fmla="*/ 765556 h 1504250"/>
                <a:gd name="connsiteX199" fmla="*/ 2224554 w 2516810"/>
                <a:gd name="connsiteY199" fmla="*/ 764462 h 1504250"/>
                <a:gd name="connsiteX200" fmla="*/ 2224554 w 2516810"/>
                <a:gd name="connsiteY200" fmla="*/ 764462 h 1504250"/>
                <a:gd name="connsiteX201" fmla="*/ 2223757 w 2516810"/>
                <a:gd name="connsiteY201" fmla="*/ 763964 h 1504250"/>
                <a:gd name="connsiteX202" fmla="*/ 2220170 w 2516810"/>
                <a:gd name="connsiteY202" fmla="*/ 762571 h 1504250"/>
                <a:gd name="connsiteX203" fmla="*/ 2220967 w 2516810"/>
                <a:gd name="connsiteY203" fmla="*/ 761079 h 1504250"/>
                <a:gd name="connsiteX204" fmla="*/ 2223159 w 2516810"/>
                <a:gd name="connsiteY204" fmla="*/ 758691 h 1504250"/>
                <a:gd name="connsiteX205" fmla="*/ 2223159 w 2516810"/>
                <a:gd name="connsiteY205" fmla="*/ 757398 h 1504250"/>
                <a:gd name="connsiteX206" fmla="*/ 2223159 w 2516810"/>
                <a:gd name="connsiteY206" fmla="*/ 755906 h 1504250"/>
                <a:gd name="connsiteX207" fmla="*/ 2223757 w 2516810"/>
                <a:gd name="connsiteY207" fmla="*/ 754115 h 1504250"/>
                <a:gd name="connsiteX208" fmla="*/ 2223757 w 2516810"/>
                <a:gd name="connsiteY208" fmla="*/ 751329 h 1504250"/>
                <a:gd name="connsiteX209" fmla="*/ 2224853 w 2516810"/>
                <a:gd name="connsiteY209" fmla="*/ 748245 h 1504250"/>
                <a:gd name="connsiteX210" fmla="*/ 2224853 w 2516810"/>
                <a:gd name="connsiteY210" fmla="*/ 746554 h 1504250"/>
                <a:gd name="connsiteX211" fmla="*/ 2224853 w 2516810"/>
                <a:gd name="connsiteY211" fmla="*/ 740784 h 1504250"/>
                <a:gd name="connsiteX212" fmla="*/ 2224853 w 2516810"/>
                <a:gd name="connsiteY212" fmla="*/ 738794 h 1504250"/>
                <a:gd name="connsiteX213" fmla="*/ 2224355 w 2516810"/>
                <a:gd name="connsiteY213" fmla="*/ 737600 h 1504250"/>
                <a:gd name="connsiteX214" fmla="*/ 2223358 w 2516810"/>
                <a:gd name="connsiteY214" fmla="*/ 737600 h 1504250"/>
                <a:gd name="connsiteX215" fmla="*/ 2221366 w 2516810"/>
                <a:gd name="connsiteY215" fmla="*/ 737600 h 1504250"/>
                <a:gd name="connsiteX216" fmla="*/ 2220668 w 2516810"/>
                <a:gd name="connsiteY216" fmla="*/ 737003 h 1504250"/>
                <a:gd name="connsiteX217" fmla="*/ 2220668 w 2516810"/>
                <a:gd name="connsiteY217" fmla="*/ 735511 h 1504250"/>
                <a:gd name="connsiteX218" fmla="*/ 2220668 w 2516810"/>
                <a:gd name="connsiteY218" fmla="*/ 732327 h 1504250"/>
                <a:gd name="connsiteX219" fmla="*/ 2220668 w 2516810"/>
                <a:gd name="connsiteY219" fmla="*/ 726656 h 1504250"/>
                <a:gd name="connsiteX220" fmla="*/ 2219672 w 2516810"/>
                <a:gd name="connsiteY220" fmla="*/ 724667 h 1504250"/>
                <a:gd name="connsiteX221" fmla="*/ 2217081 w 2516810"/>
                <a:gd name="connsiteY221" fmla="*/ 722378 h 1504250"/>
                <a:gd name="connsiteX222" fmla="*/ 2214590 w 2516810"/>
                <a:gd name="connsiteY222" fmla="*/ 721185 h 1504250"/>
                <a:gd name="connsiteX223" fmla="*/ 2212398 w 2516810"/>
                <a:gd name="connsiteY223" fmla="*/ 720488 h 1504250"/>
                <a:gd name="connsiteX224" fmla="*/ 2211700 w 2516810"/>
                <a:gd name="connsiteY224" fmla="*/ 719891 h 1504250"/>
                <a:gd name="connsiteX225" fmla="*/ 2210206 w 2516810"/>
                <a:gd name="connsiteY225" fmla="*/ 717205 h 1504250"/>
                <a:gd name="connsiteX226" fmla="*/ 2208910 w 2516810"/>
                <a:gd name="connsiteY226" fmla="*/ 716608 h 1504250"/>
                <a:gd name="connsiteX227" fmla="*/ 2207416 w 2516810"/>
                <a:gd name="connsiteY227" fmla="*/ 716608 h 1504250"/>
                <a:gd name="connsiteX228" fmla="*/ 2204725 w 2516810"/>
                <a:gd name="connsiteY228" fmla="*/ 718001 h 1504250"/>
                <a:gd name="connsiteX229" fmla="*/ 2203330 w 2516810"/>
                <a:gd name="connsiteY229" fmla="*/ 718001 h 1504250"/>
                <a:gd name="connsiteX230" fmla="*/ 2202832 w 2516810"/>
                <a:gd name="connsiteY230" fmla="*/ 717404 h 1504250"/>
                <a:gd name="connsiteX231" fmla="*/ 2201537 w 2516810"/>
                <a:gd name="connsiteY231" fmla="*/ 715016 h 1504250"/>
                <a:gd name="connsiteX232" fmla="*/ 2200839 w 2516810"/>
                <a:gd name="connsiteY232" fmla="*/ 714320 h 1504250"/>
                <a:gd name="connsiteX233" fmla="*/ 2196355 w 2516810"/>
                <a:gd name="connsiteY233" fmla="*/ 714320 h 1504250"/>
                <a:gd name="connsiteX234" fmla="*/ 2195558 w 2516810"/>
                <a:gd name="connsiteY234" fmla="*/ 713723 h 1504250"/>
                <a:gd name="connsiteX235" fmla="*/ 2194960 w 2516810"/>
                <a:gd name="connsiteY235" fmla="*/ 712828 h 1504250"/>
                <a:gd name="connsiteX236" fmla="*/ 2193465 w 2516810"/>
                <a:gd name="connsiteY236" fmla="*/ 710440 h 1504250"/>
                <a:gd name="connsiteX237" fmla="*/ 2192469 w 2516810"/>
                <a:gd name="connsiteY237" fmla="*/ 709744 h 1504250"/>
                <a:gd name="connsiteX238" fmla="*/ 2192469 w 2516810"/>
                <a:gd name="connsiteY238" fmla="*/ 708351 h 1504250"/>
                <a:gd name="connsiteX239" fmla="*/ 2192469 w 2516810"/>
                <a:gd name="connsiteY239" fmla="*/ 706759 h 1504250"/>
                <a:gd name="connsiteX240" fmla="*/ 2191971 w 2516810"/>
                <a:gd name="connsiteY240" fmla="*/ 705565 h 1504250"/>
                <a:gd name="connsiteX241" fmla="*/ 2191074 w 2516810"/>
                <a:gd name="connsiteY241" fmla="*/ 705068 h 1504250"/>
                <a:gd name="connsiteX242" fmla="*/ 2188782 w 2516810"/>
                <a:gd name="connsiteY242" fmla="*/ 704371 h 1504250"/>
                <a:gd name="connsiteX243" fmla="*/ 2187686 w 2516810"/>
                <a:gd name="connsiteY243" fmla="*/ 703675 h 1504250"/>
                <a:gd name="connsiteX244" fmla="*/ 2186092 w 2516810"/>
                <a:gd name="connsiteY244" fmla="*/ 701884 h 1504250"/>
                <a:gd name="connsiteX245" fmla="*/ 2184996 w 2516810"/>
                <a:gd name="connsiteY245" fmla="*/ 699994 h 1504250"/>
                <a:gd name="connsiteX246" fmla="*/ 2183600 w 2516810"/>
                <a:gd name="connsiteY246" fmla="*/ 698700 h 1504250"/>
                <a:gd name="connsiteX247" fmla="*/ 2183600 w 2516810"/>
                <a:gd name="connsiteY247" fmla="*/ 698700 h 1504250"/>
                <a:gd name="connsiteX248" fmla="*/ 2180512 w 2516810"/>
                <a:gd name="connsiteY248" fmla="*/ 698103 h 1504250"/>
                <a:gd name="connsiteX249" fmla="*/ 2180512 w 2516810"/>
                <a:gd name="connsiteY249" fmla="*/ 697308 h 1504250"/>
                <a:gd name="connsiteX250" fmla="*/ 2179017 w 2516810"/>
                <a:gd name="connsiteY250" fmla="*/ 695716 h 1504250"/>
                <a:gd name="connsiteX251" fmla="*/ 2177323 w 2516810"/>
                <a:gd name="connsiteY251" fmla="*/ 694323 h 1504250"/>
                <a:gd name="connsiteX252" fmla="*/ 2176626 w 2516810"/>
                <a:gd name="connsiteY252" fmla="*/ 694323 h 1504250"/>
                <a:gd name="connsiteX253" fmla="*/ 2176626 w 2516810"/>
                <a:gd name="connsiteY253" fmla="*/ 692930 h 1504250"/>
                <a:gd name="connsiteX254" fmla="*/ 2176626 w 2516810"/>
                <a:gd name="connsiteY254" fmla="*/ 689945 h 1504250"/>
                <a:gd name="connsiteX255" fmla="*/ 2176626 w 2516810"/>
                <a:gd name="connsiteY255" fmla="*/ 688652 h 1504250"/>
                <a:gd name="connsiteX256" fmla="*/ 2175729 w 2516810"/>
                <a:gd name="connsiteY256" fmla="*/ 687359 h 1504250"/>
                <a:gd name="connsiteX257" fmla="*/ 2174533 w 2516810"/>
                <a:gd name="connsiteY257" fmla="*/ 686662 h 1504250"/>
                <a:gd name="connsiteX258" fmla="*/ 2173536 w 2516810"/>
                <a:gd name="connsiteY258" fmla="*/ 685966 h 1504250"/>
                <a:gd name="connsiteX259" fmla="*/ 2173536 w 2516810"/>
                <a:gd name="connsiteY259" fmla="*/ 684374 h 1504250"/>
                <a:gd name="connsiteX260" fmla="*/ 2174633 w 2516810"/>
                <a:gd name="connsiteY260" fmla="*/ 682185 h 1504250"/>
                <a:gd name="connsiteX261" fmla="*/ 2175131 w 2516810"/>
                <a:gd name="connsiteY261" fmla="*/ 680793 h 1504250"/>
                <a:gd name="connsiteX262" fmla="*/ 2175131 w 2516810"/>
                <a:gd name="connsiteY262" fmla="*/ 680096 h 1504250"/>
                <a:gd name="connsiteX263" fmla="*/ 2173138 w 2516810"/>
                <a:gd name="connsiteY263" fmla="*/ 679201 h 1504250"/>
                <a:gd name="connsiteX264" fmla="*/ 2170946 w 2516810"/>
                <a:gd name="connsiteY264" fmla="*/ 677111 h 1504250"/>
                <a:gd name="connsiteX265" fmla="*/ 2168953 w 2516810"/>
                <a:gd name="connsiteY265" fmla="*/ 674624 h 1504250"/>
                <a:gd name="connsiteX266" fmla="*/ 2167757 w 2516810"/>
                <a:gd name="connsiteY266" fmla="*/ 672535 h 1504250"/>
                <a:gd name="connsiteX267" fmla="*/ 2165266 w 2516810"/>
                <a:gd name="connsiteY267" fmla="*/ 668556 h 1504250"/>
                <a:gd name="connsiteX268" fmla="*/ 2163771 w 2516810"/>
                <a:gd name="connsiteY268" fmla="*/ 667561 h 1504250"/>
                <a:gd name="connsiteX269" fmla="*/ 2161081 w 2516810"/>
                <a:gd name="connsiteY269" fmla="*/ 666964 h 1504250"/>
                <a:gd name="connsiteX270" fmla="*/ 2159188 w 2516810"/>
                <a:gd name="connsiteY270" fmla="*/ 666267 h 1504250"/>
                <a:gd name="connsiteX271" fmla="*/ 2157394 w 2516810"/>
                <a:gd name="connsiteY271" fmla="*/ 664178 h 1504250"/>
                <a:gd name="connsiteX272" fmla="*/ 2156198 w 2516810"/>
                <a:gd name="connsiteY272" fmla="*/ 662387 h 1504250"/>
                <a:gd name="connsiteX273" fmla="*/ 2155302 w 2516810"/>
                <a:gd name="connsiteY273" fmla="*/ 660497 h 1504250"/>
                <a:gd name="connsiteX274" fmla="*/ 2155302 w 2516810"/>
                <a:gd name="connsiteY274" fmla="*/ 658607 h 1504250"/>
                <a:gd name="connsiteX275" fmla="*/ 2155302 w 2516810"/>
                <a:gd name="connsiteY275" fmla="*/ 657712 h 1504250"/>
                <a:gd name="connsiteX276" fmla="*/ 2155302 w 2516810"/>
                <a:gd name="connsiteY276" fmla="*/ 656717 h 1504250"/>
                <a:gd name="connsiteX277" fmla="*/ 2155302 w 2516810"/>
                <a:gd name="connsiteY277" fmla="*/ 656020 h 1504250"/>
                <a:gd name="connsiteX278" fmla="*/ 2154305 w 2516810"/>
                <a:gd name="connsiteY278" fmla="*/ 656020 h 1504250"/>
                <a:gd name="connsiteX279" fmla="*/ 2152611 w 2516810"/>
                <a:gd name="connsiteY279" fmla="*/ 654528 h 1504250"/>
                <a:gd name="connsiteX280" fmla="*/ 2150917 w 2516810"/>
                <a:gd name="connsiteY280" fmla="*/ 652638 h 1504250"/>
                <a:gd name="connsiteX281" fmla="*/ 2150917 w 2516810"/>
                <a:gd name="connsiteY281" fmla="*/ 651643 h 1504250"/>
                <a:gd name="connsiteX282" fmla="*/ 2150917 w 2516810"/>
                <a:gd name="connsiteY282" fmla="*/ 648658 h 1504250"/>
                <a:gd name="connsiteX283" fmla="*/ 2149921 w 2516810"/>
                <a:gd name="connsiteY283" fmla="*/ 645574 h 1504250"/>
                <a:gd name="connsiteX284" fmla="*/ 2147629 w 2516810"/>
                <a:gd name="connsiteY284" fmla="*/ 643286 h 1504250"/>
                <a:gd name="connsiteX285" fmla="*/ 2135273 w 2516810"/>
                <a:gd name="connsiteY285" fmla="*/ 637118 h 1504250"/>
                <a:gd name="connsiteX286" fmla="*/ 2133181 w 2516810"/>
                <a:gd name="connsiteY286" fmla="*/ 637118 h 1504250"/>
                <a:gd name="connsiteX287" fmla="*/ 2132184 w 2516810"/>
                <a:gd name="connsiteY287" fmla="*/ 636322 h 1504250"/>
                <a:gd name="connsiteX288" fmla="*/ 2131686 w 2516810"/>
                <a:gd name="connsiteY288" fmla="*/ 634531 h 1504250"/>
                <a:gd name="connsiteX289" fmla="*/ 2131686 w 2516810"/>
                <a:gd name="connsiteY289" fmla="*/ 632541 h 1504250"/>
                <a:gd name="connsiteX290" fmla="*/ 2131686 w 2516810"/>
                <a:gd name="connsiteY290" fmla="*/ 631347 h 1504250"/>
                <a:gd name="connsiteX291" fmla="*/ 2130889 w 2516810"/>
                <a:gd name="connsiteY291" fmla="*/ 631347 h 1504250"/>
                <a:gd name="connsiteX292" fmla="*/ 2127302 w 2516810"/>
                <a:gd name="connsiteY292" fmla="*/ 630751 h 1504250"/>
                <a:gd name="connsiteX293" fmla="*/ 2125109 w 2516810"/>
                <a:gd name="connsiteY293" fmla="*/ 629159 h 1504250"/>
                <a:gd name="connsiteX294" fmla="*/ 2123017 w 2516810"/>
                <a:gd name="connsiteY294" fmla="*/ 626870 h 1504250"/>
                <a:gd name="connsiteX295" fmla="*/ 2121821 w 2516810"/>
                <a:gd name="connsiteY295" fmla="*/ 624184 h 1504250"/>
                <a:gd name="connsiteX296" fmla="*/ 2122618 w 2516810"/>
                <a:gd name="connsiteY296" fmla="*/ 621598 h 1504250"/>
                <a:gd name="connsiteX297" fmla="*/ 2122618 w 2516810"/>
                <a:gd name="connsiteY297" fmla="*/ 618812 h 1504250"/>
                <a:gd name="connsiteX298" fmla="*/ 2120625 w 2516810"/>
                <a:gd name="connsiteY298" fmla="*/ 615628 h 1504250"/>
                <a:gd name="connsiteX299" fmla="*/ 2117038 w 2516810"/>
                <a:gd name="connsiteY299" fmla="*/ 610952 h 1504250"/>
                <a:gd name="connsiteX300" fmla="*/ 2115843 w 2516810"/>
                <a:gd name="connsiteY300" fmla="*/ 606078 h 1504250"/>
                <a:gd name="connsiteX301" fmla="*/ 2115245 w 2516810"/>
                <a:gd name="connsiteY301" fmla="*/ 601004 h 1504250"/>
                <a:gd name="connsiteX302" fmla="*/ 2115245 w 2516810"/>
                <a:gd name="connsiteY302" fmla="*/ 600208 h 1504250"/>
                <a:gd name="connsiteX303" fmla="*/ 2114149 w 2516810"/>
                <a:gd name="connsiteY303" fmla="*/ 599313 h 1504250"/>
                <a:gd name="connsiteX304" fmla="*/ 2113252 w 2516810"/>
                <a:gd name="connsiteY304" fmla="*/ 598218 h 1504250"/>
                <a:gd name="connsiteX305" fmla="*/ 2113252 w 2516810"/>
                <a:gd name="connsiteY305" fmla="*/ 596626 h 1504250"/>
                <a:gd name="connsiteX306" fmla="*/ 2113850 w 2516810"/>
                <a:gd name="connsiteY306" fmla="*/ 595632 h 1504250"/>
                <a:gd name="connsiteX307" fmla="*/ 2117536 w 2516810"/>
                <a:gd name="connsiteY307" fmla="*/ 593741 h 1504250"/>
                <a:gd name="connsiteX308" fmla="*/ 2112255 w 2516810"/>
                <a:gd name="connsiteY308" fmla="*/ 591751 h 1504250"/>
                <a:gd name="connsiteX309" fmla="*/ 2109764 w 2516810"/>
                <a:gd name="connsiteY309" fmla="*/ 589961 h 1504250"/>
                <a:gd name="connsiteX310" fmla="*/ 2108070 w 2516810"/>
                <a:gd name="connsiteY310" fmla="*/ 587175 h 1504250"/>
                <a:gd name="connsiteX311" fmla="*/ 2108070 w 2516810"/>
                <a:gd name="connsiteY311" fmla="*/ 585583 h 1504250"/>
                <a:gd name="connsiteX312" fmla="*/ 2108070 w 2516810"/>
                <a:gd name="connsiteY312" fmla="*/ 582201 h 1504250"/>
                <a:gd name="connsiteX313" fmla="*/ 2107473 w 2516810"/>
                <a:gd name="connsiteY313" fmla="*/ 580907 h 1504250"/>
                <a:gd name="connsiteX314" fmla="*/ 2106277 w 2516810"/>
                <a:gd name="connsiteY314" fmla="*/ 579912 h 1504250"/>
                <a:gd name="connsiteX315" fmla="*/ 2103287 w 2516810"/>
                <a:gd name="connsiteY315" fmla="*/ 578520 h 1504250"/>
                <a:gd name="connsiteX316" fmla="*/ 2101893 w 2516810"/>
                <a:gd name="connsiteY316" fmla="*/ 577525 h 1504250"/>
                <a:gd name="connsiteX317" fmla="*/ 2101893 w 2516810"/>
                <a:gd name="connsiteY317" fmla="*/ 575137 h 1504250"/>
                <a:gd name="connsiteX318" fmla="*/ 2097309 w 2516810"/>
                <a:gd name="connsiteY318" fmla="*/ 569168 h 1504250"/>
                <a:gd name="connsiteX319" fmla="*/ 2095714 w 2516810"/>
                <a:gd name="connsiteY319" fmla="*/ 566084 h 1504250"/>
                <a:gd name="connsiteX320" fmla="*/ 2092526 w 2516810"/>
                <a:gd name="connsiteY320" fmla="*/ 552553 h 1504250"/>
                <a:gd name="connsiteX321" fmla="*/ 2091828 w 2516810"/>
                <a:gd name="connsiteY321" fmla="*/ 551161 h 1504250"/>
                <a:gd name="connsiteX322" fmla="*/ 2091230 w 2516810"/>
                <a:gd name="connsiteY322" fmla="*/ 550464 h 1504250"/>
                <a:gd name="connsiteX323" fmla="*/ 2090633 w 2516810"/>
                <a:gd name="connsiteY323" fmla="*/ 549071 h 1504250"/>
                <a:gd name="connsiteX324" fmla="*/ 2090134 w 2516810"/>
                <a:gd name="connsiteY324" fmla="*/ 548275 h 1504250"/>
                <a:gd name="connsiteX325" fmla="*/ 2089237 w 2516810"/>
                <a:gd name="connsiteY325" fmla="*/ 547778 h 1504250"/>
                <a:gd name="connsiteX326" fmla="*/ 2087444 w 2516810"/>
                <a:gd name="connsiteY326" fmla="*/ 547778 h 1504250"/>
                <a:gd name="connsiteX327" fmla="*/ 2086647 w 2516810"/>
                <a:gd name="connsiteY327" fmla="*/ 547280 h 1504250"/>
                <a:gd name="connsiteX328" fmla="*/ 2086149 w 2516810"/>
                <a:gd name="connsiteY328" fmla="*/ 546286 h 1504250"/>
                <a:gd name="connsiteX329" fmla="*/ 2087045 w 2516810"/>
                <a:gd name="connsiteY329" fmla="*/ 544594 h 1504250"/>
                <a:gd name="connsiteX330" fmla="*/ 2087045 w 2516810"/>
                <a:gd name="connsiteY330" fmla="*/ 543500 h 1504250"/>
                <a:gd name="connsiteX331" fmla="*/ 2086348 w 2516810"/>
                <a:gd name="connsiteY331" fmla="*/ 543003 h 1504250"/>
                <a:gd name="connsiteX332" fmla="*/ 2084455 w 2516810"/>
                <a:gd name="connsiteY332" fmla="*/ 542107 h 1504250"/>
                <a:gd name="connsiteX333" fmla="*/ 2084455 w 2516810"/>
                <a:gd name="connsiteY333" fmla="*/ 541610 h 1504250"/>
                <a:gd name="connsiteX334" fmla="*/ 2083757 w 2516810"/>
                <a:gd name="connsiteY334" fmla="*/ 539322 h 1504250"/>
                <a:gd name="connsiteX335" fmla="*/ 2082263 w 2516810"/>
                <a:gd name="connsiteY335" fmla="*/ 537829 h 1504250"/>
                <a:gd name="connsiteX336" fmla="*/ 2080768 w 2516810"/>
                <a:gd name="connsiteY336" fmla="*/ 536735 h 1504250"/>
                <a:gd name="connsiteX337" fmla="*/ 2080070 w 2516810"/>
                <a:gd name="connsiteY337" fmla="*/ 535740 h 1504250"/>
                <a:gd name="connsiteX338" fmla="*/ 2080070 w 2516810"/>
                <a:gd name="connsiteY338" fmla="*/ 533949 h 1504250"/>
                <a:gd name="connsiteX339" fmla="*/ 2080070 w 2516810"/>
                <a:gd name="connsiteY339" fmla="*/ 532457 h 1504250"/>
                <a:gd name="connsiteX340" fmla="*/ 2080070 w 2516810"/>
                <a:gd name="connsiteY340" fmla="*/ 531263 h 1504250"/>
                <a:gd name="connsiteX341" fmla="*/ 2079173 w 2516810"/>
                <a:gd name="connsiteY341" fmla="*/ 530467 h 1504250"/>
                <a:gd name="connsiteX342" fmla="*/ 2080369 w 2516810"/>
                <a:gd name="connsiteY342" fmla="*/ 527383 h 1504250"/>
                <a:gd name="connsiteX343" fmla="*/ 2079871 w 2516810"/>
                <a:gd name="connsiteY343" fmla="*/ 524498 h 1504250"/>
                <a:gd name="connsiteX344" fmla="*/ 2077380 w 2516810"/>
                <a:gd name="connsiteY344" fmla="*/ 519026 h 1504250"/>
                <a:gd name="connsiteX345" fmla="*/ 2076284 w 2516810"/>
                <a:gd name="connsiteY345" fmla="*/ 510868 h 1504250"/>
                <a:gd name="connsiteX346" fmla="*/ 2075287 w 2516810"/>
                <a:gd name="connsiteY346" fmla="*/ 508978 h 1504250"/>
                <a:gd name="connsiteX347" fmla="*/ 2074092 w 2516810"/>
                <a:gd name="connsiteY347" fmla="*/ 508480 h 1504250"/>
                <a:gd name="connsiteX348" fmla="*/ 2072497 w 2516810"/>
                <a:gd name="connsiteY348" fmla="*/ 508480 h 1504250"/>
                <a:gd name="connsiteX349" fmla="*/ 2071102 w 2516810"/>
                <a:gd name="connsiteY349" fmla="*/ 508480 h 1504250"/>
                <a:gd name="connsiteX350" fmla="*/ 2070504 w 2516810"/>
                <a:gd name="connsiteY350" fmla="*/ 507585 h 1504250"/>
                <a:gd name="connsiteX351" fmla="*/ 2070504 w 2516810"/>
                <a:gd name="connsiteY351" fmla="*/ 506789 h 1504250"/>
                <a:gd name="connsiteX352" fmla="*/ 2063928 w 2516810"/>
                <a:gd name="connsiteY352" fmla="*/ 501516 h 1504250"/>
                <a:gd name="connsiteX353" fmla="*/ 2062932 w 2516810"/>
                <a:gd name="connsiteY353" fmla="*/ 499626 h 1504250"/>
                <a:gd name="connsiteX354" fmla="*/ 2063928 w 2516810"/>
                <a:gd name="connsiteY354" fmla="*/ 496641 h 1504250"/>
                <a:gd name="connsiteX355" fmla="*/ 2061238 w 2516810"/>
                <a:gd name="connsiteY355" fmla="*/ 491767 h 1504250"/>
                <a:gd name="connsiteX356" fmla="*/ 2059643 w 2516810"/>
                <a:gd name="connsiteY356" fmla="*/ 489677 h 1504250"/>
                <a:gd name="connsiteX357" fmla="*/ 2057152 w 2516810"/>
                <a:gd name="connsiteY357" fmla="*/ 487886 h 1504250"/>
                <a:gd name="connsiteX358" fmla="*/ 2051173 w 2516810"/>
                <a:gd name="connsiteY358" fmla="*/ 485101 h 1504250"/>
                <a:gd name="connsiteX359" fmla="*/ 2050077 w 2516810"/>
                <a:gd name="connsiteY359" fmla="*/ 484305 h 1504250"/>
                <a:gd name="connsiteX360" fmla="*/ 2047686 w 2516810"/>
                <a:gd name="connsiteY360" fmla="*/ 481221 h 1504250"/>
                <a:gd name="connsiteX361" fmla="*/ 2044697 w 2516810"/>
                <a:gd name="connsiteY361" fmla="*/ 478634 h 1504250"/>
                <a:gd name="connsiteX362" fmla="*/ 2035529 w 2516810"/>
                <a:gd name="connsiteY362" fmla="*/ 474456 h 1504250"/>
                <a:gd name="connsiteX363" fmla="*/ 2034234 w 2516810"/>
                <a:gd name="connsiteY363" fmla="*/ 473660 h 1504250"/>
                <a:gd name="connsiteX364" fmla="*/ 2032939 w 2516810"/>
                <a:gd name="connsiteY364" fmla="*/ 472466 h 1504250"/>
                <a:gd name="connsiteX365" fmla="*/ 2031942 w 2516810"/>
                <a:gd name="connsiteY365" fmla="*/ 471173 h 1504250"/>
                <a:gd name="connsiteX366" fmla="*/ 2031145 w 2516810"/>
                <a:gd name="connsiteY366" fmla="*/ 469680 h 1504250"/>
                <a:gd name="connsiteX367" fmla="*/ 2031145 w 2516810"/>
                <a:gd name="connsiteY367" fmla="*/ 467691 h 1504250"/>
                <a:gd name="connsiteX368" fmla="*/ 2030647 w 2516810"/>
                <a:gd name="connsiteY368" fmla="*/ 463711 h 1504250"/>
                <a:gd name="connsiteX369" fmla="*/ 2029651 w 2516810"/>
                <a:gd name="connsiteY369" fmla="*/ 461323 h 1504250"/>
                <a:gd name="connsiteX370" fmla="*/ 2025764 w 2516810"/>
                <a:gd name="connsiteY370" fmla="*/ 459931 h 1504250"/>
                <a:gd name="connsiteX371" fmla="*/ 2017394 w 2516810"/>
                <a:gd name="connsiteY371" fmla="*/ 457443 h 1504250"/>
                <a:gd name="connsiteX372" fmla="*/ 2013707 w 2516810"/>
                <a:gd name="connsiteY372" fmla="*/ 455553 h 1504250"/>
                <a:gd name="connsiteX373" fmla="*/ 2011316 w 2516810"/>
                <a:gd name="connsiteY373" fmla="*/ 452569 h 1504250"/>
                <a:gd name="connsiteX374" fmla="*/ 2010220 w 2516810"/>
                <a:gd name="connsiteY374" fmla="*/ 451772 h 1504250"/>
                <a:gd name="connsiteX375" fmla="*/ 2008924 w 2516810"/>
                <a:gd name="connsiteY375" fmla="*/ 451772 h 1504250"/>
                <a:gd name="connsiteX376" fmla="*/ 2007530 w 2516810"/>
                <a:gd name="connsiteY376" fmla="*/ 451772 h 1504250"/>
                <a:gd name="connsiteX377" fmla="*/ 2006334 w 2516810"/>
                <a:gd name="connsiteY377" fmla="*/ 450479 h 1504250"/>
                <a:gd name="connsiteX378" fmla="*/ 2005835 w 2516810"/>
                <a:gd name="connsiteY378" fmla="*/ 448589 h 1504250"/>
                <a:gd name="connsiteX379" fmla="*/ 2006931 w 2516810"/>
                <a:gd name="connsiteY379" fmla="*/ 444410 h 1504250"/>
                <a:gd name="connsiteX380" fmla="*/ 2006931 w 2516810"/>
                <a:gd name="connsiteY380" fmla="*/ 439735 h 1504250"/>
                <a:gd name="connsiteX381" fmla="*/ 2005038 w 2516810"/>
                <a:gd name="connsiteY381" fmla="*/ 437944 h 1504250"/>
                <a:gd name="connsiteX382" fmla="*/ 2001850 w 2516810"/>
                <a:gd name="connsiteY382" fmla="*/ 437944 h 1504250"/>
                <a:gd name="connsiteX383" fmla="*/ 1998761 w 2516810"/>
                <a:gd name="connsiteY383" fmla="*/ 439635 h 1504250"/>
                <a:gd name="connsiteX384" fmla="*/ 1996569 w 2516810"/>
                <a:gd name="connsiteY384" fmla="*/ 441525 h 1504250"/>
                <a:gd name="connsiteX385" fmla="*/ 1995173 w 2516810"/>
                <a:gd name="connsiteY385" fmla="*/ 441028 h 1504250"/>
                <a:gd name="connsiteX386" fmla="*/ 1995173 w 2516810"/>
                <a:gd name="connsiteY386" fmla="*/ 439735 h 1504250"/>
                <a:gd name="connsiteX387" fmla="*/ 1996170 w 2516810"/>
                <a:gd name="connsiteY387" fmla="*/ 436750 h 1504250"/>
                <a:gd name="connsiteX388" fmla="*/ 1996170 w 2516810"/>
                <a:gd name="connsiteY388" fmla="*/ 434561 h 1504250"/>
                <a:gd name="connsiteX389" fmla="*/ 1995074 w 2516810"/>
                <a:gd name="connsiteY389" fmla="*/ 433865 h 1504250"/>
                <a:gd name="connsiteX390" fmla="*/ 1991686 w 2516810"/>
                <a:gd name="connsiteY390" fmla="*/ 433865 h 1504250"/>
                <a:gd name="connsiteX391" fmla="*/ 1990092 w 2516810"/>
                <a:gd name="connsiteY391" fmla="*/ 433069 h 1504250"/>
                <a:gd name="connsiteX392" fmla="*/ 1988996 w 2516810"/>
                <a:gd name="connsiteY392" fmla="*/ 432074 h 1504250"/>
                <a:gd name="connsiteX393" fmla="*/ 1988199 w 2516810"/>
                <a:gd name="connsiteY393" fmla="*/ 430781 h 1504250"/>
                <a:gd name="connsiteX394" fmla="*/ 1986604 w 2516810"/>
                <a:gd name="connsiteY394" fmla="*/ 427398 h 1504250"/>
                <a:gd name="connsiteX395" fmla="*/ 1985807 w 2516810"/>
                <a:gd name="connsiteY395" fmla="*/ 424911 h 1504250"/>
                <a:gd name="connsiteX396" fmla="*/ 1983714 w 2516810"/>
                <a:gd name="connsiteY396" fmla="*/ 421727 h 1504250"/>
                <a:gd name="connsiteX397" fmla="*/ 1982818 w 2516810"/>
                <a:gd name="connsiteY397" fmla="*/ 420036 h 1504250"/>
                <a:gd name="connsiteX398" fmla="*/ 1982818 w 2516810"/>
                <a:gd name="connsiteY398" fmla="*/ 418245 h 1504250"/>
                <a:gd name="connsiteX399" fmla="*/ 1983316 w 2516810"/>
                <a:gd name="connsiteY399" fmla="*/ 416455 h 1504250"/>
                <a:gd name="connsiteX400" fmla="*/ 1982220 w 2516810"/>
                <a:gd name="connsiteY400" fmla="*/ 417051 h 1504250"/>
                <a:gd name="connsiteX401" fmla="*/ 1980924 w 2516810"/>
                <a:gd name="connsiteY401" fmla="*/ 417051 h 1504250"/>
                <a:gd name="connsiteX402" fmla="*/ 1978234 w 2516810"/>
                <a:gd name="connsiteY402" fmla="*/ 417051 h 1504250"/>
                <a:gd name="connsiteX403" fmla="*/ 1976939 w 2516810"/>
                <a:gd name="connsiteY403" fmla="*/ 416355 h 1504250"/>
                <a:gd name="connsiteX404" fmla="*/ 1976141 w 2516810"/>
                <a:gd name="connsiteY404" fmla="*/ 414564 h 1504250"/>
                <a:gd name="connsiteX405" fmla="*/ 1975045 w 2516810"/>
                <a:gd name="connsiteY405" fmla="*/ 414564 h 1504250"/>
                <a:gd name="connsiteX406" fmla="*/ 1972554 w 2516810"/>
                <a:gd name="connsiteY406" fmla="*/ 415460 h 1504250"/>
                <a:gd name="connsiteX407" fmla="*/ 1970661 w 2516810"/>
                <a:gd name="connsiteY407" fmla="*/ 417051 h 1504250"/>
                <a:gd name="connsiteX408" fmla="*/ 1968569 w 2516810"/>
                <a:gd name="connsiteY408" fmla="*/ 418146 h 1504250"/>
                <a:gd name="connsiteX409" fmla="*/ 1965978 w 2516810"/>
                <a:gd name="connsiteY409" fmla="*/ 417449 h 1504250"/>
                <a:gd name="connsiteX410" fmla="*/ 1965978 w 2516810"/>
                <a:gd name="connsiteY410" fmla="*/ 416355 h 1504250"/>
                <a:gd name="connsiteX411" fmla="*/ 1967173 w 2516810"/>
                <a:gd name="connsiteY411" fmla="*/ 413868 h 1504250"/>
                <a:gd name="connsiteX412" fmla="*/ 1967173 w 2516810"/>
                <a:gd name="connsiteY412" fmla="*/ 413171 h 1504250"/>
                <a:gd name="connsiteX413" fmla="*/ 1967173 w 2516810"/>
                <a:gd name="connsiteY413" fmla="*/ 411878 h 1504250"/>
                <a:gd name="connsiteX414" fmla="*/ 1966277 w 2516810"/>
                <a:gd name="connsiteY414" fmla="*/ 410883 h 1504250"/>
                <a:gd name="connsiteX415" fmla="*/ 1965380 w 2516810"/>
                <a:gd name="connsiteY415" fmla="*/ 410883 h 1504250"/>
                <a:gd name="connsiteX416" fmla="*/ 1965380 w 2516810"/>
                <a:gd name="connsiteY416" fmla="*/ 411480 h 1504250"/>
                <a:gd name="connsiteX417" fmla="*/ 1964882 w 2516810"/>
                <a:gd name="connsiteY417" fmla="*/ 414166 h 1504250"/>
                <a:gd name="connsiteX418" fmla="*/ 1963487 w 2516810"/>
                <a:gd name="connsiteY418" fmla="*/ 415559 h 1504250"/>
                <a:gd name="connsiteX419" fmla="*/ 1961593 w 2516810"/>
                <a:gd name="connsiteY419" fmla="*/ 416355 h 1504250"/>
                <a:gd name="connsiteX420" fmla="*/ 1955017 w 2516810"/>
                <a:gd name="connsiteY420" fmla="*/ 417151 h 1504250"/>
                <a:gd name="connsiteX421" fmla="*/ 1934590 w 2516810"/>
                <a:gd name="connsiteY421" fmla="*/ 414266 h 1504250"/>
                <a:gd name="connsiteX422" fmla="*/ 1933494 w 2516810"/>
                <a:gd name="connsiteY422" fmla="*/ 413470 h 1504250"/>
                <a:gd name="connsiteX423" fmla="*/ 1933494 w 2516810"/>
                <a:gd name="connsiteY423" fmla="*/ 412077 h 1504250"/>
                <a:gd name="connsiteX424" fmla="*/ 1932697 w 2516810"/>
                <a:gd name="connsiteY424" fmla="*/ 412077 h 1504250"/>
                <a:gd name="connsiteX425" fmla="*/ 1931202 w 2516810"/>
                <a:gd name="connsiteY425" fmla="*/ 413072 h 1504250"/>
                <a:gd name="connsiteX426" fmla="*/ 1927017 w 2516810"/>
                <a:gd name="connsiteY426" fmla="*/ 413072 h 1504250"/>
                <a:gd name="connsiteX427" fmla="*/ 1924526 w 2516810"/>
                <a:gd name="connsiteY427" fmla="*/ 412276 h 1504250"/>
                <a:gd name="connsiteX428" fmla="*/ 1923230 w 2516810"/>
                <a:gd name="connsiteY428" fmla="*/ 412276 h 1504250"/>
                <a:gd name="connsiteX429" fmla="*/ 1922234 w 2516810"/>
                <a:gd name="connsiteY429" fmla="*/ 412774 h 1504250"/>
                <a:gd name="connsiteX430" fmla="*/ 1921437 w 2516810"/>
                <a:gd name="connsiteY430" fmla="*/ 413569 h 1504250"/>
                <a:gd name="connsiteX431" fmla="*/ 1920341 w 2516810"/>
                <a:gd name="connsiteY431" fmla="*/ 413569 h 1504250"/>
                <a:gd name="connsiteX432" fmla="*/ 1919145 w 2516810"/>
                <a:gd name="connsiteY432" fmla="*/ 413569 h 1504250"/>
                <a:gd name="connsiteX433" fmla="*/ 1917949 w 2516810"/>
                <a:gd name="connsiteY433" fmla="*/ 413569 h 1504250"/>
                <a:gd name="connsiteX434" fmla="*/ 1916256 w 2516810"/>
                <a:gd name="connsiteY434" fmla="*/ 412674 h 1504250"/>
                <a:gd name="connsiteX435" fmla="*/ 1914462 w 2516810"/>
                <a:gd name="connsiteY435" fmla="*/ 411281 h 1504250"/>
                <a:gd name="connsiteX436" fmla="*/ 1912569 w 2516810"/>
                <a:gd name="connsiteY436" fmla="*/ 410684 h 1504250"/>
                <a:gd name="connsiteX437" fmla="*/ 1910576 w 2516810"/>
                <a:gd name="connsiteY437" fmla="*/ 412475 h 1504250"/>
                <a:gd name="connsiteX438" fmla="*/ 1907287 w 2516810"/>
                <a:gd name="connsiteY438" fmla="*/ 411679 h 1504250"/>
                <a:gd name="connsiteX439" fmla="*/ 1895330 w 2516810"/>
                <a:gd name="connsiteY439" fmla="*/ 412873 h 1504250"/>
                <a:gd name="connsiteX440" fmla="*/ 1890747 w 2516810"/>
                <a:gd name="connsiteY440" fmla="*/ 410983 h 1504250"/>
                <a:gd name="connsiteX441" fmla="*/ 1889252 w 2516810"/>
                <a:gd name="connsiteY441" fmla="*/ 409789 h 1504250"/>
                <a:gd name="connsiteX442" fmla="*/ 1883473 w 2516810"/>
                <a:gd name="connsiteY442" fmla="*/ 406705 h 1504250"/>
                <a:gd name="connsiteX443" fmla="*/ 1878889 w 2516810"/>
                <a:gd name="connsiteY443" fmla="*/ 406705 h 1504250"/>
                <a:gd name="connsiteX444" fmla="*/ 1877195 w 2516810"/>
                <a:gd name="connsiteY444" fmla="*/ 405809 h 1504250"/>
                <a:gd name="connsiteX445" fmla="*/ 1876597 w 2516810"/>
                <a:gd name="connsiteY445" fmla="*/ 403223 h 1504250"/>
                <a:gd name="connsiteX446" fmla="*/ 1874305 w 2516810"/>
                <a:gd name="connsiteY446" fmla="*/ 403820 h 1504250"/>
                <a:gd name="connsiteX447" fmla="*/ 1872711 w 2516810"/>
                <a:gd name="connsiteY447" fmla="*/ 402626 h 1504250"/>
                <a:gd name="connsiteX448" fmla="*/ 1871017 w 2516810"/>
                <a:gd name="connsiteY448" fmla="*/ 401034 h 1504250"/>
                <a:gd name="connsiteX449" fmla="*/ 1868626 w 2516810"/>
                <a:gd name="connsiteY449" fmla="*/ 400338 h 1504250"/>
                <a:gd name="connsiteX450" fmla="*/ 1867529 w 2516810"/>
                <a:gd name="connsiteY450" fmla="*/ 401034 h 1504250"/>
                <a:gd name="connsiteX451" fmla="*/ 1866234 w 2516810"/>
                <a:gd name="connsiteY451" fmla="*/ 403621 h 1504250"/>
                <a:gd name="connsiteX452" fmla="*/ 1864839 w 2516810"/>
                <a:gd name="connsiteY452" fmla="*/ 404217 h 1504250"/>
                <a:gd name="connsiteX453" fmla="*/ 1863345 w 2516810"/>
                <a:gd name="connsiteY453" fmla="*/ 404217 h 1504250"/>
                <a:gd name="connsiteX454" fmla="*/ 1862348 w 2516810"/>
                <a:gd name="connsiteY454" fmla="*/ 405212 h 1504250"/>
                <a:gd name="connsiteX455" fmla="*/ 1862348 w 2516810"/>
                <a:gd name="connsiteY455" fmla="*/ 406506 h 1504250"/>
                <a:gd name="connsiteX456" fmla="*/ 1862348 w 2516810"/>
                <a:gd name="connsiteY456" fmla="*/ 410286 h 1504250"/>
                <a:gd name="connsiteX457" fmla="*/ 1862348 w 2516810"/>
                <a:gd name="connsiteY457" fmla="*/ 411679 h 1504250"/>
                <a:gd name="connsiteX458" fmla="*/ 1859259 w 2516810"/>
                <a:gd name="connsiteY458" fmla="*/ 415957 h 1504250"/>
                <a:gd name="connsiteX459" fmla="*/ 1859259 w 2516810"/>
                <a:gd name="connsiteY459" fmla="*/ 416455 h 1504250"/>
                <a:gd name="connsiteX460" fmla="*/ 1845508 w 2516810"/>
                <a:gd name="connsiteY460" fmla="*/ 415460 h 1504250"/>
                <a:gd name="connsiteX461" fmla="*/ 1844611 w 2516810"/>
                <a:gd name="connsiteY461" fmla="*/ 415460 h 1504250"/>
                <a:gd name="connsiteX462" fmla="*/ 1843615 w 2516810"/>
                <a:gd name="connsiteY462" fmla="*/ 417250 h 1504250"/>
                <a:gd name="connsiteX463" fmla="*/ 1842220 w 2516810"/>
                <a:gd name="connsiteY463" fmla="*/ 418245 h 1504250"/>
                <a:gd name="connsiteX464" fmla="*/ 1842220 w 2516810"/>
                <a:gd name="connsiteY464" fmla="*/ 418245 h 1504250"/>
                <a:gd name="connsiteX465" fmla="*/ 1842220 w 2516810"/>
                <a:gd name="connsiteY465" fmla="*/ 418245 h 1504250"/>
                <a:gd name="connsiteX466" fmla="*/ 1841423 w 2516810"/>
                <a:gd name="connsiteY466" fmla="*/ 418245 h 1504250"/>
                <a:gd name="connsiteX467" fmla="*/ 1840725 w 2516810"/>
                <a:gd name="connsiteY467" fmla="*/ 418245 h 1504250"/>
                <a:gd name="connsiteX468" fmla="*/ 1840227 w 2516810"/>
                <a:gd name="connsiteY468" fmla="*/ 416853 h 1504250"/>
                <a:gd name="connsiteX469" fmla="*/ 1839629 w 2516810"/>
                <a:gd name="connsiteY469" fmla="*/ 416853 h 1504250"/>
                <a:gd name="connsiteX470" fmla="*/ 1837337 w 2516810"/>
                <a:gd name="connsiteY470" fmla="*/ 417748 h 1504250"/>
                <a:gd name="connsiteX471" fmla="*/ 1832853 w 2516810"/>
                <a:gd name="connsiteY471" fmla="*/ 420235 h 1504250"/>
                <a:gd name="connsiteX472" fmla="*/ 1830562 w 2516810"/>
                <a:gd name="connsiteY472" fmla="*/ 420732 h 1504250"/>
                <a:gd name="connsiteX473" fmla="*/ 1824981 w 2516810"/>
                <a:gd name="connsiteY473" fmla="*/ 420732 h 1504250"/>
                <a:gd name="connsiteX474" fmla="*/ 1823985 w 2516810"/>
                <a:gd name="connsiteY474" fmla="*/ 421727 h 1504250"/>
                <a:gd name="connsiteX475" fmla="*/ 1823985 w 2516810"/>
                <a:gd name="connsiteY475" fmla="*/ 422722 h 1504250"/>
                <a:gd name="connsiteX476" fmla="*/ 1823985 w 2516810"/>
                <a:gd name="connsiteY476" fmla="*/ 424016 h 1504250"/>
                <a:gd name="connsiteX477" fmla="*/ 1823985 w 2516810"/>
                <a:gd name="connsiteY477" fmla="*/ 425508 h 1504250"/>
                <a:gd name="connsiteX478" fmla="*/ 1820298 w 2516810"/>
                <a:gd name="connsiteY478" fmla="*/ 431875 h 1504250"/>
                <a:gd name="connsiteX479" fmla="*/ 1819800 w 2516810"/>
                <a:gd name="connsiteY479" fmla="*/ 433865 h 1504250"/>
                <a:gd name="connsiteX480" fmla="*/ 1819202 w 2516810"/>
                <a:gd name="connsiteY480" fmla="*/ 433865 h 1504250"/>
                <a:gd name="connsiteX481" fmla="*/ 1817209 w 2516810"/>
                <a:gd name="connsiteY481" fmla="*/ 437645 h 1504250"/>
                <a:gd name="connsiteX482" fmla="*/ 1817209 w 2516810"/>
                <a:gd name="connsiteY482" fmla="*/ 437645 h 1504250"/>
                <a:gd name="connsiteX483" fmla="*/ 1816014 w 2516810"/>
                <a:gd name="connsiteY483" fmla="*/ 439933 h 1504250"/>
                <a:gd name="connsiteX484" fmla="*/ 1815216 w 2516810"/>
                <a:gd name="connsiteY484" fmla="*/ 440829 h 1504250"/>
                <a:gd name="connsiteX485" fmla="*/ 1813622 w 2516810"/>
                <a:gd name="connsiteY485" fmla="*/ 441525 h 1504250"/>
                <a:gd name="connsiteX486" fmla="*/ 1814319 w 2516810"/>
                <a:gd name="connsiteY486" fmla="*/ 443316 h 1504250"/>
                <a:gd name="connsiteX487" fmla="*/ 1814319 w 2516810"/>
                <a:gd name="connsiteY487" fmla="*/ 443814 h 1504250"/>
                <a:gd name="connsiteX488" fmla="*/ 1813124 w 2516810"/>
                <a:gd name="connsiteY488" fmla="*/ 444410 h 1504250"/>
                <a:gd name="connsiteX489" fmla="*/ 1813821 w 2516810"/>
                <a:gd name="connsiteY489" fmla="*/ 446301 h 1504250"/>
                <a:gd name="connsiteX490" fmla="*/ 1813124 w 2516810"/>
                <a:gd name="connsiteY490" fmla="*/ 447395 h 1504250"/>
                <a:gd name="connsiteX491" fmla="*/ 1811928 w 2516810"/>
                <a:gd name="connsiteY491" fmla="*/ 448290 h 1504250"/>
                <a:gd name="connsiteX492" fmla="*/ 1807942 w 2516810"/>
                <a:gd name="connsiteY492" fmla="*/ 458239 h 1504250"/>
                <a:gd name="connsiteX493" fmla="*/ 1807145 w 2516810"/>
                <a:gd name="connsiteY493" fmla="*/ 459532 h 1504250"/>
                <a:gd name="connsiteX494" fmla="*/ 1806448 w 2516810"/>
                <a:gd name="connsiteY494" fmla="*/ 460826 h 1504250"/>
                <a:gd name="connsiteX495" fmla="*/ 1806448 w 2516810"/>
                <a:gd name="connsiteY495" fmla="*/ 462816 h 1504250"/>
                <a:gd name="connsiteX496" fmla="*/ 1806448 w 2516810"/>
                <a:gd name="connsiteY496" fmla="*/ 464408 h 1504250"/>
                <a:gd name="connsiteX497" fmla="*/ 1806946 w 2516810"/>
                <a:gd name="connsiteY497" fmla="*/ 465900 h 1504250"/>
                <a:gd name="connsiteX498" fmla="*/ 1806946 w 2516810"/>
                <a:gd name="connsiteY498" fmla="*/ 467591 h 1504250"/>
                <a:gd name="connsiteX499" fmla="*/ 1805750 w 2516810"/>
                <a:gd name="connsiteY499" fmla="*/ 469481 h 1504250"/>
                <a:gd name="connsiteX500" fmla="*/ 1805750 w 2516810"/>
                <a:gd name="connsiteY500" fmla="*/ 470277 h 1504250"/>
                <a:gd name="connsiteX501" fmla="*/ 1806647 w 2516810"/>
                <a:gd name="connsiteY501" fmla="*/ 472267 h 1504250"/>
                <a:gd name="connsiteX502" fmla="*/ 1806647 w 2516810"/>
                <a:gd name="connsiteY502" fmla="*/ 472864 h 1504250"/>
                <a:gd name="connsiteX503" fmla="*/ 1805551 w 2516810"/>
                <a:gd name="connsiteY503" fmla="*/ 473560 h 1504250"/>
                <a:gd name="connsiteX504" fmla="*/ 1796583 w 2516810"/>
                <a:gd name="connsiteY504" fmla="*/ 473560 h 1504250"/>
                <a:gd name="connsiteX505" fmla="*/ 1795885 w 2516810"/>
                <a:gd name="connsiteY505" fmla="*/ 473560 h 1504250"/>
                <a:gd name="connsiteX506" fmla="*/ 1794391 w 2516810"/>
                <a:gd name="connsiteY506" fmla="*/ 474754 h 1504250"/>
                <a:gd name="connsiteX507" fmla="*/ 1793594 w 2516810"/>
                <a:gd name="connsiteY507" fmla="*/ 475749 h 1504250"/>
                <a:gd name="connsiteX508" fmla="*/ 1793594 w 2516810"/>
                <a:gd name="connsiteY508" fmla="*/ 477241 h 1504250"/>
                <a:gd name="connsiteX509" fmla="*/ 1793594 w 2516810"/>
                <a:gd name="connsiteY509" fmla="*/ 479828 h 1504250"/>
                <a:gd name="connsiteX510" fmla="*/ 1791900 w 2516810"/>
                <a:gd name="connsiteY510" fmla="*/ 485300 h 1504250"/>
                <a:gd name="connsiteX511" fmla="*/ 1791900 w 2516810"/>
                <a:gd name="connsiteY511" fmla="*/ 486991 h 1504250"/>
                <a:gd name="connsiteX512" fmla="*/ 1792796 w 2516810"/>
                <a:gd name="connsiteY512" fmla="*/ 488284 h 1504250"/>
                <a:gd name="connsiteX513" fmla="*/ 1795885 w 2516810"/>
                <a:gd name="connsiteY513" fmla="*/ 490274 h 1504250"/>
                <a:gd name="connsiteX514" fmla="*/ 1796982 w 2516810"/>
                <a:gd name="connsiteY514" fmla="*/ 491866 h 1504250"/>
                <a:gd name="connsiteX515" fmla="*/ 1795586 w 2516810"/>
                <a:gd name="connsiteY515" fmla="*/ 492463 h 1504250"/>
                <a:gd name="connsiteX516" fmla="*/ 1792199 w 2516810"/>
                <a:gd name="connsiteY516" fmla="*/ 493060 h 1504250"/>
                <a:gd name="connsiteX517" fmla="*/ 1786519 w 2516810"/>
                <a:gd name="connsiteY517" fmla="*/ 497338 h 1504250"/>
                <a:gd name="connsiteX518" fmla="*/ 1785821 w 2516810"/>
                <a:gd name="connsiteY518" fmla="*/ 498432 h 1504250"/>
                <a:gd name="connsiteX519" fmla="*/ 1783031 w 2516810"/>
                <a:gd name="connsiteY519" fmla="*/ 496940 h 1504250"/>
                <a:gd name="connsiteX520" fmla="*/ 1780640 w 2516810"/>
                <a:gd name="connsiteY520" fmla="*/ 499129 h 1504250"/>
                <a:gd name="connsiteX521" fmla="*/ 1777252 w 2516810"/>
                <a:gd name="connsiteY521" fmla="*/ 506192 h 1504250"/>
                <a:gd name="connsiteX522" fmla="*/ 1776156 w 2516810"/>
                <a:gd name="connsiteY522" fmla="*/ 507684 h 1504250"/>
                <a:gd name="connsiteX523" fmla="*/ 1775159 w 2516810"/>
                <a:gd name="connsiteY523" fmla="*/ 508480 h 1504250"/>
                <a:gd name="connsiteX524" fmla="*/ 1770078 w 2516810"/>
                <a:gd name="connsiteY524" fmla="*/ 511166 h 1504250"/>
                <a:gd name="connsiteX525" fmla="*/ 1769081 w 2516810"/>
                <a:gd name="connsiteY525" fmla="*/ 512062 h 1504250"/>
                <a:gd name="connsiteX526" fmla="*/ 1768483 w 2516810"/>
                <a:gd name="connsiteY526" fmla="*/ 513355 h 1504250"/>
                <a:gd name="connsiteX527" fmla="*/ 1767686 w 2516810"/>
                <a:gd name="connsiteY527" fmla="*/ 515842 h 1504250"/>
                <a:gd name="connsiteX528" fmla="*/ 1767188 w 2516810"/>
                <a:gd name="connsiteY528" fmla="*/ 515842 h 1504250"/>
                <a:gd name="connsiteX529" fmla="*/ 1766092 w 2516810"/>
                <a:gd name="connsiteY529" fmla="*/ 515842 h 1504250"/>
                <a:gd name="connsiteX530" fmla="*/ 1765494 w 2516810"/>
                <a:gd name="connsiteY530" fmla="*/ 520618 h 1504250"/>
                <a:gd name="connsiteX531" fmla="*/ 1763800 w 2516810"/>
                <a:gd name="connsiteY531" fmla="*/ 524398 h 1504250"/>
                <a:gd name="connsiteX532" fmla="*/ 1760611 w 2516810"/>
                <a:gd name="connsiteY532" fmla="*/ 526090 h 1504250"/>
                <a:gd name="connsiteX533" fmla="*/ 1755629 w 2516810"/>
                <a:gd name="connsiteY533" fmla="*/ 525294 h 1504250"/>
                <a:gd name="connsiteX534" fmla="*/ 1748754 w 2516810"/>
                <a:gd name="connsiteY534" fmla="*/ 523503 h 1504250"/>
                <a:gd name="connsiteX535" fmla="*/ 1741181 w 2516810"/>
                <a:gd name="connsiteY535" fmla="*/ 523503 h 1504250"/>
                <a:gd name="connsiteX536" fmla="*/ 1739387 w 2516810"/>
                <a:gd name="connsiteY536" fmla="*/ 522508 h 1504250"/>
                <a:gd name="connsiteX537" fmla="*/ 1739985 w 2516810"/>
                <a:gd name="connsiteY537" fmla="*/ 520220 h 1504250"/>
                <a:gd name="connsiteX538" fmla="*/ 1739985 w 2516810"/>
                <a:gd name="connsiteY538" fmla="*/ 519523 h 1504250"/>
                <a:gd name="connsiteX539" fmla="*/ 1738092 w 2516810"/>
                <a:gd name="connsiteY539" fmla="*/ 520120 h 1504250"/>
                <a:gd name="connsiteX540" fmla="*/ 1737394 w 2516810"/>
                <a:gd name="connsiteY540" fmla="*/ 520120 h 1504250"/>
                <a:gd name="connsiteX541" fmla="*/ 1735900 w 2516810"/>
                <a:gd name="connsiteY541" fmla="*/ 517733 h 1504250"/>
                <a:gd name="connsiteX542" fmla="*/ 1734704 w 2516810"/>
                <a:gd name="connsiteY542" fmla="*/ 517733 h 1504250"/>
                <a:gd name="connsiteX543" fmla="*/ 1733608 w 2516810"/>
                <a:gd name="connsiteY543" fmla="*/ 519126 h 1504250"/>
                <a:gd name="connsiteX544" fmla="*/ 1732113 w 2516810"/>
                <a:gd name="connsiteY544" fmla="*/ 519921 h 1504250"/>
                <a:gd name="connsiteX545" fmla="*/ 1730320 w 2516810"/>
                <a:gd name="connsiteY545" fmla="*/ 519225 h 1504250"/>
                <a:gd name="connsiteX546" fmla="*/ 1726832 w 2516810"/>
                <a:gd name="connsiteY546" fmla="*/ 515942 h 1504250"/>
                <a:gd name="connsiteX547" fmla="*/ 1725636 w 2516810"/>
                <a:gd name="connsiteY547" fmla="*/ 515146 h 1504250"/>
                <a:gd name="connsiteX548" fmla="*/ 1724142 w 2516810"/>
                <a:gd name="connsiteY548" fmla="*/ 515146 h 1504250"/>
                <a:gd name="connsiteX549" fmla="*/ 1718761 w 2516810"/>
                <a:gd name="connsiteY549" fmla="*/ 512161 h 1504250"/>
                <a:gd name="connsiteX550" fmla="*/ 1712284 w 2516810"/>
                <a:gd name="connsiteY550" fmla="*/ 505894 h 1504250"/>
                <a:gd name="connsiteX551" fmla="*/ 1711586 w 2516810"/>
                <a:gd name="connsiteY551" fmla="*/ 504700 h 1504250"/>
                <a:gd name="connsiteX552" fmla="*/ 1711586 w 2516810"/>
                <a:gd name="connsiteY552" fmla="*/ 503705 h 1504250"/>
                <a:gd name="connsiteX553" fmla="*/ 1711586 w 2516810"/>
                <a:gd name="connsiteY553" fmla="*/ 502810 h 1504250"/>
                <a:gd name="connsiteX554" fmla="*/ 1710490 w 2516810"/>
                <a:gd name="connsiteY554" fmla="*/ 502014 h 1504250"/>
                <a:gd name="connsiteX555" fmla="*/ 1709494 w 2516810"/>
                <a:gd name="connsiteY555" fmla="*/ 502014 h 1504250"/>
                <a:gd name="connsiteX556" fmla="*/ 1706106 w 2516810"/>
                <a:gd name="connsiteY556" fmla="*/ 502014 h 1504250"/>
                <a:gd name="connsiteX557" fmla="*/ 1695046 w 2516810"/>
                <a:gd name="connsiteY557" fmla="*/ 499327 h 1504250"/>
                <a:gd name="connsiteX558" fmla="*/ 1691359 w 2516810"/>
                <a:gd name="connsiteY558" fmla="*/ 497338 h 1504250"/>
                <a:gd name="connsiteX559" fmla="*/ 1685380 w 2516810"/>
                <a:gd name="connsiteY559" fmla="*/ 492364 h 1504250"/>
                <a:gd name="connsiteX560" fmla="*/ 1684184 w 2516810"/>
                <a:gd name="connsiteY560" fmla="*/ 491866 h 1504250"/>
                <a:gd name="connsiteX561" fmla="*/ 1682690 w 2516810"/>
                <a:gd name="connsiteY561" fmla="*/ 491866 h 1504250"/>
                <a:gd name="connsiteX562" fmla="*/ 1681892 w 2516810"/>
                <a:gd name="connsiteY562" fmla="*/ 491070 h 1504250"/>
                <a:gd name="connsiteX563" fmla="*/ 1682889 w 2516810"/>
                <a:gd name="connsiteY563" fmla="*/ 487886 h 1504250"/>
                <a:gd name="connsiteX564" fmla="*/ 1682291 w 2516810"/>
                <a:gd name="connsiteY564" fmla="*/ 486593 h 1504250"/>
                <a:gd name="connsiteX565" fmla="*/ 1681095 w 2516810"/>
                <a:gd name="connsiteY565" fmla="*/ 485499 h 1504250"/>
                <a:gd name="connsiteX566" fmla="*/ 1679700 w 2516810"/>
                <a:gd name="connsiteY566" fmla="*/ 485499 h 1504250"/>
                <a:gd name="connsiteX567" fmla="*/ 1670932 w 2516810"/>
                <a:gd name="connsiteY567" fmla="*/ 485001 h 1504250"/>
                <a:gd name="connsiteX568" fmla="*/ 1662860 w 2516810"/>
                <a:gd name="connsiteY568" fmla="*/ 483410 h 1504250"/>
                <a:gd name="connsiteX569" fmla="*/ 1651401 w 2516810"/>
                <a:gd name="connsiteY569" fmla="*/ 479530 h 1504250"/>
                <a:gd name="connsiteX570" fmla="*/ 1646619 w 2516810"/>
                <a:gd name="connsiteY570" fmla="*/ 476943 h 1504250"/>
                <a:gd name="connsiteX571" fmla="*/ 1640540 w 2516810"/>
                <a:gd name="connsiteY571" fmla="*/ 470377 h 1504250"/>
                <a:gd name="connsiteX572" fmla="*/ 1636256 w 2516810"/>
                <a:gd name="connsiteY572" fmla="*/ 468287 h 1504250"/>
                <a:gd name="connsiteX573" fmla="*/ 1633466 w 2516810"/>
                <a:gd name="connsiteY573" fmla="*/ 465999 h 1504250"/>
                <a:gd name="connsiteX574" fmla="*/ 1629280 w 2516810"/>
                <a:gd name="connsiteY574" fmla="*/ 461522 h 1504250"/>
                <a:gd name="connsiteX575" fmla="*/ 1627088 w 2516810"/>
                <a:gd name="connsiteY575" fmla="*/ 456448 h 1504250"/>
                <a:gd name="connsiteX576" fmla="*/ 1626291 w 2516810"/>
                <a:gd name="connsiteY576" fmla="*/ 455752 h 1504250"/>
                <a:gd name="connsiteX577" fmla="*/ 1625195 w 2516810"/>
                <a:gd name="connsiteY577" fmla="*/ 455752 h 1504250"/>
                <a:gd name="connsiteX578" fmla="*/ 1622206 w 2516810"/>
                <a:gd name="connsiteY578" fmla="*/ 453563 h 1504250"/>
                <a:gd name="connsiteX579" fmla="*/ 1620213 w 2516810"/>
                <a:gd name="connsiteY579" fmla="*/ 451076 h 1504250"/>
                <a:gd name="connsiteX580" fmla="*/ 1616925 w 2516810"/>
                <a:gd name="connsiteY580" fmla="*/ 450181 h 1504250"/>
                <a:gd name="connsiteX581" fmla="*/ 1613437 w 2516810"/>
                <a:gd name="connsiteY581" fmla="*/ 450181 h 1504250"/>
                <a:gd name="connsiteX582" fmla="*/ 1611145 w 2516810"/>
                <a:gd name="connsiteY582" fmla="*/ 451275 h 1504250"/>
                <a:gd name="connsiteX583" fmla="*/ 1609850 w 2516810"/>
                <a:gd name="connsiteY583" fmla="*/ 449385 h 1504250"/>
                <a:gd name="connsiteX584" fmla="*/ 1599886 w 2516810"/>
                <a:gd name="connsiteY584" fmla="*/ 443117 h 1504250"/>
                <a:gd name="connsiteX585" fmla="*/ 1598989 w 2516810"/>
                <a:gd name="connsiteY585" fmla="*/ 443117 h 1504250"/>
                <a:gd name="connsiteX586" fmla="*/ 1598191 w 2516810"/>
                <a:gd name="connsiteY586" fmla="*/ 442520 h 1504250"/>
                <a:gd name="connsiteX587" fmla="*/ 1597594 w 2516810"/>
                <a:gd name="connsiteY587" fmla="*/ 441426 h 1504250"/>
                <a:gd name="connsiteX588" fmla="*/ 1597594 w 2516810"/>
                <a:gd name="connsiteY588" fmla="*/ 440033 h 1504250"/>
                <a:gd name="connsiteX589" fmla="*/ 1597594 w 2516810"/>
                <a:gd name="connsiteY589" fmla="*/ 439138 h 1504250"/>
                <a:gd name="connsiteX590" fmla="*/ 1595800 w 2516810"/>
                <a:gd name="connsiteY590" fmla="*/ 437446 h 1504250"/>
                <a:gd name="connsiteX591" fmla="*/ 1589821 w 2516810"/>
                <a:gd name="connsiteY591" fmla="*/ 433367 h 1504250"/>
                <a:gd name="connsiteX592" fmla="*/ 1588028 w 2516810"/>
                <a:gd name="connsiteY592" fmla="*/ 431477 h 1504250"/>
                <a:gd name="connsiteX593" fmla="*/ 1587529 w 2516810"/>
                <a:gd name="connsiteY593" fmla="*/ 430084 h 1504250"/>
                <a:gd name="connsiteX594" fmla="*/ 1587529 w 2516810"/>
                <a:gd name="connsiteY594" fmla="*/ 428692 h 1504250"/>
                <a:gd name="connsiteX595" fmla="*/ 1587529 w 2516810"/>
                <a:gd name="connsiteY595" fmla="*/ 426702 h 1504250"/>
                <a:gd name="connsiteX596" fmla="*/ 1586732 w 2516810"/>
                <a:gd name="connsiteY596" fmla="*/ 424712 h 1504250"/>
                <a:gd name="connsiteX597" fmla="*/ 1584540 w 2516810"/>
                <a:gd name="connsiteY597" fmla="*/ 420534 h 1504250"/>
                <a:gd name="connsiteX598" fmla="*/ 1583444 w 2516810"/>
                <a:gd name="connsiteY598" fmla="*/ 414664 h 1504250"/>
                <a:gd name="connsiteX599" fmla="*/ 1581750 w 2516810"/>
                <a:gd name="connsiteY599" fmla="*/ 412574 h 1504250"/>
                <a:gd name="connsiteX600" fmla="*/ 1579458 w 2516810"/>
                <a:gd name="connsiteY600" fmla="*/ 410784 h 1504250"/>
                <a:gd name="connsiteX601" fmla="*/ 1577167 w 2516810"/>
                <a:gd name="connsiteY601" fmla="*/ 408297 h 1504250"/>
                <a:gd name="connsiteX602" fmla="*/ 1576668 w 2516810"/>
                <a:gd name="connsiteY602" fmla="*/ 407103 h 1504250"/>
                <a:gd name="connsiteX603" fmla="*/ 1574875 w 2516810"/>
                <a:gd name="connsiteY603" fmla="*/ 400536 h 1504250"/>
                <a:gd name="connsiteX604" fmla="*/ 1572583 w 2516810"/>
                <a:gd name="connsiteY604" fmla="*/ 397651 h 1504250"/>
                <a:gd name="connsiteX605" fmla="*/ 1571985 w 2516810"/>
                <a:gd name="connsiteY605" fmla="*/ 396259 h 1504250"/>
                <a:gd name="connsiteX606" fmla="*/ 1571985 w 2516810"/>
                <a:gd name="connsiteY606" fmla="*/ 395562 h 1504250"/>
                <a:gd name="connsiteX607" fmla="*/ 1570291 w 2516810"/>
                <a:gd name="connsiteY607" fmla="*/ 393672 h 1504250"/>
                <a:gd name="connsiteX608" fmla="*/ 1569793 w 2516810"/>
                <a:gd name="connsiteY608" fmla="*/ 392876 h 1504250"/>
                <a:gd name="connsiteX609" fmla="*/ 1569793 w 2516810"/>
                <a:gd name="connsiteY609" fmla="*/ 391483 h 1504250"/>
                <a:gd name="connsiteX610" fmla="*/ 1569793 w 2516810"/>
                <a:gd name="connsiteY610" fmla="*/ 389294 h 1504250"/>
                <a:gd name="connsiteX611" fmla="*/ 1569793 w 2516810"/>
                <a:gd name="connsiteY611" fmla="*/ 388001 h 1504250"/>
                <a:gd name="connsiteX612" fmla="*/ 1567501 w 2516810"/>
                <a:gd name="connsiteY612" fmla="*/ 380341 h 1504250"/>
                <a:gd name="connsiteX613" fmla="*/ 1567501 w 2516810"/>
                <a:gd name="connsiteY613" fmla="*/ 376958 h 1504250"/>
                <a:gd name="connsiteX614" fmla="*/ 1567501 w 2516810"/>
                <a:gd name="connsiteY614" fmla="*/ 374073 h 1504250"/>
                <a:gd name="connsiteX615" fmla="*/ 1569295 w 2516810"/>
                <a:gd name="connsiteY615" fmla="*/ 369098 h 1504250"/>
                <a:gd name="connsiteX616" fmla="*/ 1569295 w 2516810"/>
                <a:gd name="connsiteY616" fmla="*/ 365815 h 1504250"/>
                <a:gd name="connsiteX617" fmla="*/ 1569295 w 2516810"/>
                <a:gd name="connsiteY617" fmla="*/ 360742 h 1504250"/>
                <a:gd name="connsiteX618" fmla="*/ 1569295 w 2516810"/>
                <a:gd name="connsiteY618" fmla="*/ 357558 h 1504250"/>
                <a:gd name="connsiteX619" fmla="*/ 1567501 w 2516810"/>
                <a:gd name="connsiteY619" fmla="*/ 355369 h 1504250"/>
                <a:gd name="connsiteX620" fmla="*/ 1565010 w 2516810"/>
                <a:gd name="connsiteY620" fmla="*/ 350295 h 1504250"/>
                <a:gd name="connsiteX621" fmla="*/ 1563814 w 2516810"/>
                <a:gd name="connsiteY621" fmla="*/ 349102 h 1504250"/>
                <a:gd name="connsiteX622" fmla="*/ 1561622 w 2516810"/>
                <a:gd name="connsiteY622" fmla="*/ 348107 h 1504250"/>
                <a:gd name="connsiteX623" fmla="*/ 1560725 w 2516810"/>
                <a:gd name="connsiteY623" fmla="*/ 347410 h 1504250"/>
                <a:gd name="connsiteX624" fmla="*/ 1559131 w 2516810"/>
                <a:gd name="connsiteY624" fmla="*/ 344625 h 1504250"/>
                <a:gd name="connsiteX625" fmla="*/ 1557636 w 2516810"/>
                <a:gd name="connsiteY625" fmla="*/ 340744 h 1504250"/>
                <a:gd name="connsiteX626" fmla="*/ 1555743 w 2516810"/>
                <a:gd name="connsiteY626" fmla="*/ 337362 h 1504250"/>
                <a:gd name="connsiteX627" fmla="*/ 1553352 w 2516810"/>
                <a:gd name="connsiteY627" fmla="*/ 335870 h 1504250"/>
                <a:gd name="connsiteX628" fmla="*/ 1552754 w 2516810"/>
                <a:gd name="connsiteY628" fmla="*/ 335273 h 1504250"/>
                <a:gd name="connsiteX629" fmla="*/ 1552754 w 2516810"/>
                <a:gd name="connsiteY629" fmla="*/ 333880 h 1504250"/>
                <a:gd name="connsiteX630" fmla="*/ 1552754 w 2516810"/>
                <a:gd name="connsiteY630" fmla="*/ 332189 h 1504250"/>
                <a:gd name="connsiteX631" fmla="*/ 1552754 w 2516810"/>
                <a:gd name="connsiteY631" fmla="*/ 331094 h 1504250"/>
                <a:gd name="connsiteX632" fmla="*/ 1551957 w 2516810"/>
                <a:gd name="connsiteY632" fmla="*/ 330100 h 1504250"/>
                <a:gd name="connsiteX633" fmla="*/ 1550362 w 2516810"/>
                <a:gd name="connsiteY633" fmla="*/ 329105 h 1504250"/>
                <a:gd name="connsiteX634" fmla="*/ 1549366 w 2516810"/>
                <a:gd name="connsiteY634" fmla="*/ 328110 h 1504250"/>
                <a:gd name="connsiteX635" fmla="*/ 1548369 w 2516810"/>
                <a:gd name="connsiteY635" fmla="*/ 326518 h 1504250"/>
                <a:gd name="connsiteX636" fmla="*/ 1548369 w 2516810"/>
                <a:gd name="connsiteY636" fmla="*/ 325821 h 1504250"/>
                <a:gd name="connsiteX637" fmla="*/ 1548369 w 2516810"/>
                <a:gd name="connsiteY637" fmla="*/ 324926 h 1504250"/>
                <a:gd name="connsiteX638" fmla="*/ 1548369 w 2516810"/>
                <a:gd name="connsiteY638" fmla="*/ 322737 h 1504250"/>
                <a:gd name="connsiteX639" fmla="*/ 1548369 w 2516810"/>
                <a:gd name="connsiteY639" fmla="*/ 321444 h 1504250"/>
                <a:gd name="connsiteX640" fmla="*/ 1547074 w 2516810"/>
                <a:gd name="connsiteY640" fmla="*/ 319554 h 1504250"/>
                <a:gd name="connsiteX641" fmla="*/ 1547074 w 2516810"/>
                <a:gd name="connsiteY641" fmla="*/ 317962 h 1504250"/>
                <a:gd name="connsiteX642" fmla="*/ 1547074 w 2516810"/>
                <a:gd name="connsiteY642" fmla="*/ 316967 h 1504250"/>
                <a:gd name="connsiteX643" fmla="*/ 1547772 w 2516810"/>
                <a:gd name="connsiteY643" fmla="*/ 315375 h 1504250"/>
                <a:gd name="connsiteX644" fmla="*/ 1547772 w 2516810"/>
                <a:gd name="connsiteY644" fmla="*/ 314480 h 1504250"/>
                <a:gd name="connsiteX645" fmla="*/ 1547273 w 2516810"/>
                <a:gd name="connsiteY645" fmla="*/ 313783 h 1504250"/>
                <a:gd name="connsiteX646" fmla="*/ 1545181 w 2516810"/>
                <a:gd name="connsiteY646" fmla="*/ 312590 h 1504250"/>
                <a:gd name="connsiteX647" fmla="*/ 1545181 w 2516810"/>
                <a:gd name="connsiteY647" fmla="*/ 311197 h 1504250"/>
                <a:gd name="connsiteX648" fmla="*/ 1545181 w 2516810"/>
                <a:gd name="connsiteY648" fmla="*/ 308212 h 1504250"/>
                <a:gd name="connsiteX649" fmla="*/ 1545181 w 2516810"/>
                <a:gd name="connsiteY649" fmla="*/ 306820 h 1504250"/>
                <a:gd name="connsiteX650" fmla="*/ 1543686 w 2516810"/>
                <a:gd name="connsiteY650" fmla="*/ 304332 h 1504250"/>
                <a:gd name="connsiteX651" fmla="*/ 1539900 w 2516810"/>
                <a:gd name="connsiteY651" fmla="*/ 300054 h 1504250"/>
                <a:gd name="connsiteX652" fmla="*/ 1539103 w 2516810"/>
                <a:gd name="connsiteY652" fmla="*/ 298562 h 1504250"/>
                <a:gd name="connsiteX653" fmla="*/ 1538305 w 2516810"/>
                <a:gd name="connsiteY653" fmla="*/ 298065 h 1504250"/>
                <a:gd name="connsiteX654" fmla="*/ 1534320 w 2516810"/>
                <a:gd name="connsiteY654" fmla="*/ 297468 h 1504250"/>
                <a:gd name="connsiteX655" fmla="*/ 1533024 w 2516810"/>
                <a:gd name="connsiteY655" fmla="*/ 297468 h 1504250"/>
                <a:gd name="connsiteX656" fmla="*/ 1532227 w 2516810"/>
                <a:gd name="connsiteY656" fmla="*/ 296174 h 1504250"/>
                <a:gd name="connsiteX657" fmla="*/ 1532227 w 2516810"/>
                <a:gd name="connsiteY657" fmla="*/ 294682 h 1504250"/>
                <a:gd name="connsiteX658" fmla="*/ 1532227 w 2516810"/>
                <a:gd name="connsiteY658" fmla="*/ 293090 h 1504250"/>
                <a:gd name="connsiteX659" fmla="*/ 1532227 w 2516810"/>
                <a:gd name="connsiteY659" fmla="*/ 291697 h 1504250"/>
                <a:gd name="connsiteX660" fmla="*/ 1530633 w 2516810"/>
                <a:gd name="connsiteY660" fmla="*/ 289508 h 1504250"/>
                <a:gd name="connsiteX661" fmla="*/ 1528241 w 2516810"/>
                <a:gd name="connsiteY661" fmla="*/ 287618 h 1504250"/>
                <a:gd name="connsiteX662" fmla="*/ 1525551 w 2516810"/>
                <a:gd name="connsiteY662" fmla="*/ 286325 h 1504250"/>
                <a:gd name="connsiteX663" fmla="*/ 1523159 w 2516810"/>
                <a:gd name="connsiteY663" fmla="*/ 286325 h 1504250"/>
                <a:gd name="connsiteX664" fmla="*/ 1520768 w 2516810"/>
                <a:gd name="connsiteY664" fmla="*/ 285231 h 1504250"/>
                <a:gd name="connsiteX665" fmla="*/ 1514889 w 2516810"/>
                <a:gd name="connsiteY665" fmla="*/ 278466 h 1504250"/>
                <a:gd name="connsiteX666" fmla="*/ 1514092 w 2516810"/>
                <a:gd name="connsiteY666" fmla="*/ 279460 h 1504250"/>
                <a:gd name="connsiteX667" fmla="*/ 1512497 w 2516810"/>
                <a:gd name="connsiteY667" fmla="*/ 277669 h 1504250"/>
                <a:gd name="connsiteX668" fmla="*/ 1511900 w 2516810"/>
                <a:gd name="connsiteY668" fmla="*/ 277669 h 1504250"/>
                <a:gd name="connsiteX669" fmla="*/ 1511900 w 2516810"/>
                <a:gd name="connsiteY669" fmla="*/ 277669 h 1504250"/>
                <a:gd name="connsiteX670" fmla="*/ 1511900 w 2516810"/>
                <a:gd name="connsiteY670" fmla="*/ 276177 h 1504250"/>
                <a:gd name="connsiteX671" fmla="*/ 1511402 w 2516810"/>
                <a:gd name="connsiteY671" fmla="*/ 275282 h 1504250"/>
                <a:gd name="connsiteX672" fmla="*/ 1510405 w 2516810"/>
                <a:gd name="connsiteY672" fmla="*/ 275282 h 1504250"/>
                <a:gd name="connsiteX673" fmla="*/ 1509110 w 2516810"/>
                <a:gd name="connsiteY673" fmla="*/ 275282 h 1504250"/>
                <a:gd name="connsiteX674" fmla="*/ 1507814 w 2516810"/>
                <a:gd name="connsiteY674" fmla="*/ 274785 h 1504250"/>
                <a:gd name="connsiteX675" fmla="*/ 1506619 w 2516810"/>
                <a:gd name="connsiteY675" fmla="*/ 272695 h 1504250"/>
                <a:gd name="connsiteX676" fmla="*/ 1505722 w 2516810"/>
                <a:gd name="connsiteY676" fmla="*/ 272695 h 1504250"/>
                <a:gd name="connsiteX677" fmla="*/ 1504925 w 2516810"/>
                <a:gd name="connsiteY677" fmla="*/ 272695 h 1504250"/>
                <a:gd name="connsiteX678" fmla="*/ 1503530 w 2516810"/>
                <a:gd name="connsiteY678" fmla="*/ 272695 h 1504250"/>
                <a:gd name="connsiteX679" fmla="*/ 1503530 w 2516810"/>
                <a:gd name="connsiteY679" fmla="*/ 272695 h 1504250"/>
                <a:gd name="connsiteX680" fmla="*/ 1502633 w 2516810"/>
                <a:gd name="connsiteY680" fmla="*/ 273790 h 1504250"/>
                <a:gd name="connsiteX681" fmla="*/ 1502135 w 2516810"/>
                <a:gd name="connsiteY681" fmla="*/ 273790 h 1504250"/>
                <a:gd name="connsiteX682" fmla="*/ 1501437 w 2516810"/>
                <a:gd name="connsiteY682" fmla="*/ 273790 h 1504250"/>
                <a:gd name="connsiteX683" fmla="*/ 1500142 w 2516810"/>
                <a:gd name="connsiteY683" fmla="*/ 273193 h 1504250"/>
                <a:gd name="connsiteX684" fmla="*/ 1499345 w 2516810"/>
                <a:gd name="connsiteY684" fmla="*/ 272397 h 1504250"/>
                <a:gd name="connsiteX685" fmla="*/ 1498747 w 2516810"/>
                <a:gd name="connsiteY685" fmla="*/ 271601 h 1504250"/>
                <a:gd name="connsiteX686" fmla="*/ 1497950 w 2516810"/>
                <a:gd name="connsiteY686" fmla="*/ 270805 h 1504250"/>
                <a:gd name="connsiteX687" fmla="*/ 1490775 w 2516810"/>
                <a:gd name="connsiteY687" fmla="*/ 267422 h 1504250"/>
                <a:gd name="connsiteX688" fmla="*/ 1486989 w 2516810"/>
                <a:gd name="connsiteY688" fmla="*/ 266427 h 1504250"/>
                <a:gd name="connsiteX689" fmla="*/ 1485494 w 2516810"/>
                <a:gd name="connsiteY689" fmla="*/ 265134 h 1504250"/>
                <a:gd name="connsiteX690" fmla="*/ 1480512 w 2516810"/>
                <a:gd name="connsiteY690" fmla="*/ 259065 h 1504250"/>
                <a:gd name="connsiteX691" fmla="*/ 1470547 w 2516810"/>
                <a:gd name="connsiteY691" fmla="*/ 251405 h 1504250"/>
                <a:gd name="connsiteX692" fmla="*/ 1466263 w 2516810"/>
                <a:gd name="connsiteY692" fmla="*/ 246431 h 1504250"/>
                <a:gd name="connsiteX693" fmla="*/ 1463074 w 2516810"/>
                <a:gd name="connsiteY693" fmla="*/ 244839 h 1504250"/>
                <a:gd name="connsiteX694" fmla="*/ 1461878 w 2516810"/>
                <a:gd name="connsiteY694" fmla="*/ 242849 h 1504250"/>
                <a:gd name="connsiteX695" fmla="*/ 1460184 w 2516810"/>
                <a:gd name="connsiteY695" fmla="*/ 237874 h 1504250"/>
                <a:gd name="connsiteX696" fmla="*/ 1458690 w 2516810"/>
                <a:gd name="connsiteY696" fmla="*/ 235089 h 1504250"/>
                <a:gd name="connsiteX697" fmla="*/ 1456796 w 2516810"/>
                <a:gd name="connsiteY697" fmla="*/ 233597 h 1504250"/>
                <a:gd name="connsiteX698" fmla="*/ 1447829 w 2516810"/>
                <a:gd name="connsiteY698" fmla="*/ 230811 h 1504250"/>
                <a:gd name="connsiteX699" fmla="*/ 1445238 w 2516810"/>
                <a:gd name="connsiteY699" fmla="*/ 228921 h 1504250"/>
                <a:gd name="connsiteX700" fmla="*/ 1442249 w 2516810"/>
                <a:gd name="connsiteY700" fmla="*/ 225538 h 1504250"/>
                <a:gd name="connsiteX701" fmla="*/ 1441252 w 2516810"/>
                <a:gd name="connsiteY701" fmla="*/ 224941 h 1504250"/>
                <a:gd name="connsiteX702" fmla="*/ 1439160 w 2516810"/>
                <a:gd name="connsiteY702" fmla="*/ 224145 h 1504250"/>
                <a:gd name="connsiteX703" fmla="*/ 1429195 w 2516810"/>
                <a:gd name="connsiteY703" fmla="*/ 218077 h 1504250"/>
                <a:gd name="connsiteX704" fmla="*/ 1428000 w 2516810"/>
                <a:gd name="connsiteY704" fmla="*/ 216286 h 1504250"/>
                <a:gd name="connsiteX705" fmla="*/ 1427103 w 2516810"/>
                <a:gd name="connsiteY705" fmla="*/ 213699 h 1504250"/>
                <a:gd name="connsiteX706" fmla="*/ 1417138 w 2516810"/>
                <a:gd name="connsiteY706" fmla="*/ 202755 h 1504250"/>
                <a:gd name="connsiteX707" fmla="*/ 1414846 w 2516810"/>
                <a:gd name="connsiteY707" fmla="*/ 200865 h 1504250"/>
                <a:gd name="connsiteX708" fmla="*/ 1412754 w 2516810"/>
                <a:gd name="connsiteY708" fmla="*/ 200169 h 1504250"/>
                <a:gd name="connsiteX709" fmla="*/ 1412754 w 2516810"/>
                <a:gd name="connsiteY709" fmla="*/ 199671 h 1504250"/>
                <a:gd name="connsiteX710" fmla="*/ 1411259 w 2516810"/>
                <a:gd name="connsiteY710" fmla="*/ 198676 h 1504250"/>
                <a:gd name="connsiteX711" fmla="*/ 1408868 w 2516810"/>
                <a:gd name="connsiteY711" fmla="*/ 197284 h 1504250"/>
                <a:gd name="connsiteX712" fmla="*/ 1407971 w 2516810"/>
                <a:gd name="connsiteY712" fmla="*/ 195990 h 1504250"/>
                <a:gd name="connsiteX713" fmla="*/ 1407074 w 2516810"/>
                <a:gd name="connsiteY713" fmla="*/ 193603 h 1504250"/>
                <a:gd name="connsiteX714" fmla="*/ 1406277 w 2516810"/>
                <a:gd name="connsiteY714" fmla="*/ 192309 h 1504250"/>
                <a:gd name="connsiteX715" fmla="*/ 1404683 w 2516810"/>
                <a:gd name="connsiteY715" fmla="*/ 191016 h 1504250"/>
                <a:gd name="connsiteX716" fmla="*/ 1399202 w 2516810"/>
                <a:gd name="connsiteY716" fmla="*/ 187235 h 1504250"/>
                <a:gd name="connsiteX717" fmla="*/ 1397110 w 2516810"/>
                <a:gd name="connsiteY717" fmla="*/ 186539 h 1504250"/>
                <a:gd name="connsiteX718" fmla="*/ 1393921 w 2516810"/>
                <a:gd name="connsiteY718" fmla="*/ 186539 h 1504250"/>
                <a:gd name="connsiteX719" fmla="*/ 1391530 w 2516810"/>
                <a:gd name="connsiteY719" fmla="*/ 185644 h 1504250"/>
                <a:gd name="connsiteX720" fmla="*/ 1387245 w 2516810"/>
                <a:gd name="connsiteY720" fmla="*/ 183057 h 1504250"/>
                <a:gd name="connsiteX721" fmla="*/ 1381964 w 2516810"/>
                <a:gd name="connsiteY721" fmla="*/ 181664 h 1504250"/>
                <a:gd name="connsiteX722" fmla="*/ 1379074 w 2516810"/>
                <a:gd name="connsiteY722" fmla="*/ 180470 h 1504250"/>
                <a:gd name="connsiteX723" fmla="*/ 1377779 w 2516810"/>
                <a:gd name="connsiteY723" fmla="*/ 178680 h 1504250"/>
                <a:gd name="connsiteX724" fmla="*/ 1373394 w 2516810"/>
                <a:gd name="connsiteY724" fmla="*/ 176192 h 1504250"/>
                <a:gd name="connsiteX725" fmla="*/ 1372597 w 2516810"/>
                <a:gd name="connsiteY725" fmla="*/ 175297 h 1504250"/>
                <a:gd name="connsiteX726" fmla="*/ 1372597 w 2516810"/>
                <a:gd name="connsiteY726" fmla="*/ 174601 h 1504250"/>
                <a:gd name="connsiteX727" fmla="*/ 1372597 w 2516810"/>
                <a:gd name="connsiteY727" fmla="*/ 173805 h 1504250"/>
                <a:gd name="connsiteX728" fmla="*/ 1372099 w 2516810"/>
                <a:gd name="connsiteY728" fmla="*/ 172312 h 1504250"/>
                <a:gd name="connsiteX729" fmla="*/ 1370903 w 2516810"/>
                <a:gd name="connsiteY729" fmla="*/ 170124 h 1504250"/>
                <a:gd name="connsiteX730" fmla="*/ 1365622 w 2516810"/>
                <a:gd name="connsiteY730" fmla="*/ 164055 h 1504250"/>
                <a:gd name="connsiteX731" fmla="*/ 1364128 w 2516810"/>
                <a:gd name="connsiteY731" fmla="*/ 161568 h 1504250"/>
                <a:gd name="connsiteX732" fmla="*/ 1360839 w 2516810"/>
                <a:gd name="connsiteY732" fmla="*/ 151619 h 1504250"/>
                <a:gd name="connsiteX733" fmla="*/ 1358448 w 2516810"/>
                <a:gd name="connsiteY733" fmla="*/ 146844 h 1504250"/>
                <a:gd name="connsiteX734" fmla="*/ 1355060 w 2516810"/>
                <a:gd name="connsiteY734" fmla="*/ 141869 h 1504250"/>
                <a:gd name="connsiteX735" fmla="*/ 1350775 w 2516810"/>
                <a:gd name="connsiteY735" fmla="*/ 137790 h 1504250"/>
                <a:gd name="connsiteX736" fmla="*/ 1346092 w 2516810"/>
                <a:gd name="connsiteY736" fmla="*/ 135999 h 1504250"/>
                <a:gd name="connsiteX737" fmla="*/ 1340611 w 2516810"/>
                <a:gd name="connsiteY737" fmla="*/ 136497 h 1504250"/>
                <a:gd name="connsiteX738" fmla="*/ 1338120 w 2516810"/>
                <a:gd name="connsiteY738" fmla="*/ 135900 h 1504250"/>
                <a:gd name="connsiteX739" fmla="*/ 1337024 w 2516810"/>
                <a:gd name="connsiteY739" fmla="*/ 134905 h 1504250"/>
                <a:gd name="connsiteX740" fmla="*/ 1336427 w 2516810"/>
                <a:gd name="connsiteY740" fmla="*/ 134308 h 1504250"/>
                <a:gd name="connsiteX741" fmla="*/ 1335031 w 2516810"/>
                <a:gd name="connsiteY741" fmla="*/ 134308 h 1504250"/>
                <a:gd name="connsiteX742" fmla="*/ 1121693 w 2516810"/>
                <a:gd name="connsiteY742" fmla="*/ 134308 h 1504250"/>
                <a:gd name="connsiteX743" fmla="*/ 1121693 w 2516810"/>
                <a:gd name="connsiteY743" fmla="*/ 198478 h 1504250"/>
                <a:gd name="connsiteX744" fmla="*/ 770249 w 2516810"/>
                <a:gd name="connsiteY744" fmla="*/ 198478 h 1504250"/>
                <a:gd name="connsiteX745" fmla="*/ 762576 w 2516810"/>
                <a:gd name="connsiteY745" fmla="*/ 197582 h 1504250"/>
                <a:gd name="connsiteX746" fmla="*/ 759188 w 2516810"/>
                <a:gd name="connsiteY746" fmla="*/ 196289 h 1504250"/>
                <a:gd name="connsiteX747" fmla="*/ 752712 w 2516810"/>
                <a:gd name="connsiteY747" fmla="*/ 193901 h 1504250"/>
                <a:gd name="connsiteX748" fmla="*/ 746235 w 2516810"/>
                <a:gd name="connsiteY748" fmla="*/ 191613 h 1504250"/>
                <a:gd name="connsiteX749" fmla="*/ 739758 w 2516810"/>
                <a:gd name="connsiteY749" fmla="*/ 189225 h 1504250"/>
                <a:gd name="connsiteX750" fmla="*/ 733281 w 2516810"/>
                <a:gd name="connsiteY750" fmla="*/ 186937 h 1504250"/>
                <a:gd name="connsiteX751" fmla="*/ 726804 w 2516810"/>
                <a:gd name="connsiteY751" fmla="*/ 184549 h 1504250"/>
                <a:gd name="connsiteX752" fmla="*/ 720427 w 2516810"/>
                <a:gd name="connsiteY752" fmla="*/ 181067 h 1504250"/>
                <a:gd name="connsiteX753" fmla="*/ 713950 w 2516810"/>
                <a:gd name="connsiteY753" fmla="*/ 178779 h 1504250"/>
                <a:gd name="connsiteX754" fmla="*/ 707373 w 2516810"/>
                <a:gd name="connsiteY754" fmla="*/ 176391 h 1504250"/>
                <a:gd name="connsiteX755" fmla="*/ 655857 w 2516810"/>
                <a:gd name="connsiteY755" fmla="*/ 158384 h 1504250"/>
                <a:gd name="connsiteX756" fmla="*/ 604341 w 2516810"/>
                <a:gd name="connsiteY756" fmla="*/ 140377 h 1504250"/>
                <a:gd name="connsiteX757" fmla="*/ 552726 w 2516810"/>
                <a:gd name="connsiteY757" fmla="*/ 122270 h 1504250"/>
                <a:gd name="connsiteX758" fmla="*/ 501210 w 2516810"/>
                <a:gd name="connsiteY758" fmla="*/ 103964 h 1504250"/>
                <a:gd name="connsiteX759" fmla="*/ 449594 w 2516810"/>
                <a:gd name="connsiteY759" fmla="*/ 85858 h 1504250"/>
                <a:gd name="connsiteX760" fmla="*/ 398078 w 2516810"/>
                <a:gd name="connsiteY760" fmla="*/ 67751 h 1504250"/>
                <a:gd name="connsiteX761" fmla="*/ 346562 w 2516810"/>
                <a:gd name="connsiteY761" fmla="*/ 49744 h 1504250"/>
                <a:gd name="connsiteX762" fmla="*/ 294648 w 2516810"/>
                <a:gd name="connsiteY762" fmla="*/ 31836 h 1504250"/>
                <a:gd name="connsiteX763" fmla="*/ 290064 w 2516810"/>
                <a:gd name="connsiteY763" fmla="*/ 30244 h 1504250"/>
                <a:gd name="connsiteX764" fmla="*/ 290064 w 2516810"/>
                <a:gd name="connsiteY764" fmla="*/ 30244 h 1504250"/>
                <a:gd name="connsiteX765" fmla="*/ 290064 w 2516810"/>
                <a:gd name="connsiteY765" fmla="*/ 30244 h 1504250"/>
                <a:gd name="connsiteX766" fmla="*/ 291658 w 2516810"/>
                <a:gd name="connsiteY766" fmla="*/ 28652 h 1504250"/>
                <a:gd name="connsiteX767" fmla="*/ 293452 w 2516810"/>
                <a:gd name="connsiteY767" fmla="*/ 22882 h 1504250"/>
                <a:gd name="connsiteX768" fmla="*/ 293452 w 2516810"/>
                <a:gd name="connsiteY768" fmla="*/ 19699 h 1504250"/>
                <a:gd name="connsiteX769" fmla="*/ 292356 w 2516810"/>
                <a:gd name="connsiteY769" fmla="*/ 16813 h 1504250"/>
                <a:gd name="connsiteX770" fmla="*/ 294349 w 2516810"/>
                <a:gd name="connsiteY770" fmla="*/ 13033 h 1504250"/>
                <a:gd name="connsiteX771" fmla="*/ 294947 w 2516810"/>
                <a:gd name="connsiteY771" fmla="*/ 11939 h 1504250"/>
                <a:gd name="connsiteX772" fmla="*/ 297836 w 2516810"/>
                <a:gd name="connsiteY772" fmla="*/ 9551 h 1504250"/>
                <a:gd name="connsiteX773" fmla="*/ 298833 w 2516810"/>
                <a:gd name="connsiteY773" fmla="*/ 8556 h 1504250"/>
                <a:gd name="connsiteX774" fmla="*/ 300327 w 2516810"/>
                <a:gd name="connsiteY774" fmla="*/ 6069 h 1504250"/>
                <a:gd name="connsiteX775" fmla="*/ 301324 w 2516810"/>
                <a:gd name="connsiteY775" fmla="*/ 3582 h 1504250"/>
                <a:gd name="connsiteX776" fmla="*/ 302221 w 2516810"/>
                <a:gd name="connsiteY776" fmla="*/ 0 h 1504250"/>
                <a:gd name="connsiteX777" fmla="*/ 302221 w 2516810"/>
                <a:gd name="connsiteY777" fmla="*/ 0 h 1504250"/>
                <a:gd name="connsiteX778" fmla="*/ 297139 w 2516810"/>
                <a:gd name="connsiteY778" fmla="*/ 0 h 1504250"/>
                <a:gd name="connsiteX779" fmla="*/ 287872 w 2516810"/>
                <a:gd name="connsiteY779" fmla="*/ 796 h 1504250"/>
                <a:gd name="connsiteX780" fmla="*/ 278605 w 2516810"/>
                <a:gd name="connsiteY780" fmla="*/ 1592 h 1504250"/>
                <a:gd name="connsiteX781" fmla="*/ 269338 w 2516810"/>
                <a:gd name="connsiteY781" fmla="*/ 2388 h 1504250"/>
                <a:gd name="connsiteX782" fmla="*/ 260071 w 2516810"/>
                <a:gd name="connsiteY782" fmla="*/ 3184 h 1504250"/>
                <a:gd name="connsiteX783" fmla="*/ 250804 w 2516810"/>
                <a:gd name="connsiteY783" fmla="*/ 3980 h 1504250"/>
                <a:gd name="connsiteX784" fmla="*/ 241537 w 2516810"/>
                <a:gd name="connsiteY784" fmla="*/ 4776 h 1504250"/>
                <a:gd name="connsiteX785" fmla="*/ 232270 w 2516810"/>
                <a:gd name="connsiteY785" fmla="*/ 5571 h 1504250"/>
                <a:gd name="connsiteX786" fmla="*/ 223004 w 2516810"/>
                <a:gd name="connsiteY786" fmla="*/ 6367 h 1504250"/>
                <a:gd name="connsiteX787" fmla="*/ 213737 w 2516810"/>
                <a:gd name="connsiteY787" fmla="*/ 7163 h 1504250"/>
                <a:gd name="connsiteX788" fmla="*/ 204470 w 2516810"/>
                <a:gd name="connsiteY788" fmla="*/ 7860 h 1504250"/>
                <a:gd name="connsiteX789" fmla="*/ 195203 w 2516810"/>
                <a:gd name="connsiteY789" fmla="*/ 8755 h 1504250"/>
                <a:gd name="connsiteX790" fmla="*/ 185936 w 2516810"/>
                <a:gd name="connsiteY790" fmla="*/ 9551 h 1504250"/>
                <a:gd name="connsiteX791" fmla="*/ 176669 w 2516810"/>
                <a:gd name="connsiteY791" fmla="*/ 10347 h 1504250"/>
                <a:gd name="connsiteX792" fmla="*/ 167402 w 2516810"/>
                <a:gd name="connsiteY792" fmla="*/ 11143 h 1504250"/>
                <a:gd name="connsiteX793" fmla="*/ 158135 w 2516810"/>
                <a:gd name="connsiteY793" fmla="*/ 11939 h 1504250"/>
                <a:gd name="connsiteX794" fmla="*/ 148868 w 2516810"/>
                <a:gd name="connsiteY794" fmla="*/ 12734 h 1504250"/>
                <a:gd name="connsiteX795" fmla="*/ 139601 w 2516810"/>
                <a:gd name="connsiteY795" fmla="*/ 13530 h 1504250"/>
                <a:gd name="connsiteX796" fmla="*/ 130334 w 2516810"/>
                <a:gd name="connsiteY796" fmla="*/ 14326 h 1504250"/>
                <a:gd name="connsiteX797" fmla="*/ 121167 w 2516810"/>
                <a:gd name="connsiteY797" fmla="*/ 15122 h 1504250"/>
                <a:gd name="connsiteX798" fmla="*/ 111801 w 2516810"/>
                <a:gd name="connsiteY798" fmla="*/ 15918 h 1504250"/>
                <a:gd name="connsiteX799" fmla="*/ 102534 w 2516810"/>
                <a:gd name="connsiteY799" fmla="*/ 16714 h 1504250"/>
                <a:gd name="connsiteX800" fmla="*/ 93267 w 2516810"/>
                <a:gd name="connsiteY800" fmla="*/ 17510 h 1504250"/>
                <a:gd name="connsiteX801" fmla="*/ 84000 w 2516810"/>
                <a:gd name="connsiteY801" fmla="*/ 18306 h 1504250"/>
                <a:gd name="connsiteX802" fmla="*/ 74733 w 2516810"/>
                <a:gd name="connsiteY802" fmla="*/ 19102 h 1504250"/>
                <a:gd name="connsiteX803" fmla="*/ 65566 w 2516810"/>
                <a:gd name="connsiteY803" fmla="*/ 19897 h 1504250"/>
                <a:gd name="connsiteX804" fmla="*/ 56199 w 2516810"/>
                <a:gd name="connsiteY804" fmla="*/ 20694 h 1504250"/>
                <a:gd name="connsiteX805" fmla="*/ 46932 w 2516810"/>
                <a:gd name="connsiteY805" fmla="*/ 21489 h 1504250"/>
                <a:gd name="connsiteX806" fmla="*/ 37765 w 2516810"/>
                <a:gd name="connsiteY806" fmla="*/ 22285 h 1504250"/>
                <a:gd name="connsiteX807" fmla="*/ 28498 w 2516810"/>
                <a:gd name="connsiteY807" fmla="*/ 23081 h 1504250"/>
                <a:gd name="connsiteX808" fmla="*/ 19231 w 2516810"/>
                <a:gd name="connsiteY808" fmla="*/ 23877 h 1504250"/>
                <a:gd name="connsiteX809" fmla="*/ 9964 w 2516810"/>
                <a:gd name="connsiteY809" fmla="*/ 24673 h 1504250"/>
                <a:gd name="connsiteX810" fmla="*/ 0 w 2516810"/>
                <a:gd name="connsiteY810" fmla="*/ 25469 h 1504250"/>
                <a:gd name="connsiteX811" fmla="*/ 0 w 2516810"/>
                <a:gd name="connsiteY811" fmla="*/ 26563 h 1504250"/>
                <a:gd name="connsiteX812" fmla="*/ 0 w 2516810"/>
                <a:gd name="connsiteY812" fmla="*/ 28155 h 1504250"/>
                <a:gd name="connsiteX813" fmla="*/ 0 w 2516810"/>
                <a:gd name="connsiteY813" fmla="*/ 31438 h 1504250"/>
                <a:gd name="connsiteX814" fmla="*/ 0 w 2516810"/>
                <a:gd name="connsiteY814" fmla="*/ 34025 h 1504250"/>
                <a:gd name="connsiteX815" fmla="*/ 0 w 2516810"/>
                <a:gd name="connsiteY815" fmla="*/ 36612 h 1504250"/>
                <a:gd name="connsiteX816" fmla="*/ 1395 w 2516810"/>
                <a:gd name="connsiteY816" fmla="*/ 38999 h 1504250"/>
                <a:gd name="connsiteX817" fmla="*/ 3787 w 2516810"/>
                <a:gd name="connsiteY817" fmla="*/ 43675 h 1504250"/>
                <a:gd name="connsiteX818" fmla="*/ 5680 w 2516810"/>
                <a:gd name="connsiteY818" fmla="*/ 48749 h 1504250"/>
                <a:gd name="connsiteX819" fmla="*/ 11758 w 2516810"/>
                <a:gd name="connsiteY819" fmla="*/ 61981 h 1504250"/>
                <a:gd name="connsiteX820" fmla="*/ 13651 w 2516810"/>
                <a:gd name="connsiteY820" fmla="*/ 63672 h 1504250"/>
                <a:gd name="connsiteX821" fmla="*/ 19132 w 2516810"/>
                <a:gd name="connsiteY821" fmla="*/ 64866 h 1504250"/>
                <a:gd name="connsiteX822" fmla="*/ 21424 w 2516810"/>
                <a:gd name="connsiteY822" fmla="*/ 66259 h 1504250"/>
                <a:gd name="connsiteX823" fmla="*/ 23317 w 2516810"/>
                <a:gd name="connsiteY823" fmla="*/ 68149 h 1504250"/>
                <a:gd name="connsiteX824" fmla="*/ 24612 w 2516810"/>
                <a:gd name="connsiteY824" fmla="*/ 70139 h 1504250"/>
                <a:gd name="connsiteX825" fmla="*/ 26804 w 2516810"/>
                <a:gd name="connsiteY825" fmla="*/ 76108 h 1504250"/>
                <a:gd name="connsiteX826" fmla="*/ 29096 w 2516810"/>
                <a:gd name="connsiteY826" fmla="*/ 82674 h 1504250"/>
                <a:gd name="connsiteX827" fmla="*/ 30192 w 2516810"/>
                <a:gd name="connsiteY827" fmla="*/ 91628 h 1504250"/>
                <a:gd name="connsiteX828" fmla="*/ 30192 w 2516810"/>
                <a:gd name="connsiteY828" fmla="*/ 96603 h 1504250"/>
                <a:gd name="connsiteX829" fmla="*/ 31488 w 2516810"/>
                <a:gd name="connsiteY829" fmla="*/ 99687 h 1504250"/>
                <a:gd name="connsiteX830" fmla="*/ 34377 w 2516810"/>
                <a:gd name="connsiteY830" fmla="*/ 103467 h 1504250"/>
                <a:gd name="connsiteX831" fmla="*/ 39260 w 2516810"/>
                <a:gd name="connsiteY831" fmla="*/ 104561 h 1504250"/>
                <a:gd name="connsiteX832" fmla="*/ 43445 w 2516810"/>
                <a:gd name="connsiteY832" fmla="*/ 104561 h 1504250"/>
                <a:gd name="connsiteX833" fmla="*/ 45039 w 2516810"/>
                <a:gd name="connsiteY833" fmla="*/ 106352 h 1504250"/>
                <a:gd name="connsiteX834" fmla="*/ 45039 w 2516810"/>
                <a:gd name="connsiteY834" fmla="*/ 110730 h 1504250"/>
                <a:gd name="connsiteX835" fmla="*/ 45039 w 2516810"/>
                <a:gd name="connsiteY835" fmla="*/ 114212 h 1504250"/>
                <a:gd name="connsiteX836" fmla="*/ 47431 w 2516810"/>
                <a:gd name="connsiteY836" fmla="*/ 115107 h 1504250"/>
                <a:gd name="connsiteX837" fmla="*/ 49523 w 2516810"/>
                <a:gd name="connsiteY837" fmla="*/ 115107 h 1504250"/>
                <a:gd name="connsiteX838" fmla="*/ 52612 w 2516810"/>
                <a:gd name="connsiteY838" fmla="*/ 116699 h 1504250"/>
                <a:gd name="connsiteX839" fmla="*/ 54904 w 2516810"/>
                <a:gd name="connsiteY839" fmla="*/ 119783 h 1504250"/>
                <a:gd name="connsiteX840" fmla="*/ 57295 w 2516810"/>
                <a:gd name="connsiteY840" fmla="*/ 120479 h 1504250"/>
                <a:gd name="connsiteX841" fmla="*/ 61979 w 2516810"/>
                <a:gd name="connsiteY841" fmla="*/ 121375 h 1504250"/>
                <a:gd name="connsiteX842" fmla="*/ 62975 w 2516810"/>
                <a:gd name="connsiteY842" fmla="*/ 123464 h 1504250"/>
                <a:gd name="connsiteX843" fmla="*/ 62975 w 2516810"/>
                <a:gd name="connsiteY843" fmla="*/ 126349 h 1504250"/>
                <a:gd name="connsiteX844" fmla="*/ 62975 w 2516810"/>
                <a:gd name="connsiteY844" fmla="*/ 129433 h 1504250"/>
                <a:gd name="connsiteX845" fmla="*/ 62078 w 2516810"/>
                <a:gd name="connsiteY845" fmla="*/ 133612 h 1504250"/>
                <a:gd name="connsiteX846" fmla="*/ 60783 w 2516810"/>
                <a:gd name="connsiteY846" fmla="*/ 136298 h 1504250"/>
                <a:gd name="connsiteX847" fmla="*/ 59089 w 2516810"/>
                <a:gd name="connsiteY847" fmla="*/ 138984 h 1504250"/>
                <a:gd name="connsiteX848" fmla="*/ 56897 w 2516810"/>
                <a:gd name="connsiteY848" fmla="*/ 140477 h 1504250"/>
                <a:gd name="connsiteX849" fmla="*/ 54605 w 2516810"/>
                <a:gd name="connsiteY849" fmla="*/ 139979 h 1504250"/>
                <a:gd name="connsiteX850" fmla="*/ 50918 w 2516810"/>
                <a:gd name="connsiteY850" fmla="*/ 137492 h 1504250"/>
                <a:gd name="connsiteX851" fmla="*/ 45637 w 2516810"/>
                <a:gd name="connsiteY851" fmla="*/ 136397 h 1504250"/>
                <a:gd name="connsiteX852" fmla="*/ 46833 w 2516810"/>
                <a:gd name="connsiteY852" fmla="*/ 138288 h 1504250"/>
                <a:gd name="connsiteX853" fmla="*/ 50021 w 2516810"/>
                <a:gd name="connsiteY853" fmla="*/ 142267 h 1504250"/>
                <a:gd name="connsiteX854" fmla="*/ 53210 w 2516810"/>
                <a:gd name="connsiteY854" fmla="*/ 142267 h 1504250"/>
                <a:gd name="connsiteX855" fmla="*/ 55103 w 2516810"/>
                <a:gd name="connsiteY855" fmla="*/ 143063 h 1504250"/>
                <a:gd name="connsiteX856" fmla="*/ 56000 w 2516810"/>
                <a:gd name="connsiteY856" fmla="*/ 143859 h 1504250"/>
                <a:gd name="connsiteX857" fmla="*/ 57694 w 2516810"/>
                <a:gd name="connsiteY857" fmla="*/ 146545 h 1504250"/>
                <a:gd name="connsiteX858" fmla="*/ 58591 w 2516810"/>
                <a:gd name="connsiteY858" fmla="*/ 149231 h 1504250"/>
                <a:gd name="connsiteX859" fmla="*/ 57594 w 2516810"/>
                <a:gd name="connsiteY859" fmla="*/ 153111 h 1504250"/>
                <a:gd name="connsiteX860" fmla="*/ 56797 w 2516810"/>
                <a:gd name="connsiteY860" fmla="*/ 155300 h 1504250"/>
                <a:gd name="connsiteX861" fmla="*/ 56797 w 2516810"/>
                <a:gd name="connsiteY861" fmla="*/ 157489 h 1504250"/>
                <a:gd name="connsiteX862" fmla="*/ 59288 w 2516810"/>
                <a:gd name="connsiteY862" fmla="*/ 160573 h 1504250"/>
                <a:gd name="connsiteX863" fmla="*/ 56399 w 2516810"/>
                <a:gd name="connsiteY863" fmla="*/ 160573 h 1504250"/>
                <a:gd name="connsiteX864" fmla="*/ 54705 w 2516810"/>
                <a:gd name="connsiteY864" fmla="*/ 160573 h 1504250"/>
                <a:gd name="connsiteX865" fmla="*/ 54705 w 2516810"/>
                <a:gd name="connsiteY865" fmla="*/ 160573 h 1504250"/>
                <a:gd name="connsiteX866" fmla="*/ 54705 w 2516810"/>
                <a:gd name="connsiteY866" fmla="*/ 162165 h 1504250"/>
                <a:gd name="connsiteX867" fmla="*/ 55402 w 2516810"/>
                <a:gd name="connsiteY867" fmla="*/ 164154 h 1504250"/>
                <a:gd name="connsiteX868" fmla="*/ 58292 w 2516810"/>
                <a:gd name="connsiteY868" fmla="*/ 166244 h 1504250"/>
                <a:gd name="connsiteX869" fmla="*/ 58989 w 2516810"/>
                <a:gd name="connsiteY869" fmla="*/ 167537 h 1504250"/>
                <a:gd name="connsiteX870" fmla="*/ 63772 w 2516810"/>
                <a:gd name="connsiteY870" fmla="*/ 171417 h 1504250"/>
                <a:gd name="connsiteX871" fmla="*/ 64669 w 2516810"/>
                <a:gd name="connsiteY871" fmla="*/ 172909 h 1504250"/>
                <a:gd name="connsiteX872" fmla="*/ 64669 w 2516810"/>
                <a:gd name="connsiteY872" fmla="*/ 173904 h 1504250"/>
                <a:gd name="connsiteX873" fmla="*/ 64669 w 2516810"/>
                <a:gd name="connsiteY873" fmla="*/ 174799 h 1504250"/>
                <a:gd name="connsiteX874" fmla="*/ 65964 w 2516810"/>
                <a:gd name="connsiteY874" fmla="*/ 175695 h 1504250"/>
                <a:gd name="connsiteX875" fmla="*/ 67658 w 2516810"/>
                <a:gd name="connsiteY875" fmla="*/ 176292 h 1504250"/>
                <a:gd name="connsiteX876" fmla="*/ 70150 w 2516810"/>
                <a:gd name="connsiteY876" fmla="*/ 178480 h 1504250"/>
                <a:gd name="connsiteX877" fmla="*/ 71843 w 2516810"/>
                <a:gd name="connsiteY877" fmla="*/ 179177 h 1504250"/>
                <a:gd name="connsiteX878" fmla="*/ 72940 w 2516810"/>
                <a:gd name="connsiteY878" fmla="*/ 180072 h 1504250"/>
                <a:gd name="connsiteX879" fmla="*/ 74932 w 2516810"/>
                <a:gd name="connsiteY879" fmla="*/ 182559 h 1504250"/>
                <a:gd name="connsiteX880" fmla="*/ 75630 w 2516810"/>
                <a:gd name="connsiteY880" fmla="*/ 183057 h 1504250"/>
                <a:gd name="connsiteX881" fmla="*/ 77025 w 2516810"/>
                <a:gd name="connsiteY881" fmla="*/ 184848 h 1504250"/>
                <a:gd name="connsiteX882" fmla="*/ 82505 w 2516810"/>
                <a:gd name="connsiteY882" fmla="*/ 194797 h 1504250"/>
                <a:gd name="connsiteX883" fmla="*/ 96655 w 2516810"/>
                <a:gd name="connsiteY883" fmla="*/ 211709 h 1504250"/>
                <a:gd name="connsiteX884" fmla="*/ 100740 w 2516810"/>
                <a:gd name="connsiteY884" fmla="*/ 221658 h 1504250"/>
                <a:gd name="connsiteX885" fmla="*/ 99644 w 2516810"/>
                <a:gd name="connsiteY885" fmla="*/ 230015 h 1504250"/>
                <a:gd name="connsiteX886" fmla="*/ 98648 w 2516810"/>
                <a:gd name="connsiteY886" fmla="*/ 238869 h 1504250"/>
                <a:gd name="connsiteX887" fmla="*/ 96854 w 2516810"/>
                <a:gd name="connsiteY887" fmla="*/ 244242 h 1504250"/>
                <a:gd name="connsiteX888" fmla="*/ 97452 w 2516810"/>
                <a:gd name="connsiteY888" fmla="*/ 248918 h 1504250"/>
                <a:gd name="connsiteX889" fmla="*/ 100940 w 2516810"/>
                <a:gd name="connsiteY889" fmla="*/ 248918 h 1504250"/>
                <a:gd name="connsiteX890" fmla="*/ 105922 w 2516810"/>
                <a:gd name="connsiteY890" fmla="*/ 247525 h 1504250"/>
                <a:gd name="connsiteX891" fmla="*/ 108213 w 2516810"/>
                <a:gd name="connsiteY891" fmla="*/ 248619 h 1504250"/>
                <a:gd name="connsiteX892" fmla="*/ 111203 w 2516810"/>
                <a:gd name="connsiteY892" fmla="*/ 252897 h 1504250"/>
                <a:gd name="connsiteX893" fmla="*/ 112100 w 2516810"/>
                <a:gd name="connsiteY893" fmla="*/ 254787 h 1504250"/>
                <a:gd name="connsiteX894" fmla="*/ 114391 w 2516810"/>
                <a:gd name="connsiteY894" fmla="*/ 257872 h 1504250"/>
                <a:gd name="connsiteX895" fmla="*/ 117580 w 2516810"/>
                <a:gd name="connsiteY895" fmla="*/ 262249 h 1504250"/>
                <a:gd name="connsiteX896" fmla="*/ 120569 w 2516810"/>
                <a:gd name="connsiteY896" fmla="*/ 262249 h 1504250"/>
                <a:gd name="connsiteX897" fmla="*/ 126349 w 2516810"/>
                <a:gd name="connsiteY897" fmla="*/ 267820 h 1504250"/>
                <a:gd name="connsiteX898" fmla="*/ 131132 w 2516810"/>
                <a:gd name="connsiteY898" fmla="*/ 268616 h 1504250"/>
                <a:gd name="connsiteX899" fmla="*/ 132427 w 2516810"/>
                <a:gd name="connsiteY899" fmla="*/ 270109 h 1504250"/>
                <a:gd name="connsiteX900" fmla="*/ 132427 w 2516810"/>
                <a:gd name="connsiteY900" fmla="*/ 272795 h 1504250"/>
                <a:gd name="connsiteX901" fmla="*/ 134619 w 2516810"/>
                <a:gd name="connsiteY901" fmla="*/ 280356 h 1504250"/>
                <a:gd name="connsiteX902" fmla="*/ 135416 w 2516810"/>
                <a:gd name="connsiteY902" fmla="*/ 294980 h 1504250"/>
                <a:gd name="connsiteX903" fmla="*/ 133125 w 2516810"/>
                <a:gd name="connsiteY903" fmla="*/ 315873 h 1504250"/>
                <a:gd name="connsiteX904" fmla="*/ 135616 w 2516810"/>
                <a:gd name="connsiteY904" fmla="*/ 321245 h 1504250"/>
                <a:gd name="connsiteX905" fmla="*/ 137708 w 2516810"/>
                <a:gd name="connsiteY905" fmla="*/ 328209 h 1504250"/>
                <a:gd name="connsiteX906" fmla="*/ 138705 w 2516810"/>
                <a:gd name="connsiteY906" fmla="*/ 332885 h 1504250"/>
                <a:gd name="connsiteX907" fmla="*/ 141893 w 2516810"/>
                <a:gd name="connsiteY907" fmla="*/ 332885 h 1504250"/>
                <a:gd name="connsiteX908" fmla="*/ 142491 w 2516810"/>
                <a:gd name="connsiteY908" fmla="*/ 330298 h 1504250"/>
                <a:gd name="connsiteX909" fmla="*/ 141793 w 2516810"/>
                <a:gd name="connsiteY909" fmla="*/ 327214 h 1504250"/>
                <a:gd name="connsiteX910" fmla="*/ 140598 w 2516810"/>
                <a:gd name="connsiteY910" fmla="*/ 325523 h 1504250"/>
                <a:gd name="connsiteX911" fmla="*/ 139502 w 2516810"/>
                <a:gd name="connsiteY911" fmla="*/ 325026 h 1504250"/>
                <a:gd name="connsiteX912" fmla="*/ 139502 w 2516810"/>
                <a:gd name="connsiteY912" fmla="*/ 323832 h 1504250"/>
                <a:gd name="connsiteX913" fmla="*/ 140100 w 2516810"/>
                <a:gd name="connsiteY913" fmla="*/ 322538 h 1504250"/>
                <a:gd name="connsiteX914" fmla="*/ 141096 w 2516810"/>
                <a:gd name="connsiteY914" fmla="*/ 321643 h 1504250"/>
                <a:gd name="connsiteX915" fmla="*/ 142690 w 2516810"/>
                <a:gd name="connsiteY915" fmla="*/ 322936 h 1504250"/>
                <a:gd name="connsiteX916" fmla="*/ 143488 w 2516810"/>
                <a:gd name="connsiteY916" fmla="*/ 324130 h 1504250"/>
                <a:gd name="connsiteX917" fmla="*/ 144883 w 2516810"/>
                <a:gd name="connsiteY917" fmla="*/ 324130 h 1504250"/>
                <a:gd name="connsiteX918" fmla="*/ 146178 w 2516810"/>
                <a:gd name="connsiteY918" fmla="*/ 323036 h 1504250"/>
                <a:gd name="connsiteX919" fmla="*/ 146178 w 2516810"/>
                <a:gd name="connsiteY919" fmla="*/ 320748 h 1504250"/>
                <a:gd name="connsiteX920" fmla="*/ 145281 w 2516810"/>
                <a:gd name="connsiteY920" fmla="*/ 318957 h 1504250"/>
                <a:gd name="connsiteX921" fmla="*/ 144085 w 2516810"/>
                <a:gd name="connsiteY921" fmla="*/ 317365 h 1504250"/>
                <a:gd name="connsiteX922" fmla="*/ 142989 w 2516810"/>
                <a:gd name="connsiteY922" fmla="*/ 315176 h 1504250"/>
                <a:gd name="connsiteX923" fmla="*/ 145082 w 2516810"/>
                <a:gd name="connsiteY923" fmla="*/ 315873 h 1504250"/>
                <a:gd name="connsiteX924" fmla="*/ 147274 w 2516810"/>
                <a:gd name="connsiteY924" fmla="*/ 317763 h 1504250"/>
                <a:gd name="connsiteX925" fmla="*/ 149167 w 2516810"/>
                <a:gd name="connsiteY925" fmla="*/ 320051 h 1504250"/>
                <a:gd name="connsiteX926" fmla="*/ 149964 w 2516810"/>
                <a:gd name="connsiteY926" fmla="*/ 321941 h 1504250"/>
                <a:gd name="connsiteX927" fmla="*/ 149466 w 2516810"/>
                <a:gd name="connsiteY927" fmla="*/ 324031 h 1504250"/>
                <a:gd name="connsiteX928" fmla="*/ 148270 w 2516810"/>
                <a:gd name="connsiteY928" fmla="*/ 325722 h 1504250"/>
                <a:gd name="connsiteX929" fmla="*/ 144683 w 2516810"/>
                <a:gd name="connsiteY929" fmla="*/ 328806 h 1504250"/>
                <a:gd name="connsiteX930" fmla="*/ 150064 w 2516810"/>
                <a:gd name="connsiteY930" fmla="*/ 328806 h 1504250"/>
                <a:gd name="connsiteX931" fmla="*/ 154349 w 2516810"/>
                <a:gd name="connsiteY931" fmla="*/ 330696 h 1504250"/>
                <a:gd name="connsiteX932" fmla="*/ 158434 w 2516810"/>
                <a:gd name="connsiteY932" fmla="*/ 333184 h 1504250"/>
                <a:gd name="connsiteX933" fmla="*/ 162121 w 2516810"/>
                <a:gd name="connsiteY933" fmla="*/ 336367 h 1504250"/>
                <a:gd name="connsiteX934" fmla="*/ 163516 w 2516810"/>
                <a:gd name="connsiteY934" fmla="*/ 340446 h 1504250"/>
                <a:gd name="connsiteX935" fmla="*/ 165907 w 2516810"/>
                <a:gd name="connsiteY935" fmla="*/ 345122 h 1504250"/>
                <a:gd name="connsiteX936" fmla="*/ 167004 w 2516810"/>
                <a:gd name="connsiteY936" fmla="*/ 351390 h 1504250"/>
                <a:gd name="connsiteX937" fmla="*/ 167004 w 2516810"/>
                <a:gd name="connsiteY937" fmla="*/ 357657 h 1504250"/>
                <a:gd name="connsiteX938" fmla="*/ 166206 w 2516810"/>
                <a:gd name="connsiteY938" fmla="*/ 362234 h 1504250"/>
                <a:gd name="connsiteX939" fmla="*/ 166206 w 2516810"/>
                <a:gd name="connsiteY939" fmla="*/ 363925 h 1504250"/>
                <a:gd name="connsiteX940" fmla="*/ 166206 w 2516810"/>
                <a:gd name="connsiteY940" fmla="*/ 365019 h 1504250"/>
                <a:gd name="connsiteX941" fmla="*/ 167402 w 2516810"/>
                <a:gd name="connsiteY941" fmla="*/ 367009 h 1504250"/>
                <a:gd name="connsiteX942" fmla="*/ 167402 w 2516810"/>
                <a:gd name="connsiteY942" fmla="*/ 367805 h 1504250"/>
                <a:gd name="connsiteX943" fmla="*/ 168299 w 2516810"/>
                <a:gd name="connsiteY943" fmla="*/ 372183 h 1504250"/>
                <a:gd name="connsiteX944" fmla="*/ 167402 w 2516810"/>
                <a:gd name="connsiteY944" fmla="*/ 379843 h 1504250"/>
                <a:gd name="connsiteX945" fmla="*/ 164811 w 2516810"/>
                <a:gd name="connsiteY945" fmla="*/ 389792 h 1504250"/>
                <a:gd name="connsiteX946" fmla="*/ 164811 w 2516810"/>
                <a:gd name="connsiteY946" fmla="*/ 391384 h 1504250"/>
                <a:gd name="connsiteX947" fmla="*/ 170491 w 2516810"/>
                <a:gd name="connsiteY947" fmla="*/ 391384 h 1504250"/>
                <a:gd name="connsiteX948" fmla="*/ 172783 w 2516810"/>
                <a:gd name="connsiteY948" fmla="*/ 392279 h 1504250"/>
                <a:gd name="connsiteX949" fmla="*/ 174776 w 2516810"/>
                <a:gd name="connsiteY949" fmla="*/ 393970 h 1504250"/>
                <a:gd name="connsiteX950" fmla="*/ 175772 w 2516810"/>
                <a:gd name="connsiteY950" fmla="*/ 395960 h 1504250"/>
                <a:gd name="connsiteX951" fmla="*/ 178363 w 2516810"/>
                <a:gd name="connsiteY951" fmla="*/ 399243 h 1504250"/>
                <a:gd name="connsiteX952" fmla="*/ 179060 w 2516810"/>
                <a:gd name="connsiteY952" fmla="*/ 403223 h 1504250"/>
                <a:gd name="connsiteX953" fmla="*/ 179060 w 2516810"/>
                <a:gd name="connsiteY953" fmla="*/ 405710 h 1504250"/>
                <a:gd name="connsiteX954" fmla="*/ 179658 w 2516810"/>
                <a:gd name="connsiteY954" fmla="*/ 408695 h 1504250"/>
                <a:gd name="connsiteX955" fmla="*/ 179658 w 2516810"/>
                <a:gd name="connsiteY955" fmla="*/ 412774 h 1504250"/>
                <a:gd name="connsiteX956" fmla="*/ 178762 w 2516810"/>
                <a:gd name="connsiteY956" fmla="*/ 416256 h 1504250"/>
                <a:gd name="connsiteX957" fmla="*/ 178762 w 2516810"/>
                <a:gd name="connsiteY957" fmla="*/ 419240 h 1504250"/>
                <a:gd name="connsiteX958" fmla="*/ 188726 w 2516810"/>
                <a:gd name="connsiteY958" fmla="*/ 427796 h 1504250"/>
                <a:gd name="connsiteX959" fmla="*/ 192313 w 2516810"/>
                <a:gd name="connsiteY959" fmla="*/ 427796 h 1504250"/>
                <a:gd name="connsiteX960" fmla="*/ 194904 w 2516810"/>
                <a:gd name="connsiteY960" fmla="*/ 431079 h 1504250"/>
                <a:gd name="connsiteX961" fmla="*/ 197993 w 2516810"/>
                <a:gd name="connsiteY961" fmla="*/ 433268 h 1504250"/>
                <a:gd name="connsiteX962" fmla="*/ 199487 w 2516810"/>
                <a:gd name="connsiteY962" fmla="*/ 435854 h 1504250"/>
                <a:gd name="connsiteX963" fmla="*/ 201680 w 2516810"/>
                <a:gd name="connsiteY963" fmla="*/ 436849 h 1504250"/>
                <a:gd name="connsiteX964" fmla="*/ 204270 w 2516810"/>
                <a:gd name="connsiteY964" fmla="*/ 439138 h 1504250"/>
                <a:gd name="connsiteX965" fmla="*/ 206861 w 2516810"/>
                <a:gd name="connsiteY965" fmla="*/ 437049 h 1504250"/>
                <a:gd name="connsiteX966" fmla="*/ 210149 w 2516810"/>
                <a:gd name="connsiteY966" fmla="*/ 437944 h 1504250"/>
                <a:gd name="connsiteX967" fmla="*/ 213737 w 2516810"/>
                <a:gd name="connsiteY967" fmla="*/ 441326 h 1504250"/>
                <a:gd name="connsiteX968" fmla="*/ 220313 w 2516810"/>
                <a:gd name="connsiteY968" fmla="*/ 446798 h 1504250"/>
                <a:gd name="connsiteX969" fmla="*/ 231075 w 2516810"/>
                <a:gd name="connsiteY969" fmla="*/ 450579 h 1504250"/>
                <a:gd name="connsiteX970" fmla="*/ 237851 w 2516810"/>
                <a:gd name="connsiteY970" fmla="*/ 456150 h 1504250"/>
                <a:gd name="connsiteX971" fmla="*/ 243530 w 2516810"/>
                <a:gd name="connsiteY971" fmla="*/ 464805 h 1504250"/>
                <a:gd name="connsiteX972" fmla="*/ 253993 w 2516810"/>
                <a:gd name="connsiteY972" fmla="*/ 466198 h 1504250"/>
                <a:gd name="connsiteX973" fmla="*/ 270633 w 2516810"/>
                <a:gd name="connsiteY973" fmla="*/ 471968 h 1504250"/>
                <a:gd name="connsiteX974" fmla="*/ 276512 w 2516810"/>
                <a:gd name="connsiteY974" fmla="*/ 478535 h 1504250"/>
                <a:gd name="connsiteX975" fmla="*/ 282292 w 2516810"/>
                <a:gd name="connsiteY975" fmla="*/ 484603 h 1504250"/>
                <a:gd name="connsiteX976" fmla="*/ 285779 w 2516810"/>
                <a:gd name="connsiteY976" fmla="*/ 488782 h 1504250"/>
                <a:gd name="connsiteX977" fmla="*/ 288569 w 2516810"/>
                <a:gd name="connsiteY977" fmla="*/ 492463 h 1504250"/>
                <a:gd name="connsiteX978" fmla="*/ 294149 w 2516810"/>
                <a:gd name="connsiteY978" fmla="*/ 497736 h 1504250"/>
                <a:gd name="connsiteX979" fmla="*/ 298334 w 2516810"/>
                <a:gd name="connsiteY979" fmla="*/ 497736 h 1504250"/>
                <a:gd name="connsiteX980" fmla="*/ 299331 w 2516810"/>
                <a:gd name="connsiteY980" fmla="*/ 498432 h 1504250"/>
                <a:gd name="connsiteX981" fmla="*/ 299829 w 2516810"/>
                <a:gd name="connsiteY981" fmla="*/ 500124 h 1504250"/>
                <a:gd name="connsiteX982" fmla="*/ 300427 w 2516810"/>
                <a:gd name="connsiteY982" fmla="*/ 503506 h 1504250"/>
                <a:gd name="connsiteX983" fmla="*/ 301324 w 2516810"/>
                <a:gd name="connsiteY983" fmla="*/ 504998 h 1504250"/>
                <a:gd name="connsiteX984" fmla="*/ 302121 w 2516810"/>
                <a:gd name="connsiteY984" fmla="*/ 508282 h 1504250"/>
                <a:gd name="connsiteX985" fmla="*/ 304213 w 2516810"/>
                <a:gd name="connsiteY985" fmla="*/ 511266 h 1504250"/>
                <a:gd name="connsiteX986" fmla="*/ 306306 w 2516810"/>
                <a:gd name="connsiteY986" fmla="*/ 508878 h 1504250"/>
                <a:gd name="connsiteX987" fmla="*/ 309993 w 2516810"/>
                <a:gd name="connsiteY987" fmla="*/ 510271 h 1504250"/>
                <a:gd name="connsiteX988" fmla="*/ 313480 w 2516810"/>
                <a:gd name="connsiteY988" fmla="*/ 511465 h 1504250"/>
                <a:gd name="connsiteX989" fmla="*/ 314477 w 2516810"/>
                <a:gd name="connsiteY989" fmla="*/ 513455 h 1504250"/>
                <a:gd name="connsiteX990" fmla="*/ 315174 w 2516810"/>
                <a:gd name="connsiteY990" fmla="*/ 515942 h 1504250"/>
                <a:gd name="connsiteX991" fmla="*/ 316370 w 2516810"/>
                <a:gd name="connsiteY991" fmla="*/ 518330 h 1504250"/>
                <a:gd name="connsiteX992" fmla="*/ 317167 w 2516810"/>
                <a:gd name="connsiteY992" fmla="*/ 520518 h 1504250"/>
                <a:gd name="connsiteX993" fmla="*/ 317167 w 2516810"/>
                <a:gd name="connsiteY993" fmla="*/ 525095 h 1504250"/>
                <a:gd name="connsiteX994" fmla="*/ 318662 w 2516810"/>
                <a:gd name="connsiteY994" fmla="*/ 529572 h 1504250"/>
                <a:gd name="connsiteX995" fmla="*/ 320754 w 2516810"/>
                <a:gd name="connsiteY995" fmla="*/ 527681 h 1504250"/>
                <a:gd name="connsiteX996" fmla="*/ 322548 w 2516810"/>
                <a:gd name="connsiteY996" fmla="*/ 527681 h 1504250"/>
                <a:gd name="connsiteX997" fmla="*/ 323146 w 2516810"/>
                <a:gd name="connsiteY997" fmla="*/ 529074 h 1504250"/>
                <a:gd name="connsiteX998" fmla="*/ 324043 w 2516810"/>
                <a:gd name="connsiteY998" fmla="*/ 531760 h 1504250"/>
                <a:gd name="connsiteX999" fmla="*/ 324840 w 2516810"/>
                <a:gd name="connsiteY999" fmla="*/ 534148 h 1504250"/>
                <a:gd name="connsiteX1000" fmla="*/ 326434 w 2516810"/>
                <a:gd name="connsiteY1000" fmla="*/ 535342 h 1504250"/>
                <a:gd name="connsiteX1001" fmla="*/ 327331 w 2516810"/>
                <a:gd name="connsiteY1001" fmla="*/ 535342 h 1504250"/>
                <a:gd name="connsiteX1002" fmla="*/ 328228 w 2516810"/>
                <a:gd name="connsiteY1002" fmla="*/ 534646 h 1504250"/>
                <a:gd name="connsiteX1003" fmla="*/ 330021 w 2516810"/>
                <a:gd name="connsiteY1003" fmla="*/ 534646 h 1504250"/>
                <a:gd name="connsiteX1004" fmla="*/ 333210 w 2516810"/>
                <a:gd name="connsiteY1004" fmla="*/ 535143 h 1504250"/>
                <a:gd name="connsiteX1005" fmla="*/ 335402 w 2516810"/>
                <a:gd name="connsiteY1005" fmla="*/ 537730 h 1504250"/>
                <a:gd name="connsiteX1006" fmla="*/ 337794 w 2516810"/>
                <a:gd name="connsiteY1006" fmla="*/ 540018 h 1504250"/>
                <a:gd name="connsiteX1007" fmla="*/ 337794 w 2516810"/>
                <a:gd name="connsiteY1007" fmla="*/ 542406 h 1504250"/>
                <a:gd name="connsiteX1008" fmla="*/ 340085 w 2516810"/>
                <a:gd name="connsiteY1008" fmla="*/ 542406 h 1504250"/>
                <a:gd name="connsiteX1009" fmla="*/ 342277 w 2516810"/>
                <a:gd name="connsiteY1009" fmla="*/ 544893 h 1504250"/>
                <a:gd name="connsiteX1010" fmla="*/ 341580 w 2516810"/>
                <a:gd name="connsiteY1010" fmla="*/ 547778 h 1504250"/>
                <a:gd name="connsiteX1011" fmla="*/ 343573 w 2516810"/>
                <a:gd name="connsiteY1011" fmla="*/ 552454 h 1504250"/>
                <a:gd name="connsiteX1012" fmla="*/ 346263 w 2516810"/>
                <a:gd name="connsiteY1012" fmla="*/ 551459 h 1504250"/>
                <a:gd name="connsiteX1013" fmla="*/ 347359 w 2516810"/>
                <a:gd name="connsiteY1013" fmla="*/ 554046 h 1504250"/>
                <a:gd name="connsiteX1014" fmla="*/ 347359 w 2516810"/>
                <a:gd name="connsiteY1014" fmla="*/ 556433 h 1504250"/>
                <a:gd name="connsiteX1015" fmla="*/ 348954 w 2516810"/>
                <a:gd name="connsiteY1015" fmla="*/ 558423 h 1504250"/>
                <a:gd name="connsiteX1016" fmla="*/ 348954 w 2516810"/>
                <a:gd name="connsiteY1016" fmla="*/ 560512 h 1504250"/>
                <a:gd name="connsiteX1017" fmla="*/ 348954 w 2516810"/>
                <a:gd name="connsiteY1017" fmla="*/ 563000 h 1504250"/>
                <a:gd name="connsiteX1018" fmla="*/ 353039 w 2516810"/>
                <a:gd name="connsiteY1018" fmla="*/ 563696 h 1504250"/>
                <a:gd name="connsiteX1019" fmla="*/ 355132 w 2516810"/>
                <a:gd name="connsiteY1019" fmla="*/ 566780 h 1504250"/>
                <a:gd name="connsiteX1020" fmla="*/ 357922 w 2516810"/>
                <a:gd name="connsiteY1020" fmla="*/ 567874 h 1504250"/>
                <a:gd name="connsiteX1021" fmla="*/ 357922 w 2516810"/>
                <a:gd name="connsiteY1021" fmla="*/ 569566 h 1504250"/>
                <a:gd name="connsiteX1022" fmla="*/ 357922 w 2516810"/>
                <a:gd name="connsiteY1022" fmla="*/ 570859 h 1504250"/>
                <a:gd name="connsiteX1023" fmla="*/ 357922 w 2516810"/>
                <a:gd name="connsiteY1023" fmla="*/ 570859 h 1504250"/>
                <a:gd name="connsiteX1024" fmla="*/ 357922 w 2516810"/>
                <a:gd name="connsiteY1024" fmla="*/ 572849 h 1504250"/>
                <a:gd name="connsiteX1025" fmla="*/ 361210 w 2516810"/>
                <a:gd name="connsiteY1025" fmla="*/ 573645 h 1504250"/>
                <a:gd name="connsiteX1026" fmla="*/ 362505 w 2516810"/>
                <a:gd name="connsiteY1026" fmla="*/ 572749 h 1504250"/>
                <a:gd name="connsiteX1027" fmla="*/ 365993 w 2516810"/>
                <a:gd name="connsiteY1027" fmla="*/ 572749 h 1504250"/>
                <a:gd name="connsiteX1028" fmla="*/ 368982 w 2516810"/>
                <a:gd name="connsiteY1028" fmla="*/ 572749 h 1504250"/>
                <a:gd name="connsiteX1029" fmla="*/ 370178 w 2516810"/>
                <a:gd name="connsiteY1029" fmla="*/ 573346 h 1504250"/>
                <a:gd name="connsiteX1030" fmla="*/ 371274 w 2516810"/>
                <a:gd name="connsiteY1030" fmla="*/ 574838 h 1504250"/>
                <a:gd name="connsiteX1031" fmla="*/ 372370 w 2516810"/>
                <a:gd name="connsiteY1031" fmla="*/ 577823 h 1504250"/>
                <a:gd name="connsiteX1032" fmla="*/ 372370 w 2516810"/>
                <a:gd name="connsiteY1032" fmla="*/ 581305 h 1504250"/>
                <a:gd name="connsiteX1033" fmla="*/ 372370 w 2516810"/>
                <a:gd name="connsiteY1033" fmla="*/ 583892 h 1504250"/>
                <a:gd name="connsiteX1034" fmla="*/ 372370 w 2516810"/>
                <a:gd name="connsiteY1034" fmla="*/ 586081 h 1504250"/>
                <a:gd name="connsiteX1035" fmla="*/ 373865 w 2516810"/>
                <a:gd name="connsiteY1035" fmla="*/ 586877 h 1504250"/>
                <a:gd name="connsiteX1036" fmla="*/ 376455 w 2516810"/>
                <a:gd name="connsiteY1036" fmla="*/ 586877 h 1504250"/>
                <a:gd name="connsiteX1037" fmla="*/ 378648 w 2516810"/>
                <a:gd name="connsiteY1037" fmla="*/ 586877 h 1504250"/>
                <a:gd name="connsiteX1038" fmla="*/ 380441 w 2516810"/>
                <a:gd name="connsiteY1038" fmla="*/ 588170 h 1504250"/>
                <a:gd name="connsiteX1039" fmla="*/ 381637 w 2516810"/>
                <a:gd name="connsiteY1039" fmla="*/ 589761 h 1504250"/>
                <a:gd name="connsiteX1040" fmla="*/ 381637 w 2516810"/>
                <a:gd name="connsiteY1040" fmla="*/ 590956 h 1504250"/>
                <a:gd name="connsiteX1041" fmla="*/ 382434 w 2516810"/>
                <a:gd name="connsiteY1041" fmla="*/ 592149 h 1504250"/>
                <a:gd name="connsiteX1042" fmla="*/ 383530 w 2516810"/>
                <a:gd name="connsiteY1042" fmla="*/ 592945 h 1504250"/>
                <a:gd name="connsiteX1043" fmla="*/ 383530 w 2516810"/>
                <a:gd name="connsiteY1043" fmla="*/ 594935 h 1504250"/>
                <a:gd name="connsiteX1044" fmla="*/ 383530 w 2516810"/>
                <a:gd name="connsiteY1044" fmla="*/ 597323 h 1504250"/>
                <a:gd name="connsiteX1045" fmla="*/ 384427 w 2516810"/>
                <a:gd name="connsiteY1045" fmla="*/ 598318 h 1504250"/>
                <a:gd name="connsiteX1046" fmla="*/ 386121 w 2516810"/>
                <a:gd name="connsiteY1046" fmla="*/ 599113 h 1504250"/>
                <a:gd name="connsiteX1047" fmla="*/ 387217 w 2516810"/>
                <a:gd name="connsiteY1047" fmla="*/ 601302 h 1504250"/>
                <a:gd name="connsiteX1048" fmla="*/ 386320 w 2516810"/>
                <a:gd name="connsiteY1048" fmla="*/ 604884 h 1504250"/>
                <a:gd name="connsiteX1049" fmla="*/ 384925 w 2516810"/>
                <a:gd name="connsiteY1049" fmla="*/ 608764 h 1504250"/>
                <a:gd name="connsiteX1050" fmla="*/ 382334 w 2516810"/>
                <a:gd name="connsiteY1050" fmla="*/ 617419 h 1504250"/>
                <a:gd name="connsiteX1051" fmla="*/ 380043 w 2516810"/>
                <a:gd name="connsiteY1051" fmla="*/ 622393 h 1504250"/>
                <a:gd name="connsiteX1052" fmla="*/ 378648 w 2516810"/>
                <a:gd name="connsiteY1052" fmla="*/ 625378 h 1504250"/>
                <a:gd name="connsiteX1053" fmla="*/ 377651 w 2516810"/>
                <a:gd name="connsiteY1053" fmla="*/ 627666 h 1504250"/>
                <a:gd name="connsiteX1054" fmla="*/ 376854 w 2516810"/>
                <a:gd name="connsiteY1054" fmla="*/ 629556 h 1504250"/>
                <a:gd name="connsiteX1055" fmla="*/ 377751 w 2516810"/>
                <a:gd name="connsiteY1055" fmla="*/ 630253 h 1504250"/>
                <a:gd name="connsiteX1056" fmla="*/ 378747 w 2516810"/>
                <a:gd name="connsiteY1056" fmla="*/ 631546 h 1504250"/>
                <a:gd name="connsiteX1057" fmla="*/ 380142 w 2516810"/>
                <a:gd name="connsiteY1057" fmla="*/ 631546 h 1504250"/>
                <a:gd name="connsiteX1058" fmla="*/ 381338 w 2516810"/>
                <a:gd name="connsiteY1058" fmla="*/ 630452 h 1504250"/>
                <a:gd name="connsiteX1059" fmla="*/ 382733 w 2516810"/>
                <a:gd name="connsiteY1059" fmla="*/ 630452 h 1504250"/>
                <a:gd name="connsiteX1060" fmla="*/ 383729 w 2516810"/>
                <a:gd name="connsiteY1060" fmla="*/ 631447 h 1504250"/>
                <a:gd name="connsiteX1061" fmla="*/ 384427 w 2516810"/>
                <a:gd name="connsiteY1061" fmla="*/ 633635 h 1504250"/>
                <a:gd name="connsiteX1062" fmla="*/ 384427 w 2516810"/>
                <a:gd name="connsiteY1062" fmla="*/ 635227 h 1504250"/>
                <a:gd name="connsiteX1063" fmla="*/ 385025 w 2516810"/>
                <a:gd name="connsiteY1063" fmla="*/ 636023 h 1504250"/>
                <a:gd name="connsiteX1064" fmla="*/ 383430 w 2516810"/>
                <a:gd name="connsiteY1064" fmla="*/ 637814 h 1504250"/>
                <a:gd name="connsiteX1065" fmla="*/ 382334 w 2516810"/>
                <a:gd name="connsiteY1065" fmla="*/ 640202 h 1504250"/>
                <a:gd name="connsiteX1066" fmla="*/ 380939 w 2516810"/>
                <a:gd name="connsiteY1066" fmla="*/ 643087 h 1504250"/>
                <a:gd name="connsiteX1067" fmla="*/ 378946 w 2516810"/>
                <a:gd name="connsiteY1067" fmla="*/ 646071 h 1504250"/>
                <a:gd name="connsiteX1068" fmla="*/ 378349 w 2516810"/>
                <a:gd name="connsiteY1068" fmla="*/ 647365 h 1504250"/>
                <a:gd name="connsiteX1069" fmla="*/ 378349 w 2516810"/>
                <a:gd name="connsiteY1069" fmla="*/ 648061 h 1504250"/>
                <a:gd name="connsiteX1070" fmla="*/ 379245 w 2516810"/>
                <a:gd name="connsiteY1070" fmla="*/ 649255 h 1504250"/>
                <a:gd name="connsiteX1071" fmla="*/ 379245 w 2516810"/>
                <a:gd name="connsiteY1071" fmla="*/ 651046 h 1504250"/>
                <a:gd name="connsiteX1072" fmla="*/ 379245 w 2516810"/>
                <a:gd name="connsiteY1072" fmla="*/ 654926 h 1504250"/>
                <a:gd name="connsiteX1073" fmla="*/ 379245 w 2516810"/>
                <a:gd name="connsiteY1073" fmla="*/ 657115 h 1504250"/>
                <a:gd name="connsiteX1074" fmla="*/ 380939 w 2516810"/>
                <a:gd name="connsiteY1074" fmla="*/ 657115 h 1504250"/>
                <a:gd name="connsiteX1075" fmla="*/ 382932 w 2516810"/>
                <a:gd name="connsiteY1075" fmla="*/ 657115 h 1504250"/>
                <a:gd name="connsiteX1076" fmla="*/ 384427 w 2516810"/>
                <a:gd name="connsiteY1076" fmla="*/ 658905 h 1504250"/>
                <a:gd name="connsiteX1077" fmla="*/ 385921 w 2516810"/>
                <a:gd name="connsiteY1077" fmla="*/ 659502 h 1504250"/>
                <a:gd name="connsiteX1078" fmla="*/ 387018 w 2516810"/>
                <a:gd name="connsiteY1078" fmla="*/ 659502 h 1504250"/>
                <a:gd name="connsiteX1079" fmla="*/ 387018 w 2516810"/>
                <a:gd name="connsiteY1079" fmla="*/ 660895 h 1504250"/>
                <a:gd name="connsiteX1080" fmla="*/ 385124 w 2516810"/>
                <a:gd name="connsiteY1080" fmla="*/ 663681 h 1504250"/>
                <a:gd name="connsiteX1081" fmla="*/ 383530 w 2516810"/>
                <a:gd name="connsiteY1081" fmla="*/ 665372 h 1504250"/>
                <a:gd name="connsiteX1082" fmla="*/ 382334 w 2516810"/>
                <a:gd name="connsiteY1082" fmla="*/ 663382 h 1504250"/>
                <a:gd name="connsiteX1083" fmla="*/ 380142 w 2516810"/>
                <a:gd name="connsiteY1083" fmla="*/ 661393 h 1504250"/>
                <a:gd name="connsiteX1084" fmla="*/ 378349 w 2516810"/>
                <a:gd name="connsiteY1084" fmla="*/ 660398 h 1504250"/>
                <a:gd name="connsiteX1085" fmla="*/ 376754 w 2516810"/>
                <a:gd name="connsiteY1085" fmla="*/ 661492 h 1504250"/>
                <a:gd name="connsiteX1086" fmla="*/ 376754 w 2516810"/>
                <a:gd name="connsiteY1086" fmla="*/ 662387 h 1504250"/>
                <a:gd name="connsiteX1087" fmla="*/ 377452 w 2516810"/>
                <a:gd name="connsiteY1087" fmla="*/ 663183 h 1504250"/>
                <a:gd name="connsiteX1088" fmla="*/ 378747 w 2516810"/>
                <a:gd name="connsiteY1088" fmla="*/ 663183 h 1504250"/>
                <a:gd name="connsiteX1089" fmla="*/ 380142 w 2516810"/>
                <a:gd name="connsiteY1089" fmla="*/ 665571 h 1504250"/>
                <a:gd name="connsiteX1090" fmla="*/ 380740 w 2516810"/>
                <a:gd name="connsiteY1090" fmla="*/ 668357 h 1504250"/>
                <a:gd name="connsiteX1091" fmla="*/ 380740 w 2516810"/>
                <a:gd name="connsiteY1091" fmla="*/ 670943 h 1504250"/>
                <a:gd name="connsiteX1092" fmla="*/ 379245 w 2516810"/>
                <a:gd name="connsiteY1092" fmla="*/ 675022 h 1504250"/>
                <a:gd name="connsiteX1093" fmla="*/ 376256 w 2516810"/>
                <a:gd name="connsiteY1093" fmla="*/ 670446 h 1504250"/>
                <a:gd name="connsiteX1094" fmla="*/ 376256 w 2516810"/>
                <a:gd name="connsiteY1094" fmla="*/ 668954 h 1504250"/>
                <a:gd name="connsiteX1095" fmla="*/ 375260 w 2516810"/>
                <a:gd name="connsiteY1095" fmla="*/ 666566 h 1504250"/>
                <a:gd name="connsiteX1096" fmla="*/ 373765 w 2516810"/>
                <a:gd name="connsiteY1096" fmla="*/ 664377 h 1504250"/>
                <a:gd name="connsiteX1097" fmla="*/ 373765 w 2516810"/>
                <a:gd name="connsiteY1097" fmla="*/ 663183 h 1504250"/>
                <a:gd name="connsiteX1098" fmla="*/ 373765 w 2516810"/>
                <a:gd name="connsiteY1098" fmla="*/ 661989 h 1504250"/>
                <a:gd name="connsiteX1099" fmla="*/ 375060 w 2516810"/>
                <a:gd name="connsiteY1099" fmla="*/ 660696 h 1504250"/>
                <a:gd name="connsiteX1100" fmla="*/ 377352 w 2516810"/>
                <a:gd name="connsiteY1100" fmla="*/ 659005 h 1504250"/>
                <a:gd name="connsiteX1101" fmla="*/ 377352 w 2516810"/>
                <a:gd name="connsiteY1101" fmla="*/ 656617 h 1504250"/>
                <a:gd name="connsiteX1102" fmla="*/ 376655 w 2516810"/>
                <a:gd name="connsiteY1102" fmla="*/ 653036 h 1504250"/>
                <a:gd name="connsiteX1103" fmla="*/ 374761 w 2516810"/>
                <a:gd name="connsiteY1103" fmla="*/ 653036 h 1504250"/>
                <a:gd name="connsiteX1104" fmla="*/ 372171 w 2516810"/>
                <a:gd name="connsiteY1104" fmla="*/ 656020 h 1504250"/>
                <a:gd name="connsiteX1105" fmla="*/ 368384 w 2516810"/>
                <a:gd name="connsiteY1105" fmla="*/ 661591 h 1504250"/>
                <a:gd name="connsiteX1106" fmla="*/ 365694 w 2516810"/>
                <a:gd name="connsiteY1106" fmla="*/ 664676 h 1504250"/>
                <a:gd name="connsiteX1107" fmla="*/ 365096 w 2516810"/>
                <a:gd name="connsiteY1107" fmla="*/ 665372 h 1504250"/>
                <a:gd name="connsiteX1108" fmla="*/ 363203 w 2516810"/>
                <a:gd name="connsiteY1108" fmla="*/ 667461 h 1504250"/>
                <a:gd name="connsiteX1109" fmla="*/ 362306 w 2516810"/>
                <a:gd name="connsiteY1109" fmla="*/ 669153 h 1504250"/>
                <a:gd name="connsiteX1110" fmla="*/ 359815 w 2516810"/>
                <a:gd name="connsiteY1110" fmla="*/ 671341 h 1504250"/>
                <a:gd name="connsiteX1111" fmla="*/ 358818 w 2516810"/>
                <a:gd name="connsiteY1111" fmla="*/ 672535 h 1504250"/>
                <a:gd name="connsiteX1112" fmla="*/ 357722 w 2516810"/>
                <a:gd name="connsiteY1112" fmla="*/ 674525 h 1504250"/>
                <a:gd name="connsiteX1113" fmla="*/ 357722 w 2516810"/>
                <a:gd name="connsiteY1113" fmla="*/ 676316 h 1504250"/>
                <a:gd name="connsiteX1114" fmla="*/ 357722 w 2516810"/>
                <a:gd name="connsiteY1114" fmla="*/ 678504 h 1504250"/>
                <a:gd name="connsiteX1115" fmla="*/ 358818 w 2516810"/>
                <a:gd name="connsiteY1115" fmla="*/ 680494 h 1504250"/>
                <a:gd name="connsiteX1116" fmla="*/ 360213 w 2516810"/>
                <a:gd name="connsiteY1116" fmla="*/ 679798 h 1504250"/>
                <a:gd name="connsiteX1117" fmla="*/ 361708 w 2516810"/>
                <a:gd name="connsiteY1117" fmla="*/ 678504 h 1504250"/>
                <a:gd name="connsiteX1118" fmla="*/ 362804 w 2516810"/>
                <a:gd name="connsiteY1118" fmla="*/ 676913 h 1504250"/>
                <a:gd name="connsiteX1119" fmla="*/ 365196 w 2516810"/>
                <a:gd name="connsiteY1119" fmla="*/ 675918 h 1504250"/>
                <a:gd name="connsiteX1120" fmla="*/ 366690 w 2516810"/>
                <a:gd name="connsiteY1120" fmla="*/ 675918 h 1504250"/>
                <a:gd name="connsiteX1121" fmla="*/ 367986 w 2516810"/>
                <a:gd name="connsiteY1121" fmla="*/ 675221 h 1504250"/>
                <a:gd name="connsiteX1122" fmla="*/ 368982 w 2516810"/>
                <a:gd name="connsiteY1122" fmla="*/ 674425 h 1504250"/>
                <a:gd name="connsiteX1123" fmla="*/ 369979 w 2516810"/>
                <a:gd name="connsiteY1123" fmla="*/ 674425 h 1504250"/>
                <a:gd name="connsiteX1124" fmla="*/ 369979 w 2516810"/>
                <a:gd name="connsiteY1124" fmla="*/ 673430 h 1504250"/>
                <a:gd name="connsiteX1125" fmla="*/ 369979 w 2516810"/>
                <a:gd name="connsiteY1125" fmla="*/ 672336 h 1504250"/>
                <a:gd name="connsiteX1126" fmla="*/ 371174 w 2516810"/>
                <a:gd name="connsiteY1126" fmla="*/ 671640 h 1504250"/>
                <a:gd name="connsiteX1127" fmla="*/ 371971 w 2516810"/>
                <a:gd name="connsiteY1127" fmla="*/ 671640 h 1504250"/>
                <a:gd name="connsiteX1128" fmla="*/ 372968 w 2516810"/>
                <a:gd name="connsiteY1128" fmla="*/ 672137 h 1504250"/>
                <a:gd name="connsiteX1129" fmla="*/ 372968 w 2516810"/>
                <a:gd name="connsiteY1129" fmla="*/ 673331 h 1504250"/>
                <a:gd name="connsiteX1130" fmla="*/ 372470 w 2516810"/>
                <a:gd name="connsiteY1130" fmla="*/ 674227 h 1504250"/>
                <a:gd name="connsiteX1131" fmla="*/ 372968 w 2516810"/>
                <a:gd name="connsiteY1131" fmla="*/ 675221 h 1504250"/>
                <a:gd name="connsiteX1132" fmla="*/ 373765 w 2516810"/>
                <a:gd name="connsiteY1132" fmla="*/ 675918 h 1504250"/>
                <a:gd name="connsiteX1133" fmla="*/ 374861 w 2516810"/>
                <a:gd name="connsiteY1133" fmla="*/ 675918 h 1504250"/>
                <a:gd name="connsiteX1134" fmla="*/ 374861 w 2516810"/>
                <a:gd name="connsiteY1134" fmla="*/ 675918 h 1504250"/>
                <a:gd name="connsiteX1135" fmla="*/ 374861 w 2516810"/>
                <a:gd name="connsiteY1135" fmla="*/ 676813 h 1504250"/>
                <a:gd name="connsiteX1136" fmla="*/ 374064 w 2516810"/>
                <a:gd name="connsiteY1136" fmla="*/ 676813 h 1504250"/>
                <a:gd name="connsiteX1137" fmla="*/ 373167 w 2516810"/>
                <a:gd name="connsiteY1137" fmla="*/ 677410 h 1504250"/>
                <a:gd name="connsiteX1138" fmla="*/ 373167 w 2516810"/>
                <a:gd name="connsiteY1138" fmla="*/ 677908 h 1504250"/>
                <a:gd name="connsiteX1139" fmla="*/ 373765 w 2516810"/>
                <a:gd name="connsiteY1139" fmla="*/ 677908 h 1504250"/>
                <a:gd name="connsiteX1140" fmla="*/ 374861 w 2516810"/>
                <a:gd name="connsiteY1140" fmla="*/ 677908 h 1504250"/>
                <a:gd name="connsiteX1141" fmla="*/ 375459 w 2516810"/>
                <a:gd name="connsiteY1141" fmla="*/ 678504 h 1504250"/>
                <a:gd name="connsiteX1142" fmla="*/ 375459 w 2516810"/>
                <a:gd name="connsiteY1142" fmla="*/ 680096 h 1504250"/>
                <a:gd name="connsiteX1143" fmla="*/ 374064 w 2516810"/>
                <a:gd name="connsiteY1143" fmla="*/ 681987 h 1504250"/>
                <a:gd name="connsiteX1144" fmla="*/ 372071 w 2516810"/>
                <a:gd name="connsiteY1144" fmla="*/ 684573 h 1504250"/>
                <a:gd name="connsiteX1145" fmla="*/ 371672 w 2516810"/>
                <a:gd name="connsiteY1145" fmla="*/ 688453 h 1504250"/>
                <a:gd name="connsiteX1146" fmla="*/ 370875 w 2516810"/>
                <a:gd name="connsiteY1146" fmla="*/ 689547 h 1504250"/>
                <a:gd name="connsiteX1147" fmla="*/ 370875 w 2516810"/>
                <a:gd name="connsiteY1147" fmla="*/ 691040 h 1504250"/>
                <a:gd name="connsiteX1148" fmla="*/ 370875 w 2516810"/>
                <a:gd name="connsiteY1148" fmla="*/ 692731 h 1504250"/>
                <a:gd name="connsiteX1149" fmla="*/ 370875 w 2516810"/>
                <a:gd name="connsiteY1149" fmla="*/ 694820 h 1504250"/>
                <a:gd name="connsiteX1150" fmla="*/ 372171 w 2516810"/>
                <a:gd name="connsiteY1150" fmla="*/ 696810 h 1504250"/>
                <a:gd name="connsiteX1151" fmla="*/ 373167 w 2516810"/>
                <a:gd name="connsiteY1151" fmla="*/ 698004 h 1504250"/>
                <a:gd name="connsiteX1152" fmla="*/ 374164 w 2516810"/>
                <a:gd name="connsiteY1152" fmla="*/ 699397 h 1504250"/>
                <a:gd name="connsiteX1153" fmla="*/ 374164 w 2516810"/>
                <a:gd name="connsiteY1153" fmla="*/ 701287 h 1504250"/>
                <a:gd name="connsiteX1154" fmla="*/ 374164 w 2516810"/>
                <a:gd name="connsiteY1154" fmla="*/ 702879 h 1504250"/>
                <a:gd name="connsiteX1155" fmla="*/ 375359 w 2516810"/>
                <a:gd name="connsiteY1155" fmla="*/ 703874 h 1504250"/>
                <a:gd name="connsiteX1156" fmla="*/ 376156 w 2516810"/>
                <a:gd name="connsiteY1156" fmla="*/ 705167 h 1504250"/>
                <a:gd name="connsiteX1157" fmla="*/ 377253 w 2516810"/>
                <a:gd name="connsiteY1157" fmla="*/ 705863 h 1504250"/>
                <a:gd name="connsiteX1158" fmla="*/ 378747 w 2516810"/>
                <a:gd name="connsiteY1158" fmla="*/ 705863 h 1504250"/>
                <a:gd name="connsiteX1159" fmla="*/ 380441 w 2516810"/>
                <a:gd name="connsiteY1159" fmla="*/ 705267 h 1504250"/>
                <a:gd name="connsiteX1160" fmla="*/ 381936 w 2516810"/>
                <a:gd name="connsiteY1160" fmla="*/ 704272 h 1504250"/>
                <a:gd name="connsiteX1161" fmla="*/ 382833 w 2516810"/>
                <a:gd name="connsiteY1161" fmla="*/ 703476 h 1504250"/>
                <a:gd name="connsiteX1162" fmla="*/ 384028 w 2516810"/>
                <a:gd name="connsiteY1162" fmla="*/ 703476 h 1504250"/>
                <a:gd name="connsiteX1163" fmla="*/ 384925 w 2516810"/>
                <a:gd name="connsiteY1163" fmla="*/ 704073 h 1504250"/>
                <a:gd name="connsiteX1164" fmla="*/ 384925 w 2516810"/>
                <a:gd name="connsiteY1164" fmla="*/ 704073 h 1504250"/>
                <a:gd name="connsiteX1165" fmla="*/ 384925 w 2516810"/>
                <a:gd name="connsiteY1165" fmla="*/ 703177 h 1504250"/>
                <a:gd name="connsiteX1166" fmla="*/ 384925 w 2516810"/>
                <a:gd name="connsiteY1166" fmla="*/ 702381 h 1504250"/>
                <a:gd name="connsiteX1167" fmla="*/ 385921 w 2516810"/>
                <a:gd name="connsiteY1167" fmla="*/ 702381 h 1504250"/>
                <a:gd name="connsiteX1168" fmla="*/ 385921 w 2516810"/>
                <a:gd name="connsiteY1168" fmla="*/ 701386 h 1504250"/>
                <a:gd name="connsiteX1169" fmla="*/ 385423 w 2516810"/>
                <a:gd name="connsiteY1169" fmla="*/ 699795 h 1504250"/>
                <a:gd name="connsiteX1170" fmla="*/ 384526 w 2516810"/>
                <a:gd name="connsiteY1170" fmla="*/ 698501 h 1504250"/>
                <a:gd name="connsiteX1171" fmla="*/ 383530 w 2516810"/>
                <a:gd name="connsiteY1171" fmla="*/ 697905 h 1504250"/>
                <a:gd name="connsiteX1172" fmla="*/ 383530 w 2516810"/>
                <a:gd name="connsiteY1172" fmla="*/ 696313 h 1504250"/>
                <a:gd name="connsiteX1173" fmla="*/ 382534 w 2516810"/>
                <a:gd name="connsiteY1173" fmla="*/ 694323 h 1504250"/>
                <a:gd name="connsiteX1174" fmla="*/ 381936 w 2516810"/>
                <a:gd name="connsiteY1174" fmla="*/ 693029 h 1504250"/>
                <a:gd name="connsiteX1175" fmla="*/ 381936 w 2516810"/>
                <a:gd name="connsiteY1175" fmla="*/ 692433 h 1504250"/>
                <a:gd name="connsiteX1176" fmla="*/ 382932 w 2516810"/>
                <a:gd name="connsiteY1176" fmla="*/ 692433 h 1504250"/>
                <a:gd name="connsiteX1177" fmla="*/ 384028 w 2516810"/>
                <a:gd name="connsiteY1177" fmla="*/ 693726 h 1504250"/>
                <a:gd name="connsiteX1178" fmla="*/ 384626 w 2516810"/>
                <a:gd name="connsiteY1178" fmla="*/ 694820 h 1504250"/>
                <a:gd name="connsiteX1179" fmla="*/ 385722 w 2516810"/>
                <a:gd name="connsiteY1179" fmla="*/ 697009 h 1504250"/>
                <a:gd name="connsiteX1180" fmla="*/ 387217 w 2516810"/>
                <a:gd name="connsiteY1180" fmla="*/ 699496 h 1504250"/>
                <a:gd name="connsiteX1181" fmla="*/ 387715 w 2516810"/>
                <a:gd name="connsiteY1181" fmla="*/ 699496 h 1504250"/>
                <a:gd name="connsiteX1182" fmla="*/ 388413 w 2516810"/>
                <a:gd name="connsiteY1182" fmla="*/ 699496 h 1504250"/>
                <a:gd name="connsiteX1183" fmla="*/ 390007 w 2516810"/>
                <a:gd name="connsiteY1183" fmla="*/ 699496 h 1504250"/>
                <a:gd name="connsiteX1184" fmla="*/ 391103 w 2516810"/>
                <a:gd name="connsiteY1184" fmla="*/ 699496 h 1504250"/>
                <a:gd name="connsiteX1185" fmla="*/ 392000 w 2516810"/>
                <a:gd name="connsiteY1185" fmla="*/ 698601 h 1504250"/>
                <a:gd name="connsiteX1186" fmla="*/ 392000 w 2516810"/>
                <a:gd name="connsiteY1186" fmla="*/ 698601 h 1504250"/>
                <a:gd name="connsiteX1187" fmla="*/ 392897 w 2516810"/>
                <a:gd name="connsiteY1187" fmla="*/ 699297 h 1504250"/>
                <a:gd name="connsiteX1188" fmla="*/ 392897 w 2516810"/>
                <a:gd name="connsiteY1188" fmla="*/ 700292 h 1504250"/>
                <a:gd name="connsiteX1189" fmla="*/ 393495 w 2516810"/>
                <a:gd name="connsiteY1189" fmla="*/ 700292 h 1504250"/>
                <a:gd name="connsiteX1190" fmla="*/ 394690 w 2516810"/>
                <a:gd name="connsiteY1190" fmla="*/ 700292 h 1504250"/>
                <a:gd name="connsiteX1191" fmla="*/ 396583 w 2516810"/>
                <a:gd name="connsiteY1191" fmla="*/ 701188 h 1504250"/>
                <a:gd name="connsiteX1192" fmla="*/ 396583 w 2516810"/>
                <a:gd name="connsiteY1192" fmla="*/ 701983 h 1504250"/>
                <a:gd name="connsiteX1193" fmla="*/ 397978 w 2516810"/>
                <a:gd name="connsiteY1193" fmla="*/ 701983 h 1504250"/>
                <a:gd name="connsiteX1194" fmla="*/ 399274 w 2516810"/>
                <a:gd name="connsiteY1194" fmla="*/ 702978 h 1504250"/>
                <a:gd name="connsiteX1195" fmla="*/ 399872 w 2516810"/>
                <a:gd name="connsiteY1195" fmla="*/ 704272 h 1504250"/>
                <a:gd name="connsiteX1196" fmla="*/ 399872 w 2516810"/>
                <a:gd name="connsiteY1196" fmla="*/ 706062 h 1504250"/>
                <a:gd name="connsiteX1197" fmla="*/ 401566 w 2516810"/>
                <a:gd name="connsiteY1197" fmla="*/ 708351 h 1504250"/>
                <a:gd name="connsiteX1198" fmla="*/ 400868 w 2516810"/>
                <a:gd name="connsiteY1198" fmla="*/ 709644 h 1504250"/>
                <a:gd name="connsiteX1199" fmla="*/ 400071 w 2516810"/>
                <a:gd name="connsiteY1199" fmla="*/ 710937 h 1504250"/>
                <a:gd name="connsiteX1200" fmla="*/ 399174 w 2516810"/>
                <a:gd name="connsiteY1200" fmla="*/ 712231 h 1504250"/>
                <a:gd name="connsiteX1201" fmla="*/ 399174 w 2516810"/>
                <a:gd name="connsiteY1201" fmla="*/ 712828 h 1504250"/>
                <a:gd name="connsiteX1202" fmla="*/ 397281 w 2516810"/>
                <a:gd name="connsiteY1202" fmla="*/ 712828 h 1504250"/>
                <a:gd name="connsiteX1203" fmla="*/ 393893 w 2516810"/>
                <a:gd name="connsiteY1203" fmla="*/ 712231 h 1504250"/>
                <a:gd name="connsiteX1204" fmla="*/ 391701 w 2516810"/>
                <a:gd name="connsiteY1204" fmla="*/ 711335 h 1504250"/>
                <a:gd name="connsiteX1205" fmla="*/ 390705 w 2516810"/>
                <a:gd name="connsiteY1205" fmla="*/ 710539 h 1504250"/>
                <a:gd name="connsiteX1206" fmla="*/ 390705 w 2516810"/>
                <a:gd name="connsiteY1206" fmla="*/ 709445 h 1504250"/>
                <a:gd name="connsiteX1207" fmla="*/ 389509 w 2516810"/>
                <a:gd name="connsiteY1207" fmla="*/ 708948 h 1504250"/>
                <a:gd name="connsiteX1208" fmla="*/ 388014 w 2516810"/>
                <a:gd name="connsiteY1208" fmla="*/ 709445 h 1504250"/>
                <a:gd name="connsiteX1209" fmla="*/ 387416 w 2516810"/>
                <a:gd name="connsiteY1209" fmla="*/ 708749 h 1504250"/>
                <a:gd name="connsiteX1210" fmla="*/ 387416 w 2516810"/>
                <a:gd name="connsiteY1210" fmla="*/ 707754 h 1504250"/>
                <a:gd name="connsiteX1211" fmla="*/ 386619 w 2516810"/>
                <a:gd name="connsiteY1211" fmla="*/ 707754 h 1504250"/>
                <a:gd name="connsiteX1212" fmla="*/ 385124 w 2516810"/>
                <a:gd name="connsiteY1212" fmla="*/ 707754 h 1504250"/>
                <a:gd name="connsiteX1213" fmla="*/ 384128 w 2516810"/>
                <a:gd name="connsiteY1213" fmla="*/ 707754 h 1504250"/>
                <a:gd name="connsiteX1214" fmla="*/ 383530 w 2516810"/>
                <a:gd name="connsiteY1214" fmla="*/ 708351 h 1504250"/>
                <a:gd name="connsiteX1215" fmla="*/ 383530 w 2516810"/>
                <a:gd name="connsiteY1215" fmla="*/ 709047 h 1504250"/>
                <a:gd name="connsiteX1216" fmla="*/ 384327 w 2516810"/>
                <a:gd name="connsiteY1216" fmla="*/ 709047 h 1504250"/>
                <a:gd name="connsiteX1217" fmla="*/ 385224 w 2516810"/>
                <a:gd name="connsiteY1217" fmla="*/ 708550 h 1504250"/>
                <a:gd name="connsiteX1218" fmla="*/ 385224 w 2516810"/>
                <a:gd name="connsiteY1218" fmla="*/ 709047 h 1504250"/>
                <a:gd name="connsiteX1219" fmla="*/ 385224 w 2516810"/>
                <a:gd name="connsiteY1219" fmla="*/ 709047 h 1504250"/>
                <a:gd name="connsiteX1220" fmla="*/ 385224 w 2516810"/>
                <a:gd name="connsiteY1220" fmla="*/ 710042 h 1504250"/>
                <a:gd name="connsiteX1221" fmla="*/ 386121 w 2516810"/>
                <a:gd name="connsiteY1221" fmla="*/ 709445 h 1504250"/>
                <a:gd name="connsiteX1222" fmla="*/ 386918 w 2516810"/>
                <a:gd name="connsiteY1222" fmla="*/ 710241 h 1504250"/>
                <a:gd name="connsiteX1223" fmla="*/ 386420 w 2516810"/>
                <a:gd name="connsiteY1223" fmla="*/ 712330 h 1504250"/>
                <a:gd name="connsiteX1224" fmla="*/ 385324 w 2516810"/>
                <a:gd name="connsiteY1224" fmla="*/ 713922 h 1504250"/>
                <a:gd name="connsiteX1225" fmla="*/ 383131 w 2516810"/>
                <a:gd name="connsiteY1225" fmla="*/ 715613 h 1504250"/>
                <a:gd name="connsiteX1226" fmla="*/ 383131 w 2516810"/>
                <a:gd name="connsiteY1226" fmla="*/ 716509 h 1504250"/>
                <a:gd name="connsiteX1227" fmla="*/ 382135 w 2516810"/>
                <a:gd name="connsiteY1227" fmla="*/ 717702 h 1504250"/>
                <a:gd name="connsiteX1228" fmla="*/ 380740 w 2516810"/>
                <a:gd name="connsiteY1228" fmla="*/ 718598 h 1504250"/>
                <a:gd name="connsiteX1229" fmla="*/ 379544 w 2516810"/>
                <a:gd name="connsiteY1229" fmla="*/ 719394 h 1504250"/>
                <a:gd name="connsiteX1230" fmla="*/ 379544 w 2516810"/>
                <a:gd name="connsiteY1230" fmla="*/ 718299 h 1504250"/>
                <a:gd name="connsiteX1231" fmla="*/ 379544 w 2516810"/>
                <a:gd name="connsiteY1231" fmla="*/ 716708 h 1504250"/>
                <a:gd name="connsiteX1232" fmla="*/ 378448 w 2516810"/>
                <a:gd name="connsiteY1232" fmla="*/ 716708 h 1504250"/>
                <a:gd name="connsiteX1233" fmla="*/ 377352 w 2516810"/>
                <a:gd name="connsiteY1233" fmla="*/ 716111 h 1504250"/>
                <a:gd name="connsiteX1234" fmla="*/ 377352 w 2516810"/>
                <a:gd name="connsiteY1234" fmla="*/ 714718 h 1504250"/>
                <a:gd name="connsiteX1235" fmla="*/ 376555 w 2516810"/>
                <a:gd name="connsiteY1235" fmla="*/ 713623 h 1504250"/>
                <a:gd name="connsiteX1236" fmla="*/ 375359 w 2516810"/>
                <a:gd name="connsiteY1236" fmla="*/ 711733 h 1504250"/>
                <a:gd name="connsiteX1237" fmla="*/ 373466 w 2516810"/>
                <a:gd name="connsiteY1237" fmla="*/ 710042 h 1504250"/>
                <a:gd name="connsiteX1238" fmla="*/ 370178 w 2516810"/>
                <a:gd name="connsiteY1238" fmla="*/ 708649 h 1504250"/>
                <a:gd name="connsiteX1239" fmla="*/ 367786 w 2516810"/>
                <a:gd name="connsiteY1239" fmla="*/ 706858 h 1504250"/>
                <a:gd name="connsiteX1240" fmla="*/ 364299 w 2516810"/>
                <a:gd name="connsiteY1240" fmla="*/ 706162 h 1504250"/>
                <a:gd name="connsiteX1241" fmla="*/ 362206 w 2516810"/>
                <a:gd name="connsiteY1241" fmla="*/ 704968 h 1504250"/>
                <a:gd name="connsiteX1242" fmla="*/ 359516 w 2516810"/>
                <a:gd name="connsiteY1242" fmla="*/ 702083 h 1504250"/>
                <a:gd name="connsiteX1243" fmla="*/ 356925 w 2516810"/>
                <a:gd name="connsiteY1243" fmla="*/ 700789 h 1504250"/>
                <a:gd name="connsiteX1244" fmla="*/ 354035 w 2516810"/>
                <a:gd name="connsiteY1244" fmla="*/ 696810 h 1504250"/>
                <a:gd name="connsiteX1245" fmla="*/ 353139 w 2516810"/>
                <a:gd name="connsiteY1245" fmla="*/ 694721 h 1504250"/>
                <a:gd name="connsiteX1246" fmla="*/ 353637 w 2516810"/>
                <a:gd name="connsiteY1246" fmla="*/ 693328 h 1504250"/>
                <a:gd name="connsiteX1247" fmla="*/ 354434 w 2516810"/>
                <a:gd name="connsiteY1247" fmla="*/ 691637 h 1504250"/>
                <a:gd name="connsiteX1248" fmla="*/ 355231 w 2516810"/>
                <a:gd name="connsiteY1248" fmla="*/ 689349 h 1504250"/>
                <a:gd name="connsiteX1249" fmla="*/ 355829 w 2516810"/>
                <a:gd name="connsiteY1249" fmla="*/ 687259 h 1504250"/>
                <a:gd name="connsiteX1250" fmla="*/ 355331 w 2516810"/>
                <a:gd name="connsiteY1250" fmla="*/ 684573 h 1504250"/>
                <a:gd name="connsiteX1251" fmla="*/ 355331 w 2516810"/>
                <a:gd name="connsiteY1251" fmla="*/ 683379 h 1504250"/>
                <a:gd name="connsiteX1252" fmla="*/ 355331 w 2516810"/>
                <a:gd name="connsiteY1252" fmla="*/ 682385 h 1504250"/>
                <a:gd name="connsiteX1253" fmla="*/ 354534 w 2516810"/>
                <a:gd name="connsiteY1253" fmla="*/ 681787 h 1504250"/>
                <a:gd name="connsiteX1254" fmla="*/ 353039 w 2516810"/>
                <a:gd name="connsiteY1254" fmla="*/ 681787 h 1504250"/>
                <a:gd name="connsiteX1255" fmla="*/ 351744 w 2516810"/>
                <a:gd name="connsiteY1255" fmla="*/ 681787 h 1504250"/>
                <a:gd name="connsiteX1256" fmla="*/ 350648 w 2516810"/>
                <a:gd name="connsiteY1256" fmla="*/ 682484 h 1504250"/>
                <a:gd name="connsiteX1257" fmla="*/ 349253 w 2516810"/>
                <a:gd name="connsiteY1257" fmla="*/ 683379 h 1504250"/>
                <a:gd name="connsiteX1258" fmla="*/ 346761 w 2516810"/>
                <a:gd name="connsiteY1258" fmla="*/ 685071 h 1504250"/>
                <a:gd name="connsiteX1259" fmla="*/ 344669 w 2516810"/>
                <a:gd name="connsiteY1259" fmla="*/ 687060 h 1504250"/>
                <a:gd name="connsiteX1260" fmla="*/ 343075 w 2516810"/>
                <a:gd name="connsiteY1260" fmla="*/ 688254 h 1504250"/>
                <a:gd name="connsiteX1261" fmla="*/ 341779 w 2516810"/>
                <a:gd name="connsiteY1261" fmla="*/ 689647 h 1504250"/>
                <a:gd name="connsiteX1262" fmla="*/ 338192 w 2516810"/>
                <a:gd name="connsiteY1262" fmla="*/ 692134 h 1504250"/>
                <a:gd name="connsiteX1263" fmla="*/ 334306 w 2516810"/>
                <a:gd name="connsiteY1263" fmla="*/ 693726 h 1504250"/>
                <a:gd name="connsiteX1264" fmla="*/ 329922 w 2516810"/>
                <a:gd name="connsiteY1264" fmla="*/ 695815 h 1504250"/>
                <a:gd name="connsiteX1265" fmla="*/ 325936 w 2516810"/>
                <a:gd name="connsiteY1265" fmla="*/ 693925 h 1504250"/>
                <a:gd name="connsiteX1266" fmla="*/ 320754 w 2516810"/>
                <a:gd name="connsiteY1266" fmla="*/ 694621 h 1504250"/>
                <a:gd name="connsiteX1267" fmla="*/ 316569 w 2516810"/>
                <a:gd name="connsiteY1267" fmla="*/ 695716 h 1504250"/>
                <a:gd name="connsiteX1268" fmla="*/ 312384 w 2516810"/>
                <a:gd name="connsiteY1268" fmla="*/ 694920 h 1504250"/>
                <a:gd name="connsiteX1269" fmla="*/ 308398 w 2516810"/>
                <a:gd name="connsiteY1269" fmla="*/ 693826 h 1504250"/>
                <a:gd name="connsiteX1270" fmla="*/ 305509 w 2516810"/>
                <a:gd name="connsiteY1270" fmla="*/ 693826 h 1504250"/>
                <a:gd name="connsiteX1271" fmla="*/ 303416 w 2516810"/>
                <a:gd name="connsiteY1271" fmla="*/ 693229 h 1504250"/>
                <a:gd name="connsiteX1272" fmla="*/ 302221 w 2516810"/>
                <a:gd name="connsiteY1272" fmla="*/ 692532 h 1504250"/>
                <a:gd name="connsiteX1273" fmla="*/ 301623 w 2516810"/>
                <a:gd name="connsiteY1273" fmla="*/ 691139 h 1504250"/>
                <a:gd name="connsiteX1274" fmla="*/ 299530 w 2516810"/>
                <a:gd name="connsiteY1274" fmla="*/ 691139 h 1504250"/>
                <a:gd name="connsiteX1275" fmla="*/ 296441 w 2516810"/>
                <a:gd name="connsiteY1275" fmla="*/ 690642 h 1504250"/>
                <a:gd name="connsiteX1276" fmla="*/ 293751 w 2516810"/>
                <a:gd name="connsiteY1276" fmla="*/ 689945 h 1504250"/>
                <a:gd name="connsiteX1277" fmla="*/ 289566 w 2516810"/>
                <a:gd name="connsiteY1277" fmla="*/ 690841 h 1504250"/>
                <a:gd name="connsiteX1278" fmla="*/ 286975 w 2516810"/>
                <a:gd name="connsiteY1278" fmla="*/ 690343 h 1504250"/>
                <a:gd name="connsiteX1279" fmla="*/ 285978 w 2516810"/>
                <a:gd name="connsiteY1279" fmla="*/ 688553 h 1504250"/>
                <a:gd name="connsiteX1280" fmla="*/ 283288 w 2516810"/>
                <a:gd name="connsiteY1280" fmla="*/ 687856 h 1504250"/>
                <a:gd name="connsiteX1281" fmla="*/ 281993 w 2516810"/>
                <a:gd name="connsiteY1281" fmla="*/ 687856 h 1504250"/>
                <a:gd name="connsiteX1282" fmla="*/ 277011 w 2516810"/>
                <a:gd name="connsiteY1282" fmla="*/ 686961 h 1504250"/>
                <a:gd name="connsiteX1283" fmla="*/ 271630 w 2516810"/>
                <a:gd name="connsiteY1283" fmla="*/ 688354 h 1504250"/>
                <a:gd name="connsiteX1284" fmla="*/ 265552 w 2516810"/>
                <a:gd name="connsiteY1284" fmla="*/ 687856 h 1504250"/>
                <a:gd name="connsiteX1285" fmla="*/ 264455 w 2516810"/>
                <a:gd name="connsiteY1285" fmla="*/ 685866 h 1504250"/>
                <a:gd name="connsiteX1286" fmla="*/ 262164 w 2516810"/>
                <a:gd name="connsiteY1286" fmla="*/ 684175 h 1504250"/>
                <a:gd name="connsiteX1287" fmla="*/ 260270 w 2516810"/>
                <a:gd name="connsiteY1287" fmla="*/ 683678 h 1504250"/>
                <a:gd name="connsiteX1288" fmla="*/ 256783 w 2516810"/>
                <a:gd name="connsiteY1288" fmla="*/ 684971 h 1504250"/>
                <a:gd name="connsiteX1289" fmla="*/ 260171 w 2516810"/>
                <a:gd name="connsiteY1289" fmla="*/ 688652 h 1504250"/>
                <a:gd name="connsiteX1290" fmla="*/ 260171 w 2516810"/>
                <a:gd name="connsiteY1290" fmla="*/ 688652 h 1504250"/>
                <a:gd name="connsiteX1291" fmla="*/ 260669 w 2516810"/>
                <a:gd name="connsiteY1291" fmla="*/ 690642 h 1504250"/>
                <a:gd name="connsiteX1292" fmla="*/ 260669 w 2516810"/>
                <a:gd name="connsiteY1292" fmla="*/ 692433 h 1504250"/>
                <a:gd name="connsiteX1293" fmla="*/ 262064 w 2516810"/>
                <a:gd name="connsiteY1293" fmla="*/ 694721 h 1504250"/>
                <a:gd name="connsiteX1294" fmla="*/ 262064 w 2516810"/>
                <a:gd name="connsiteY1294" fmla="*/ 697407 h 1504250"/>
                <a:gd name="connsiteX1295" fmla="*/ 263459 w 2516810"/>
                <a:gd name="connsiteY1295" fmla="*/ 700093 h 1504250"/>
                <a:gd name="connsiteX1296" fmla="*/ 264854 w 2516810"/>
                <a:gd name="connsiteY1296" fmla="*/ 701784 h 1504250"/>
                <a:gd name="connsiteX1297" fmla="*/ 266050 w 2516810"/>
                <a:gd name="connsiteY1297" fmla="*/ 703476 h 1504250"/>
                <a:gd name="connsiteX1298" fmla="*/ 267744 w 2516810"/>
                <a:gd name="connsiteY1298" fmla="*/ 701983 h 1504250"/>
                <a:gd name="connsiteX1299" fmla="*/ 269537 w 2516810"/>
                <a:gd name="connsiteY1299" fmla="*/ 701983 h 1504250"/>
                <a:gd name="connsiteX1300" fmla="*/ 272427 w 2516810"/>
                <a:gd name="connsiteY1300" fmla="*/ 703078 h 1504250"/>
                <a:gd name="connsiteX1301" fmla="*/ 273922 w 2516810"/>
                <a:gd name="connsiteY1301" fmla="*/ 705267 h 1504250"/>
                <a:gd name="connsiteX1302" fmla="*/ 274818 w 2516810"/>
                <a:gd name="connsiteY1302" fmla="*/ 708749 h 1504250"/>
                <a:gd name="connsiteX1303" fmla="*/ 277310 w 2516810"/>
                <a:gd name="connsiteY1303" fmla="*/ 709644 h 1504250"/>
                <a:gd name="connsiteX1304" fmla="*/ 278904 w 2516810"/>
                <a:gd name="connsiteY1304" fmla="*/ 710341 h 1504250"/>
                <a:gd name="connsiteX1305" fmla="*/ 278904 w 2516810"/>
                <a:gd name="connsiteY1305" fmla="*/ 708351 h 1504250"/>
                <a:gd name="connsiteX1306" fmla="*/ 279502 w 2516810"/>
                <a:gd name="connsiteY1306" fmla="*/ 707157 h 1504250"/>
                <a:gd name="connsiteX1307" fmla="*/ 280299 w 2516810"/>
                <a:gd name="connsiteY1307" fmla="*/ 706062 h 1504250"/>
                <a:gd name="connsiteX1308" fmla="*/ 281993 w 2516810"/>
                <a:gd name="connsiteY1308" fmla="*/ 706062 h 1504250"/>
                <a:gd name="connsiteX1309" fmla="*/ 283388 w 2516810"/>
                <a:gd name="connsiteY1309" fmla="*/ 706759 h 1504250"/>
                <a:gd name="connsiteX1310" fmla="*/ 284484 w 2516810"/>
                <a:gd name="connsiteY1310" fmla="*/ 707953 h 1504250"/>
                <a:gd name="connsiteX1311" fmla="*/ 285181 w 2516810"/>
                <a:gd name="connsiteY1311" fmla="*/ 709346 h 1504250"/>
                <a:gd name="connsiteX1312" fmla="*/ 285181 w 2516810"/>
                <a:gd name="connsiteY1312" fmla="*/ 711037 h 1504250"/>
                <a:gd name="connsiteX1313" fmla="*/ 284583 w 2516810"/>
                <a:gd name="connsiteY1313" fmla="*/ 713623 h 1504250"/>
                <a:gd name="connsiteX1314" fmla="*/ 283487 w 2516810"/>
                <a:gd name="connsiteY1314" fmla="*/ 713623 h 1504250"/>
                <a:gd name="connsiteX1315" fmla="*/ 281694 w 2516810"/>
                <a:gd name="connsiteY1315" fmla="*/ 712231 h 1504250"/>
                <a:gd name="connsiteX1316" fmla="*/ 281196 w 2516810"/>
                <a:gd name="connsiteY1316" fmla="*/ 712927 h 1504250"/>
                <a:gd name="connsiteX1317" fmla="*/ 282989 w 2516810"/>
                <a:gd name="connsiteY1317" fmla="*/ 714817 h 1504250"/>
                <a:gd name="connsiteX1318" fmla="*/ 283786 w 2516810"/>
                <a:gd name="connsiteY1318" fmla="*/ 716011 h 1504250"/>
                <a:gd name="connsiteX1319" fmla="*/ 285082 w 2516810"/>
                <a:gd name="connsiteY1319" fmla="*/ 716807 h 1504250"/>
                <a:gd name="connsiteX1320" fmla="*/ 285879 w 2516810"/>
                <a:gd name="connsiteY1320" fmla="*/ 715116 h 1504250"/>
                <a:gd name="connsiteX1321" fmla="*/ 286975 w 2516810"/>
                <a:gd name="connsiteY1321" fmla="*/ 715116 h 1504250"/>
                <a:gd name="connsiteX1322" fmla="*/ 290064 w 2516810"/>
                <a:gd name="connsiteY1322" fmla="*/ 716509 h 1504250"/>
                <a:gd name="connsiteX1323" fmla="*/ 293053 w 2516810"/>
                <a:gd name="connsiteY1323" fmla="*/ 719095 h 1504250"/>
                <a:gd name="connsiteX1324" fmla="*/ 294648 w 2516810"/>
                <a:gd name="connsiteY1324" fmla="*/ 722975 h 1504250"/>
                <a:gd name="connsiteX1325" fmla="*/ 294648 w 2516810"/>
                <a:gd name="connsiteY1325" fmla="*/ 723672 h 1504250"/>
                <a:gd name="connsiteX1326" fmla="*/ 296441 w 2516810"/>
                <a:gd name="connsiteY1326" fmla="*/ 725960 h 1504250"/>
                <a:gd name="connsiteX1327" fmla="*/ 296441 w 2516810"/>
                <a:gd name="connsiteY1327" fmla="*/ 726756 h 1504250"/>
                <a:gd name="connsiteX1328" fmla="*/ 298235 w 2516810"/>
                <a:gd name="connsiteY1328" fmla="*/ 730437 h 1504250"/>
                <a:gd name="connsiteX1329" fmla="*/ 300626 w 2516810"/>
                <a:gd name="connsiteY1329" fmla="*/ 730437 h 1504250"/>
                <a:gd name="connsiteX1330" fmla="*/ 304911 w 2516810"/>
                <a:gd name="connsiteY1330" fmla="*/ 732427 h 1504250"/>
                <a:gd name="connsiteX1331" fmla="*/ 311188 w 2516810"/>
                <a:gd name="connsiteY1331" fmla="*/ 735013 h 1504250"/>
                <a:gd name="connsiteX1332" fmla="*/ 315573 w 2516810"/>
                <a:gd name="connsiteY1332" fmla="*/ 736605 h 1504250"/>
                <a:gd name="connsiteX1333" fmla="*/ 317566 w 2516810"/>
                <a:gd name="connsiteY1333" fmla="*/ 740286 h 1504250"/>
                <a:gd name="connsiteX1334" fmla="*/ 319758 w 2516810"/>
                <a:gd name="connsiteY1334" fmla="*/ 740286 h 1504250"/>
                <a:gd name="connsiteX1335" fmla="*/ 323046 w 2516810"/>
                <a:gd name="connsiteY1335" fmla="*/ 742375 h 1504250"/>
                <a:gd name="connsiteX1336" fmla="*/ 324142 w 2516810"/>
                <a:gd name="connsiteY1336" fmla="*/ 743370 h 1504250"/>
                <a:gd name="connsiteX1337" fmla="*/ 326932 w 2516810"/>
                <a:gd name="connsiteY1337" fmla="*/ 746156 h 1504250"/>
                <a:gd name="connsiteX1338" fmla="*/ 328825 w 2516810"/>
                <a:gd name="connsiteY1338" fmla="*/ 752225 h 1504250"/>
                <a:gd name="connsiteX1339" fmla="*/ 329722 w 2516810"/>
                <a:gd name="connsiteY1339" fmla="*/ 757497 h 1504250"/>
                <a:gd name="connsiteX1340" fmla="*/ 329722 w 2516810"/>
                <a:gd name="connsiteY1340" fmla="*/ 763467 h 1504250"/>
                <a:gd name="connsiteX1341" fmla="*/ 329722 w 2516810"/>
                <a:gd name="connsiteY1341" fmla="*/ 769535 h 1504250"/>
                <a:gd name="connsiteX1342" fmla="*/ 331217 w 2516810"/>
                <a:gd name="connsiteY1342" fmla="*/ 772321 h 1504250"/>
                <a:gd name="connsiteX1343" fmla="*/ 332811 w 2516810"/>
                <a:gd name="connsiteY1343" fmla="*/ 771624 h 1504250"/>
                <a:gd name="connsiteX1344" fmla="*/ 335203 w 2516810"/>
                <a:gd name="connsiteY1344" fmla="*/ 772819 h 1504250"/>
                <a:gd name="connsiteX1345" fmla="*/ 336996 w 2516810"/>
                <a:gd name="connsiteY1345" fmla="*/ 773515 h 1504250"/>
                <a:gd name="connsiteX1346" fmla="*/ 336996 w 2516810"/>
                <a:gd name="connsiteY1346" fmla="*/ 775107 h 1504250"/>
                <a:gd name="connsiteX1347" fmla="*/ 336996 w 2516810"/>
                <a:gd name="connsiteY1347" fmla="*/ 776500 h 1504250"/>
                <a:gd name="connsiteX1348" fmla="*/ 336099 w 2516810"/>
                <a:gd name="connsiteY1348" fmla="*/ 778091 h 1504250"/>
                <a:gd name="connsiteX1349" fmla="*/ 337893 w 2516810"/>
                <a:gd name="connsiteY1349" fmla="*/ 779484 h 1504250"/>
                <a:gd name="connsiteX1350" fmla="*/ 341181 w 2516810"/>
                <a:gd name="connsiteY1350" fmla="*/ 777196 h 1504250"/>
                <a:gd name="connsiteX1351" fmla="*/ 346761 w 2516810"/>
                <a:gd name="connsiteY1351" fmla="*/ 779484 h 1504250"/>
                <a:gd name="connsiteX1352" fmla="*/ 350648 w 2516810"/>
                <a:gd name="connsiteY1352" fmla="*/ 782369 h 1504250"/>
                <a:gd name="connsiteX1353" fmla="*/ 353936 w 2516810"/>
                <a:gd name="connsiteY1353" fmla="*/ 785155 h 1504250"/>
                <a:gd name="connsiteX1354" fmla="*/ 353936 w 2516810"/>
                <a:gd name="connsiteY1354" fmla="*/ 782170 h 1504250"/>
                <a:gd name="connsiteX1355" fmla="*/ 356028 w 2516810"/>
                <a:gd name="connsiteY1355" fmla="*/ 782170 h 1504250"/>
                <a:gd name="connsiteX1356" fmla="*/ 360712 w 2516810"/>
                <a:gd name="connsiteY1356" fmla="*/ 781573 h 1504250"/>
                <a:gd name="connsiteX1357" fmla="*/ 364199 w 2516810"/>
                <a:gd name="connsiteY1357" fmla="*/ 783066 h 1504250"/>
                <a:gd name="connsiteX1358" fmla="*/ 367687 w 2516810"/>
                <a:gd name="connsiteY1358" fmla="*/ 783066 h 1504250"/>
                <a:gd name="connsiteX1359" fmla="*/ 372071 w 2516810"/>
                <a:gd name="connsiteY1359" fmla="*/ 785255 h 1504250"/>
                <a:gd name="connsiteX1360" fmla="*/ 376156 w 2516810"/>
                <a:gd name="connsiteY1360" fmla="*/ 787742 h 1504250"/>
                <a:gd name="connsiteX1361" fmla="*/ 379943 w 2516810"/>
                <a:gd name="connsiteY1361" fmla="*/ 791920 h 1504250"/>
                <a:gd name="connsiteX1362" fmla="*/ 382534 w 2516810"/>
                <a:gd name="connsiteY1362" fmla="*/ 795402 h 1504250"/>
                <a:gd name="connsiteX1363" fmla="*/ 384327 w 2516810"/>
                <a:gd name="connsiteY1363" fmla="*/ 799879 h 1504250"/>
                <a:gd name="connsiteX1364" fmla="*/ 389907 w 2516810"/>
                <a:gd name="connsiteY1364" fmla="*/ 805550 h 1504250"/>
                <a:gd name="connsiteX1365" fmla="*/ 391302 w 2516810"/>
                <a:gd name="connsiteY1365" fmla="*/ 806346 h 1504250"/>
                <a:gd name="connsiteX1366" fmla="*/ 392498 w 2516810"/>
                <a:gd name="connsiteY1366" fmla="*/ 805649 h 1504250"/>
                <a:gd name="connsiteX1367" fmla="*/ 393893 w 2516810"/>
                <a:gd name="connsiteY1367" fmla="*/ 805152 h 1504250"/>
                <a:gd name="connsiteX1368" fmla="*/ 393893 w 2516810"/>
                <a:gd name="connsiteY1368" fmla="*/ 803262 h 1504250"/>
                <a:gd name="connsiteX1369" fmla="*/ 395786 w 2516810"/>
                <a:gd name="connsiteY1369" fmla="*/ 802665 h 1504250"/>
                <a:gd name="connsiteX1370" fmla="*/ 402164 w 2516810"/>
                <a:gd name="connsiteY1370" fmla="*/ 803461 h 1504250"/>
                <a:gd name="connsiteX1371" fmla="*/ 406050 w 2516810"/>
                <a:gd name="connsiteY1371" fmla="*/ 804654 h 1504250"/>
                <a:gd name="connsiteX1372" fmla="*/ 409537 w 2516810"/>
                <a:gd name="connsiteY1372" fmla="*/ 806843 h 1504250"/>
                <a:gd name="connsiteX1373" fmla="*/ 413922 w 2516810"/>
                <a:gd name="connsiteY1373" fmla="*/ 809430 h 1504250"/>
                <a:gd name="connsiteX1374" fmla="*/ 417011 w 2516810"/>
                <a:gd name="connsiteY1374" fmla="*/ 813509 h 1504250"/>
                <a:gd name="connsiteX1375" fmla="*/ 421694 w 2516810"/>
                <a:gd name="connsiteY1375" fmla="*/ 821667 h 1504250"/>
                <a:gd name="connsiteX1376" fmla="*/ 423886 w 2516810"/>
                <a:gd name="connsiteY1376" fmla="*/ 826144 h 1504250"/>
                <a:gd name="connsiteX1377" fmla="*/ 423886 w 2516810"/>
                <a:gd name="connsiteY1377" fmla="*/ 828233 h 1504250"/>
                <a:gd name="connsiteX1378" fmla="*/ 424982 w 2516810"/>
                <a:gd name="connsiteY1378" fmla="*/ 830123 h 1504250"/>
                <a:gd name="connsiteX1379" fmla="*/ 432455 w 2516810"/>
                <a:gd name="connsiteY1379" fmla="*/ 834302 h 1504250"/>
                <a:gd name="connsiteX1380" fmla="*/ 436043 w 2516810"/>
                <a:gd name="connsiteY1380" fmla="*/ 840370 h 1504250"/>
                <a:gd name="connsiteX1381" fmla="*/ 441025 w 2516810"/>
                <a:gd name="connsiteY1381" fmla="*/ 842559 h 1504250"/>
                <a:gd name="connsiteX1382" fmla="*/ 444014 w 2516810"/>
                <a:gd name="connsiteY1382" fmla="*/ 843256 h 1504250"/>
                <a:gd name="connsiteX1383" fmla="*/ 446406 w 2516810"/>
                <a:gd name="connsiteY1383" fmla="*/ 841465 h 1504250"/>
                <a:gd name="connsiteX1384" fmla="*/ 447900 w 2516810"/>
                <a:gd name="connsiteY1384" fmla="*/ 841465 h 1504250"/>
                <a:gd name="connsiteX1385" fmla="*/ 447900 w 2516810"/>
                <a:gd name="connsiteY1385" fmla="*/ 838281 h 1504250"/>
                <a:gd name="connsiteX1386" fmla="*/ 449893 w 2516810"/>
                <a:gd name="connsiteY1386" fmla="*/ 836689 h 1504250"/>
                <a:gd name="connsiteX1387" fmla="*/ 450889 w 2516810"/>
                <a:gd name="connsiteY1387" fmla="*/ 834501 h 1504250"/>
                <a:gd name="connsiteX1388" fmla="*/ 452783 w 2516810"/>
                <a:gd name="connsiteY1388" fmla="*/ 831118 h 1504250"/>
                <a:gd name="connsiteX1389" fmla="*/ 456868 w 2516810"/>
                <a:gd name="connsiteY1389" fmla="*/ 829626 h 1504250"/>
                <a:gd name="connsiteX1390" fmla="*/ 459758 w 2516810"/>
                <a:gd name="connsiteY1390" fmla="*/ 829626 h 1504250"/>
                <a:gd name="connsiteX1391" fmla="*/ 463345 w 2516810"/>
                <a:gd name="connsiteY1391" fmla="*/ 829626 h 1504250"/>
                <a:gd name="connsiteX1392" fmla="*/ 465737 w 2516810"/>
                <a:gd name="connsiteY1392" fmla="*/ 830123 h 1504250"/>
                <a:gd name="connsiteX1393" fmla="*/ 470420 w 2516810"/>
                <a:gd name="connsiteY1393" fmla="*/ 831218 h 1504250"/>
                <a:gd name="connsiteX1394" fmla="*/ 475302 w 2516810"/>
                <a:gd name="connsiteY1394" fmla="*/ 833705 h 1504250"/>
                <a:gd name="connsiteX1395" fmla="*/ 480284 w 2516810"/>
                <a:gd name="connsiteY1395" fmla="*/ 837485 h 1504250"/>
                <a:gd name="connsiteX1396" fmla="*/ 482178 w 2516810"/>
                <a:gd name="connsiteY1396" fmla="*/ 837485 h 1504250"/>
                <a:gd name="connsiteX1397" fmla="*/ 482776 w 2516810"/>
                <a:gd name="connsiteY1397" fmla="*/ 836391 h 1504250"/>
                <a:gd name="connsiteX1398" fmla="*/ 482776 w 2516810"/>
                <a:gd name="connsiteY1398" fmla="*/ 834401 h 1504250"/>
                <a:gd name="connsiteX1399" fmla="*/ 482776 w 2516810"/>
                <a:gd name="connsiteY1399" fmla="*/ 832810 h 1504250"/>
                <a:gd name="connsiteX1400" fmla="*/ 482776 w 2516810"/>
                <a:gd name="connsiteY1400" fmla="*/ 831715 h 1504250"/>
                <a:gd name="connsiteX1401" fmla="*/ 482776 w 2516810"/>
                <a:gd name="connsiteY1401" fmla="*/ 829327 h 1504250"/>
                <a:gd name="connsiteX1402" fmla="*/ 483573 w 2516810"/>
                <a:gd name="connsiteY1402" fmla="*/ 827437 h 1504250"/>
                <a:gd name="connsiteX1403" fmla="*/ 485167 w 2516810"/>
                <a:gd name="connsiteY1403" fmla="*/ 825746 h 1504250"/>
                <a:gd name="connsiteX1404" fmla="*/ 486761 w 2516810"/>
                <a:gd name="connsiteY1404" fmla="*/ 826840 h 1504250"/>
                <a:gd name="connsiteX1405" fmla="*/ 490349 w 2516810"/>
                <a:gd name="connsiteY1405" fmla="*/ 823458 h 1504250"/>
                <a:gd name="connsiteX1406" fmla="*/ 491245 w 2516810"/>
                <a:gd name="connsiteY1406" fmla="*/ 819379 h 1504250"/>
                <a:gd name="connsiteX1407" fmla="*/ 491744 w 2516810"/>
                <a:gd name="connsiteY1407" fmla="*/ 810823 h 1504250"/>
                <a:gd name="connsiteX1408" fmla="*/ 493438 w 2516810"/>
                <a:gd name="connsiteY1408" fmla="*/ 807738 h 1504250"/>
                <a:gd name="connsiteX1409" fmla="*/ 495430 w 2516810"/>
                <a:gd name="connsiteY1409" fmla="*/ 806744 h 1504250"/>
                <a:gd name="connsiteX1410" fmla="*/ 497623 w 2516810"/>
                <a:gd name="connsiteY1410" fmla="*/ 807341 h 1504250"/>
                <a:gd name="connsiteX1411" fmla="*/ 499516 w 2516810"/>
                <a:gd name="connsiteY1411" fmla="*/ 809430 h 1504250"/>
                <a:gd name="connsiteX1412" fmla="*/ 500114 w 2516810"/>
                <a:gd name="connsiteY1412" fmla="*/ 811818 h 1504250"/>
                <a:gd name="connsiteX1413" fmla="*/ 500114 w 2516810"/>
                <a:gd name="connsiteY1413" fmla="*/ 818981 h 1504250"/>
                <a:gd name="connsiteX1414" fmla="*/ 499317 w 2516810"/>
                <a:gd name="connsiteY1414" fmla="*/ 820374 h 1504250"/>
                <a:gd name="connsiteX1415" fmla="*/ 498519 w 2516810"/>
                <a:gd name="connsiteY1415" fmla="*/ 822861 h 1504250"/>
                <a:gd name="connsiteX1416" fmla="*/ 497423 w 2516810"/>
                <a:gd name="connsiteY1416" fmla="*/ 824353 h 1504250"/>
                <a:gd name="connsiteX1417" fmla="*/ 495630 w 2516810"/>
                <a:gd name="connsiteY1417" fmla="*/ 825447 h 1504250"/>
                <a:gd name="connsiteX1418" fmla="*/ 494534 w 2516810"/>
                <a:gd name="connsiteY1418" fmla="*/ 827139 h 1504250"/>
                <a:gd name="connsiteX1419" fmla="*/ 493039 w 2516810"/>
                <a:gd name="connsiteY1419" fmla="*/ 828830 h 1504250"/>
                <a:gd name="connsiteX1420" fmla="*/ 491943 w 2516810"/>
                <a:gd name="connsiteY1420" fmla="*/ 829626 h 1504250"/>
                <a:gd name="connsiteX1421" fmla="*/ 490149 w 2516810"/>
                <a:gd name="connsiteY1421" fmla="*/ 830919 h 1504250"/>
                <a:gd name="connsiteX1422" fmla="*/ 489053 w 2516810"/>
                <a:gd name="connsiteY1422" fmla="*/ 831914 h 1504250"/>
                <a:gd name="connsiteX1423" fmla="*/ 486662 w 2516810"/>
                <a:gd name="connsiteY1423" fmla="*/ 831914 h 1504250"/>
                <a:gd name="connsiteX1424" fmla="*/ 485865 w 2516810"/>
                <a:gd name="connsiteY1424" fmla="*/ 832610 h 1504250"/>
                <a:gd name="connsiteX1425" fmla="*/ 486662 w 2516810"/>
                <a:gd name="connsiteY1425" fmla="*/ 833406 h 1504250"/>
                <a:gd name="connsiteX1426" fmla="*/ 486662 w 2516810"/>
                <a:gd name="connsiteY1426" fmla="*/ 835396 h 1504250"/>
                <a:gd name="connsiteX1427" fmla="*/ 487459 w 2516810"/>
                <a:gd name="connsiteY1427" fmla="*/ 836988 h 1504250"/>
                <a:gd name="connsiteX1428" fmla="*/ 488455 w 2516810"/>
                <a:gd name="connsiteY1428" fmla="*/ 838480 h 1504250"/>
                <a:gd name="connsiteX1429" fmla="*/ 489651 w 2516810"/>
                <a:gd name="connsiteY1429" fmla="*/ 839276 h 1504250"/>
                <a:gd name="connsiteX1430" fmla="*/ 491345 w 2516810"/>
                <a:gd name="connsiteY1430" fmla="*/ 838580 h 1504250"/>
                <a:gd name="connsiteX1431" fmla="*/ 491345 w 2516810"/>
                <a:gd name="connsiteY1431" fmla="*/ 837485 h 1504250"/>
                <a:gd name="connsiteX1432" fmla="*/ 491345 w 2516810"/>
                <a:gd name="connsiteY1432" fmla="*/ 836291 h 1504250"/>
                <a:gd name="connsiteX1433" fmla="*/ 492740 w 2516810"/>
                <a:gd name="connsiteY1433" fmla="*/ 836291 h 1504250"/>
                <a:gd name="connsiteX1434" fmla="*/ 494633 w 2516810"/>
                <a:gd name="connsiteY1434" fmla="*/ 836291 h 1504250"/>
                <a:gd name="connsiteX1435" fmla="*/ 494633 w 2516810"/>
                <a:gd name="connsiteY1435" fmla="*/ 834600 h 1504250"/>
                <a:gd name="connsiteX1436" fmla="*/ 494633 w 2516810"/>
                <a:gd name="connsiteY1436" fmla="*/ 833008 h 1504250"/>
                <a:gd name="connsiteX1437" fmla="*/ 496427 w 2516810"/>
                <a:gd name="connsiteY1437" fmla="*/ 832213 h 1504250"/>
                <a:gd name="connsiteX1438" fmla="*/ 498021 w 2516810"/>
                <a:gd name="connsiteY1438" fmla="*/ 831616 h 1504250"/>
                <a:gd name="connsiteX1439" fmla="*/ 499117 w 2516810"/>
                <a:gd name="connsiteY1439" fmla="*/ 831616 h 1504250"/>
                <a:gd name="connsiteX1440" fmla="*/ 500213 w 2516810"/>
                <a:gd name="connsiteY1440" fmla="*/ 832213 h 1504250"/>
                <a:gd name="connsiteX1441" fmla="*/ 499416 w 2516810"/>
                <a:gd name="connsiteY1441" fmla="*/ 832909 h 1504250"/>
                <a:gd name="connsiteX1442" fmla="*/ 497523 w 2516810"/>
                <a:gd name="connsiteY1442" fmla="*/ 833904 h 1504250"/>
                <a:gd name="connsiteX1443" fmla="*/ 497523 w 2516810"/>
                <a:gd name="connsiteY1443" fmla="*/ 835496 h 1504250"/>
                <a:gd name="connsiteX1444" fmla="*/ 497523 w 2516810"/>
                <a:gd name="connsiteY1444" fmla="*/ 837684 h 1504250"/>
                <a:gd name="connsiteX1445" fmla="*/ 498220 w 2516810"/>
                <a:gd name="connsiteY1445" fmla="*/ 839177 h 1504250"/>
                <a:gd name="connsiteX1446" fmla="*/ 499615 w 2516810"/>
                <a:gd name="connsiteY1446" fmla="*/ 841465 h 1504250"/>
                <a:gd name="connsiteX1447" fmla="*/ 500911 w 2516810"/>
                <a:gd name="connsiteY1447" fmla="*/ 843355 h 1504250"/>
                <a:gd name="connsiteX1448" fmla="*/ 502505 w 2516810"/>
                <a:gd name="connsiteY1448" fmla="*/ 844449 h 1504250"/>
                <a:gd name="connsiteX1449" fmla="*/ 504498 w 2516810"/>
                <a:gd name="connsiteY1449" fmla="*/ 847136 h 1504250"/>
                <a:gd name="connsiteX1450" fmla="*/ 505793 w 2516810"/>
                <a:gd name="connsiteY1450" fmla="*/ 849225 h 1504250"/>
                <a:gd name="connsiteX1451" fmla="*/ 507487 w 2516810"/>
                <a:gd name="connsiteY1451" fmla="*/ 851712 h 1504250"/>
                <a:gd name="connsiteX1452" fmla="*/ 508384 w 2516810"/>
                <a:gd name="connsiteY1452" fmla="*/ 852607 h 1504250"/>
                <a:gd name="connsiteX1453" fmla="*/ 508384 w 2516810"/>
                <a:gd name="connsiteY1453" fmla="*/ 854100 h 1504250"/>
                <a:gd name="connsiteX1454" fmla="*/ 508384 w 2516810"/>
                <a:gd name="connsiteY1454" fmla="*/ 855592 h 1504250"/>
                <a:gd name="connsiteX1455" fmla="*/ 508384 w 2516810"/>
                <a:gd name="connsiteY1455" fmla="*/ 857880 h 1504250"/>
                <a:gd name="connsiteX1456" fmla="*/ 508384 w 2516810"/>
                <a:gd name="connsiteY1456" fmla="*/ 859671 h 1504250"/>
                <a:gd name="connsiteX1457" fmla="*/ 510477 w 2516810"/>
                <a:gd name="connsiteY1457" fmla="*/ 861561 h 1504250"/>
                <a:gd name="connsiteX1458" fmla="*/ 513765 w 2516810"/>
                <a:gd name="connsiteY1458" fmla="*/ 864446 h 1504250"/>
                <a:gd name="connsiteX1459" fmla="*/ 515559 w 2516810"/>
                <a:gd name="connsiteY1459" fmla="*/ 866536 h 1504250"/>
                <a:gd name="connsiteX1460" fmla="*/ 517651 w 2516810"/>
                <a:gd name="connsiteY1460" fmla="*/ 867332 h 1504250"/>
                <a:gd name="connsiteX1461" fmla="*/ 520840 w 2516810"/>
                <a:gd name="connsiteY1461" fmla="*/ 867332 h 1504250"/>
                <a:gd name="connsiteX1462" fmla="*/ 520840 w 2516810"/>
                <a:gd name="connsiteY1462" fmla="*/ 867332 h 1504250"/>
                <a:gd name="connsiteX1463" fmla="*/ 520840 w 2516810"/>
                <a:gd name="connsiteY1463" fmla="*/ 868028 h 1504250"/>
                <a:gd name="connsiteX1464" fmla="*/ 520840 w 2516810"/>
                <a:gd name="connsiteY1464" fmla="*/ 868923 h 1504250"/>
                <a:gd name="connsiteX1465" fmla="*/ 520840 w 2516810"/>
                <a:gd name="connsiteY1465" fmla="*/ 870416 h 1504250"/>
                <a:gd name="connsiteX1466" fmla="*/ 527217 w 2516810"/>
                <a:gd name="connsiteY1466" fmla="*/ 873898 h 1504250"/>
                <a:gd name="connsiteX1467" fmla="*/ 532199 w 2516810"/>
                <a:gd name="connsiteY1467" fmla="*/ 877977 h 1504250"/>
                <a:gd name="connsiteX1468" fmla="*/ 536285 w 2516810"/>
                <a:gd name="connsiteY1468" fmla="*/ 881857 h 1504250"/>
                <a:gd name="connsiteX1469" fmla="*/ 539473 w 2516810"/>
                <a:gd name="connsiteY1469" fmla="*/ 884344 h 1504250"/>
                <a:gd name="connsiteX1470" fmla="*/ 541865 w 2516810"/>
                <a:gd name="connsiteY1470" fmla="*/ 886135 h 1504250"/>
                <a:gd name="connsiteX1471" fmla="*/ 545751 w 2516810"/>
                <a:gd name="connsiteY1471" fmla="*/ 888522 h 1504250"/>
                <a:gd name="connsiteX1472" fmla="*/ 549139 w 2516810"/>
                <a:gd name="connsiteY1472" fmla="*/ 890910 h 1504250"/>
                <a:gd name="connsiteX1473" fmla="*/ 554121 w 2516810"/>
                <a:gd name="connsiteY1473" fmla="*/ 897377 h 1504250"/>
                <a:gd name="connsiteX1474" fmla="*/ 555715 w 2516810"/>
                <a:gd name="connsiteY1474" fmla="*/ 897874 h 1504250"/>
                <a:gd name="connsiteX1475" fmla="*/ 561096 w 2516810"/>
                <a:gd name="connsiteY1475" fmla="*/ 897874 h 1504250"/>
                <a:gd name="connsiteX1476" fmla="*/ 563188 w 2516810"/>
                <a:gd name="connsiteY1476" fmla="*/ 897874 h 1504250"/>
                <a:gd name="connsiteX1477" fmla="*/ 563188 w 2516810"/>
                <a:gd name="connsiteY1477" fmla="*/ 897874 h 1504250"/>
                <a:gd name="connsiteX1478" fmla="*/ 564185 w 2516810"/>
                <a:gd name="connsiteY1478" fmla="*/ 900461 h 1504250"/>
                <a:gd name="connsiteX1479" fmla="*/ 566078 w 2516810"/>
                <a:gd name="connsiteY1479" fmla="*/ 901854 h 1504250"/>
                <a:gd name="connsiteX1480" fmla="*/ 568171 w 2516810"/>
                <a:gd name="connsiteY1480" fmla="*/ 901157 h 1504250"/>
                <a:gd name="connsiteX1481" fmla="*/ 569865 w 2516810"/>
                <a:gd name="connsiteY1481" fmla="*/ 899964 h 1504250"/>
                <a:gd name="connsiteX1482" fmla="*/ 570562 w 2516810"/>
                <a:gd name="connsiteY1482" fmla="*/ 901356 h 1504250"/>
                <a:gd name="connsiteX1483" fmla="*/ 570562 w 2516810"/>
                <a:gd name="connsiteY1483" fmla="*/ 903445 h 1504250"/>
                <a:gd name="connsiteX1484" fmla="*/ 570562 w 2516810"/>
                <a:gd name="connsiteY1484" fmla="*/ 903943 h 1504250"/>
                <a:gd name="connsiteX1485" fmla="*/ 577936 w 2516810"/>
                <a:gd name="connsiteY1485" fmla="*/ 909116 h 1504250"/>
                <a:gd name="connsiteX1486" fmla="*/ 580128 w 2516810"/>
                <a:gd name="connsiteY1486" fmla="*/ 909116 h 1504250"/>
                <a:gd name="connsiteX1487" fmla="*/ 581224 w 2516810"/>
                <a:gd name="connsiteY1487" fmla="*/ 907724 h 1504250"/>
                <a:gd name="connsiteX1488" fmla="*/ 582121 w 2516810"/>
                <a:gd name="connsiteY1488" fmla="*/ 906331 h 1504250"/>
                <a:gd name="connsiteX1489" fmla="*/ 583615 w 2516810"/>
                <a:gd name="connsiteY1489" fmla="*/ 905634 h 1504250"/>
                <a:gd name="connsiteX1490" fmla="*/ 584911 w 2516810"/>
                <a:gd name="connsiteY1490" fmla="*/ 905634 h 1504250"/>
                <a:gd name="connsiteX1491" fmla="*/ 589993 w 2516810"/>
                <a:gd name="connsiteY1491" fmla="*/ 908519 h 1504250"/>
                <a:gd name="connsiteX1492" fmla="*/ 592982 w 2516810"/>
                <a:gd name="connsiteY1492" fmla="*/ 911206 h 1504250"/>
                <a:gd name="connsiteX1493" fmla="*/ 597466 w 2516810"/>
                <a:gd name="connsiteY1493" fmla="*/ 917075 h 1504250"/>
                <a:gd name="connsiteX1494" fmla="*/ 600256 w 2516810"/>
                <a:gd name="connsiteY1494" fmla="*/ 923542 h 1504250"/>
                <a:gd name="connsiteX1495" fmla="*/ 601352 w 2516810"/>
                <a:gd name="connsiteY1495" fmla="*/ 927521 h 1504250"/>
                <a:gd name="connsiteX1496" fmla="*/ 601850 w 2516810"/>
                <a:gd name="connsiteY1496" fmla="*/ 931998 h 1504250"/>
                <a:gd name="connsiteX1497" fmla="*/ 603843 w 2516810"/>
                <a:gd name="connsiteY1497" fmla="*/ 934784 h 1504250"/>
                <a:gd name="connsiteX1498" fmla="*/ 607430 w 2516810"/>
                <a:gd name="connsiteY1498" fmla="*/ 934187 h 1504250"/>
                <a:gd name="connsiteX1499" fmla="*/ 610719 w 2516810"/>
                <a:gd name="connsiteY1499" fmla="*/ 935978 h 1504250"/>
                <a:gd name="connsiteX1500" fmla="*/ 613010 w 2516810"/>
                <a:gd name="connsiteY1500" fmla="*/ 939460 h 1504250"/>
                <a:gd name="connsiteX1501" fmla="*/ 615701 w 2516810"/>
                <a:gd name="connsiteY1501" fmla="*/ 942246 h 1504250"/>
                <a:gd name="connsiteX1502" fmla="*/ 618192 w 2516810"/>
                <a:gd name="connsiteY1502" fmla="*/ 947817 h 1504250"/>
                <a:gd name="connsiteX1503" fmla="*/ 620583 w 2516810"/>
                <a:gd name="connsiteY1503" fmla="*/ 956671 h 1504250"/>
                <a:gd name="connsiteX1504" fmla="*/ 623174 w 2516810"/>
                <a:gd name="connsiteY1504" fmla="*/ 961248 h 1504250"/>
                <a:gd name="connsiteX1505" fmla="*/ 624270 w 2516810"/>
                <a:gd name="connsiteY1505" fmla="*/ 966819 h 1504250"/>
                <a:gd name="connsiteX1506" fmla="*/ 627060 w 2516810"/>
                <a:gd name="connsiteY1506" fmla="*/ 971296 h 1504250"/>
                <a:gd name="connsiteX1507" fmla="*/ 627857 w 2516810"/>
                <a:gd name="connsiteY1507" fmla="*/ 979056 h 1504250"/>
                <a:gd name="connsiteX1508" fmla="*/ 627857 w 2516810"/>
                <a:gd name="connsiteY1508" fmla="*/ 997262 h 1504250"/>
                <a:gd name="connsiteX1509" fmla="*/ 627857 w 2516810"/>
                <a:gd name="connsiteY1509" fmla="*/ 1005022 h 1504250"/>
                <a:gd name="connsiteX1510" fmla="*/ 627857 w 2516810"/>
                <a:gd name="connsiteY1510" fmla="*/ 1008206 h 1504250"/>
                <a:gd name="connsiteX1511" fmla="*/ 627857 w 2516810"/>
                <a:gd name="connsiteY1511" fmla="*/ 1009797 h 1504250"/>
                <a:gd name="connsiteX1512" fmla="*/ 628754 w 2516810"/>
                <a:gd name="connsiteY1512" fmla="*/ 1008902 h 1504250"/>
                <a:gd name="connsiteX1513" fmla="*/ 629252 w 2516810"/>
                <a:gd name="connsiteY1513" fmla="*/ 1003629 h 1504250"/>
                <a:gd name="connsiteX1514" fmla="*/ 629950 w 2516810"/>
                <a:gd name="connsiteY1514" fmla="*/ 997561 h 1504250"/>
                <a:gd name="connsiteX1515" fmla="*/ 629950 w 2516810"/>
                <a:gd name="connsiteY1515" fmla="*/ 983035 h 1504250"/>
                <a:gd name="connsiteX1516" fmla="*/ 629950 w 2516810"/>
                <a:gd name="connsiteY1516" fmla="*/ 980747 h 1504250"/>
                <a:gd name="connsiteX1517" fmla="*/ 630946 w 2516810"/>
                <a:gd name="connsiteY1517" fmla="*/ 980051 h 1504250"/>
                <a:gd name="connsiteX1518" fmla="*/ 631644 w 2516810"/>
                <a:gd name="connsiteY1518" fmla="*/ 981046 h 1504250"/>
                <a:gd name="connsiteX1519" fmla="*/ 632242 w 2516810"/>
                <a:gd name="connsiteY1519" fmla="*/ 985125 h 1504250"/>
                <a:gd name="connsiteX1520" fmla="*/ 633238 w 2516810"/>
                <a:gd name="connsiteY1520" fmla="*/ 993183 h 1504250"/>
                <a:gd name="connsiteX1521" fmla="*/ 633238 w 2516810"/>
                <a:gd name="connsiteY1521" fmla="*/ 997760 h 1504250"/>
                <a:gd name="connsiteX1522" fmla="*/ 632242 w 2516810"/>
                <a:gd name="connsiteY1522" fmla="*/ 1000545 h 1504250"/>
                <a:gd name="connsiteX1523" fmla="*/ 632840 w 2516810"/>
                <a:gd name="connsiteY1523" fmla="*/ 1003530 h 1504250"/>
                <a:gd name="connsiteX1524" fmla="*/ 633338 w 2516810"/>
                <a:gd name="connsiteY1524" fmla="*/ 1008604 h 1504250"/>
                <a:gd name="connsiteX1525" fmla="*/ 633338 w 2516810"/>
                <a:gd name="connsiteY1525" fmla="*/ 1011091 h 1504250"/>
                <a:gd name="connsiteX1526" fmla="*/ 631744 w 2516810"/>
                <a:gd name="connsiteY1526" fmla="*/ 1012185 h 1504250"/>
                <a:gd name="connsiteX1527" fmla="*/ 630548 w 2516810"/>
                <a:gd name="connsiteY1527" fmla="*/ 1012981 h 1504250"/>
                <a:gd name="connsiteX1528" fmla="*/ 631245 w 2516810"/>
                <a:gd name="connsiteY1528" fmla="*/ 1014374 h 1504250"/>
                <a:gd name="connsiteX1529" fmla="*/ 632740 w 2516810"/>
                <a:gd name="connsiteY1529" fmla="*/ 1013777 h 1504250"/>
                <a:gd name="connsiteX1530" fmla="*/ 635829 w 2516810"/>
                <a:gd name="connsiteY1530" fmla="*/ 1013777 h 1504250"/>
                <a:gd name="connsiteX1531" fmla="*/ 637324 w 2516810"/>
                <a:gd name="connsiteY1531" fmla="*/ 1013777 h 1504250"/>
                <a:gd name="connsiteX1532" fmla="*/ 635131 w 2516810"/>
                <a:gd name="connsiteY1532" fmla="*/ 1014772 h 1504250"/>
                <a:gd name="connsiteX1533" fmla="*/ 631843 w 2516810"/>
                <a:gd name="connsiteY1533" fmla="*/ 1016165 h 1504250"/>
                <a:gd name="connsiteX1534" fmla="*/ 630747 w 2516810"/>
                <a:gd name="connsiteY1534" fmla="*/ 1017856 h 1504250"/>
                <a:gd name="connsiteX1535" fmla="*/ 632341 w 2516810"/>
                <a:gd name="connsiteY1535" fmla="*/ 1017856 h 1504250"/>
                <a:gd name="connsiteX1536" fmla="*/ 632341 w 2516810"/>
                <a:gd name="connsiteY1536" fmla="*/ 1018851 h 1504250"/>
                <a:gd name="connsiteX1537" fmla="*/ 632341 w 2516810"/>
                <a:gd name="connsiteY1537" fmla="*/ 1021239 h 1504250"/>
                <a:gd name="connsiteX1538" fmla="*/ 631345 w 2516810"/>
                <a:gd name="connsiteY1538" fmla="*/ 1022433 h 1504250"/>
                <a:gd name="connsiteX1539" fmla="*/ 630548 w 2516810"/>
                <a:gd name="connsiteY1539" fmla="*/ 1024820 h 1504250"/>
                <a:gd name="connsiteX1540" fmla="*/ 630548 w 2516810"/>
                <a:gd name="connsiteY1540" fmla="*/ 1026611 h 1504250"/>
                <a:gd name="connsiteX1541" fmla="*/ 632043 w 2516810"/>
                <a:gd name="connsiteY1541" fmla="*/ 1027208 h 1504250"/>
                <a:gd name="connsiteX1542" fmla="*/ 632043 w 2516810"/>
                <a:gd name="connsiteY1542" fmla="*/ 1031187 h 1504250"/>
                <a:gd name="connsiteX1543" fmla="*/ 632043 w 2516810"/>
                <a:gd name="connsiteY1543" fmla="*/ 1038549 h 1504250"/>
                <a:gd name="connsiteX1544" fmla="*/ 632043 w 2516810"/>
                <a:gd name="connsiteY1544" fmla="*/ 1042927 h 1504250"/>
                <a:gd name="connsiteX1545" fmla="*/ 631245 w 2516810"/>
                <a:gd name="connsiteY1545" fmla="*/ 1045016 h 1504250"/>
                <a:gd name="connsiteX1546" fmla="*/ 629252 w 2516810"/>
                <a:gd name="connsiteY1546" fmla="*/ 1047702 h 1504250"/>
                <a:gd name="connsiteX1547" fmla="*/ 626961 w 2516810"/>
                <a:gd name="connsiteY1547" fmla="*/ 1050985 h 1504250"/>
                <a:gd name="connsiteX1548" fmla="*/ 625366 w 2516810"/>
                <a:gd name="connsiteY1548" fmla="*/ 1054766 h 1504250"/>
                <a:gd name="connsiteX1549" fmla="*/ 624370 w 2516810"/>
                <a:gd name="connsiteY1549" fmla="*/ 1058547 h 1504250"/>
                <a:gd name="connsiteX1550" fmla="*/ 624370 w 2516810"/>
                <a:gd name="connsiteY1550" fmla="*/ 1061133 h 1504250"/>
                <a:gd name="connsiteX1551" fmla="*/ 624968 w 2516810"/>
                <a:gd name="connsiteY1551" fmla="*/ 1063222 h 1504250"/>
                <a:gd name="connsiteX1552" fmla="*/ 624968 w 2516810"/>
                <a:gd name="connsiteY1552" fmla="*/ 1064615 h 1504250"/>
                <a:gd name="connsiteX1553" fmla="*/ 624370 w 2516810"/>
                <a:gd name="connsiteY1553" fmla="*/ 1066605 h 1504250"/>
                <a:gd name="connsiteX1554" fmla="*/ 625566 w 2516810"/>
                <a:gd name="connsiteY1554" fmla="*/ 1067401 h 1504250"/>
                <a:gd name="connsiteX1555" fmla="*/ 625566 w 2516810"/>
                <a:gd name="connsiteY1555" fmla="*/ 1068296 h 1504250"/>
                <a:gd name="connsiteX1556" fmla="*/ 626861 w 2516810"/>
                <a:gd name="connsiteY1556" fmla="*/ 1068296 h 1504250"/>
                <a:gd name="connsiteX1557" fmla="*/ 626861 w 2516810"/>
                <a:gd name="connsiteY1557" fmla="*/ 1069888 h 1504250"/>
                <a:gd name="connsiteX1558" fmla="*/ 625964 w 2516810"/>
                <a:gd name="connsiteY1558" fmla="*/ 1071977 h 1504250"/>
                <a:gd name="connsiteX1559" fmla="*/ 626562 w 2516810"/>
                <a:gd name="connsiteY1559" fmla="*/ 1073171 h 1504250"/>
                <a:gd name="connsiteX1560" fmla="*/ 625665 w 2516810"/>
                <a:gd name="connsiteY1560" fmla="*/ 1077151 h 1504250"/>
                <a:gd name="connsiteX1561" fmla="*/ 624171 w 2516810"/>
                <a:gd name="connsiteY1561" fmla="*/ 1079638 h 1504250"/>
                <a:gd name="connsiteX1562" fmla="*/ 623373 w 2516810"/>
                <a:gd name="connsiteY1562" fmla="*/ 1081230 h 1504250"/>
                <a:gd name="connsiteX1563" fmla="*/ 624270 w 2516810"/>
                <a:gd name="connsiteY1563" fmla="*/ 1082423 h 1504250"/>
                <a:gd name="connsiteX1564" fmla="*/ 623573 w 2516810"/>
                <a:gd name="connsiteY1564" fmla="*/ 1083717 h 1504250"/>
                <a:gd name="connsiteX1565" fmla="*/ 621879 w 2516810"/>
                <a:gd name="connsiteY1565" fmla="*/ 1083717 h 1504250"/>
                <a:gd name="connsiteX1566" fmla="*/ 621181 w 2516810"/>
                <a:gd name="connsiteY1566" fmla="*/ 1084513 h 1504250"/>
                <a:gd name="connsiteX1567" fmla="*/ 621181 w 2516810"/>
                <a:gd name="connsiteY1567" fmla="*/ 1086005 h 1504250"/>
                <a:gd name="connsiteX1568" fmla="*/ 621181 w 2516810"/>
                <a:gd name="connsiteY1568" fmla="*/ 1086502 h 1504250"/>
                <a:gd name="connsiteX1569" fmla="*/ 622277 w 2516810"/>
                <a:gd name="connsiteY1569" fmla="*/ 1087497 h 1504250"/>
                <a:gd name="connsiteX1570" fmla="*/ 622277 w 2516810"/>
                <a:gd name="connsiteY1570" fmla="*/ 1090880 h 1504250"/>
                <a:gd name="connsiteX1571" fmla="*/ 622277 w 2516810"/>
                <a:gd name="connsiteY1571" fmla="*/ 1092770 h 1504250"/>
                <a:gd name="connsiteX1572" fmla="*/ 622875 w 2516810"/>
                <a:gd name="connsiteY1572" fmla="*/ 1095257 h 1504250"/>
                <a:gd name="connsiteX1573" fmla="*/ 624270 w 2516810"/>
                <a:gd name="connsiteY1573" fmla="*/ 1095257 h 1504250"/>
                <a:gd name="connsiteX1574" fmla="*/ 625665 w 2516810"/>
                <a:gd name="connsiteY1574" fmla="*/ 1093069 h 1504250"/>
                <a:gd name="connsiteX1575" fmla="*/ 627060 w 2516810"/>
                <a:gd name="connsiteY1575" fmla="*/ 1090382 h 1504250"/>
                <a:gd name="connsiteX1576" fmla="*/ 625964 w 2516810"/>
                <a:gd name="connsiteY1576" fmla="*/ 1087995 h 1504250"/>
                <a:gd name="connsiteX1577" fmla="*/ 625267 w 2516810"/>
                <a:gd name="connsiteY1577" fmla="*/ 1085408 h 1504250"/>
                <a:gd name="connsiteX1578" fmla="*/ 626163 w 2516810"/>
                <a:gd name="connsiteY1578" fmla="*/ 1083617 h 1504250"/>
                <a:gd name="connsiteX1579" fmla="*/ 627459 w 2516810"/>
                <a:gd name="connsiteY1579" fmla="*/ 1082025 h 1504250"/>
                <a:gd name="connsiteX1580" fmla="*/ 627459 w 2516810"/>
                <a:gd name="connsiteY1580" fmla="*/ 1079638 h 1504250"/>
                <a:gd name="connsiteX1581" fmla="*/ 628754 w 2516810"/>
                <a:gd name="connsiteY1581" fmla="*/ 1077648 h 1504250"/>
                <a:gd name="connsiteX1582" fmla="*/ 629452 w 2516810"/>
                <a:gd name="connsiteY1582" fmla="*/ 1076951 h 1504250"/>
                <a:gd name="connsiteX1583" fmla="*/ 630448 w 2516810"/>
                <a:gd name="connsiteY1583" fmla="*/ 1078046 h 1504250"/>
                <a:gd name="connsiteX1584" fmla="*/ 630448 w 2516810"/>
                <a:gd name="connsiteY1584" fmla="*/ 1079140 h 1504250"/>
                <a:gd name="connsiteX1585" fmla="*/ 630448 w 2516810"/>
                <a:gd name="connsiteY1585" fmla="*/ 1080732 h 1504250"/>
                <a:gd name="connsiteX1586" fmla="*/ 631644 w 2516810"/>
                <a:gd name="connsiteY1586" fmla="*/ 1082523 h 1504250"/>
                <a:gd name="connsiteX1587" fmla="*/ 631644 w 2516810"/>
                <a:gd name="connsiteY1587" fmla="*/ 1083418 h 1504250"/>
                <a:gd name="connsiteX1588" fmla="*/ 631644 w 2516810"/>
                <a:gd name="connsiteY1588" fmla="*/ 1084413 h 1504250"/>
                <a:gd name="connsiteX1589" fmla="*/ 629950 w 2516810"/>
                <a:gd name="connsiteY1589" fmla="*/ 1085508 h 1504250"/>
                <a:gd name="connsiteX1590" fmla="*/ 629950 w 2516810"/>
                <a:gd name="connsiteY1590" fmla="*/ 1086204 h 1504250"/>
                <a:gd name="connsiteX1591" fmla="*/ 629950 w 2516810"/>
                <a:gd name="connsiteY1591" fmla="*/ 1087298 h 1504250"/>
                <a:gd name="connsiteX1592" fmla="*/ 629950 w 2516810"/>
                <a:gd name="connsiteY1592" fmla="*/ 1087895 h 1504250"/>
                <a:gd name="connsiteX1593" fmla="*/ 629950 w 2516810"/>
                <a:gd name="connsiteY1593" fmla="*/ 1088492 h 1504250"/>
                <a:gd name="connsiteX1594" fmla="*/ 630747 w 2516810"/>
                <a:gd name="connsiteY1594" fmla="*/ 1091477 h 1504250"/>
                <a:gd name="connsiteX1595" fmla="*/ 630050 w 2516810"/>
                <a:gd name="connsiteY1595" fmla="*/ 1092571 h 1504250"/>
                <a:gd name="connsiteX1596" fmla="*/ 627857 w 2516810"/>
                <a:gd name="connsiteY1596" fmla="*/ 1094561 h 1504250"/>
                <a:gd name="connsiteX1597" fmla="*/ 626462 w 2516810"/>
                <a:gd name="connsiteY1597" fmla="*/ 1095257 h 1504250"/>
                <a:gd name="connsiteX1598" fmla="*/ 627459 w 2516810"/>
                <a:gd name="connsiteY1598" fmla="*/ 1097545 h 1504250"/>
                <a:gd name="connsiteX1599" fmla="*/ 628156 w 2516810"/>
                <a:gd name="connsiteY1599" fmla="*/ 1097545 h 1504250"/>
                <a:gd name="connsiteX1600" fmla="*/ 629053 w 2516810"/>
                <a:gd name="connsiteY1600" fmla="*/ 1097545 h 1504250"/>
                <a:gd name="connsiteX1601" fmla="*/ 629850 w 2516810"/>
                <a:gd name="connsiteY1601" fmla="*/ 1098441 h 1504250"/>
                <a:gd name="connsiteX1602" fmla="*/ 629850 w 2516810"/>
                <a:gd name="connsiteY1602" fmla="*/ 1099834 h 1504250"/>
                <a:gd name="connsiteX1603" fmla="*/ 629850 w 2516810"/>
                <a:gd name="connsiteY1603" fmla="*/ 1104012 h 1504250"/>
                <a:gd name="connsiteX1604" fmla="*/ 629850 w 2516810"/>
                <a:gd name="connsiteY1604" fmla="*/ 1106499 h 1504250"/>
                <a:gd name="connsiteX1605" fmla="*/ 630648 w 2516810"/>
                <a:gd name="connsiteY1605" fmla="*/ 1108390 h 1504250"/>
                <a:gd name="connsiteX1606" fmla="*/ 631943 w 2516810"/>
                <a:gd name="connsiteY1606" fmla="*/ 1109981 h 1504250"/>
                <a:gd name="connsiteX1607" fmla="*/ 633736 w 2516810"/>
                <a:gd name="connsiteY1607" fmla="*/ 1111374 h 1504250"/>
                <a:gd name="connsiteX1608" fmla="*/ 636327 w 2516810"/>
                <a:gd name="connsiteY1608" fmla="*/ 1111374 h 1504250"/>
                <a:gd name="connsiteX1609" fmla="*/ 635729 w 2516810"/>
                <a:gd name="connsiteY1609" fmla="*/ 1109782 h 1504250"/>
                <a:gd name="connsiteX1610" fmla="*/ 635729 w 2516810"/>
                <a:gd name="connsiteY1610" fmla="*/ 1106897 h 1504250"/>
                <a:gd name="connsiteX1611" fmla="*/ 635032 w 2516810"/>
                <a:gd name="connsiteY1611" fmla="*/ 1102619 h 1504250"/>
                <a:gd name="connsiteX1612" fmla="*/ 635032 w 2516810"/>
                <a:gd name="connsiteY1612" fmla="*/ 1100829 h 1504250"/>
                <a:gd name="connsiteX1613" fmla="*/ 637025 w 2516810"/>
                <a:gd name="connsiteY1613" fmla="*/ 1099436 h 1504250"/>
                <a:gd name="connsiteX1614" fmla="*/ 637722 w 2516810"/>
                <a:gd name="connsiteY1614" fmla="*/ 1100928 h 1504250"/>
                <a:gd name="connsiteX1615" fmla="*/ 637722 w 2516810"/>
                <a:gd name="connsiteY1615" fmla="*/ 1102221 h 1504250"/>
                <a:gd name="connsiteX1616" fmla="*/ 637124 w 2516810"/>
                <a:gd name="connsiteY1616" fmla="*/ 1103316 h 1504250"/>
                <a:gd name="connsiteX1617" fmla="*/ 636028 w 2516810"/>
                <a:gd name="connsiteY1617" fmla="*/ 1104211 h 1504250"/>
                <a:gd name="connsiteX1618" fmla="*/ 638220 w 2516810"/>
                <a:gd name="connsiteY1618" fmla="*/ 1111076 h 1504250"/>
                <a:gd name="connsiteX1619" fmla="*/ 639914 w 2516810"/>
                <a:gd name="connsiteY1619" fmla="*/ 1113265 h 1504250"/>
                <a:gd name="connsiteX1620" fmla="*/ 642107 w 2516810"/>
                <a:gd name="connsiteY1620" fmla="*/ 1110777 h 1504250"/>
                <a:gd name="connsiteX1621" fmla="*/ 642704 w 2516810"/>
                <a:gd name="connsiteY1621" fmla="*/ 1112071 h 1504250"/>
                <a:gd name="connsiteX1622" fmla="*/ 643502 w 2516810"/>
                <a:gd name="connsiteY1622" fmla="*/ 1112767 h 1504250"/>
                <a:gd name="connsiteX1623" fmla="*/ 644498 w 2516810"/>
                <a:gd name="connsiteY1623" fmla="*/ 1112767 h 1504250"/>
                <a:gd name="connsiteX1624" fmla="*/ 645594 w 2516810"/>
                <a:gd name="connsiteY1624" fmla="*/ 1112270 h 1504250"/>
                <a:gd name="connsiteX1625" fmla="*/ 644897 w 2516810"/>
                <a:gd name="connsiteY1625" fmla="*/ 1111673 h 1504250"/>
                <a:gd name="connsiteX1626" fmla="*/ 643601 w 2516810"/>
                <a:gd name="connsiteY1626" fmla="*/ 1110081 h 1504250"/>
                <a:gd name="connsiteX1627" fmla="*/ 642904 w 2516810"/>
                <a:gd name="connsiteY1627" fmla="*/ 1109484 h 1504250"/>
                <a:gd name="connsiteX1628" fmla="*/ 644897 w 2516810"/>
                <a:gd name="connsiteY1628" fmla="*/ 1107992 h 1504250"/>
                <a:gd name="connsiteX1629" fmla="*/ 645594 w 2516810"/>
                <a:gd name="connsiteY1629" fmla="*/ 1107992 h 1504250"/>
                <a:gd name="connsiteX1630" fmla="*/ 643003 w 2516810"/>
                <a:gd name="connsiteY1630" fmla="*/ 1105405 h 1504250"/>
                <a:gd name="connsiteX1631" fmla="*/ 641907 w 2516810"/>
                <a:gd name="connsiteY1631" fmla="*/ 1102321 h 1504250"/>
                <a:gd name="connsiteX1632" fmla="*/ 641409 w 2516810"/>
                <a:gd name="connsiteY1632" fmla="*/ 1098739 h 1504250"/>
                <a:gd name="connsiteX1633" fmla="*/ 640413 w 2516810"/>
                <a:gd name="connsiteY1633" fmla="*/ 1094760 h 1504250"/>
                <a:gd name="connsiteX1634" fmla="*/ 642007 w 2516810"/>
                <a:gd name="connsiteY1634" fmla="*/ 1095954 h 1504250"/>
                <a:gd name="connsiteX1635" fmla="*/ 643302 w 2516810"/>
                <a:gd name="connsiteY1635" fmla="*/ 1098540 h 1504250"/>
                <a:gd name="connsiteX1636" fmla="*/ 644299 w 2516810"/>
                <a:gd name="connsiteY1636" fmla="*/ 1101426 h 1504250"/>
                <a:gd name="connsiteX1637" fmla="*/ 644299 w 2516810"/>
                <a:gd name="connsiteY1637" fmla="*/ 1103714 h 1504250"/>
                <a:gd name="connsiteX1638" fmla="*/ 645096 w 2516810"/>
                <a:gd name="connsiteY1638" fmla="*/ 1105703 h 1504250"/>
                <a:gd name="connsiteX1639" fmla="*/ 646989 w 2516810"/>
                <a:gd name="connsiteY1639" fmla="*/ 1108390 h 1504250"/>
                <a:gd name="connsiteX1640" fmla="*/ 649480 w 2516810"/>
                <a:gd name="connsiteY1640" fmla="*/ 1110976 h 1504250"/>
                <a:gd name="connsiteX1641" fmla="*/ 651971 w 2516810"/>
                <a:gd name="connsiteY1641" fmla="*/ 1112668 h 1504250"/>
                <a:gd name="connsiteX1642" fmla="*/ 651971 w 2516810"/>
                <a:gd name="connsiteY1642" fmla="*/ 1113662 h 1504250"/>
                <a:gd name="connsiteX1643" fmla="*/ 651473 w 2516810"/>
                <a:gd name="connsiteY1643" fmla="*/ 1113662 h 1504250"/>
                <a:gd name="connsiteX1644" fmla="*/ 648683 w 2516810"/>
                <a:gd name="connsiteY1644" fmla="*/ 1111673 h 1504250"/>
                <a:gd name="connsiteX1645" fmla="*/ 648683 w 2516810"/>
                <a:gd name="connsiteY1645" fmla="*/ 1112170 h 1504250"/>
                <a:gd name="connsiteX1646" fmla="*/ 650277 w 2516810"/>
                <a:gd name="connsiteY1646" fmla="*/ 1114160 h 1504250"/>
                <a:gd name="connsiteX1647" fmla="*/ 653167 w 2516810"/>
                <a:gd name="connsiteY1647" fmla="*/ 1116349 h 1504250"/>
                <a:gd name="connsiteX1648" fmla="*/ 655658 w 2516810"/>
                <a:gd name="connsiteY1648" fmla="*/ 1119731 h 1504250"/>
                <a:gd name="connsiteX1649" fmla="*/ 658149 w 2516810"/>
                <a:gd name="connsiteY1649" fmla="*/ 1122517 h 1504250"/>
                <a:gd name="connsiteX1650" fmla="*/ 660341 w 2516810"/>
                <a:gd name="connsiteY1650" fmla="*/ 1124606 h 1504250"/>
                <a:gd name="connsiteX1651" fmla="*/ 662135 w 2516810"/>
                <a:gd name="connsiteY1651" fmla="*/ 1128983 h 1504250"/>
                <a:gd name="connsiteX1652" fmla="*/ 664626 w 2516810"/>
                <a:gd name="connsiteY1652" fmla="*/ 1136047 h 1504250"/>
                <a:gd name="connsiteX1653" fmla="*/ 664626 w 2516810"/>
                <a:gd name="connsiteY1653" fmla="*/ 1139430 h 1504250"/>
                <a:gd name="connsiteX1654" fmla="*/ 664626 w 2516810"/>
                <a:gd name="connsiteY1654" fmla="*/ 1141021 h 1504250"/>
                <a:gd name="connsiteX1655" fmla="*/ 664626 w 2516810"/>
                <a:gd name="connsiteY1655" fmla="*/ 1143409 h 1504250"/>
                <a:gd name="connsiteX1656" fmla="*/ 665523 w 2516810"/>
                <a:gd name="connsiteY1656" fmla="*/ 1144802 h 1504250"/>
                <a:gd name="connsiteX1657" fmla="*/ 666918 w 2516810"/>
                <a:gd name="connsiteY1657" fmla="*/ 1143907 h 1504250"/>
                <a:gd name="connsiteX1658" fmla="*/ 668114 w 2516810"/>
                <a:gd name="connsiteY1658" fmla="*/ 1143210 h 1504250"/>
                <a:gd name="connsiteX1659" fmla="*/ 669509 w 2516810"/>
                <a:gd name="connsiteY1659" fmla="*/ 1143907 h 1504250"/>
                <a:gd name="connsiteX1660" fmla="*/ 671900 w 2516810"/>
                <a:gd name="connsiteY1660" fmla="*/ 1143907 h 1504250"/>
                <a:gd name="connsiteX1661" fmla="*/ 669309 w 2516810"/>
                <a:gd name="connsiteY1661" fmla="*/ 1142215 h 1504250"/>
                <a:gd name="connsiteX1662" fmla="*/ 666719 w 2516810"/>
                <a:gd name="connsiteY1662" fmla="*/ 1139629 h 1504250"/>
                <a:gd name="connsiteX1663" fmla="*/ 668612 w 2516810"/>
                <a:gd name="connsiteY1663" fmla="*/ 1140226 h 1504250"/>
                <a:gd name="connsiteX1664" fmla="*/ 671501 w 2516810"/>
                <a:gd name="connsiteY1664" fmla="*/ 1140226 h 1504250"/>
                <a:gd name="connsiteX1665" fmla="*/ 673594 w 2516810"/>
                <a:gd name="connsiteY1665" fmla="*/ 1140226 h 1504250"/>
                <a:gd name="connsiteX1666" fmla="*/ 674989 w 2516810"/>
                <a:gd name="connsiteY1666" fmla="*/ 1139629 h 1504250"/>
                <a:gd name="connsiteX1667" fmla="*/ 676484 w 2516810"/>
                <a:gd name="connsiteY1667" fmla="*/ 1140624 h 1504250"/>
                <a:gd name="connsiteX1668" fmla="*/ 679872 w 2516810"/>
                <a:gd name="connsiteY1668" fmla="*/ 1141121 h 1504250"/>
                <a:gd name="connsiteX1669" fmla="*/ 681466 w 2516810"/>
                <a:gd name="connsiteY1669" fmla="*/ 1138236 h 1504250"/>
                <a:gd name="connsiteX1670" fmla="*/ 680270 w 2516810"/>
                <a:gd name="connsiteY1670" fmla="*/ 1136246 h 1504250"/>
                <a:gd name="connsiteX1671" fmla="*/ 680270 w 2516810"/>
                <a:gd name="connsiteY1671" fmla="*/ 1136147 h 1504250"/>
                <a:gd name="connsiteX1672" fmla="*/ 682363 w 2516810"/>
                <a:gd name="connsiteY1672" fmla="*/ 1136147 h 1504250"/>
                <a:gd name="connsiteX1673" fmla="*/ 683758 w 2516810"/>
                <a:gd name="connsiteY1673" fmla="*/ 1137440 h 1504250"/>
                <a:gd name="connsiteX1674" fmla="*/ 686349 w 2516810"/>
                <a:gd name="connsiteY1674" fmla="*/ 1139330 h 1504250"/>
                <a:gd name="connsiteX1675" fmla="*/ 687943 w 2516810"/>
                <a:gd name="connsiteY1675" fmla="*/ 1141419 h 1504250"/>
                <a:gd name="connsiteX1676" fmla="*/ 686548 w 2516810"/>
                <a:gd name="connsiteY1676" fmla="*/ 1141419 h 1504250"/>
                <a:gd name="connsiteX1677" fmla="*/ 685551 w 2516810"/>
                <a:gd name="connsiteY1677" fmla="*/ 1140823 h 1504250"/>
                <a:gd name="connsiteX1678" fmla="*/ 686149 w 2516810"/>
                <a:gd name="connsiteY1678" fmla="*/ 1142315 h 1504250"/>
                <a:gd name="connsiteX1679" fmla="*/ 688640 w 2516810"/>
                <a:gd name="connsiteY1679" fmla="*/ 1146792 h 1504250"/>
                <a:gd name="connsiteX1680" fmla="*/ 689836 w 2516810"/>
                <a:gd name="connsiteY1680" fmla="*/ 1151667 h 1504250"/>
                <a:gd name="connsiteX1681" fmla="*/ 692825 w 2516810"/>
                <a:gd name="connsiteY1681" fmla="*/ 1155945 h 1504250"/>
                <a:gd name="connsiteX1682" fmla="*/ 696711 w 2516810"/>
                <a:gd name="connsiteY1682" fmla="*/ 1159029 h 1504250"/>
                <a:gd name="connsiteX1683" fmla="*/ 699701 w 2516810"/>
                <a:gd name="connsiteY1683" fmla="*/ 1159029 h 1504250"/>
                <a:gd name="connsiteX1684" fmla="*/ 702092 w 2516810"/>
                <a:gd name="connsiteY1684" fmla="*/ 1160521 h 1504250"/>
                <a:gd name="connsiteX1685" fmla="*/ 706576 w 2516810"/>
                <a:gd name="connsiteY1685" fmla="*/ 1164699 h 1504250"/>
                <a:gd name="connsiteX1686" fmla="*/ 707672 w 2516810"/>
                <a:gd name="connsiteY1686" fmla="*/ 1167386 h 1504250"/>
                <a:gd name="connsiteX1687" fmla="*/ 709865 w 2516810"/>
                <a:gd name="connsiteY1687" fmla="*/ 1168878 h 1504250"/>
                <a:gd name="connsiteX1688" fmla="*/ 711857 w 2516810"/>
                <a:gd name="connsiteY1688" fmla="*/ 1169475 h 1504250"/>
                <a:gd name="connsiteX1689" fmla="*/ 715943 w 2516810"/>
                <a:gd name="connsiteY1689" fmla="*/ 1171365 h 1504250"/>
                <a:gd name="connsiteX1690" fmla="*/ 720726 w 2516810"/>
                <a:gd name="connsiteY1690" fmla="*/ 1174051 h 1504250"/>
                <a:gd name="connsiteX1691" fmla="*/ 722619 w 2516810"/>
                <a:gd name="connsiteY1691" fmla="*/ 1176140 h 1504250"/>
                <a:gd name="connsiteX1692" fmla="*/ 712655 w 2516810"/>
                <a:gd name="connsiteY1692" fmla="*/ 1171067 h 1504250"/>
                <a:gd name="connsiteX1693" fmla="*/ 711160 w 2516810"/>
                <a:gd name="connsiteY1693" fmla="*/ 1171067 h 1504250"/>
                <a:gd name="connsiteX1694" fmla="*/ 711758 w 2516810"/>
                <a:gd name="connsiteY1694" fmla="*/ 1171763 h 1504250"/>
                <a:gd name="connsiteX1695" fmla="*/ 732484 w 2516810"/>
                <a:gd name="connsiteY1695" fmla="*/ 1182906 h 1504250"/>
                <a:gd name="connsiteX1696" fmla="*/ 739160 w 2516810"/>
                <a:gd name="connsiteY1696" fmla="*/ 1186388 h 1504250"/>
                <a:gd name="connsiteX1697" fmla="*/ 745836 w 2516810"/>
                <a:gd name="connsiteY1697" fmla="*/ 1191362 h 1504250"/>
                <a:gd name="connsiteX1698" fmla="*/ 750320 w 2516810"/>
                <a:gd name="connsiteY1698" fmla="*/ 1193750 h 1504250"/>
                <a:gd name="connsiteX1699" fmla="*/ 754206 w 2516810"/>
                <a:gd name="connsiteY1699" fmla="*/ 1195939 h 1504250"/>
                <a:gd name="connsiteX1700" fmla="*/ 757395 w 2516810"/>
                <a:gd name="connsiteY1700" fmla="*/ 1198227 h 1504250"/>
                <a:gd name="connsiteX1701" fmla="*/ 762775 w 2516810"/>
                <a:gd name="connsiteY1701" fmla="*/ 1201808 h 1504250"/>
                <a:gd name="connsiteX1702" fmla="*/ 765765 w 2516810"/>
                <a:gd name="connsiteY1702" fmla="*/ 1204395 h 1504250"/>
                <a:gd name="connsiteX1703" fmla="*/ 766562 w 2516810"/>
                <a:gd name="connsiteY1703" fmla="*/ 1206285 h 1504250"/>
                <a:gd name="connsiteX1704" fmla="*/ 769352 w 2516810"/>
                <a:gd name="connsiteY1704" fmla="*/ 1208275 h 1504250"/>
                <a:gd name="connsiteX1705" fmla="*/ 773637 w 2516810"/>
                <a:gd name="connsiteY1705" fmla="*/ 1211856 h 1504250"/>
                <a:gd name="connsiteX1706" fmla="*/ 776427 w 2516810"/>
                <a:gd name="connsiteY1706" fmla="*/ 1214045 h 1504250"/>
                <a:gd name="connsiteX1707" fmla="*/ 781110 w 2516810"/>
                <a:gd name="connsiteY1707" fmla="*/ 1219219 h 1504250"/>
                <a:gd name="connsiteX1708" fmla="*/ 782505 w 2516810"/>
                <a:gd name="connsiteY1708" fmla="*/ 1220611 h 1504250"/>
                <a:gd name="connsiteX1709" fmla="*/ 782505 w 2516810"/>
                <a:gd name="connsiteY1709" fmla="*/ 1222402 h 1504250"/>
                <a:gd name="connsiteX1710" fmla="*/ 783900 w 2516810"/>
                <a:gd name="connsiteY1710" fmla="*/ 1222402 h 1504250"/>
                <a:gd name="connsiteX1711" fmla="*/ 786192 w 2516810"/>
                <a:gd name="connsiteY1711" fmla="*/ 1223994 h 1504250"/>
                <a:gd name="connsiteX1712" fmla="*/ 790676 w 2516810"/>
                <a:gd name="connsiteY1712" fmla="*/ 1228272 h 1504250"/>
                <a:gd name="connsiteX1713" fmla="*/ 798548 w 2516810"/>
                <a:gd name="connsiteY1713" fmla="*/ 1238221 h 1504250"/>
                <a:gd name="connsiteX1714" fmla="*/ 811900 w 2516810"/>
                <a:gd name="connsiteY1714" fmla="*/ 1252547 h 1504250"/>
                <a:gd name="connsiteX1715" fmla="*/ 820768 w 2516810"/>
                <a:gd name="connsiteY1715" fmla="*/ 1259710 h 1504250"/>
                <a:gd name="connsiteX1716" fmla="*/ 827445 w 2516810"/>
                <a:gd name="connsiteY1716" fmla="*/ 1262794 h 1504250"/>
                <a:gd name="connsiteX1717" fmla="*/ 842590 w 2516810"/>
                <a:gd name="connsiteY1717" fmla="*/ 1269559 h 1504250"/>
                <a:gd name="connsiteX1718" fmla="*/ 848868 w 2516810"/>
                <a:gd name="connsiteY1718" fmla="*/ 1273340 h 1504250"/>
                <a:gd name="connsiteX1719" fmla="*/ 854747 w 2516810"/>
                <a:gd name="connsiteY1719" fmla="*/ 1278812 h 1504250"/>
                <a:gd name="connsiteX1720" fmla="*/ 858434 w 2516810"/>
                <a:gd name="connsiteY1720" fmla="*/ 1285975 h 1504250"/>
                <a:gd name="connsiteX1721" fmla="*/ 859829 w 2516810"/>
                <a:gd name="connsiteY1721" fmla="*/ 1287268 h 1504250"/>
                <a:gd name="connsiteX1722" fmla="*/ 863914 w 2516810"/>
                <a:gd name="connsiteY1722" fmla="*/ 1294431 h 1504250"/>
                <a:gd name="connsiteX1723" fmla="*/ 864612 w 2516810"/>
                <a:gd name="connsiteY1723" fmla="*/ 1297018 h 1504250"/>
                <a:gd name="connsiteX1724" fmla="*/ 866306 w 2516810"/>
                <a:gd name="connsiteY1724" fmla="*/ 1298809 h 1504250"/>
                <a:gd name="connsiteX1725" fmla="*/ 867103 w 2516810"/>
                <a:gd name="connsiteY1725" fmla="*/ 1300898 h 1504250"/>
                <a:gd name="connsiteX1726" fmla="*/ 870092 w 2516810"/>
                <a:gd name="connsiteY1726" fmla="*/ 1306071 h 1504250"/>
                <a:gd name="connsiteX1727" fmla="*/ 870989 w 2516810"/>
                <a:gd name="connsiteY1727" fmla="*/ 1307464 h 1504250"/>
                <a:gd name="connsiteX1728" fmla="*/ 872384 w 2516810"/>
                <a:gd name="connsiteY1728" fmla="*/ 1308658 h 1504250"/>
                <a:gd name="connsiteX1729" fmla="*/ 873281 w 2516810"/>
                <a:gd name="connsiteY1729" fmla="*/ 1312637 h 1504250"/>
                <a:gd name="connsiteX1730" fmla="*/ 874377 w 2516810"/>
                <a:gd name="connsiteY1730" fmla="*/ 1321591 h 1504250"/>
                <a:gd name="connsiteX1731" fmla="*/ 879957 w 2516810"/>
                <a:gd name="connsiteY1731" fmla="*/ 1341986 h 1504250"/>
                <a:gd name="connsiteX1732" fmla="*/ 879957 w 2516810"/>
                <a:gd name="connsiteY1732" fmla="*/ 1345767 h 1504250"/>
                <a:gd name="connsiteX1733" fmla="*/ 881053 w 2516810"/>
                <a:gd name="connsiteY1733" fmla="*/ 1349846 h 1504250"/>
                <a:gd name="connsiteX1734" fmla="*/ 882049 w 2516810"/>
                <a:gd name="connsiteY1734" fmla="*/ 1350741 h 1504250"/>
                <a:gd name="connsiteX1735" fmla="*/ 883046 w 2516810"/>
                <a:gd name="connsiteY1735" fmla="*/ 1353626 h 1504250"/>
                <a:gd name="connsiteX1736" fmla="*/ 883046 w 2516810"/>
                <a:gd name="connsiteY1736" fmla="*/ 1354919 h 1504250"/>
                <a:gd name="connsiteX1737" fmla="*/ 885437 w 2516810"/>
                <a:gd name="connsiteY1737" fmla="*/ 1358899 h 1504250"/>
                <a:gd name="connsiteX1738" fmla="*/ 887530 w 2516810"/>
                <a:gd name="connsiteY1738" fmla="*/ 1361486 h 1504250"/>
                <a:gd name="connsiteX1739" fmla="*/ 889523 w 2516810"/>
                <a:gd name="connsiteY1739" fmla="*/ 1363674 h 1504250"/>
                <a:gd name="connsiteX1740" fmla="*/ 893010 w 2516810"/>
                <a:gd name="connsiteY1740" fmla="*/ 1366560 h 1504250"/>
                <a:gd name="connsiteX1741" fmla="*/ 895701 w 2516810"/>
                <a:gd name="connsiteY1741" fmla="*/ 1368350 h 1504250"/>
                <a:gd name="connsiteX1742" fmla="*/ 897295 w 2516810"/>
                <a:gd name="connsiteY1742" fmla="*/ 1368848 h 1504250"/>
                <a:gd name="connsiteX1743" fmla="*/ 898690 w 2516810"/>
                <a:gd name="connsiteY1743" fmla="*/ 1369644 h 1504250"/>
                <a:gd name="connsiteX1744" fmla="*/ 901181 w 2516810"/>
                <a:gd name="connsiteY1744" fmla="*/ 1369644 h 1504250"/>
                <a:gd name="connsiteX1745" fmla="*/ 906163 w 2516810"/>
                <a:gd name="connsiteY1745" fmla="*/ 1369644 h 1504250"/>
                <a:gd name="connsiteX1746" fmla="*/ 905167 w 2516810"/>
                <a:gd name="connsiteY1746" fmla="*/ 1368649 h 1504250"/>
                <a:gd name="connsiteX1747" fmla="*/ 905167 w 2516810"/>
                <a:gd name="connsiteY1747" fmla="*/ 1367554 h 1504250"/>
                <a:gd name="connsiteX1748" fmla="*/ 907259 w 2516810"/>
                <a:gd name="connsiteY1748" fmla="*/ 1366560 h 1504250"/>
                <a:gd name="connsiteX1749" fmla="*/ 910548 w 2516810"/>
                <a:gd name="connsiteY1749" fmla="*/ 1366560 h 1504250"/>
                <a:gd name="connsiteX1750" fmla="*/ 911544 w 2516810"/>
                <a:gd name="connsiteY1750" fmla="*/ 1366560 h 1504250"/>
                <a:gd name="connsiteX1751" fmla="*/ 913338 w 2516810"/>
                <a:gd name="connsiteY1751" fmla="*/ 1365167 h 1504250"/>
                <a:gd name="connsiteX1752" fmla="*/ 914932 w 2516810"/>
                <a:gd name="connsiteY1752" fmla="*/ 1363873 h 1504250"/>
                <a:gd name="connsiteX1753" fmla="*/ 917224 w 2516810"/>
                <a:gd name="connsiteY1753" fmla="*/ 1361685 h 1504250"/>
                <a:gd name="connsiteX1754" fmla="*/ 917224 w 2516810"/>
                <a:gd name="connsiteY1754" fmla="*/ 1358899 h 1504250"/>
                <a:gd name="connsiteX1755" fmla="*/ 922904 w 2516810"/>
                <a:gd name="connsiteY1755" fmla="*/ 1355119 h 1504250"/>
                <a:gd name="connsiteX1756" fmla="*/ 926291 w 2516810"/>
                <a:gd name="connsiteY1756" fmla="*/ 1355119 h 1504250"/>
                <a:gd name="connsiteX1757" fmla="*/ 928683 w 2516810"/>
                <a:gd name="connsiteY1757" fmla="*/ 1352333 h 1504250"/>
                <a:gd name="connsiteX1758" fmla="*/ 928085 w 2516810"/>
                <a:gd name="connsiteY1758" fmla="*/ 1351139 h 1504250"/>
                <a:gd name="connsiteX1759" fmla="*/ 928583 w 2516810"/>
                <a:gd name="connsiteY1759" fmla="*/ 1349149 h 1504250"/>
                <a:gd name="connsiteX1760" fmla="*/ 930975 w 2516810"/>
                <a:gd name="connsiteY1760" fmla="*/ 1347856 h 1504250"/>
                <a:gd name="connsiteX1761" fmla="*/ 933765 w 2516810"/>
                <a:gd name="connsiteY1761" fmla="*/ 1345767 h 1504250"/>
                <a:gd name="connsiteX1762" fmla="*/ 939444 w 2516810"/>
                <a:gd name="connsiteY1762" fmla="*/ 1343677 h 1504250"/>
                <a:gd name="connsiteX1763" fmla="*/ 941936 w 2516810"/>
                <a:gd name="connsiteY1763" fmla="*/ 1342384 h 1504250"/>
                <a:gd name="connsiteX1764" fmla="*/ 945722 w 2516810"/>
                <a:gd name="connsiteY1764" fmla="*/ 1342384 h 1504250"/>
                <a:gd name="connsiteX1765" fmla="*/ 947117 w 2516810"/>
                <a:gd name="connsiteY1765" fmla="*/ 1340593 h 1504250"/>
                <a:gd name="connsiteX1766" fmla="*/ 951501 w 2516810"/>
                <a:gd name="connsiteY1766" fmla="*/ 1338802 h 1504250"/>
                <a:gd name="connsiteX1767" fmla="*/ 952199 w 2516810"/>
                <a:gd name="connsiteY1767" fmla="*/ 1336912 h 1504250"/>
                <a:gd name="connsiteX1768" fmla="*/ 953395 w 2516810"/>
                <a:gd name="connsiteY1768" fmla="*/ 1336415 h 1504250"/>
                <a:gd name="connsiteX1769" fmla="*/ 954889 w 2516810"/>
                <a:gd name="connsiteY1769" fmla="*/ 1333828 h 1504250"/>
                <a:gd name="connsiteX1770" fmla="*/ 956185 w 2516810"/>
                <a:gd name="connsiteY1770" fmla="*/ 1332833 h 1504250"/>
                <a:gd name="connsiteX1771" fmla="*/ 958576 w 2516810"/>
                <a:gd name="connsiteY1771" fmla="*/ 1329351 h 1504250"/>
                <a:gd name="connsiteX1772" fmla="*/ 960170 w 2516810"/>
                <a:gd name="connsiteY1772" fmla="*/ 1327063 h 1504250"/>
                <a:gd name="connsiteX1773" fmla="*/ 961267 w 2516810"/>
                <a:gd name="connsiteY1773" fmla="*/ 1326068 h 1504250"/>
                <a:gd name="connsiteX1774" fmla="*/ 961267 w 2516810"/>
                <a:gd name="connsiteY1774" fmla="*/ 1324476 h 1504250"/>
                <a:gd name="connsiteX1775" fmla="*/ 962462 w 2516810"/>
                <a:gd name="connsiteY1775" fmla="*/ 1322188 h 1504250"/>
                <a:gd name="connsiteX1776" fmla="*/ 963060 w 2516810"/>
                <a:gd name="connsiteY1776" fmla="*/ 1320795 h 1504250"/>
                <a:gd name="connsiteX1777" fmla="*/ 963060 w 2516810"/>
                <a:gd name="connsiteY1777" fmla="*/ 1319502 h 1504250"/>
                <a:gd name="connsiteX1778" fmla="*/ 963060 w 2516810"/>
                <a:gd name="connsiteY1778" fmla="*/ 1316617 h 1504250"/>
                <a:gd name="connsiteX1779" fmla="*/ 963060 w 2516810"/>
                <a:gd name="connsiteY1779" fmla="*/ 1315224 h 1504250"/>
                <a:gd name="connsiteX1780" fmla="*/ 963060 w 2516810"/>
                <a:gd name="connsiteY1780" fmla="*/ 1315224 h 1504250"/>
                <a:gd name="connsiteX1781" fmla="*/ 964156 w 2516810"/>
                <a:gd name="connsiteY1781" fmla="*/ 1313533 h 1504250"/>
                <a:gd name="connsiteX1782" fmla="*/ 964156 w 2516810"/>
                <a:gd name="connsiteY1782" fmla="*/ 1311443 h 1504250"/>
                <a:gd name="connsiteX1783" fmla="*/ 964156 w 2516810"/>
                <a:gd name="connsiteY1783" fmla="*/ 1308359 h 1504250"/>
                <a:gd name="connsiteX1784" fmla="*/ 964156 w 2516810"/>
                <a:gd name="connsiteY1784" fmla="*/ 1306867 h 1504250"/>
                <a:gd name="connsiteX1785" fmla="*/ 964156 w 2516810"/>
                <a:gd name="connsiteY1785" fmla="*/ 1304479 h 1504250"/>
                <a:gd name="connsiteX1786" fmla="*/ 964156 w 2516810"/>
                <a:gd name="connsiteY1786" fmla="*/ 1302987 h 1504250"/>
                <a:gd name="connsiteX1787" fmla="*/ 965651 w 2516810"/>
                <a:gd name="connsiteY1787" fmla="*/ 1302092 h 1504250"/>
                <a:gd name="connsiteX1788" fmla="*/ 965651 w 2516810"/>
                <a:gd name="connsiteY1788" fmla="*/ 1300699 h 1504250"/>
                <a:gd name="connsiteX1789" fmla="*/ 965651 w 2516810"/>
                <a:gd name="connsiteY1789" fmla="*/ 1298709 h 1504250"/>
                <a:gd name="connsiteX1790" fmla="*/ 964057 w 2516810"/>
                <a:gd name="connsiteY1790" fmla="*/ 1298212 h 1504250"/>
                <a:gd name="connsiteX1791" fmla="*/ 964057 w 2516810"/>
                <a:gd name="connsiteY1791" fmla="*/ 1296421 h 1504250"/>
                <a:gd name="connsiteX1792" fmla="*/ 964655 w 2516810"/>
                <a:gd name="connsiteY1792" fmla="*/ 1294133 h 1504250"/>
                <a:gd name="connsiteX1793" fmla="*/ 964655 w 2516810"/>
                <a:gd name="connsiteY1793" fmla="*/ 1291546 h 1504250"/>
                <a:gd name="connsiteX1794" fmla="*/ 962462 w 2516810"/>
                <a:gd name="connsiteY1794" fmla="*/ 1289357 h 1504250"/>
                <a:gd name="connsiteX1795" fmla="*/ 959373 w 2516810"/>
                <a:gd name="connsiteY1795" fmla="*/ 1285378 h 1504250"/>
                <a:gd name="connsiteX1796" fmla="*/ 958177 w 2516810"/>
                <a:gd name="connsiteY1796" fmla="*/ 1282493 h 1504250"/>
                <a:gd name="connsiteX1797" fmla="*/ 958177 w 2516810"/>
                <a:gd name="connsiteY1797" fmla="*/ 1280602 h 1504250"/>
                <a:gd name="connsiteX1798" fmla="*/ 959274 w 2516810"/>
                <a:gd name="connsiteY1798" fmla="*/ 1279408 h 1504250"/>
                <a:gd name="connsiteX1799" fmla="*/ 959274 w 2516810"/>
                <a:gd name="connsiteY1799" fmla="*/ 1278414 h 1504250"/>
                <a:gd name="connsiteX1800" fmla="*/ 958277 w 2516810"/>
                <a:gd name="connsiteY1800" fmla="*/ 1277717 h 1504250"/>
                <a:gd name="connsiteX1801" fmla="*/ 959573 w 2516810"/>
                <a:gd name="connsiteY1801" fmla="*/ 1275429 h 1504250"/>
                <a:gd name="connsiteX1802" fmla="*/ 957679 w 2516810"/>
                <a:gd name="connsiteY1802" fmla="*/ 1274534 h 1504250"/>
                <a:gd name="connsiteX1803" fmla="*/ 957679 w 2516810"/>
                <a:gd name="connsiteY1803" fmla="*/ 1272942 h 1504250"/>
                <a:gd name="connsiteX1804" fmla="*/ 956783 w 2516810"/>
                <a:gd name="connsiteY1804" fmla="*/ 1272146 h 1504250"/>
                <a:gd name="connsiteX1805" fmla="*/ 954690 w 2516810"/>
                <a:gd name="connsiteY1805" fmla="*/ 1271648 h 1504250"/>
                <a:gd name="connsiteX1806" fmla="*/ 951501 w 2516810"/>
                <a:gd name="connsiteY1806" fmla="*/ 1270952 h 1504250"/>
                <a:gd name="connsiteX1807" fmla="*/ 950106 w 2516810"/>
                <a:gd name="connsiteY1807" fmla="*/ 1270355 h 1504250"/>
                <a:gd name="connsiteX1808" fmla="*/ 949110 w 2516810"/>
                <a:gd name="connsiteY1808" fmla="*/ 1269261 h 1504250"/>
                <a:gd name="connsiteX1809" fmla="*/ 946121 w 2516810"/>
                <a:gd name="connsiteY1809" fmla="*/ 1267868 h 1504250"/>
                <a:gd name="connsiteX1810" fmla="*/ 944526 w 2516810"/>
                <a:gd name="connsiteY1810" fmla="*/ 1267868 h 1504250"/>
                <a:gd name="connsiteX1811" fmla="*/ 942733 w 2516810"/>
                <a:gd name="connsiteY1811" fmla="*/ 1267271 h 1504250"/>
                <a:gd name="connsiteX1812" fmla="*/ 941836 w 2516810"/>
                <a:gd name="connsiteY1812" fmla="*/ 1266276 h 1504250"/>
                <a:gd name="connsiteX1813" fmla="*/ 939644 w 2516810"/>
                <a:gd name="connsiteY1813" fmla="*/ 1265480 h 1504250"/>
                <a:gd name="connsiteX1814" fmla="*/ 937252 w 2516810"/>
                <a:gd name="connsiteY1814" fmla="*/ 1264386 h 1504250"/>
                <a:gd name="connsiteX1815" fmla="*/ 935160 w 2516810"/>
                <a:gd name="connsiteY1815" fmla="*/ 1261998 h 1504250"/>
                <a:gd name="connsiteX1816" fmla="*/ 935160 w 2516810"/>
                <a:gd name="connsiteY1816" fmla="*/ 1258814 h 1504250"/>
                <a:gd name="connsiteX1817" fmla="*/ 933864 w 2516810"/>
                <a:gd name="connsiteY1817" fmla="*/ 1254039 h 1504250"/>
                <a:gd name="connsiteX1818" fmla="*/ 933067 w 2516810"/>
                <a:gd name="connsiteY1818" fmla="*/ 1250657 h 1504250"/>
                <a:gd name="connsiteX1819" fmla="*/ 933067 w 2516810"/>
                <a:gd name="connsiteY1819" fmla="*/ 1247075 h 1504250"/>
                <a:gd name="connsiteX1820" fmla="*/ 934562 w 2516810"/>
                <a:gd name="connsiteY1820" fmla="*/ 1243991 h 1504250"/>
                <a:gd name="connsiteX1821" fmla="*/ 932868 w 2516810"/>
                <a:gd name="connsiteY1821" fmla="*/ 1242598 h 1504250"/>
                <a:gd name="connsiteX1822" fmla="*/ 931573 w 2516810"/>
                <a:gd name="connsiteY1822" fmla="*/ 1240111 h 1504250"/>
                <a:gd name="connsiteX1823" fmla="*/ 929181 w 2516810"/>
                <a:gd name="connsiteY1823" fmla="*/ 1237922 h 1504250"/>
                <a:gd name="connsiteX1824" fmla="*/ 925195 w 2516810"/>
                <a:gd name="connsiteY1824" fmla="*/ 1233147 h 1504250"/>
                <a:gd name="connsiteX1825" fmla="*/ 923501 w 2516810"/>
                <a:gd name="connsiteY1825" fmla="*/ 1232550 h 1504250"/>
                <a:gd name="connsiteX1826" fmla="*/ 922605 w 2516810"/>
                <a:gd name="connsiteY1826" fmla="*/ 1231655 h 1504250"/>
                <a:gd name="connsiteX1827" fmla="*/ 922605 w 2516810"/>
                <a:gd name="connsiteY1827" fmla="*/ 1231655 h 1504250"/>
                <a:gd name="connsiteX1828" fmla="*/ 921608 w 2516810"/>
                <a:gd name="connsiteY1828" fmla="*/ 1230859 h 1504250"/>
                <a:gd name="connsiteX1829" fmla="*/ 921608 w 2516810"/>
                <a:gd name="connsiteY1829" fmla="*/ 1230162 h 1504250"/>
                <a:gd name="connsiteX1830" fmla="*/ 920711 w 2516810"/>
                <a:gd name="connsiteY1830" fmla="*/ 1229665 h 1504250"/>
                <a:gd name="connsiteX1831" fmla="*/ 919615 w 2516810"/>
                <a:gd name="connsiteY1831" fmla="*/ 1229068 h 1504250"/>
                <a:gd name="connsiteX1832" fmla="*/ 918918 w 2516810"/>
                <a:gd name="connsiteY1832" fmla="*/ 1227974 h 1504250"/>
                <a:gd name="connsiteX1833" fmla="*/ 917921 w 2516810"/>
                <a:gd name="connsiteY1833" fmla="*/ 1225287 h 1504250"/>
                <a:gd name="connsiteX1834" fmla="*/ 917921 w 2516810"/>
                <a:gd name="connsiteY1834" fmla="*/ 1223397 h 1504250"/>
                <a:gd name="connsiteX1835" fmla="*/ 917921 w 2516810"/>
                <a:gd name="connsiteY1835" fmla="*/ 1222104 h 1504250"/>
                <a:gd name="connsiteX1836" fmla="*/ 918420 w 2516810"/>
                <a:gd name="connsiteY1836" fmla="*/ 1219915 h 1504250"/>
                <a:gd name="connsiteX1837" fmla="*/ 918420 w 2516810"/>
                <a:gd name="connsiteY1837" fmla="*/ 1218821 h 1504250"/>
                <a:gd name="connsiteX1838" fmla="*/ 918420 w 2516810"/>
                <a:gd name="connsiteY1838" fmla="*/ 1218323 h 1504250"/>
                <a:gd name="connsiteX1839" fmla="*/ 919117 w 2516810"/>
                <a:gd name="connsiteY1839" fmla="*/ 1218323 h 1504250"/>
                <a:gd name="connsiteX1840" fmla="*/ 920811 w 2516810"/>
                <a:gd name="connsiteY1840" fmla="*/ 1216632 h 1504250"/>
                <a:gd name="connsiteX1841" fmla="*/ 920811 w 2516810"/>
                <a:gd name="connsiteY1841" fmla="*/ 1215438 h 1504250"/>
                <a:gd name="connsiteX1842" fmla="*/ 921409 w 2516810"/>
                <a:gd name="connsiteY1842" fmla="*/ 1215438 h 1504250"/>
                <a:gd name="connsiteX1843" fmla="*/ 921409 w 2516810"/>
                <a:gd name="connsiteY1843" fmla="*/ 1214344 h 1504250"/>
                <a:gd name="connsiteX1844" fmla="*/ 920413 w 2516810"/>
                <a:gd name="connsiteY1844" fmla="*/ 1212951 h 1504250"/>
                <a:gd name="connsiteX1845" fmla="*/ 919117 w 2516810"/>
                <a:gd name="connsiteY1845" fmla="*/ 1212155 h 1504250"/>
                <a:gd name="connsiteX1846" fmla="*/ 918619 w 2516810"/>
                <a:gd name="connsiteY1846" fmla="*/ 1210961 h 1504250"/>
                <a:gd name="connsiteX1847" fmla="*/ 918619 w 2516810"/>
                <a:gd name="connsiteY1847" fmla="*/ 1209568 h 1504250"/>
                <a:gd name="connsiteX1848" fmla="*/ 918619 w 2516810"/>
                <a:gd name="connsiteY1848" fmla="*/ 1208772 h 1504250"/>
                <a:gd name="connsiteX1849" fmla="*/ 917722 w 2516810"/>
                <a:gd name="connsiteY1849" fmla="*/ 1208772 h 1504250"/>
                <a:gd name="connsiteX1850" fmla="*/ 915530 w 2516810"/>
                <a:gd name="connsiteY1850" fmla="*/ 1209966 h 1504250"/>
                <a:gd name="connsiteX1851" fmla="*/ 910847 w 2516810"/>
                <a:gd name="connsiteY1851" fmla="*/ 1211856 h 1504250"/>
                <a:gd name="connsiteX1852" fmla="*/ 905665 w 2516810"/>
                <a:gd name="connsiteY1852" fmla="*/ 1212951 h 1504250"/>
                <a:gd name="connsiteX1853" fmla="*/ 902875 w 2516810"/>
                <a:gd name="connsiteY1853" fmla="*/ 1211757 h 1504250"/>
                <a:gd name="connsiteX1854" fmla="*/ 899786 w 2516810"/>
                <a:gd name="connsiteY1854" fmla="*/ 1211757 h 1504250"/>
                <a:gd name="connsiteX1855" fmla="*/ 898092 w 2516810"/>
                <a:gd name="connsiteY1855" fmla="*/ 1210663 h 1504250"/>
                <a:gd name="connsiteX1856" fmla="*/ 898092 w 2516810"/>
                <a:gd name="connsiteY1856" fmla="*/ 1207977 h 1504250"/>
                <a:gd name="connsiteX1857" fmla="*/ 897395 w 2516810"/>
                <a:gd name="connsiteY1857" fmla="*/ 1201808 h 1504250"/>
                <a:gd name="connsiteX1858" fmla="*/ 896896 w 2516810"/>
                <a:gd name="connsiteY1858" fmla="*/ 1201211 h 1504250"/>
                <a:gd name="connsiteX1859" fmla="*/ 896896 w 2516810"/>
                <a:gd name="connsiteY1859" fmla="*/ 1199420 h 1504250"/>
                <a:gd name="connsiteX1860" fmla="*/ 896199 w 2516810"/>
                <a:gd name="connsiteY1860" fmla="*/ 1198227 h 1504250"/>
                <a:gd name="connsiteX1861" fmla="*/ 895601 w 2516810"/>
                <a:gd name="connsiteY1861" fmla="*/ 1195342 h 1504250"/>
                <a:gd name="connsiteX1862" fmla="*/ 894206 w 2516810"/>
                <a:gd name="connsiteY1862" fmla="*/ 1193849 h 1504250"/>
                <a:gd name="connsiteX1863" fmla="*/ 892512 w 2516810"/>
                <a:gd name="connsiteY1863" fmla="*/ 1192755 h 1504250"/>
                <a:gd name="connsiteX1864" fmla="*/ 890619 w 2516810"/>
                <a:gd name="connsiteY1864" fmla="*/ 1191660 h 1504250"/>
                <a:gd name="connsiteX1865" fmla="*/ 889025 w 2516810"/>
                <a:gd name="connsiteY1865" fmla="*/ 1190964 h 1504250"/>
                <a:gd name="connsiteX1866" fmla="*/ 889025 w 2516810"/>
                <a:gd name="connsiteY1866" fmla="*/ 1189870 h 1504250"/>
                <a:gd name="connsiteX1867" fmla="*/ 887630 w 2516810"/>
                <a:gd name="connsiteY1867" fmla="*/ 1189870 h 1504250"/>
                <a:gd name="connsiteX1868" fmla="*/ 887131 w 2516810"/>
                <a:gd name="connsiteY1868" fmla="*/ 1188776 h 1504250"/>
                <a:gd name="connsiteX1869" fmla="*/ 886334 w 2516810"/>
                <a:gd name="connsiteY1869" fmla="*/ 1188278 h 1504250"/>
                <a:gd name="connsiteX1870" fmla="*/ 885836 w 2516810"/>
                <a:gd name="connsiteY1870" fmla="*/ 1187781 h 1504250"/>
                <a:gd name="connsiteX1871" fmla="*/ 884242 w 2516810"/>
                <a:gd name="connsiteY1871" fmla="*/ 1187781 h 1504250"/>
                <a:gd name="connsiteX1872" fmla="*/ 882049 w 2516810"/>
                <a:gd name="connsiteY1872" fmla="*/ 1186587 h 1504250"/>
                <a:gd name="connsiteX1873" fmla="*/ 880953 w 2516810"/>
                <a:gd name="connsiteY1873" fmla="*/ 1186587 h 1504250"/>
                <a:gd name="connsiteX1874" fmla="*/ 879758 w 2516810"/>
                <a:gd name="connsiteY1874" fmla="*/ 1185194 h 1504250"/>
                <a:gd name="connsiteX1875" fmla="*/ 878462 w 2516810"/>
                <a:gd name="connsiteY1875" fmla="*/ 1184100 h 1504250"/>
                <a:gd name="connsiteX1876" fmla="*/ 875074 w 2516810"/>
                <a:gd name="connsiteY1876" fmla="*/ 1183105 h 1504250"/>
                <a:gd name="connsiteX1877" fmla="*/ 875074 w 2516810"/>
                <a:gd name="connsiteY1877" fmla="*/ 1182110 h 1504250"/>
                <a:gd name="connsiteX1878" fmla="*/ 874078 w 2516810"/>
                <a:gd name="connsiteY1878" fmla="*/ 1180816 h 1504250"/>
                <a:gd name="connsiteX1879" fmla="*/ 874078 w 2516810"/>
                <a:gd name="connsiteY1879" fmla="*/ 1179523 h 1504250"/>
                <a:gd name="connsiteX1880" fmla="*/ 873082 w 2516810"/>
                <a:gd name="connsiteY1880" fmla="*/ 1178031 h 1504250"/>
                <a:gd name="connsiteX1881" fmla="*/ 872085 w 2516810"/>
                <a:gd name="connsiteY1881" fmla="*/ 1177135 h 1504250"/>
                <a:gd name="connsiteX1882" fmla="*/ 870590 w 2516810"/>
                <a:gd name="connsiteY1882" fmla="*/ 1176638 h 1504250"/>
                <a:gd name="connsiteX1883" fmla="*/ 869594 w 2516810"/>
                <a:gd name="connsiteY1883" fmla="*/ 1175345 h 1504250"/>
                <a:gd name="connsiteX1884" fmla="*/ 868199 w 2516810"/>
                <a:gd name="connsiteY1884" fmla="*/ 1175345 h 1504250"/>
                <a:gd name="connsiteX1885" fmla="*/ 867501 w 2516810"/>
                <a:gd name="connsiteY1885" fmla="*/ 1174350 h 1504250"/>
                <a:gd name="connsiteX1886" fmla="*/ 867501 w 2516810"/>
                <a:gd name="connsiteY1886" fmla="*/ 1172758 h 1504250"/>
                <a:gd name="connsiteX1887" fmla="*/ 868398 w 2516810"/>
                <a:gd name="connsiteY1887" fmla="*/ 1172261 h 1504250"/>
                <a:gd name="connsiteX1888" fmla="*/ 868398 w 2516810"/>
                <a:gd name="connsiteY1888" fmla="*/ 1171166 h 1504250"/>
                <a:gd name="connsiteX1889" fmla="*/ 866605 w 2516810"/>
                <a:gd name="connsiteY1889" fmla="*/ 1170171 h 1504250"/>
                <a:gd name="connsiteX1890" fmla="*/ 866605 w 2516810"/>
                <a:gd name="connsiteY1890" fmla="*/ 1170868 h 1504250"/>
                <a:gd name="connsiteX1891" fmla="*/ 863316 w 2516810"/>
                <a:gd name="connsiteY1891" fmla="*/ 1170171 h 1504250"/>
                <a:gd name="connsiteX1892" fmla="*/ 859928 w 2516810"/>
                <a:gd name="connsiteY1892" fmla="*/ 1170171 h 1504250"/>
                <a:gd name="connsiteX1893" fmla="*/ 859928 w 2516810"/>
                <a:gd name="connsiteY1893" fmla="*/ 1171266 h 1504250"/>
                <a:gd name="connsiteX1894" fmla="*/ 858932 w 2516810"/>
                <a:gd name="connsiteY1894" fmla="*/ 1172061 h 1504250"/>
                <a:gd name="connsiteX1895" fmla="*/ 857138 w 2516810"/>
                <a:gd name="connsiteY1895" fmla="*/ 1172061 h 1504250"/>
                <a:gd name="connsiteX1896" fmla="*/ 855943 w 2516810"/>
                <a:gd name="connsiteY1896" fmla="*/ 1172957 h 1504250"/>
                <a:gd name="connsiteX1897" fmla="*/ 855943 w 2516810"/>
                <a:gd name="connsiteY1897" fmla="*/ 1173753 h 1504250"/>
                <a:gd name="connsiteX1898" fmla="*/ 857039 w 2516810"/>
                <a:gd name="connsiteY1898" fmla="*/ 1173753 h 1504250"/>
                <a:gd name="connsiteX1899" fmla="*/ 856541 w 2516810"/>
                <a:gd name="connsiteY1899" fmla="*/ 1174449 h 1504250"/>
                <a:gd name="connsiteX1900" fmla="*/ 854747 w 2516810"/>
                <a:gd name="connsiteY1900" fmla="*/ 1174449 h 1504250"/>
                <a:gd name="connsiteX1901" fmla="*/ 854747 w 2516810"/>
                <a:gd name="connsiteY1901" fmla="*/ 1175146 h 1504250"/>
                <a:gd name="connsiteX1902" fmla="*/ 854747 w 2516810"/>
                <a:gd name="connsiteY1902" fmla="*/ 1176439 h 1504250"/>
                <a:gd name="connsiteX1903" fmla="*/ 854747 w 2516810"/>
                <a:gd name="connsiteY1903" fmla="*/ 1177135 h 1504250"/>
                <a:gd name="connsiteX1904" fmla="*/ 854747 w 2516810"/>
                <a:gd name="connsiteY1904" fmla="*/ 1178429 h 1504250"/>
                <a:gd name="connsiteX1905" fmla="*/ 854747 w 2516810"/>
                <a:gd name="connsiteY1905" fmla="*/ 1179225 h 1504250"/>
                <a:gd name="connsiteX1906" fmla="*/ 854249 w 2516810"/>
                <a:gd name="connsiteY1906" fmla="*/ 1180021 h 1504250"/>
                <a:gd name="connsiteX1907" fmla="*/ 854249 w 2516810"/>
                <a:gd name="connsiteY1907" fmla="*/ 1182607 h 1504250"/>
                <a:gd name="connsiteX1908" fmla="*/ 855146 w 2516810"/>
                <a:gd name="connsiteY1908" fmla="*/ 1182607 h 1504250"/>
                <a:gd name="connsiteX1909" fmla="*/ 855146 w 2516810"/>
                <a:gd name="connsiteY1909" fmla="*/ 1181115 h 1504250"/>
                <a:gd name="connsiteX1910" fmla="*/ 855943 w 2516810"/>
                <a:gd name="connsiteY1910" fmla="*/ 1181115 h 1504250"/>
                <a:gd name="connsiteX1911" fmla="*/ 855943 w 2516810"/>
                <a:gd name="connsiteY1911" fmla="*/ 1183403 h 1504250"/>
                <a:gd name="connsiteX1912" fmla="*/ 855943 w 2516810"/>
                <a:gd name="connsiteY1912" fmla="*/ 1183900 h 1504250"/>
                <a:gd name="connsiteX1913" fmla="*/ 856740 w 2516810"/>
                <a:gd name="connsiteY1913" fmla="*/ 1184398 h 1504250"/>
                <a:gd name="connsiteX1914" fmla="*/ 857836 w 2516810"/>
                <a:gd name="connsiteY1914" fmla="*/ 1184995 h 1504250"/>
                <a:gd name="connsiteX1915" fmla="*/ 857836 w 2516810"/>
                <a:gd name="connsiteY1915" fmla="*/ 1186189 h 1504250"/>
                <a:gd name="connsiteX1916" fmla="*/ 857836 w 2516810"/>
                <a:gd name="connsiteY1916" fmla="*/ 1187582 h 1504250"/>
                <a:gd name="connsiteX1917" fmla="*/ 859231 w 2516810"/>
                <a:gd name="connsiteY1917" fmla="*/ 1187582 h 1504250"/>
                <a:gd name="connsiteX1918" fmla="*/ 858633 w 2516810"/>
                <a:gd name="connsiteY1918" fmla="*/ 1193053 h 1504250"/>
                <a:gd name="connsiteX1919" fmla="*/ 856341 w 2516810"/>
                <a:gd name="connsiteY1919" fmla="*/ 1195640 h 1504250"/>
                <a:gd name="connsiteX1920" fmla="*/ 853950 w 2516810"/>
                <a:gd name="connsiteY1920" fmla="*/ 1197630 h 1504250"/>
                <a:gd name="connsiteX1921" fmla="*/ 853452 w 2516810"/>
                <a:gd name="connsiteY1921" fmla="*/ 1198127 h 1504250"/>
                <a:gd name="connsiteX1922" fmla="*/ 853452 w 2516810"/>
                <a:gd name="connsiteY1922" fmla="*/ 1199122 h 1504250"/>
                <a:gd name="connsiteX1923" fmla="*/ 853452 w 2516810"/>
                <a:gd name="connsiteY1923" fmla="*/ 1201510 h 1504250"/>
                <a:gd name="connsiteX1924" fmla="*/ 852156 w 2516810"/>
                <a:gd name="connsiteY1924" fmla="*/ 1201510 h 1504250"/>
                <a:gd name="connsiteX1925" fmla="*/ 850861 w 2516810"/>
                <a:gd name="connsiteY1925" fmla="*/ 1201510 h 1504250"/>
                <a:gd name="connsiteX1926" fmla="*/ 848071 w 2516810"/>
                <a:gd name="connsiteY1926" fmla="*/ 1202505 h 1504250"/>
                <a:gd name="connsiteX1927" fmla="*/ 845081 w 2516810"/>
                <a:gd name="connsiteY1927" fmla="*/ 1202505 h 1504250"/>
                <a:gd name="connsiteX1928" fmla="*/ 844284 w 2516810"/>
                <a:gd name="connsiteY1928" fmla="*/ 1200913 h 1504250"/>
                <a:gd name="connsiteX1929" fmla="*/ 844982 w 2516810"/>
                <a:gd name="connsiteY1929" fmla="*/ 1199918 h 1504250"/>
                <a:gd name="connsiteX1930" fmla="*/ 844484 w 2516810"/>
                <a:gd name="connsiteY1930" fmla="*/ 1198724 h 1504250"/>
                <a:gd name="connsiteX1931" fmla="*/ 843487 w 2516810"/>
                <a:gd name="connsiteY1931" fmla="*/ 1197530 h 1504250"/>
                <a:gd name="connsiteX1932" fmla="*/ 843985 w 2516810"/>
                <a:gd name="connsiteY1932" fmla="*/ 1195541 h 1504250"/>
                <a:gd name="connsiteX1933" fmla="*/ 842889 w 2516810"/>
                <a:gd name="connsiteY1933" fmla="*/ 1194446 h 1504250"/>
                <a:gd name="connsiteX1934" fmla="*/ 842889 w 2516810"/>
                <a:gd name="connsiteY1934" fmla="*/ 1193650 h 1504250"/>
                <a:gd name="connsiteX1935" fmla="*/ 846476 w 2516810"/>
                <a:gd name="connsiteY1935" fmla="*/ 1194546 h 1504250"/>
                <a:gd name="connsiteX1936" fmla="*/ 849665 w 2516810"/>
                <a:gd name="connsiteY1936" fmla="*/ 1196237 h 1504250"/>
                <a:gd name="connsiteX1937" fmla="*/ 850861 w 2516810"/>
                <a:gd name="connsiteY1937" fmla="*/ 1196933 h 1504250"/>
                <a:gd name="connsiteX1938" fmla="*/ 852953 w 2516810"/>
                <a:gd name="connsiteY1938" fmla="*/ 1196237 h 1504250"/>
                <a:gd name="connsiteX1939" fmla="*/ 854847 w 2516810"/>
                <a:gd name="connsiteY1939" fmla="*/ 1195441 h 1504250"/>
                <a:gd name="connsiteX1940" fmla="*/ 856142 w 2516810"/>
                <a:gd name="connsiteY1940" fmla="*/ 1194247 h 1504250"/>
                <a:gd name="connsiteX1941" fmla="*/ 856142 w 2516810"/>
                <a:gd name="connsiteY1941" fmla="*/ 1193352 h 1504250"/>
                <a:gd name="connsiteX1942" fmla="*/ 855544 w 2516810"/>
                <a:gd name="connsiteY1942" fmla="*/ 1193352 h 1504250"/>
                <a:gd name="connsiteX1943" fmla="*/ 853153 w 2516810"/>
                <a:gd name="connsiteY1943" fmla="*/ 1193352 h 1504250"/>
                <a:gd name="connsiteX1944" fmla="*/ 846476 w 2516810"/>
                <a:gd name="connsiteY1944" fmla="*/ 1193352 h 1504250"/>
                <a:gd name="connsiteX1945" fmla="*/ 840099 w 2516810"/>
                <a:gd name="connsiteY1945" fmla="*/ 1192357 h 1504250"/>
                <a:gd name="connsiteX1946" fmla="*/ 836014 w 2516810"/>
                <a:gd name="connsiteY1946" fmla="*/ 1191263 h 1504250"/>
                <a:gd name="connsiteX1947" fmla="*/ 832726 w 2516810"/>
                <a:gd name="connsiteY1947" fmla="*/ 1190566 h 1504250"/>
                <a:gd name="connsiteX1948" fmla="*/ 829138 w 2516810"/>
                <a:gd name="connsiteY1948" fmla="*/ 1189472 h 1504250"/>
                <a:gd name="connsiteX1949" fmla="*/ 826348 w 2516810"/>
                <a:gd name="connsiteY1949" fmla="*/ 1188278 h 1504250"/>
                <a:gd name="connsiteX1950" fmla="*/ 826348 w 2516810"/>
                <a:gd name="connsiteY1950" fmla="*/ 1187283 h 1504250"/>
                <a:gd name="connsiteX1951" fmla="*/ 824854 w 2516810"/>
                <a:gd name="connsiteY1951" fmla="*/ 1186487 h 1504250"/>
                <a:gd name="connsiteX1952" fmla="*/ 824854 w 2516810"/>
                <a:gd name="connsiteY1952" fmla="*/ 1184497 h 1504250"/>
                <a:gd name="connsiteX1953" fmla="*/ 822761 w 2516810"/>
                <a:gd name="connsiteY1953" fmla="*/ 1183503 h 1504250"/>
                <a:gd name="connsiteX1954" fmla="*/ 821267 w 2516810"/>
                <a:gd name="connsiteY1954" fmla="*/ 1182607 h 1504250"/>
                <a:gd name="connsiteX1955" fmla="*/ 820569 w 2516810"/>
                <a:gd name="connsiteY1955" fmla="*/ 1180518 h 1504250"/>
                <a:gd name="connsiteX1956" fmla="*/ 818875 w 2516810"/>
                <a:gd name="connsiteY1956" fmla="*/ 1178429 h 1504250"/>
                <a:gd name="connsiteX1957" fmla="*/ 817281 w 2516810"/>
                <a:gd name="connsiteY1957" fmla="*/ 1175046 h 1504250"/>
                <a:gd name="connsiteX1958" fmla="*/ 817281 w 2516810"/>
                <a:gd name="connsiteY1958" fmla="*/ 1174250 h 1504250"/>
                <a:gd name="connsiteX1959" fmla="*/ 815288 w 2516810"/>
                <a:gd name="connsiteY1959" fmla="*/ 1173156 h 1504250"/>
                <a:gd name="connsiteX1960" fmla="*/ 815288 w 2516810"/>
                <a:gd name="connsiteY1960" fmla="*/ 1172360 h 1504250"/>
                <a:gd name="connsiteX1961" fmla="*/ 812000 w 2516810"/>
                <a:gd name="connsiteY1961" fmla="*/ 1167983 h 1504250"/>
                <a:gd name="connsiteX1962" fmla="*/ 812000 w 2516810"/>
                <a:gd name="connsiteY1962" fmla="*/ 1166291 h 1504250"/>
                <a:gd name="connsiteX1963" fmla="*/ 811402 w 2516810"/>
                <a:gd name="connsiteY1963" fmla="*/ 1165097 h 1504250"/>
                <a:gd name="connsiteX1964" fmla="*/ 811402 w 2516810"/>
                <a:gd name="connsiteY1964" fmla="*/ 1163904 h 1504250"/>
                <a:gd name="connsiteX1965" fmla="*/ 810804 w 2516810"/>
                <a:gd name="connsiteY1965" fmla="*/ 1162909 h 1504250"/>
                <a:gd name="connsiteX1966" fmla="*/ 809907 w 2516810"/>
                <a:gd name="connsiteY1966" fmla="*/ 1161615 h 1504250"/>
                <a:gd name="connsiteX1967" fmla="*/ 810505 w 2516810"/>
                <a:gd name="connsiteY1967" fmla="*/ 1160521 h 1504250"/>
                <a:gd name="connsiteX1968" fmla="*/ 810007 w 2516810"/>
                <a:gd name="connsiteY1968" fmla="*/ 1159427 h 1504250"/>
                <a:gd name="connsiteX1969" fmla="*/ 810007 w 2516810"/>
                <a:gd name="connsiteY1969" fmla="*/ 1157835 h 1504250"/>
                <a:gd name="connsiteX1970" fmla="*/ 811003 w 2516810"/>
                <a:gd name="connsiteY1970" fmla="*/ 1156641 h 1504250"/>
                <a:gd name="connsiteX1971" fmla="*/ 811003 w 2516810"/>
                <a:gd name="connsiteY1971" fmla="*/ 1155248 h 1504250"/>
                <a:gd name="connsiteX1972" fmla="*/ 811003 w 2516810"/>
                <a:gd name="connsiteY1972" fmla="*/ 1153656 h 1504250"/>
                <a:gd name="connsiteX1973" fmla="*/ 806619 w 2516810"/>
                <a:gd name="connsiteY1973" fmla="*/ 1148384 h 1504250"/>
                <a:gd name="connsiteX1974" fmla="*/ 805722 w 2516810"/>
                <a:gd name="connsiteY1974" fmla="*/ 1146792 h 1504250"/>
                <a:gd name="connsiteX1975" fmla="*/ 805722 w 2516810"/>
                <a:gd name="connsiteY1975" fmla="*/ 1145996 h 1504250"/>
                <a:gd name="connsiteX1976" fmla="*/ 804925 w 2516810"/>
                <a:gd name="connsiteY1976" fmla="*/ 1142912 h 1504250"/>
                <a:gd name="connsiteX1977" fmla="*/ 804925 w 2516810"/>
                <a:gd name="connsiteY1977" fmla="*/ 1141519 h 1504250"/>
                <a:gd name="connsiteX1978" fmla="*/ 805622 w 2516810"/>
                <a:gd name="connsiteY1978" fmla="*/ 1140723 h 1504250"/>
                <a:gd name="connsiteX1979" fmla="*/ 805622 w 2516810"/>
                <a:gd name="connsiteY1979" fmla="*/ 1139430 h 1504250"/>
                <a:gd name="connsiteX1980" fmla="*/ 805025 w 2516810"/>
                <a:gd name="connsiteY1980" fmla="*/ 1136942 h 1504250"/>
                <a:gd name="connsiteX1981" fmla="*/ 805025 w 2516810"/>
                <a:gd name="connsiteY1981" fmla="*/ 1135152 h 1504250"/>
                <a:gd name="connsiteX1982" fmla="*/ 805025 w 2516810"/>
                <a:gd name="connsiteY1982" fmla="*/ 1132366 h 1504250"/>
                <a:gd name="connsiteX1983" fmla="*/ 805822 w 2516810"/>
                <a:gd name="connsiteY1983" fmla="*/ 1130078 h 1504250"/>
                <a:gd name="connsiteX1984" fmla="*/ 806320 w 2516810"/>
                <a:gd name="connsiteY1984" fmla="*/ 1126795 h 1504250"/>
                <a:gd name="connsiteX1985" fmla="*/ 807017 w 2516810"/>
                <a:gd name="connsiteY1985" fmla="*/ 1124208 h 1504250"/>
                <a:gd name="connsiteX1986" fmla="*/ 808811 w 2516810"/>
                <a:gd name="connsiteY1986" fmla="*/ 1122019 h 1504250"/>
                <a:gd name="connsiteX1987" fmla="*/ 810704 w 2516810"/>
                <a:gd name="connsiteY1987" fmla="*/ 1122019 h 1504250"/>
                <a:gd name="connsiteX1988" fmla="*/ 811402 w 2516810"/>
                <a:gd name="connsiteY1988" fmla="*/ 1120527 h 1504250"/>
                <a:gd name="connsiteX1989" fmla="*/ 811402 w 2516810"/>
                <a:gd name="connsiteY1989" fmla="*/ 1119333 h 1504250"/>
                <a:gd name="connsiteX1990" fmla="*/ 810106 w 2516810"/>
                <a:gd name="connsiteY1990" fmla="*/ 1116249 h 1504250"/>
                <a:gd name="connsiteX1991" fmla="*/ 811103 w 2516810"/>
                <a:gd name="connsiteY1991" fmla="*/ 1113862 h 1504250"/>
                <a:gd name="connsiteX1992" fmla="*/ 812896 w 2516810"/>
                <a:gd name="connsiteY1992" fmla="*/ 1111573 h 1504250"/>
                <a:gd name="connsiteX1993" fmla="*/ 812896 w 2516810"/>
                <a:gd name="connsiteY1993" fmla="*/ 1110081 h 1504250"/>
                <a:gd name="connsiteX1994" fmla="*/ 813395 w 2516810"/>
                <a:gd name="connsiteY1994" fmla="*/ 1108290 h 1504250"/>
                <a:gd name="connsiteX1995" fmla="*/ 813395 w 2516810"/>
                <a:gd name="connsiteY1995" fmla="*/ 1107693 h 1504250"/>
                <a:gd name="connsiteX1996" fmla="*/ 813395 w 2516810"/>
                <a:gd name="connsiteY1996" fmla="*/ 1106798 h 1504250"/>
                <a:gd name="connsiteX1997" fmla="*/ 813893 w 2516810"/>
                <a:gd name="connsiteY1997" fmla="*/ 1105803 h 1504250"/>
                <a:gd name="connsiteX1998" fmla="*/ 813893 w 2516810"/>
                <a:gd name="connsiteY1998" fmla="*/ 1105803 h 1504250"/>
                <a:gd name="connsiteX1999" fmla="*/ 813893 w 2516810"/>
                <a:gd name="connsiteY1999" fmla="*/ 1105803 h 1504250"/>
                <a:gd name="connsiteX2000" fmla="*/ 813893 w 2516810"/>
                <a:gd name="connsiteY2000" fmla="*/ 1105803 h 1504250"/>
                <a:gd name="connsiteX2001" fmla="*/ 813893 w 2516810"/>
                <a:gd name="connsiteY2001" fmla="*/ 1105007 h 1504250"/>
                <a:gd name="connsiteX2002" fmla="*/ 813893 w 2516810"/>
                <a:gd name="connsiteY2002" fmla="*/ 1104112 h 1504250"/>
                <a:gd name="connsiteX2003" fmla="*/ 813096 w 2516810"/>
                <a:gd name="connsiteY2003" fmla="*/ 1103216 h 1504250"/>
                <a:gd name="connsiteX2004" fmla="*/ 813096 w 2516810"/>
                <a:gd name="connsiteY2004" fmla="*/ 1101326 h 1504250"/>
                <a:gd name="connsiteX2005" fmla="*/ 812498 w 2516810"/>
                <a:gd name="connsiteY2005" fmla="*/ 1100431 h 1504250"/>
                <a:gd name="connsiteX2006" fmla="*/ 811900 w 2516810"/>
                <a:gd name="connsiteY2006" fmla="*/ 1099436 h 1504250"/>
                <a:gd name="connsiteX2007" fmla="*/ 811900 w 2516810"/>
                <a:gd name="connsiteY2007" fmla="*/ 1098342 h 1504250"/>
                <a:gd name="connsiteX2008" fmla="*/ 811900 w 2516810"/>
                <a:gd name="connsiteY2008" fmla="*/ 1098342 h 1504250"/>
                <a:gd name="connsiteX2009" fmla="*/ 810106 w 2516810"/>
                <a:gd name="connsiteY2009" fmla="*/ 1096352 h 1504250"/>
                <a:gd name="connsiteX2010" fmla="*/ 810106 w 2516810"/>
                <a:gd name="connsiteY2010" fmla="*/ 1096352 h 1504250"/>
                <a:gd name="connsiteX2011" fmla="*/ 810106 w 2516810"/>
                <a:gd name="connsiteY2011" fmla="*/ 1096352 h 1504250"/>
                <a:gd name="connsiteX2012" fmla="*/ 809210 w 2516810"/>
                <a:gd name="connsiteY2012" fmla="*/ 1095755 h 1504250"/>
                <a:gd name="connsiteX2013" fmla="*/ 809210 w 2516810"/>
                <a:gd name="connsiteY2013" fmla="*/ 1095058 h 1504250"/>
                <a:gd name="connsiteX2014" fmla="*/ 807416 w 2516810"/>
                <a:gd name="connsiteY2014" fmla="*/ 1093765 h 1504250"/>
                <a:gd name="connsiteX2015" fmla="*/ 807416 w 2516810"/>
                <a:gd name="connsiteY2015" fmla="*/ 1092969 h 1504250"/>
                <a:gd name="connsiteX2016" fmla="*/ 806918 w 2516810"/>
                <a:gd name="connsiteY2016" fmla="*/ 1092969 h 1504250"/>
                <a:gd name="connsiteX2017" fmla="*/ 806918 w 2516810"/>
                <a:gd name="connsiteY2017" fmla="*/ 1092969 h 1504250"/>
                <a:gd name="connsiteX2018" fmla="*/ 807516 w 2516810"/>
                <a:gd name="connsiteY2018" fmla="*/ 1092969 h 1504250"/>
                <a:gd name="connsiteX2019" fmla="*/ 807516 w 2516810"/>
                <a:gd name="connsiteY2019" fmla="*/ 1092969 h 1504250"/>
                <a:gd name="connsiteX2020" fmla="*/ 807516 w 2516810"/>
                <a:gd name="connsiteY2020" fmla="*/ 1092969 h 1504250"/>
                <a:gd name="connsiteX2021" fmla="*/ 807017 w 2516810"/>
                <a:gd name="connsiteY2021" fmla="*/ 1092471 h 1504250"/>
                <a:gd name="connsiteX2022" fmla="*/ 806320 w 2516810"/>
                <a:gd name="connsiteY2022" fmla="*/ 1092471 h 1504250"/>
                <a:gd name="connsiteX2023" fmla="*/ 805224 w 2516810"/>
                <a:gd name="connsiteY2023" fmla="*/ 1092471 h 1504250"/>
                <a:gd name="connsiteX2024" fmla="*/ 805224 w 2516810"/>
                <a:gd name="connsiteY2024" fmla="*/ 1091676 h 1504250"/>
                <a:gd name="connsiteX2025" fmla="*/ 804028 w 2516810"/>
                <a:gd name="connsiteY2025" fmla="*/ 1090183 h 1504250"/>
                <a:gd name="connsiteX2026" fmla="*/ 803131 w 2516810"/>
                <a:gd name="connsiteY2026" fmla="*/ 1088592 h 1504250"/>
                <a:gd name="connsiteX2027" fmla="*/ 801537 w 2516810"/>
                <a:gd name="connsiteY2027" fmla="*/ 1087000 h 1504250"/>
                <a:gd name="connsiteX2028" fmla="*/ 801537 w 2516810"/>
                <a:gd name="connsiteY2028" fmla="*/ 1085607 h 1504250"/>
                <a:gd name="connsiteX2029" fmla="*/ 801537 w 2516810"/>
                <a:gd name="connsiteY2029" fmla="*/ 1083816 h 1504250"/>
                <a:gd name="connsiteX2030" fmla="*/ 801537 w 2516810"/>
                <a:gd name="connsiteY2030" fmla="*/ 1082921 h 1504250"/>
                <a:gd name="connsiteX2031" fmla="*/ 800640 w 2516810"/>
                <a:gd name="connsiteY2031" fmla="*/ 1082423 h 1504250"/>
                <a:gd name="connsiteX2032" fmla="*/ 800640 w 2516810"/>
                <a:gd name="connsiteY2032" fmla="*/ 1081627 h 1504250"/>
                <a:gd name="connsiteX2033" fmla="*/ 800640 w 2516810"/>
                <a:gd name="connsiteY2033" fmla="*/ 1081130 h 1504250"/>
                <a:gd name="connsiteX2034" fmla="*/ 800640 w 2516810"/>
                <a:gd name="connsiteY2034" fmla="*/ 1080334 h 1504250"/>
                <a:gd name="connsiteX2035" fmla="*/ 797850 w 2516810"/>
                <a:gd name="connsiteY2035" fmla="*/ 1078444 h 1504250"/>
                <a:gd name="connsiteX2036" fmla="*/ 797850 w 2516810"/>
                <a:gd name="connsiteY2036" fmla="*/ 1077548 h 1504250"/>
                <a:gd name="connsiteX2037" fmla="*/ 796953 w 2516810"/>
                <a:gd name="connsiteY2037" fmla="*/ 1077051 h 1504250"/>
                <a:gd name="connsiteX2038" fmla="*/ 796953 w 2516810"/>
                <a:gd name="connsiteY2038" fmla="*/ 1077051 h 1504250"/>
                <a:gd name="connsiteX2039" fmla="*/ 796953 w 2516810"/>
                <a:gd name="connsiteY2039" fmla="*/ 1077548 h 1504250"/>
                <a:gd name="connsiteX2040" fmla="*/ 796057 w 2516810"/>
                <a:gd name="connsiteY2040" fmla="*/ 1077548 h 1504250"/>
                <a:gd name="connsiteX2041" fmla="*/ 794462 w 2516810"/>
                <a:gd name="connsiteY2041" fmla="*/ 1077548 h 1504250"/>
                <a:gd name="connsiteX2042" fmla="*/ 793565 w 2516810"/>
                <a:gd name="connsiteY2042" fmla="*/ 1076454 h 1504250"/>
                <a:gd name="connsiteX2043" fmla="*/ 792968 w 2516810"/>
                <a:gd name="connsiteY2043" fmla="*/ 1075459 h 1504250"/>
                <a:gd name="connsiteX2044" fmla="*/ 792968 w 2516810"/>
                <a:gd name="connsiteY2044" fmla="*/ 1074067 h 1504250"/>
                <a:gd name="connsiteX2045" fmla="*/ 792270 w 2516810"/>
                <a:gd name="connsiteY2045" fmla="*/ 1073171 h 1504250"/>
                <a:gd name="connsiteX2046" fmla="*/ 790178 w 2516810"/>
                <a:gd name="connsiteY2046" fmla="*/ 1072574 h 1504250"/>
                <a:gd name="connsiteX2047" fmla="*/ 790178 w 2516810"/>
                <a:gd name="connsiteY2047" fmla="*/ 1071977 h 1504250"/>
                <a:gd name="connsiteX2048" fmla="*/ 788384 w 2516810"/>
                <a:gd name="connsiteY2048" fmla="*/ 1071181 h 1504250"/>
                <a:gd name="connsiteX2049" fmla="*/ 788384 w 2516810"/>
                <a:gd name="connsiteY2049" fmla="*/ 1069391 h 1504250"/>
                <a:gd name="connsiteX2050" fmla="*/ 787886 w 2516810"/>
                <a:gd name="connsiteY2050" fmla="*/ 1068495 h 1504250"/>
                <a:gd name="connsiteX2051" fmla="*/ 787886 w 2516810"/>
                <a:gd name="connsiteY2051" fmla="*/ 1067600 h 1504250"/>
                <a:gd name="connsiteX2052" fmla="*/ 787188 w 2516810"/>
                <a:gd name="connsiteY2052" fmla="*/ 1066903 h 1504250"/>
                <a:gd name="connsiteX2053" fmla="*/ 787188 w 2516810"/>
                <a:gd name="connsiteY2053" fmla="*/ 1066307 h 1504250"/>
                <a:gd name="connsiteX2054" fmla="*/ 787188 w 2516810"/>
                <a:gd name="connsiteY2054" fmla="*/ 1065710 h 1504250"/>
                <a:gd name="connsiteX2055" fmla="*/ 786391 w 2516810"/>
                <a:gd name="connsiteY2055" fmla="*/ 1065112 h 1504250"/>
                <a:gd name="connsiteX2056" fmla="*/ 786391 w 2516810"/>
                <a:gd name="connsiteY2056" fmla="*/ 1065112 h 1504250"/>
                <a:gd name="connsiteX2057" fmla="*/ 784697 w 2516810"/>
                <a:gd name="connsiteY2057" fmla="*/ 1064416 h 1504250"/>
                <a:gd name="connsiteX2058" fmla="*/ 783302 w 2516810"/>
                <a:gd name="connsiteY2058" fmla="*/ 1062924 h 1504250"/>
                <a:gd name="connsiteX2059" fmla="*/ 782505 w 2516810"/>
                <a:gd name="connsiteY2059" fmla="*/ 1060536 h 1504250"/>
                <a:gd name="connsiteX2060" fmla="*/ 782505 w 2516810"/>
                <a:gd name="connsiteY2060" fmla="*/ 1058049 h 1504250"/>
                <a:gd name="connsiteX2061" fmla="*/ 783302 w 2516810"/>
                <a:gd name="connsiteY2061" fmla="*/ 1057552 h 1504250"/>
                <a:gd name="connsiteX2062" fmla="*/ 783302 w 2516810"/>
                <a:gd name="connsiteY2062" fmla="*/ 1056855 h 1504250"/>
                <a:gd name="connsiteX2063" fmla="*/ 782505 w 2516810"/>
                <a:gd name="connsiteY2063" fmla="*/ 1056159 h 1504250"/>
                <a:gd name="connsiteX2064" fmla="*/ 781509 w 2516810"/>
                <a:gd name="connsiteY2064" fmla="*/ 1053671 h 1504250"/>
                <a:gd name="connsiteX2065" fmla="*/ 780313 w 2516810"/>
                <a:gd name="connsiteY2065" fmla="*/ 1052975 h 1504250"/>
                <a:gd name="connsiteX2066" fmla="*/ 779316 w 2516810"/>
                <a:gd name="connsiteY2066" fmla="*/ 1050388 h 1504250"/>
                <a:gd name="connsiteX2067" fmla="*/ 779316 w 2516810"/>
                <a:gd name="connsiteY2067" fmla="*/ 1048797 h 1504250"/>
                <a:gd name="connsiteX2068" fmla="*/ 778420 w 2516810"/>
                <a:gd name="connsiteY2068" fmla="*/ 1047503 h 1504250"/>
                <a:gd name="connsiteX2069" fmla="*/ 778420 w 2516810"/>
                <a:gd name="connsiteY2069" fmla="*/ 1046608 h 1504250"/>
                <a:gd name="connsiteX2070" fmla="*/ 779018 w 2516810"/>
                <a:gd name="connsiteY2070" fmla="*/ 1044916 h 1504250"/>
                <a:gd name="connsiteX2071" fmla="*/ 779516 w 2516810"/>
                <a:gd name="connsiteY2071" fmla="*/ 1044916 h 1504250"/>
                <a:gd name="connsiteX2072" fmla="*/ 779516 w 2516810"/>
                <a:gd name="connsiteY2072" fmla="*/ 1044320 h 1504250"/>
                <a:gd name="connsiteX2073" fmla="*/ 779516 w 2516810"/>
                <a:gd name="connsiteY2073" fmla="*/ 1043424 h 1504250"/>
                <a:gd name="connsiteX2074" fmla="*/ 779516 w 2516810"/>
                <a:gd name="connsiteY2074" fmla="*/ 1042728 h 1504250"/>
                <a:gd name="connsiteX2075" fmla="*/ 779516 w 2516810"/>
                <a:gd name="connsiteY2075" fmla="*/ 1042728 h 1504250"/>
                <a:gd name="connsiteX2076" fmla="*/ 778719 w 2516810"/>
                <a:gd name="connsiteY2076" fmla="*/ 1042728 h 1504250"/>
                <a:gd name="connsiteX2077" fmla="*/ 777921 w 2516810"/>
                <a:gd name="connsiteY2077" fmla="*/ 1042230 h 1504250"/>
                <a:gd name="connsiteX2078" fmla="*/ 777921 w 2516810"/>
                <a:gd name="connsiteY2078" fmla="*/ 1041136 h 1504250"/>
                <a:gd name="connsiteX2079" fmla="*/ 777921 w 2516810"/>
                <a:gd name="connsiteY2079" fmla="*/ 1041136 h 1504250"/>
                <a:gd name="connsiteX2080" fmla="*/ 777423 w 2516810"/>
                <a:gd name="connsiteY2080" fmla="*/ 1040141 h 1504250"/>
                <a:gd name="connsiteX2081" fmla="*/ 776228 w 2516810"/>
                <a:gd name="connsiteY2081" fmla="*/ 1039146 h 1504250"/>
                <a:gd name="connsiteX2082" fmla="*/ 776228 w 2516810"/>
                <a:gd name="connsiteY2082" fmla="*/ 1038351 h 1504250"/>
                <a:gd name="connsiteX2083" fmla="*/ 774235 w 2516810"/>
                <a:gd name="connsiteY2083" fmla="*/ 1037356 h 1504250"/>
                <a:gd name="connsiteX2084" fmla="*/ 773238 w 2516810"/>
                <a:gd name="connsiteY2084" fmla="*/ 1036361 h 1504250"/>
                <a:gd name="connsiteX2085" fmla="*/ 773238 w 2516810"/>
                <a:gd name="connsiteY2085" fmla="*/ 1034072 h 1504250"/>
                <a:gd name="connsiteX2086" fmla="*/ 771444 w 2516810"/>
                <a:gd name="connsiteY2086" fmla="*/ 1030889 h 1504250"/>
                <a:gd name="connsiteX2087" fmla="*/ 770847 w 2516810"/>
                <a:gd name="connsiteY2087" fmla="*/ 1029496 h 1504250"/>
                <a:gd name="connsiteX2088" fmla="*/ 770847 w 2516810"/>
                <a:gd name="connsiteY2088" fmla="*/ 1026213 h 1504250"/>
                <a:gd name="connsiteX2089" fmla="*/ 769651 w 2516810"/>
                <a:gd name="connsiteY2089" fmla="*/ 1025218 h 1504250"/>
                <a:gd name="connsiteX2090" fmla="*/ 768754 w 2516810"/>
                <a:gd name="connsiteY2090" fmla="*/ 1022930 h 1504250"/>
                <a:gd name="connsiteX2091" fmla="*/ 768057 w 2516810"/>
                <a:gd name="connsiteY2091" fmla="*/ 1022034 h 1504250"/>
                <a:gd name="connsiteX2092" fmla="*/ 768057 w 2516810"/>
                <a:gd name="connsiteY2092" fmla="*/ 1016762 h 1504250"/>
                <a:gd name="connsiteX2093" fmla="*/ 768953 w 2516810"/>
                <a:gd name="connsiteY2093" fmla="*/ 1016762 h 1504250"/>
                <a:gd name="connsiteX2094" fmla="*/ 768953 w 2516810"/>
                <a:gd name="connsiteY2094" fmla="*/ 1015170 h 1504250"/>
                <a:gd name="connsiteX2095" fmla="*/ 769651 w 2516810"/>
                <a:gd name="connsiteY2095" fmla="*/ 1014573 h 1504250"/>
                <a:gd name="connsiteX2096" fmla="*/ 769651 w 2516810"/>
                <a:gd name="connsiteY2096" fmla="*/ 1013678 h 1504250"/>
                <a:gd name="connsiteX2097" fmla="*/ 768654 w 2516810"/>
                <a:gd name="connsiteY2097" fmla="*/ 1011688 h 1504250"/>
                <a:gd name="connsiteX2098" fmla="*/ 769651 w 2516810"/>
                <a:gd name="connsiteY2098" fmla="*/ 1010693 h 1504250"/>
                <a:gd name="connsiteX2099" fmla="*/ 769053 w 2516810"/>
                <a:gd name="connsiteY2099" fmla="*/ 1009400 h 1504250"/>
                <a:gd name="connsiteX2100" fmla="*/ 767459 w 2516810"/>
                <a:gd name="connsiteY2100" fmla="*/ 1009400 h 1504250"/>
                <a:gd name="connsiteX2101" fmla="*/ 767459 w 2516810"/>
                <a:gd name="connsiteY2101" fmla="*/ 1009400 h 1504250"/>
                <a:gd name="connsiteX2102" fmla="*/ 766961 w 2516810"/>
                <a:gd name="connsiteY2102" fmla="*/ 1009400 h 1504250"/>
                <a:gd name="connsiteX2103" fmla="*/ 766961 w 2516810"/>
                <a:gd name="connsiteY2103" fmla="*/ 1010096 h 1504250"/>
                <a:gd name="connsiteX2104" fmla="*/ 766064 w 2516810"/>
                <a:gd name="connsiteY2104" fmla="*/ 1010096 h 1504250"/>
                <a:gd name="connsiteX2105" fmla="*/ 765366 w 2516810"/>
                <a:gd name="connsiteY2105" fmla="*/ 1009499 h 1504250"/>
                <a:gd name="connsiteX2106" fmla="*/ 764768 w 2516810"/>
                <a:gd name="connsiteY2106" fmla="*/ 1009499 h 1504250"/>
                <a:gd name="connsiteX2107" fmla="*/ 764171 w 2516810"/>
                <a:gd name="connsiteY2107" fmla="*/ 1010096 h 1504250"/>
                <a:gd name="connsiteX2108" fmla="*/ 763174 w 2516810"/>
                <a:gd name="connsiteY2108" fmla="*/ 1010096 h 1504250"/>
                <a:gd name="connsiteX2109" fmla="*/ 763174 w 2516810"/>
                <a:gd name="connsiteY2109" fmla="*/ 1009499 h 1504250"/>
                <a:gd name="connsiteX2110" fmla="*/ 763971 w 2516810"/>
                <a:gd name="connsiteY2110" fmla="*/ 1008405 h 1504250"/>
                <a:gd name="connsiteX2111" fmla="*/ 763971 w 2516810"/>
                <a:gd name="connsiteY2111" fmla="*/ 1008405 h 1504250"/>
                <a:gd name="connsiteX2112" fmla="*/ 763074 w 2516810"/>
                <a:gd name="connsiteY2112" fmla="*/ 1009499 h 1504250"/>
                <a:gd name="connsiteX2113" fmla="*/ 760683 w 2516810"/>
                <a:gd name="connsiteY2113" fmla="*/ 1009499 h 1504250"/>
                <a:gd name="connsiteX2114" fmla="*/ 760683 w 2516810"/>
                <a:gd name="connsiteY2114" fmla="*/ 1009002 h 1504250"/>
                <a:gd name="connsiteX2115" fmla="*/ 760185 w 2516810"/>
                <a:gd name="connsiteY2115" fmla="*/ 1009599 h 1504250"/>
                <a:gd name="connsiteX2116" fmla="*/ 758989 w 2516810"/>
                <a:gd name="connsiteY2116" fmla="*/ 1009599 h 1504250"/>
                <a:gd name="connsiteX2117" fmla="*/ 757694 w 2516810"/>
                <a:gd name="connsiteY2117" fmla="*/ 1009002 h 1504250"/>
                <a:gd name="connsiteX2118" fmla="*/ 756996 w 2516810"/>
                <a:gd name="connsiteY2118" fmla="*/ 1007808 h 1504250"/>
                <a:gd name="connsiteX2119" fmla="*/ 755900 w 2516810"/>
                <a:gd name="connsiteY2119" fmla="*/ 1007111 h 1504250"/>
                <a:gd name="connsiteX2120" fmla="*/ 755003 w 2516810"/>
                <a:gd name="connsiteY2120" fmla="*/ 1005121 h 1504250"/>
                <a:gd name="connsiteX2121" fmla="*/ 755003 w 2516810"/>
                <a:gd name="connsiteY2121" fmla="*/ 1004027 h 1504250"/>
                <a:gd name="connsiteX2122" fmla="*/ 754405 w 2516810"/>
                <a:gd name="connsiteY2122" fmla="*/ 1003530 h 1504250"/>
                <a:gd name="connsiteX2123" fmla="*/ 752712 w 2516810"/>
                <a:gd name="connsiteY2123" fmla="*/ 1003032 h 1504250"/>
                <a:gd name="connsiteX2124" fmla="*/ 751615 w 2516810"/>
                <a:gd name="connsiteY2124" fmla="*/ 1000147 h 1504250"/>
                <a:gd name="connsiteX2125" fmla="*/ 750320 w 2516810"/>
                <a:gd name="connsiteY2125" fmla="*/ 999053 h 1504250"/>
                <a:gd name="connsiteX2126" fmla="*/ 749224 w 2516810"/>
                <a:gd name="connsiteY2126" fmla="*/ 997361 h 1504250"/>
                <a:gd name="connsiteX2127" fmla="*/ 748626 w 2516810"/>
                <a:gd name="connsiteY2127" fmla="*/ 995272 h 1504250"/>
                <a:gd name="connsiteX2128" fmla="*/ 748128 w 2516810"/>
                <a:gd name="connsiteY2128" fmla="*/ 994079 h 1504250"/>
                <a:gd name="connsiteX2129" fmla="*/ 748128 w 2516810"/>
                <a:gd name="connsiteY2129" fmla="*/ 991989 h 1504250"/>
                <a:gd name="connsiteX2130" fmla="*/ 747331 w 2516810"/>
                <a:gd name="connsiteY2130" fmla="*/ 990000 h 1504250"/>
                <a:gd name="connsiteX2131" fmla="*/ 746633 w 2516810"/>
                <a:gd name="connsiteY2131" fmla="*/ 988010 h 1504250"/>
                <a:gd name="connsiteX2132" fmla="*/ 746633 w 2516810"/>
                <a:gd name="connsiteY2132" fmla="*/ 986418 h 1504250"/>
                <a:gd name="connsiteX2133" fmla="*/ 746633 w 2516810"/>
                <a:gd name="connsiteY2133" fmla="*/ 985423 h 1504250"/>
                <a:gd name="connsiteX2134" fmla="*/ 745039 w 2516810"/>
                <a:gd name="connsiteY2134" fmla="*/ 982339 h 1504250"/>
                <a:gd name="connsiteX2135" fmla="*/ 744142 w 2516810"/>
                <a:gd name="connsiteY2135" fmla="*/ 982339 h 1504250"/>
                <a:gd name="connsiteX2136" fmla="*/ 743544 w 2516810"/>
                <a:gd name="connsiteY2136" fmla="*/ 982936 h 1504250"/>
                <a:gd name="connsiteX2137" fmla="*/ 742647 w 2516810"/>
                <a:gd name="connsiteY2137" fmla="*/ 982438 h 1504250"/>
                <a:gd name="connsiteX2138" fmla="*/ 742647 w 2516810"/>
                <a:gd name="connsiteY2138" fmla="*/ 981344 h 1504250"/>
                <a:gd name="connsiteX2139" fmla="*/ 741551 w 2516810"/>
                <a:gd name="connsiteY2139" fmla="*/ 979951 h 1504250"/>
                <a:gd name="connsiteX2140" fmla="*/ 740655 w 2516810"/>
                <a:gd name="connsiteY2140" fmla="*/ 979354 h 1504250"/>
                <a:gd name="connsiteX2141" fmla="*/ 738662 w 2516810"/>
                <a:gd name="connsiteY2141" fmla="*/ 978658 h 1504250"/>
                <a:gd name="connsiteX2142" fmla="*/ 737267 w 2516810"/>
                <a:gd name="connsiteY2142" fmla="*/ 976867 h 1504250"/>
                <a:gd name="connsiteX2143" fmla="*/ 735672 w 2516810"/>
                <a:gd name="connsiteY2143" fmla="*/ 975872 h 1504250"/>
                <a:gd name="connsiteX2144" fmla="*/ 735074 w 2516810"/>
                <a:gd name="connsiteY2144" fmla="*/ 974778 h 1504250"/>
                <a:gd name="connsiteX2145" fmla="*/ 735074 w 2516810"/>
                <a:gd name="connsiteY2145" fmla="*/ 973385 h 1504250"/>
                <a:gd name="connsiteX2146" fmla="*/ 735074 w 2516810"/>
                <a:gd name="connsiteY2146" fmla="*/ 971793 h 1504250"/>
                <a:gd name="connsiteX2147" fmla="*/ 735074 w 2516810"/>
                <a:gd name="connsiteY2147" fmla="*/ 969804 h 1504250"/>
                <a:gd name="connsiteX2148" fmla="*/ 735074 w 2516810"/>
                <a:gd name="connsiteY2148" fmla="*/ 967018 h 1504250"/>
                <a:gd name="connsiteX2149" fmla="*/ 736071 w 2516810"/>
                <a:gd name="connsiteY2149" fmla="*/ 967018 h 1504250"/>
                <a:gd name="connsiteX2150" fmla="*/ 736071 w 2516810"/>
                <a:gd name="connsiteY2150" fmla="*/ 967714 h 1504250"/>
                <a:gd name="connsiteX2151" fmla="*/ 736669 w 2516810"/>
                <a:gd name="connsiteY2151" fmla="*/ 968311 h 1504250"/>
                <a:gd name="connsiteX2152" fmla="*/ 737167 w 2516810"/>
                <a:gd name="connsiteY2152" fmla="*/ 968311 h 1504250"/>
                <a:gd name="connsiteX2153" fmla="*/ 737765 w 2516810"/>
                <a:gd name="connsiteY2153" fmla="*/ 967615 h 1504250"/>
                <a:gd name="connsiteX2154" fmla="*/ 737067 w 2516810"/>
                <a:gd name="connsiteY2154" fmla="*/ 967018 h 1504250"/>
                <a:gd name="connsiteX2155" fmla="*/ 737067 w 2516810"/>
                <a:gd name="connsiteY2155" fmla="*/ 966421 h 1504250"/>
                <a:gd name="connsiteX2156" fmla="*/ 735971 w 2516810"/>
                <a:gd name="connsiteY2156" fmla="*/ 965028 h 1504250"/>
                <a:gd name="connsiteX2157" fmla="*/ 735074 w 2516810"/>
                <a:gd name="connsiteY2157" fmla="*/ 964332 h 1504250"/>
                <a:gd name="connsiteX2158" fmla="*/ 735074 w 2516810"/>
                <a:gd name="connsiteY2158" fmla="*/ 964332 h 1504250"/>
                <a:gd name="connsiteX2159" fmla="*/ 730391 w 2516810"/>
                <a:gd name="connsiteY2159" fmla="*/ 964332 h 1504250"/>
                <a:gd name="connsiteX2160" fmla="*/ 729494 w 2516810"/>
                <a:gd name="connsiteY2160" fmla="*/ 963735 h 1504250"/>
                <a:gd name="connsiteX2161" fmla="*/ 729494 w 2516810"/>
                <a:gd name="connsiteY2161" fmla="*/ 959755 h 1504250"/>
                <a:gd name="connsiteX2162" fmla="*/ 728897 w 2516810"/>
                <a:gd name="connsiteY2162" fmla="*/ 958761 h 1504250"/>
                <a:gd name="connsiteX2163" fmla="*/ 729694 w 2516810"/>
                <a:gd name="connsiteY2163" fmla="*/ 957169 h 1504250"/>
                <a:gd name="connsiteX2164" fmla="*/ 729694 w 2516810"/>
                <a:gd name="connsiteY2164" fmla="*/ 955179 h 1504250"/>
                <a:gd name="connsiteX2165" fmla="*/ 729694 w 2516810"/>
                <a:gd name="connsiteY2165" fmla="*/ 953886 h 1504250"/>
                <a:gd name="connsiteX2166" fmla="*/ 728398 w 2516810"/>
                <a:gd name="connsiteY2166" fmla="*/ 951498 h 1504250"/>
                <a:gd name="connsiteX2167" fmla="*/ 727601 w 2516810"/>
                <a:gd name="connsiteY2167" fmla="*/ 948911 h 1504250"/>
                <a:gd name="connsiteX2168" fmla="*/ 727003 w 2516810"/>
                <a:gd name="connsiteY2168" fmla="*/ 946225 h 1504250"/>
                <a:gd name="connsiteX2169" fmla="*/ 728598 w 2516810"/>
                <a:gd name="connsiteY2169" fmla="*/ 944832 h 1504250"/>
                <a:gd name="connsiteX2170" fmla="*/ 729893 w 2516810"/>
                <a:gd name="connsiteY2170" fmla="*/ 943041 h 1504250"/>
                <a:gd name="connsiteX2171" fmla="*/ 729893 w 2516810"/>
                <a:gd name="connsiteY2171" fmla="*/ 939559 h 1504250"/>
                <a:gd name="connsiteX2172" fmla="*/ 728897 w 2516810"/>
                <a:gd name="connsiteY2172" fmla="*/ 937371 h 1504250"/>
                <a:gd name="connsiteX2173" fmla="*/ 729494 w 2516810"/>
                <a:gd name="connsiteY2173" fmla="*/ 935978 h 1504250"/>
                <a:gd name="connsiteX2174" fmla="*/ 731089 w 2516810"/>
                <a:gd name="connsiteY2174" fmla="*/ 934685 h 1504250"/>
                <a:gd name="connsiteX2175" fmla="*/ 731089 w 2516810"/>
                <a:gd name="connsiteY2175" fmla="*/ 933192 h 1504250"/>
                <a:gd name="connsiteX2176" fmla="*/ 731886 w 2516810"/>
                <a:gd name="connsiteY2176" fmla="*/ 932496 h 1504250"/>
                <a:gd name="connsiteX2177" fmla="*/ 731886 w 2516810"/>
                <a:gd name="connsiteY2177" fmla="*/ 931202 h 1504250"/>
                <a:gd name="connsiteX2178" fmla="*/ 731288 w 2516810"/>
                <a:gd name="connsiteY2178" fmla="*/ 929412 h 1504250"/>
                <a:gd name="connsiteX2179" fmla="*/ 731288 w 2516810"/>
                <a:gd name="connsiteY2179" fmla="*/ 927720 h 1504250"/>
                <a:gd name="connsiteX2180" fmla="*/ 728797 w 2516810"/>
                <a:gd name="connsiteY2180" fmla="*/ 926129 h 1504250"/>
                <a:gd name="connsiteX2181" fmla="*/ 728199 w 2516810"/>
                <a:gd name="connsiteY2181" fmla="*/ 924935 h 1504250"/>
                <a:gd name="connsiteX2182" fmla="*/ 727502 w 2516810"/>
                <a:gd name="connsiteY2182" fmla="*/ 924935 h 1504250"/>
                <a:gd name="connsiteX2183" fmla="*/ 726904 w 2516810"/>
                <a:gd name="connsiteY2183" fmla="*/ 924935 h 1504250"/>
                <a:gd name="connsiteX2184" fmla="*/ 726904 w 2516810"/>
                <a:gd name="connsiteY2184" fmla="*/ 924437 h 1504250"/>
                <a:gd name="connsiteX2185" fmla="*/ 726904 w 2516810"/>
                <a:gd name="connsiteY2185" fmla="*/ 923840 h 1504250"/>
                <a:gd name="connsiteX2186" fmla="*/ 726904 w 2516810"/>
                <a:gd name="connsiteY2186" fmla="*/ 923244 h 1504250"/>
                <a:gd name="connsiteX2187" fmla="*/ 726206 w 2516810"/>
                <a:gd name="connsiteY2187" fmla="*/ 923244 h 1504250"/>
                <a:gd name="connsiteX2188" fmla="*/ 726206 w 2516810"/>
                <a:gd name="connsiteY2188" fmla="*/ 922249 h 1504250"/>
                <a:gd name="connsiteX2189" fmla="*/ 726206 w 2516810"/>
                <a:gd name="connsiteY2189" fmla="*/ 922249 h 1504250"/>
                <a:gd name="connsiteX2190" fmla="*/ 726206 w 2516810"/>
                <a:gd name="connsiteY2190" fmla="*/ 921751 h 1504250"/>
                <a:gd name="connsiteX2191" fmla="*/ 726206 w 2516810"/>
                <a:gd name="connsiteY2191" fmla="*/ 919065 h 1504250"/>
                <a:gd name="connsiteX2192" fmla="*/ 725509 w 2516810"/>
                <a:gd name="connsiteY2192" fmla="*/ 917274 h 1504250"/>
                <a:gd name="connsiteX2193" fmla="*/ 724014 w 2516810"/>
                <a:gd name="connsiteY2193" fmla="*/ 916279 h 1504250"/>
                <a:gd name="connsiteX2194" fmla="*/ 724014 w 2516810"/>
                <a:gd name="connsiteY2194" fmla="*/ 913892 h 1504250"/>
                <a:gd name="connsiteX2195" fmla="*/ 724014 w 2516810"/>
                <a:gd name="connsiteY2195" fmla="*/ 912200 h 1504250"/>
                <a:gd name="connsiteX2196" fmla="*/ 722519 w 2516810"/>
                <a:gd name="connsiteY2196" fmla="*/ 909116 h 1504250"/>
                <a:gd name="connsiteX2197" fmla="*/ 722519 w 2516810"/>
                <a:gd name="connsiteY2197" fmla="*/ 908022 h 1504250"/>
                <a:gd name="connsiteX2198" fmla="*/ 720427 w 2516810"/>
                <a:gd name="connsiteY2198" fmla="*/ 907325 h 1504250"/>
                <a:gd name="connsiteX2199" fmla="*/ 720925 w 2516810"/>
                <a:gd name="connsiteY2199" fmla="*/ 903744 h 1504250"/>
                <a:gd name="connsiteX2200" fmla="*/ 722420 w 2516810"/>
                <a:gd name="connsiteY2200" fmla="*/ 903744 h 1504250"/>
                <a:gd name="connsiteX2201" fmla="*/ 722420 w 2516810"/>
                <a:gd name="connsiteY2201" fmla="*/ 900660 h 1504250"/>
                <a:gd name="connsiteX2202" fmla="*/ 722420 w 2516810"/>
                <a:gd name="connsiteY2202" fmla="*/ 898670 h 1504250"/>
                <a:gd name="connsiteX2203" fmla="*/ 721722 w 2516810"/>
                <a:gd name="connsiteY2203" fmla="*/ 896481 h 1504250"/>
                <a:gd name="connsiteX2204" fmla="*/ 720128 w 2516810"/>
                <a:gd name="connsiteY2204" fmla="*/ 894492 h 1504250"/>
                <a:gd name="connsiteX2205" fmla="*/ 718035 w 2516810"/>
                <a:gd name="connsiteY2205" fmla="*/ 893696 h 1504250"/>
                <a:gd name="connsiteX2206" fmla="*/ 716840 w 2516810"/>
                <a:gd name="connsiteY2206" fmla="*/ 892303 h 1504250"/>
                <a:gd name="connsiteX2207" fmla="*/ 716840 w 2516810"/>
                <a:gd name="connsiteY2207" fmla="*/ 891209 h 1504250"/>
                <a:gd name="connsiteX2208" fmla="*/ 718135 w 2516810"/>
                <a:gd name="connsiteY2208" fmla="*/ 890711 h 1504250"/>
                <a:gd name="connsiteX2209" fmla="*/ 718135 w 2516810"/>
                <a:gd name="connsiteY2209" fmla="*/ 890015 h 1504250"/>
                <a:gd name="connsiteX2210" fmla="*/ 717537 w 2516810"/>
                <a:gd name="connsiteY2210" fmla="*/ 889219 h 1504250"/>
                <a:gd name="connsiteX2211" fmla="*/ 716242 w 2516810"/>
                <a:gd name="connsiteY2211" fmla="*/ 888721 h 1504250"/>
                <a:gd name="connsiteX2212" fmla="*/ 713352 w 2516810"/>
                <a:gd name="connsiteY2212" fmla="*/ 886831 h 1504250"/>
                <a:gd name="connsiteX2213" fmla="*/ 712455 w 2516810"/>
                <a:gd name="connsiteY2213" fmla="*/ 884145 h 1504250"/>
                <a:gd name="connsiteX2214" fmla="*/ 712455 w 2516810"/>
                <a:gd name="connsiteY2214" fmla="*/ 881260 h 1504250"/>
                <a:gd name="connsiteX2215" fmla="*/ 712455 w 2516810"/>
                <a:gd name="connsiteY2215" fmla="*/ 877678 h 1504250"/>
                <a:gd name="connsiteX2216" fmla="*/ 713950 w 2516810"/>
                <a:gd name="connsiteY2216" fmla="*/ 874892 h 1504250"/>
                <a:gd name="connsiteX2217" fmla="*/ 713950 w 2516810"/>
                <a:gd name="connsiteY2217" fmla="*/ 872306 h 1504250"/>
                <a:gd name="connsiteX2218" fmla="*/ 714647 w 2516810"/>
                <a:gd name="connsiteY2218" fmla="*/ 871112 h 1504250"/>
                <a:gd name="connsiteX2219" fmla="*/ 715445 w 2516810"/>
                <a:gd name="connsiteY2219" fmla="*/ 870615 h 1504250"/>
                <a:gd name="connsiteX2220" fmla="*/ 713751 w 2516810"/>
                <a:gd name="connsiteY2220" fmla="*/ 869620 h 1504250"/>
                <a:gd name="connsiteX2221" fmla="*/ 713153 w 2516810"/>
                <a:gd name="connsiteY2221" fmla="*/ 868923 h 1504250"/>
                <a:gd name="connsiteX2222" fmla="*/ 713153 w 2516810"/>
                <a:gd name="connsiteY2222" fmla="*/ 867531 h 1504250"/>
                <a:gd name="connsiteX2223" fmla="*/ 711658 w 2516810"/>
                <a:gd name="connsiteY2223" fmla="*/ 867531 h 1504250"/>
                <a:gd name="connsiteX2224" fmla="*/ 711658 w 2516810"/>
                <a:gd name="connsiteY2224" fmla="*/ 868127 h 1504250"/>
                <a:gd name="connsiteX2225" fmla="*/ 710761 w 2516810"/>
                <a:gd name="connsiteY2225" fmla="*/ 868127 h 1504250"/>
                <a:gd name="connsiteX2226" fmla="*/ 708071 w 2516810"/>
                <a:gd name="connsiteY2226" fmla="*/ 867531 h 1504250"/>
                <a:gd name="connsiteX2227" fmla="*/ 705381 w 2516810"/>
                <a:gd name="connsiteY2227" fmla="*/ 866436 h 1504250"/>
                <a:gd name="connsiteX2228" fmla="*/ 702391 w 2516810"/>
                <a:gd name="connsiteY2228" fmla="*/ 865342 h 1504250"/>
                <a:gd name="connsiteX2229" fmla="*/ 700299 w 2516810"/>
                <a:gd name="connsiteY2229" fmla="*/ 864048 h 1504250"/>
                <a:gd name="connsiteX2230" fmla="*/ 700299 w 2516810"/>
                <a:gd name="connsiteY2230" fmla="*/ 861561 h 1504250"/>
                <a:gd name="connsiteX2231" fmla="*/ 700996 w 2516810"/>
                <a:gd name="connsiteY2231" fmla="*/ 854697 h 1504250"/>
                <a:gd name="connsiteX2232" fmla="*/ 700996 w 2516810"/>
                <a:gd name="connsiteY2232" fmla="*/ 851414 h 1504250"/>
                <a:gd name="connsiteX2233" fmla="*/ 700996 w 2516810"/>
                <a:gd name="connsiteY2233" fmla="*/ 848429 h 1504250"/>
                <a:gd name="connsiteX2234" fmla="*/ 701594 w 2516810"/>
                <a:gd name="connsiteY2234" fmla="*/ 845046 h 1504250"/>
                <a:gd name="connsiteX2235" fmla="*/ 700299 w 2516810"/>
                <a:gd name="connsiteY2235" fmla="*/ 844350 h 1504250"/>
                <a:gd name="connsiteX2236" fmla="*/ 700299 w 2516810"/>
                <a:gd name="connsiteY2236" fmla="*/ 843355 h 1504250"/>
                <a:gd name="connsiteX2237" fmla="*/ 698704 w 2516810"/>
                <a:gd name="connsiteY2237" fmla="*/ 842758 h 1504250"/>
                <a:gd name="connsiteX2238" fmla="*/ 695715 w 2516810"/>
                <a:gd name="connsiteY2238" fmla="*/ 841465 h 1504250"/>
                <a:gd name="connsiteX2239" fmla="*/ 695715 w 2516810"/>
                <a:gd name="connsiteY2239" fmla="*/ 840768 h 1504250"/>
                <a:gd name="connsiteX2240" fmla="*/ 693921 w 2516810"/>
                <a:gd name="connsiteY2240" fmla="*/ 839873 h 1504250"/>
                <a:gd name="connsiteX2241" fmla="*/ 693921 w 2516810"/>
                <a:gd name="connsiteY2241" fmla="*/ 838978 h 1504250"/>
                <a:gd name="connsiteX2242" fmla="*/ 691131 w 2516810"/>
                <a:gd name="connsiteY2242" fmla="*/ 837983 h 1504250"/>
                <a:gd name="connsiteX2243" fmla="*/ 691131 w 2516810"/>
                <a:gd name="connsiteY2243" fmla="*/ 837087 h 1504250"/>
                <a:gd name="connsiteX2244" fmla="*/ 690135 w 2516810"/>
                <a:gd name="connsiteY2244" fmla="*/ 836291 h 1504250"/>
                <a:gd name="connsiteX2245" fmla="*/ 689437 w 2516810"/>
                <a:gd name="connsiteY2245" fmla="*/ 834899 h 1504250"/>
                <a:gd name="connsiteX2246" fmla="*/ 688740 w 2516810"/>
                <a:gd name="connsiteY2246" fmla="*/ 833307 h 1504250"/>
                <a:gd name="connsiteX2247" fmla="*/ 687146 w 2516810"/>
                <a:gd name="connsiteY2247" fmla="*/ 833307 h 1504250"/>
                <a:gd name="connsiteX2248" fmla="*/ 682064 w 2516810"/>
                <a:gd name="connsiteY2248" fmla="*/ 829526 h 1504250"/>
                <a:gd name="connsiteX2249" fmla="*/ 681067 w 2516810"/>
                <a:gd name="connsiteY2249" fmla="*/ 827238 h 1504250"/>
                <a:gd name="connsiteX2250" fmla="*/ 678975 w 2516810"/>
                <a:gd name="connsiteY2250" fmla="*/ 824253 h 1504250"/>
                <a:gd name="connsiteX2251" fmla="*/ 676085 w 2516810"/>
                <a:gd name="connsiteY2251" fmla="*/ 821667 h 1504250"/>
                <a:gd name="connsiteX2252" fmla="*/ 673096 w 2516810"/>
                <a:gd name="connsiteY2252" fmla="*/ 819976 h 1504250"/>
                <a:gd name="connsiteX2253" fmla="*/ 673096 w 2516810"/>
                <a:gd name="connsiteY2253" fmla="*/ 818782 h 1504250"/>
                <a:gd name="connsiteX2254" fmla="*/ 670206 w 2516810"/>
                <a:gd name="connsiteY2254" fmla="*/ 817090 h 1504250"/>
                <a:gd name="connsiteX2255" fmla="*/ 669110 w 2516810"/>
                <a:gd name="connsiteY2255" fmla="*/ 817886 h 1504250"/>
                <a:gd name="connsiteX2256" fmla="*/ 668213 w 2516810"/>
                <a:gd name="connsiteY2256" fmla="*/ 818881 h 1504250"/>
                <a:gd name="connsiteX2257" fmla="*/ 666021 w 2516810"/>
                <a:gd name="connsiteY2257" fmla="*/ 818881 h 1504250"/>
                <a:gd name="connsiteX2258" fmla="*/ 666021 w 2516810"/>
                <a:gd name="connsiteY2258" fmla="*/ 819777 h 1504250"/>
                <a:gd name="connsiteX2259" fmla="*/ 666918 w 2516810"/>
                <a:gd name="connsiteY2259" fmla="*/ 820572 h 1504250"/>
                <a:gd name="connsiteX2260" fmla="*/ 666918 w 2516810"/>
                <a:gd name="connsiteY2260" fmla="*/ 822164 h 1504250"/>
                <a:gd name="connsiteX2261" fmla="*/ 667615 w 2516810"/>
                <a:gd name="connsiteY2261" fmla="*/ 823159 h 1504250"/>
                <a:gd name="connsiteX2262" fmla="*/ 667615 w 2516810"/>
                <a:gd name="connsiteY2262" fmla="*/ 824055 h 1504250"/>
                <a:gd name="connsiteX2263" fmla="*/ 667615 w 2516810"/>
                <a:gd name="connsiteY2263" fmla="*/ 825248 h 1504250"/>
                <a:gd name="connsiteX2264" fmla="*/ 668313 w 2516810"/>
                <a:gd name="connsiteY2264" fmla="*/ 826044 h 1504250"/>
                <a:gd name="connsiteX2265" fmla="*/ 669309 w 2516810"/>
                <a:gd name="connsiteY2265" fmla="*/ 827139 h 1504250"/>
                <a:gd name="connsiteX2266" fmla="*/ 668711 w 2516810"/>
                <a:gd name="connsiteY2266" fmla="*/ 828830 h 1504250"/>
                <a:gd name="connsiteX2267" fmla="*/ 669309 w 2516810"/>
                <a:gd name="connsiteY2267" fmla="*/ 831019 h 1504250"/>
                <a:gd name="connsiteX2268" fmla="*/ 669309 w 2516810"/>
                <a:gd name="connsiteY2268" fmla="*/ 832909 h 1504250"/>
                <a:gd name="connsiteX2269" fmla="*/ 670007 w 2516810"/>
                <a:gd name="connsiteY2269" fmla="*/ 834600 h 1504250"/>
                <a:gd name="connsiteX2270" fmla="*/ 670007 w 2516810"/>
                <a:gd name="connsiteY2270" fmla="*/ 838381 h 1504250"/>
                <a:gd name="connsiteX2271" fmla="*/ 670505 w 2516810"/>
                <a:gd name="connsiteY2271" fmla="*/ 839475 h 1504250"/>
                <a:gd name="connsiteX2272" fmla="*/ 670505 w 2516810"/>
                <a:gd name="connsiteY2272" fmla="*/ 840669 h 1504250"/>
                <a:gd name="connsiteX2273" fmla="*/ 670505 w 2516810"/>
                <a:gd name="connsiteY2273" fmla="*/ 841763 h 1504250"/>
                <a:gd name="connsiteX2274" fmla="*/ 671402 w 2516810"/>
                <a:gd name="connsiteY2274" fmla="*/ 841763 h 1504250"/>
                <a:gd name="connsiteX2275" fmla="*/ 672996 w 2516810"/>
                <a:gd name="connsiteY2275" fmla="*/ 845345 h 1504250"/>
                <a:gd name="connsiteX2276" fmla="*/ 676484 w 2516810"/>
                <a:gd name="connsiteY2276" fmla="*/ 847235 h 1504250"/>
                <a:gd name="connsiteX2277" fmla="*/ 677680 w 2516810"/>
                <a:gd name="connsiteY2277" fmla="*/ 849523 h 1504250"/>
                <a:gd name="connsiteX2278" fmla="*/ 679473 w 2516810"/>
                <a:gd name="connsiteY2278" fmla="*/ 850419 h 1504250"/>
                <a:gd name="connsiteX2279" fmla="*/ 683060 w 2516810"/>
                <a:gd name="connsiteY2279" fmla="*/ 853602 h 1504250"/>
                <a:gd name="connsiteX2280" fmla="*/ 685850 w 2516810"/>
                <a:gd name="connsiteY2280" fmla="*/ 857283 h 1504250"/>
                <a:gd name="connsiteX2281" fmla="*/ 687445 w 2516810"/>
                <a:gd name="connsiteY2281" fmla="*/ 858577 h 1504250"/>
                <a:gd name="connsiteX2282" fmla="*/ 687445 w 2516810"/>
                <a:gd name="connsiteY2282" fmla="*/ 860268 h 1504250"/>
                <a:gd name="connsiteX2283" fmla="*/ 682662 w 2516810"/>
                <a:gd name="connsiteY2283" fmla="*/ 864446 h 1504250"/>
                <a:gd name="connsiteX2284" fmla="*/ 679971 w 2516810"/>
                <a:gd name="connsiteY2284" fmla="*/ 866038 h 1504250"/>
                <a:gd name="connsiteX2285" fmla="*/ 676683 w 2516810"/>
                <a:gd name="connsiteY2285" fmla="*/ 864148 h 1504250"/>
                <a:gd name="connsiteX2286" fmla="*/ 673893 w 2516810"/>
                <a:gd name="connsiteY2286" fmla="*/ 861661 h 1504250"/>
                <a:gd name="connsiteX2287" fmla="*/ 670605 w 2516810"/>
                <a:gd name="connsiteY2287" fmla="*/ 857582 h 1504250"/>
                <a:gd name="connsiteX2288" fmla="*/ 668911 w 2516810"/>
                <a:gd name="connsiteY2288" fmla="*/ 855293 h 1504250"/>
                <a:gd name="connsiteX2289" fmla="*/ 667316 w 2516810"/>
                <a:gd name="connsiteY2289" fmla="*/ 853801 h 1504250"/>
                <a:gd name="connsiteX2290" fmla="*/ 664925 w 2516810"/>
                <a:gd name="connsiteY2290" fmla="*/ 853105 h 1504250"/>
                <a:gd name="connsiteX2291" fmla="*/ 664427 w 2516810"/>
                <a:gd name="connsiteY2291" fmla="*/ 851612 h 1504250"/>
                <a:gd name="connsiteX2292" fmla="*/ 664427 w 2516810"/>
                <a:gd name="connsiteY2292" fmla="*/ 850518 h 1504250"/>
                <a:gd name="connsiteX2293" fmla="*/ 663929 w 2516810"/>
                <a:gd name="connsiteY2293" fmla="*/ 848628 h 1504250"/>
                <a:gd name="connsiteX2294" fmla="*/ 662633 w 2516810"/>
                <a:gd name="connsiteY2294" fmla="*/ 846439 h 1504250"/>
                <a:gd name="connsiteX2295" fmla="*/ 659744 w 2516810"/>
                <a:gd name="connsiteY2295" fmla="*/ 843952 h 1504250"/>
                <a:gd name="connsiteX2296" fmla="*/ 657950 w 2516810"/>
                <a:gd name="connsiteY2296" fmla="*/ 843454 h 1504250"/>
                <a:gd name="connsiteX2297" fmla="*/ 657352 w 2516810"/>
                <a:gd name="connsiteY2297" fmla="*/ 840768 h 1504250"/>
                <a:gd name="connsiteX2298" fmla="*/ 659245 w 2516810"/>
                <a:gd name="connsiteY2298" fmla="*/ 836789 h 1504250"/>
                <a:gd name="connsiteX2299" fmla="*/ 660840 w 2516810"/>
                <a:gd name="connsiteY2299" fmla="*/ 837684 h 1504250"/>
                <a:gd name="connsiteX2300" fmla="*/ 660840 w 2516810"/>
                <a:gd name="connsiteY2300" fmla="*/ 836291 h 1504250"/>
                <a:gd name="connsiteX2301" fmla="*/ 661437 w 2516810"/>
                <a:gd name="connsiteY2301" fmla="*/ 834899 h 1504250"/>
                <a:gd name="connsiteX2302" fmla="*/ 662733 w 2516810"/>
                <a:gd name="connsiteY2302" fmla="*/ 833904 h 1504250"/>
                <a:gd name="connsiteX2303" fmla="*/ 662733 w 2516810"/>
                <a:gd name="connsiteY2303" fmla="*/ 833008 h 1504250"/>
                <a:gd name="connsiteX2304" fmla="*/ 662733 w 2516810"/>
                <a:gd name="connsiteY2304" fmla="*/ 830919 h 1504250"/>
                <a:gd name="connsiteX2305" fmla="*/ 661836 w 2516810"/>
                <a:gd name="connsiteY2305" fmla="*/ 827835 h 1504250"/>
                <a:gd name="connsiteX2306" fmla="*/ 656854 w 2516810"/>
                <a:gd name="connsiteY2306" fmla="*/ 823557 h 1504250"/>
                <a:gd name="connsiteX2307" fmla="*/ 656156 w 2516810"/>
                <a:gd name="connsiteY2307" fmla="*/ 820871 h 1504250"/>
                <a:gd name="connsiteX2308" fmla="*/ 652868 w 2516810"/>
                <a:gd name="connsiteY2308" fmla="*/ 819677 h 1504250"/>
                <a:gd name="connsiteX2309" fmla="*/ 651573 w 2516810"/>
                <a:gd name="connsiteY2309" fmla="*/ 818881 h 1504250"/>
                <a:gd name="connsiteX2310" fmla="*/ 650875 w 2516810"/>
                <a:gd name="connsiteY2310" fmla="*/ 816295 h 1504250"/>
                <a:gd name="connsiteX2311" fmla="*/ 649082 w 2516810"/>
                <a:gd name="connsiteY2311" fmla="*/ 814006 h 1504250"/>
                <a:gd name="connsiteX2312" fmla="*/ 649082 w 2516810"/>
                <a:gd name="connsiteY2312" fmla="*/ 812713 h 1504250"/>
                <a:gd name="connsiteX2313" fmla="*/ 647886 w 2516810"/>
                <a:gd name="connsiteY2313" fmla="*/ 812116 h 1504250"/>
                <a:gd name="connsiteX2314" fmla="*/ 645594 w 2516810"/>
                <a:gd name="connsiteY2314" fmla="*/ 810624 h 1504250"/>
                <a:gd name="connsiteX2315" fmla="*/ 643701 w 2516810"/>
                <a:gd name="connsiteY2315" fmla="*/ 806943 h 1504250"/>
                <a:gd name="connsiteX2316" fmla="*/ 643701 w 2516810"/>
                <a:gd name="connsiteY2316" fmla="*/ 804257 h 1504250"/>
                <a:gd name="connsiteX2317" fmla="*/ 643701 w 2516810"/>
                <a:gd name="connsiteY2317" fmla="*/ 801968 h 1504250"/>
                <a:gd name="connsiteX2318" fmla="*/ 644797 w 2516810"/>
                <a:gd name="connsiteY2318" fmla="*/ 799083 h 1504250"/>
                <a:gd name="connsiteX2319" fmla="*/ 646889 w 2516810"/>
                <a:gd name="connsiteY2319" fmla="*/ 796198 h 1504250"/>
                <a:gd name="connsiteX2320" fmla="*/ 648982 w 2516810"/>
                <a:gd name="connsiteY2320" fmla="*/ 794606 h 1504250"/>
                <a:gd name="connsiteX2321" fmla="*/ 650576 w 2516810"/>
                <a:gd name="connsiteY2321" fmla="*/ 794606 h 1504250"/>
                <a:gd name="connsiteX2322" fmla="*/ 652270 w 2516810"/>
                <a:gd name="connsiteY2322" fmla="*/ 793910 h 1504250"/>
                <a:gd name="connsiteX2323" fmla="*/ 652270 w 2516810"/>
                <a:gd name="connsiteY2323" fmla="*/ 792616 h 1504250"/>
                <a:gd name="connsiteX2324" fmla="*/ 651573 w 2516810"/>
                <a:gd name="connsiteY2324" fmla="*/ 791821 h 1504250"/>
                <a:gd name="connsiteX2325" fmla="*/ 651573 w 2516810"/>
                <a:gd name="connsiteY2325" fmla="*/ 790627 h 1504250"/>
                <a:gd name="connsiteX2326" fmla="*/ 650377 w 2516810"/>
                <a:gd name="connsiteY2326" fmla="*/ 790627 h 1504250"/>
                <a:gd name="connsiteX2327" fmla="*/ 646092 w 2516810"/>
                <a:gd name="connsiteY2327" fmla="*/ 790627 h 1504250"/>
                <a:gd name="connsiteX2328" fmla="*/ 643900 w 2516810"/>
                <a:gd name="connsiteY2328" fmla="*/ 787841 h 1504250"/>
                <a:gd name="connsiteX2329" fmla="*/ 638420 w 2516810"/>
                <a:gd name="connsiteY2329" fmla="*/ 786747 h 1504250"/>
                <a:gd name="connsiteX2330" fmla="*/ 637224 w 2516810"/>
                <a:gd name="connsiteY2330" fmla="*/ 786150 h 1504250"/>
                <a:gd name="connsiteX2331" fmla="*/ 636726 w 2516810"/>
                <a:gd name="connsiteY2331" fmla="*/ 785453 h 1504250"/>
                <a:gd name="connsiteX2332" fmla="*/ 634135 w 2516810"/>
                <a:gd name="connsiteY2332" fmla="*/ 785453 h 1504250"/>
                <a:gd name="connsiteX2333" fmla="*/ 630847 w 2516810"/>
                <a:gd name="connsiteY2333" fmla="*/ 784060 h 1504250"/>
                <a:gd name="connsiteX2334" fmla="*/ 628455 w 2516810"/>
                <a:gd name="connsiteY2334" fmla="*/ 781474 h 1504250"/>
                <a:gd name="connsiteX2335" fmla="*/ 625765 w 2516810"/>
                <a:gd name="connsiteY2335" fmla="*/ 781474 h 1504250"/>
                <a:gd name="connsiteX2336" fmla="*/ 624569 w 2516810"/>
                <a:gd name="connsiteY2336" fmla="*/ 780777 h 1504250"/>
                <a:gd name="connsiteX2337" fmla="*/ 623971 w 2516810"/>
                <a:gd name="connsiteY2337" fmla="*/ 779584 h 1504250"/>
                <a:gd name="connsiteX2338" fmla="*/ 622477 w 2516810"/>
                <a:gd name="connsiteY2338" fmla="*/ 777992 h 1504250"/>
                <a:gd name="connsiteX2339" fmla="*/ 620783 w 2516810"/>
                <a:gd name="connsiteY2339" fmla="*/ 776300 h 1504250"/>
                <a:gd name="connsiteX2340" fmla="*/ 618491 w 2516810"/>
                <a:gd name="connsiteY2340" fmla="*/ 774709 h 1504250"/>
                <a:gd name="connsiteX2341" fmla="*/ 618491 w 2516810"/>
                <a:gd name="connsiteY2341" fmla="*/ 773614 h 1504250"/>
                <a:gd name="connsiteX2342" fmla="*/ 618989 w 2516810"/>
                <a:gd name="connsiteY2342" fmla="*/ 772619 h 1504250"/>
                <a:gd name="connsiteX2343" fmla="*/ 619587 w 2516810"/>
                <a:gd name="connsiteY2343" fmla="*/ 771923 h 1504250"/>
                <a:gd name="connsiteX2344" fmla="*/ 620484 w 2516810"/>
                <a:gd name="connsiteY2344" fmla="*/ 769237 h 1504250"/>
                <a:gd name="connsiteX2345" fmla="*/ 618989 w 2516810"/>
                <a:gd name="connsiteY2345" fmla="*/ 767745 h 1504250"/>
                <a:gd name="connsiteX2346" fmla="*/ 617694 w 2516810"/>
                <a:gd name="connsiteY2346" fmla="*/ 764661 h 1504250"/>
                <a:gd name="connsiteX2347" fmla="*/ 616099 w 2516810"/>
                <a:gd name="connsiteY2347" fmla="*/ 763566 h 1504250"/>
                <a:gd name="connsiteX2348" fmla="*/ 615402 w 2516810"/>
                <a:gd name="connsiteY2348" fmla="*/ 760283 h 1504250"/>
                <a:gd name="connsiteX2349" fmla="*/ 614704 w 2516810"/>
                <a:gd name="connsiteY2349" fmla="*/ 758592 h 1504250"/>
                <a:gd name="connsiteX2350" fmla="*/ 612612 w 2516810"/>
                <a:gd name="connsiteY2350" fmla="*/ 758094 h 1504250"/>
                <a:gd name="connsiteX2351" fmla="*/ 611715 w 2516810"/>
                <a:gd name="connsiteY2351" fmla="*/ 756503 h 1504250"/>
                <a:gd name="connsiteX2352" fmla="*/ 611018 w 2516810"/>
                <a:gd name="connsiteY2352" fmla="*/ 754314 h 1504250"/>
                <a:gd name="connsiteX2353" fmla="*/ 608925 w 2516810"/>
                <a:gd name="connsiteY2353" fmla="*/ 753220 h 1504250"/>
                <a:gd name="connsiteX2354" fmla="*/ 607630 w 2516810"/>
                <a:gd name="connsiteY2354" fmla="*/ 751031 h 1504250"/>
                <a:gd name="connsiteX2355" fmla="*/ 607630 w 2516810"/>
                <a:gd name="connsiteY2355" fmla="*/ 749439 h 1504250"/>
                <a:gd name="connsiteX2356" fmla="*/ 607630 w 2516810"/>
                <a:gd name="connsiteY2356" fmla="*/ 747748 h 1504250"/>
                <a:gd name="connsiteX2357" fmla="*/ 606334 w 2516810"/>
                <a:gd name="connsiteY2357" fmla="*/ 745360 h 1504250"/>
                <a:gd name="connsiteX2358" fmla="*/ 604939 w 2516810"/>
                <a:gd name="connsiteY2358" fmla="*/ 742375 h 1504250"/>
                <a:gd name="connsiteX2359" fmla="*/ 604939 w 2516810"/>
                <a:gd name="connsiteY2359" fmla="*/ 740187 h 1504250"/>
                <a:gd name="connsiteX2360" fmla="*/ 604341 w 2516810"/>
                <a:gd name="connsiteY2360" fmla="*/ 735312 h 1504250"/>
                <a:gd name="connsiteX2361" fmla="*/ 603146 w 2516810"/>
                <a:gd name="connsiteY2361" fmla="*/ 732228 h 1504250"/>
                <a:gd name="connsiteX2362" fmla="*/ 600555 w 2516810"/>
                <a:gd name="connsiteY2362" fmla="*/ 729840 h 1504250"/>
                <a:gd name="connsiteX2363" fmla="*/ 600555 w 2516810"/>
                <a:gd name="connsiteY2363" fmla="*/ 728248 h 1504250"/>
                <a:gd name="connsiteX2364" fmla="*/ 598163 w 2516810"/>
                <a:gd name="connsiteY2364" fmla="*/ 725960 h 1504250"/>
                <a:gd name="connsiteX2365" fmla="*/ 594377 w 2516810"/>
                <a:gd name="connsiteY2365" fmla="*/ 723672 h 1504250"/>
                <a:gd name="connsiteX2366" fmla="*/ 592484 w 2516810"/>
                <a:gd name="connsiteY2366" fmla="*/ 722378 h 1504250"/>
                <a:gd name="connsiteX2367" fmla="*/ 587701 w 2516810"/>
                <a:gd name="connsiteY2367" fmla="*/ 721284 h 1504250"/>
                <a:gd name="connsiteX2368" fmla="*/ 586406 w 2516810"/>
                <a:gd name="connsiteY2368" fmla="*/ 720190 h 1504250"/>
                <a:gd name="connsiteX2369" fmla="*/ 584911 w 2516810"/>
                <a:gd name="connsiteY2369" fmla="*/ 718996 h 1504250"/>
                <a:gd name="connsiteX2370" fmla="*/ 584014 w 2516810"/>
                <a:gd name="connsiteY2370" fmla="*/ 718200 h 1504250"/>
                <a:gd name="connsiteX2371" fmla="*/ 582519 w 2516810"/>
                <a:gd name="connsiteY2371" fmla="*/ 717603 h 1504250"/>
                <a:gd name="connsiteX2372" fmla="*/ 580227 w 2516810"/>
                <a:gd name="connsiteY2372" fmla="*/ 716906 h 1504250"/>
                <a:gd name="connsiteX2373" fmla="*/ 578633 w 2516810"/>
                <a:gd name="connsiteY2373" fmla="*/ 715812 h 1504250"/>
                <a:gd name="connsiteX2374" fmla="*/ 576640 w 2516810"/>
                <a:gd name="connsiteY2374" fmla="*/ 715315 h 1504250"/>
                <a:gd name="connsiteX2375" fmla="*/ 573850 w 2516810"/>
                <a:gd name="connsiteY2375" fmla="*/ 715315 h 1504250"/>
                <a:gd name="connsiteX2376" fmla="*/ 569865 w 2516810"/>
                <a:gd name="connsiteY2376" fmla="*/ 713524 h 1504250"/>
                <a:gd name="connsiteX2377" fmla="*/ 569865 w 2516810"/>
                <a:gd name="connsiteY2377" fmla="*/ 711833 h 1504250"/>
                <a:gd name="connsiteX2378" fmla="*/ 567174 w 2516810"/>
                <a:gd name="connsiteY2378" fmla="*/ 710241 h 1504250"/>
                <a:gd name="connsiteX2379" fmla="*/ 567174 w 2516810"/>
                <a:gd name="connsiteY2379" fmla="*/ 708948 h 1504250"/>
                <a:gd name="connsiteX2380" fmla="*/ 565978 w 2516810"/>
                <a:gd name="connsiteY2380" fmla="*/ 707953 h 1504250"/>
                <a:gd name="connsiteX2381" fmla="*/ 565978 w 2516810"/>
                <a:gd name="connsiteY2381" fmla="*/ 706659 h 1504250"/>
                <a:gd name="connsiteX2382" fmla="*/ 565181 w 2516810"/>
                <a:gd name="connsiteY2382" fmla="*/ 705665 h 1504250"/>
                <a:gd name="connsiteX2383" fmla="*/ 564484 w 2516810"/>
                <a:gd name="connsiteY2383" fmla="*/ 705665 h 1504250"/>
                <a:gd name="connsiteX2384" fmla="*/ 563288 w 2516810"/>
                <a:gd name="connsiteY2384" fmla="*/ 705665 h 1504250"/>
                <a:gd name="connsiteX2385" fmla="*/ 562690 w 2516810"/>
                <a:gd name="connsiteY2385" fmla="*/ 704769 h 1504250"/>
                <a:gd name="connsiteX2386" fmla="*/ 561793 w 2516810"/>
                <a:gd name="connsiteY2386" fmla="*/ 704769 h 1504250"/>
                <a:gd name="connsiteX2387" fmla="*/ 560697 w 2516810"/>
                <a:gd name="connsiteY2387" fmla="*/ 703277 h 1504250"/>
                <a:gd name="connsiteX2388" fmla="*/ 558904 w 2516810"/>
                <a:gd name="connsiteY2388" fmla="*/ 701386 h 1504250"/>
                <a:gd name="connsiteX2389" fmla="*/ 557608 w 2516810"/>
                <a:gd name="connsiteY2389" fmla="*/ 699596 h 1504250"/>
                <a:gd name="connsiteX2390" fmla="*/ 556911 w 2516810"/>
                <a:gd name="connsiteY2390" fmla="*/ 697905 h 1504250"/>
                <a:gd name="connsiteX2391" fmla="*/ 556911 w 2516810"/>
                <a:gd name="connsiteY2391" fmla="*/ 696512 h 1504250"/>
                <a:gd name="connsiteX2392" fmla="*/ 555715 w 2516810"/>
                <a:gd name="connsiteY2392" fmla="*/ 695616 h 1504250"/>
                <a:gd name="connsiteX2393" fmla="*/ 555715 w 2516810"/>
                <a:gd name="connsiteY2393" fmla="*/ 693328 h 1504250"/>
                <a:gd name="connsiteX2394" fmla="*/ 555715 w 2516810"/>
                <a:gd name="connsiteY2394" fmla="*/ 692532 h 1504250"/>
                <a:gd name="connsiteX2395" fmla="*/ 554818 w 2516810"/>
                <a:gd name="connsiteY2395" fmla="*/ 690642 h 1504250"/>
                <a:gd name="connsiteX2396" fmla="*/ 554818 w 2516810"/>
                <a:gd name="connsiteY2396" fmla="*/ 689747 h 1504250"/>
                <a:gd name="connsiteX2397" fmla="*/ 554221 w 2516810"/>
                <a:gd name="connsiteY2397" fmla="*/ 689747 h 1504250"/>
                <a:gd name="connsiteX2398" fmla="*/ 554221 w 2516810"/>
                <a:gd name="connsiteY2398" fmla="*/ 690443 h 1504250"/>
                <a:gd name="connsiteX2399" fmla="*/ 552526 w 2516810"/>
                <a:gd name="connsiteY2399" fmla="*/ 689448 h 1504250"/>
                <a:gd name="connsiteX2400" fmla="*/ 552028 w 2516810"/>
                <a:gd name="connsiteY2400" fmla="*/ 688354 h 1504250"/>
                <a:gd name="connsiteX2401" fmla="*/ 550035 w 2516810"/>
                <a:gd name="connsiteY2401" fmla="*/ 687160 h 1504250"/>
                <a:gd name="connsiteX2402" fmla="*/ 548242 w 2516810"/>
                <a:gd name="connsiteY2402" fmla="*/ 684673 h 1504250"/>
                <a:gd name="connsiteX2403" fmla="*/ 548242 w 2516810"/>
                <a:gd name="connsiteY2403" fmla="*/ 682385 h 1504250"/>
                <a:gd name="connsiteX2404" fmla="*/ 548242 w 2516810"/>
                <a:gd name="connsiteY2404" fmla="*/ 680892 h 1504250"/>
                <a:gd name="connsiteX2405" fmla="*/ 548840 w 2516810"/>
                <a:gd name="connsiteY2405" fmla="*/ 680892 h 1504250"/>
                <a:gd name="connsiteX2406" fmla="*/ 548840 w 2516810"/>
                <a:gd name="connsiteY2406" fmla="*/ 679897 h 1504250"/>
                <a:gd name="connsiteX2407" fmla="*/ 548840 w 2516810"/>
                <a:gd name="connsiteY2407" fmla="*/ 679002 h 1504250"/>
                <a:gd name="connsiteX2408" fmla="*/ 548840 w 2516810"/>
                <a:gd name="connsiteY2408" fmla="*/ 677311 h 1504250"/>
                <a:gd name="connsiteX2409" fmla="*/ 548840 w 2516810"/>
                <a:gd name="connsiteY2409" fmla="*/ 674724 h 1504250"/>
                <a:gd name="connsiteX2410" fmla="*/ 549936 w 2516810"/>
                <a:gd name="connsiteY2410" fmla="*/ 671242 h 1504250"/>
                <a:gd name="connsiteX2411" fmla="*/ 549936 w 2516810"/>
                <a:gd name="connsiteY2411" fmla="*/ 670546 h 1504250"/>
                <a:gd name="connsiteX2412" fmla="*/ 549338 w 2516810"/>
                <a:gd name="connsiteY2412" fmla="*/ 668257 h 1504250"/>
                <a:gd name="connsiteX2413" fmla="*/ 549338 w 2516810"/>
                <a:gd name="connsiteY2413" fmla="*/ 666467 h 1504250"/>
                <a:gd name="connsiteX2414" fmla="*/ 548242 w 2516810"/>
                <a:gd name="connsiteY2414" fmla="*/ 665770 h 1504250"/>
                <a:gd name="connsiteX2415" fmla="*/ 546149 w 2516810"/>
                <a:gd name="connsiteY2415" fmla="*/ 665770 h 1504250"/>
                <a:gd name="connsiteX2416" fmla="*/ 544455 w 2516810"/>
                <a:gd name="connsiteY2416" fmla="*/ 663780 h 1504250"/>
                <a:gd name="connsiteX2417" fmla="*/ 543658 w 2516810"/>
                <a:gd name="connsiteY2417" fmla="*/ 661791 h 1504250"/>
                <a:gd name="connsiteX2418" fmla="*/ 543658 w 2516810"/>
                <a:gd name="connsiteY2418" fmla="*/ 659900 h 1504250"/>
                <a:gd name="connsiteX2419" fmla="*/ 544455 w 2516810"/>
                <a:gd name="connsiteY2419" fmla="*/ 658110 h 1504250"/>
                <a:gd name="connsiteX2420" fmla="*/ 545452 w 2516810"/>
                <a:gd name="connsiteY2420" fmla="*/ 656816 h 1504250"/>
                <a:gd name="connsiteX2421" fmla="*/ 545452 w 2516810"/>
                <a:gd name="connsiteY2421" fmla="*/ 655324 h 1504250"/>
                <a:gd name="connsiteX2422" fmla="*/ 544555 w 2516810"/>
                <a:gd name="connsiteY2422" fmla="*/ 655324 h 1504250"/>
                <a:gd name="connsiteX2423" fmla="*/ 544555 w 2516810"/>
                <a:gd name="connsiteY2423" fmla="*/ 654727 h 1504250"/>
                <a:gd name="connsiteX2424" fmla="*/ 543260 w 2516810"/>
                <a:gd name="connsiteY2424" fmla="*/ 649852 h 1504250"/>
                <a:gd name="connsiteX2425" fmla="*/ 543758 w 2516810"/>
                <a:gd name="connsiteY2425" fmla="*/ 645574 h 1504250"/>
                <a:gd name="connsiteX2426" fmla="*/ 543758 w 2516810"/>
                <a:gd name="connsiteY2426" fmla="*/ 643982 h 1504250"/>
                <a:gd name="connsiteX2427" fmla="*/ 544356 w 2516810"/>
                <a:gd name="connsiteY2427" fmla="*/ 643186 h 1504250"/>
                <a:gd name="connsiteX2428" fmla="*/ 544356 w 2516810"/>
                <a:gd name="connsiteY2428" fmla="*/ 640998 h 1504250"/>
                <a:gd name="connsiteX2429" fmla="*/ 544356 w 2516810"/>
                <a:gd name="connsiteY2429" fmla="*/ 640102 h 1504250"/>
                <a:gd name="connsiteX2430" fmla="*/ 545352 w 2516810"/>
                <a:gd name="connsiteY2430" fmla="*/ 639306 h 1504250"/>
                <a:gd name="connsiteX2431" fmla="*/ 544655 w 2516810"/>
                <a:gd name="connsiteY2431" fmla="*/ 638511 h 1504250"/>
                <a:gd name="connsiteX2432" fmla="*/ 543559 w 2516810"/>
                <a:gd name="connsiteY2432" fmla="*/ 638511 h 1504250"/>
                <a:gd name="connsiteX2433" fmla="*/ 543060 w 2516810"/>
                <a:gd name="connsiteY2433" fmla="*/ 637516 h 1504250"/>
                <a:gd name="connsiteX2434" fmla="*/ 538875 w 2516810"/>
                <a:gd name="connsiteY2434" fmla="*/ 632939 h 1504250"/>
                <a:gd name="connsiteX2435" fmla="*/ 538875 w 2516810"/>
                <a:gd name="connsiteY2435" fmla="*/ 631745 h 1504250"/>
                <a:gd name="connsiteX2436" fmla="*/ 537181 w 2516810"/>
                <a:gd name="connsiteY2436" fmla="*/ 630651 h 1504250"/>
                <a:gd name="connsiteX2437" fmla="*/ 535687 w 2516810"/>
                <a:gd name="connsiteY2437" fmla="*/ 628960 h 1504250"/>
                <a:gd name="connsiteX2438" fmla="*/ 534690 w 2516810"/>
                <a:gd name="connsiteY2438" fmla="*/ 627368 h 1504250"/>
                <a:gd name="connsiteX2439" fmla="*/ 535188 w 2516810"/>
                <a:gd name="connsiteY2439" fmla="*/ 625179 h 1504250"/>
                <a:gd name="connsiteX2440" fmla="*/ 534491 w 2516810"/>
                <a:gd name="connsiteY2440" fmla="*/ 623985 h 1504250"/>
                <a:gd name="connsiteX2441" fmla="*/ 534491 w 2516810"/>
                <a:gd name="connsiteY2441" fmla="*/ 620802 h 1504250"/>
                <a:gd name="connsiteX2442" fmla="*/ 536484 w 2516810"/>
                <a:gd name="connsiteY2442" fmla="*/ 615529 h 1504250"/>
                <a:gd name="connsiteX2443" fmla="*/ 537082 w 2516810"/>
                <a:gd name="connsiteY2443" fmla="*/ 613639 h 1504250"/>
                <a:gd name="connsiteX2444" fmla="*/ 536484 w 2516810"/>
                <a:gd name="connsiteY2444" fmla="*/ 611450 h 1504250"/>
                <a:gd name="connsiteX2445" fmla="*/ 535986 w 2516810"/>
                <a:gd name="connsiteY2445" fmla="*/ 610555 h 1504250"/>
                <a:gd name="connsiteX2446" fmla="*/ 536882 w 2516810"/>
                <a:gd name="connsiteY2446" fmla="*/ 608764 h 1504250"/>
                <a:gd name="connsiteX2447" fmla="*/ 537680 w 2516810"/>
                <a:gd name="connsiteY2447" fmla="*/ 608067 h 1504250"/>
                <a:gd name="connsiteX2448" fmla="*/ 537680 w 2516810"/>
                <a:gd name="connsiteY2448" fmla="*/ 606873 h 1504250"/>
                <a:gd name="connsiteX2449" fmla="*/ 537680 w 2516810"/>
                <a:gd name="connsiteY2449" fmla="*/ 605381 h 1504250"/>
                <a:gd name="connsiteX2450" fmla="*/ 536185 w 2516810"/>
                <a:gd name="connsiteY2450" fmla="*/ 605381 h 1504250"/>
                <a:gd name="connsiteX2451" fmla="*/ 536185 w 2516810"/>
                <a:gd name="connsiteY2451" fmla="*/ 606276 h 1504250"/>
                <a:gd name="connsiteX2452" fmla="*/ 535487 w 2516810"/>
                <a:gd name="connsiteY2452" fmla="*/ 606276 h 1504250"/>
                <a:gd name="connsiteX2453" fmla="*/ 533993 w 2516810"/>
                <a:gd name="connsiteY2453" fmla="*/ 606276 h 1504250"/>
                <a:gd name="connsiteX2454" fmla="*/ 533993 w 2516810"/>
                <a:gd name="connsiteY2454" fmla="*/ 606276 h 1504250"/>
                <a:gd name="connsiteX2455" fmla="*/ 534790 w 2516810"/>
                <a:gd name="connsiteY2455" fmla="*/ 605182 h 1504250"/>
                <a:gd name="connsiteX2456" fmla="*/ 534790 w 2516810"/>
                <a:gd name="connsiteY2456" fmla="*/ 604386 h 1504250"/>
                <a:gd name="connsiteX2457" fmla="*/ 533395 w 2516810"/>
                <a:gd name="connsiteY2457" fmla="*/ 603590 h 1504250"/>
                <a:gd name="connsiteX2458" fmla="*/ 533395 w 2516810"/>
                <a:gd name="connsiteY2458" fmla="*/ 602595 h 1504250"/>
                <a:gd name="connsiteX2459" fmla="*/ 531103 w 2516810"/>
                <a:gd name="connsiteY2459" fmla="*/ 598914 h 1504250"/>
                <a:gd name="connsiteX2460" fmla="*/ 527615 w 2516810"/>
                <a:gd name="connsiteY2460" fmla="*/ 600208 h 1504250"/>
                <a:gd name="connsiteX2461" fmla="*/ 522434 w 2516810"/>
                <a:gd name="connsiteY2461" fmla="*/ 601601 h 1504250"/>
                <a:gd name="connsiteX2462" fmla="*/ 518647 w 2516810"/>
                <a:gd name="connsiteY2462" fmla="*/ 601601 h 1504250"/>
                <a:gd name="connsiteX2463" fmla="*/ 514263 w 2516810"/>
                <a:gd name="connsiteY2463" fmla="*/ 600108 h 1504250"/>
                <a:gd name="connsiteX2464" fmla="*/ 514263 w 2516810"/>
                <a:gd name="connsiteY2464" fmla="*/ 598716 h 1504250"/>
                <a:gd name="connsiteX2465" fmla="*/ 511274 w 2516810"/>
                <a:gd name="connsiteY2465" fmla="*/ 598218 h 1504250"/>
                <a:gd name="connsiteX2466" fmla="*/ 509082 w 2516810"/>
                <a:gd name="connsiteY2466" fmla="*/ 597223 h 1504250"/>
                <a:gd name="connsiteX2467" fmla="*/ 509082 w 2516810"/>
                <a:gd name="connsiteY2467" fmla="*/ 596328 h 1504250"/>
                <a:gd name="connsiteX2468" fmla="*/ 506491 w 2516810"/>
                <a:gd name="connsiteY2468" fmla="*/ 594736 h 1504250"/>
                <a:gd name="connsiteX2469" fmla="*/ 505096 w 2516810"/>
                <a:gd name="connsiteY2469" fmla="*/ 591453 h 1504250"/>
                <a:gd name="connsiteX2470" fmla="*/ 505096 w 2516810"/>
                <a:gd name="connsiteY2470" fmla="*/ 588966 h 1504250"/>
                <a:gd name="connsiteX2471" fmla="*/ 504498 w 2516810"/>
                <a:gd name="connsiteY2471" fmla="*/ 586280 h 1504250"/>
                <a:gd name="connsiteX2472" fmla="*/ 503900 w 2516810"/>
                <a:gd name="connsiteY2472" fmla="*/ 584389 h 1504250"/>
                <a:gd name="connsiteX2473" fmla="*/ 502605 w 2516810"/>
                <a:gd name="connsiteY2473" fmla="*/ 580808 h 1504250"/>
                <a:gd name="connsiteX2474" fmla="*/ 502605 w 2516810"/>
                <a:gd name="connsiteY2474" fmla="*/ 577525 h 1504250"/>
                <a:gd name="connsiteX2475" fmla="*/ 501907 w 2516810"/>
                <a:gd name="connsiteY2475" fmla="*/ 575634 h 1504250"/>
                <a:gd name="connsiteX2476" fmla="*/ 499018 w 2516810"/>
                <a:gd name="connsiteY2476" fmla="*/ 573346 h 1504250"/>
                <a:gd name="connsiteX2477" fmla="*/ 497224 w 2516810"/>
                <a:gd name="connsiteY2477" fmla="*/ 568670 h 1504250"/>
                <a:gd name="connsiteX2478" fmla="*/ 496526 w 2516810"/>
                <a:gd name="connsiteY2478" fmla="*/ 565487 h 1504250"/>
                <a:gd name="connsiteX2479" fmla="*/ 495729 w 2516810"/>
                <a:gd name="connsiteY2479" fmla="*/ 565487 h 1504250"/>
                <a:gd name="connsiteX2480" fmla="*/ 494135 w 2516810"/>
                <a:gd name="connsiteY2480" fmla="*/ 561607 h 1504250"/>
                <a:gd name="connsiteX2481" fmla="*/ 494633 w 2516810"/>
                <a:gd name="connsiteY2481" fmla="*/ 559418 h 1504250"/>
                <a:gd name="connsiteX2482" fmla="*/ 494633 w 2516810"/>
                <a:gd name="connsiteY2482" fmla="*/ 557528 h 1504250"/>
                <a:gd name="connsiteX2483" fmla="*/ 493537 w 2516810"/>
                <a:gd name="connsiteY2483" fmla="*/ 556533 h 1504250"/>
                <a:gd name="connsiteX2484" fmla="*/ 494035 w 2516810"/>
                <a:gd name="connsiteY2484" fmla="*/ 554842 h 1504250"/>
                <a:gd name="connsiteX2485" fmla="*/ 493238 w 2516810"/>
                <a:gd name="connsiteY2485" fmla="*/ 553946 h 1504250"/>
                <a:gd name="connsiteX2486" fmla="*/ 492043 w 2516810"/>
                <a:gd name="connsiteY2486" fmla="*/ 553349 h 1504250"/>
                <a:gd name="connsiteX2487" fmla="*/ 492043 w 2516810"/>
                <a:gd name="connsiteY2487" fmla="*/ 551359 h 1504250"/>
                <a:gd name="connsiteX2488" fmla="*/ 491345 w 2516810"/>
                <a:gd name="connsiteY2488" fmla="*/ 550265 h 1504250"/>
                <a:gd name="connsiteX2489" fmla="*/ 489551 w 2516810"/>
                <a:gd name="connsiteY2489" fmla="*/ 548773 h 1504250"/>
                <a:gd name="connsiteX2490" fmla="*/ 486263 w 2516810"/>
                <a:gd name="connsiteY2490" fmla="*/ 548176 h 1504250"/>
                <a:gd name="connsiteX2491" fmla="*/ 485167 w 2516810"/>
                <a:gd name="connsiteY2491" fmla="*/ 549270 h 1504250"/>
                <a:gd name="connsiteX2492" fmla="*/ 483074 w 2516810"/>
                <a:gd name="connsiteY2492" fmla="*/ 550166 h 1504250"/>
                <a:gd name="connsiteX2493" fmla="*/ 482377 w 2516810"/>
                <a:gd name="connsiteY2493" fmla="*/ 551061 h 1504250"/>
                <a:gd name="connsiteX2494" fmla="*/ 480982 w 2516810"/>
                <a:gd name="connsiteY2494" fmla="*/ 552553 h 1504250"/>
                <a:gd name="connsiteX2495" fmla="*/ 479986 w 2516810"/>
                <a:gd name="connsiteY2495" fmla="*/ 553449 h 1504250"/>
                <a:gd name="connsiteX2496" fmla="*/ 477196 w 2516810"/>
                <a:gd name="connsiteY2496" fmla="*/ 553449 h 1504250"/>
                <a:gd name="connsiteX2497" fmla="*/ 474405 w 2516810"/>
                <a:gd name="connsiteY2497" fmla="*/ 553449 h 1504250"/>
                <a:gd name="connsiteX2498" fmla="*/ 474405 w 2516810"/>
                <a:gd name="connsiteY2498" fmla="*/ 550862 h 1504250"/>
                <a:gd name="connsiteX2499" fmla="*/ 472712 w 2516810"/>
                <a:gd name="connsiteY2499" fmla="*/ 550066 h 1504250"/>
                <a:gd name="connsiteX2500" fmla="*/ 472014 w 2516810"/>
                <a:gd name="connsiteY2500" fmla="*/ 548275 h 1504250"/>
                <a:gd name="connsiteX2501" fmla="*/ 472014 w 2516810"/>
                <a:gd name="connsiteY2501" fmla="*/ 547181 h 1504250"/>
                <a:gd name="connsiteX2502" fmla="*/ 472014 w 2516810"/>
                <a:gd name="connsiteY2502" fmla="*/ 543798 h 1504250"/>
                <a:gd name="connsiteX2503" fmla="*/ 472911 w 2516810"/>
                <a:gd name="connsiteY2503" fmla="*/ 543102 h 1504250"/>
                <a:gd name="connsiteX2504" fmla="*/ 471715 w 2516810"/>
                <a:gd name="connsiteY2504" fmla="*/ 542605 h 1504250"/>
                <a:gd name="connsiteX2505" fmla="*/ 471217 w 2516810"/>
                <a:gd name="connsiteY2505" fmla="*/ 541411 h 1504250"/>
                <a:gd name="connsiteX2506" fmla="*/ 470220 w 2516810"/>
                <a:gd name="connsiteY2506" fmla="*/ 540416 h 1504250"/>
                <a:gd name="connsiteX2507" fmla="*/ 470220 w 2516810"/>
                <a:gd name="connsiteY2507" fmla="*/ 539222 h 1504250"/>
                <a:gd name="connsiteX2508" fmla="*/ 471615 w 2516810"/>
                <a:gd name="connsiteY2508" fmla="*/ 539222 h 1504250"/>
                <a:gd name="connsiteX2509" fmla="*/ 471615 w 2516810"/>
                <a:gd name="connsiteY2509" fmla="*/ 538426 h 1504250"/>
                <a:gd name="connsiteX2510" fmla="*/ 468228 w 2516810"/>
                <a:gd name="connsiteY2510" fmla="*/ 537630 h 1504250"/>
                <a:gd name="connsiteX2511" fmla="*/ 468726 w 2516810"/>
                <a:gd name="connsiteY2511" fmla="*/ 535441 h 1504250"/>
                <a:gd name="connsiteX2512" fmla="*/ 468726 w 2516810"/>
                <a:gd name="connsiteY2512" fmla="*/ 535441 h 1504250"/>
                <a:gd name="connsiteX2513" fmla="*/ 469224 w 2516810"/>
                <a:gd name="connsiteY2513" fmla="*/ 534745 h 1504250"/>
                <a:gd name="connsiteX2514" fmla="*/ 468626 w 2516810"/>
                <a:gd name="connsiteY2514" fmla="*/ 534148 h 1504250"/>
                <a:gd name="connsiteX2515" fmla="*/ 466334 w 2516810"/>
                <a:gd name="connsiteY2515" fmla="*/ 535143 h 1504250"/>
                <a:gd name="connsiteX2516" fmla="*/ 466334 w 2516810"/>
                <a:gd name="connsiteY2516" fmla="*/ 535939 h 1504250"/>
                <a:gd name="connsiteX2517" fmla="*/ 465438 w 2516810"/>
                <a:gd name="connsiteY2517" fmla="*/ 536635 h 1504250"/>
                <a:gd name="connsiteX2518" fmla="*/ 463544 w 2516810"/>
                <a:gd name="connsiteY2518" fmla="*/ 534845 h 1504250"/>
                <a:gd name="connsiteX2519" fmla="*/ 463544 w 2516810"/>
                <a:gd name="connsiteY2519" fmla="*/ 532855 h 1504250"/>
                <a:gd name="connsiteX2520" fmla="*/ 462448 w 2516810"/>
                <a:gd name="connsiteY2520" fmla="*/ 531362 h 1504250"/>
                <a:gd name="connsiteX2521" fmla="*/ 461751 w 2516810"/>
                <a:gd name="connsiteY2521" fmla="*/ 532556 h 1504250"/>
                <a:gd name="connsiteX2522" fmla="*/ 460555 w 2516810"/>
                <a:gd name="connsiteY2522" fmla="*/ 533850 h 1504250"/>
                <a:gd name="connsiteX2523" fmla="*/ 459060 w 2516810"/>
                <a:gd name="connsiteY2523" fmla="*/ 533253 h 1504250"/>
                <a:gd name="connsiteX2524" fmla="*/ 457566 w 2516810"/>
                <a:gd name="connsiteY2524" fmla="*/ 533253 h 1504250"/>
                <a:gd name="connsiteX2525" fmla="*/ 456968 w 2516810"/>
                <a:gd name="connsiteY2525" fmla="*/ 533253 h 1504250"/>
                <a:gd name="connsiteX2526" fmla="*/ 456370 w 2516810"/>
                <a:gd name="connsiteY2526" fmla="*/ 534248 h 1504250"/>
                <a:gd name="connsiteX2527" fmla="*/ 456370 w 2516810"/>
                <a:gd name="connsiteY2527" fmla="*/ 535043 h 1504250"/>
                <a:gd name="connsiteX2528" fmla="*/ 455473 w 2516810"/>
                <a:gd name="connsiteY2528" fmla="*/ 535541 h 1504250"/>
                <a:gd name="connsiteX2529" fmla="*/ 456071 w 2516810"/>
                <a:gd name="connsiteY2529" fmla="*/ 536735 h 1504250"/>
                <a:gd name="connsiteX2530" fmla="*/ 457466 w 2516810"/>
                <a:gd name="connsiteY2530" fmla="*/ 537630 h 1504250"/>
                <a:gd name="connsiteX2531" fmla="*/ 456569 w 2516810"/>
                <a:gd name="connsiteY2531" fmla="*/ 539520 h 1504250"/>
                <a:gd name="connsiteX2532" fmla="*/ 456569 w 2516810"/>
                <a:gd name="connsiteY2532" fmla="*/ 540018 h 1504250"/>
                <a:gd name="connsiteX2533" fmla="*/ 456071 w 2516810"/>
                <a:gd name="connsiteY2533" fmla="*/ 540615 h 1504250"/>
                <a:gd name="connsiteX2534" fmla="*/ 453181 w 2516810"/>
                <a:gd name="connsiteY2534" fmla="*/ 541212 h 1504250"/>
                <a:gd name="connsiteX2535" fmla="*/ 450591 w 2516810"/>
                <a:gd name="connsiteY2535" fmla="*/ 541212 h 1504250"/>
                <a:gd name="connsiteX2536" fmla="*/ 450591 w 2516810"/>
                <a:gd name="connsiteY2536" fmla="*/ 539222 h 1504250"/>
                <a:gd name="connsiteX2537" fmla="*/ 449594 w 2516810"/>
                <a:gd name="connsiteY2537" fmla="*/ 538426 h 1504250"/>
                <a:gd name="connsiteX2538" fmla="*/ 448697 w 2516810"/>
                <a:gd name="connsiteY2538" fmla="*/ 536436 h 1504250"/>
                <a:gd name="connsiteX2539" fmla="*/ 448000 w 2516810"/>
                <a:gd name="connsiteY2539" fmla="*/ 534646 h 1504250"/>
                <a:gd name="connsiteX2540" fmla="*/ 446605 w 2516810"/>
                <a:gd name="connsiteY2540" fmla="*/ 532556 h 1504250"/>
                <a:gd name="connsiteX2541" fmla="*/ 446605 w 2516810"/>
                <a:gd name="connsiteY2541" fmla="*/ 531661 h 1504250"/>
                <a:gd name="connsiteX2542" fmla="*/ 447701 w 2516810"/>
                <a:gd name="connsiteY2542" fmla="*/ 531064 h 1504250"/>
                <a:gd name="connsiteX2543" fmla="*/ 447701 w 2516810"/>
                <a:gd name="connsiteY2543" fmla="*/ 528776 h 1504250"/>
                <a:gd name="connsiteX2544" fmla="*/ 447103 w 2516810"/>
                <a:gd name="connsiteY2544" fmla="*/ 526289 h 1504250"/>
                <a:gd name="connsiteX2545" fmla="*/ 445509 w 2516810"/>
                <a:gd name="connsiteY2545" fmla="*/ 525294 h 1504250"/>
                <a:gd name="connsiteX2546" fmla="*/ 445509 w 2516810"/>
                <a:gd name="connsiteY2546" fmla="*/ 523404 h 1504250"/>
                <a:gd name="connsiteX2547" fmla="*/ 445509 w 2516810"/>
                <a:gd name="connsiteY2547" fmla="*/ 522011 h 1504250"/>
                <a:gd name="connsiteX2548" fmla="*/ 446206 w 2516810"/>
                <a:gd name="connsiteY2548" fmla="*/ 521414 h 1504250"/>
                <a:gd name="connsiteX2549" fmla="*/ 446904 w 2516810"/>
                <a:gd name="connsiteY2549" fmla="*/ 519921 h 1504250"/>
                <a:gd name="connsiteX2550" fmla="*/ 451388 w 2516810"/>
                <a:gd name="connsiteY2550" fmla="*/ 519921 h 1504250"/>
                <a:gd name="connsiteX2551" fmla="*/ 451388 w 2516810"/>
                <a:gd name="connsiteY2551" fmla="*/ 518230 h 1504250"/>
                <a:gd name="connsiteX2552" fmla="*/ 449993 w 2516810"/>
                <a:gd name="connsiteY2552" fmla="*/ 516340 h 1504250"/>
                <a:gd name="connsiteX2553" fmla="*/ 447801 w 2516810"/>
                <a:gd name="connsiteY2553" fmla="*/ 512559 h 1504250"/>
                <a:gd name="connsiteX2554" fmla="*/ 447003 w 2516810"/>
                <a:gd name="connsiteY2554" fmla="*/ 509276 h 1504250"/>
                <a:gd name="connsiteX2555" fmla="*/ 445907 w 2516810"/>
                <a:gd name="connsiteY2555" fmla="*/ 507684 h 1504250"/>
                <a:gd name="connsiteX2556" fmla="*/ 444512 w 2516810"/>
                <a:gd name="connsiteY2556" fmla="*/ 507684 h 1504250"/>
                <a:gd name="connsiteX2557" fmla="*/ 443117 w 2516810"/>
                <a:gd name="connsiteY2557" fmla="*/ 505993 h 1504250"/>
                <a:gd name="connsiteX2558" fmla="*/ 442220 w 2516810"/>
                <a:gd name="connsiteY2558" fmla="*/ 504103 h 1504250"/>
                <a:gd name="connsiteX2559" fmla="*/ 442220 w 2516810"/>
                <a:gd name="connsiteY2559" fmla="*/ 502810 h 1504250"/>
                <a:gd name="connsiteX2560" fmla="*/ 441423 w 2516810"/>
                <a:gd name="connsiteY2560" fmla="*/ 502810 h 1504250"/>
                <a:gd name="connsiteX2561" fmla="*/ 440228 w 2516810"/>
                <a:gd name="connsiteY2561" fmla="*/ 502810 h 1504250"/>
                <a:gd name="connsiteX2562" fmla="*/ 440228 w 2516810"/>
                <a:gd name="connsiteY2562" fmla="*/ 501715 h 1504250"/>
                <a:gd name="connsiteX2563" fmla="*/ 440228 w 2516810"/>
                <a:gd name="connsiteY2563" fmla="*/ 501019 h 1504250"/>
                <a:gd name="connsiteX2564" fmla="*/ 439729 w 2516810"/>
                <a:gd name="connsiteY2564" fmla="*/ 501019 h 1504250"/>
                <a:gd name="connsiteX2565" fmla="*/ 438633 w 2516810"/>
                <a:gd name="connsiteY2565" fmla="*/ 499626 h 1504250"/>
                <a:gd name="connsiteX2566" fmla="*/ 438633 w 2516810"/>
                <a:gd name="connsiteY2566" fmla="*/ 497537 h 1504250"/>
                <a:gd name="connsiteX2567" fmla="*/ 437637 w 2516810"/>
                <a:gd name="connsiteY2567" fmla="*/ 497039 h 1504250"/>
                <a:gd name="connsiteX2568" fmla="*/ 436441 w 2516810"/>
                <a:gd name="connsiteY2568" fmla="*/ 496243 h 1504250"/>
                <a:gd name="connsiteX2569" fmla="*/ 436441 w 2516810"/>
                <a:gd name="connsiteY2569" fmla="*/ 494751 h 1504250"/>
                <a:gd name="connsiteX2570" fmla="*/ 437537 w 2516810"/>
                <a:gd name="connsiteY2570" fmla="*/ 493358 h 1504250"/>
                <a:gd name="connsiteX2571" fmla="*/ 438633 w 2516810"/>
                <a:gd name="connsiteY2571" fmla="*/ 491667 h 1504250"/>
                <a:gd name="connsiteX2572" fmla="*/ 440626 w 2516810"/>
                <a:gd name="connsiteY2572" fmla="*/ 489876 h 1504250"/>
                <a:gd name="connsiteX2573" fmla="*/ 440626 w 2516810"/>
                <a:gd name="connsiteY2573" fmla="*/ 489080 h 1504250"/>
                <a:gd name="connsiteX2574" fmla="*/ 439729 w 2516810"/>
                <a:gd name="connsiteY2574" fmla="*/ 488384 h 1504250"/>
                <a:gd name="connsiteX2575" fmla="*/ 439729 w 2516810"/>
                <a:gd name="connsiteY2575" fmla="*/ 485797 h 1504250"/>
                <a:gd name="connsiteX2576" fmla="*/ 438135 w 2516810"/>
                <a:gd name="connsiteY2576" fmla="*/ 484106 h 1504250"/>
                <a:gd name="connsiteX2577" fmla="*/ 434050 w 2516810"/>
                <a:gd name="connsiteY2577" fmla="*/ 481022 h 1504250"/>
                <a:gd name="connsiteX2578" fmla="*/ 421495 w 2516810"/>
                <a:gd name="connsiteY2578" fmla="*/ 468287 h 1504250"/>
                <a:gd name="connsiteX2579" fmla="*/ 419402 w 2516810"/>
                <a:gd name="connsiteY2579" fmla="*/ 467292 h 1504250"/>
                <a:gd name="connsiteX2580" fmla="*/ 418206 w 2516810"/>
                <a:gd name="connsiteY2580" fmla="*/ 467292 h 1504250"/>
                <a:gd name="connsiteX2581" fmla="*/ 417309 w 2516810"/>
                <a:gd name="connsiteY2581" fmla="*/ 466099 h 1504250"/>
                <a:gd name="connsiteX2582" fmla="*/ 416213 w 2516810"/>
                <a:gd name="connsiteY2582" fmla="*/ 465601 h 1504250"/>
                <a:gd name="connsiteX2583" fmla="*/ 414719 w 2516810"/>
                <a:gd name="connsiteY2583" fmla="*/ 465601 h 1504250"/>
                <a:gd name="connsiteX2584" fmla="*/ 413722 w 2516810"/>
                <a:gd name="connsiteY2584" fmla="*/ 464805 h 1504250"/>
                <a:gd name="connsiteX2585" fmla="*/ 413722 w 2516810"/>
                <a:gd name="connsiteY2585" fmla="*/ 462716 h 1504250"/>
                <a:gd name="connsiteX2586" fmla="*/ 412925 w 2516810"/>
                <a:gd name="connsiteY2586" fmla="*/ 461821 h 1504250"/>
                <a:gd name="connsiteX2587" fmla="*/ 411431 w 2516810"/>
                <a:gd name="connsiteY2587" fmla="*/ 461821 h 1504250"/>
                <a:gd name="connsiteX2588" fmla="*/ 409537 w 2516810"/>
                <a:gd name="connsiteY2588" fmla="*/ 461124 h 1504250"/>
                <a:gd name="connsiteX2589" fmla="*/ 407644 w 2516810"/>
                <a:gd name="connsiteY2589" fmla="*/ 459234 h 1504250"/>
                <a:gd name="connsiteX2590" fmla="*/ 405452 w 2516810"/>
                <a:gd name="connsiteY2590" fmla="*/ 458040 h 1504250"/>
                <a:gd name="connsiteX2591" fmla="*/ 403758 w 2516810"/>
                <a:gd name="connsiteY2591" fmla="*/ 455851 h 1504250"/>
                <a:gd name="connsiteX2592" fmla="*/ 402363 w 2516810"/>
                <a:gd name="connsiteY2592" fmla="*/ 454260 h 1504250"/>
                <a:gd name="connsiteX2593" fmla="*/ 401267 w 2516810"/>
                <a:gd name="connsiteY2593" fmla="*/ 453165 h 1504250"/>
                <a:gd name="connsiteX2594" fmla="*/ 399672 w 2516810"/>
                <a:gd name="connsiteY2594" fmla="*/ 452569 h 1504250"/>
                <a:gd name="connsiteX2595" fmla="*/ 398576 w 2516810"/>
                <a:gd name="connsiteY2595" fmla="*/ 450579 h 1504250"/>
                <a:gd name="connsiteX2596" fmla="*/ 397879 w 2516810"/>
                <a:gd name="connsiteY2596" fmla="*/ 450579 h 1504250"/>
                <a:gd name="connsiteX2597" fmla="*/ 396882 w 2516810"/>
                <a:gd name="connsiteY2597" fmla="*/ 449683 h 1504250"/>
                <a:gd name="connsiteX2598" fmla="*/ 395786 w 2516810"/>
                <a:gd name="connsiteY2598" fmla="*/ 448191 h 1504250"/>
                <a:gd name="connsiteX2599" fmla="*/ 394890 w 2516810"/>
                <a:gd name="connsiteY2599" fmla="*/ 446699 h 1504250"/>
                <a:gd name="connsiteX2600" fmla="*/ 393295 w 2516810"/>
                <a:gd name="connsiteY2600" fmla="*/ 445405 h 1504250"/>
                <a:gd name="connsiteX2601" fmla="*/ 391900 w 2516810"/>
                <a:gd name="connsiteY2601" fmla="*/ 445405 h 1504250"/>
                <a:gd name="connsiteX2602" fmla="*/ 390705 w 2516810"/>
                <a:gd name="connsiteY2602" fmla="*/ 445405 h 1504250"/>
                <a:gd name="connsiteX2603" fmla="*/ 389708 w 2516810"/>
                <a:gd name="connsiteY2603" fmla="*/ 445405 h 1504250"/>
                <a:gd name="connsiteX2604" fmla="*/ 389708 w 2516810"/>
                <a:gd name="connsiteY2604" fmla="*/ 445405 h 1504250"/>
                <a:gd name="connsiteX2605" fmla="*/ 389110 w 2516810"/>
                <a:gd name="connsiteY2605" fmla="*/ 444908 h 1504250"/>
                <a:gd name="connsiteX2606" fmla="*/ 389110 w 2516810"/>
                <a:gd name="connsiteY2606" fmla="*/ 444112 h 1504250"/>
                <a:gd name="connsiteX2607" fmla="*/ 389110 w 2516810"/>
                <a:gd name="connsiteY2607" fmla="*/ 444112 h 1504250"/>
                <a:gd name="connsiteX2608" fmla="*/ 387416 w 2516810"/>
                <a:gd name="connsiteY2608" fmla="*/ 444112 h 1504250"/>
                <a:gd name="connsiteX2609" fmla="*/ 386918 w 2516810"/>
                <a:gd name="connsiteY2609" fmla="*/ 442918 h 1504250"/>
                <a:gd name="connsiteX2610" fmla="*/ 386121 w 2516810"/>
                <a:gd name="connsiteY2610" fmla="*/ 441923 h 1504250"/>
                <a:gd name="connsiteX2611" fmla="*/ 386121 w 2516810"/>
                <a:gd name="connsiteY2611" fmla="*/ 441326 h 1504250"/>
                <a:gd name="connsiteX2612" fmla="*/ 386121 w 2516810"/>
                <a:gd name="connsiteY2612" fmla="*/ 439536 h 1504250"/>
                <a:gd name="connsiteX2613" fmla="*/ 383630 w 2516810"/>
                <a:gd name="connsiteY2613" fmla="*/ 437844 h 1504250"/>
                <a:gd name="connsiteX2614" fmla="*/ 382733 w 2516810"/>
                <a:gd name="connsiteY2614" fmla="*/ 437844 h 1504250"/>
                <a:gd name="connsiteX2615" fmla="*/ 381836 w 2516810"/>
                <a:gd name="connsiteY2615" fmla="*/ 437049 h 1504250"/>
                <a:gd name="connsiteX2616" fmla="*/ 380043 w 2516810"/>
                <a:gd name="connsiteY2616" fmla="*/ 436352 h 1504250"/>
                <a:gd name="connsiteX2617" fmla="*/ 380043 w 2516810"/>
                <a:gd name="connsiteY2617" fmla="*/ 436352 h 1504250"/>
                <a:gd name="connsiteX2618" fmla="*/ 379245 w 2516810"/>
                <a:gd name="connsiteY2618" fmla="*/ 435357 h 1504250"/>
                <a:gd name="connsiteX2619" fmla="*/ 378249 w 2516810"/>
                <a:gd name="connsiteY2619" fmla="*/ 434362 h 1504250"/>
                <a:gd name="connsiteX2620" fmla="*/ 377651 w 2516810"/>
                <a:gd name="connsiteY2620" fmla="*/ 434362 h 1504250"/>
                <a:gd name="connsiteX2621" fmla="*/ 377651 w 2516810"/>
                <a:gd name="connsiteY2621" fmla="*/ 433566 h 1504250"/>
                <a:gd name="connsiteX2622" fmla="*/ 376555 w 2516810"/>
                <a:gd name="connsiteY2622" fmla="*/ 432671 h 1504250"/>
                <a:gd name="connsiteX2623" fmla="*/ 376555 w 2516810"/>
                <a:gd name="connsiteY2623" fmla="*/ 431577 h 1504250"/>
                <a:gd name="connsiteX2624" fmla="*/ 375559 w 2516810"/>
                <a:gd name="connsiteY2624" fmla="*/ 431079 h 1504250"/>
                <a:gd name="connsiteX2625" fmla="*/ 375559 w 2516810"/>
                <a:gd name="connsiteY2625" fmla="*/ 431079 h 1504250"/>
                <a:gd name="connsiteX2626" fmla="*/ 374861 w 2516810"/>
                <a:gd name="connsiteY2626" fmla="*/ 431079 h 1504250"/>
                <a:gd name="connsiteX2627" fmla="*/ 374861 w 2516810"/>
                <a:gd name="connsiteY2627" fmla="*/ 431079 h 1504250"/>
                <a:gd name="connsiteX2628" fmla="*/ 374861 w 2516810"/>
                <a:gd name="connsiteY2628" fmla="*/ 429885 h 1504250"/>
                <a:gd name="connsiteX2629" fmla="*/ 374164 w 2516810"/>
                <a:gd name="connsiteY2629" fmla="*/ 429885 h 1504250"/>
                <a:gd name="connsiteX2630" fmla="*/ 373566 w 2516810"/>
                <a:gd name="connsiteY2630" fmla="*/ 429885 h 1504250"/>
                <a:gd name="connsiteX2631" fmla="*/ 373566 w 2516810"/>
                <a:gd name="connsiteY2631" fmla="*/ 429885 h 1504250"/>
                <a:gd name="connsiteX2632" fmla="*/ 373566 w 2516810"/>
                <a:gd name="connsiteY2632" fmla="*/ 429885 h 1504250"/>
                <a:gd name="connsiteX2633" fmla="*/ 373566 w 2516810"/>
                <a:gd name="connsiteY2633" fmla="*/ 429885 h 1504250"/>
                <a:gd name="connsiteX2634" fmla="*/ 373566 w 2516810"/>
                <a:gd name="connsiteY2634" fmla="*/ 429885 h 1504250"/>
                <a:gd name="connsiteX2635" fmla="*/ 373566 w 2516810"/>
                <a:gd name="connsiteY2635" fmla="*/ 429089 h 1504250"/>
                <a:gd name="connsiteX2636" fmla="*/ 372769 w 2516810"/>
                <a:gd name="connsiteY2636" fmla="*/ 429089 h 1504250"/>
                <a:gd name="connsiteX2637" fmla="*/ 372270 w 2516810"/>
                <a:gd name="connsiteY2637" fmla="*/ 428294 h 1504250"/>
                <a:gd name="connsiteX2638" fmla="*/ 372270 w 2516810"/>
                <a:gd name="connsiteY2638" fmla="*/ 426503 h 1504250"/>
                <a:gd name="connsiteX2639" fmla="*/ 371672 w 2516810"/>
                <a:gd name="connsiteY2639" fmla="*/ 425806 h 1504250"/>
                <a:gd name="connsiteX2640" fmla="*/ 370178 w 2516810"/>
                <a:gd name="connsiteY2640" fmla="*/ 425806 h 1504250"/>
                <a:gd name="connsiteX2641" fmla="*/ 370178 w 2516810"/>
                <a:gd name="connsiteY2641" fmla="*/ 425806 h 1504250"/>
                <a:gd name="connsiteX2642" fmla="*/ 369381 w 2516810"/>
                <a:gd name="connsiteY2642" fmla="*/ 425806 h 1504250"/>
                <a:gd name="connsiteX2643" fmla="*/ 368285 w 2516810"/>
                <a:gd name="connsiteY2643" fmla="*/ 424613 h 1504250"/>
                <a:gd name="connsiteX2644" fmla="*/ 367388 w 2516810"/>
                <a:gd name="connsiteY2644" fmla="*/ 424016 h 1504250"/>
                <a:gd name="connsiteX2645" fmla="*/ 365993 w 2516810"/>
                <a:gd name="connsiteY2645" fmla="*/ 424016 h 1504250"/>
                <a:gd name="connsiteX2646" fmla="*/ 365993 w 2516810"/>
                <a:gd name="connsiteY2646" fmla="*/ 424016 h 1504250"/>
                <a:gd name="connsiteX2647" fmla="*/ 365993 w 2516810"/>
                <a:gd name="connsiteY2647" fmla="*/ 423319 h 1504250"/>
                <a:gd name="connsiteX2648" fmla="*/ 365993 w 2516810"/>
                <a:gd name="connsiteY2648" fmla="*/ 423319 h 1504250"/>
                <a:gd name="connsiteX2649" fmla="*/ 365993 w 2516810"/>
                <a:gd name="connsiteY2649" fmla="*/ 422722 h 1504250"/>
                <a:gd name="connsiteX2650" fmla="*/ 365295 w 2516810"/>
                <a:gd name="connsiteY2650" fmla="*/ 422722 h 1504250"/>
                <a:gd name="connsiteX2651" fmla="*/ 365295 w 2516810"/>
                <a:gd name="connsiteY2651" fmla="*/ 422722 h 1504250"/>
                <a:gd name="connsiteX2652" fmla="*/ 364598 w 2516810"/>
                <a:gd name="connsiteY2652" fmla="*/ 422722 h 1504250"/>
                <a:gd name="connsiteX2653" fmla="*/ 364598 w 2516810"/>
                <a:gd name="connsiteY2653" fmla="*/ 422722 h 1504250"/>
                <a:gd name="connsiteX2654" fmla="*/ 364598 w 2516810"/>
                <a:gd name="connsiteY2654" fmla="*/ 422722 h 1504250"/>
                <a:gd name="connsiteX2655" fmla="*/ 364598 w 2516810"/>
                <a:gd name="connsiteY2655" fmla="*/ 423319 h 1504250"/>
                <a:gd name="connsiteX2656" fmla="*/ 363601 w 2516810"/>
                <a:gd name="connsiteY2656" fmla="*/ 423319 h 1504250"/>
                <a:gd name="connsiteX2657" fmla="*/ 363601 w 2516810"/>
                <a:gd name="connsiteY2657" fmla="*/ 424016 h 1504250"/>
                <a:gd name="connsiteX2658" fmla="*/ 363601 w 2516810"/>
                <a:gd name="connsiteY2658" fmla="*/ 424613 h 1504250"/>
                <a:gd name="connsiteX2659" fmla="*/ 364398 w 2516810"/>
                <a:gd name="connsiteY2659" fmla="*/ 424613 h 1504250"/>
                <a:gd name="connsiteX2660" fmla="*/ 364398 w 2516810"/>
                <a:gd name="connsiteY2660" fmla="*/ 425110 h 1504250"/>
                <a:gd name="connsiteX2661" fmla="*/ 364398 w 2516810"/>
                <a:gd name="connsiteY2661" fmla="*/ 425806 h 1504250"/>
                <a:gd name="connsiteX2662" fmla="*/ 363402 w 2516810"/>
                <a:gd name="connsiteY2662" fmla="*/ 426602 h 1504250"/>
                <a:gd name="connsiteX2663" fmla="*/ 360213 w 2516810"/>
                <a:gd name="connsiteY2663" fmla="*/ 426602 h 1504250"/>
                <a:gd name="connsiteX2664" fmla="*/ 358021 w 2516810"/>
                <a:gd name="connsiteY2664" fmla="*/ 426105 h 1504250"/>
                <a:gd name="connsiteX2665" fmla="*/ 357224 w 2516810"/>
                <a:gd name="connsiteY2665" fmla="*/ 425110 h 1504250"/>
                <a:gd name="connsiteX2666" fmla="*/ 357224 w 2516810"/>
                <a:gd name="connsiteY2666" fmla="*/ 424115 h 1504250"/>
                <a:gd name="connsiteX2667" fmla="*/ 356327 w 2516810"/>
                <a:gd name="connsiteY2667" fmla="*/ 422822 h 1504250"/>
                <a:gd name="connsiteX2668" fmla="*/ 355132 w 2516810"/>
                <a:gd name="connsiteY2668" fmla="*/ 422225 h 1504250"/>
                <a:gd name="connsiteX2669" fmla="*/ 354035 w 2516810"/>
                <a:gd name="connsiteY2669" fmla="*/ 422225 h 1504250"/>
                <a:gd name="connsiteX2670" fmla="*/ 352740 w 2516810"/>
                <a:gd name="connsiteY2670" fmla="*/ 421727 h 1504250"/>
                <a:gd name="connsiteX2671" fmla="*/ 351345 w 2516810"/>
                <a:gd name="connsiteY2671" fmla="*/ 420534 h 1504250"/>
                <a:gd name="connsiteX2672" fmla="*/ 351345 w 2516810"/>
                <a:gd name="connsiteY2672" fmla="*/ 418643 h 1504250"/>
                <a:gd name="connsiteX2673" fmla="*/ 351345 w 2516810"/>
                <a:gd name="connsiteY2673" fmla="*/ 417350 h 1504250"/>
                <a:gd name="connsiteX2674" fmla="*/ 351345 w 2516810"/>
                <a:gd name="connsiteY2674" fmla="*/ 416653 h 1504250"/>
                <a:gd name="connsiteX2675" fmla="*/ 349950 w 2516810"/>
                <a:gd name="connsiteY2675" fmla="*/ 415957 h 1504250"/>
                <a:gd name="connsiteX2676" fmla="*/ 349950 w 2516810"/>
                <a:gd name="connsiteY2676" fmla="*/ 409888 h 1504250"/>
                <a:gd name="connsiteX2677" fmla="*/ 350648 w 2516810"/>
                <a:gd name="connsiteY2677" fmla="*/ 409093 h 1504250"/>
                <a:gd name="connsiteX2678" fmla="*/ 351544 w 2516810"/>
                <a:gd name="connsiteY2678" fmla="*/ 409093 h 1504250"/>
                <a:gd name="connsiteX2679" fmla="*/ 350648 w 2516810"/>
                <a:gd name="connsiteY2679" fmla="*/ 408297 h 1504250"/>
                <a:gd name="connsiteX2680" fmla="*/ 349153 w 2516810"/>
                <a:gd name="connsiteY2680" fmla="*/ 405212 h 1504250"/>
                <a:gd name="connsiteX2681" fmla="*/ 349950 w 2516810"/>
                <a:gd name="connsiteY2681" fmla="*/ 401531 h 1504250"/>
                <a:gd name="connsiteX2682" fmla="*/ 348954 w 2516810"/>
                <a:gd name="connsiteY2682" fmla="*/ 400039 h 1504250"/>
                <a:gd name="connsiteX2683" fmla="*/ 347559 w 2516810"/>
                <a:gd name="connsiteY2683" fmla="*/ 397850 h 1504250"/>
                <a:gd name="connsiteX2684" fmla="*/ 343573 w 2516810"/>
                <a:gd name="connsiteY2684" fmla="*/ 397353 h 1504250"/>
                <a:gd name="connsiteX2685" fmla="*/ 341879 w 2516810"/>
                <a:gd name="connsiteY2685" fmla="*/ 396159 h 1504250"/>
                <a:gd name="connsiteX2686" fmla="*/ 340783 w 2516810"/>
                <a:gd name="connsiteY2686" fmla="*/ 392180 h 1504250"/>
                <a:gd name="connsiteX2687" fmla="*/ 334306 w 2516810"/>
                <a:gd name="connsiteY2687" fmla="*/ 389294 h 1504250"/>
                <a:gd name="connsiteX2688" fmla="*/ 332811 w 2516810"/>
                <a:gd name="connsiteY2688" fmla="*/ 385912 h 1504250"/>
                <a:gd name="connsiteX2689" fmla="*/ 331117 w 2516810"/>
                <a:gd name="connsiteY2689" fmla="*/ 382231 h 1504250"/>
                <a:gd name="connsiteX2690" fmla="*/ 328128 w 2516810"/>
                <a:gd name="connsiteY2690" fmla="*/ 377555 h 1504250"/>
                <a:gd name="connsiteX2691" fmla="*/ 328128 w 2516810"/>
                <a:gd name="connsiteY2691" fmla="*/ 374471 h 1504250"/>
                <a:gd name="connsiteX2692" fmla="*/ 326035 w 2516810"/>
                <a:gd name="connsiteY2692" fmla="*/ 372083 h 1504250"/>
                <a:gd name="connsiteX2693" fmla="*/ 325039 w 2516810"/>
                <a:gd name="connsiteY2693" fmla="*/ 369098 h 1504250"/>
                <a:gd name="connsiteX2694" fmla="*/ 322548 w 2516810"/>
                <a:gd name="connsiteY2694" fmla="*/ 368203 h 1504250"/>
                <a:gd name="connsiteX2695" fmla="*/ 321751 w 2516810"/>
                <a:gd name="connsiteY2695" fmla="*/ 366014 h 1504250"/>
                <a:gd name="connsiteX2696" fmla="*/ 321751 w 2516810"/>
                <a:gd name="connsiteY2696" fmla="*/ 364323 h 1504250"/>
                <a:gd name="connsiteX2697" fmla="*/ 320356 w 2516810"/>
                <a:gd name="connsiteY2697" fmla="*/ 362831 h 1504250"/>
                <a:gd name="connsiteX2698" fmla="*/ 318961 w 2516810"/>
                <a:gd name="connsiteY2698" fmla="*/ 360045 h 1504250"/>
                <a:gd name="connsiteX2699" fmla="*/ 318064 w 2516810"/>
                <a:gd name="connsiteY2699" fmla="*/ 358851 h 1504250"/>
                <a:gd name="connsiteX2700" fmla="*/ 317366 w 2516810"/>
                <a:gd name="connsiteY2700" fmla="*/ 356663 h 1504250"/>
                <a:gd name="connsiteX2701" fmla="*/ 318662 w 2516810"/>
                <a:gd name="connsiteY2701" fmla="*/ 354673 h 1504250"/>
                <a:gd name="connsiteX2702" fmla="*/ 319160 w 2516810"/>
                <a:gd name="connsiteY2702" fmla="*/ 352484 h 1504250"/>
                <a:gd name="connsiteX2703" fmla="*/ 319957 w 2516810"/>
                <a:gd name="connsiteY2703" fmla="*/ 349499 h 1504250"/>
                <a:gd name="connsiteX2704" fmla="*/ 320555 w 2516810"/>
                <a:gd name="connsiteY2704" fmla="*/ 347510 h 1504250"/>
                <a:gd name="connsiteX2705" fmla="*/ 319160 w 2516810"/>
                <a:gd name="connsiteY2705" fmla="*/ 345620 h 1504250"/>
                <a:gd name="connsiteX2706" fmla="*/ 319160 w 2516810"/>
                <a:gd name="connsiteY2706" fmla="*/ 344028 h 1504250"/>
                <a:gd name="connsiteX2707" fmla="*/ 319160 w 2516810"/>
                <a:gd name="connsiteY2707" fmla="*/ 342933 h 1504250"/>
                <a:gd name="connsiteX2708" fmla="*/ 320156 w 2516810"/>
                <a:gd name="connsiteY2708" fmla="*/ 340446 h 1504250"/>
                <a:gd name="connsiteX2709" fmla="*/ 321153 w 2516810"/>
                <a:gd name="connsiteY2709" fmla="*/ 333283 h 1504250"/>
                <a:gd name="connsiteX2710" fmla="*/ 320555 w 2516810"/>
                <a:gd name="connsiteY2710" fmla="*/ 331791 h 1504250"/>
                <a:gd name="connsiteX2711" fmla="*/ 321253 w 2516810"/>
                <a:gd name="connsiteY2711" fmla="*/ 328707 h 1504250"/>
                <a:gd name="connsiteX2712" fmla="*/ 321950 w 2516810"/>
                <a:gd name="connsiteY2712" fmla="*/ 324827 h 1504250"/>
                <a:gd name="connsiteX2713" fmla="*/ 321053 w 2516810"/>
                <a:gd name="connsiteY2713" fmla="*/ 322340 h 1504250"/>
                <a:gd name="connsiteX2714" fmla="*/ 321053 w 2516810"/>
                <a:gd name="connsiteY2714" fmla="*/ 319355 h 1504250"/>
                <a:gd name="connsiteX2715" fmla="*/ 322050 w 2516810"/>
                <a:gd name="connsiteY2715" fmla="*/ 316868 h 1504250"/>
                <a:gd name="connsiteX2716" fmla="*/ 322050 w 2516810"/>
                <a:gd name="connsiteY2716" fmla="*/ 314878 h 1504250"/>
                <a:gd name="connsiteX2717" fmla="*/ 320854 w 2516810"/>
                <a:gd name="connsiteY2717" fmla="*/ 312291 h 1504250"/>
                <a:gd name="connsiteX2718" fmla="*/ 320256 w 2516810"/>
                <a:gd name="connsiteY2718" fmla="*/ 310699 h 1504250"/>
                <a:gd name="connsiteX2719" fmla="*/ 320256 w 2516810"/>
                <a:gd name="connsiteY2719" fmla="*/ 309307 h 1504250"/>
                <a:gd name="connsiteX2720" fmla="*/ 320256 w 2516810"/>
                <a:gd name="connsiteY2720" fmla="*/ 307914 h 1504250"/>
                <a:gd name="connsiteX2721" fmla="*/ 320256 w 2516810"/>
                <a:gd name="connsiteY2721" fmla="*/ 306421 h 1504250"/>
                <a:gd name="connsiteX2722" fmla="*/ 318761 w 2516810"/>
                <a:gd name="connsiteY2722" fmla="*/ 303636 h 1504250"/>
                <a:gd name="connsiteX2723" fmla="*/ 315872 w 2516810"/>
                <a:gd name="connsiteY2723" fmla="*/ 299059 h 1504250"/>
                <a:gd name="connsiteX2724" fmla="*/ 314078 w 2516810"/>
                <a:gd name="connsiteY2724" fmla="*/ 294781 h 1504250"/>
                <a:gd name="connsiteX2725" fmla="*/ 314975 w 2516810"/>
                <a:gd name="connsiteY2725" fmla="*/ 290006 h 1504250"/>
                <a:gd name="connsiteX2726" fmla="*/ 314377 w 2516810"/>
                <a:gd name="connsiteY2726" fmla="*/ 287618 h 1504250"/>
                <a:gd name="connsiteX2727" fmla="*/ 313181 w 2516810"/>
                <a:gd name="connsiteY2727" fmla="*/ 284236 h 1504250"/>
                <a:gd name="connsiteX2728" fmla="*/ 314776 w 2516810"/>
                <a:gd name="connsiteY2728" fmla="*/ 280754 h 1504250"/>
                <a:gd name="connsiteX2729" fmla="*/ 315573 w 2516810"/>
                <a:gd name="connsiteY2729" fmla="*/ 279460 h 1504250"/>
                <a:gd name="connsiteX2730" fmla="*/ 314576 w 2516810"/>
                <a:gd name="connsiteY2730" fmla="*/ 277172 h 1504250"/>
                <a:gd name="connsiteX2731" fmla="*/ 313879 w 2516810"/>
                <a:gd name="connsiteY2731" fmla="*/ 275282 h 1504250"/>
                <a:gd name="connsiteX2732" fmla="*/ 313879 w 2516810"/>
                <a:gd name="connsiteY2732" fmla="*/ 268915 h 1504250"/>
                <a:gd name="connsiteX2733" fmla="*/ 312982 w 2516810"/>
                <a:gd name="connsiteY2733" fmla="*/ 266726 h 1504250"/>
                <a:gd name="connsiteX2734" fmla="*/ 312384 w 2516810"/>
                <a:gd name="connsiteY2734" fmla="*/ 265433 h 1504250"/>
                <a:gd name="connsiteX2735" fmla="*/ 312982 w 2516810"/>
                <a:gd name="connsiteY2735" fmla="*/ 263443 h 1504250"/>
                <a:gd name="connsiteX2736" fmla="*/ 312982 w 2516810"/>
                <a:gd name="connsiteY2736" fmla="*/ 261155 h 1504250"/>
                <a:gd name="connsiteX2737" fmla="*/ 312982 w 2516810"/>
                <a:gd name="connsiteY2737" fmla="*/ 259662 h 1504250"/>
                <a:gd name="connsiteX2738" fmla="*/ 312982 w 2516810"/>
                <a:gd name="connsiteY2738" fmla="*/ 254887 h 1504250"/>
                <a:gd name="connsiteX2739" fmla="*/ 312484 w 2516810"/>
                <a:gd name="connsiteY2739" fmla="*/ 253494 h 1504250"/>
                <a:gd name="connsiteX2740" fmla="*/ 312484 w 2516810"/>
                <a:gd name="connsiteY2740" fmla="*/ 252499 h 1504250"/>
                <a:gd name="connsiteX2741" fmla="*/ 312484 w 2516810"/>
                <a:gd name="connsiteY2741" fmla="*/ 251703 h 1504250"/>
                <a:gd name="connsiteX2742" fmla="*/ 310491 w 2516810"/>
                <a:gd name="connsiteY2742" fmla="*/ 250510 h 1504250"/>
                <a:gd name="connsiteX2743" fmla="*/ 301922 w 2516810"/>
                <a:gd name="connsiteY2743" fmla="*/ 246629 h 1504250"/>
                <a:gd name="connsiteX2744" fmla="*/ 299729 w 2516810"/>
                <a:gd name="connsiteY2744" fmla="*/ 244938 h 1504250"/>
                <a:gd name="connsiteX2745" fmla="*/ 298334 w 2516810"/>
                <a:gd name="connsiteY2745" fmla="*/ 242451 h 1504250"/>
                <a:gd name="connsiteX2746" fmla="*/ 298334 w 2516810"/>
                <a:gd name="connsiteY2746" fmla="*/ 239466 h 1504250"/>
                <a:gd name="connsiteX2747" fmla="*/ 300527 w 2516810"/>
                <a:gd name="connsiteY2747" fmla="*/ 237278 h 1504250"/>
                <a:gd name="connsiteX2748" fmla="*/ 300527 w 2516810"/>
                <a:gd name="connsiteY2748" fmla="*/ 236283 h 1504250"/>
                <a:gd name="connsiteX2749" fmla="*/ 297438 w 2516810"/>
                <a:gd name="connsiteY2749" fmla="*/ 233895 h 1504250"/>
                <a:gd name="connsiteX2750" fmla="*/ 294149 w 2516810"/>
                <a:gd name="connsiteY2750" fmla="*/ 230612 h 1504250"/>
                <a:gd name="connsiteX2751" fmla="*/ 291658 w 2516810"/>
                <a:gd name="connsiteY2751" fmla="*/ 226235 h 1504250"/>
                <a:gd name="connsiteX2752" fmla="*/ 291060 w 2516810"/>
                <a:gd name="connsiteY2752" fmla="*/ 220265 h 1504250"/>
                <a:gd name="connsiteX2753" fmla="*/ 291658 w 2516810"/>
                <a:gd name="connsiteY2753" fmla="*/ 217480 h 1504250"/>
                <a:gd name="connsiteX2754" fmla="*/ 293053 w 2516810"/>
                <a:gd name="connsiteY2754" fmla="*/ 204646 h 1504250"/>
                <a:gd name="connsiteX2755" fmla="*/ 293053 w 2516810"/>
                <a:gd name="connsiteY2755" fmla="*/ 196687 h 1504250"/>
                <a:gd name="connsiteX2756" fmla="*/ 295943 w 2516810"/>
                <a:gd name="connsiteY2756" fmla="*/ 188031 h 1504250"/>
                <a:gd name="connsiteX2757" fmla="*/ 295943 w 2516810"/>
                <a:gd name="connsiteY2757" fmla="*/ 168134 h 1504250"/>
                <a:gd name="connsiteX2758" fmla="*/ 297438 w 2516810"/>
                <a:gd name="connsiteY2758" fmla="*/ 162364 h 1504250"/>
                <a:gd name="connsiteX2759" fmla="*/ 299630 w 2516810"/>
                <a:gd name="connsiteY2759" fmla="*/ 157688 h 1504250"/>
                <a:gd name="connsiteX2760" fmla="*/ 304014 w 2516810"/>
                <a:gd name="connsiteY2760" fmla="*/ 152514 h 1504250"/>
                <a:gd name="connsiteX2761" fmla="*/ 305110 w 2516810"/>
                <a:gd name="connsiteY2761" fmla="*/ 149729 h 1504250"/>
                <a:gd name="connsiteX2762" fmla="*/ 303516 w 2516810"/>
                <a:gd name="connsiteY2762" fmla="*/ 146346 h 1504250"/>
                <a:gd name="connsiteX2763" fmla="*/ 301722 w 2516810"/>
                <a:gd name="connsiteY2763" fmla="*/ 143660 h 1504250"/>
                <a:gd name="connsiteX2764" fmla="*/ 300626 w 2516810"/>
                <a:gd name="connsiteY2764" fmla="*/ 140675 h 1504250"/>
                <a:gd name="connsiteX2765" fmla="*/ 300028 w 2516810"/>
                <a:gd name="connsiteY2765" fmla="*/ 136596 h 1504250"/>
                <a:gd name="connsiteX2766" fmla="*/ 295744 w 2516810"/>
                <a:gd name="connsiteY2766" fmla="*/ 134507 h 1504250"/>
                <a:gd name="connsiteX2767" fmla="*/ 291160 w 2516810"/>
                <a:gd name="connsiteY2767" fmla="*/ 128637 h 1504250"/>
                <a:gd name="connsiteX2768" fmla="*/ 292655 w 2516810"/>
                <a:gd name="connsiteY2768" fmla="*/ 122270 h 1504250"/>
                <a:gd name="connsiteX2769" fmla="*/ 291459 w 2516810"/>
                <a:gd name="connsiteY2769" fmla="*/ 121176 h 1504250"/>
                <a:gd name="connsiteX2770" fmla="*/ 288370 w 2516810"/>
                <a:gd name="connsiteY2770" fmla="*/ 120479 h 1504250"/>
                <a:gd name="connsiteX2771" fmla="*/ 287075 w 2516810"/>
                <a:gd name="connsiteY2771" fmla="*/ 118689 h 1504250"/>
                <a:gd name="connsiteX2772" fmla="*/ 285480 w 2516810"/>
                <a:gd name="connsiteY2772" fmla="*/ 117097 h 1504250"/>
                <a:gd name="connsiteX2773" fmla="*/ 283587 w 2516810"/>
                <a:gd name="connsiteY2773" fmla="*/ 115704 h 1504250"/>
                <a:gd name="connsiteX2774" fmla="*/ 281395 w 2516810"/>
                <a:gd name="connsiteY2774" fmla="*/ 114610 h 1504250"/>
                <a:gd name="connsiteX2775" fmla="*/ 278107 w 2516810"/>
                <a:gd name="connsiteY2775" fmla="*/ 114013 h 1504250"/>
                <a:gd name="connsiteX2776" fmla="*/ 277210 w 2516810"/>
                <a:gd name="connsiteY2776" fmla="*/ 114013 h 1504250"/>
                <a:gd name="connsiteX2777" fmla="*/ 275914 w 2516810"/>
                <a:gd name="connsiteY2777" fmla="*/ 113217 h 1504250"/>
                <a:gd name="connsiteX2778" fmla="*/ 275416 w 2516810"/>
                <a:gd name="connsiteY2778" fmla="*/ 112620 h 1504250"/>
                <a:gd name="connsiteX2779" fmla="*/ 273523 w 2516810"/>
                <a:gd name="connsiteY2779" fmla="*/ 109337 h 1504250"/>
                <a:gd name="connsiteX2780" fmla="*/ 273523 w 2516810"/>
                <a:gd name="connsiteY2780" fmla="*/ 107546 h 1504250"/>
                <a:gd name="connsiteX2781" fmla="*/ 273523 w 2516810"/>
                <a:gd name="connsiteY2781" fmla="*/ 105855 h 1504250"/>
                <a:gd name="connsiteX2782" fmla="*/ 274221 w 2516810"/>
                <a:gd name="connsiteY2782" fmla="*/ 105158 h 1504250"/>
                <a:gd name="connsiteX2783" fmla="*/ 275317 w 2516810"/>
                <a:gd name="connsiteY2783" fmla="*/ 105954 h 1504250"/>
                <a:gd name="connsiteX2784" fmla="*/ 275317 w 2516810"/>
                <a:gd name="connsiteY2784" fmla="*/ 107645 h 1504250"/>
                <a:gd name="connsiteX2785" fmla="*/ 275317 w 2516810"/>
                <a:gd name="connsiteY2785" fmla="*/ 109337 h 1504250"/>
                <a:gd name="connsiteX2786" fmla="*/ 275815 w 2516810"/>
                <a:gd name="connsiteY2786" fmla="*/ 110033 h 1504250"/>
                <a:gd name="connsiteX2787" fmla="*/ 276612 w 2516810"/>
                <a:gd name="connsiteY2787" fmla="*/ 110033 h 1504250"/>
                <a:gd name="connsiteX2788" fmla="*/ 278406 w 2516810"/>
                <a:gd name="connsiteY2788" fmla="*/ 111326 h 1504250"/>
                <a:gd name="connsiteX2789" fmla="*/ 279701 w 2516810"/>
                <a:gd name="connsiteY2789" fmla="*/ 111326 h 1504250"/>
                <a:gd name="connsiteX2790" fmla="*/ 281295 w 2516810"/>
                <a:gd name="connsiteY2790" fmla="*/ 111326 h 1504250"/>
                <a:gd name="connsiteX2791" fmla="*/ 282890 w 2516810"/>
                <a:gd name="connsiteY2791" fmla="*/ 111326 h 1504250"/>
                <a:gd name="connsiteX2792" fmla="*/ 285680 w 2516810"/>
                <a:gd name="connsiteY2792" fmla="*/ 112620 h 1504250"/>
                <a:gd name="connsiteX2793" fmla="*/ 285680 w 2516810"/>
                <a:gd name="connsiteY2793" fmla="*/ 112620 h 1504250"/>
                <a:gd name="connsiteX2794" fmla="*/ 292954 w 2516810"/>
                <a:gd name="connsiteY2794" fmla="*/ 117694 h 1504250"/>
                <a:gd name="connsiteX2795" fmla="*/ 295544 w 2516810"/>
                <a:gd name="connsiteY2795" fmla="*/ 118390 h 1504250"/>
                <a:gd name="connsiteX2796" fmla="*/ 297139 w 2516810"/>
                <a:gd name="connsiteY2796" fmla="*/ 119286 h 1504250"/>
                <a:gd name="connsiteX2797" fmla="*/ 300427 w 2516810"/>
                <a:gd name="connsiteY2797" fmla="*/ 123762 h 1504250"/>
                <a:gd name="connsiteX2798" fmla="*/ 302021 w 2516810"/>
                <a:gd name="connsiteY2798" fmla="*/ 125255 h 1504250"/>
                <a:gd name="connsiteX2799" fmla="*/ 303317 w 2516810"/>
                <a:gd name="connsiteY2799" fmla="*/ 125752 h 1504250"/>
                <a:gd name="connsiteX2800" fmla="*/ 307701 w 2516810"/>
                <a:gd name="connsiteY2800" fmla="*/ 125752 h 1504250"/>
                <a:gd name="connsiteX2801" fmla="*/ 309196 w 2516810"/>
                <a:gd name="connsiteY2801" fmla="*/ 126250 h 1504250"/>
                <a:gd name="connsiteX2802" fmla="*/ 311687 w 2516810"/>
                <a:gd name="connsiteY2802" fmla="*/ 128339 h 1504250"/>
                <a:gd name="connsiteX2803" fmla="*/ 312883 w 2516810"/>
                <a:gd name="connsiteY2803" fmla="*/ 128339 h 1504250"/>
                <a:gd name="connsiteX2804" fmla="*/ 312883 w 2516810"/>
                <a:gd name="connsiteY2804" fmla="*/ 128836 h 1504250"/>
                <a:gd name="connsiteX2805" fmla="*/ 315274 w 2516810"/>
                <a:gd name="connsiteY2805" fmla="*/ 131324 h 1504250"/>
                <a:gd name="connsiteX2806" fmla="*/ 316370 w 2516810"/>
                <a:gd name="connsiteY2806" fmla="*/ 132119 h 1504250"/>
                <a:gd name="connsiteX2807" fmla="*/ 317566 w 2516810"/>
                <a:gd name="connsiteY2807" fmla="*/ 132119 h 1504250"/>
                <a:gd name="connsiteX2808" fmla="*/ 326833 w 2516810"/>
                <a:gd name="connsiteY2808" fmla="*/ 132119 h 1504250"/>
                <a:gd name="connsiteX2809" fmla="*/ 329224 w 2516810"/>
                <a:gd name="connsiteY2809" fmla="*/ 132816 h 1504250"/>
                <a:gd name="connsiteX2810" fmla="*/ 334804 w 2516810"/>
                <a:gd name="connsiteY2810" fmla="*/ 138984 h 1504250"/>
                <a:gd name="connsiteX2811" fmla="*/ 340683 w 2516810"/>
                <a:gd name="connsiteY2811" fmla="*/ 144655 h 1504250"/>
                <a:gd name="connsiteX2812" fmla="*/ 344769 w 2516810"/>
                <a:gd name="connsiteY2812" fmla="*/ 146147 h 1504250"/>
                <a:gd name="connsiteX2813" fmla="*/ 346463 w 2516810"/>
                <a:gd name="connsiteY2813" fmla="*/ 148734 h 1504250"/>
                <a:gd name="connsiteX2814" fmla="*/ 348455 w 2516810"/>
                <a:gd name="connsiteY2814" fmla="*/ 148734 h 1504250"/>
                <a:gd name="connsiteX2815" fmla="*/ 350946 w 2516810"/>
                <a:gd name="connsiteY2815" fmla="*/ 150326 h 1504250"/>
                <a:gd name="connsiteX2816" fmla="*/ 357523 w 2516810"/>
                <a:gd name="connsiteY2816" fmla="*/ 154206 h 1504250"/>
                <a:gd name="connsiteX2817" fmla="*/ 361608 w 2516810"/>
                <a:gd name="connsiteY2817" fmla="*/ 156096 h 1504250"/>
                <a:gd name="connsiteX2818" fmla="*/ 361608 w 2516810"/>
                <a:gd name="connsiteY2818" fmla="*/ 157887 h 1504250"/>
                <a:gd name="connsiteX2819" fmla="*/ 363203 w 2516810"/>
                <a:gd name="connsiteY2819" fmla="*/ 158881 h 1504250"/>
                <a:gd name="connsiteX2820" fmla="*/ 364996 w 2516810"/>
                <a:gd name="connsiteY2820" fmla="*/ 160871 h 1504250"/>
                <a:gd name="connsiteX2821" fmla="*/ 366292 w 2516810"/>
                <a:gd name="connsiteY2821" fmla="*/ 162165 h 1504250"/>
                <a:gd name="connsiteX2822" fmla="*/ 369779 w 2516810"/>
                <a:gd name="connsiteY2822" fmla="*/ 164154 h 1504250"/>
                <a:gd name="connsiteX2823" fmla="*/ 373267 w 2516810"/>
                <a:gd name="connsiteY2823" fmla="*/ 165249 h 1504250"/>
                <a:gd name="connsiteX2824" fmla="*/ 376156 w 2516810"/>
                <a:gd name="connsiteY2824" fmla="*/ 167836 h 1504250"/>
                <a:gd name="connsiteX2825" fmla="*/ 382534 w 2516810"/>
                <a:gd name="connsiteY2825" fmla="*/ 170422 h 1504250"/>
                <a:gd name="connsiteX2826" fmla="*/ 387715 w 2516810"/>
                <a:gd name="connsiteY2826" fmla="*/ 170422 h 1504250"/>
                <a:gd name="connsiteX2827" fmla="*/ 398875 w 2516810"/>
                <a:gd name="connsiteY2827" fmla="*/ 170422 h 1504250"/>
                <a:gd name="connsiteX2828" fmla="*/ 400171 w 2516810"/>
                <a:gd name="connsiteY2828" fmla="*/ 168631 h 1504250"/>
                <a:gd name="connsiteX2829" fmla="*/ 400171 w 2516810"/>
                <a:gd name="connsiteY2829" fmla="*/ 167736 h 1504250"/>
                <a:gd name="connsiteX2830" fmla="*/ 400669 w 2516810"/>
                <a:gd name="connsiteY2830" fmla="*/ 166940 h 1504250"/>
                <a:gd name="connsiteX2831" fmla="*/ 401366 w 2516810"/>
                <a:gd name="connsiteY2831" fmla="*/ 165647 h 1504250"/>
                <a:gd name="connsiteX2832" fmla="*/ 402961 w 2516810"/>
                <a:gd name="connsiteY2832" fmla="*/ 165647 h 1504250"/>
                <a:gd name="connsiteX2833" fmla="*/ 404156 w 2516810"/>
                <a:gd name="connsiteY2833" fmla="*/ 164950 h 1504250"/>
                <a:gd name="connsiteX2834" fmla="*/ 404156 w 2516810"/>
                <a:gd name="connsiteY2834" fmla="*/ 163060 h 1504250"/>
                <a:gd name="connsiteX2835" fmla="*/ 406349 w 2516810"/>
                <a:gd name="connsiteY2835" fmla="*/ 160573 h 1504250"/>
                <a:gd name="connsiteX2836" fmla="*/ 407345 w 2516810"/>
                <a:gd name="connsiteY2836" fmla="*/ 160573 h 1504250"/>
                <a:gd name="connsiteX2837" fmla="*/ 407345 w 2516810"/>
                <a:gd name="connsiteY2837" fmla="*/ 160573 h 1504250"/>
                <a:gd name="connsiteX2838" fmla="*/ 406249 w 2516810"/>
                <a:gd name="connsiteY2838" fmla="*/ 158881 h 1504250"/>
                <a:gd name="connsiteX2839" fmla="*/ 406249 w 2516810"/>
                <a:gd name="connsiteY2839" fmla="*/ 158881 h 1504250"/>
                <a:gd name="connsiteX2840" fmla="*/ 405651 w 2516810"/>
                <a:gd name="connsiteY2840" fmla="*/ 158881 h 1504250"/>
                <a:gd name="connsiteX2841" fmla="*/ 404754 w 2516810"/>
                <a:gd name="connsiteY2841" fmla="*/ 158881 h 1504250"/>
                <a:gd name="connsiteX2842" fmla="*/ 403857 w 2516810"/>
                <a:gd name="connsiteY2842" fmla="*/ 157787 h 1504250"/>
                <a:gd name="connsiteX2843" fmla="*/ 403857 w 2516810"/>
                <a:gd name="connsiteY2843" fmla="*/ 151221 h 1504250"/>
                <a:gd name="connsiteX2844" fmla="*/ 403857 w 2516810"/>
                <a:gd name="connsiteY2844" fmla="*/ 149430 h 1504250"/>
                <a:gd name="connsiteX2845" fmla="*/ 405751 w 2516810"/>
                <a:gd name="connsiteY2845" fmla="*/ 150525 h 1504250"/>
                <a:gd name="connsiteX2846" fmla="*/ 406349 w 2516810"/>
                <a:gd name="connsiteY2846" fmla="*/ 156096 h 1504250"/>
                <a:gd name="connsiteX2847" fmla="*/ 408640 w 2516810"/>
                <a:gd name="connsiteY2847" fmla="*/ 158384 h 1504250"/>
                <a:gd name="connsiteX2848" fmla="*/ 410334 w 2516810"/>
                <a:gd name="connsiteY2848" fmla="*/ 158384 h 1504250"/>
                <a:gd name="connsiteX2849" fmla="*/ 411929 w 2516810"/>
                <a:gd name="connsiteY2849" fmla="*/ 157887 h 1504250"/>
                <a:gd name="connsiteX2850" fmla="*/ 415516 w 2516810"/>
                <a:gd name="connsiteY2850" fmla="*/ 156494 h 1504250"/>
                <a:gd name="connsiteX2851" fmla="*/ 416712 w 2516810"/>
                <a:gd name="connsiteY2851" fmla="*/ 159081 h 1504250"/>
                <a:gd name="connsiteX2852" fmla="*/ 420000 w 2516810"/>
                <a:gd name="connsiteY2852" fmla="*/ 160772 h 1504250"/>
                <a:gd name="connsiteX2853" fmla="*/ 425680 w 2516810"/>
                <a:gd name="connsiteY2853" fmla="*/ 163657 h 1504250"/>
                <a:gd name="connsiteX2854" fmla="*/ 421495 w 2516810"/>
                <a:gd name="connsiteY2854" fmla="*/ 163657 h 1504250"/>
                <a:gd name="connsiteX2855" fmla="*/ 423587 w 2516810"/>
                <a:gd name="connsiteY2855" fmla="*/ 165746 h 1504250"/>
                <a:gd name="connsiteX2856" fmla="*/ 429167 w 2516810"/>
                <a:gd name="connsiteY2856" fmla="*/ 168134 h 1504250"/>
                <a:gd name="connsiteX2857" fmla="*/ 435943 w 2516810"/>
                <a:gd name="connsiteY2857" fmla="*/ 173108 h 1504250"/>
                <a:gd name="connsiteX2858" fmla="*/ 439032 w 2516810"/>
                <a:gd name="connsiteY2858" fmla="*/ 177585 h 1504250"/>
                <a:gd name="connsiteX2859" fmla="*/ 439032 w 2516810"/>
                <a:gd name="connsiteY2859" fmla="*/ 181963 h 1504250"/>
                <a:gd name="connsiteX2860" fmla="*/ 441025 w 2516810"/>
                <a:gd name="connsiteY2860" fmla="*/ 189524 h 1504250"/>
                <a:gd name="connsiteX2861" fmla="*/ 442320 w 2516810"/>
                <a:gd name="connsiteY2861" fmla="*/ 193603 h 1504250"/>
                <a:gd name="connsiteX2862" fmla="*/ 441224 w 2516810"/>
                <a:gd name="connsiteY2862" fmla="*/ 194797 h 1504250"/>
                <a:gd name="connsiteX2863" fmla="*/ 438932 w 2516810"/>
                <a:gd name="connsiteY2863" fmla="*/ 194797 h 1504250"/>
                <a:gd name="connsiteX2864" fmla="*/ 438035 w 2516810"/>
                <a:gd name="connsiteY2864" fmla="*/ 195592 h 1504250"/>
                <a:gd name="connsiteX2865" fmla="*/ 440726 w 2516810"/>
                <a:gd name="connsiteY2865" fmla="*/ 197881 h 1504250"/>
                <a:gd name="connsiteX2866" fmla="*/ 445409 w 2516810"/>
                <a:gd name="connsiteY2866" fmla="*/ 197881 h 1504250"/>
                <a:gd name="connsiteX2867" fmla="*/ 448797 w 2516810"/>
                <a:gd name="connsiteY2867" fmla="*/ 198975 h 1504250"/>
                <a:gd name="connsiteX2868" fmla="*/ 449993 w 2516810"/>
                <a:gd name="connsiteY2868" fmla="*/ 201760 h 1504250"/>
                <a:gd name="connsiteX2869" fmla="*/ 458463 w 2516810"/>
                <a:gd name="connsiteY2869" fmla="*/ 203054 h 1504250"/>
                <a:gd name="connsiteX2870" fmla="*/ 464441 w 2516810"/>
                <a:gd name="connsiteY2870" fmla="*/ 204546 h 1504250"/>
                <a:gd name="connsiteX2871" fmla="*/ 484370 w 2516810"/>
                <a:gd name="connsiteY2871" fmla="*/ 208128 h 1504250"/>
                <a:gd name="connsiteX2872" fmla="*/ 489053 w 2516810"/>
                <a:gd name="connsiteY2872" fmla="*/ 209521 h 1504250"/>
                <a:gd name="connsiteX2873" fmla="*/ 490548 w 2516810"/>
                <a:gd name="connsiteY2873" fmla="*/ 208924 h 1504250"/>
                <a:gd name="connsiteX2874" fmla="*/ 489452 w 2516810"/>
                <a:gd name="connsiteY2874" fmla="*/ 208028 h 1504250"/>
                <a:gd name="connsiteX2875" fmla="*/ 487658 w 2516810"/>
                <a:gd name="connsiteY2875" fmla="*/ 207431 h 1504250"/>
                <a:gd name="connsiteX2876" fmla="*/ 486064 w 2516810"/>
                <a:gd name="connsiteY2876" fmla="*/ 206436 h 1504250"/>
                <a:gd name="connsiteX2877" fmla="*/ 484669 w 2516810"/>
                <a:gd name="connsiteY2877" fmla="*/ 204248 h 1504250"/>
                <a:gd name="connsiteX2878" fmla="*/ 486462 w 2516810"/>
                <a:gd name="connsiteY2878" fmla="*/ 204248 h 1504250"/>
                <a:gd name="connsiteX2879" fmla="*/ 488455 w 2516810"/>
                <a:gd name="connsiteY2879" fmla="*/ 203352 h 1504250"/>
                <a:gd name="connsiteX2880" fmla="*/ 490050 w 2516810"/>
                <a:gd name="connsiteY2880" fmla="*/ 203352 h 1504250"/>
                <a:gd name="connsiteX2881" fmla="*/ 491445 w 2516810"/>
                <a:gd name="connsiteY2881" fmla="*/ 207332 h 1504250"/>
                <a:gd name="connsiteX2882" fmla="*/ 493139 w 2516810"/>
                <a:gd name="connsiteY2882" fmla="*/ 208924 h 1504250"/>
                <a:gd name="connsiteX2883" fmla="*/ 494633 w 2516810"/>
                <a:gd name="connsiteY2883" fmla="*/ 212306 h 1504250"/>
                <a:gd name="connsiteX2884" fmla="*/ 499815 w 2516810"/>
                <a:gd name="connsiteY2884" fmla="*/ 215191 h 1504250"/>
                <a:gd name="connsiteX2885" fmla="*/ 501907 w 2516810"/>
                <a:gd name="connsiteY2885" fmla="*/ 216485 h 1504250"/>
                <a:gd name="connsiteX2886" fmla="*/ 504199 w 2516810"/>
                <a:gd name="connsiteY2886" fmla="*/ 217281 h 1504250"/>
                <a:gd name="connsiteX2887" fmla="*/ 504697 w 2516810"/>
                <a:gd name="connsiteY2887" fmla="*/ 216186 h 1504250"/>
                <a:gd name="connsiteX2888" fmla="*/ 503203 w 2516810"/>
                <a:gd name="connsiteY2888" fmla="*/ 215391 h 1504250"/>
                <a:gd name="connsiteX2889" fmla="*/ 501309 w 2516810"/>
                <a:gd name="connsiteY2889" fmla="*/ 214495 h 1504250"/>
                <a:gd name="connsiteX2890" fmla="*/ 501309 w 2516810"/>
                <a:gd name="connsiteY2890" fmla="*/ 213102 h 1504250"/>
                <a:gd name="connsiteX2891" fmla="*/ 504897 w 2516810"/>
                <a:gd name="connsiteY2891" fmla="*/ 213102 h 1504250"/>
                <a:gd name="connsiteX2892" fmla="*/ 508085 w 2516810"/>
                <a:gd name="connsiteY2892" fmla="*/ 215391 h 1504250"/>
                <a:gd name="connsiteX2893" fmla="*/ 510875 w 2516810"/>
                <a:gd name="connsiteY2893" fmla="*/ 219569 h 1504250"/>
                <a:gd name="connsiteX2894" fmla="*/ 513466 w 2516810"/>
                <a:gd name="connsiteY2894" fmla="*/ 221857 h 1504250"/>
                <a:gd name="connsiteX2895" fmla="*/ 512868 w 2516810"/>
                <a:gd name="connsiteY2895" fmla="*/ 226533 h 1504250"/>
                <a:gd name="connsiteX2896" fmla="*/ 512868 w 2516810"/>
                <a:gd name="connsiteY2896" fmla="*/ 232900 h 1504250"/>
                <a:gd name="connsiteX2897" fmla="*/ 512868 w 2516810"/>
                <a:gd name="connsiteY2897" fmla="*/ 239665 h 1504250"/>
                <a:gd name="connsiteX2898" fmla="*/ 510277 w 2516810"/>
                <a:gd name="connsiteY2898" fmla="*/ 244441 h 1504250"/>
                <a:gd name="connsiteX2899" fmla="*/ 509480 w 2516810"/>
                <a:gd name="connsiteY2899" fmla="*/ 245535 h 1504250"/>
                <a:gd name="connsiteX2900" fmla="*/ 508583 w 2516810"/>
                <a:gd name="connsiteY2900" fmla="*/ 245038 h 1504250"/>
                <a:gd name="connsiteX2901" fmla="*/ 506790 w 2516810"/>
                <a:gd name="connsiteY2901" fmla="*/ 240461 h 1504250"/>
                <a:gd name="connsiteX2902" fmla="*/ 505793 w 2516810"/>
                <a:gd name="connsiteY2902" fmla="*/ 237576 h 1504250"/>
                <a:gd name="connsiteX2903" fmla="*/ 505295 w 2516810"/>
                <a:gd name="connsiteY2903" fmla="*/ 235984 h 1504250"/>
                <a:gd name="connsiteX2904" fmla="*/ 504398 w 2516810"/>
                <a:gd name="connsiteY2904" fmla="*/ 234592 h 1504250"/>
                <a:gd name="connsiteX2905" fmla="*/ 503402 w 2516810"/>
                <a:gd name="connsiteY2905" fmla="*/ 234592 h 1504250"/>
                <a:gd name="connsiteX2906" fmla="*/ 503402 w 2516810"/>
                <a:gd name="connsiteY2906" fmla="*/ 236681 h 1504250"/>
                <a:gd name="connsiteX2907" fmla="*/ 507188 w 2516810"/>
                <a:gd name="connsiteY2907" fmla="*/ 246629 h 1504250"/>
                <a:gd name="connsiteX2908" fmla="*/ 507188 w 2516810"/>
                <a:gd name="connsiteY2908" fmla="*/ 251305 h 1504250"/>
                <a:gd name="connsiteX2909" fmla="*/ 507188 w 2516810"/>
                <a:gd name="connsiteY2909" fmla="*/ 256877 h 1504250"/>
                <a:gd name="connsiteX2910" fmla="*/ 505893 w 2516810"/>
                <a:gd name="connsiteY2910" fmla="*/ 265830 h 1504250"/>
                <a:gd name="connsiteX2911" fmla="*/ 503601 w 2516810"/>
                <a:gd name="connsiteY2911" fmla="*/ 270208 h 1504250"/>
                <a:gd name="connsiteX2912" fmla="*/ 505494 w 2516810"/>
                <a:gd name="connsiteY2912" fmla="*/ 274685 h 1504250"/>
                <a:gd name="connsiteX2913" fmla="*/ 509779 w 2516810"/>
                <a:gd name="connsiteY2913" fmla="*/ 290305 h 1504250"/>
                <a:gd name="connsiteX2914" fmla="*/ 514662 w 2516810"/>
                <a:gd name="connsiteY2914" fmla="*/ 299059 h 1504250"/>
                <a:gd name="connsiteX2915" fmla="*/ 521537 w 2516810"/>
                <a:gd name="connsiteY2915" fmla="*/ 309904 h 1504250"/>
                <a:gd name="connsiteX2916" fmla="*/ 530505 w 2516810"/>
                <a:gd name="connsiteY2916" fmla="*/ 317962 h 1504250"/>
                <a:gd name="connsiteX2917" fmla="*/ 536085 w 2516810"/>
                <a:gd name="connsiteY2917" fmla="*/ 324528 h 1504250"/>
                <a:gd name="connsiteX2918" fmla="*/ 537978 w 2516810"/>
                <a:gd name="connsiteY2918" fmla="*/ 328508 h 1504250"/>
                <a:gd name="connsiteX2919" fmla="*/ 538975 w 2516810"/>
                <a:gd name="connsiteY2919" fmla="*/ 333979 h 1504250"/>
                <a:gd name="connsiteX2920" fmla="*/ 538975 w 2516810"/>
                <a:gd name="connsiteY2920" fmla="*/ 339949 h 1504250"/>
                <a:gd name="connsiteX2921" fmla="*/ 538975 w 2516810"/>
                <a:gd name="connsiteY2921" fmla="*/ 344326 h 1504250"/>
                <a:gd name="connsiteX2922" fmla="*/ 537480 w 2516810"/>
                <a:gd name="connsiteY2922" fmla="*/ 347112 h 1504250"/>
                <a:gd name="connsiteX2923" fmla="*/ 538178 w 2516810"/>
                <a:gd name="connsiteY2923" fmla="*/ 348007 h 1504250"/>
                <a:gd name="connsiteX2924" fmla="*/ 539274 w 2516810"/>
                <a:gd name="connsiteY2924" fmla="*/ 346714 h 1504250"/>
                <a:gd name="connsiteX2925" fmla="*/ 540470 w 2516810"/>
                <a:gd name="connsiteY2925" fmla="*/ 346714 h 1504250"/>
                <a:gd name="connsiteX2926" fmla="*/ 541466 w 2516810"/>
                <a:gd name="connsiteY2926" fmla="*/ 346714 h 1504250"/>
                <a:gd name="connsiteX2927" fmla="*/ 543957 w 2516810"/>
                <a:gd name="connsiteY2927" fmla="*/ 348306 h 1504250"/>
                <a:gd name="connsiteX2928" fmla="*/ 545651 w 2516810"/>
                <a:gd name="connsiteY2928" fmla="*/ 349897 h 1504250"/>
                <a:gd name="connsiteX2929" fmla="*/ 547744 w 2516810"/>
                <a:gd name="connsiteY2929" fmla="*/ 352285 h 1504250"/>
                <a:gd name="connsiteX2930" fmla="*/ 549637 w 2516810"/>
                <a:gd name="connsiteY2930" fmla="*/ 354872 h 1504250"/>
                <a:gd name="connsiteX2931" fmla="*/ 551032 w 2516810"/>
                <a:gd name="connsiteY2931" fmla="*/ 358553 h 1504250"/>
                <a:gd name="connsiteX2932" fmla="*/ 551032 w 2516810"/>
                <a:gd name="connsiteY2932" fmla="*/ 366512 h 1504250"/>
                <a:gd name="connsiteX2933" fmla="*/ 550235 w 2516810"/>
                <a:gd name="connsiteY2933" fmla="*/ 373974 h 1504250"/>
                <a:gd name="connsiteX2934" fmla="*/ 550235 w 2516810"/>
                <a:gd name="connsiteY2934" fmla="*/ 376361 h 1504250"/>
                <a:gd name="connsiteX2935" fmla="*/ 551729 w 2516810"/>
                <a:gd name="connsiteY2935" fmla="*/ 378848 h 1504250"/>
                <a:gd name="connsiteX2936" fmla="*/ 552825 w 2516810"/>
                <a:gd name="connsiteY2936" fmla="*/ 380739 h 1504250"/>
                <a:gd name="connsiteX2937" fmla="*/ 553822 w 2516810"/>
                <a:gd name="connsiteY2937" fmla="*/ 382828 h 1504250"/>
                <a:gd name="connsiteX2938" fmla="*/ 553124 w 2516810"/>
                <a:gd name="connsiteY2938" fmla="*/ 386509 h 1504250"/>
                <a:gd name="connsiteX2939" fmla="*/ 552028 w 2516810"/>
                <a:gd name="connsiteY2939" fmla="*/ 390588 h 1504250"/>
                <a:gd name="connsiteX2940" fmla="*/ 552626 w 2516810"/>
                <a:gd name="connsiteY2940" fmla="*/ 392975 h 1504250"/>
                <a:gd name="connsiteX2941" fmla="*/ 551131 w 2516810"/>
                <a:gd name="connsiteY2941" fmla="*/ 395463 h 1504250"/>
                <a:gd name="connsiteX2942" fmla="*/ 551729 w 2516810"/>
                <a:gd name="connsiteY2942" fmla="*/ 397353 h 1504250"/>
                <a:gd name="connsiteX2943" fmla="*/ 553921 w 2516810"/>
                <a:gd name="connsiteY2943" fmla="*/ 398348 h 1504250"/>
                <a:gd name="connsiteX2944" fmla="*/ 556413 w 2516810"/>
                <a:gd name="connsiteY2944" fmla="*/ 397452 h 1504250"/>
                <a:gd name="connsiteX2945" fmla="*/ 558406 w 2516810"/>
                <a:gd name="connsiteY2945" fmla="*/ 398348 h 1504250"/>
                <a:gd name="connsiteX2946" fmla="*/ 559302 w 2516810"/>
                <a:gd name="connsiteY2946" fmla="*/ 397751 h 1504250"/>
                <a:gd name="connsiteX2947" fmla="*/ 561494 w 2516810"/>
                <a:gd name="connsiteY2947" fmla="*/ 399144 h 1504250"/>
                <a:gd name="connsiteX2948" fmla="*/ 562889 w 2516810"/>
                <a:gd name="connsiteY2948" fmla="*/ 401133 h 1504250"/>
                <a:gd name="connsiteX2949" fmla="*/ 565480 w 2516810"/>
                <a:gd name="connsiteY2949" fmla="*/ 409291 h 1504250"/>
                <a:gd name="connsiteX2950" fmla="*/ 566875 w 2516810"/>
                <a:gd name="connsiteY2950" fmla="*/ 411480 h 1504250"/>
                <a:gd name="connsiteX2951" fmla="*/ 568968 w 2516810"/>
                <a:gd name="connsiteY2951" fmla="*/ 414067 h 1504250"/>
                <a:gd name="connsiteX2952" fmla="*/ 570761 w 2516810"/>
                <a:gd name="connsiteY2952" fmla="*/ 416952 h 1504250"/>
                <a:gd name="connsiteX2953" fmla="*/ 571857 w 2516810"/>
                <a:gd name="connsiteY2953" fmla="*/ 422324 h 1504250"/>
                <a:gd name="connsiteX2954" fmla="*/ 572754 w 2516810"/>
                <a:gd name="connsiteY2954" fmla="*/ 424413 h 1504250"/>
                <a:gd name="connsiteX2955" fmla="*/ 575245 w 2516810"/>
                <a:gd name="connsiteY2955" fmla="*/ 427498 h 1504250"/>
                <a:gd name="connsiteX2956" fmla="*/ 577338 w 2516810"/>
                <a:gd name="connsiteY2956" fmla="*/ 427498 h 1504250"/>
                <a:gd name="connsiteX2957" fmla="*/ 578235 w 2516810"/>
                <a:gd name="connsiteY2957" fmla="*/ 428890 h 1504250"/>
                <a:gd name="connsiteX2958" fmla="*/ 578932 w 2516810"/>
                <a:gd name="connsiteY2958" fmla="*/ 430681 h 1504250"/>
                <a:gd name="connsiteX2959" fmla="*/ 582021 w 2516810"/>
                <a:gd name="connsiteY2959" fmla="*/ 438939 h 1504250"/>
                <a:gd name="connsiteX2960" fmla="*/ 587003 w 2516810"/>
                <a:gd name="connsiteY2960" fmla="*/ 443316 h 1504250"/>
                <a:gd name="connsiteX2961" fmla="*/ 591388 w 2516810"/>
                <a:gd name="connsiteY2961" fmla="*/ 446798 h 1504250"/>
                <a:gd name="connsiteX2962" fmla="*/ 591388 w 2516810"/>
                <a:gd name="connsiteY2962" fmla="*/ 449584 h 1504250"/>
                <a:gd name="connsiteX2963" fmla="*/ 591388 w 2516810"/>
                <a:gd name="connsiteY2963" fmla="*/ 452569 h 1504250"/>
                <a:gd name="connsiteX2964" fmla="*/ 592783 w 2516810"/>
                <a:gd name="connsiteY2964" fmla="*/ 453961 h 1504250"/>
                <a:gd name="connsiteX2965" fmla="*/ 594178 w 2516810"/>
                <a:gd name="connsiteY2965" fmla="*/ 455056 h 1504250"/>
                <a:gd name="connsiteX2966" fmla="*/ 596768 w 2516810"/>
                <a:gd name="connsiteY2966" fmla="*/ 455653 h 1504250"/>
                <a:gd name="connsiteX2967" fmla="*/ 598064 w 2516810"/>
                <a:gd name="connsiteY2967" fmla="*/ 457443 h 1504250"/>
                <a:gd name="connsiteX2968" fmla="*/ 598064 w 2516810"/>
                <a:gd name="connsiteY2968" fmla="*/ 460627 h 1504250"/>
                <a:gd name="connsiteX2969" fmla="*/ 597067 w 2516810"/>
                <a:gd name="connsiteY2969" fmla="*/ 463413 h 1504250"/>
                <a:gd name="connsiteX2970" fmla="*/ 594277 w 2516810"/>
                <a:gd name="connsiteY2970" fmla="*/ 468785 h 1504250"/>
                <a:gd name="connsiteX2971" fmla="*/ 592683 w 2516810"/>
                <a:gd name="connsiteY2971" fmla="*/ 472764 h 1504250"/>
                <a:gd name="connsiteX2972" fmla="*/ 593779 w 2516810"/>
                <a:gd name="connsiteY2972" fmla="*/ 477241 h 1504250"/>
                <a:gd name="connsiteX2973" fmla="*/ 595971 w 2516810"/>
                <a:gd name="connsiteY2973" fmla="*/ 478933 h 1504250"/>
                <a:gd name="connsiteX2974" fmla="*/ 600655 w 2516810"/>
                <a:gd name="connsiteY2974" fmla="*/ 480823 h 1504250"/>
                <a:gd name="connsiteX2975" fmla="*/ 602548 w 2516810"/>
                <a:gd name="connsiteY2975" fmla="*/ 483310 h 1504250"/>
                <a:gd name="connsiteX2976" fmla="*/ 603644 w 2516810"/>
                <a:gd name="connsiteY2976" fmla="*/ 484007 h 1504250"/>
                <a:gd name="connsiteX2977" fmla="*/ 603644 w 2516810"/>
                <a:gd name="connsiteY2977" fmla="*/ 482315 h 1504250"/>
                <a:gd name="connsiteX2978" fmla="*/ 603644 w 2516810"/>
                <a:gd name="connsiteY2978" fmla="*/ 481221 h 1504250"/>
                <a:gd name="connsiteX2979" fmla="*/ 603644 w 2516810"/>
                <a:gd name="connsiteY2979" fmla="*/ 480524 h 1504250"/>
                <a:gd name="connsiteX2980" fmla="*/ 604541 w 2516810"/>
                <a:gd name="connsiteY2980" fmla="*/ 479728 h 1504250"/>
                <a:gd name="connsiteX2981" fmla="*/ 605736 w 2516810"/>
                <a:gd name="connsiteY2981" fmla="*/ 479231 h 1504250"/>
                <a:gd name="connsiteX2982" fmla="*/ 612114 w 2516810"/>
                <a:gd name="connsiteY2982" fmla="*/ 479231 h 1504250"/>
                <a:gd name="connsiteX2983" fmla="*/ 615103 w 2516810"/>
                <a:gd name="connsiteY2983" fmla="*/ 481320 h 1504250"/>
                <a:gd name="connsiteX2984" fmla="*/ 616996 w 2516810"/>
                <a:gd name="connsiteY2984" fmla="*/ 486195 h 1504250"/>
                <a:gd name="connsiteX2985" fmla="*/ 618690 w 2516810"/>
                <a:gd name="connsiteY2985" fmla="*/ 490075 h 1504250"/>
                <a:gd name="connsiteX2986" fmla="*/ 618690 w 2516810"/>
                <a:gd name="connsiteY2986" fmla="*/ 493557 h 1504250"/>
                <a:gd name="connsiteX2987" fmla="*/ 616996 w 2516810"/>
                <a:gd name="connsiteY2987" fmla="*/ 499129 h 1504250"/>
                <a:gd name="connsiteX2988" fmla="*/ 619288 w 2516810"/>
                <a:gd name="connsiteY2988" fmla="*/ 500223 h 1504250"/>
                <a:gd name="connsiteX2989" fmla="*/ 621480 w 2516810"/>
                <a:gd name="connsiteY2989" fmla="*/ 502113 h 1504250"/>
                <a:gd name="connsiteX2990" fmla="*/ 621480 w 2516810"/>
                <a:gd name="connsiteY2990" fmla="*/ 503506 h 1504250"/>
                <a:gd name="connsiteX2991" fmla="*/ 623672 w 2516810"/>
                <a:gd name="connsiteY2991" fmla="*/ 505794 h 1504250"/>
                <a:gd name="connsiteX2992" fmla="*/ 625067 w 2516810"/>
                <a:gd name="connsiteY2992" fmla="*/ 508679 h 1504250"/>
                <a:gd name="connsiteX2993" fmla="*/ 625067 w 2516810"/>
                <a:gd name="connsiteY2993" fmla="*/ 510172 h 1504250"/>
                <a:gd name="connsiteX2994" fmla="*/ 623872 w 2516810"/>
                <a:gd name="connsiteY2994" fmla="*/ 511763 h 1504250"/>
                <a:gd name="connsiteX2995" fmla="*/ 622676 w 2516810"/>
                <a:gd name="connsiteY2995" fmla="*/ 513753 h 1504250"/>
                <a:gd name="connsiteX2996" fmla="*/ 622676 w 2516810"/>
                <a:gd name="connsiteY2996" fmla="*/ 515047 h 1504250"/>
                <a:gd name="connsiteX2997" fmla="*/ 624270 w 2516810"/>
                <a:gd name="connsiteY2997" fmla="*/ 515743 h 1504250"/>
                <a:gd name="connsiteX2998" fmla="*/ 624270 w 2516810"/>
                <a:gd name="connsiteY2998" fmla="*/ 518926 h 1504250"/>
                <a:gd name="connsiteX2999" fmla="*/ 625964 w 2516810"/>
                <a:gd name="connsiteY2999" fmla="*/ 524697 h 1504250"/>
                <a:gd name="connsiteX3000" fmla="*/ 625964 w 2516810"/>
                <a:gd name="connsiteY3000" fmla="*/ 525990 h 1504250"/>
                <a:gd name="connsiteX3001" fmla="*/ 625964 w 2516810"/>
                <a:gd name="connsiteY3001" fmla="*/ 527383 h 1504250"/>
                <a:gd name="connsiteX3002" fmla="*/ 624868 w 2516810"/>
                <a:gd name="connsiteY3002" fmla="*/ 528278 h 1504250"/>
                <a:gd name="connsiteX3003" fmla="*/ 623573 w 2516810"/>
                <a:gd name="connsiteY3003" fmla="*/ 529273 h 1504250"/>
                <a:gd name="connsiteX3004" fmla="*/ 624171 w 2516810"/>
                <a:gd name="connsiteY3004" fmla="*/ 530169 h 1504250"/>
                <a:gd name="connsiteX3005" fmla="*/ 626163 w 2516810"/>
                <a:gd name="connsiteY3005" fmla="*/ 530766 h 1504250"/>
                <a:gd name="connsiteX3006" fmla="*/ 628854 w 2516810"/>
                <a:gd name="connsiteY3006" fmla="*/ 530766 h 1504250"/>
                <a:gd name="connsiteX3007" fmla="*/ 630548 w 2516810"/>
                <a:gd name="connsiteY3007" fmla="*/ 530766 h 1504250"/>
                <a:gd name="connsiteX3008" fmla="*/ 631843 w 2516810"/>
                <a:gd name="connsiteY3008" fmla="*/ 531462 h 1504250"/>
                <a:gd name="connsiteX3009" fmla="*/ 632640 w 2516810"/>
                <a:gd name="connsiteY3009" fmla="*/ 532357 h 1504250"/>
                <a:gd name="connsiteX3010" fmla="*/ 633637 w 2516810"/>
                <a:gd name="connsiteY3010" fmla="*/ 534049 h 1504250"/>
                <a:gd name="connsiteX3011" fmla="*/ 634534 w 2516810"/>
                <a:gd name="connsiteY3011" fmla="*/ 536138 h 1504250"/>
                <a:gd name="connsiteX3012" fmla="*/ 637423 w 2516810"/>
                <a:gd name="connsiteY3012" fmla="*/ 538227 h 1504250"/>
                <a:gd name="connsiteX3013" fmla="*/ 639217 w 2516810"/>
                <a:gd name="connsiteY3013" fmla="*/ 540018 h 1504250"/>
                <a:gd name="connsiteX3014" fmla="*/ 639217 w 2516810"/>
                <a:gd name="connsiteY3014" fmla="*/ 541411 h 1504250"/>
                <a:gd name="connsiteX3015" fmla="*/ 640911 w 2516810"/>
                <a:gd name="connsiteY3015" fmla="*/ 542207 h 1504250"/>
                <a:gd name="connsiteX3016" fmla="*/ 641608 w 2516810"/>
                <a:gd name="connsiteY3016" fmla="*/ 544893 h 1504250"/>
                <a:gd name="connsiteX3017" fmla="*/ 644797 w 2516810"/>
                <a:gd name="connsiteY3017" fmla="*/ 545788 h 1504250"/>
                <a:gd name="connsiteX3018" fmla="*/ 649480 w 2516810"/>
                <a:gd name="connsiteY3018" fmla="*/ 547679 h 1504250"/>
                <a:gd name="connsiteX3019" fmla="*/ 651373 w 2516810"/>
                <a:gd name="connsiteY3019" fmla="*/ 549967 h 1504250"/>
                <a:gd name="connsiteX3020" fmla="*/ 654861 w 2516810"/>
                <a:gd name="connsiteY3020" fmla="*/ 553250 h 1504250"/>
                <a:gd name="connsiteX3021" fmla="*/ 657751 w 2516810"/>
                <a:gd name="connsiteY3021" fmla="*/ 553250 h 1504250"/>
                <a:gd name="connsiteX3022" fmla="*/ 660042 w 2516810"/>
                <a:gd name="connsiteY3022" fmla="*/ 552752 h 1504250"/>
                <a:gd name="connsiteX3023" fmla="*/ 662035 w 2516810"/>
                <a:gd name="connsiteY3023" fmla="*/ 552752 h 1504250"/>
                <a:gd name="connsiteX3024" fmla="*/ 663430 w 2516810"/>
                <a:gd name="connsiteY3024" fmla="*/ 555439 h 1504250"/>
                <a:gd name="connsiteX3025" fmla="*/ 663430 w 2516810"/>
                <a:gd name="connsiteY3025" fmla="*/ 556931 h 1504250"/>
                <a:gd name="connsiteX3026" fmla="*/ 663430 w 2516810"/>
                <a:gd name="connsiteY3026" fmla="*/ 558523 h 1504250"/>
                <a:gd name="connsiteX3027" fmla="*/ 663430 w 2516810"/>
                <a:gd name="connsiteY3027" fmla="*/ 559816 h 1504250"/>
                <a:gd name="connsiteX3028" fmla="*/ 662633 w 2516810"/>
                <a:gd name="connsiteY3028" fmla="*/ 560313 h 1504250"/>
                <a:gd name="connsiteX3029" fmla="*/ 661437 w 2516810"/>
                <a:gd name="connsiteY3029" fmla="*/ 559816 h 1504250"/>
                <a:gd name="connsiteX3030" fmla="*/ 660740 w 2516810"/>
                <a:gd name="connsiteY3030" fmla="*/ 558721 h 1504250"/>
                <a:gd name="connsiteX3031" fmla="*/ 660042 w 2516810"/>
                <a:gd name="connsiteY3031" fmla="*/ 557329 h 1504250"/>
                <a:gd name="connsiteX3032" fmla="*/ 659245 w 2516810"/>
                <a:gd name="connsiteY3032" fmla="*/ 555936 h 1504250"/>
                <a:gd name="connsiteX3033" fmla="*/ 658050 w 2516810"/>
                <a:gd name="connsiteY3033" fmla="*/ 555936 h 1504250"/>
                <a:gd name="connsiteX3034" fmla="*/ 655758 w 2516810"/>
                <a:gd name="connsiteY3034" fmla="*/ 557627 h 1504250"/>
                <a:gd name="connsiteX3035" fmla="*/ 654363 w 2516810"/>
                <a:gd name="connsiteY3035" fmla="*/ 558224 h 1504250"/>
                <a:gd name="connsiteX3036" fmla="*/ 652868 w 2516810"/>
                <a:gd name="connsiteY3036" fmla="*/ 558224 h 1504250"/>
                <a:gd name="connsiteX3037" fmla="*/ 652270 w 2516810"/>
                <a:gd name="connsiteY3037" fmla="*/ 559219 h 1504250"/>
                <a:gd name="connsiteX3038" fmla="*/ 653466 w 2516810"/>
                <a:gd name="connsiteY3038" fmla="*/ 560612 h 1504250"/>
                <a:gd name="connsiteX3039" fmla="*/ 655957 w 2516810"/>
                <a:gd name="connsiteY3039" fmla="*/ 564293 h 1504250"/>
                <a:gd name="connsiteX3040" fmla="*/ 675886 w 2516810"/>
                <a:gd name="connsiteY3040" fmla="*/ 583394 h 1504250"/>
                <a:gd name="connsiteX3041" fmla="*/ 678178 w 2516810"/>
                <a:gd name="connsiteY3041" fmla="*/ 589563 h 1504250"/>
                <a:gd name="connsiteX3042" fmla="*/ 680569 w 2516810"/>
                <a:gd name="connsiteY3042" fmla="*/ 594935 h 1504250"/>
                <a:gd name="connsiteX3043" fmla="*/ 682462 w 2516810"/>
                <a:gd name="connsiteY3043" fmla="*/ 600606 h 1504250"/>
                <a:gd name="connsiteX3044" fmla="*/ 683758 w 2516810"/>
                <a:gd name="connsiteY3044" fmla="*/ 600606 h 1504250"/>
                <a:gd name="connsiteX3045" fmla="*/ 686847 w 2516810"/>
                <a:gd name="connsiteY3045" fmla="*/ 601302 h 1504250"/>
                <a:gd name="connsiteX3046" fmla="*/ 689836 w 2516810"/>
                <a:gd name="connsiteY3046" fmla="*/ 602496 h 1504250"/>
                <a:gd name="connsiteX3047" fmla="*/ 697808 w 2516810"/>
                <a:gd name="connsiteY3047" fmla="*/ 606476 h 1504250"/>
                <a:gd name="connsiteX3048" fmla="*/ 706676 w 2516810"/>
                <a:gd name="connsiteY3048" fmla="*/ 609560 h 1504250"/>
                <a:gd name="connsiteX3049" fmla="*/ 712057 w 2516810"/>
                <a:gd name="connsiteY3049" fmla="*/ 611251 h 1504250"/>
                <a:gd name="connsiteX3050" fmla="*/ 716441 w 2516810"/>
                <a:gd name="connsiteY3050" fmla="*/ 610455 h 1504250"/>
                <a:gd name="connsiteX3051" fmla="*/ 715943 w 2516810"/>
                <a:gd name="connsiteY3051" fmla="*/ 612942 h 1504250"/>
                <a:gd name="connsiteX3052" fmla="*/ 714747 w 2516810"/>
                <a:gd name="connsiteY3052" fmla="*/ 614434 h 1504250"/>
                <a:gd name="connsiteX3053" fmla="*/ 713950 w 2516810"/>
                <a:gd name="connsiteY3053" fmla="*/ 616026 h 1504250"/>
                <a:gd name="connsiteX3054" fmla="*/ 714747 w 2516810"/>
                <a:gd name="connsiteY3054" fmla="*/ 619011 h 1504250"/>
                <a:gd name="connsiteX3055" fmla="*/ 716441 w 2516810"/>
                <a:gd name="connsiteY3055" fmla="*/ 621399 h 1504250"/>
                <a:gd name="connsiteX3056" fmla="*/ 722021 w 2516810"/>
                <a:gd name="connsiteY3056" fmla="*/ 626274 h 1504250"/>
                <a:gd name="connsiteX3057" fmla="*/ 722719 w 2516810"/>
                <a:gd name="connsiteY3057" fmla="*/ 627766 h 1504250"/>
                <a:gd name="connsiteX3058" fmla="*/ 722719 w 2516810"/>
                <a:gd name="connsiteY3058" fmla="*/ 630751 h 1504250"/>
                <a:gd name="connsiteX3059" fmla="*/ 723715 w 2516810"/>
                <a:gd name="connsiteY3059" fmla="*/ 632641 h 1504250"/>
                <a:gd name="connsiteX3060" fmla="*/ 723715 w 2516810"/>
                <a:gd name="connsiteY3060" fmla="*/ 633437 h 1504250"/>
                <a:gd name="connsiteX3061" fmla="*/ 723715 w 2516810"/>
                <a:gd name="connsiteY3061" fmla="*/ 634133 h 1504250"/>
                <a:gd name="connsiteX3062" fmla="*/ 724512 w 2516810"/>
                <a:gd name="connsiteY3062" fmla="*/ 634133 h 1504250"/>
                <a:gd name="connsiteX3063" fmla="*/ 726704 w 2516810"/>
                <a:gd name="connsiteY3063" fmla="*/ 634133 h 1504250"/>
                <a:gd name="connsiteX3064" fmla="*/ 727800 w 2516810"/>
                <a:gd name="connsiteY3064" fmla="*/ 635625 h 1504250"/>
                <a:gd name="connsiteX3065" fmla="*/ 728797 w 2516810"/>
                <a:gd name="connsiteY3065" fmla="*/ 641893 h 1504250"/>
                <a:gd name="connsiteX3066" fmla="*/ 732882 w 2516810"/>
                <a:gd name="connsiteY3066" fmla="*/ 646271 h 1504250"/>
                <a:gd name="connsiteX3067" fmla="*/ 735174 w 2516810"/>
                <a:gd name="connsiteY3067" fmla="*/ 651444 h 1504250"/>
                <a:gd name="connsiteX3068" fmla="*/ 737566 w 2516810"/>
                <a:gd name="connsiteY3068" fmla="*/ 653931 h 1504250"/>
                <a:gd name="connsiteX3069" fmla="*/ 739060 w 2516810"/>
                <a:gd name="connsiteY3069" fmla="*/ 657015 h 1504250"/>
                <a:gd name="connsiteX3070" fmla="*/ 742946 w 2516810"/>
                <a:gd name="connsiteY3070" fmla="*/ 658110 h 1504250"/>
                <a:gd name="connsiteX3071" fmla="*/ 745736 w 2516810"/>
                <a:gd name="connsiteY3071" fmla="*/ 661194 h 1504250"/>
                <a:gd name="connsiteX3072" fmla="*/ 747530 w 2516810"/>
                <a:gd name="connsiteY3072" fmla="*/ 663283 h 1504250"/>
                <a:gd name="connsiteX3073" fmla="*/ 749025 w 2516810"/>
                <a:gd name="connsiteY3073" fmla="*/ 665571 h 1504250"/>
                <a:gd name="connsiteX3074" fmla="*/ 752712 w 2516810"/>
                <a:gd name="connsiteY3074" fmla="*/ 666467 h 1504250"/>
                <a:gd name="connsiteX3075" fmla="*/ 754505 w 2516810"/>
                <a:gd name="connsiteY3075" fmla="*/ 668556 h 1504250"/>
                <a:gd name="connsiteX3076" fmla="*/ 755800 w 2516810"/>
                <a:gd name="connsiteY3076" fmla="*/ 668556 h 1504250"/>
                <a:gd name="connsiteX3077" fmla="*/ 757594 w 2516810"/>
                <a:gd name="connsiteY3077" fmla="*/ 669551 h 1504250"/>
                <a:gd name="connsiteX3078" fmla="*/ 758690 w 2516810"/>
                <a:gd name="connsiteY3078" fmla="*/ 671043 h 1504250"/>
                <a:gd name="connsiteX3079" fmla="*/ 757793 w 2516810"/>
                <a:gd name="connsiteY3079" fmla="*/ 672038 h 1504250"/>
                <a:gd name="connsiteX3080" fmla="*/ 757793 w 2516810"/>
                <a:gd name="connsiteY3080" fmla="*/ 673331 h 1504250"/>
                <a:gd name="connsiteX3081" fmla="*/ 763573 w 2516810"/>
                <a:gd name="connsiteY3081" fmla="*/ 673331 h 1504250"/>
                <a:gd name="connsiteX3082" fmla="*/ 765864 w 2516810"/>
                <a:gd name="connsiteY3082" fmla="*/ 670645 h 1504250"/>
                <a:gd name="connsiteX3083" fmla="*/ 768356 w 2516810"/>
                <a:gd name="connsiteY3083" fmla="*/ 669849 h 1504250"/>
                <a:gd name="connsiteX3084" fmla="*/ 771046 w 2516810"/>
                <a:gd name="connsiteY3084" fmla="*/ 669849 h 1504250"/>
                <a:gd name="connsiteX3085" fmla="*/ 774035 w 2516810"/>
                <a:gd name="connsiteY3085" fmla="*/ 671441 h 1504250"/>
                <a:gd name="connsiteX3086" fmla="*/ 776626 w 2516810"/>
                <a:gd name="connsiteY3086" fmla="*/ 673630 h 1504250"/>
                <a:gd name="connsiteX3087" fmla="*/ 778719 w 2516810"/>
                <a:gd name="connsiteY3087" fmla="*/ 675918 h 1504250"/>
                <a:gd name="connsiteX3088" fmla="*/ 777623 w 2516810"/>
                <a:gd name="connsiteY3088" fmla="*/ 675918 h 1504250"/>
                <a:gd name="connsiteX3089" fmla="*/ 776825 w 2516810"/>
                <a:gd name="connsiteY3089" fmla="*/ 675918 h 1504250"/>
                <a:gd name="connsiteX3090" fmla="*/ 775331 w 2516810"/>
                <a:gd name="connsiteY3090" fmla="*/ 677311 h 1504250"/>
                <a:gd name="connsiteX3091" fmla="*/ 776228 w 2516810"/>
                <a:gd name="connsiteY3091" fmla="*/ 677908 h 1504250"/>
                <a:gd name="connsiteX3092" fmla="*/ 776825 w 2516810"/>
                <a:gd name="connsiteY3092" fmla="*/ 678703 h 1504250"/>
                <a:gd name="connsiteX3093" fmla="*/ 776825 w 2516810"/>
                <a:gd name="connsiteY3093" fmla="*/ 679499 h 1504250"/>
                <a:gd name="connsiteX3094" fmla="*/ 777423 w 2516810"/>
                <a:gd name="connsiteY3094" fmla="*/ 680196 h 1504250"/>
                <a:gd name="connsiteX3095" fmla="*/ 778220 w 2516810"/>
                <a:gd name="connsiteY3095" fmla="*/ 680196 h 1504250"/>
                <a:gd name="connsiteX3096" fmla="*/ 780213 w 2516810"/>
                <a:gd name="connsiteY3096" fmla="*/ 680196 h 1504250"/>
                <a:gd name="connsiteX3097" fmla="*/ 780911 w 2516810"/>
                <a:gd name="connsiteY3097" fmla="*/ 680196 h 1504250"/>
                <a:gd name="connsiteX3098" fmla="*/ 783800 w 2516810"/>
                <a:gd name="connsiteY3098" fmla="*/ 684175 h 1504250"/>
                <a:gd name="connsiteX3099" fmla="*/ 784398 w 2516810"/>
                <a:gd name="connsiteY3099" fmla="*/ 684175 h 1504250"/>
                <a:gd name="connsiteX3100" fmla="*/ 784896 w 2516810"/>
                <a:gd name="connsiteY3100" fmla="*/ 685568 h 1504250"/>
                <a:gd name="connsiteX3101" fmla="*/ 786092 w 2516810"/>
                <a:gd name="connsiteY3101" fmla="*/ 684474 h 1504250"/>
                <a:gd name="connsiteX3102" fmla="*/ 787288 w 2516810"/>
                <a:gd name="connsiteY3102" fmla="*/ 682185 h 1504250"/>
                <a:gd name="connsiteX3103" fmla="*/ 787886 w 2516810"/>
                <a:gd name="connsiteY3103" fmla="*/ 680395 h 1504250"/>
                <a:gd name="connsiteX3104" fmla="*/ 787886 w 2516810"/>
                <a:gd name="connsiteY3104" fmla="*/ 678504 h 1504250"/>
                <a:gd name="connsiteX3105" fmla="*/ 787886 w 2516810"/>
                <a:gd name="connsiteY3105" fmla="*/ 677311 h 1504250"/>
                <a:gd name="connsiteX3106" fmla="*/ 786790 w 2516810"/>
                <a:gd name="connsiteY3106" fmla="*/ 676813 h 1504250"/>
                <a:gd name="connsiteX3107" fmla="*/ 784996 w 2516810"/>
                <a:gd name="connsiteY3107" fmla="*/ 676813 h 1504250"/>
                <a:gd name="connsiteX3108" fmla="*/ 787487 w 2516810"/>
                <a:gd name="connsiteY3108" fmla="*/ 673928 h 1504250"/>
                <a:gd name="connsiteX3109" fmla="*/ 788783 w 2516810"/>
                <a:gd name="connsiteY3109" fmla="*/ 671938 h 1504250"/>
                <a:gd name="connsiteX3110" fmla="*/ 788783 w 2516810"/>
                <a:gd name="connsiteY3110" fmla="*/ 669551 h 1504250"/>
                <a:gd name="connsiteX3111" fmla="*/ 788783 w 2516810"/>
                <a:gd name="connsiteY3111" fmla="*/ 668556 h 1504250"/>
                <a:gd name="connsiteX3112" fmla="*/ 789480 w 2516810"/>
                <a:gd name="connsiteY3112" fmla="*/ 667163 h 1504250"/>
                <a:gd name="connsiteX3113" fmla="*/ 790975 w 2516810"/>
                <a:gd name="connsiteY3113" fmla="*/ 667163 h 1504250"/>
                <a:gd name="connsiteX3114" fmla="*/ 792469 w 2516810"/>
                <a:gd name="connsiteY3114" fmla="*/ 668158 h 1504250"/>
                <a:gd name="connsiteX3115" fmla="*/ 793167 w 2516810"/>
                <a:gd name="connsiteY3115" fmla="*/ 669551 h 1504250"/>
                <a:gd name="connsiteX3116" fmla="*/ 793167 w 2516810"/>
                <a:gd name="connsiteY3116" fmla="*/ 671341 h 1504250"/>
                <a:gd name="connsiteX3117" fmla="*/ 793167 w 2516810"/>
                <a:gd name="connsiteY3117" fmla="*/ 672635 h 1504250"/>
                <a:gd name="connsiteX3118" fmla="*/ 793167 w 2516810"/>
                <a:gd name="connsiteY3118" fmla="*/ 673928 h 1504250"/>
                <a:gd name="connsiteX3119" fmla="*/ 794163 w 2516810"/>
                <a:gd name="connsiteY3119" fmla="*/ 675818 h 1504250"/>
                <a:gd name="connsiteX3120" fmla="*/ 790377 w 2516810"/>
                <a:gd name="connsiteY3120" fmla="*/ 677311 h 1504250"/>
                <a:gd name="connsiteX3121" fmla="*/ 788982 w 2516810"/>
                <a:gd name="connsiteY3121" fmla="*/ 677311 h 1504250"/>
                <a:gd name="connsiteX3122" fmla="*/ 788982 w 2516810"/>
                <a:gd name="connsiteY3122" fmla="*/ 678306 h 1504250"/>
                <a:gd name="connsiteX3123" fmla="*/ 793665 w 2516810"/>
                <a:gd name="connsiteY3123" fmla="*/ 677211 h 1504250"/>
                <a:gd name="connsiteX3124" fmla="*/ 798149 w 2516810"/>
                <a:gd name="connsiteY3124" fmla="*/ 677211 h 1504250"/>
                <a:gd name="connsiteX3125" fmla="*/ 802534 w 2516810"/>
                <a:gd name="connsiteY3125" fmla="*/ 677211 h 1504250"/>
                <a:gd name="connsiteX3126" fmla="*/ 811501 w 2516810"/>
                <a:gd name="connsiteY3126" fmla="*/ 679400 h 1504250"/>
                <a:gd name="connsiteX3127" fmla="*/ 813494 w 2516810"/>
                <a:gd name="connsiteY3127" fmla="*/ 680196 h 1504250"/>
                <a:gd name="connsiteX3128" fmla="*/ 817380 w 2516810"/>
                <a:gd name="connsiteY3128" fmla="*/ 682882 h 1504250"/>
                <a:gd name="connsiteX3129" fmla="*/ 819274 w 2516810"/>
                <a:gd name="connsiteY3129" fmla="*/ 682882 h 1504250"/>
                <a:gd name="connsiteX3130" fmla="*/ 819872 w 2516810"/>
                <a:gd name="connsiteY3130" fmla="*/ 682185 h 1504250"/>
                <a:gd name="connsiteX3131" fmla="*/ 818277 w 2516810"/>
                <a:gd name="connsiteY3131" fmla="*/ 680793 h 1504250"/>
                <a:gd name="connsiteX3132" fmla="*/ 821466 w 2516810"/>
                <a:gd name="connsiteY3132" fmla="*/ 680793 h 1504250"/>
                <a:gd name="connsiteX3133" fmla="*/ 828840 w 2516810"/>
                <a:gd name="connsiteY3133" fmla="*/ 683777 h 1504250"/>
                <a:gd name="connsiteX3134" fmla="*/ 831331 w 2516810"/>
                <a:gd name="connsiteY3134" fmla="*/ 682782 h 1504250"/>
                <a:gd name="connsiteX3135" fmla="*/ 831929 w 2516810"/>
                <a:gd name="connsiteY3135" fmla="*/ 685469 h 1504250"/>
                <a:gd name="connsiteX3136" fmla="*/ 830334 w 2516810"/>
                <a:gd name="connsiteY3136" fmla="*/ 686762 h 1504250"/>
                <a:gd name="connsiteX3137" fmla="*/ 824057 w 2516810"/>
                <a:gd name="connsiteY3137" fmla="*/ 687657 h 1504250"/>
                <a:gd name="connsiteX3138" fmla="*/ 822861 w 2516810"/>
                <a:gd name="connsiteY3138" fmla="*/ 687657 h 1504250"/>
                <a:gd name="connsiteX3139" fmla="*/ 822064 w 2516810"/>
                <a:gd name="connsiteY3139" fmla="*/ 687657 h 1504250"/>
                <a:gd name="connsiteX3140" fmla="*/ 821466 w 2516810"/>
                <a:gd name="connsiteY3140" fmla="*/ 690343 h 1504250"/>
                <a:gd name="connsiteX3141" fmla="*/ 820669 w 2516810"/>
                <a:gd name="connsiteY3141" fmla="*/ 690940 h 1504250"/>
                <a:gd name="connsiteX3142" fmla="*/ 819872 w 2516810"/>
                <a:gd name="connsiteY3142" fmla="*/ 690940 h 1504250"/>
                <a:gd name="connsiteX3143" fmla="*/ 819174 w 2516810"/>
                <a:gd name="connsiteY3143" fmla="*/ 689647 h 1504250"/>
                <a:gd name="connsiteX3144" fmla="*/ 818377 w 2516810"/>
                <a:gd name="connsiteY3144" fmla="*/ 691338 h 1504250"/>
                <a:gd name="connsiteX3145" fmla="*/ 818377 w 2516810"/>
                <a:gd name="connsiteY3145" fmla="*/ 692930 h 1504250"/>
                <a:gd name="connsiteX3146" fmla="*/ 819573 w 2516810"/>
                <a:gd name="connsiteY3146" fmla="*/ 694024 h 1504250"/>
                <a:gd name="connsiteX3147" fmla="*/ 821366 w 2516810"/>
                <a:gd name="connsiteY3147" fmla="*/ 694024 h 1504250"/>
                <a:gd name="connsiteX3148" fmla="*/ 819772 w 2516810"/>
                <a:gd name="connsiteY3148" fmla="*/ 697407 h 1504250"/>
                <a:gd name="connsiteX3149" fmla="*/ 819772 w 2516810"/>
                <a:gd name="connsiteY3149" fmla="*/ 699496 h 1504250"/>
                <a:gd name="connsiteX3150" fmla="*/ 821964 w 2516810"/>
                <a:gd name="connsiteY3150" fmla="*/ 700491 h 1504250"/>
                <a:gd name="connsiteX3151" fmla="*/ 826249 w 2516810"/>
                <a:gd name="connsiteY3151" fmla="*/ 700491 h 1504250"/>
                <a:gd name="connsiteX3152" fmla="*/ 825551 w 2516810"/>
                <a:gd name="connsiteY3152" fmla="*/ 701983 h 1504250"/>
                <a:gd name="connsiteX3153" fmla="*/ 824256 w 2516810"/>
                <a:gd name="connsiteY3153" fmla="*/ 701983 h 1504250"/>
                <a:gd name="connsiteX3154" fmla="*/ 822761 w 2516810"/>
                <a:gd name="connsiteY3154" fmla="*/ 701983 h 1504250"/>
                <a:gd name="connsiteX3155" fmla="*/ 821067 w 2516810"/>
                <a:gd name="connsiteY3155" fmla="*/ 702779 h 1504250"/>
                <a:gd name="connsiteX3156" fmla="*/ 820370 w 2516810"/>
                <a:gd name="connsiteY3156" fmla="*/ 703874 h 1504250"/>
                <a:gd name="connsiteX3157" fmla="*/ 819274 w 2516810"/>
                <a:gd name="connsiteY3157" fmla="*/ 708450 h 1504250"/>
                <a:gd name="connsiteX3158" fmla="*/ 820270 w 2516810"/>
                <a:gd name="connsiteY3158" fmla="*/ 706759 h 1504250"/>
                <a:gd name="connsiteX3159" fmla="*/ 821964 w 2516810"/>
                <a:gd name="connsiteY3159" fmla="*/ 705863 h 1504250"/>
                <a:gd name="connsiteX3160" fmla="*/ 823459 w 2516810"/>
                <a:gd name="connsiteY3160" fmla="*/ 705863 h 1504250"/>
                <a:gd name="connsiteX3161" fmla="*/ 823459 w 2516810"/>
                <a:gd name="connsiteY3161" fmla="*/ 708052 h 1504250"/>
                <a:gd name="connsiteX3162" fmla="*/ 822064 w 2516810"/>
                <a:gd name="connsiteY3162" fmla="*/ 709843 h 1504250"/>
                <a:gd name="connsiteX3163" fmla="*/ 819473 w 2516810"/>
                <a:gd name="connsiteY3163" fmla="*/ 710440 h 1504250"/>
                <a:gd name="connsiteX3164" fmla="*/ 817181 w 2516810"/>
                <a:gd name="connsiteY3164" fmla="*/ 711435 h 1504250"/>
                <a:gd name="connsiteX3165" fmla="*/ 815985 w 2516810"/>
                <a:gd name="connsiteY3165" fmla="*/ 713623 h 1504250"/>
                <a:gd name="connsiteX3166" fmla="*/ 815985 w 2516810"/>
                <a:gd name="connsiteY3166" fmla="*/ 718200 h 1504250"/>
                <a:gd name="connsiteX3167" fmla="*/ 819672 w 2516810"/>
                <a:gd name="connsiteY3167" fmla="*/ 727154 h 1504250"/>
                <a:gd name="connsiteX3168" fmla="*/ 820768 w 2516810"/>
                <a:gd name="connsiteY3168" fmla="*/ 731631 h 1504250"/>
                <a:gd name="connsiteX3169" fmla="*/ 820768 w 2516810"/>
                <a:gd name="connsiteY3169" fmla="*/ 740286 h 1504250"/>
                <a:gd name="connsiteX3170" fmla="*/ 824355 w 2516810"/>
                <a:gd name="connsiteY3170" fmla="*/ 742375 h 1504250"/>
                <a:gd name="connsiteX3171" fmla="*/ 824953 w 2516810"/>
                <a:gd name="connsiteY3171" fmla="*/ 745758 h 1504250"/>
                <a:gd name="connsiteX3172" fmla="*/ 824953 w 2516810"/>
                <a:gd name="connsiteY3172" fmla="*/ 749240 h 1504250"/>
                <a:gd name="connsiteX3173" fmla="*/ 825452 w 2516810"/>
                <a:gd name="connsiteY3173" fmla="*/ 750235 h 1504250"/>
                <a:gd name="connsiteX3174" fmla="*/ 826747 w 2516810"/>
                <a:gd name="connsiteY3174" fmla="*/ 750931 h 1504250"/>
                <a:gd name="connsiteX3175" fmla="*/ 830035 w 2516810"/>
                <a:gd name="connsiteY3175" fmla="*/ 750931 h 1504250"/>
                <a:gd name="connsiteX3176" fmla="*/ 831530 w 2516810"/>
                <a:gd name="connsiteY3176" fmla="*/ 750135 h 1504250"/>
                <a:gd name="connsiteX3177" fmla="*/ 833921 w 2516810"/>
                <a:gd name="connsiteY3177" fmla="*/ 748146 h 1504250"/>
                <a:gd name="connsiteX3178" fmla="*/ 834818 w 2516810"/>
                <a:gd name="connsiteY3178" fmla="*/ 749339 h 1504250"/>
                <a:gd name="connsiteX3179" fmla="*/ 835516 w 2516810"/>
                <a:gd name="connsiteY3179" fmla="*/ 749837 h 1504250"/>
                <a:gd name="connsiteX3180" fmla="*/ 837210 w 2516810"/>
                <a:gd name="connsiteY3180" fmla="*/ 750434 h 1504250"/>
                <a:gd name="connsiteX3181" fmla="*/ 837210 w 2516810"/>
                <a:gd name="connsiteY3181" fmla="*/ 751429 h 1504250"/>
                <a:gd name="connsiteX3182" fmla="*/ 836711 w 2516810"/>
                <a:gd name="connsiteY3182" fmla="*/ 752324 h 1504250"/>
                <a:gd name="connsiteX3183" fmla="*/ 836711 w 2516810"/>
                <a:gd name="connsiteY3183" fmla="*/ 752921 h 1504250"/>
                <a:gd name="connsiteX3184" fmla="*/ 837708 w 2516810"/>
                <a:gd name="connsiteY3184" fmla="*/ 754811 h 1504250"/>
                <a:gd name="connsiteX3185" fmla="*/ 840996 w 2516810"/>
                <a:gd name="connsiteY3185" fmla="*/ 758691 h 1504250"/>
                <a:gd name="connsiteX3186" fmla="*/ 843487 w 2516810"/>
                <a:gd name="connsiteY3186" fmla="*/ 760880 h 1504250"/>
                <a:gd name="connsiteX3187" fmla="*/ 841893 w 2516810"/>
                <a:gd name="connsiteY3187" fmla="*/ 762173 h 1504250"/>
                <a:gd name="connsiteX3188" fmla="*/ 838306 w 2516810"/>
                <a:gd name="connsiteY3188" fmla="*/ 761676 h 1504250"/>
                <a:gd name="connsiteX3189" fmla="*/ 834918 w 2516810"/>
                <a:gd name="connsiteY3189" fmla="*/ 761676 h 1504250"/>
                <a:gd name="connsiteX3190" fmla="*/ 831032 w 2516810"/>
                <a:gd name="connsiteY3190" fmla="*/ 761676 h 1504250"/>
                <a:gd name="connsiteX3191" fmla="*/ 831032 w 2516810"/>
                <a:gd name="connsiteY3191" fmla="*/ 763069 h 1504250"/>
                <a:gd name="connsiteX3192" fmla="*/ 833822 w 2516810"/>
                <a:gd name="connsiteY3192" fmla="*/ 763069 h 1504250"/>
                <a:gd name="connsiteX3193" fmla="*/ 838306 w 2516810"/>
                <a:gd name="connsiteY3193" fmla="*/ 764163 h 1504250"/>
                <a:gd name="connsiteX3194" fmla="*/ 840398 w 2516810"/>
                <a:gd name="connsiteY3194" fmla="*/ 765357 h 1504250"/>
                <a:gd name="connsiteX3195" fmla="*/ 845978 w 2516810"/>
                <a:gd name="connsiteY3195" fmla="*/ 769436 h 1504250"/>
                <a:gd name="connsiteX3196" fmla="*/ 850064 w 2516810"/>
                <a:gd name="connsiteY3196" fmla="*/ 774410 h 1504250"/>
                <a:gd name="connsiteX3197" fmla="*/ 854448 w 2516810"/>
                <a:gd name="connsiteY3197" fmla="*/ 779584 h 1504250"/>
                <a:gd name="connsiteX3198" fmla="*/ 856441 w 2516810"/>
                <a:gd name="connsiteY3198" fmla="*/ 780479 h 1504250"/>
                <a:gd name="connsiteX3199" fmla="*/ 860626 w 2516810"/>
                <a:gd name="connsiteY3199" fmla="*/ 782867 h 1504250"/>
                <a:gd name="connsiteX3200" fmla="*/ 863416 w 2516810"/>
                <a:gd name="connsiteY3200" fmla="*/ 783563 h 1504250"/>
                <a:gd name="connsiteX3201" fmla="*/ 866505 w 2516810"/>
                <a:gd name="connsiteY3201" fmla="*/ 784260 h 1504250"/>
                <a:gd name="connsiteX3202" fmla="*/ 869594 w 2516810"/>
                <a:gd name="connsiteY3202" fmla="*/ 784757 h 1504250"/>
                <a:gd name="connsiteX3203" fmla="*/ 872583 w 2516810"/>
                <a:gd name="connsiteY3203" fmla="*/ 785652 h 1504250"/>
                <a:gd name="connsiteX3204" fmla="*/ 878064 w 2516810"/>
                <a:gd name="connsiteY3204" fmla="*/ 786946 h 1504250"/>
                <a:gd name="connsiteX3205" fmla="*/ 883345 w 2516810"/>
                <a:gd name="connsiteY3205" fmla="*/ 788537 h 1504250"/>
                <a:gd name="connsiteX3206" fmla="*/ 884242 w 2516810"/>
                <a:gd name="connsiteY3206" fmla="*/ 788537 h 1504250"/>
                <a:gd name="connsiteX3207" fmla="*/ 886633 w 2516810"/>
                <a:gd name="connsiteY3207" fmla="*/ 789334 h 1504250"/>
                <a:gd name="connsiteX3208" fmla="*/ 890320 w 2516810"/>
                <a:gd name="connsiteY3208" fmla="*/ 791124 h 1504250"/>
                <a:gd name="connsiteX3209" fmla="*/ 891316 w 2516810"/>
                <a:gd name="connsiteY3209" fmla="*/ 789532 h 1504250"/>
                <a:gd name="connsiteX3210" fmla="*/ 892014 w 2516810"/>
                <a:gd name="connsiteY3210" fmla="*/ 788736 h 1504250"/>
                <a:gd name="connsiteX3211" fmla="*/ 892911 w 2516810"/>
                <a:gd name="connsiteY3211" fmla="*/ 787941 h 1504250"/>
                <a:gd name="connsiteX3212" fmla="*/ 893907 w 2516810"/>
                <a:gd name="connsiteY3212" fmla="*/ 787941 h 1504250"/>
                <a:gd name="connsiteX3213" fmla="*/ 894804 w 2516810"/>
                <a:gd name="connsiteY3213" fmla="*/ 787941 h 1504250"/>
                <a:gd name="connsiteX3214" fmla="*/ 896996 w 2516810"/>
                <a:gd name="connsiteY3214" fmla="*/ 787941 h 1504250"/>
                <a:gd name="connsiteX3215" fmla="*/ 899089 w 2516810"/>
                <a:gd name="connsiteY3215" fmla="*/ 787941 h 1504250"/>
                <a:gd name="connsiteX3216" fmla="*/ 901082 w 2516810"/>
                <a:gd name="connsiteY3216" fmla="*/ 788836 h 1504250"/>
                <a:gd name="connsiteX3217" fmla="*/ 902875 w 2516810"/>
                <a:gd name="connsiteY3217" fmla="*/ 790229 h 1504250"/>
                <a:gd name="connsiteX3218" fmla="*/ 907359 w 2516810"/>
                <a:gd name="connsiteY3218" fmla="*/ 795601 h 1504250"/>
                <a:gd name="connsiteX3219" fmla="*/ 908256 w 2516810"/>
                <a:gd name="connsiteY3219" fmla="*/ 801471 h 1504250"/>
                <a:gd name="connsiteX3220" fmla="*/ 908256 w 2516810"/>
                <a:gd name="connsiteY3220" fmla="*/ 804356 h 1504250"/>
                <a:gd name="connsiteX3221" fmla="*/ 911345 w 2516810"/>
                <a:gd name="connsiteY3221" fmla="*/ 812017 h 1504250"/>
                <a:gd name="connsiteX3222" fmla="*/ 908754 w 2516810"/>
                <a:gd name="connsiteY3222" fmla="*/ 810226 h 1504250"/>
                <a:gd name="connsiteX3223" fmla="*/ 905167 w 2516810"/>
                <a:gd name="connsiteY3223" fmla="*/ 804754 h 1504250"/>
                <a:gd name="connsiteX3224" fmla="*/ 903971 w 2516810"/>
                <a:gd name="connsiteY3224" fmla="*/ 802864 h 1504250"/>
                <a:gd name="connsiteX3225" fmla="*/ 903473 w 2516810"/>
                <a:gd name="connsiteY3225" fmla="*/ 804257 h 1504250"/>
                <a:gd name="connsiteX3226" fmla="*/ 907857 w 2516810"/>
                <a:gd name="connsiteY3226" fmla="*/ 810524 h 1504250"/>
                <a:gd name="connsiteX3227" fmla="*/ 908854 w 2516810"/>
                <a:gd name="connsiteY3227" fmla="*/ 812514 h 1504250"/>
                <a:gd name="connsiteX3228" fmla="*/ 908854 w 2516810"/>
                <a:gd name="connsiteY3228" fmla="*/ 814603 h 1504250"/>
                <a:gd name="connsiteX3229" fmla="*/ 910647 w 2516810"/>
                <a:gd name="connsiteY3229" fmla="*/ 818881 h 1504250"/>
                <a:gd name="connsiteX3230" fmla="*/ 912541 w 2516810"/>
                <a:gd name="connsiteY3230" fmla="*/ 821766 h 1504250"/>
                <a:gd name="connsiteX3231" fmla="*/ 913437 w 2516810"/>
                <a:gd name="connsiteY3231" fmla="*/ 826641 h 1504250"/>
                <a:gd name="connsiteX3232" fmla="*/ 914434 w 2516810"/>
                <a:gd name="connsiteY3232" fmla="*/ 831417 h 1504250"/>
                <a:gd name="connsiteX3233" fmla="*/ 917622 w 2516810"/>
                <a:gd name="connsiteY3233" fmla="*/ 836291 h 1504250"/>
                <a:gd name="connsiteX3234" fmla="*/ 923501 w 2516810"/>
                <a:gd name="connsiteY3234" fmla="*/ 842758 h 1504250"/>
                <a:gd name="connsiteX3235" fmla="*/ 925594 w 2516810"/>
                <a:gd name="connsiteY3235" fmla="*/ 844549 h 1504250"/>
                <a:gd name="connsiteX3236" fmla="*/ 930975 w 2516810"/>
                <a:gd name="connsiteY3236" fmla="*/ 846638 h 1504250"/>
                <a:gd name="connsiteX3237" fmla="*/ 934861 w 2516810"/>
                <a:gd name="connsiteY3237" fmla="*/ 848429 h 1504250"/>
                <a:gd name="connsiteX3238" fmla="*/ 938747 w 2516810"/>
                <a:gd name="connsiteY3238" fmla="*/ 849026 h 1504250"/>
                <a:gd name="connsiteX3239" fmla="*/ 938747 w 2516810"/>
                <a:gd name="connsiteY3239" fmla="*/ 847633 h 1504250"/>
                <a:gd name="connsiteX3240" fmla="*/ 940541 w 2516810"/>
                <a:gd name="connsiteY3240" fmla="*/ 846340 h 1504250"/>
                <a:gd name="connsiteX3241" fmla="*/ 946021 w 2516810"/>
                <a:gd name="connsiteY3241" fmla="*/ 846340 h 1504250"/>
                <a:gd name="connsiteX3242" fmla="*/ 955288 w 2516810"/>
                <a:gd name="connsiteY3242" fmla="*/ 848031 h 1504250"/>
                <a:gd name="connsiteX3243" fmla="*/ 959871 w 2516810"/>
                <a:gd name="connsiteY3243" fmla="*/ 850120 h 1504250"/>
                <a:gd name="connsiteX3244" fmla="*/ 959871 w 2516810"/>
                <a:gd name="connsiteY3244" fmla="*/ 849026 h 1504250"/>
                <a:gd name="connsiteX3245" fmla="*/ 958576 w 2516810"/>
                <a:gd name="connsiteY3245" fmla="*/ 849026 h 1504250"/>
                <a:gd name="connsiteX3246" fmla="*/ 956085 w 2516810"/>
                <a:gd name="connsiteY3246" fmla="*/ 847733 h 1504250"/>
                <a:gd name="connsiteX3247" fmla="*/ 956085 w 2516810"/>
                <a:gd name="connsiteY3247" fmla="*/ 846738 h 1504250"/>
                <a:gd name="connsiteX3248" fmla="*/ 956085 w 2516810"/>
                <a:gd name="connsiteY3248" fmla="*/ 845842 h 1504250"/>
                <a:gd name="connsiteX3249" fmla="*/ 956085 w 2516810"/>
                <a:gd name="connsiteY3249" fmla="*/ 844947 h 1504250"/>
                <a:gd name="connsiteX3250" fmla="*/ 954690 w 2516810"/>
                <a:gd name="connsiteY3250" fmla="*/ 844947 h 1504250"/>
                <a:gd name="connsiteX3251" fmla="*/ 953195 w 2516810"/>
                <a:gd name="connsiteY3251" fmla="*/ 844947 h 1504250"/>
                <a:gd name="connsiteX3252" fmla="*/ 952199 w 2516810"/>
                <a:gd name="connsiteY3252" fmla="*/ 844250 h 1504250"/>
                <a:gd name="connsiteX3253" fmla="*/ 952199 w 2516810"/>
                <a:gd name="connsiteY3253" fmla="*/ 842758 h 1504250"/>
                <a:gd name="connsiteX3254" fmla="*/ 953295 w 2516810"/>
                <a:gd name="connsiteY3254" fmla="*/ 841266 h 1504250"/>
                <a:gd name="connsiteX3255" fmla="*/ 954790 w 2516810"/>
                <a:gd name="connsiteY3255" fmla="*/ 839475 h 1504250"/>
                <a:gd name="connsiteX3256" fmla="*/ 956982 w 2516810"/>
                <a:gd name="connsiteY3256" fmla="*/ 840072 h 1504250"/>
                <a:gd name="connsiteX3257" fmla="*/ 957679 w 2516810"/>
                <a:gd name="connsiteY3257" fmla="*/ 842559 h 1504250"/>
                <a:gd name="connsiteX3258" fmla="*/ 959074 w 2516810"/>
                <a:gd name="connsiteY3258" fmla="*/ 841465 h 1504250"/>
                <a:gd name="connsiteX3259" fmla="*/ 960569 w 2516810"/>
                <a:gd name="connsiteY3259" fmla="*/ 840669 h 1504250"/>
                <a:gd name="connsiteX3260" fmla="*/ 960569 w 2516810"/>
                <a:gd name="connsiteY3260" fmla="*/ 842659 h 1504250"/>
                <a:gd name="connsiteX3261" fmla="*/ 961466 w 2516810"/>
                <a:gd name="connsiteY3261" fmla="*/ 844151 h 1504250"/>
                <a:gd name="connsiteX3262" fmla="*/ 963259 w 2516810"/>
                <a:gd name="connsiteY3262" fmla="*/ 844151 h 1504250"/>
                <a:gd name="connsiteX3263" fmla="*/ 965551 w 2516810"/>
                <a:gd name="connsiteY3263" fmla="*/ 844151 h 1504250"/>
                <a:gd name="connsiteX3264" fmla="*/ 966249 w 2516810"/>
                <a:gd name="connsiteY3264" fmla="*/ 845643 h 1504250"/>
                <a:gd name="connsiteX3265" fmla="*/ 965551 w 2516810"/>
                <a:gd name="connsiteY3265" fmla="*/ 847036 h 1504250"/>
                <a:gd name="connsiteX3266" fmla="*/ 966448 w 2516810"/>
                <a:gd name="connsiteY3266" fmla="*/ 847633 h 1504250"/>
                <a:gd name="connsiteX3267" fmla="*/ 967146 w 2516810"/>
                <a:gd name="connsiteY3267" fmla="*/ 850120 h 1504250"/>
                <a:gd name="connsiteX3268" fmla="*/ 964356 w 2516810"/>
                <a:gd name="connsiteY3268" fmla="*/ 849026 h 1504250"/>
                <a:gd name="connsiteX3269" fmla="*/ 961765 w 2516810"/>
                <a:gd name="connsiteY3269" fmla="*/ 848330 h 1504250"/>
                <a:gd name="connsiteX3270" fmla="*/ 960370 w 2516810"/>
                <a:gd name="connsiteY3270" fmla="*/ 848330 h 1504250"/>
                <a:gd name="connsiteX3271" fmla="*/ 961267 w 2516810"/>
                <a:gd name="connsiteY3271" fmla="*/ 849424 h 1504250"/>
                <a:gd name="connsiteX3272" fmla="*/ 964854 w 2516810"/>
                <a:gd name="connsiteY3272" fmla="*/ 849424 h 1504250"/>
                <a:gd name="connsiteX3273" fmla="*/ 968540 w 2516810"/>
                <a:gd name="connsiteY3273" fmla="*/ 850717 h 1504250"/>
                <a:gd name="connsiteX3274" fmla="*/ 972427 w 2516810"/>
                <a:gd name="connsiteY3274" fmla="*/ 854100 h 1504250"/>
                <a:gd name="connsiteX3275" fmla="*/ 976014 w 2516810"/>
                <a:gd name="connsiteY3275" fmla="*/ 859671 h 1504250"/>
                <a:gd name="connsiteX3276" fmla="*/ 981594 w 2516810"/>
                <a:gd name="connsiteY3276" fmla="*/ 863650 h 1504250"/>
                <a:gd name="connsiteX3277" fmla="*/ 986178 w 2516810"/>
                <a:gd name="connsiteY3277" fmla="*/ 870117 h 1504250"/>
                <a:gd name="connsiteX3278" fmla="*/ 988968 w 2516810"/>
                <a:gd name="connsiteY3278" fmla="*/ 873400 h 1504250"/>
                <a:gd name="connsiteX3279" fmla="*/ 990263 w 2516810"/>
                <a:gd name="connsiteY3279" fmla="*/ 878872 h 1504250"/>
                <a:gd name="connsiteX3280" fmla="*/ 991060 w 2516810"/>
                <a:gd name="connsiteY3280" fmla="*/ 884244 h 1504250"/>
                <a:gd name="connsiteX3281" fmla="*/ 989267 w 2516810"/>
                <a:gd name="connsiteY3281" fmla="*/ 894193 h 1504250"/>
                <a:gd name="connsiteX3282" fmla="*/ 989267 w 2516810"/>
                <a:gd name="connsiteY3282" fmla="*/ 896183 h 1504250"/>
                <a:gd name="connsiteX3283" fmla="*/ 990462 w 2516810"/>
                <a:gd name="connsiteY3283" fmla="*/ 896183 h 1504250"/>
                <a:gd name="connsiteX3284" fmla="*/ 994049 w 2516810"/>
                <a:gd name="connsiteY3284" fmla="*/ 892204 h 1504250"/>
                <a:gd name="connsiteX3285" fmla="*/ 995345 w 2516810"/>
                <a:gd name="connsiteY3285" fmla="*/ 892204 h 1504250"/>
                <a:gd name="connsiteX3286" fmla="*/ 996740 w 2516810"/>
                <a:gd name="connsiteY3286" fmla="*/ 892204 h 1504250"/>
                <a:gd name="connsiteX3287" fmla="*/ 999330 w 2516810"/>
                <a:gd name="connsiteY3287" fmla="*/ 892999 h 1504250"/>
                <a:gd name="connsiteX3288" fmla="*/ 999330 w 2516810"/>
                <a:gd name="connsiteY3288" fmla="*/ 892004 h 1504250"/>
                <a:gd name="connsiteX3289" fmla="*/ 999330 w 2516810"/>
                <a:gd name="connsiteY3289" fmla="*/ 891209 h 1504250"/>
                <a:gd name="connsiteX3290" fmla="*/ 998832 w 2516810"/>
                <a:gd name="connsiteY3290" fmla="*/ 890711 h 1504250"/>
                <a:gd name="connsiteX3291" fmla="*/ 998334 w 2516810"/>
                <a:gd name="connsiteY3291" fmla="*/ 890214 h 1504250"/>
                <a:gd name="connsiteX3292" fmla="*/ 1001822 w 2516810"/>
                <a:gd name="connsiteY3292" fmla="*/ 892204 h 1504250"/>
                <a:gd name="connsiteX3293" fmla="*/ 1004014 w 2516810"/>
                <a:gd name="connsiteY3293" fmla="*/ 896680 h 1504250"/>
                <a:gd name="connsiteX3294" fmla="*/ 1006903 w 2516810"/>
                <a:gd name="connsiteY3294" fmla="*/ 902550 h 1504250"/>
                <a:gd name="connsiteX3295" fmla="*/ 1010391 w 2516810"/>
                <a:gd name="connsiteY3295" fmla="*/ 902550 h 1504250"/>
                <a:gd name="connsiteX3296" fmla="*/ 1011089 w 2516810"/>
                <a:gd name="connsiteY3296" fmla="*/ 904440 h 1504250"/>
                <a:gd name="connsiteX3297" fmla="*/ 1010192 w 2516810"/>
                <a:gd name="connsiteY3297" fmla="*/ 905137 h 1504250"/>
                <a:gd name="connsiteX3298" fmla="*/ 1008797 w 2516810"/>
                <a:gd name="connsiteY3298" fmla="*/ 905137 h 1504250"/>
                <a:gd name="connsiteX3299" fmla="*/ 1007900 w 2516810"/>
                <a:gd name="connsiteY3299" fmla="*/ 906032 h 1504250"/>
                <a:gd name="connsiteX3300" fmla="*/ 1007900 w 2516810"/>
                <a:gd name="connsiteY3300" fmla="*/ 907325 h 1504250"/>
                <a:gd name="connsiteX3301" fmla="*/ 1009594 w 2516810"/>
                <a:gd name="connsiteY3301" fmla="*/ 910608 h 1504250"/>
                <a:gd name="connsiteX3302" fmla="*/ 1009594 w 2516810"/>
                <a:gd name="connsiteY3302" fmla="*/ 912101 h 1504250"/>
                <a:gd name="connsiteX3303" fmla="*/ 1007800 w 2516810"/>
                <a:gd name="connsiteY3303" fmla="*/ 912101 h 1504250"/>
                <a:gd name="connsiteX3304" fmla="*/ 1001921 w 2516810"/>
                <a:gd name="connsiteY3304" fmla="*/ 906729 h 1504250"/>
                <a:gd name="connsiteX3305" fmla="*/ 999231 w 2516810"/>
                <a:gd name="connsiteY3305" fmla="*/ 905734 h 1504250"/>
                <a:gd name="connsiteX3306" fmla="*/ 999231 w 2516810"/>
                <a:gd name="connsiteY3306" fmla="*/ 904838 h 1504250"/>
                <a:gd name="connsiteX3307" fmla="*/ 1000825 w 2516810"/>
                <a:gd name="connsiteY3307" fmla="*/ 903744 h 1504250"/>
                <a:gd name="connsiteX3308" fmla="*/ 1001722 w 2516810"/>
                <a:gd name="connsiteY3308" fmla="*/ 901555 h 1504250"/>
                <a:gd name="connsiteX3309" fmla="*/ 1001722 w 2516810"/>
                <a:gd name="connsiteY3309" fmla="*/ 898869 h 1504250"/>
                <a:gd name="connsiteX3310" fmla="*/ 1000726 w 2516810"/>
                <a:gd name="connsiteY3310" fmla="*/ 896183 h 1504250"/>
                <a:gd name="connsiteX3311" fmla="*/ 999131 w 2516810"/>
                <a:gd name="connsiteY3311" fmla="*/ 895288 h 1504250"/>
                <a:gd name="connsiteX3312" fmla="*/ 996540 w 2516810"/>
                <a:gd name="connsiteY3312" fmla="*/ 894492 h 1504250"/>
                <a:gd name="connsiteX3313" fmla="*/ 994049 w 2516810"/>
                <a:gd name="connsiteY3313" fmla="*/ 894492 h 1504250"/>
                <a:gd name="connsiteX3314" fmla="*/ 992953 w 2516810"/>
                <a:gd name="connsiteY3314" fmla="*/ 895785 h 1504250"/>
                <a:gd name="connsiteX3315" fmla="*/ 992953 w 2516810"/>
                <a:gd name="connsiteY3315" fmla="*/ 903147 h 1504250"/>
                <a:gd name="connsiteX3316" fmla="*/ 992356 w 2516810"/>
                <a:gd name="connsiteY3316" fmla="*/ 905734 h 1504250"/>
                <a:gd name="connsiteX3317" fmla="*/ 988569 w 2516810"/>
                <a:gd name="connsiteY3317" fmla="*/ 912897 h 1504250"/>
                <a:gd name="connsiteX3318" fmla="*/ 989466 w 2516810"/>
                <a:gd name="connsiteY3318" fmla="*/ 917274 h 1504250"/>
                <a:gd name="connsiteX3319" fmla="*/ 988868 w 2516810"/>
                <a:gd name="connsiteY3319" fmla="*/ 918966 h 1504250"/>
                <a:gd name="connsiteX3320" fmla="*/ 987971 w 2516810"/>
                <a:gd name="connsiteY3320" fmla="*/ 919960 h 1504250"/>
                <a:gd name="connsiteX3321" fmla="*/ 986676 w 2516810"/>
                <a:gd name="connsiteY3321" fmla="*/ 919960 h 1504250"/>
                <a:gd name="connsiteX3322" fmla="*/ 985978 w 2516810"/>
                <a:gd name="connsiteY3322" fmla="*/ 918766 h 1504250"/>
                <a:gd name="connsiteX3323" fmla="*/ 985978 w 2516810"/>
                <a:gd name="connsiteY3323" fmla="*/ 917274 h 1504250"/>
                <a:gd name="connsiteX3324" fmla="*/ 986477 w 2516810"/>
                <a:gd name="connsiteY3324" fmla="*/ 915682 h 1504250"/>
                <a:gd name="connsiteX3325" fmla="*/ 986477 w 2516810"/>
                <a:gd name="connsiteY3325" fmla="*/ 914290 h 1504250"/>
                <a:gd name="connsiteX3326" fmla="*/ 986477 w 2516810"/>
                <a:gd name="connsiteY3326" fmla="*/ 911305 h 1504250"/>
                <a:gd name="connsiteX3327" fmla="*/ 986975 w 2516810"/>
                <a:gd name="connsiteY3327" fmla="*/ 909415 h 1504250"/>
                <a:gd name="connsiteX3328" fmla="*/ 986975 w 2516810"/>
                <a:gd name="connsiteY3328" fmla="*/ 909415 h 1504250"/>
                <a:gd name="connsiteX3329" fmla="*/ 987473 w 2516810"/>
                <a:gd name="connsiteY3329" fmla="*/ 908519 h 1504250"/>
                <a:gd name="connsiteX3330" fmla="*/ 988071 w 2516810"/>
                <a:gd name="connsiteY3330" fmla="*/ 907425 h 1504250"/>
                <a:gd name="connsiteX3331" fmla="*/ 988868 w 2516810"/>
                <a:gd name="connsiteY3331" fmla="*/ 906430 h 1504250"/>
                <a:gd name="connsiteX3332" fmla="*/ 989765 w 2516810"/>
                <a:gd name="connsiteY3332" fmla="*/ 905634 h 1504250"/>
                <a:gd name="connsiteX3333" fmla="*/ 991060 w 2516810"/>
                <a:gd name="connsiteY3333" fmla="*/ 902650 h 1504250"/>
                <a:gd name="connsiteX3334" fmla="*/ 991060 w 2516810"/>
                <a:gd name="connsiteY3334" fmla="*/ 900958 h 1504250"/>
                <a:gd name="connsiteX3335" fmla="*/ 990064 w 2516810"/>
                <a:gd name="connsiteY3335" fmla="*/ 900958 h 1504250"/>
                <a:gd name="connsiteX3336" fmla="*/ 990064 w 2516810"/>
                <a:gd name="connsiteY3336" fmla="*/ 902451 h 1504250"/>
                <a:gd name="connsiteX3337" fmla="*/ 990064 w 2516810"/>
                <a:gd name="connsiteY3337" fmla="*/ 904639 h 1504250"/>
                <a:gd name="connsiteX3338" fmla="*/ 987672 w 2516810"/>
                <a:gd name="connsiteY3338" fmla="*/ 909315 h 1504250"/>
                <a:gd name="connsiteX3339" fmla="*/ 982491 w 2516810"/>
                <a:gd name="connsiteY3339" fmla="*/ 918766 h 1504250"/>
                <a:gd name="connsiteX3340" fmla="*/ 980897 w 2516810"/>
                <a:gd name="connsiteY3340" fmla="*/ 924338 h 1504250"/>
                <a:gd name="connsiteX3341" fmla="*/ 978804 w 2516810"/>
                <a:gd name="connsiteY3341" fmla="*/ 927223 h 1504250"/>
                <a:gd name="connsiteX3342" fmla="*/ 974021 w 2516810"/>
                <a:gd name="connsiteY3342" fmla="*/ 932297 h 1504250"/>
                <a:gd name="connsiteX3343" fmla="*/ 969437 w 2516810"/>
                <a:gd name="connsiteY3343" fmla="*/ 939858 h 1504250"/>
                <a:gd name="connsiteX3344" fmla="*/ 968939 w 2516810"/>
                <a:gd name="connsiteY3344" fmla="*/ 942146 h 1504250"/>
                <a:gd name="connsiteX3345" fmla="*/ 968939 w 2516810"/>
                <a:gd name="connsiteY3345" fmla="*/ 948215 h 1504250"/>
                <a:gd name="connsiteX3346" fmla="*/ 968939 w 2516810"/>
                <a:gd name="connsiteY3346" fmla="*/ 950801 h 1504250"/>
                <a:gd name="connsiteX3347" fmla="*/ 969736 w 2516810"/>
                <a:gd name="connsiteY3347" fmla="*/ 953786 h 1504250"/>
                <a:gd name="connsiteX3348" fmla="*/ 970832 w 2516810"/>
                <a:gd name="connsiteY3348" fmla="*/ 955975 h 1504250"/>
                <a:gd name="connsiteX3349" fmla="*/ 970832 w 2516810"/>
                <a:gd name="connsiteY3349" fmla="*/ 957268 h 1504250"/>
                <a:gd name="connsiteX3350" fmla="*/ 970832 w 2516810"/>
                <a:gd name="connsiteY3350" fmla="*/ 959158 h 1504250"/>
                <a:gd name="connsiteX3351" fmla="*/ 970832 w 2516810"/>
                <a:gd name="connsiteY3351" fmla="*/ 961845 h 1504250"/>
                <a:gd name="connsiteX3352" fmla="*/ 970832 w 2516810"/>
                <a:gd name="connsiteY3352" fmla="*/ 961845 h 1504250"/>
                <a:gd name="connsiteX3353" fmla="*/ 970235 w 2516810"/>
                <a:gd name="connsiteY3353" fmla="*/ 963039 h 1504250"/>
                <a:gd name="connsiteX3354" fmla="*/ 968839 w 2516810"/>
                <a:gd name="connsiteY3354" fmla="*/ 968311 h 1504250"/>
                <a:gd name="connsiteX3355" fmla="*/ 968341 w 2516810"/>
                <a:gd name="connsiteY3355" fmla="*/ 971097 h 1504250"/>
                <a:gd name="connsiteX3356" fmla="*/ 969039 w 2516810"/>
                <a:gd name="connsiteY3356" fmla="*/ 973485 h 1504250"/>
                <a:gd name="connsiteX3357" fmla="*/ 971629 w 2516810"/>
                <a:gd name="connsiteY3357" fmla="*/ 974480 h 1504250"/>
                <a:gd name="connsiteX3358" fmla="*/ 972726 w 2516810"/>
                <a:gd name="connsiteY3358" fmla="*/ 975872 h 1504250"/>
                <a:gd name="connsiteX3359" fmla="*/ 972726 w 2516810"/>
                <a:gd name="connsiteY3359" fmla="*/ 978957 h 1504250"/>
                <a:gd name="connsiteX3360" fmla="*/ 972726 w 2516810"/>
                <a:gd name="connsiteY3360" fmla="*/ 982438 h 1504250"/>
                <a:gd name="connsiteX3361" fmla="*/ 972028 w 2516810"/>
                <a:gd name="connsiteY3361" fmla="*/ 984926 h 1504250"/>
                <a:gd name="connsiteX3362" fmla="*/ 973423 w 2516810"/>
                <a:gd name="connsiteY3362" fmla="*/ 986915 h 1504250"/>
                <a:gd name="connsiteX3363" fmla="*/ 973423 w 2516810"/>
                <a:gd name="connsiteY3363" fmla="*/ 985920 h 1504250"/>
                <a:gd name="connsiteX3364" fmla="*/ 973423 w 2516810"/>
                <a:gd name="connsiteY3364" fmla="*/ 976967 h 1504250"/>
                <a:gd name="connsiteX3365" fmla="*/ 974220 w 2516810"/>
                <a:gd name="connsiteY3365" fmla="*/ 975275 h 1504250"/>
                <a:gd name="connsiteX3366" fmla="*/ 975615 w 2516810"/>
                <a:gd name="connsiteY3366" fmla="*/ 974480 h 1504250"/>
                <a:gd name="connsiteX3367" fmla="*/ 978007 w 2516810"/>
                <a:gd name="connsiteY3367" fmla="*/ 974480 h 1504250"/>
                <a:gd name="connsiteX3368" fmla="*/ 979999 w 2516810"/>
                <a:gd name="connsiteY3368" fmla="*/ 975076 h 1504250"/>
                <a:gd name="connsiteX3369" fmla="*/ 982690 w 2516810"/>
                <a:gd name="connsiteY3369" fmla="*/ 976469 h 1504250"/>
                <a:gd name="connsiteX3370" fmla="*/ 985181 w 2516810"/>
                <a:gd name="connsiteY3370" fmla="*/ 978160 h 1504250"/>
                <a:gd name="connsiteX3371" fmla="*/ 986178 w 2516810"/>
                <a:gd name="connsiteY3371" fmla="*/ 979752 h 1504250"/>
                <a:gd name="connsiteX3372" fmla="*/ 986178 w 2516810"/>
                <a:gd name="connsiteY3372" fmla="*/ 979752 h 1504250"/>
                <a:gd name="connsiteX3373" fmla="*/ 986178 w 2516810"/>
                <a:gd name="connsiteY3373" fmla="*/ 979752 h 1504250"/>
                <a:gd name="connsiteX3374" fmla="*/ 986178 w 2516810"/>
                <a:gd name="connsiteY3374" fmla="*/ 979752 h 1504250"/>
                <a:gd name="connsiteX3375" fmla="*/ 986178 w 2516810"/>
                <a:gd name="connsiteY3375" fmla="*/ 980548 h 1504250"/>
                <a:gd name="connsiteX3376" fmla="*/ 986178 w 2516810"/>
                <a:gd name="connsiteY3376" fmla="*/ 981245 h 1504250"/>
                <a:gd name="connsiteX3377" fmla="*/ 984982 w 2516810"/>
                <a:gd name="connsiteY3377" fmla="*/ 982240 h 1504250"/>
                <a:gd name="connsiteX3378" fmla="*/ 984982 w 2516810"/>
                <a:gd name="connsiteY3378" fmla="*/ 982936 h 1504250"/>
                <a:gd name="connsiteX3379" fmla="*/ 984982 w 2516810"/>
                <a:gd name="connsiteY3379" fmla="*/ 987612 h 1504250"/>
                <a:gd name="connsiteX3380" fmla="*/ 981295 w 2516810"/>
                <a:gd name="connsiteY3380" fmla="*/ 986319 h 1504250"/>
                <a:gd name="connsiteX3381" fmla="*/ 977608 w 2516810"/>
                <a:gd name="connsiteY3381" fmla="*/ 986319 h 1504250"/>
                <a:gd name="connsiteX3382" fmla="*/ 974121 w 2516810"/>
                <a:gd name="connsiteY3382" fmla="*/ 987413 h 1504250"/>
                <a:gd name="connsiteX3383" fmla="*/ 971131 w 2516810"/>
                <a:gd name="connsiteY3383" fmla="*/ 989403 h 1504250"/>
                <a:gd name="connsiteX3384" fmla="*/ 975715 w 2516810"/>
                <a:gd name="connsiteY3384" fmla="*/ 990596 h 1504250"/>
                <a:gd name="connsiteX3385" fmla="*/ 989765 w 2516810"/>
                <a:gd name="connsiteY3385" fmla="*/ 990596 h 1504250"/>
                <a:gd name="connsiteX3386" fmla="*/ 994149 w 2516810"/>
                <a:gd name="connsiteY3386" fmla="*/ 991989 h 1504250"/>
                <a:gd name="connsiteX3387" fmla="*/ 997437 w 2516810"/>
                <a:gd name="connsiteY3387" fmla="*/ 995372 h 1504250"/>
                <a:gd name="connsiteX3388" fmla="*/ 1000227 w 2516810"/>
                <a:gd name="connsiteY3388" fmla="*/ 999152 h 1504250"/>
                <a:gd name="connsiteX3389" fmla="*/ 1003117 w 2516810"/>
                <a:gd name="connsiteY3389" fmla="*/ 1001839 h 1504250"/>
                <a:gd name="connsiteX3390" fmla="*/ 1003615 w 2516810"/>
                <a:gd name="connsiteY3390" fmla="*/ 999152 h 1504250"/>
                <a:gd name="connsiteX3391" fmla="*/ 1001523 w 2516810"/>
                <a:gd name="connsiteY3391" fmla="*/ 996168 h 1504250"/>
                <a:gd name="connsiteX3392" fmla="*/ 992854 w 2516810"/>
                <a:gd name="connsiteY3392" fmla="*/ 989005 h 1504250"/>
                <a:gd name="connsiteX3393" fmla="*/ 991857 w 2516810"/>
                <a:gd name="connsiteY3393" fmla="*/ 987811 h 1504250"/>
                <a:gd name="connsiteX3394" fmla="*/ 991160 w 2516810"/>
                <a:gd name="connsiteY3394" fmla="*/ 986319 h 1504250"/>
                <a:gd name="connsiteX3395" fmla="*/ 991160 w 2516810"/>
                <a:gd name="connsiteY3395" fmla="*/ 984727 h 1504250"/>
                <a:gd name="connsiteX3396" fmla="*/ 991758 w 2516810"/>
                <a:gd name="connsiteY3396" fmla="*/ 984130 h 1504250"/>
                <a:gd name="connsiteX3397" fmla="*/ 994946 w 2516810"/>
                <a:gd name="connsiteY3397" fmla="*/ 986418 h 1504250"/>
                <a:gd name="connsiteX3398" fmla="*/ 998932 w 2516810"/>
                <a:gd name="connsiteY3398" fmla="*/ 988308 h 1504250"/>
                <a:gd name="connsiteX3399" fmla="*/ 1000427 w 2516810"/>
                <a:gd name="connsiteY3399" fmla="*/ 988308 h 1504250"/>
                <a:gd name="connsiteX3400" fmla="*/ 1001622 w 2516810"/>
                <a:gd name="connsiteY3400" fmla="*/ 988806 h 1504250"/>
                <a:gd name="connsiteX3401" fmla="*/ 1002519 w 2516810"/>
                <a:gd name="connsiteY3401" fmla="*/ 990198 h 1504250"/>
                <a:gd name="connsiteX3402" fmla="*/ 1003516 w 2516810"/>
                <a:gd name="connsiteY3402" fmla="*/ 992984 h 1504250"/>
                <a:gd name="connsiteX3403" fmla="*/ 1005010 w 2516810"/>
                <a:gd name="connsiteY3403" fmla="*/ 996267 h 1504250"/>
                <a:gd name="connsiteX3404" fmla="*/ 1006704 w 2516810"/>
                <a:gd name="connsiteY3404" fmla="*/ 997859 h 1504250"/>
                <a:gd name="connsiteX3405" fmla="*/ 1008896 w 2516810"/>
                <a:gd name="connsiteY3405" fmla="*/ 997859 h 1504250"/>
                <a:gd name="connsiteX3406" fmla="*/ 1012085 w 2516810"/>
                <a:gd name="connsiteY3406" fmla="*/ 996068 h 1504250"/>
                <a:gd name="connsiteX3407" fmla="*/ 1015373 w 2516810"/>
                <a:gd name="connsiteY3407" fmla="*/ 997063 h 1504250"/>
                <a:gd name="connsiteX3408" fmla="*/ 1017964 w 2516810"/>
                <a:gd name="connsiteY3408" fmla="*/ 995073 h 1504250"/>
                <a:gd name="connsiteX3409" fmla="*/ 1022049 w 2516810"/>
                <a:gd name="connsiteY3409" fmla="*/ 988905 h 1504250"/>
                <a:gd name="connsiteX3410" fmla="*/ 1024540 w 2516810"/>
                <a:gd name="connsiteY3410" fmla="*/ 987114 h 1504250"/>
                <a:gd name="connsiteX3411" fmla="*/ 1030619 w 2516810"/>
                <a:gd name="connsiteY3411" fmla="*/ 985125 h 1504250"/>
                <a:gd name="connsiteX3412" fmla="*/ 1033708 w 2516810"/>
                <a:gd name="connsiteY3412" fmla="*/ 983732 h 1504250"/>
                <a:gd name="connsiteX3413" fmla="*/ 1035701 w 2516810"/>
                <a:gd name="connsiteY3413" fmla="*/ 981941 h 1504250"/>
                <a:gd name="connsiteX3414" fmla="*/ 1037594 w 2516810"/>
                <a:gd name="connsiteY3414" fmla="*/ 977564 h 1504250"/>
                <a:gd name="connsiteX3415" fmla="*/ 1039388 w 2516810"/>
                <a:gd name="connsiteY3415" fmla="*/ 974778 h 1504250"/>
                <a:gd name="connsiteX3416" fmla="*/ 1042178 w 2516810"/>
                <a:gd name="connsiteY3416" fmla="*/ 969207 h 1504250"/>
                <a:gd name="connsiteX3417" fmla="*/ 1043672 w 2516810"/>
                <a:gd name="connsiteY3417" fmla="*/ 967615 h 1504250"/>
                <a:gd name="connsiteX3418" fmla="*/ 1044868 w 2516810"/>
                <a:gd name="connsiteY3418" fmla="*/ 969704 h 1504250"/>
                <a:gd name="connsiteX3419" fmla="*/ 1044270 w 2516810"/>
                <a:gd name="connsiteY3419" fmla="*/ 972490 h 1504250"/>
                <a:gd name="connsiteX3420" fmla="*/ 1039188 w 2516810"/>
                <a:gd name="connsiteY3420" fmla="*/ 976967 h 1504250"/>
                <a:gd name="connsiteX3421" fmla="*/ 1037992 w 2516810"/>
                <a:gd name="connsiteY3421" fmla="*/ 979653 h 1504250"/>
                <a:gd name="connsiteX3422" fmla="*/ 1037992 w 2516810"/>
                <a:gd name="connsiteY3422" fmla="*/ 984130 h 1504250"/>
                <a:gd name="connsiteX3423" fmla="*/ 1037992 w 2516810"/>
                <a:gd name="connsiteY3423" fmla="*/ 984926 h 1504250"/>
                <a:gd name="connsiteX3424" fmla="*/ 1037494 w 2516810"/>
                <a:gd name="connsiteY3424" fmla="*/ 984926 h 1504250"/>
                <a:gd name="connsiteX3425" fmla="*/ 1036797 w 2516810"/>
                <a:gd name="connsiteY3425" fmla="*/ 984926 h 1504250"/>
                <a:gd name="connsiteX3426" fmla="*/ 1036797 w 2516810"/>
                <a:gd name="connsiteY3426" fmla="*/ 984926 h 1504250"/>
                <a:gd name="connsiteX3427" fmla="*/ 1036797 w 2516810"/>
                <a:gd name="connsiteY3427" fmla="*/ 985821 h 1504250"/>
                <a:gd name="connsiteX3428" fmla="*/ 1036797 w 2516810"/>
                <a:gd name="connsiteY3428" fmla="*/ 986418 h 1504250"/>
                <a:gd name="connsiteX3429" fmla="*/ 1036797 w 2516810"/>
                <a:gd name="connsiteY3429" fmla="*/ 986915 h 1504250"/>
                <a:gd name="connsiteX3430" fmla="*/ 1036797 w 2516810"/>
                <a:gd name="connsiteY3430" fmla="*/ 987711 h 1504250"/>
                <a:gd name="connsiteX3431" fmla="*/ 1035501 w 2516810"/>
                <a:gd name="connsiteY3431" fmla="*/ 989601 h 1504250"/>
                <a:gd name="connsiteX3432" fmla="*/ 1028825 w 2516810"/>
                <a:gd name="connsiteY3432" fmla="*/ 996267 h 1504250"/>
                <a:gd name="connsiteX3433" fmla="*/ 1027829 w 2516810"/>
                <a:gd name="connsiteY3433" fmla="*/ 996267 h 1504250"/>
                <a:gd name="connsiteX3434" fmla="*/ 1027330 w 2516810"/>
                <a:gd name="connsiteY3434" fmla="*/ 996864 h 1504250"/>
                <a:gd name="connsiteX3435" fmla="*/ 1027330 w 2516810"/>
                <a:gd name="connsiteY3435" fmla="*/ 997461 h 1504250"/>
                <a:gd name="connsiteX3436" fmla="*/ 1027330 w 2516810"/>
                <a:gd name="connsiteY3436" fmla="*/ 999152 h 1504250"/>
                <a:gd name="connsiteX3437" fmla="*/ 1027330 w 2516810"/>
                <a:gd name="connsiteY3437" fmla="*/ 999749 h 1504250"/>
                <a:gd name="connsiteX3438" fmla="*/ 1026434 w 2516810"/>
                <a:gd name="connsiteY3438" fmla="*/ 1001540 h 1504250"/>
                <a:gd name="connsiteX3439" fmla="*/ 1026434 w 2516810"/>
                <a:gd name="connsiteY3439" fmla="*/ 1002336 h 1504250"/>
                <a:gd name="connsiteX3440" fmla="*/ 1026434 w 2516810"/>
                <a:gd name="connsiteY3440" fmla="*/ 1002336 h 1504250"/>
                <a:gd name="connsiteX3441" fmla="*/ 1025238 w 2516810"/>
                <a:gd name="connsiteY3441" fmla="*/ 1001640 h 1504250"/>
                <a:gd name="connsiteX3442" fmla="*/ 1024540 w 2516810"/>
                <a:gd name="connsiteY3442" fmla="*/ 998953 h 1504250"/>
                <a:gd name="connsiteX3443" fmla="*/ 1023644 w 2516810"/>
                <a:gd name="connsiteY3443" fmla="*/ 997660 h 1504250"/>
                <a:gd name="connsiteX3444" fmla="*/ 1022249 w 2516810"/>
                <a:gd name="connsiteY3444" fmla="*/ 998257 h 1504250"/>
                <a:gd name="connsiteX3445" fmla="*/ 1021352 w 2516810"/>
                <a:gd name="connsiteY3445" fmla="*/ 998257 h 1504250"/>
                <a:gd name="connsiteX3446" fmla="*/ 1017067 w 2516810"/>
                <a:gd name="connsiteY3446" fmla="*/ 996665 h 1504250"/>
                <a:gd name="connsiteX3447" fmla="*/ 1015473 w 2516810"/>
                <a:gd name="connsiteY3447" fmla="*/ 997262 h 1504250"/>
                <a:gd name="connsiteX3448" fmla="*/ 1014576 w 2516810"/>
                <a:gd name="connsiteY3448" fmla="*/ 998655 h 1504250"/>
                <a:gd name="connsiteX3449" fmla="*/ 1013978 w 2516810"/>
                <a:gd name="connsiteY3449" fmla="*/ 1000247 h 1504250"/>
                <a:gd name="connsiteX3450" fmla="*/ 1013181 w 2516810"/>
                <a:gd name="connsiteY3450" fmla="*/ 1001540 h 1504250"/>
                <a:gd name="connsiteX3451" fmla="*/ 1012484 w 2516810"/>
                <a:gd name="connsiteY3451" fmla="*/ 1001540 h 1504250"/>
                <a:gd name="connsiteX3452" fmla="*/ 1009694 w 2516810"/>
                <a:gd name="connsiteY3452" fmla="*/ 1002833 h 1504250"/>
                <a:gd name="connsiteX3453" fmla="*/ 1015971 w 2516810"/>
                <a:gd name="connsiteY3453" fmla="*/ 1009897 h 1504250"/>
                <a:gd name="connsiteX3454" fmla="*/ 1019957 w 2516810"/>
                <a:gd name="connsiteY3454" fmla="*/ 1012583 h 1504250"/>
                <a:gd name="connsiteX3455" fmla="*/ 1023544 w 2516810"/>
                <a:gd name="connsiteY3455" fmla="*/ 1012583 h 1504250"/>
                <a:gd name="connsiteX3456" fmla="*/ 1021950 w 2516810"/>
                <a:gd name="connsiteY3456" fmla="*/ 1010494 h 1504250"/>
                <a:gd name="connsiteX3457" fmla="*/ 1021950 w 2516810"/>
                <a:gd name="connsiteY3457" fmla="*/ 1009002 h 1504250"/>
                <a:gd name="connsiteX3458" fmla="*/ 1023743 w 2516810"/>
                <a:gd name="connsiteY3458" fmla="*/ 1008106 h 1504250"/>
                <a:gd name="connsiteX3459" fmla="*/ 1030021 w 2516810"/>
                <a:gd name="connsiteY3459" fmla="*/ 1007509 h 1504250"/>
                <a:gd name="connsiteX3460" fmla="*/ 1031017 w 2516810"/>
                <a:gd name="connsiteY3460" fmla="*/ 1007509 h 1504250"/>
                <a:gd name="connsiteX3461" fmla="*/ 1031815 w 2516810"/>
                <a:gd name="connsiteY3461" fmla="*/ 1008504 h 1504250"/>
                <a:gd name="connsiteX3462" fmla="*/ 1031815 w 2516810"/>
                <a:gd name="connsiteY3462" fmla="*/ 1009201 h 1504250"/>
                <a:gd name="connsiteX3463" fmla="*/ 1030918 w 2516810"/>
                <a:gd name="connsiteY3463" fmla="*/ 1009201 h 1504250"/>
                <a:gd name="connsiteX3464" fmla="*/ 1029323 w 2516810"/>
                <a:gd name="connsiteY3464" fmla="*/ 1009201 h 1504250"/>
                <a:gd name="connsiteX3465" fmla="*/ 1030619 w 2516810"/>
                <a:gd name="connsiteY3465" fmla="*/ 1011091 h 1504250"/>
                <a:gd name="connsiteX3466" fmla="*/ 1032113 w 2516810"/>
                <a:gd name="connsiteY3466" fmla="*/ 1012086 h 1504250"/>
                <a:gd name="connsiteX3467" fmla="*/ 1033808 w 2516810"/>
                <a:gd name="connsiteY3467" fmla="*/ 1012086 h 1504250"/>
                <a:gd name="connsiteX3468" fmla="*/ 1035900 w 2516810"/>
                <a:gd name="connsiteY3468" fmla="*/ 1010593 h 1504250"/>
                <a:gd name="connsiteX3469" fmla="*/ 1036797 w 2516810"/>
                <a:gd name="connsiteY3469" fmla="*/ 1009698 h 1504250"/>
                <a:gd name="connsiteX3470" fmla="*/ 1037395 w 2516810"/>
                <a:gd name="connsiteY3470" fmla="*/ 1009002 h 1504250"/>
                <a:gd name="connsiteX3471" fmla="*/ 1037395 w 2516810"/>
                <a:gd name="connsiteY3471" fmla="*/ 1008007 h 1504250"/>
                <a:gd name="connsiteX3472" fmla="*/ 1037395 w 2516810"/>
                <a:gd name="connsiteY3472" fmla="*/ 1006415 h 1504250"/>
                <a:gd name="connsiteX3473" fmla="*/ 1037395 w 2516810"/>
                <a:gd name="connsiteY3473" fmla="*/ 1004923 h 1504250"/>
                <a:gd name="connsiteX3474" fmla="*/ 1036896 w 2516810"/>
                <a:gd name="connsiteY3474" fmla="*/ 1004027 h 1504250"/>
                <a:gd name="connsiteX3475" fmla="*/ 1036199 w 2516810"/>
                <a:gd name="connsiteY3475" fmla="*/ 1003132 h 1504250"/>
                <a:gd name="connsiteX3476" fmla="*/ 1036199 w 2516810"/>
                <a:gd name="connsiteY3476" fmla="*/ 1001640 h 1504250"/>
                <a:gd name="connsiteX3477" fmla="*/ 1036199 w 2516810"/>
                <a:gd name="connsiteY3477" fmla="*/ 999351 h 1504250"/>
                <a:gd name="connsiteX3478" fmla="*/ 1037096 w 2516810"/>
                <a:gd name="connsiteY3478" fmla="*/ 998854 h 1504250"/>
                <a:gd name="connsiteX3479" fmla="*/ 1038690 w 2516810"/>
                <a:gd name="connsiteY3479" fmla="*/ 999351 h 1504250"/>
                <a:gd name="connsiteX3480" fmla="*/ 1040882 w 2516810"/>
                <a:gd name="connsiteY3480" fmla="*/ 999351 h 1504250"/>
                <a:gd name="connsiteX3481" fmla="*/ 1041580 w 2516810"/>
                <a:gd name="connsiteY3481" fmla="*/ 999351 h 1504250"/>
                <a:gd name="connsiteX3482" fmla="*/ 1042775 w 2516810"/>
                <a:gd name="connsiteY3482" fmla="*/ 998655 h 1504250"/>
                <a:gd name="connsiteX3483" fmla="*/ 1043473 w 2516810"/>
                <a:gd name="connsiteY3483" fmla="*/ 998655 h 1504250"/>
                <a:gd name="connsiteX3484" fmla="*/ 1044270 w 2516810"/>
                <a:gd name="connsiteY3484" fmla="*/ 998655 h 1504250"/>
                <a:gd name="connsiteX3485" fmla="*/ 1044270 w 2516810"/>
                <a:gd name="connsiteY3485" fmla="*/ 999252 h 1504250"/>
                <a:gd name="connsiteX3486" fmla="*/ 1044270 w 2516810"/>
                <a:gd name="connsiteY3486" fmla="*/ 999948 h 1504250"/>
                <a:gd name="connsiteX3487" fmla="*/ 1044270 w 2516810"/>
                <a:gd name="connsiteY3487" fmla="*/ 999948 h 1504250"/>
                <a:gd name="connsiteX3488" fmla="*/ 1048654 w 2516810"/>
                <a:gd name="connsiteY3488" fmla="*/ 1001739 h 1504250"/>
                <a:gd name="connsiteX3489" fmla="*/ 1049950 w 2516810"/>
                <a:gd name="connsiteY3489" fmla="*/ 1001739 h 1504250"/>
                <a:gd name="connsiteX3490" fmla="*/ 1051046 w 2516810"/>
                <a:gd name="connsiteY3490" fmla="*/ 1001242 h 1504250"/>
                <a:gd name="connsiteX3491" fmla="*/ 1051743 w 2516810"/>
                <a:gd name="connsiteY3491" fmla="*/ 1001242 h 1504250"/>
                <a:gd name="connsiteX3492" fmla="*/ 1051743 w 2516810"/>
                <a:gd name="connsiteY3492" fmla="*/ 1003132 h 1504250"/>
                <a:gd name="connsiteX3493" fmla="*/ 1051743 w 2516810"/>
                <a:gd name="connsiteY3493" fmla="*/ 1009599 h 1504250"/>
                <a:gd name="connsiteX3494" fmla="*/ 1051743 w 2516810"/>
                <a:gd name="connsiteY3494" fmla="*/ 1011588 h 1504250"/>
                <a:gd name="connsiteX3495" fmla="*/ 1050448 w 2516810"/>
                <a:gd name="connsiteY3495" fmla="*/ 1015866 h 1504250"/>
                <a:gd name="connsiteX3496" fmla="*/ 1051544 w 2516810"/>
                <a:gd name="connsiteY3496" fmla="*/ 1015866 h 1504250"/>
                <a:gd name="connsiteX3497" fmla="*/ 1052939 w 2516810"/>
                <a:gd name="connsiteY3497" fmla="*/ 1014673 h 1504250"/>
                <a:gd name="connsiteX3498" fmla="*/ 1053537 w 2516810"/>
                <a:gd name="connsiteY3498" fmla="*/ 1014673 h 1504250"/>
                <a:gd name="connsiteX3499" fmla="*/ 1054633 w 2516810"/>
                <a:gd name="connsiteY3499" fmla="*/ 1014673 h 1504250"/>
                <a:gd name="connsiteX3500" fmla="*/ 1054633 w 2516810"/>
                <a:gd name="connsiteY3500" fmla="*/ 1015468 h 1504250"/>
                <a:gd name="connsiteX3501" fmla="*/ 1054633 w 2516810"/>
                <a:gd name="connsiteY3501" fmla="*/ 1016563 h 1504250"/>
                <a:gd name="connsiteX3502" fmla="*/ 1055231 w 2516810"/>
                <a:gd name="connsiteY3502" fmla="*/ 1017657 h 1504250"/>
                <a:gd name="connsiteX3503" fmla="*/ 1056726 w 2516810"/>
                <a:gd name="connsiteY3503" fmla="*/ 1019945 h 1504250"/>
                <a:gd name="connsiteX3504" fmla="*/ 1055530 w 2516810"/>
                <a:gd name="connsiteY3504" fmla="*/ 1020940 h 1504250"/>
                <a:gd name="connsiteX3505" fmla="*/ 1050348 w 2516810"/>
                <a:gd name="connsiteY3505" fmla="*/ 1020940 h 1504250"/>
                <a:gd name="connsiteX3506" fmla="*/ 1052142 w 2516810"/>
                <a:gd name="connsiteY3506" fmla="*/ 1023328 h 1504250"/>
                <a:gd name="connsiteX3507" fmla="*/ 1055330 w 2516810"/>
                <a:gd name="connsiteY3507" fmla="*/ 1023328 h 1504250"/>
                <a:gd name="connsiteX3508" fmla="*/ 1062007 w 2516810"/>
                <a:gd name="connsiteY3508" fmla="*/ 1021139 h 1504250"/>
                <a:gd name="connsiteX3509" fmla="*/ 1065893 w 2516810"/>
                <a:gd name="connsiteY3509" fmla="*/ 1022034 h 1504250"/>
                <a:gd name="connsiteX3510" fmla="*/ 1070775 w 2516810"/>
                <a:gd name="connsiteY3510" fmla="*/ 1026114 h 1504250"/>
                <a:gd name="connsiteX3511" fmla="*/ 1073765 w 2516810"/>
                <a:gd name="connsiteY3511" fmla="*/ 1027606 h 1504250"/>
                <a:gd name="connsiteX3512" fmla="*/ 1064598 w 2516810"/>
                <a:gd name="connsiteY3512" fmla="*/ 1024920 h 1504250"/>
                <a:gd name="connsiteX3513" fmla="*/ 1059316 w 2516810"/>
                <a:gd name="connsiteY3513" fmla="*/ 1024920 h 1504250"/>
                <a:gd name="connsiteX3514" fmla="*/ 1056427 w 2516810"/>
                <a:gd name="connsiteY3514" fmla="*/ 1027108 h 1504250"/>
                <a:gd name="connsiteX3515" fmla="*/ 1060911 w 2516810"/>
                <a:gd name="connsiteY3515" fmla="*/ 1027108 h 1504250"/>
                <a:gd name="connsiteX3516" fmla="*/ 1066192 w 2516810"/>
                <a:gd name="connsiteY3516" fmla="*/ 1027805 h 1504250"/>
                <a:gd name="connsiteX3517" fmla="*/ 1071274 w 2516810"/>
                <a:gd name="connsiteY3517" fmla="*/ 1029198 h 1504250"/>
                <a:gd name="connsiteX3518" fmla="*/ 1078847 w 2516810"/>
                <a:gd name="connsiteY3518" fmla="*/ 1034072 h 1504250"/>
                <a:gd name="connsiteX3519" fmla="*/ 1091800 w 2516810"/>
                <a:gd name="connsiteY3519" fmla="*/ 1039345 h 1504250"/>
                <a:gd name="connsiteX3520" fmla="*/ 1093793 w 2516810"/>
                <a:gd name="connsiteY3520" fmla="*/ 1040539 h 1504250"/>
                <a:gd name="connsiteX3521" fmla="*/ 1095886 w 2516810"/>
                <a:gd name="connsiteY3521" fmla="*/ 1042131 h 1504250"/>
                <a:gd name="connsiteX3522" fmla="*/ 1097580 w 2516810"/>
                <a:gd name="connsiteY3522" fmla="*/ 1044220 h 1504250"/>
                <a:gd name="connsiteX3523" fmla="*/ 1098676 w 2516810"/>
                <a:gd name="connsiteY3523" fmla="*/ 1046906 h 1504250"/>
                <a:gd name="connsiteX3524" fmla="*/ 1098676 w 2516810"/>
                <a:gd name="connsiteY3524" fmla="*/ 1049095 h 1504250"/>
                <a:gd name="connsiteX3525" fmla="*/ 1098178 w 2516810"/>
                <a:gd name="connsiteY3525" fmla="*/ 1055164 h 1504250"/>
                <a:gd name="connsiteX3526" fmla="*/ 1098178 w 2516810"/>
                <a:gd name="connsiteY3526" fmla="*/ 1056358 h 1504250"/>
                <a:gd name="connsiteX3527" fmla="*/ 1099871 w 2516810"/>
                <a:gd name="connsiteY3527" fmla="*/ 1054069 h 1504250"/>
                <a:gd name="connsiteX3528" fmla="*/ 1102961 w 2516810"/>
                <a:gd name="connsiteY3528" fmla="*/ 1039345 h 1504250"/>
                <a:gd name="connsiteX3529" fmla="*/ 1104057 w 2516810"/>
                <a:gd name="connsiteY3529" fmla="*/ 1040440 h 1504250"/>
                <a:gd name="connsiteX3530" fmla="*/ 1107046 w 2516810"/>
                <a:gd name="connsiteY3530" fmla="*/ 1041733 h 1504250"/>
                <a:gd name="connsiteX3531" fmla="*/ 1108142 w 2516810"/>
                <a:gd name="connsiteY3531" fmla="*/ 1043225 h 1504250"/>
                <a:gd name="connsiteX3532" fmla="*/ 1108142 w 2516810"/>
                <a:gd name="connsiteY3532" fmla="*/ 1044916 h 1504250"/>
                <a:gd name="connsiteX3533" fmla="*/ 1108142 w 2516810"/>
                <a:gd name="connsiteY3533" fmla="*/ 1048896 h 1504250"/>
                <a:gd name="connsiteX3534" fmla="*/ 1108142 w 2516810"/>
                <a:gd name="connsiteY3534" fmla="*/ 1050787 h 1504250"/>
                <a:gd name="connsiteX3535" fmla="*/ 1106747 w 2516810"/>
                <a:gd name="connsiteY3535" fmla="*/ 1050090 h 1504250"/>
                <a:gd name="connsiteX3536" fmla="*/ 1103857 w 2516810"/>
                <a:gd name="connsiteY3536" fmla="*/ 1048200 h 1504250"/>
                <a:gd name="connsiteX3537" fmla="*/ 1102961 w 2516810"/>
                <a:gd name="connsiteY3537" fmla="*/ 1048200 h 1504250"/>
                <a:gd name="connsiteX3538" fmla="*/ 1102961 w 2516810"/>
                <a:gd name="connsiteY3538" fmla="*/ 1049195 h 1504250"/>
                <a:gd name="connsiteX3539" fmla="*/ 1103459 w 2516810"/>
                <a:gd name="connsiteY3539" fmla="*/ 1053373 h 1504250"/>
                <a:gd name="connsiteX3540" fmla="*/ 1105850 w 2516810"/>
                <a:gd name="connsiteY3540" fmla="*/ 1054567 h 1504250"/>
                <a:gd name="connsiteX3541" fmla="*/ 1109338 w 2516810"/>
                <a:gd name="connsiteY3541" fmla="*/ 1055064 h 1504250"/>
                <a:gd name="connsiteX3542" fmla="*/ 1112626 w 2516810"/>
                <a:gd name="connsiteY3542" fmla="*/ 1055064 h 1504250"/>
                <a:gd name="connsiteX3543" fmla="*/ 1114220 w 2516810"/>
                <a:gd name="connsiteY3543" fmla="*/ 1054069 h 1504250"/>
                <a:gd name="connsiteX3544" fmla="*/ 1116014 w 2516810"/>
                <a:gd name="connsiteY3544" fmla="*/ 1054766 h 1504250"/>
                <a:gd name="connsiteX3545" fmla="*/ 1117309 w 2516810"/>
                <a:gd name="connsiteY3545" fmla="*/ 1054169 h 1504250"/>
                <a:gd name="connsiteX3546" fmla="*/ 1118704 w 2516810"/>
                <a:gd name="connsiteY3546" fmla="*/ 1053274 h 1504250"/>
                <a:gd name="connsiteX3547" fmla="*/ 1120398 w 2516810"/>
                <a:gd name="connsiteY3547" fmla="*/ 1053274 h 1504250"/>
                <a:gd name="connsiteX3548" fmla="*/ 1121096 w 2516810"/>
                <a:gd name="connsiteY3548" fmla="*/ 1054069 h 1504250"/>
                <a:gd name="connsiteX3549" fmla="*/ 1123786 w 2516810"/>
                <a:gd name="connsiteY3549" fmla="*/ 1058944 h 1504250"/>
                <a:gd name="connsiteX3550" fmla="*/ 1126078 w 2516810"/>
                <a:gd name="connsiteY3550" fmla="*/ 1061431 h 1504250"/>
                <a:gd name="connsiteX3551" fmla="*/ 1127473 w 2516810"/>
                <a:gd name="connsiteY3551" fmla="*/ 1062426 h 1504250"/>
                <a:gd name="connsiteX3552" fmla="*/ 1129067 w 2516810"/>
                <a:gd name="connsiteY3552" fmla="*/ 1062426 h 1504250"/>
                <a:gd name="connsiteX3553" fmla="*/ 1130562 w 2516810"/>
                <a:gd name="connsiteY3553" fmla="*/ 1062426 h 1504250"/>
                <a:gd name="connsiteX3554" fmla="*/ 1131558 w 2516810"/>
                <a:gd name="connsiteY3554" fmla="*/ 1061929 h 1504250"/>
                <a:gd name="connsiteX3555" fmla="*/ 1131558 w 2516810"/>
                <a:gd name="connsiteY3555" fmla="*/ 1061034 h 1504250"/>
                <a:gd name="connsiteX3556" fmla="*/ 1130562 w 2516810"/>
                <a:gd name="connsiteY3556" fmla="*/ 1060039 h 1504250"/>
                <a:gd name="connsiteX3557" fmla="*/ 1132654 w 2516810"/>
                <a:gd name="connsiteY3557" fmla="*/ 1060039 h 1504250"/>
                <a:gd name="connsiteX3558" fmla="*/ 1134249 w 2516810"/>
                <a:gd name="connsiteY3558" fmla="*/ 1060934 h 1504250"/>
                <a:gd name="connsiteX3559" fmla="*/ 1147302 w 2516810"/>
                <a:gd name="connsiteY3559" fmla="*/ 1072674 h 1504250"/>
                <a:gd name="connsiteX3560" fmla="*/ 1147302 w 2516810"/>
                <a:gd name="connsiteY3560" fmla="*/ 1074067 h 1504250"/>
                <a:gd name="connsiteX3561" fmla="*/ 1147302 w 2516810"/>
                <a:gd name="connsiteY3561" fmla="*/ 1075658 h 1504250"/>
                <a:gd name="connsiteX3562" fmla="*/ 1146206 w 2516810"/>
                <a:gd name="connsiteY3562" fmla="*/ 1076753 h 1504250"/>
                <a:gd name="connsiteX3563" fmla="*/ 1142021 w 2516810"/>
                <a:gd name="connsiteY3563" fmla="*/ 1074962 h 1504250"/>
                <a:gd name="connsiteX3564" fmla="*/ 1136740 w 2516810"/>
                <a:gd name="connsiteY3564" fmla="*/ 1074265 h 1504250"/>
                <a:gd name="connsiteX3565" fmla="*/ 1134647 w 2516810"/>
                <a:gd name="connsiteY3565" fmla="*/ 1073270 h 1504250"/>
                <a:gd name="connsiteX3566" fmla="*/ 1132156 w 2516810"/>
                <a:gd name="connsiteY3566" fmla="*/ 1070584 h 1504250"/>
                <a:gd name="connsiteX3567" fmla="*/ 1131160 w 2516810"/>
                <a:gd name="connsiteY3567" fmla="*/ 1069291 h 1504250"/>
                <a:gd name="connsiteX3568" fmla="*/ 1130662 w 2516810"/>
                <a:gd name="connsiteY3568" fmla="*/ 1069291 h 1504250"/>
                <a:gd name="connsiteX3569" fmla="*/ 1130662 w 2516810"/>
                <a:gd name="connsiteY3569" fmla="*/ 1069291 h 1504250"/>
                <a:gd name="connsiteX3570" fmla="*/ 1129565 w 2516810"/>
                <a:gd name="connsiteY3570" fmla="*/ 1070286 h 1504250"/>
                <a:gd name="connsiteX3571" fmla="*/ 1129565 w 2516810"/>
                <a:gd name="connsiteY3571" fmla="*/ 1070883 h 1504250"/>
                <a:gd name="connsiteX3572" fmla="*/ 1128270 w 2516810"/>
                <a:gd name="connsiteY3572" fmla="*/ 1073270 h 1504250"/>
                <a:gd name="connsiteX3573" fmla="*/ 1128270 w 2516810"/>
                <a:gd name="connsiteY3573" fmla="*/ 1076454 h 1504250"/>
                <a:gd name="connsiteX3574" fmla="*/ 1129466 w 2516810"/>
                <a:gd name="connsiteY3574" fmla="*/ 1077349 h 1504250"/>
                <a:gd name="connsiteX3575" fmla="*/ 1130961 w 2516810"/>
                <a:gd name="connsiteY3575" fmla="*/ 1077349 h 1504250"/>
                <a:gd name="connsiteX3576" fmla="*/ 1132156 w 2516810"/>
                <a:gd name="connsiteY3576" fmla="*/ 1077349 h 1504250"/>
                <a:gd name="connsiteX3577" fmla="*/ 1132654 w 2516810"/>
                <a:gd name="connsiteY3577" fmla="*/ 1079240 h 1504250"/>
                <a:gd name="connsiteX3578" fmla="*/ 1132654 w 2516810"/>
                <a:gd name="connsiteY3578" fmla="*/ 1082125 h 1504250"/>
                <a:gd name="connsiteX3579" fmla="*/ 1132654 w 2516810"/>
                <a:gd name="connsiteY3579" fmla="*/ 1083120 h 1504250"/>
                <a:gd name="connsiteX3580" fmla="*/ 1131558 w 2516810"/>
                <a:gd name="connsiteY3580" fmla="*/ 1083120 h 1504250"/>
                <a:gd name="connsiteX3581" fmla="*/ 1130961 w 2516810"/>
                <a:gd name="connsiteY3581" fmla="*/ 1083120 h 1504250"/>
                <a:gd name="connsiteX3582" fmla="*/ 1128569 w 2516810"/>
                <a:gd name="connsiteY3582" fmla="*/ 1081429 h 1504250"/>
                <a:gd name="connsiteX3583" fmla="*/ 1128569 w 2516810"/>
                <a:gd name="connsiteY3583" fmla="*/ 1081429 h 1504250"/>
                <a:gd name="connsiteX3584" fmla="*/ 1127971 w 2516810"/>
                <a:gd name="connsiteY3584" fmla="*/ 1081926 h 1504250"/>
                <a:gd name="connsiteX3585" fmla="*/ 1127174 w 2516810"/>
                <a:gd name="connsiteY3585" fmla="*/ 1081926 h 1504250"/>
                <a:gd name="connsiteX3586" fmla="*/ 1126476 w 2516810"/>
                <a:gd name="connsiteY3586" fmla="*/ 1081926 h 1504250"/>
                <a:gd name="connsiteX3587" fmla="*/ 1126476 w 2516810"/>
                <a:gd name="connsiteY3587" fmla="*/ 1081230 h 1504250"/>
                <a:gd name="connsiteX3588" fmla="*/ 1125081 w 2516810"/>
                <a:gd name="connsiteY3588" fmla="*/ 1077349 h 1504250"/>
                <a:gd name="connsiteX3589" fmla="*/ 1117309 w 2516810"/>
                <a:gd name="connsiteY3589" fmla="*/ 1068396 h 1504250"/>
                <a:gd name="connsiteX3590" fmla="*/ 1116412 w 2516810"/>
                <a:gd name="connsiteY3590" fmla="*/ 1066107 h 1504250"/>
                <a:gd name="connsiteX3591" fmla="*/ 1114121 w 2516810"/>
                <a:gd name="connsiteY3591" fmla="*/ 1064715 h 1504250"/>
                <a:gd name="connsiteX3592" fmla="*/ 1111331 w 2516810"/>
                <a:gd name="connsiteY3592" fmla="*/ 1064118 h 1504250"/>
                <a:gd name="connsiteX3593" fmla="*/ 1108640 w 2516810"/>
                <a:gd name="connsiteY3593" fmla="*/ 1064118 h 1504250"/>
                <a:gd name="connsiteX3594" fmla="*/ 1109338 w 2516810"/>
                <a:gd name="connsiteY3594" fmla="*/ 1065710 h 1504250"/>
                <a:gd name="connsiteX3595" fmla="*/ 1110533 w 2516810"/>
                <a:gd name="connsiteY3595" fmla="*/ 1066704 h 1504250"/>
                <a:gd name="connsiteX3596" fmla="*/ 1113024 w 2516810"/>
                <a:gd name="connsiteY3596" fmla="*/ 1067898 h 1504250"/>
                <a:gd name="connsiteX3597" fmla="*/ 1117509 w 2516810"/>
                <a:gd name="connsiteY3597" fmla="*/ 1071679 h 1504250"/>
                <a:gd name="connsiteX3598" fmla="*/ 1120398 w 2516810"/>
                <a:gd name="connsiteY3598" fmla="*/ 1075459 h 1504250"/>
                <a:gd name="connsiteX3599" fmla="*/ 1130363 w 2516810"/>
                <a:gd name="connsiteY3599" fmla="*/ 1095357 h 1504250"/>
                <a:gd name="connsiteX3600" fmla="*/ 1134348 w 2516810"/>
                <a:gd name="connsiteY3600" fmla="*/ 1100530 h 1504250"/>
                <a:gd name="connsiteX3601" fmla="*/ 1139032 w 2516810"/>
                <a:gd name="connsiteY3601" fmla="*/ 1103515 h 1504250"/>
                <a:gd name="connsiteX3602" fmla="*/ 1139530 w 2516810"/>
                <a:gd name="connsiteY3602" fmla="*/ 1103515 h 1504250"/>
                <a:gd name="connsiteX3603" fmla="*/ 1139530 w 2516810"/>
                <a:gd name="connsiteY3603" fmla="*/ 1102619 h 1504250"/>
                <a:gd name="connsiteX3604" fmla="*/ 1139530 w 2516810"/>
                <a:gd name="connsiteY3604" fmla="*/ 1101923 h 1504250"/>
                <a:gd name="connsiteX3605" fmla="*/ 1140427 w 2516810"/>
                <a:gd name="connsiteY3605" fmla="*/ 1101923 h 1504250"/>
                <a:gd name="connsiteX3606" fmla="*/ 1141024 w 2516810"/>
                <a:gd name="connsiteY3606" fmla="*/ 1102619 h 1504250"/>
                <a:gd name="connsiteX3607" fmla="*/ 1141622 w 2516810"/>
                <a:gd name="connsiteY3607" fmla="*/ 1102619 h 1504250"/>
                <a:gd name="connsiteX3608" fmla="*/ 1142220 w 2516810"/>
                <a:gd name="connsiteY3608" fmla="*/ 1102619 h 1504250"/>
                <a:gd name="connsiteX3609" fmla="*/ 1143017 w 2516810"/>
                <a:gd name="connsiteY3609" fmla="*/ 1102619 h 1504250"/>
                <a:gd name="connsiteX3610" fmla="*/ 1143715 w 2516810"/>
                <a:gd name="connsiteY3610" fmla="*/ 1102022 h 1504250"/>
                <a:gd name="connsiteX3611" fmla="*/ 1143715 w 2516810"/>
                <a:gd name="connsiteY3611" fmla="*/ 1100530 h 1504250"/>
                <a:gd name="connsiteX3612" fmla="*/ 1143715 w 2516810"/>
                <a:gd name="connsiteY3612" fmla="*/ 1095755 h 1504250"/>
                <a:gd name="connsiteX3613" fmla="*/ 1144512 w 2516810"/>
                <a:gd name="connsiteY3613" fmla="*/ 1091377 h 1504250"/>
                <a:gd name="connsiteX3614" fmla="*/ 1144512 w 2516810"/>
                <a:gd name="connsiteY3614" fmla="*/ 1089686 h 1504250"/>
                <a:gd name="connsiteX3615" fmla="*/ 1144512 w 2516810"/>
                <a:gd name="connsiteY3615" fmla="*/ 1088790 h 1504250"/>
                <a:gd name="connsiteX3616" fmla="*/ 1144512 w 2516810"/>
                <a:gd name="connsiteY3616" fmla="*/ 1088094 h 1504250"/>
                <a:gd name="connsiteX3617" fmla="*/ 1142918 w 2516810"/>
                <a:gd name="connsiteY3617" fmla="*/ 1080732 h 1504250"/>
                <a:gd name="connsiteX3618" fmla="*/ 1142918 w 2516810"/>
                <a:gd name="connsiteY3618" fmla="*/ 1078146 h 1504250"/>
                <a:gd name="connsiteX3619" fmla="*/ 1144512 w 2516810"/>
                <a:gd name="connsiteY3619" fmla="*/ 1078146 h 1504250"/>
                <a:gd name="connsiteX3620" fmla="*/ 1149494 w 2516810"/>
                <a:gd name="connsiteY3620" fmla="*/ 1082423 h 1504250"/>
                <a:gd name="connsiteX3621" fmla="*/ 1150889 w 2516810"/>
                <a:gd name="connsiteY3621" fmla="*/ 1084413 h 1504250"/>
                <a:gd name="connsiteX3622" fmla="*/ 1148996 w 2516810"/>
                <a:gd name="connsiteY3622" fmla="*/ 1087895 h 1504250"/>
                <a:gd name="connsiteX3623" fmla="*/ 1148498 w 2516810"/>
                <a:gd name="connsiteY3623" fmla="*/ 1089686 h 1504250"/>
                <a:gd name="connsiteX3624" fmla="*/ 1148498 w 2516810"/>
                <a:gd name="connsiteY3624" fmla="*/ 1091875 h 1504250"/>
                <a:gd name="connsiteX3625" fmla="*/ 1149295 w 2516810"/>
                <a:gd name="connsiteY3625" fmla="*/ 1096650 h 1504250"/>
                <a:gd name="connsiteX3626" fmla="*/ 1149295 w 2516810"/>
                <a:gd name="connsiteY3626" fmla="*/ 1098839 h 1504250"/>
                <a:gd name="connsiteX3627" fmla="*/ 1147701 w 2516810"/>
                <a:gd name="connsiteY3627" fmla="*/ 1100331 h 1504250"/>
                <a:gd name="connsiteX3628" fmla="*/ 1149295 w 2516810"/>
                <a:gd name="connsiteY3628" fmla="*/ 1101426 h 1504250"/>
                <a:gd name="connsiteX3629" fmla="*/ 1150989 w 2516810"/>
                <a:gd name="connsiteY3629" fmla="*/ 1103415 h 1504250"/>
                <a:gd name="connsiteX3630" fmla="*/ 1152384 w 2516810"/>
                <a:gd name="connsiteY3630" fmla="*/ 1105803 h 1504250"/>
                <a:gd name="connsiteX3631" fmla="*/ 1152982 w 2516810"/>
                <a:gd name="connsiteY3631" fmla="*/ 1108290 h 1504250"/>
                <a:gd name="connsiteX3632" fmla="*/ 1152085 w 2516810"/>
                <a:gd name="connsiteY3632" fmla="*/ 1111275 h 1504250"/>
                <a:gd name="connsiteX3633" fmla="*/ 1150092 w 2516810"/>
                <a:gd name="connsiteY3633" fmla="*/ 1111275 h 1504250"/>
                <a:gd name="connsiteX3634" fmla="*/ 1148000 w 2516810"/>
                <a:gd name="connsiteY3634" fmla="*/ 1109882 h 1504250"/>
                <a:gd name="connsiteX3635" fmla="*/ 1147103 w 2516810"/>
                <a:gd name="connsiteY3635" fmla="*/ 1108986 h 1504250"/>
                <a:gd name="connsiteX3636" fmla="*/ 1144811 w 2516810"/>
                <a:gd name="connsiteY3636" fmla="*/ 1107594 h 1504250"/>
                <a:gd name="connsiteX3637" fmla="*/ 1143615 w 2516810"/>
                <a:gd name="connsiteY3637" fmla="*/ 1107594 h 1504250"/>
                <a:gd name="connsiteX3638" fmla="*/ 1142320 w 2516810"/>
                <a:gd name="connsiteY3638" fmla="*/ 1107594 h 1504250"/>
                <a:gd name="connsiteX3639" fmla="*/ 1142320 w 2516810"/>
                <a:gd name="connsiteY3639" fmla="*/ 1107594 h 1504250"/>
                <a:gd name="connsiteX3640" fmla="*/ 1142320 w 2516810"/>
                <a:gd name="connsiteY3640" fmla="*/ 1108589 h 1504250"/>
                <a:gd name="connsiteX3641" fmla="*/ 1142818 w 2516810"/>
                <a:gd name="connsiteY3641" fmla="*/ 1109583 h 1504250"/>
                <a:gd name="connsiteX3642" fmla="*/ 1143416 w 2516810"/>
                <a:gd name="connsiteY3642" fmla="*/ 1109583 h 1504250"/>
                <a:gd name="connsiteX3643" fmla="*/ 1144811 w 2516810"/>
                <a:gd name="connsiteY3643" fmla="*/ 1110379 h 1504250"/>
                <a:gd name="connsiteX3644" fmla="*/ 1146206 w 2516810"/>
                <a:gd name="connsiteY3644" fmla="*/ 1112369 h 1504250"/>
                <a:gd name="connsiteX3645" fmla="*/ 1147302 w 2516810"/>
                <a:gd name="connsiteY3645" fmla="*/ 1114856 h 1504250"/>
                <a:gd name="connsiteX3646" fmla="*/ 1148000 w 2516810"/>
                <a:gd name="connsiteY3646" fmla="*/ 1117144 h 1504250"/>
                <a:gd name="connsiteX3647" fmla="*/ 1148697 w 2516810"/>
                <a:gd name="connsiteY3647" fmla="*/ 1122218 h 1504250"/>
                <a:gd name="connsiteX3648" fmla="*/ 1148697 w 2516810"/>
                <a:gd name="connsiteY3648" fmla="*/ 1124308 h 1504250"/>
                <a:gd name="connsiteX3649" fmla="*/ 1149893 w 2516810"/>
                <a:gd name="connsiteY3649" fmla="*/ 1126098 h 1504250"/>
                <a:gd name="connsiteX3650" fmla="*/ 1160854 w 2516810"/>
                <a:gd name="connsiteY3650" fmla="*/ 1136047 h 1504250"/>
                <a:gd name="connsiteX3651" fmla="*/ 1170220 w 2516810"/>
                <a:gd name="connsiteY3651" fmla="*/ 1141917 h 1504250"/>
                <a:gd name="connsiteX3652" fmla="*/ 1173708 w 2516810"/>
                <a:gd name="connsiteY3652" fmla="*/ 1142713 h 1504250"/>
                <a:gd name="connsiteX3653" fmla="*/ 1172113 w 2516810"/>
                <a:gd name="connsiteY3653" fmla="*/ 1140624 h 1504250"/>
                <a:gd name="connsiteX3654" fmla="*/ 1166733 w 2516810"/>
                <a:gd name="connsiteY3654" fmla="*/ 1137540 h 1504250"/>
                <a:gd name="connsiteX3655" fmla="*/ 1164640 w 2516810"/>
                <a:gd name="connsiteY3655" fmla="*/ 1135848 h 1504250"/>
                <a:gd name="connsiteX3656" fmla="*/ 1160754 w 2516810"/>
                <a:gd name="connsiteY3656" fmla="*/ 1131570 h 1504250"/>
                <a:gd name="connsiteX3657" fmla="*/ 1158761 w 2516810"/>
                <a:gd name="connsiteY3657" fmla="*/ 1130177 h 1504250"/>
                <a:gd name="connsiteX3658" fmla="*/ 1157864 w 2516810"/>
                <a:gd name="connsiteY3658" fmla="*/ 1129182 h 1504250"/>
                <a:gd name="connsiteX3659" fmla="*/ 1157266 w 2516810"/>
                <a:gd name="connsiteY3659" fmla="*/ 1127690 h 1504250"/>
                <a:gd name="connsiteX3660" fmla="*/ 1160355 w 2516810"/>
                <a:gd name="connsiteY3660" fmla="*/ 1128287 h 1504250"/>
                <a:gd name="connsiteX3661" fmla="*/ 1163345 w 2516810"/>
                <a:gd name="connsiteY3661" fmla="*/ 1129779 h 1504250"/>
                <a:gd name="connsiteX3662" fmla="*/ 1166135 w 2516810"/>
                <a:gd name="connsiteY3662" fmla="*/ 1131869 h 1504250"/>
                <a:gd name="connsiteX3663" fmla="*/ 1168426 w 2516810"/>
                <a:gd name="connsiteY3663" fmla="*/ 1134356 h 1504250"/>
                <a:gd name="connsiteX3664" fmla="*/ 1170419 w 2516810"/>
                <a:gd name="connsiteY3664" fmla="*/ 1133162 h 1504250"/>
                <a:gd name="connsiteX3665" fmla="*/ 1171914 w 2516810"/>
                <a:gd name="connsiteY3665" fmla="*/ 1133759 h 1504250"/>
                <a:gd name="connsiteX3666" fmla="*/ 1177095 w 2516810"/>
                <a:gd name="connsiteY3666" fmla="*/ 1139032 h 1504250"/>
                <a:gd name="connsiteX3667" fmla="*/ 1177993 w 2516810"/>
                <a:gd name="connsiteY3667" fmla="*/ 1139032 h 1504250"/>
                <a:gd name="connsiteX3668" fmla="*/ 1179786 w 2516810"/>
                <a:gd name="connsiteY3668" fmla="*/ 1139828 h 1504250"/>
                <a:gd name="connsiteX3669" fmla="*/ 1180583 w 2516810"/>
                <a:gd name="connsiteY3669" fmla="*/ 1140524 h 1504250"/>
                <a:gd name="connsiteX3670" fmla="*/ 1180583 w 2516810"/>
                <a:gd name="connsiteY3670" fmla="*/ 1141519 h 1504250"/>
                <a:gd name="connsiteX3671" fmla="*/ 1180583 w 2516810"/>
                <a:gd name="connsiteY3671" fmla="*/ 1143310 h 1504250"/>
                <a:gd name="connsiteX3672" fmla="*/ 1180583 w 2516810"/>
                <a:gd name="connsiteY3672" fmla="*/ 1144105 h 1504250"/>
                <a:gd name="connsiteX3673" fmla="*/ 1181281 w 2516810"/>
                <a:gd name="connsiteY3673" fmla="*/ 1145300 h 1504250"/>
                <a:gd name="connsiteX3674" fmla="*/ 1183872 w 2516810"/>
                <a:gd name="connsiteY3674" fmla="*/ 1147289 h 1504250"/>
                <a:gd name="connsiteX3675" fmla="*/ 1184768 w 2516810"/>
                <a:gd name="connsiteY3675" fmla="*/ 1147787 h 1504250"/>
                <a:gd name="connsiteX3676" fmla="*/ 1185765 w 2516810"/>
                <a:gd name="connsiteY3676" fmla="*/ 1147787 h 1504250"/>
                <a:gd name="connsiteX3677" fmla="*/ 1186662 w 2516810"/>
                <a:gd name="connsiteY3677" fmla="*/ 1147787 h 1504250"/>
                <a:gd name="connsiteX3678" fmla="*/ 1189153 w 2516810"/>
                <a:gd name="connsiteY3678" fmla="*/ 1146195 h 1504250"/>
                <a:gd name="connsiteX3679" fmla="*/ 1191644 w 2516810"/>
                <a:gd name="connsiteY3679" fmla="*/ 1147886 h 1504250"/>
                <a:gd name="connsiteX3680" fmla="*/ 1193537 w 2516810"/>
                <a:gd name="connsiteY3680" fmla="*/ 1150473 h 1504250"/>
                <a:gd name="connsiteX3681" fmla="*/ 1195729 w 2516810"/>
                <a:gd name="connsiteY3681" fmla="*/ 1152065 h 1504250"/>
                <a:gd name="connsiteX3682" fmla="*/ 1199515 w 2516810"/>
                <a:gd name="connsiteY3682" fmla="*/ 1150871 h 1504250"/>
                <a:gd name="connsiteX3683" fmla="*/ 1200811 w 2516810"/>
                <a:gd name="connsiteY3683" fmla="*/ 1149876 h 1504250"/>
                <a:gd name="connsiteX3684" fmla="*/ 1204199 w 2516810"/>
                <a:gd name="connsiteY3684" fmla="*/ 1146493 h 1504250"/>
                <a:gd name="connsiteX3685" fmla="*/ 1204697 w 2516810"/>
                <a:gd name="connsiteY3685" fmla="*/ 1145300 h 1504250"/>
                <a:gd name="connsiteX3686" fmla="*/ 1203701 w 2516810"/>
                <a:gd name="connsiteY3686" fmla="*/ 1144404 h 1504250"/>
                <a:gd name="connsiteX3687" fmla="*/ 1200412 w 2516810"/>
                <a:gd name="connsiteY3687" fmla="*/ 1145697 h 1504250"/>
                <a:gd name="connsiteX3688" fmla="*/ 1198619 w 2516810"/>
                <a:gd name="connsiteY3688" fmla="*/ 1145697 h 1504250"/>
                <a:gd name="connsiteX3689" fmla="*/ 1199814 w 2516810"/>
                <a:gd name="connsiteY3689" fmla="*/ 1144105 h 1504250"/>
                <a:gd name="connsiteX3690" fmla="*/ 1201409 w 2516810"/>
                <a:gd name="connsiteY3690" fmla="*/ 1143011 h 1504250"/>
                <a:gd name="connsiteX3691" fmla="*/ 1203402 w 2516810"/>
                <a:gd name="connsiteY3691" fmla="*/ 1143011 h 1504250"/>
                <a:gd name="connsiteX3692" fmla="*/ 1205594 w 2516810"/>
                <a:gd name="connsiteY3692" fmla="*/ 1143011 h 1504250"/>
                <a:gd name="connsiteX3693" fmla="*/ 1207686 w 2516810"/>
                <a:gd name="connsiteY3693" fmla="*/ 1144006 h 1504250"/>
                <a:gd name="connsiteX3694" fmla="*/ 1208982 w 2516810"/>
                <a:gd name="connsiteY3694" fmla="*/ 1145498 h 1504250"/>
                <a:gd name="connsiteX3695" fmla="*/ 1213665 w 2516810"/>
                <a:gd name="connsiteY3695" fmla="*/ 1156144 h 1504250"/>
                <a:gd name="connsiteX3696" fmla="*/ 1214263 w 2516810"/>
                <a:gd name="connsiteY3696" fmla="*/ 1158034 h 1504250"/>
                <a:gd name="connsiteX3697" fmla="*/ 1214263 w 2516810"/>
                <a:gd name="connsiteY3697" fmla="*/ 1160620 h 1504250"/>
                <a:gd name="connsiteX3698" fmla="*/ 1213366 w 2516810"/>
                <a:gd name="connsiteY3698" fmla="*/ 1162013 h 1504250"/>
                <a:gd name="connsiteX3699" fmla="*/ 1212170 w 2516810"/>
                <a:gd name="connsiteY3699" fmla="*/ 1163108 h 1504250"/>
                <a:gd name="connsiteX3700" fmla="*/ 1210875 w 2516810"/>
                <a:gd name="connsiteY3700" fmla="*/ 1164699 h 1504250"/>
                <a:gd name="connsiteX3701" fmla="*/ 1212569 w 2516810"/>
                <a:gd name="connsiteY3701" fmla="*/ 1164699 h 1504250"/>
                <a:gd name="connsiteX3702" fmla="*/ 1212569 w 2516810"/>
                <a:gd name="connsiteY3702" fmla="*/ 1165197 h 1504250"/>
                <a:gd name="connsiteX3703" fmla="*/ 1212569 w 2516810"/>
                <a:gd name="connsiteY3703" fmla="*/ 1165993 h 1504250"/>
                <a:gd name="connsiteX3704" fmla="*/ 1212569 w 2516810"/>
                <a:gd name="connsiteY3704" fmla="*/ 1166490 h 1504250"/>
                <a:gd name="connsiteX3705" fmla="*/ 1208484 w 2516810"/>
                <a:gd name="connsiteY3705" fmla="*/ 1163406 h 1504250"/>
                <a:gd name="connsiteX3706" fmla="*/ 1206092 w 2516810"/>
                <a:gd name="connsiteY3706" fmla="*/ 1162312 h 1504250"/>
                <a:gd name="connsiteX3707" fmla="*/ 1205594 w 2516810"/>
                <a:gd name="connsiteY3707" fmla="*/ 1163705 h 1504250"/>
                <a:gd name="connsiteX3708" fmla="*/ 1207487 w 2516810"/>
                <a:gd name="connsiteY3708" fmla="*/ 1164899 h 1504250"/>
                <a:gd name="connsiteX3709" fmla="*/ 1211174 w 2516810"/>
                <a:gd name="connsiteY3709" fmla="*/ 1167187 h 1504250"/>
                <a:gd name="connsiteX3710" fmla="*/ 1212569 w 2516810"/>
                <a:gd name="connsiteY3710" fmla="*/ 1168281 h 1504250"/>
                <a:gd name="connsiteX3711" fmla="*/ 1210476 w 2516810"/>
                <a:gd name="connsiteY3711" fmla="*/ 1167187 h 1504250"/>
                <a:gd name="connsiteX3712" fmla="*/ 1209081 w 2516810"/>
                <a:gd name="connsiteY3712" fmla="*/ 1166391 h 1504250"/>
                <a:gd name="connsiteX3713" fmla="*/ 1207088 w 2516810"/>
                <a:gd name="connsiteY3713" fmla="*/ 1165396 h 1504250"/>
                <a:gd name="connsiteX3714" fmla="*/ 1188754 w 2516810"/>
                <a:gd name="connsiteY3714" fmla="*/ 1155149 h 1504250"/>
                <a:gd name="connsiteX3715" fmla="*/ 1187459 w 2516810"/>
                <a:gd name="connsiteY3715" fmla="*/ 1155149 h 1504250"/>
                <a:gd name="connsiteX3716" fmla="*/ 1177494 w 2516810"/>
                <a:gd name="connsiteY3716" fmla="*/ 1149677 h 1504250"/>
                <a:gd name="connsiteX3717" fmla="*/ 1177494 w 2516810"/>
                <a:gd name="connsiteY3717" fmla="*/ 1149677 h 1504250"/>
                <a:gd name="connsiteX3718" fmla="*/ 1177494 w 2516810"/>
                <a:gd name="connsiteY3718" fmla="*/ 1147488 h 1504250"/>
                <a:gd name="connsiteX3719" fmla="*/ 1177494 w 2516810"/>
                <a:gd name="connsiteY3719" fmla="*/ 1146891 h 1504250"/>
                <a:gd name="connsiteX3720" fmla="*/ 1176697 w 2516810"/>
                <a:gd name="connsiteY3720" fmla="*/ 1145996 h 1504250"/>
                <a:gd name="connsiteX3721" fmla="*/ 1175701 w 2516810"/>
                <a:gd name="connsiteY3721" fmla="*/ 1145300 h 1504250"/>
                <a:gd name="connsiteX3722" fmla="*/ 1174804 w 2516810"/>
                <a:gd name="connsiteY3722" fmla="*/ 1145300 h 1504250"/>
                <a:gd name="connsiteX3723" fmla="*/ 1174804 w 2516810"/>
                <a:gd name="connsiteY3723" fmla="*/ 1146792 h 1504250"/>
                <a:gd name="connsiteX3724" fmla="*/ 1175800 w 2516810"/>
                <a:gd name="connsiteY3724" fmla="*/ 1149179 h 1504250"/>
                <a:gd name="connsiteX3725" fmla="*/ 1177993 w 2516810"/>
                <a:gd name="connsiteY3725" fmla="*/ 1151468 h 1504250"/>
                <a:gd name="connsiteX3726" fmla="*/ 1207188 w 2516810"/>
                <a:gd name="connsiteY3726" fmla="*/ 1169375 h 1504250"/>
                <a:gd name="connsiteX3727" fmla="*/ 1214960 w 2516810"/>
                <a:gd name="connsiteY3727" fmla="*/ 1176638 h 1504250"/>
                <a:gd name="connsiteX3728" fmla="*/ 1219743 w 2516810"/>
                <a:gd name="connsiteY3728" fmla="*/ 1180021 h 1504250"/>
                <a:gd name="connsiteX3729" fmla="*/ 1224725 w 2516810"/>
                <a:gd name="connsiteY3729" fmla="*/ 1182209 h 1504250"/>
                <a:gd name="connsiteX3730" fmla="*/ 1226121 w 2516810"/>
                <a:gd name="connsiteY3730" fmla="*/ 1183801 h 1504250"/>
                <a:gd name="connsiteX3731" fmla="*/ 1226619 w 2516810"/>
                <a:gd name="connsiteY3731" fmla="*/ 1186985 h 1504250"/>
                <a:gd name="connsiteX3732" fmla="*/ 1228014 w 2516810"/>
                <a:gd name="connsiteY3732" fmla="*/ 1188378 h 1504250"/>
                <a:gd name="connsiteX3733" fmla="*/ 1236185 w 2516810"/>
                <a:gd name="connsiteY3733" fmla="*/ 1193949 h 1504250"/>
                <a:gd name="connsiteX3734" fmla="*/ 1254220 w 2516810"/>
                <a:gd name="connsiteY3734" fmla="*/ 1206186 h 1504250"/>
                <a:gd name="connsiteX3735" fmla="*/ 1260896 w 2516810"/>
                <a:gd name="connsiteY3735" fmla="*/ 1212652 h 1504250"/>
                <a:gd name="connsiteX3736" fmla="*/ 1262491 w 2516810"/>
                <a:gd name="connsiteY3736" fmla="*/ 1213747 h 1504250"/>
                <a:gd name="connsiteX3737" fmla="*/ 1264882 w 2516810"/>
                <a:gd name="connsiteY3737" fmla="*/ 1214642 h 1504250"/>
                <a:gd name="connsiteX3738" fmla="*/ 1271060 w 2516810"/>
                <a:gd name="connsiteY3738" fmla="*/ 1219219 h 1504250"/>
                <a:gd name="connsiteX3739" fmla="*/ 1287900 w 2516810"/>
                <a:gd name="connsiteY3739" fmla="*/ 1237524 h 1504250"/>
                <a:gd name="connsiteX3740" fmla="*/ 1291587 w 2516810"/>
                <a:gd name="connsiteY3740" fmla="*/ 1244190 h 1504250"/>
                <a:gd name="connsiteX3741" fmla="*/ 1293081 w 2516810"/>
                <a:gd name="connsiteY3741" fmla="*/ 1249960 h 1504250"/>
                <a:gd name="connsiteX3742" fmla="*/ 1295174 w 2516810"/>
                <a:gd name="connsiteY3742" fmla="*/ 1252746 h 1504250"/>
                <a:gd name="connsiteX3743" fmla="*/ 1297466 w 2516810"/>
                <a:gd name="connsiteY3743" fmla="*/ 1255133 h 1504250"/>
                <a:gd name="connsiteX3744" fmla="*/ 1299060 w 2516810"/>
                <a:gd name="connsiteY3744" fmla="*/ 1257621 h 1504250"/>
                <a:gd name="connsiteX3745" fmla="*/ 1300256 w 2516810"/>
                <a:gd name="connsiteY3745" fmla="*/ 1263988 h 1504250"/>
                <a:gd name="connsiteX3746" fmla="*/ 1301651 w 2516810"/>
                <a:gd name="connsiteY3746" fmla="*/ 1266774 h 1504250"/>
                <a:gd name="connsiteX3747" fmla="*/ 1307031 w 2516810"/>
                <a:gd name="connsiteY3747" fmla="*/ 1268564 h 1504250"/>
                <a:gd name="connsiteX3748" fmla="*/ 1309323 w 2516810"/>
                <a:gd name="connsiteY3748" fmla="*/ 1270256 h 1504250"/>
                <a:gd name="connsiteX3749" fmla="*/ 1313010 w 2516810"/>
                <a:gd name="connsiteY3749" fmla="*/ 1274335 h 1504250"/>
                <a:gd name="connsiteX3750" fmla="*/ 1315700 w 2516810"/>
                <a:gd name="connsiteY3750" fmla="*/ 1278513 h 1504250"/>
                <a:gd name="connsiteX3751" fmla="*/ 1317594 w 2516810"/>
                <a:gd name="connsiteY3751" fmla="*/ 1280801 h 1504250"/>
                <a:gd name="connsiteX3752" fmla="*/ 1320882 w 2516810"/>
                <a:gd name="connsiteY3752" fmla="*/ 1282493 h 1504250"/>
                <a:gd name="connsiteX3753" fmla="*/ 1321878 w 2516810"/>
                <a:gd name="connsiteY3753" fmla="*/ 1284084 h 1504250"/>
                <a:gd name="connsiteX3754" fmla="*/ 1323273 w 2516810"/>
                <a:gd name="connsiteY3754" fmla="*/ 1287368 h 1504250"/>
                <a:gd name="connsiteX3755" fmla="*/ 1323871 w 2516810"/>
                <a:gd name="connsiteY3755" fmla="*/ 1288263 h 1504250"/>
                <a:gd name="connsiteX3756" fmla="*/ 1324469 w 2516810"/>
                <a:gd name="connsiteY3756" fmla="*/ 1288959 h 1504250"/>
                <a:gd name="connsiteX3757" fmla="*/ 1329551 w 2516810"/>
                <a:gd name="connsiteY3757" fmla="*/ 1293536 h 1504250"/>
                <a:gd name="connsiteX3758" fmla="*/ 1331942 w 2516810"/>
                <a:gd name="connsiteY3758" fmla="*/ 1295128 h 1504250"/>
                <a:gd name="connsiteX3759" fmla="*/ 1334135 w 2516810"/>
                <a:gd name="connsiteY3759" fmla="*/ 1295824 h 1504250"/>
                <a:gd name="connsiteX3760" fmla="*/ 1335729 w 2516810"/>
                <a:gd name="connsiteY3760" fmla="*/ 1297316 h 1504250"/>
                <a:gd name="connsiteX3761" fmla="*/ 1340313 w 2516810"/>
                <a:gd name="connsiteY3761" fmla="*/ 1306469 h 1504250"/>
                <a:gd name="connsiteX3762" fmla="*/ 1340313 w 2516810"/>
                <a:gd name="connsiteY3762" fmla="*/ 1306469 h 1504250"/>
                <a:gd name="connsiteX3763" fmla="*/ 1340811 w 2516810"/>
                <a:gd name="connsiteY3763" fmla="*/ 1307166 h 1504250"/>
                <a:gd name="connsiteX3764" fmla="*/ 1340811 w 2516810"/>
                <a:gd name="connsiteY3764" fmla="*/ 1307862 h 1504250"/>
                <a:gd name="connsiteX3765" fmla="*/ 1340811 w 2516810"/>
                <a:gd name="connsiteY3765" fmla="*/ 1308757 h 1504250"/>
                <a:gd name="connsiteX3766" fmla="*/ 1339217 w 2516810"/>
                <a:gd name="connsiteY3766" fmla="*/ 1309752 h 1504250"/>
                <a:gd name="connsiteX3767" fmla="*/ 1339217 w 2516810"/>
                <a:gd name="connsiteY3767" fmla="*/ 1310648 h 1504250"/>
                <a:gd name="connsiteX3768" fmla="*/ 1341309 w 2516810"/>
                <a:gd name="connsiteY3768" fmla="*/ 1312438 h 1504250"/>
                <a:gd name="connsiteX3769" fmla="*/ 1345793 w 2516810"/>
                <a:gd name="connsiteY3769" fmla="*/ 1319303 h 1504250"/>
                <a:gd name="connsiteX3770" fmla="*/ 1346391 w 2516810"/>
                <a:gd name="connsiteY3770" fmla="*/ 1321193 h 1504250"/>
                <a:gd name="connsiteX3771" fmla="*/ 1346391 w 2516810"/>
                <a:gd name="connsiteY3771" fmla="*/ 1326267 h 1504250"/>
                <a:gd name="connsiteX3772" fmla="*/ 1346391 w 2516810"/>
                <a:gd name="connsiteY3772" fmla="*/ 1327361 h 1504250"/>
                <a:gd name="connsiteX3773" fmla="*/ 1347786 w 2516810"/>
                <a:gd name="connsiteY3773" fmla="*/ 1328058 h 1504250"/>
                <a:gd name="connsiteX3774" fmla="*/ 1348882 w 2516810"/>
                <a:gd name="connsiteY3774" fmla="*/ 1327560 h 1504250"/>
                <a:gd name="connsiteX3775" fmla="*/ 1350178 w 2516810"/>
                <a:gd name="connsiteY3775" fmla="*/ 1326665 h 1504250"/>
                <a:gd name="connsiteX3776" fmla="*/ 1351672 w 2516810"/>
                <a:gd name="connsiteY3776" fmla="*/ 1326665 h 1504250"/>
                <a:gd name="connsiteX3777" fmla="*/ 1353864 w 2516810"/>
                <a:gd name="connsiteY3777" fmla="*/ 1327759 h 1504250"/>
                <a:gd name="connsiteX3778" fmla="*/ 1365622 w 2516810"/>
                <a:gd name="connsiteY3778" fmla="*/ 1341389 h 1504250"/>
                <a:gd name="connsiteX3779" fmla="*/ 1368113 w 2516810"/>
                <a:gd name="connsiteY3779" fmla="*/ 1343379 h 1504250"/>
                <a:gd name="connsiteX3780" fmla="*/ 1369508 w 2516810"/>
                <a:gd name="connsiteY3780" fmla="*/ 1344075 h 1504250"/>
                <a:gd name="connsiteX3781" fmla="*/ 1371800 w 2516810"/>
                <a:gd name="connsiteY3781" fmla="*/ 1344871 h 1504250"/>
                <a:gd name="connsiteX3782" fmla="*/ 1372797 w 2516810"/>
                <a:gd name="connsiteY3782" fmla="*/ 1345767 h 1504250"/>
                <a:gd name="connsiteX3783" fmla="*/ 1396512 w 2516810"/>
                <a:gd name="connsiteY3783" fmla="*/ 1375613 h 1504250"/>
                <a:gd name="connsiteX3784" fmla="*/ 1397807 w 2516810"/>
                <a:gd name="connsiteY3784" fmla="*/ 1374220 h 1504250"/>
                <a:gd name="connsiteX3785" fmla="*/ 1399302 w 2516810"/>
                <a:gd name="connsiteY3785" fmla="*/ 1373026 h 1504250"/>
                <a:gd name="connsiteX3786" fmla="*/ 1400896 w 2516810"/>
                <a:gd name="connsiteY3786" fmla="*/ 1372330 h 1504250"/>
                <a:gd name="connsiteX3787" fmla="*/ 1402590 w 2516810"/>
                <a:gd name="connsiteY3787" fmla="*/ 1372330 h 1504250"/>
                <a:gd name="connsiteX3788" fmla="*/ 1400099 w 2516810"/>
                <a:gd name="connsiteY3788" fmla="*/ 1375911 h 1504250"/>
                <a:gd name="connsiteX3789" fmla="*/ 1400099 w 2516810"/>
                <a:gd name="connsiteY3789" fmla="*/ 1376807 h 1504250"/>
                <a:gd name="connsiteX3790" fmla="*/ 1400697 w 2516810"/>
                <a:gd name="connsiteY3790" fmla="*/ 1377503 h 1504250"/>
                <a:gd name="connsiteX3791" fmla="*/ 1401195 w 2516810"/>
                <a:gd name="connsiteY3791" fmla="*/ 1377503 h 1504250"/>
                <a:gd name="connsiteX3792" fmla="*/ 1401195 w 2516810"/>
                <a:gd name="connsiteY3792" fmla="*/ 1377503 h 1504250"/>
                <a:gd name="connsiteX3793" fmla="*/ 1402092 w 2516810"/>
                <a:gd name="connsiteY3793" fmla="*/ 1378299 h 1504250"/>
                <a:gd name="connsiteX3794" fmla="*/ 1407273 w 2516810"/>
                <a:gd name="connsiteY3794" fmla="*/ 1381582 h 1504250"/>
                <a:gd name="connsiteX3795" fmla="*/ 1409466 w 2516810"/>
                <a:gd name="connsiteY3795" fmla="*/ 1383671 h 1504250"/>
                <a:gd name="connsiteX3796" fmla="*/ 1415046 w 2516810"/>
                <a:gd name="connsiteY3796" fmla="*/ 1390934 h 1504250"/>
                <a:gd name="connsiteX3797" fmla="*/ 1425010 w 2516810"/>
                <a:gd name="connsiteY3797" fmla="*/ 1400883 h 1504250"/>
                <a:gd name="connsiteX3798" fmla="*/ 1429195 w 2516810"/>
                <a:gd name="connsiteY3798" fmla="*/ 1407449 h 1504250"/>
                <a:gd name="connsiteX3799" fmla="*/ 1430391 w 2516810"/>
                <a:gd name="connsiteY3799" fmla="*/ 1415010 h 1504250"/>
                <a:gd name="connsiteX3800" fmla="*/ 1431288 w 2516810"/>
                <a:gd name="connsiteY3800" fmla="*/ 1415010 h 1504250"/>
                <a:gd name="connsiteX3801" fmla="*/ 1432384 w 2516810"/>
                <a:gd name="connsiteY3801" fmla="*/ 1413418 h 1504250"/>
                <a:gd name="connsiteX3802" fmla="*/ 1433580 w 2516810"/>
                <a:gd name="connsiteY3802" fmla="*/ 1414015 h 1504250"/>
                <a:gd name="connsiteX3803" fmla="*/ 1434775 w 2516810"/>
                <a:gd name="connsiteY3803" fmla="*/ 1415806 h 1504250"/>
                <a:gd name="connsiteX3804" fmla="*/ 1435572 w 2516810"/>
                <a:gd name="connsiteY3804" fmla="*/ 1417696 h 1504250"/>
                <a:gd name="connsiteX3805" fmla="*/ 1433580 w 2516810"/>
                <a:gd name="connsiteY3805" fmla="*/ 1419089 h 1504250"/>
                <a:gd name="connsiteX3806" fmla="*/ 1435174 w 2516810"/>
                <a:gd name="connsiteY3806" fmla="*/ 1423267 h 1504250"/>
                <a:gd name="connsiteX3807" fmla="*/ 1436868 w 2516810"/>
                <a:gd name="connsiteY3807" fmla="*/ 1430331 h 1504250"/>
                <a:gd name="connsiteX3808" fmla="*/ 1439957 w 2516810"/>
                <a:gd name="connsiteY3808" fmla="*/ 1440280 h 1504250"/>
                <a:gd name="connsiteX3809" fmla="*/ 1443344 w 2516810"/>
                <a:gd name="connsiteY3809" fmla="*/ 1452517 h 1504250"/>
                <a:gd name="connsiteX3810" fmla="*/ 1444242 w 2516810"/>
                <a:gd name="connsiteY3810" fmla="*/ 1461371 h 1504250"/>
                <a:gd name="connsiteX3811" fmla="*/ 1443046 w 2516810"/>
                <a:gd name="connsiteY3811" fmla="*/ 1480771 h 1504250"/>
                <a:gd name="connsiteX3812" fmla="*/ 1444142 w 2516810"/>
                <a:gd name="connsiteY3812" fmla="*/ 1488233 h 1504250"/>
                <a:gd name="connsiteX3813" fmla="*/ 1446234 w 2516810"/>
                <a:gd name="connsiteY3813" fmla="*/ 1493108 h 1504250"/>
                <a:gd name="connsiteX3814" fmla="*/ 1452711 w 2516810"/>
                <a:gd name="connsiteY3814" fmla="*/ 1503653 h 1504250"/>
                <a:gd name="connsiteX3815" fmla="*/ 2444170 w 2516810"/>
                <a:gd name="connsiteY3815" fmla="*/ 1503653 h 1504250"/>
                <a:gd name="connsiteX3816" fmla="*/ 2444170 w 2516810"/>
                <a:gd name="connsiteY3816" fmla="*/ 1499176 h 1504250"/>
                <a:gd name="connsiteX3817" fmla="*/ 2444269 w 2516810"/>
                <a:gd name="connsiteY3817" fmla="*/ 1494301 h 1504250"/>
                <a:gd name="connsiteX3818" fmla="*/ 2441181 w 2516810"/>
                <a:gd name="connsiteY3818" fmla="*/ 1486939 h 1504250"/>
                <a:gd name="connsiteX3819" fmla="*/ 2440284 w 2516810"/>
                <a:gd name="connsiteY3819" fmla="*/ 1484253 h 1504250"/>
                <a:gd name="connsiteX3820" fmla="*/ 2439287 w 2516810"/>
                <a:gd name="connsiteY3820" fmla="*/ 1482761 h 1504250"/>
                <a:gd name="connsiteX3821" fmla="*/ 2437095 w 2516810"/>
                <a:gd name="connsiteY3821" fmla="*/ 1477886 h 1504250"/>
                <a:gd name="connsiteX3822" fmla="*/ 2436597 w 2516810"/>
                <a:gd name="connsiteY3822" fmla="*/ 1474802 h 1504250"/>
                <a:gd name="connsiteX3823" fmla="*/ 2438291 w 2516810"/>
                <a:gd name="connsiteY3823" fmla="*/ 1479179 h 1504250"/>
                <a:gd name="connsiteX3824" fmla="*/ 2448255 w 2516810"/>
                <a:gd name="connsiteY3824" fmla="*/ 1497982 h 1504250"/>
                <a:gd name="connsiteX3825" fmla="*/ 2451743 w 2516810"/>
                <a:gd name="connsiteY3825" fmla="*/ 1500270 h 1504250"/>
                <a:gd name="connsiteX3826" fmla="*/ 2453138 w 2516810"/>
                <a:gd name="connsiteY3826" fmla="*/ 1503354 h 1504250"/>
                <a:gd name="connsiteX3827" fmla="*/ 2453138 w 2516810"/>
                <a:gd name="connsiteY3827" fmla="*/ 1504250 h 1504250"/>
                <a:gd name="connsiteX3828" fmla="*/ 2454234 w 2516810"/>
                <a:gd name="connsiteY3828" fmla="*/ 1504250 h 1504250"/>
                <a:gd name="connsiteX3829" fmla="*/ 2438390 w 2516810"/>
                <a:gd name="connsiteY3829" fmla="*/ 1474404 h 1504250"/>
                <a:gd name="connsiteX3830" fmla="*/ 2436995 w 2516810"/>
                <a:gd name="connsiteY3830" fmla="*/ 1469529 h 1504250"/>
                <a:gd name="connsiteX3831" fmla="*/ 2436995 w 2516810"/>
                <a:gd name="connsiteY3831" fmla="*/ 1453113 h 1504250"/>
                <a:gd name="connsiteX3832" fmla="*/ 2434305 w 2516810"/>
                <a:gd name="connsiteY3832" fmla="*/ 1444558 h 1504250"/>
                <a:gd name="connsiteX3833" fmla="*/ 2433607 w 2516810"/>
                <a:gd name="connsiteY3833" fmla="*/ 1443165 h 1504250"/>
                <a:gd name="connsiteX3834" fmla="*/ 2433109 w 2516810"/>
                <a:gd name="connsiteY3834" fmla="*/ 1441672 h 1504250"/>
                <a:gd name="connsiteX3835" fmla="*/ 2432013 w 2516810"/>
                <a:gd name="connsiteY3835" fmla="*/ 1434808 h 1504250"/>
                <a:gd name="connsiteX3836" fmla="*/ 2431415 w 2516810"/>
                <a:gd name="connsiteY3836" fmla="*/ 1433017 h 1504250"/>
                <a:gd name="connsiteX3837" fmla="*/ 2431415 w 2516810"/>
                <a:gd name="connsiteY3837" fmla="*/ 1429038 h 1504250"/>
                <a:gd name="connsiteX3838" fmla="*/ 2427629 w 2516810"/>
                <a:gd name="connsiteY3838" fmla="*/ 1415408 h 1504250"/>
                <a:gd name="connsiteX3839" fmla="*/ 2430120 w 2516810"/>
                <a:gd name="connsiteY3839" fmla="*/ 1404265 h 1504250"/>
                <a:gd name="connsiteX3840" fmla="*/ 2430120 w 2516810"/>
                <a:gd name="connsiteY3840" fmla="*/ 1400584 h 1504250"/>
                <a:gd name="connsiteX3841" fmla="*/ 2430120 w 2516810"/>
                <a:gd name="connsiteY3841" fmla="*/ 1398395 h 1504250"/>
                <a:gd name="connsiteX3842" fmla="*/ 2430120 w 2516810"/>
                <a:gd name="connsiteY3842" fmla="*/ 1397102 h 1504250"/>
                <a:gd name="connsiteX3843" fmla="*/ 2429323 w 2516810"/>
                <a:gd name="connsiteY3843" fmla="*/ 1397102 h 1504250"/>
                <a:gd name="connsiteX3844" fmla="*/ 2428127 w 2516810"/>
                <a:gd name="connsiteY3844" fmla="*/ 1398793 h 1504250"/>
                <a:gd name="connsiteX3845" fmla="*/ 2428127 w 2516810"/>
                <a:gd name="connsiteY3845" fmla="*/ 1400684 h 1504250"/>
                <a:gd name="connsiteX3846" fmla="*/ 2428625 w 2516810"/>
                <a:gd name="connsiteY3846" fmla="*/ 1404763 h 1504250"/>
                <a:gd name="connsiteX3847" fmla="*/ 2428625 w 2516810"/>
                <a:gd name="connsiteY3847" fmla="*/ 1406255 h 1504250"/>
                <a:gd name="connsiteX3848" fmla="*/ 2427529 w 2516810"/>
                <a:gd name="connsiteY3848" fmla="*/ 1407449 h 1504250"/>
                <a:gd name="connsiteX3849" fmla="*/ 2426134 w 2516810"/>
                <a:gd name="connsiteY3849" fmla="*/ 1408245 h 1504250"/>
                <a:gd name="connsiteX3850" fmla="*/ 2424540 w 2516810"/>
                <a:gd name="connsiteY3850" fmla="*/ 1408245 h 1504250"/>
                <a:gd name="connsiteX3851" fmla="*/ 2423444 w 2516810"/>
                <a:gd name="connsiteY3851" fmla="*/ 1407150 h 1504250"/>
                <a:gd name="connsiteX3852" fmla="*/ 2423444 w 2516810"/>
                <a:gd name="connsiteY3852" fmla="*/ 1405161 h 1504250"/>
                <a:gd name="connsiteX3853" fmla="*/ 2423942 w 2516810"/>
                <a:gd name="connsiteY3853" fmla="*/ 1403171 h 1504250"/>
                <a:gd name="connsiteX3854" fmla="*/ 2428227 w 2516810"/>
                <a:gd name="connsiteY3854" fmla="*/ 1393222 h 1504250"/>
                <a:gd name="connsiteX3855" fmla="*/ 2428227 w 2516810"/>
                <a:gd name="connsiteY3855" fmla="*/ 1390536 h 1504250"/>
                <a:gd name="connsiteX3856" fmla="*/ 2425736 w 2516810"/>
                <a:gd name="connsiteY3856" fmla="*/ 1387651 h 1504250"/>
                <a:gd name="connsiteX3857" fmla="*/ 2429124 w 2516810"/>
                <a:gd name="connsiteY3857" fmla="*/ 1388646 h 1504250"/>
                <a:gd name="connsiteX3858" fmla="*/ 2429921 w 2516810"/>
                <a:gd name="connsiteY3858" fmla="*/ 1388646 h 1504250"/>
                <a:gd name="connsiteX3859" fmla="*/ 2430618 w 2516810"/>
                <a:gd name="connsiteY3859" fmla="*/ 1387750 h 1504250"/>
                <a:gd name="connsiteX3860" fmla="*/ 2430618 w 2516810"/>
                <a:gd name="connsiteY3860" fmla="*/ 1385860 h 1504250"/>
                <a:gd name="connsiteX3861" fmla="*/ 2430618 w 2516810"/>
                <a:gd name="connsiteY3861" fmla="*/ 1384865 h 1504250"/>
                <a:gd name="connsiteX3862" fmla="*/ 2434803 w 2516810"/>
                <a:gd name="connsiteY3862" fmla="*/ 1380488 h 1504250"/>
                <a:gd name="connsiteX3863" fmla="*/ 2435800 w 2516810"/>
                <a:gd name="connsiteY3863" fmla="*/ 1378498 h 1504250"/>
                <a:gd name="connsiteX3864" fmla="*/ 2439586 w 2516810"/>
                <a:gd name="connsiteY3864" fmla="*/ 1364371 h 1504250"/>
                <a:gd name="connsiteX3865" fmla="*/ 2440882 w 2516810"/>
                <a:gd name="connsiteY3865" fmla="*/ 1362879 h 1504250"/>
                <a:gd name="connsiteX3866" fmla="*/ 2440882 w 2516810"/>
                <a:gd name="connsiteY3866" fmla="*/ 1365067 h 1504250"/>
                <a:gd name="connsiteX3867" fmla="*/ 2440882 w 2516810"/>
                <a:gd name="connsiteY3867" fmla="*/ 1372927 h 1504250"/>
                <a:gd name="connsiteX3868" fmla="*/ 2442276 w 2516810"/>
                <a:gd name="connsiteY3868" fmla="*/ 1356213 h 1504250"/>
                <a:gd name="connsiteX3869" fmla="*/ 2438988 w 2516810"/>
                <a:gd name="connsiteY3869" fmla="*/ 1317214 h 1504250"/>
                <a:gd name="connsiteX3870" fmla="*/ 2440284 w 2516810"/>
                <a:gd name="connsiteY3870" fmla="*/ 1292640 h 1504250"/>
                <a:gd name="connsiteX3871" fmla="*/ 2442376 w 2516810"/>
                <a:gd name="connsiteY3871" fmla="*/ 1279608 h 1504250"/>
                <a:gd name="connsiteX3872" fmla="*/ 2444768 w 2516810"/>
                <a:gd name="connsiteY3872" fmla="*/ 1251950 h 1504250"/>
                <a:gd name="connsiteX3873" fmla="*/ 2443472 w 2516810"/>
                <a:gd name="connsiteY3873" fmla="*/ 1247175 h 1504250"/>
                <a:gd name="connsiteX3874" fmla="*/ 2442276 w 2516810"/>
                <a:gd name="connsiteY3874" fmla="*/ 1251154 h 1504250"/>
                <a:gd name="connsiteX3875" fmla="*/ 2441679 w 2516810"/>
                <a:gd name="connsiteY3875" fmla="*/ 1260207 h 1504250"/>
                <a:gd name="connsiteX3876" fmla="*/ 2440882 w 2516810"/>
                <a:gd name="connsiteY3876" fmla="*/ 1263888 h 1504250"/>
                <a:gd name="connsiteX3877" fmla="*/ 2439985 w 2516810"/>
                <a:gd name="connsiteY3877" fmla="*/ 1263888 h 1504250"/>
                <a:gd name="connsiteX3878" fmla="*/ 2440882 w 2516810"/>
                <a:gd name="connsiteY3878" fmla="*/ 1251353 h 1504250"/>
                <a:gd name="connsiteX3879" fmla="*/ 2440184 w 2516810"/>
                <a:gd name="connsiteY3879" fmla="*/ 1247970 h 1504250"/>
                <a:gd name="connsiteX3880" fmla="*/ 2438490 w 2516810"/>
                <a:gd name="connsiteY3880" fmla="*/ 1246379 h 1504250"/>
                <a:gd name="connsiteX3881" fmla="*/ 2435700 w 2516810"/>
                <a:gd name="connsiteY3881" fmla="*/ 1246379 h 1504250"/>
                <a:gd name="connsiteX3882" fmla="*/ 2432213 w 2516810"/>
                <a:gd name="connsiteY3882" fmla="*/ 1246379 h 1504250"/>
                <a:gd name="connsiteX3883" fmla="*/ 2432213 w 2516810"/>
                <a:gd name="connsiteY3883" fmla="*/ 1245583 h 1504250"/>
                <a:gd name="connsiteX3884" fmla="*/ 2441181 w 2516810"/>
                <a:gd name="connsiteY3884" fmla="*/ 1246478 h 1504250"/>
                <a:gd name="connsiteX3885" fmla="*/ 2443472 w 2516810"/>
                <a:gd name="connsiteY3885" fmla="*/ 1245583 h 1504250"/>
                <a:gd name="connsiteX3886" fmla="*/ 2444469 w 2516810"/>
                <a:gd name="connsiteY3886" fmla="*/ 1243195 h 1504250"/>
                <a:gd name="connsiteX3887" fmla="*/ 2445266 w 2516810"/>
                <a:gd name="connsiteY3887" fmla="*/ 1221009 h 1504250"/>
                <a:gd name="connsiteX3888" fmla="*/ 2443871 w 2516810"/>
                <a:gd name="connsiteY3888" fmla="*/ 1240907 h 1504250"/>
                <a:gd name="connsiteX3889" fmla="*/ 2443074 w 2516810"/>
                <a:gd name="connsiteY3889" fmla="*/ 1242499 h 1504250"/>
                <a:gd name="connsiteX3890" fmla="*/ 2442476 w 2516810"/>
                <a:gd name="connsiteY3890" fmla="*/ 1230759 h 1504250"/>
                <a:gd name="connsiteX3891" fmla="*/ 2441479 w 2516810"/>
                <a:gd name="connsiteY3891" fmla="*/ 1224790 h 1504250"/>
                <a:gd name="connsiteX3892" fmla="*/ 2439686 w 2516810"/>
                <a:gd name="connsiteY3892" fmla="*/ 1221805 h 1504250"/>
                <a:gd name="connsiteX3893" fmla="*/ 2441181 w 2516810"/>
                <a:gd name="connsiteY3893" fmla="*/ 1219318 h 1504250"/>
                <a:gd name="connsiteX3894" fmla="*/ 2442177 w 2516810"/>
                <a:gd name="connsiteY3894" fmla="*/ 1215339 h 1504250"/>
                <a:gd name="connsiteX3895" fmla="*/ 2442177 w 2516810"/>
                <a:gd name="connsiteY3895" fmla="*/ 1211160 h 1504250"/>
                <a:gd name="connsiteX3896" fmla="*/ 2441280 w 2516810"/>
                <a:gd name="connsiteY3896" fmla="*/ 1207877 h 1504250"/>
                <a:gd name="connsiteX3897" fmla="*/ 2440383 w 2516810"/>
                <a:gd name="connsiteY3897" fmla="*/ 1210165 h 1504250"/>
                <a:gd name="connsiteX3898" fmla="*/ 2439088 w 2516810"/>
                <a:gd name="connsiteY3898" fmla="*/ 1208971 h 1504250"/>
                <a:gd name="connsiteX3899" fmla="*/ 2438291 w 2516810"/>
                <a:gd name="connsiteY3899" fmla="*/ 1205788 h 1504250"/>
                <a:gd name="connsiteX3900" fmla="*/ 2438291 w 2516810"/>
                <a:gd name="connsiteY3900" fmla="*/ 1202206 h 1504250"/>
                <a:gd name="connsiteX3901" fmla="*/ 2439188 w 2516810"/>
                <a:gd name="connsiteY3901" fmla="*/ 1202206 h 1504250"/>
                <a:gd name="connsiteX3902" fmla="*/ 2439188 w 2516810"/>
                <a:gd name="connsiteY3902" fmla="*/ 1203400 h 1504250"/>
                <a:gd name="connsiteX3903" fmla="*/ 2439188 w 2516810"/>
                <a:gd name="connsiteY3903" fmla="*/ 1204395 h 1504250"/>
                <a:gd name="connsiteX3904" fmla="*/ 2439188 w 2516810"/>
                <a:gd name="connsiteY3904" fmla="*/ 1205091 h 1504250"/>
                <a:gd name="connsiteX3905" fmla="*/ 2439885 w 2516810"/>
                <a:gd name="connsiteY3905" fmla="*/ 1205887 h 1504250"/>
                <a:gd name="connsiteX3906" fmla="*/ 2440583 w 2516810"/>
                <a:gd name="connsiteY3906" fmla="*/ 1204196 h 1504250"/>
                <a:gd name="connsiteX3907" fmla="*/ 2441081 w 2516810"/>
                <a:gd name="connsiteY3907" fmla="*/ 1201908 h 1504250"/>
                <a:gd name="connsiteX3908" fmla="*/ 2441778 w 2516810"/>
                <a:gd name="connsiteY3908" fmla="*/ 1194247 h 1504250"/>
                <a:gd name="connsiteX3909" fmla="*/ 2443074 w 2516810"/>
                <a:gd name="connsiteY3909" fmla="*/ 1188875 h 1504250"/>
                <a:gd name="connsiteX3910" fmla="*/ 2444469 w 2516810"/>
                <a:gd name="connsiteY3910" fmla="*/ 1163506 h 1504250"/>
                <a:gd name="connsiteX3911" fmla="*/ 2445665 w 2516810"/>
                <a:gd name="connsiteY3911" fmla="*/ 1158830 h 1504250"/>
                <a:gd name="connsiteX3912" fmla="*/ 2445665 w 2516810"/>
                <a:gd name="connsiteY3912" fmla="*/ 1156541 h 1504250"/>
                <a:gd name="connsiteX3913" fmla="*/ 2444867 w 2516810"/>
                <a:gd name="connsiteY3913" fmla="*/ 1153756 h 1504250"/>
                <a:gd name="connsiteX3914" fmla="*/ 2442974 w 2516810"/>
                <a:gd name="connsiteY3914" fmla="*/ 1153756 h 1504250"/>
                <a:gd name="connsiteX3915" fmla="*/ 2440782 w 2516810"/>
                <a:gd name="connsiteY3915" fmla="*/ 1155447 h 1504250"/>
                <a:gd name="connsiteX3916" fmla="*/ 2439088 w 2516810"/>
                <a:gd name="connsiteY3916" fmla="*/ 1157337 h 1504250"/>
                <a:gd name="connsiteX3917" fmla="*/ 2437294 w 2516810"/>
                <a:gd name="connsiteY3917" fmla="*/ 1158531 h 1504250"/>
                <a:gd name="connsiteX3918" fmla="*/ 2434803 w 2516810"/>
                <a:gd name="connsiteY3918" fmla="*/ 1158531 h 1504250"/>
                <a:gd name="connsiteX3919" fmla="*/ 2432512 w 2516810"/>
                <a:gd name="connsiteY3919" fmla="*/ 1157835 h 1504250"/>
                <a:gd name="connsiteX3920" fmla="*/ 2430817 w 2516810"/>
                <a:gd name="connsiteY3920" fmla="*/ 1156641 h 1504250"/>
                <a:gd name="connsiteX3921" fmla="*/ 2430020 w 2516810"/>
                <a:gd name="connsiteY3921" fmla="*/ 1154253 h 1504250"/>
                <a:gd name="connsiteX3922" fmla="*/ 2430020 w 2516810"/>
                <a:gd name="connsiteY3922" fmla="*/ 1151567 h 1504250"/>
                <a:gd name="connsiteX3923" fmla="*/ 2431515 w 2516810"/>
                <a:gd name="connsiteY3923" fmla="*/ 1146195 h 1504250"/>
                <a:gd name="connsiteX3924" fmla="*/ 2430419 w 2516810"/>
                <a:gd name="connsiteY3924" fmla="*/ 1147090 h 1504250"/>
                <a:gd name="connsiteX3925" fmla="*/ 2429024 w 2516810"/>
                <a:gd name="connsiteY3925" fmla="*/ 1147090 h 1504250"/>
                <a:gd name="connsiteX3926" fmla="*/ 2428027 w 2516810"/>
                <a:gd name="connsiteY3926" fmla="*/ 1146095 h 1504250"/>
                <a:gd name="connsiteX3927" fmla="*/ 2428027 w 2516810"/>
                <a:gd name="connsiteY3927" fmla="*/ 1144105 h 1504250"/>
                <a:gd name="connsiteX3928" fmla="*/ 2429024 w 2516810"/>
                <a:gd name="connsiteY3928" fmla="*/ 1143011 h 1504250"/>
                <a:gd name="connsiteX3929" fmla="*/ 2430618 w 2516810"/>
                <a:gd name="connsiteY3929" fmla="*/ 1142016 h 1504250"/>
                <a:gd name="connsiteX3930" fmla="*/ 2431615 w 2516810"/>
                <a:gd name="connsiteY3930" fmla="*/ 1140723 h 1504250"/>
                <a:gd name="connsiteX3931" fmla="*/ 2430618 w 2516810"/>
                <a:gd name="connsiteY3931" fmla="*/ 1138634 h 1504250"/>
                <a:gd name="connsiteX3932" fmla="*/ 2432113 w 2516810"/>
                <a:gd name="connsiteY3932" fmla="*/ 1139728 h 1504250"/>
                <a:gd name="connsiteX3933" fmla="*/ 2433707 w 2516810"/>
                <a:gd name="connsiteY3933" fmla="*/ 1140226 h 1504250"/>
                <a:gd name="connsiteX3934" fmla="*/ 2435401 w 2516810"/>
                <a:gd name="connsiteY3934" fmla="*/ 1140226 h 1504250"/>
                <a:gd name="connsiteX3935" fmla="*/ 2436696 w 2516810"/>
                <a:gd name="connsiteY3935" fmla="*/ 1138932 h 1504250"/>
                <a:gd name="connsiteX3936" fmla="*/ 2437992 w 2516810"/>
                <a:gd name="connsiteY3936" fmla="*/ 1139728 h 1504250"/>
                <a:gd name="connsiteX3937" fmla="*/ 2437992 w 2516810"/>
                <a:gd name="connsiteY3937" fmla="*/ 1140424 h 1504250"/>
                <a:gd name="connsiteX3938" fmla="*/ 2437992 w 2516810"/>
                <a:gd name="connsiteY3938" fmla="*/ 1141320 h 1504250"/>
                <a:gd name="connsiteX3939" fmla="*/ 2437992 w 2516810"/>
                <a:gd name="connsiteY3939" fmla="*/ 1142713 h 1504250"/>
                <a:gd name="connsiteX3940" fmla="*/ 2437095 w 2516810"/>
                <a:gd name="connsiteY3940" fmla="*/ 1143608 h 1504250"/>
                <a:gd name="connsiteX3941" fmla="*/ 2437095 w 2516810"/>
                <a:gd name="connsiteY3941" fmla="*/ 1144205 h 1504250"/>
                <a:gd name="connsiteX3942" fmla="*/ 2437693 w 2516810"/>
                <a:gd name="connsiteY3942" fmla="*/ 1144205 h 1504250"/>
                <a:gd name="connsiteX3943" fmla="*/ 2437693 w 2516810"/>
                <a:gd name="connsiteY3943" fmla="*/ 1144205 h 1504250"/>
                <a:gd name="connsiteX3944" fmla="*/ 2438590 w 2516810"/>
                <a:gd name="connsiteY3944" fmla="*/ 1144902 h 1504250"/>
                <a:gd name="connsiteX3945" fmla="*/ 2438590 w 2516810"/>
                <a:gd name="connsiteY3945" fmla="*/ 1144902 h 1504250"/>
                <a:gd name="connsiteX3946" fmla="*/ 2439686 w 2516810"/>
                <a:gd name="connsiteY3946" fmla="*/ 1148085 h 1504250"/>
                <a:gd name="connsiteX3947" fmla="*/ 2440184 w 2516810"/>
                <a:gd name="connsiteY3947" fmla="*/ 1148781 h 1504250"/>
                <a:gd name="connsiteX3948" fmla="*/ 2441878 w 2516810"/>
                <a:gd name="connsiteY3948" fmla="*/ 1149776 h 1504250"/>
                <a:gd name="connsiteX3949" fmla="*/ 2443174 w 2516810"/>
                <a:gd name="connsiteY3949" fmla="*/ 1149776 h 1504250"/>
                <a:gd name="connsiteX3950" fmla="*/ 2443672 w 2516810"/>
                <a:gd name="connsiteY3950" fmla="*/ 1148981 h 1504250"/>
                <a:gd name="connsiteX3951" fmla="*/ 2444269 w 2516810"/>
                <a:gd name="connsiteY3951" fmla="*/ 1144205 h 1504250"/>
                <a:gd name="connsiteX3952" fmla="*/ 2448953 w 2516810"/>
                <a:gd name="connsiteY3952" fmla="*/ 1129680 h 1504250"/>
                <a:gd name="connsiteX3953" fmla="*/ 2449551 w 2516810"/>
                <a:gd name="connsiteY3953" fmla="*/ 1122119 h 1504250"/>
                <a:gd name="connsiteX3954" fmla="*/ 2449551 w 2516810"/>
                <a:gd name="connsiteY3954" fmla="*/ 1119333 h 1504250"/>
                <a:gd name="connsiteX3955" fmla="*/ 2448654 w 2516810"/>
                <a:gd name="connsiteY3955" fmla="*/ 1119333 h 1504250"/>
                <a:gd name="connsiteX3956" fmla="*/ 2447558 w 2516810"/>
                <a:gd name="connsiteY3956" fmla="*/ 1123114 h 1504250"/>
                <a:gd name="connsiteX3957" fmla="*/ 2445665 w 2516810"/>
                <a:gd name="connsiteY3957" fmla="*/ 1122019 h 1504250"/>
                <a:gd name="connsiteX3958" fmla="*/ 2444469 w 2516810"/>
                <a:gd name="connsiteY3958" fmla="*/ 1119035 h 1504250"/>
                <a:gd name="connsiteX3959" fmla="*/ 2445565 w 2516810"/>
                <a:gd name="connsiteY3959" fmla="*/ 1117443 h 1504250"/>
                <a:gd name="connsiteX3960" fmla="*/ 2447259 w 2516810"/>
                <a:gd name="connsiteY3960" fmla="*/ 1115752 h 1504250"/>
                <a:gd name="connsiteX3961" fmla="*/ 2446661 w 2516810"/>
                <a:gd name="connsiteY3961" fmla="*/ 1112270 h 1504250"/>
                <a:gd name="connsiteX3962" fmla="*/ 2444369 w 2516810"/>
                <a:gd name="connsiteY3962" fmla="*/ 1106599 h 1504250"/>
                <a:gd name="connsiteX3963" fmla="*/ 2444967 w 2516810"/>
                <a:gd name="connsiteY3963" fmla="*/ 1105305 h 1504250"/>
                <a:gd name="connsiteX3964" fmla="*/ 2445764 w 2516810"/>
                <a:gd name="connsiteY3964" fmla="*/ 1104211 h 1504250"/>
                <a:gd name="connsiteX3965" fmla="*/ 2445764 w 2516810"/>
                <a:gd name="connsiteY3965" fmla="*/ 1103515 h 1504250"/>
                <a:gd name="connsiteX3966" fmla="*/ 2443771 w 2516810"/>
                <a:gd name="connsiteY3966" fmla="*/ 1103515 h 1504250"/>
                <a:gd name="connsiteX3967" fmla="*/ 2442675 w 2516810"/>
                <a:gd name="connsiteY3967" fmla="*/ 1102619 h 1504250"/>
                <a:gd name="connsiteX3968" fmla="*/ 2441978 w 2516810"/>
                <a:gd name="connsiteY3968" fmla="*/ 1100630 h 1504250"/>
                <a:gd name="connsiteX3969" fmla="*/ 2441978 w 2516810"/>
                <a:gd name="connsiteY3969" fmla="*/ 1098441 h 1504250"/>
                <a:gd name="connsiteX3970" fmla="*/ 2442575 w 2516810"/>
                <a:gd name="connsiteY3970" fmla="*/ 1097048 h 1504250"/>
                <a:gd name="connsiteX3971" fmla="*/ 2448953 w 2516810"/>
                <a:gd name="connsiteY3971" fmla="*/ 1097048 h 1504250"/>
                <a:gd name="connsiteX3972" fmla="*/ 2450148 w 2516810"/>
                <a:gd name="connsiteY3972" fmla="*/ 1097048 h 1504250"/>
                <a:gd name="connsiteX3973" fmla="*/ 2451245 w 2516810"/>
                <a:gd name="connsiteY3973" fmla="*/ 1096153 h 1504250"/>
                <a:gd name="connsiteX3974" fmla="*/ 2452938 w 2516810"/>
                <a:gd name="connsiteY3974" fmla="*/ 1093566 h 1504250"/>
                <a:gd name="connsiteX3975" fmla="*/ 2452241 w 2516810"/>
                <a:gd name="connsiteY3975" fmla="*/ 1091775 h 1504250"/>
                <a:gd name="connsiteX3976" fmla="*/ 2452241 w 2516810"/>
                <a:gd name="connsiteY3976" fmla="*/ 1090880 h 1504250"/>
                <a:gd name="connsiteX3977" fmla="*/ 2453536 w 2516810"/>
                <a:gd name="connsiteY3977" fmla="*/ 1090880 h 1504250"/>
                <a:gd name="connsiteX3978" fmla="*/ 2455131 w 2516810"/>
                <a:gd name="connsiteY3978" fmla="*/ 1091676 h 1504250"/>
                <a:gd name="connsiteX3979" fmla="*/ 2455131 w 2516810"/>
                <a:gd name="connsiteY3979" fmla="*/ 1089587 h 1504250"/>
                <a:gd name="connsiteX3980" fmla="*/ 2455131 w 2516810"/>
                <a:gd name="connsiteY3980" fmla="*/ 1088393 h 1504250"/>
                <a:gd name="connsiteX3981" fmla="*/ 2454433 w 2516810"/>
                <a:gd name="connsiteY3981" fmla="*/ 1087597 h 1504250"/>
                <a:gd name="connsiteX3982" fmla="*/ 2452042 w 2516810"/>
                <a:gd name="connsiteY3982" fmla="*/ 1085906 h 1504250"/>
                <a:gd name="connsiteX3983" fmla="*/ 2450248 w 2516810"/>
                <a:gd name="connsiteY3983" fmla="*/ 1085010 h 1504250"/>
                <a:gd name="connsiteX3984" fmla="*/ 2448455 w 2516810"/>
                <a:gd name="connsiteY3984" fmla="*/ 1084314 h 1504250"/>
                <a:gd name="connsiteX3985" fmla="*/ 2446960 w 2516810"/>
                <a:gd name="connsiteY3985" fmla="*/ 1084314 h 1504250"/>
                <a:gd name="connsiteX3986" fmla="*/ 2445864 w 2516810"/>
                <a:gd name="connsiteY3986" fmla="*/ 1084314 h 1504250"/>
                <a:gd name="connsiteX3987" fmla="*/ 2444967 w 2516810"/>
                <a:gd name="connsiteY3987" fmla="*/ 1083418 h 1504250"/>
                <a:gd name="connsiteX3988" fmla="*/ 2444269 w 2516810"/>
                <a:gd name="connsiteY3988" fmla="*/ 1082423 h 1504250"/>
                <a:gd name="connsiteX3989" fmla="*/ 2444269 w 2516810"/>
                <a:gd name="connsiteY3989" fmla="*/ 1081329 h 1504250"/>
                <a:gd name="connsiteX3990" fmla="*/ 2443472 w 2516810"/>
                <a:gd name="connsiteY3990" fmla="*/ 1081329 h 1504250"/>
                <a:gd name="connsiteX3991" fmla="*/ 2441479 w 2516810"/>
                <a:gd name="connsiteY3991" fmla="*/ 1081926 h 1504250"/>
                <a:gd name="connsiteX3992" fmla="*/ 2439387 w 2516810"/>
                <a:gd name="connsiteY3992" fmla="*/ 1082821 h 1504250"/>
                <a:gd name="connsiteX3993" fmla="*/ 2438191 w 2516810"/>
                <a:gd name="connsiteY3993" fmla="*/ 1083816 h 1504250"/>
                <a:gd name="connsiteX3994" fmla="*/ 2440483 w 2516810"/>
                <a:gd name="connsiteY3994" fmla="*/ 1081727 h 1504250"/>
                <a:gd name="connsiteX3995" fmla="*/ 2442476 w 2516810"/>
                <a:gd name="connsiteY3995" fmla="*/ 1078941 h 1504250"/>
                <a:gd name="connsiteX3996" fmla="*/ 2443771 w 2516810"/>
                <a:gd name="connsiteY3996" fmla="*/ 1075459 h 1504250"/>
                <a:gd name="connsiteX3997" fmla="*/ 2445365 w 2516810"/>
                <a:gd name="connsiteY3997" fmla="*/ 1061631 h 1504250"/>
                <a:gd name="connsiteX3998" fmla="*/ 2447159 w 2516810"/>
                <a:gd name="connsiteY3998" fmla="*/ 1059143 h 1504250"/>
                <a:gd name="connsiteX3999" fmla="*/ 2447757 w 2516810"/>
                <a:gd name="connsiteY3999" fmla="*/ 1057352 h 1504250"/>
                <a:gd name="connsiteX4000" fmla="*/ 2447757 w 2516810"/>
                <a:gd name="connsiteY4000" fmla="*/ 1054368 h 1504250"/>
                <a:gd name="connsiteX4001" fmla="*/ 2446860 w 2516810"/>
                <a:gd name="connsiteY4001" fmla="*/ 1049692 h 1504250"/>
                <a:gd name="connsiteX4002" fmla="*/ 2445465 w 2516810"/>
                <a:gd name="connsiteY4002" fmla="*/ 1045713 h 1504250"/>
                <a:gd name="connsiteX4003" fmla="*/ 2444070 w 2516810"/>
                <a:gd name="connsiteY4003" fmla="*/ 1044618 h 1504250"/>
                <a:gd name="connsiteX4004" fmla="*/ 2442575 w 2516810"/>
                <a:gd name="connsiteY4004" fmla="*/ 1045116 h 1504250"/>
                <a:gd name="connsiteX4005" fmla="*/ 2440782 w 2516810"/>
                <a:gd name="connsiteY4005" fmla="*/ 1044519 h 1504250"/>
                <a:gd name="connsiteX4006" fmla="*/ 2438889 w 2516810"/>
                <a:gd name="connsiteY4006" fmla="*/ 1043723 h 1504250"/>
                <a:gd name="connsiteX4007" fmla="*/ 2437195 w 2516810"/>
                <a:gd name="connsiteY4007" fmla="*/ 1043225 h 1504250"/>
                <a:gd name="connsiteX4008" fmla="*/ 2436397 w 2516810"/>
                <a:gd name="connsiteY4008" fmla="*/ 1043225 h 1504250"/>
                <a:gd name="connsiteX4009" fmla="*/ 2434106 w 2516810"/>
                <a:gd name="connsiteY4009" fmla="*/ 1043822 h 1504250"/>
                <a:gd name="connsiteX4010" fmla="*/ 2436397 w 2516810"/>
                <a:gd name="connsiteY4010" fmla="*/ 1042230 h 1504250"/>
                <a:gd name="connsiteX4011" fmla="*/ 2437593 w 2516810"/>
                <a:gd name="connsiteY4011" fmla="*/ 1041534 h 1504250"/>
                <a:gd name="connsiteX4012" fmla="*/ 2438889 w 2516810"/>
                <a:gd name="connsiteY4012" fmla="*/ 1041534 h 1504250"/>
                <a:gd name="connsiteX4013" fmla="*/ 2441978 w 2516810"/>
                <a:gd name="connsiteY4013" fmla="*/ 1043026 h 1504250"/>
                <a:gd name="connsiteX4014" fmla="*/ 2443771 w 2516810"/>
                <a:gd name="connsiteY4014" fmla="*/ 1043623 h 1504250"/>
                <a:gd name="connsiteX4015" fmla="*/ 2444568 w 2516810"/>
                <a:gd name="connsiteY4015" fmla="*/ 1042927 h 1504250"/>
                <a:gd name="connsiteX4016" fmla="*/ 2444568 w 2516810"/>
                <a:gd name="connsiteY4016" fmla="*/ 1041335 h 1504250"/>
                <a:gd name="connsiteX4017" fmla="*/ 2444568 w 2516810"/>
                <a:gd name="connsiteY4017" fmla="*/ 1039345 h 1504250"/>
                <a:gd name="connsiteX4018" fmla="*/ 2445266 w 2516810"/>
                <a:gd name="connsiteY4018" fmla="*/ 1037554 h 1504250"/>
                <a:gd name="connsiteX4019" fmla="*/ 2446063 w 2516810"/>
                <a:gd name="connsiteY4019" fmla="*/ 1036759 h 1504250"/>
                <a:gd name="connsiteX4020" fmla="*/ 2446761 w 2516810"/>
                <a:gd name="connsiteY4020" fmla="*/ 1036062 h 1504250"/>
                <a:gd name="connsiteX4021" fmla="*/ 2447458 w 2516810"/>
                <a:gd name="connsiteY4021" fmla="*/ 1031088 h 1504250"/>
                <a:gd name="connsiteX4022" fmla="*/ 2446661 w 2516810"/>
                <a:gd name="connsiteY4022" fmla="*/ 1029596 h 1504250"/>
                <a:gd name="connsiteX4023" fmla="*/ 2446661 w 2516810"/>
                <a:gd name="connsiteY4023" fmla="*/ 1028800 h 1504250"/>
                <a:gd name="connsiteX4024" fmla="*/ 2447856 w 2516810"/>
                <a:gd name="connsiteY4024" fmla="*/ 1028800 h 1504250"/>
                <a:gd name="connsiteX4025" fmla="*/ 2448455 w 2516810"/>
                <a:gd name="connsiteY4025" fmla="*/ 1028800 h 1504250"/>
                <a:gd name="connsiteX4026" fmla="*/ 2449351 w 2516810"/>
                <a:gd name="connsiteY4026" fmla="*/ 1028800 h 1504250"/>
                <a:gd name="connsiteX4027" fmla="*/ 2450049 w 2516810"/>
                <a:gd name="connsiteY4027" fmla="*/ 1028800 h 1504250"/>
                <a:gd name="connsiteX4028" fmla="*/ 2450049 w 2516810"/>
                <a:gd name="connsiteY4028" fmla="*/ 1028800 h 1504250"/>
                <a:gd name="connsiteX4029" fmla="*/ 2453237 w 2516810"/>
                <a:gd name="connsiteY4029" fmla="*/ 1028800 h 1504250"/>
                <a:gd name="connsiteX4030" fmla="*/ 2454533 w 2516810"/>
                <a:gd name="connsiteY4030" fmla="*/ 1028800 h 1504250"/>
                <a:gd name="connsiteX4031" fmla="*/ 2455330 w 2516810"/>
                <a:gd name="connsiteY4031" fmla="*/ 1028800 h 1504250"/>
                <a:gd name="connsiteX4032" fmla="*/ 2456127 w 2516810"/>
                <a:gd name="connsiteY4032" fmla="*/ 1029894 h 1504250"/>
                <a:gd name="connsiteX4033" fmla="*/ 2456127 w 2516810"/>
                <a:gd name="connsiteY4033" fmla="*/ 1030988 h 1504250"/>
                <a:gd name="connsiteX4034" fmla="*/ 2455131 w 2516810"/>
                <a:gd name="connsiteY4034" fmla="*/ 1031983 h 1504250"/>
                <a:gd name="connsiteX4035" fmla="*/ 2453636 w 2516810"/>
                <a:gd name="connsiteY4035" fmla="*/ 1031983 h 1504250"/>
                <a:gd name="connsiteX4036" fmla="*/ 2455430 w 2516810"/>
                <a:gd name="connsiteY4036" fmla="*/ 1033078 h 1504250"/>
                <a:gd name="connsiteX4037" fmla="*/ 2453736 w 2516810"/>
                <a:gd name="connsiteY4037" fmla="*/ 1033973 h 1504250"/>
                <a:gd name="connsiteX4038" fmla="*/ 2453736 w 2516810"/>
                <a:gd name="connsiteY4038" fmla="*/ 1034769 h 1504250"/>
                <a:gd name="connsiteX4039" fmla="*/ 2455131 w 2516810"/>
                <a:gd name="connsiteY4039" fmla="*/ 1035366 h 1504250"/>
                <a:gd name="connsiteX4040" fmla="*/ 2456825 w 2516810"/>
                <a:gd name="connsiteY4040" fmla="*/ 1035366 h 1504250"/>
                <a:gd name="connsiteX4041" fmla="*/ 2458020 w 2516810"/>
                <a:gd name="connsiteY4041" fmla="*/ 1035366 h 1504250"/>
                <a:gd name="connsiteX4042" fmla="*/ 2462006 w 2516810"/>
                <a:gd name="connsiteY4042" fmla="*/ 1034570 h 1504250"/>
                <a:gd name="connsiteX4043" fmla="*/ 2463302 w 2516810"/>
                <a:gd name="connsiteY4043" fmla="*/ 1035565 h 1504250"/>
                <a:gd name="connsiteX4044" fmla="*/ 2463302 w 2516810"/>
                <a:gd name="connsiteY4044" fmla="*/ 1038151 h 1504250"/>
                <a:gd name="connsiteX4045" fmla="*/ 2464298 w 2516810"/>
                <a:gd name="connsiteY4045" fmla="*/ 1039146 h 1504250"/>
                <a:gd name="connsiteX4046" fmla="*/ 2465793 w 2516810"/>
                <a:gd name="connsiteY4046" fmla="*/ 1039146 h 1504250"/>
                <a:gd name="connsiteX4047" fmla="*/ 2466889 w 2516810"/>
                <a:gd name="connsiteY4047" fmla="*/ 1037953 h 1504250"/>
                <a:gd name="connsiteX4048" fmla="*/ 2467586 w 2516810"/>
                <a:gd name="connsiteY4048" fmla="*/ 1036162 h 1504250"/>
                <a:gd name="connsiteX4049" fmla="*/ 2467586 w 2516810"/>
                <a:gd name="connsiteY4049" fmla="*/ 1034570 h 1504250"/>
                <a:gd name="connsiteX4050" fmla="*/ 2465693 w 2516810"/>
                <a:gd name="connsiteY4050" fmla="*/ 1034570 h 1504250"/>
                <a:gd name="connsiteX4051" fmla="*/ 2465693 w 2516810"/>
                <a:gd name="connsiteY4051" fmla="*/ 1033475 h 1504250"/>
                <a:gd name="connsiteX4052" fmla="*/ 2465693 w 2516810"/>
                <a:gd name="connsiteY4052" fmla="*/ 1031585 h 1504250"/>
                <a:gd name="connsiteX4053" fmla="*/ 2464995 w 2516810"/>
                <a:gd name="connsiteY4053" fmla="*/ 1029496 h 1504250"/>
                <a:gd name="connsiteX4054" fmla="*/ 2466291 w 2516810"/>
                <a:gd name="connsiteY4054" fmla="*/ 1027307 h 1504250"/>
                <a:gd name="connsiteX4055" fmla="*/ 2468981 w 2516810"/>
                <a:gd name="connsiteY4055" fmla="*/ 1023626 h 1504250"/>
                <a:gd name="connsiteX4056" fmla="*/ 2470177 w 2516810"/>
                <a:gd name="connsiteY4056" fmla="*/ 1021040 h 1504250"/>
                <a:gd name="connsiteX4057" fmla="*/ 2467486 w 2516810"/>
                <a:gd name="connsiteY4057" fmla="*/ 1020343 h 1504250"/>
                <a:gd name="connsiteX4058" fmla="*/ 2465593 w 2516810"/>
                <a:gd name="connsiteY4058" fmla="*/ 1017955 h 1504250"/>
                <a:gd name="connsiteX4059" fmla="*/ 2465593 w 2516810"/>
                <a:gd name="connsiteY4059" fmla="*/ 1015269 h 1504250"/>
                <a:gd name="connsiteX4060" fmla="*/ 2468483 w 2516810"/>
                <a:gd name="connsiteY4060" fmla="*/ 1013479 h 1504250"/>
                <a:gd name="connsiteX4061" fmla="*/ 2473665 w 2516810"/>
                <a:gd name="connsiteY4061" fmla="*/ 1016364 h 1504250"/>
                <a:gd name="connsiteX4062" fmla="*/ 2474462 w 2516810"/>
                <a:gd name="connsiteY4062" fmla="*/ 1017160 h 1504250"/>
                <a:gd name="connsiteX4063" fmla="*/ 2475259 w 2516810"/>
                <a:gd name="connsiteY4063" fmla="*/ 1018155 h 1504250"/>
                <a:gd name="connsiteX4064" fmla="*/ 2476255 w 2516810"/>
                <a:gd name="connsiteY4064" fmla="*/ 1018950 h 1504250"/>
                <a:gd name="connsiteX4065" fmla="*/ 2477949 w 2516810"/>
                <a:gd name="connsiteY4065" fmla="*/ 1018950 h 1504250"/>
                <a:gd name="connsiteX4066" fmla="*/ 2481237 w 2516810"/>
                <a:gd name="connsiteY4066" fmla="*/ 1018950 h 1504250"/>
                <a:gd name="connsiteX4067" fmla="*/ 2482632 w 2516810"/>
                <a:gd name="connsiteY4067" fmla="*/ 1020642 h 1504250"/>
                <a:gd name="connsiteX4068" fmla="*/ 2481935 w 2516810"/>
                <a:gd name="connsiteY4068" fmla="*/ 1022433 h 1504250"/>
                <a:gd name="connsiteX4069" fmla="*/ 2479344 w 2516810"/>
                <a:gd name="connsiteY4069" fmla="*/ 1023228 h 1504250"/>
                <a:gd name="connsiteX4070" fmla="*/ 2478248 w 2516810"/>
                <a:gd name="connsiteY4070" fmla="*/ 1023925 h 1504250"/>
                <a:gd name="connsiteX4071" fmla="*/ 2478248 w 2516810"/>
                <a:gd name="connsiteY4071" fmla="*/ 1025218 h 1504250"/>
                <a:gd name="connsiteX4072" fmla="*/ 2479245 w 2516810"/>
                <a:gd name="connsiteY4072" fmla="*/ 1026710 h 1504250"/>
                <a:gd name="connsiteX4073" fmla="*/ 2479245 w 2516810"/>
                <a:gd name="connsiteY4073" fmla="*/ 1027506 h 1504250"/>
                <a:gd name="connsiteX4074" fmla="*/ 2478746 w 2516810"/>
                <a:gd name="connsiteY4074" fmla="*/ 1028601 h 1504250"/>
                <a:gd name="connsiteX4075" fmla="*/ 2478746 w 2516810"/>
                <a:gd name="connsiteY4075" fmla="*/ 1032083 h 1504250"/>
                <a:gd name="connsiteX4076" fmla="*/ 2479245 w 2516810"/>
                <a:gd name="connsiteY4076" fmla="*/ 1033177 h 1504250"/>
                <a:gd name="connsiteX4077" fmla="*/ 2479245 w 2516810"/>
                <a:gd name="connsiteY4077" fmla="*/ 1037356 h 1504250"/>
                <a:gd name="connsiteX4078" fmla="*/ 2476654 w 2516810"/>
                <a:gd name="connsiteY4078" fmla="*/ 1043325 h 1504250"/>
                <a:gd name="connsiteX4079" fmla="*/ 2470974 w 2516810"/>
                <a:gd name="connsiteY4079" fmla="*/ 1052677 h 1504250"/>
                <a:gd name="connsiteX4080" fmla="*/ 2470974 w 2516810"/>
                <a:gd name="connsiteY4080" fmla="*/ 1049692 h 1504250"/>
                <a:gd name="connsiteX4081" fmla="*/ 2474163 w 2516810"/>
                <a:gd name="connsiteY4081" fmla="*/ 1049692 h 1504250"/>
                <a:gd name="connsiteX4082" fmla="*/ 2471970 w 2516810"/>
                <a:gd name="connsiteY4082" fmla="*/ 1061034 h 1504250"/>
                <a:gd name="connsiteX4083" fmla="*/ 2471970 w 2516810"/>
                <a:gd name="connsiteY4083" fmla="*/ 1062228 h 1504250"/>
                <a:gd name="connsiteX4084" fmla="*/ 2467586 w 2516810"/>
                <a:gd name="connsiteY4084" fmla="*/ 1069589 h 1504250"/>
                <a:gd name="connsiteX4085" fmla="*/ 2467586 w 2516810"/>
                <a:gd name="connsiteY4085" fmla="*/ 1072574 h 1504250"/>
                <a:gd name="connsiteX4086" fmla="*/ 2468184 w 2516810"/>
                <a:gd name="connsiteY4086" fmla="*/ 1075559 h 1504250"/>
                <a:gd name="connsiteX4087" fmla="*/ 2468184 w 2516810"/>
                <a:gd name="connsiteY4087" fmla="*/ 1078444 h 1504250"/>
                <a:gd name="connsiteX4088" fmla="*/ 2465494 w 2516810"/>
                <a:gd name="connsiteY4088" fmla="*/ 1082523 h 1504250"/>
                <a:gd name="connsiteX4089" fmla="*/ 2465494 w 2516810"/>
                <a:gd name="connsiteY4089" fmla="*/ 1084015 h 1504250"/>
                <a:gd name="connsiteX4090" fmla="*/ 2464995 w 2516810"/>
                <a:gd name="connsiteY4090" fmla="*/ 1089089 h 1504250"/>
                <a:gd name="connsiteX4091" fmla="*/ 2464397 w 2516810"/>
                <a:gd name="connsiteY4091" fmla="*/ 1090382 h 1504250"/>
                <a:gd name="connsiteX4092" fmla="*/ 2463501 w 2516810"/>
                <a:gd name="connsiteY4092" fmla="*/ 1091676 h 1504250"/>
                <a:gd name="connsiteX4093" fmla="*/ 2462704 w 2516810"/>
                <a:gd name="connsiteY4093" fmla="*/ 1093268 h 1504250"/>
                <a:gd name="connsiteX4094" fmla="*/ 2461209 w 2516810"/>
                <a:gd name="connsiteY4094" fmla="*/ 1098242 h 1504250"/>
                <a:gd name="connsiteX4095" fmla="*/ 2458419 w 2516810"/>
                <a:gd name="connsiteY4095" fmla="*/ 1115851 h 1504250"/>
                <a:gd name="connsiteX4096" fmla="*/ 2452241 w 2516810"/>
                <a:gd name="connsiteY4096" fmla="*/ 1138534 h 1504250"/>
                <a:gd name="connsiteX4097" fmla="*/ 2449650 w 2516810"/>
                <a:gd name="connsiteY4097" fmla="*/ 1162212 h 1504250"/>
                <a:gd name="connsiteX4098" fmla="*/ 2446761 w 2516810"/>
                <a:gd name="connsiteY4098" fmla="*/ 1180916 h 1504250"/>
                <a:gd name="connsiteX4099" fmla="*/ 2444768 w 2516810"/>
                <a:gd name="connsiteY4099" fmla="*/ 1209170 h 1504250"/>
                <a:gd name="connsiteX4100" fmla="*/ 2444768 w 2516810"/>
                <a:gd name="connsiteY4100" fmla="*/ 1208375 h 1504250"/>
                <a:gd name="connsiteX4101" fmla="*/ 2445266 w 2516810"/>
                <a:gd name="connsiteY4101" fmla="*/ 1203599 h 1504250"/>
                <a:gd name="connsiteX4102" fmla="*/ 2452440 w 2516810"/>
                <a:gd name="connsiteY4102" fmla="*/ 1144603 h 1504250"/>
                <a:gd name="connsiteX4103" fmla="*/ 2464597 w 2516810"/>
                <a:gd name="connsiteY4103" fmla="*/ 1099237 h 1504250"/>
                <a:gd name="connsiteX4104" fmla="*/ 2476654 w 2516810"/>
                <a:gd name="connsiteY4104" fmla="*/ 1053771 h 1504250"/>
                <a:gd name="connsiteX4105" fmla="*/ 2494291 w 2516810"/>
                <a:gd name="connsiteY4105" fmla="*/ 1024920 h 1504250"/>
                <a:gd name="connsiteX4106" fmla="*/ 2501565 w 2516810"/>
                <a:gd name="connsiteY4106" fmla="*/ 1009897 h 1504250"/>
                <a:gd name="connsiteX4107" fmla="*/ 2506148 w 2516810"/>
                <a:gd name="connsiteY4107" fmla="*/ 998158 h 1504250"/>
                <a:gd name="connsiteX4108" fmla="*/ 2509536 w 2516810"/>
                <a:gd name="connsiteY4108" fmla="*/ 989601 h 1504250"/>
                <a:gd name="connsiteX4109" fmla="*/ 2511031 w 2516810"/>
                <a:gd name="connsiteY4109" fmla="*/ 984030 h 1504250"/>
                <a:gd name="connsiteX4110" fmla="*/ 2512526 w 2516810"/>
                <a:gd name="connsiteY4110" fmla="*/ 981742 h 1504250"/>
                <a:gd name="connsiteX4111" fmla="*/ 2513721 w 2516810"/>
                <a:gd name="connsiteY4111" fmla="*/ 979056 h 1504250"/>
                <a:gd name="connsiteX4112" fmla="*/ 2513721 w 2516810"/>
                <a:gd name="connsiteY4112" fmla="*/ 972689 h 1504250"/>
                <a:gd name="connsiteX4113" fmla="*/ 2514618 w 2516810"/>
                <a:gd name="connsiteY4113" fmla="*/ 970002 h 1504250"/>
                <a:gd name="connsiteX4114" fmla="*/ 2513323 w 2516810"/>
                <a:gd name="connsiteY4114" fmla="*/ 964630 h 1504250"/>
                <a:gd name="connsiteX4115" fmla="*/ 2516810 w 2516810"/>
                <a:gd name="connsiteY4115" fmla="*/ 945727 h 1504250"/>
                <a:gd name="connsiteX4116" fmla="*/ 729395 w 2516810"/>
                <a:gd name="connsiteY4116" fmla="*/ 966222 h 1504250"/>
                <a:gd name="connsiteX4117" fmla="*/ 729395 w 2516810"/>
                <a:gd name="connsiteY4117" fmla="*/ 966222 h 1504250"/>
                <a:gd name="connsiteX4118" fmla="*/ 729395 w 2516810"/>
                <a:gd name="connsiteY4118" fmla="*/ 967615 h 1504250"/>
                <a:gd name="connsiteX4119" fmla="*/ 730192 w 2516810"/>
                <a:gd name="connsiteY4119" fmla="*/ 967615 h 1504250"/>
                <a:gd name="connsiteX4120" fmla="*/ 730192 w 2516810"/>
                <a:gd name="connsiteY4120" fmla="*/ 968212 h 1504250"/>
                <a:gd name="connsiteX4121" fmla="*/ 730690 w 2516810"/>
                <a:gd name="connsiteY4121" fmla="*/ 968908 h 1504250"/>
                <a:gd name="connsiteX4122" fmla="*/ 730690 w 2516810"/>
                <a:gd name="connsiteY4122" fmla="*/ 968908 h 1504250"/>
                <a:gd name="connsiteX4123" fmla="*/ 730690 w 2516810"/>
                <a:gd name="connsiteY4123" fmla="*/ 968908 h 1504250"/>
                <a:gd name="connsiteX4124" fmla="*/ 730690 w 2516810"/>
                <a:gd name="connsiteY4124" fmla="*/ 970002 h 1504250"/>
                <a:gd name="connsiteX4125" fmla="*/ 731188 w 2516810"/>
                <a:gd name="connsiteY4125" fmla="*/ 970599 h 1504250"/>
                <a:gd name="connsiteX4126" fmla="*/ 731188 w 2516810"/>
                <a:gd name="connsiteY4126" fmla="*/ 971296 h 1504250"/>
                <a:gd name="connsiteX4127" fmla="*/ 731188 w 2516810"/>
                <a:gd name="connsiteY4127" fmla="*/ 971296 h 1504250"/>
                <a:gd name="connsiteX4128" fmla="*/ 730292 w 2516810"/>
                <a:gd name="connsiteY4128" fmla="*/ 970202 h 1504250"/>
                <a:gd name="connsiteX4129" fmla="*/ 729594 w 2516810"/>
                <a:gd name="connsiteY4129" fmla="*/ 969107 h 1504250"/>
                <a:gd name="connsiteX4130" fmla="*/ 729594 w 2516810"/>
                <a:gd name="connsiteY4130" fmla="*/ 966421 h 1504250"/>
                <a:gd name="connsiteX4131" fmla="*/ 729594 w 2516810"/>
                <a:gd name="connsiteY4131" fmla="*/ 965227 h 1504250"/>
                <a:gd name="connsiteX4132" fmla="*/ 442918 w 2516810"/>
                <a:gd name="connsiteY4132" fmla="*/ 507585 h 1504250"/>
                <a:gd name="connsiteX4133" fmla="*/ 443715 w 2516810"/>
                <a:gd name="connsiteY4133" fmla="*/ 507585 h 1504250"/>
                <a:gd name="connsiteX4134" fmla="*/ 444612 w 2516810"/>
                <a:gd name="connsiteY4134" fmla="*/ 507585 h 1504250"/>
                <a:gd name="connsiteX4135" fmla="*/ 444612 w 2516810"/>
                <a:gd name="connsiteY4135" fmla="*/ 508182 h 1504250"/>
                <a:gd name="connsiteX4136" fmla="*/ 444612 w 2516810"/>
                <a:gd name="connsiteY4136" fmla="*/ 508878 h 1504250"/>
                <a:gd name="connsiteX4137" fmla="*/ 444612 w 2516810"/>
                <a:gd name="connsiteY4137" fmla="*/ 509475 h 1504250"/>
                <a:gd name="connsiteX4138" fmla="*/ 445210 w 2516810"/>
                <a:gd name="connsiteY4138" fmla="*/ 509973 h 1504250"/>
                <a:gd name="connsiteX4139" fmla="*/ 445210 w 2516810"/>
                <a:gd name="connsiteY4139" fmla="*/ 510570 h 1504250"/>
                <a:gd name="connsiteX4140" fmla="*/ 445210 w 2516810"/>
                <a:gd name="connsiteY4140" fmla="*/ 511763 h 1504250"/>
                <a:gd name="connsiteX4141" fmla="*/ 445907 w 2516810"/>
                <a:gd name="connsiteY4141" fmla="*/ 512659 h 1504250"/>
                <a:gd name="connsiteX4142" fmla="*/ 445907 w 2516810"/>
                <a:gd name="connsiteY4142" fmla="*/ 513455 h 1504250"/>
                <a:gd name="connsiteX4143" fmla="*/ 446505 w 2516810"/>
                <a:gd name="connsiteY4143" fmla="*/ 513455 h 1504250"/>
                <a:gd name="connsiteX4144" fmla="*/ 446505 w 2516810"/>
                <a:gd name="connsiteY4144" fmla="*/ 514350 h 1504250"/>
                <a:gd name="connsiteX4145" fmla="*/ 447103 w 2516810"/>
                <a:gd name="connsiteY4145" fmla="*/ 514350 h 1504250"/>
                <a:gd name="connsiteX4146" fmla="*/ 447103 w 2516810"/>
                <a:gd name="connsiteY4146" fmla="*/ 514947 h 1504250"/>
                <a:gd name="connsiteX4147" fmla="*/ 446007 w 2516810"/>
                <a:gd name="connsiteY4147" fmla="*/ 514947 h 1504250"/>
                <a:gd name="connsiteX4148" fmla="*/ 445309 w 2516810"/>
                <a:gd name="connsiteY4148" fmla="*/ 514450 h 1504250"/>
                <a:gd name="connsiteX4149" fmla="*/ 445309 w 2516810"/>
                <a:gd name="connsiteY4149" fmla="*/ 513853 h 1504250"/>
                <a:gd name="connsiteX4150" fmla="*/ 445309 w 2516810"/>
                <a:gd name="connsiteY4150" fmla="*/ 513256 h 1504250"/>
                <a:gd name="connsiteX4151" fmla="*/ 444612 w 2516810"/>
                <a:gd name="connsiteY4151" fmla="*/ 512559 h 1504250"/>
                <a:gd name="connsiteX4152" fmla="*/ 444612 w 2516810"/>
                <a:gd name="connsiteY4152" fmla="*/ 511863 h 1504250"/>
                <a:gd name="connsiteX4153" fmla="*/ 444612 w 2516810"/>
                <a:gd name="connsiteY4153" fmla="*/ 511863 h 1504250"/>
                <a:gd name="connsiteX4154" fmla="*/ 444612 w 2516810"/>
                <a:gd name="connsiteY4154" fmla="*/ 511863 h 1504250"/>
                <a:gd name="connsiteX4155" fmla="*/ 444612 w 2516810"/>
                <a:gd name="connsiteY4155" fmla="*/ 510868 h 1504250"/>
                <a:gd name="connsiteX4156" fmla="*/ 444612 w 2516810"/>
                <a:gd name="connsiteY4156" fmla="*/ 510072 h 1504250"/>
                <a:gd name="connsiteX4157" fmla="*/ 443914 w 2516810"/>
                <a:gd name="connsiteY4157" fmla="*/ 509575 h 1504250"/>
                <a:gd name="connsiteX4158" fmla="*/ 443914 w 2516810"/>
                <a:gd name="connsiteY4158" fmla="*/ 508679 h 1504250"/>
                <a:gd name="connsiteX4159" fmla="*/ 443317 w 2516810"/>
                <a:gd name="connsiteY4159" fmla="*/ 507784 h 1504250"/>
                <a:gd name="connsiteX4160" fmla="*/ 919715 w 2516810"/>
                <a:gd name="connsiteY4160" fmla="*/ 664875 h 1504250"/>
                <a:gd name="connsiteX4161" fmla="*/ 919715 w 2516810"/>
                <a:gd name="connsiteY4161" fmla="*/ 664875 h 1504250"/>
                <a:gd name="connsiteX4162" fmla="*/ 919017 w 2516810"/>
                <a:gd name="connsiteY4162" fmla="*/ 664875 h 1504250"/>
                <a:gd name="connsiteX4163" fmla="*/ 919017 w 2516810"/>
                <a:gd name="connsiteY4163" fmla="*/ 665571 h 1504250"/>
                <a:gd name="connsiteX4164" fmla="*/ 918121 w 2516810"/>
                <a:gd name="connsiteY4164" fmla="*/ 669949 h 1504250"/>
                <a:gd name="connsiteX4165" fmla="*/ 918121 w 2516810"/>
                <a:gd name="connsiteY4165" fmla="*/ 670546 h 1504250"/>
                <a:gd name="connsiteX4166" fmla="*/ 917224 w 2516810"/>
                <a:gd name="connsiteY4166" fmla="*/ 671242 h 1504250"/>
                <a:gd name="connsiteX4167" fmla="*/ 916327 w 2516810"/>
                <a:gd name="connsiteY4167" fmla="*/ 672137 h 1504250"/>
                <a:gd name="connsiteX4168" fmla="*/ 915430 w 2516810"/>
                <a:gd name="connsiteY4168" fmla="*/ 675918 h 1504250"/>
                <a:gd name="connsiteX4169" fmla="*/ 912839 w 2516810"/>
                <a:gd name="connsiteY4169" fmla="*/ 681688 h 1504250"/>
                <a:gd name="connsiteX4170" fmla="*/ 911146 w 2516810"/>
                <a:gd name="connsiteY4170" fmla="*/ 684175 h 1504250"/>
                <a:gd name="connsiteX4171" fmla="*/ 910149 w 2516810"/>
                <a:gd name="connsiteY4171" fmla="*/ 685170 h 1504250"/>
                <a:gd name="connsiteX4172" fmla="*/ 908953 w 2516810"/>
                <a:gd name="connsiteY4172" fmla="*/ 685767 h 1504250"/>
                <a:gd name="connsiteX4173" fmla="*/ 908953 w 2516810"/>
                <a:gd name="connsiteY4173" fmla="*/ 685767 h 1504250"/>
                <a:gd name="connsiteX4174" fmla="*/ 903373 w 2516810"/>
                <a:gd name="connsiteY4174" fmla="*/ 683976 h 1504250"/>
                <a:gd name="connsiteX4175" fmla="*/ 902377 w 2516810"/>
                <a:gd name="connsiteY4175" fmla="*/ 683976 h 1504250"/>
                <a:gd name="connsiteX4176" fmla="*/ 901580 w 2516810"/>
                <a:gd name="connsiteY4176" fmla="*/ 683479 h 1504250"/>
                <a:gd name="connsiteX4177" fmla="*/ 901580 w 2516810"/>
                <a:gd name="connsiteY4177" fmla="*/ 681787 h 1504250"/>
                <a:gd name="connsiteX4178" fmla="*/ 902178 w 2516810"/>
                <a:gd name="connsiteY4178" fmla="*/ 680693 h 1504250"/>
                <a:gd name="connsiteX4179" fmla="*/ 903174 w 2516810"/>
                <a:gd name="connsiteY4179" fmla="*/ 679897 h 1504250"/>
                <a:gd name="connsiteX4180" fmla="*/ 903971 w 2516810"/>
                <a:gd name="connsiteY4180" fmla="*/ 679101 h 1504250"/>
                <a:gd name="connsiteX4181" fmla="*/ 903971 w 2516810"/>
                <a:gd name="connsiteY4181" fmla="*/ 678007 h 1504250"/>
                <a:gd name="connsiteX4182" fmla="*/ 902975 w 2516810"/>
                <a:gd name="connsiteY4182" fmla="*/ 675918 h 1504250"/>
                <a:gd name="connsiteX4183" fmla="*/ 902277 w 2516810"/>
                <a:gd name="connsiteY4183" fmla="*/ 672834 h 1504250"/>
                <a:gd name="connsiteX4184" fmla="*/ 902277 w 2516810"/>
                <a:gd name="connsiteY4184" fmla="*/ 669650 h 1504250"/>
                <a:gd name="connsiteX4185" fmla="*/ 902277 w 2516810"/>
                <a:gd name="connsiteY4185" fmla="*/ 667063 h 1504250"/>
                <a:gd name="connsiteX4186" fmla="*/ 899786 w 2516810"/>
                <a:gd name="connsiteY4186" fmla="*/ 667063 h 1504250"/>
                <a:gd name="connsiteX4187" fmla="*/ 900484 w 2516810"/>
                <a:gd name="connsiteY4187" fmla="*/ 667859 h 1504250"/>
                <a:gd name="connsiteX4188" fmla="*/ 900484 w 2516810"/>
                <a:gd name="connsiteY4188" fmla="*/ 669749 h 1504250"/>
                <a:gd name="connsiteX4189" fmla="*/ 900982 w 2516810"/>
                <a:gd name="connsiteY4189" fmla="*/ 670744 h 1504250"/>
                <a:gd name="connsiteX4190" fmla="*/ 904469 w 2516810"/>
                <a:gd name="connsiteY4190" fmla="*/ 674624 h 1504250"/>
                <a:gd name="connsiteX4191" fmla="*/ 905067 w 2516810"/>
                <a:gd name="connsiteY4191" fmla="*/ 673729 h 1504250"/>
                <a:gd name="connsiteX4192" fmla="*/ 908654 w 2516810"/>
                <a:gd name="connsiteY4192" fmla="*/ 670048 h 1504250"/>
                <a:gd name="connsiteX4193" fmla="*/ 909252 w 2516810"/>
                <a:gd name="connsiteY4193" fmla="*/ 670048 h 1504250"/>
                <a:gd name="connsiteX4194" fmla="*/ 911943 w 2516810"/>
                <a:gd name="connsiteY4194" fmla="*/ 670048 h 1504250"/>
                <a:gd name="connsiteX4195" fmla="*/ 913338 w 2516810"/>
                <a:gd name="connsiteY4195" fmla="*/ 668655 h 1504250"/>
                <a:gd name="connsiteX4196" fmla="*/ 913338 w 2516810"/>
                <a:gd name="connsiteY4196" fmla="*/ 665571 h 1504250"/>
                <a:gd name="connsiteX4197" fmla="*/ 913338 w 2516810"/>
                <a:gd name="connsiteY4197" fmla="*/ 660995 h 1504250"/>
                <a:gd name="connsiteX4198" fmla="*/ 912740 w 2516810"/>
                <a:gd name="connsiteY4198" fmla="*/ 658408 h 1504250"/>
                <a:gd name="connsiteX4199" fmla="*/ 911345 w 2516810"/>
                <a:gd name="connsiteY4199" fmla="*/ 655125 h 1504250"/>
                <a:gd name="connsiteX4200" fmla="*/ 909651 w 2516810"/>
                <a:gd name="connsiteY4200" fmla="*/ 652041 h 1504250"/>
                <a:gd name="connsiteX4201" fmla="*/ 908057 w 2516810"/>
                <a:gd name="connsiteY4201" fmla="*/ 649952 h 1504250"/>
                <a:gd name="connsiteX4202" fmla="*/ 905864 w 2516810"/>
                <a:gd name="connsiteY4202" fmla="*/ 648559 h 1504250"/>
                <a:gd name="connsiteX4203" fmla="*/ 903971 w 2516810"/>
                <a:gd name="connsiteY4203" fmla="*/ 647862 h 1504250"/>
                <a:gd name="connsiteX4204" fmla="*/ 902875 w 2516810"/>
                <a:gd name="connsiteY4204" fmla="*/ 646469 h 1504250"/>
                <a:gd name="connsiteX4205" fmla="*/ 902875 w 2516810"/>
                <a:gd name="connsiteY4205" fmla="*/ 643186 h 1504250"/>
                <a:gd name="connsiteX4206" fmla="*/ 903573 w 2516810"/>
                <a:gd name="connsiteY4206" fmla="*/ 643684 h 1504250"/>
                <a:gd name="connsiteX4207" fmla="*/ 904170 w 2516810"/>
                <a:gd name="connsiteY4207" fmla="*/ 644480 h 1504250"/>
                <a:gd name="connsiteX4208" fmla="*/ 904170 w 2516810"/>
                <a:gd name="connsiteY4208" fmla="*/ 645475 h 1504250"/>
                <a:gd name="connsiteX4209" fmla="*/ 904170 w 2516810"/>
                <a:gd name="connsiteY4209" fmla="*/ 646569 h 1504250"/>
                <a:gd name="connsiteX4210" fmla="*/ 908654 w 2516810"/>
                <a:gd name="connsiteY4210" fmla="*/ 647962 h 1504250"/>
                <a:gd name="connsiteX4211" fmla="*/ 910647 w 2516810"/>
                <a:gd name="connsiteY4211" fmla="*/ 649454 h 1504250"/>
                <a:gd name="connsiteX4212" fmla="*/ 912939 w 2516810"/>
                <a:gd name="connsiteY4212" fmla="*/ 651543 h 1504250"/>
                <a:gd name="connsiteX4213" fmla="*/ 914832 w 2516810"/>
                <a:gd name="connsiteY4213" fmla="*/ 654229 h 1504250"/>
                <a:gd name="connsiteX4214" fmla="*/ 915530 w 2516810"/>
                <a:gd name="connsiteY4214" fmla="*/ 657115 h 1504250"/>
                <a:gd name="connsiteX4215" fmla="*/ 915530 w 2516810"/>
                <a:gd name="connsiteY4215" fmla="*/ 658607 h 1504250"/>
                <a:gd name="connsiteX4216" fmla="*/ 916227 w 2516810"/>
                <a:gd name="connsiteY4216" fmla="*/ 660895 h 1504250"/>
                <a:gd name="connsiteX4217" fmla="*/ 916227 w 2516810"/>
                <a:gd name="connsiteY4217" fmla="*/ 661591 h 1504250"/>
                <a:gd name="connsiteX4218" fmla="*/ 917323 w 2516810"/>
                <a:gd name="connsiteY4218" fmla="*/ 662885 h 1504250"/>
                <a:gd name="connsiteX4219" fmla="*/ 917323 w 2516810"/>
                <a:gd name="connsiteY4219" fmla="*/ 663681 h 1504250"/>
                <a:gd name="connsiteX4220" fmla="*/ 970832 w 2516810"/>
                <a:gd name="connsiteY4220" fmla="*/ 499427 h 1504250"/>
                <a:gd name="connsiteX4221" fmla="*/ 967743 w 2516810"/>
                <a:gd name="connsiteY4221" fmla="*/ 501417 h 1504250"/>
                <a:gd name="connsiteX4222" fmla="*/ 965153 w 2516810"/>
                <a:gd name="connsiteY4222" fmla="*/ 505595 h 1504250"/>
                <a:gd name="connsiteX4223" fmla="*/ 962462 w 2516810"/>
                <a:gd name="connsiteY4223" fmla="*/ 506391 h 1504250"/>
                <a:gd name="connsiteX4224" fmla="*/ 955188 w 2516810"/>
                <a:gd name="connsiteY4224" fmla="*/ 506391 h 1504250"/>
                <a:gd name="connsiteX4225" fmla="*/ 952797 w 2516810"/>
                <a:gd name="connsiteY4225" fmla="*/ 506391 h 1504250"/>
                <a:gd name="connsiteX4226" fmla="*/ 951402 w 2516810"/>
                <a:gd name="connsiteY4226" fmla="*/ 506391 h 1504250"/>
                <a:gd name="connsiteX4227" fmla="*/ 950206 w 2516810"/>
                <a:gd name="connsiteY4227" fmla="*/ 505695 h 1504250"/>
                <a:gd name="connsiteX4228" fmla="*/ 949309 w 2516810"/>
                <a:gd name="connsiteY4228" fmla="*/ 504700 h 1504250"/>
                <a:gd name="connsiteX4229" fmla="*/ 948213 w 2516810"/>
                <a:gd name="connsiteY4229" fmla="*/ 503904 h 1504250"/>
                <a:gd name="connsiteX4230" fmla="*/ 946719 w 2516810"/>
                <a:gd name="connsiteY4230" fmla="*/ 503904 h 1504250"/>
                <a:gd name="connsiteX4231" fmla="*/ 941138 w 2516810"/>
                <a:gd name="connsiteY4231" fmla="*/ 503904 h 1504250"/>
                <a:gd name="connsiteX4232" fmla="*/ 938847 w 2516810"/>
                <a:gd name="connsiteY4232" fmla="*/ 504401 h 1504250"/>
                <a:gd name="connsiteX4233" fmla="*/ 933267 w 2516810"/>
                <a:gd name="connsiteY4233" fmla="*/ 506789 h 1504250"/>
                <a:gd name="connsiteX4234" fmla="*/ 932370 w 2516810"/>
                <a:gd name="connsiteY4234" fmla="*/ 507684 h 1504250"/>
                <a:gd name="connsiteX4235" fmla="*/ 932370 w 2516810"/>
                <a:gd name="connsiteY4235" fmla="*/ 509177 h 1504250"/>
                <a:gd name="connsiteX4236" fmla="*/ 932370 w 2516810"/>
                <a:gd name="connsiteY4236" fmla="*/ 511863 h 1504250"/>
                <a:gd name="connsiteX4237" fmla="*/ 932370 w 2516810"/>
                <a:gd name="connsiteY4237" fmla="*/ 513057 h 1504250"/>
                <a:gd name="connsiteX4238" fmla="*/ 932968 w 2516810"/>
                <a:gd name="connsiteY4238" fmla="*/ 513952 h 1504250"/>
                <a:gd name="connsiteX4239" fmla="*/ 934462 w 2516810"/>
                <a:gd name="connsiteY4239" fmla="*/ 515743 h 1504250"/>
                <a:gd name="connsiteX4240" fmla="*/ 934462 w 2516810"/>
                <a:gd name="connsiteY4240" fmla="*/ 516439 h 1504250"/>
                <a:gd name="connsiteX4241" fmla="*/ 934462 w 2516810"/>
                <a:gd name="connsiteY4241" fmla="*/ 518628 h 1504250"/>
                <a:gd name="connsiteX4242" fmla="*/ 934462 w 2516810"/>
                <a:gd name="connsiteY4242" fmla="*/ 519822 h 1504250"/>
                <a:gd name="connsiteX4243" fmla="*/ 934462 w 2516810"/>
                <a:gd name="connsiteY4243" fmla="*/ 519822 h 1504250"/>
                <a:gd name="connsiteX4244" fmla="*/ 935060 w 2516810"/>
                <a:gd name="connsiteY4244" fmla="*/ 519822 h 1504250"/>
                <a:gd name="connsiteX4245" fmla="*/ 935558 w 2516810"/>
                <a:gd name="connsiteY4245" fmla="*/ 520618 h 1504250"/>
                <a:gd name="connsiteX4246" fmla="*/ 936156 w 2516810"/>
                <a:gd name="connsiteY4246" fmla="*/ 523105 h 1504250"/>
                <a:gd name="connsiteX4247" fmla="*/ 936156 w 2516810"/>
                <a:gd name="connsiteY4247" fmla="*/ 525990 h 1504250"/>
                <a:gd name="connsiteX4248" fmla="*/ 936654 w 2516810"/>
                <a:gd name="connsiteY4248" fmla="*/ 527283 h 1504250"/>
                <a:gd name="connsiteX4249" fmla="*/ 938946 w 2516810"/>
                <a:gd name="connsiteY4249" fmla="*/ 528378 h 1504250"/>
                <a:gd name="connsiteX4250" fmla="*/ 939644 w 2516810"/>
                <a:gd name="connsiteY4250" fmla="*/ 529472 h 1504250"/>
                <a:gd name="connsiteX4251" fmla="*/ 939644 w 2516810"/>
                <a:gd name="connsiteY4251" fmla="*/ 531959 h 1504250"/>
                <a:gd name="connsiteX4252" fmla="*/ 937850 w 2516810"/>
                <a:gd name="connsiteY4252" fmla="*/ 533651 h 1504250"/>
                <a:gd name="connsiteX4253" fmla="*/ 935857 w 2516810"/>
                <a:gd name="connsiteY4253" fmla="*/ 533651 h 1504250"/>
                <a:gd name="connsiteX4254" fmla="*/ 934960 w 2516810"/>
                <a:gd name="connsiteY4254" fmla="*/ 532258 h 1504250"/>
                <a:gd name="connsiteX4255" fmla="*/ 934960 w 2516810"/>
                <a:gd name="connsiteY4255" fmla="*/ 530467 h 1504250"/>
                <a:gd name="connsiteX4256" fmla="*/ 934263 w 2516810"/>
                <a:gd name="connsiteY4256" fmla="*/ 528079 h 1504250"/>
                <a:gd name="connsiteX4257" fmla="*/ 932569 w 2516810"/>
                <a:gd name="connsiteY4257" fmla="*/ 524100 h 1504250"/>
                <a:gd name="connsiteX4258" fmla="*/ 929679 w 2516810"/>
                <a:gd name="connsiteY4258" fmla="*/ 519325 h 1504250"/>
                <a:gd name="connsiteX4259" fmla="*/ 928284 w 2516810"/>
                <a:gd name="connsiteY4259" fmla="*/ 516738 h 1504250"/>
                <a:gd name="connsiteX4260" fmla="*/ 927288 w 2516810"/>
                <a:gd name="connsiteY4260" fmla="*/ 511067 h 1504250"/>
                <a:gd name="connsiteX4261" fmla="*/ 925594 w 2516810"/>
                <a:gd name="connsiteY4261" fmla="*/ 505993 h 1504250"/>
                <a:gd name="connsiteX4262" fmla="*/ 925594 w 2516810"/>
                <a:gd name="connsiteY4262" fmla="*/ 503307 h 1504250"/>
                <a:gd name="connsiteX4263" fmla="*/ 925594 w 2516810"/>
                <a:gd name="connsiteY4263" fmla="*/ 497636 h 1504250"/>
                <a:gd name="connsiteX4264" fmla="*/ 925594 w 2516810"/>
                <a:gd name="connsiteY4264" fmla="*/ 495050 h 1504250"/>
                <a:gd name="connsiteX4265" fmla="*/ 921508 w 2516810"/>
                <a:gd name="connsiteY4265" fmla="*/ 475152 h 1504250"/>
                <a:gd name="connsiteX4266" fmla="*/ 919615 w 2516810"/>
                <a:gd name="connsiteY4266" fmla="*/ 470078 h 1504250"/>
                <a:gd name="connsiteX4267" fmla="*/ 925295 w 2516810"/>
                <a:gd name="connsiteY4267" fmla="*/ 469481 h 1504250"/>
                <a:gd name="connsiteX4268" fmla="*/ 926291 w 2516810"/>
                <a:gd name="connsiteY4268" fmla="*/ 470576 h 1504250"/>
                <a:gd name="connsiteX4269" fmla="*/ 926291 w 2516810"/>
                <a:gd name="connsiteY4269" fmla="*/ 474356 h 1504250"/>
                <a:gd name="connsiteX4270" fmla="*/ 926291 w 2516810"/>
                <a:gd name="connsiteY4270" fmla="*/ 475948 h 1504250"/>
                <a:gd name="connsiteX4271" fmla="*/ 925096 w 2516810"/>
                <a:gd name="connsiteY4271" fmla="*/ 479231 h 1504250"/>
                <a:gd name="connsiteX4272" fmla="*/ 925096 w 2516810"/>
                <a:gd name="connsiteY4272" fmla="*/ 481121 h 1504250"/>
                <a:gd name="connsiteX4273" fmla="*/ 925594 w 2516810"/>
                <a:gd name="connsiteY4273" fmla="*/ 482912 h 1504250"/>
                <a:gd name="connsiteX4274" fmla="*/ 927288 w 2516810"/>
                <a:gd name="connsiteY4274" fmla="*/ 486295 h 1504250"/>
                <a:gd name="connsiteX4275" fmla="*/ 927288 w 2516810"/>
                <a:gd name="connsiteY4275" fmla="*/ 487886 h 1504250"/>
                <a:gd name="connsiteX4276" fmla="*/ 928185 w 2516810"/>
                <a:gd name="connsiteY4276" fmla="*/ 489677 h 1504250"/>
                <a:gd name="connsiteX4277" fmla="*/ 930377 w 2516810"/>
                <a:gd name="connsiteY4277" fmla="*/ 491965 h 1504250"/>
                <a:gd name="connsiteX4278" fmla="*/ 932968 w 2516810"/>
                <a:gd name="connsiteY4278" fmla="*/ 493756 h 1504250"/>
                <a:gd name="connsiteX4279" fmla="*/ 935060 w 2516810"/>
                <a:gd name="connsiteY4279" fmla="*/ 493756 h 1504250"/>
                <a:gd name="connsiteX4280" fmla="*/ 936156 w 2516810"/>
                <a:gd name="connsiteY4280" fmla="*/ 492562 h 1504250"/>
                <a:gd name="connsiteX4281" fmla="*/ 936156 w 2516810"/>
                <a:gd name="connsiteY4281" fmla="*/ 490572 h 1504250"/>
                <a:gd name="connsiteX4282" fmla="*/ 936156 w 2516810"/>
                <a:gd name="connsiteY4282" fmla="*/ 489478 h 1504250"/>
                <a:gd name="connsiteX4283" fmla="*/ 936654 w 2516810"/>
                <a:gd name="connsiteY4283" fmla="*/ 488782 h 1504250"/>
                <a:gd name="connsiteX4284" fmla="*/ 937850 w 2516810"/>
                <a:gd name="connsiteY4284" fmla="*/ 489379 h 1504250"/>
                <a:gd name="connsiteX4285" fmla="*/ 938448 w 2516810"/>
                <a:gd name="connsiteY4285" fmla="*/ 490971 h 1504250"/>
                <a:gd name="connsiteX4286" fmla="*/ 939245 w 2516810"/>
                <a:gd name="connsiteY4286" fmla="*/ 494453 h 1504250"/>
                <a:gd name="connsiteX4287" fmla="*/ 941138 w 2516810"/>
                <a:gd name="connsiteY4287" fmla="*/ 493756 h 1504250"/>
                <a:gd name="connsiteX4288" fmla="*/ 943331 w 2516810"/>
                <a:gd name="connsiteY4288" fmla="*/ 494652 h 1504250"/>
                <a:gd name="connsiteX4289" fmla="*/ 947017 w 2516810"/>
                <a:gd name="connsiteY4289" fmla="*/ 497338 h 1504250"/>
                <a:gd name="connsiteX4290" fmla="*/ 951302 w 2516810"/>
                <a:gd name="connsiteY4290" fmla="*/ 498930 h 1504250"/>
                <a:gd name="connsiteX4291" fmla="*/ 952697 w 2516810"/>
                <a:gd name="connsiteY4291" fmla="*/ 500322 h 1504250"/>
                <a:gd name="connsiteX4292" fmla="*/ 952697 w 2516810"/>
                <a:gd name="connsiteY4292" fmla="*/ 503208 h 1504250"/>
                <a:gd name="connsiteX4293" fmla="*/ 955686 w 2516810"/>
                <a:gd name="connsiteY4293" fmla="*/ 502213 h 1504250"/>
                <a:gd name="connsiteX4294" fmla="*/ 959871 w 2516810"/>
                <a:gd name="connsiteY4294" fmla="*/ 502213 h 1504250"/>
                <a:gd name="connsiteX4295" fmla="*/ 961864 w 2516810"/>
                <a:gd name="connsiteY4295" fmla="*/ 500621 h 1504250"/>
                <a:gd name="connsiteX4296" fmla="*/ 965252 w 2516810"/>
                <a:gd name="connsiteY4296" fmla="*/ 496144 h 1504250"/>
                <a:gd name="connsiteX4297" fmla="*/ 967743 w 2516810"/>
                <a:gd name="connsiteY4297" fmla="*/ 494652 h 1504250"/>
                <a:gd name="connsiteX4298" fmla="*/ 970932 w 2516810"/>
                <a:gd name="connsiteY4298" fmla="*/ 494652 h 1504250"/>
                <a:gd name="connsiteX4299" fmla="*/ 972427 w 2516810"/>
                <a:gd name="connsiteY4299" fmla="*/ 496641 h 1504250"/>
                <a:gd name="connsiteX4300" fmla="*/ 2324697 w 2516810"/>
                <a:gd name="connsiteY4300" fmla="*/ 1222601 h 1504250"/>
                <a:gd name="connsiteX4301" fmla="*/ 2323301 w 2516810"/>
                <a:gd name="connsiteY4301" fmla="*/ 1224890 h 1504250"/>
                <a:gd name="connsiteX4302" fmla="*/ 2322704 w 2516810"/>
                <a:gd name="connsiteY4302" fmla="*/ 1226481 h 1504250"/>
                <a:gd name="connsiteX4303" fmla="*/ 2322704 w 2516810"/>
                <a:gd name="connsiteY4303" fmla="*/ 1228272 h 1504250"/>
                <a:gd name="connsiteX4304" fmla="*/ 2322704 w 2516810"/>
                <a:gd name="connsiteY4304" fmla="*/ 1229665 h 1504250"/>
                <a:gd name="connsiteX4305" fmla="*/ 2322704 w 2516810"/>
                <a:gd name="connsiteY4305" fmla="*/ 1230958 h 1504250"/>
                <a:gd name="connsiteX4306" fmla="*/ 2321110 w 2516810"/>
                <a:gd name="connsiteY4306" fmla="*/ 1233644 h 1504250"/>
                <a:gd name="connsiteX4307" fmla="*/ 2320312 w 2516810"/>
                <a:gd name="connsiteY4307" fmla="*/ 1237126 h 1504250"/>
                <a:gd name="connsiteX4308" fmla="*/ 2319615 w 2516810"/>
                <a:gd name="connsiteY4308" fmla="*/ 1238519 h 1504250"/>
                <a:gd name="connsiteX4309" fmla="*/ 2318419 w 2516810"/>
                <a:gd name="connsiteY4309" fmla="*/ 1236728 h 1504250"/>
                <a:gd name="connsiteX4310" fmla="*/ 2317024 w 2516810"/>
                <a:gd name="connsiteY4310" fmla="*/ 1236231 h 1504250"/>
                <a:gd name="connsiteX4311" fmla="*/ 2314732 w 2516810"/>
                <a:gd name="connsiteY4311" fmla="*/ 1236231 h 1504250"/>
                <a:gd name="connsiteX4312" fmla="*/ 2313238 w 2516810"/>
                <a:gd name="connsiteY4312" fmla="*/ 1235734 h 1504250"/>
                <a:gd name="connsiteX4313" fmla="*/ 2311842 w 2516810"/>
                <a:gd name="connsiteY4313" fmla="*/ 1234440 h 1504250"/>
                <a:gd name="connsiteX4314" fmla="*/ 2311045 w 2516810"/>
                <a:gd name="connsiteY4314" fmla="*/ 1232948 h 1504250"/>
                <a:gd name="connsiteX4315" fmla="*/ 2310448 w 2516810"/>
                <a:gd name="connsiteY4315" fmla="*/ 1231455 h 1504250"/>
                <a:gd name="connsiteX4316" fmla="*/ 2309551 w 2516810"/>
                <a:gd name="connsiteY4316" fmla="*/ 1229963 h 1504250"/>
                <a:gd name="connsiteX4317" fmla="*/ 2308753 w 2516810"/>
                <a:gd name="connsiteY4317" fmla="*/ 1228968 h 1504250"/>
                <a:gd name="connsiteX4318" fmla="*/ 2307956 w 2516810"/>
                <a:gd name="connsiteY4318" fmla="*/ 1228968 h 1504250"/>
                <a:gd name="connsiteX4319" fmla="*/ 2303572 w 2516810"/>
                <a:gd name="connsiteY4319" fmla="*/ 1227476 h 1504250"/>
                <a:gd name="connsiteX4320" fmla="*/ 2302077 w 2516810"/>
                <a:gd name="connsiteY4320" fmla="*/ 1227476 h 1504250"/>
                <a:gd name="connsiteX4321" fmla="*/ 2298989 w 2516810"/>
                <a:gd name="connsiteY4321" fmla="*/ 1227476 h 1504250"/>
                <a:gd name="connsiteX4322" fmla="*/ 2301081 w 2516810"/>
                <a:gd name="connsiteY4322" fmla="*/ 1224989 h 1504250"/>
                <a:gd name="connsiteX4323" fmla="*/ 2313935 w 2516810"/>
                <a:gd name="connsiteY4323" fmla="*/ 1216731 h 1504250"/>
                <a:gd name="connsiteX4324" fmla="*/ 2313935 w 2516810"/>
                <a:gd name="connsiteY4324" fmla="*/ 1215737 h 1504250"/>
                <a:gd name="connsiteX4325" fmla="*/ 2313238 w 2516810"/>
                <a:gd name="connsiteY4325" fmla="*/ 1213747 h 1504250"/>
                <a:gd name="connsiteX4326" fmla="*/ 2311942 w 2516810"/>
                <a:gd name="connsiteY4326" fmla="*/ 1211856 h 1504250"/>
                <a:gd name="connsiteX4327" fmla="*/ 2310448 w 2516810"/>
                <a:gd name="connsiteY4327" fmla="*/ 1210364 h 1504250"/>
                <a:gd name="connsiteX4328" fmla="*/ 2309252 w 2516810"/>
                <a:gd name="connsiteY4328" fmla="*/ 1208673 h 1504250"/>
                <a:gd name="connsiteX4329" fmla="*/ 2308654 w 2516810"/>
                <a:gd name="connsiteY4329" fmla="*/ 1206086 h 1504250"/>
                <a:gd name="connsiteX4330" fmla="*/ 2311344 w 2516810"/>
                <a:gd name="connsiteY4330" fmla="*/ 1207280 h 1504250"/>
                <a:gd name="connsiteX4331" fmla="*/ 2317024 w 2516810"/>
                <a:gd name="connsiteY4331" fmla="*/ 1206584 h 1504250"/>
                <a:gd name="connsiteX4332" fmla="*/ 2319814 w 2516810"/>
                <a:gd name="connsiteY4332" fmla="*/ 1207280 h 1504250"/>
                <a:gd name="connsiteX4333" fmla="*/ 2321209 w 2516810"/>
                <a:gd name="connsiteY4333" fmla="*/ 1208872 h 1504250"/>
                <a:gd name="connsiteX4334" fmla="*/ 2322006 w 2516810"/>
                <a:gd name="connsiteY4334" fmla="*/ 1210862 h 1504250"/>
                <a:gd name="connsiteX4335" fmla="*/ 2322704 w 2516810"/>
                <a:gd name="connsiteY4335" fmla="*/ 1215438 h 1504250"/>
                <a:gd name="connsiteX4336" fmla="*/ 2324099 w 2516810"/>
                <a:gd name="connsiteY4336" fmla="*/ 1220014 h 1504250"/>
                <a:gd name="connsiteX4337" fmla="*/ 2324099 w 2516810"/>
                <a:gd name="connsiteY4337" fmla="*/ 1221009 h 1504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</a:cxnLst>
              <a:rect l="l" t="t" r="r" b="b"/>
              <a:pathLst>
                <a:path w="2516810" h="1504250">
                  <a:moveTo>
                    <a:pt x="2508739" y="947120"/>
                  </a:moveTo>
                  <a:lnTo>
                    <a:pt x="2502760" y="947120"/>
                  </a:lnTo>
                  <a:lnTo>
                    <a:pt x="2501067" y="947120"/>
                  </a:lnTo>
                  <a:lnTo>
                    <a:pt x="2501067" y="949309"/>
                  </a:lnTo>
                  <a:lnTo>
                    <a:pt x="2498775" y="951498"/>
                  </a:lnTo>
                  <a:lnTo>
                    <a:pt x="2495786" y="952393"/>
                  </a:lnTo>
                  <a:lnTo>
                    <a:pt x="2493593" y="950901"/>
                  </a:lnTo>
                  <a:lnTo>
                    <a:pt x="2490803" y="952891"/>
                  </a:lnTo>
                  <a:lnTo>
                    <a:pt x="2490305" y="953687"/>
                  </a:lnTo>
                  <a:lnTo>
                    <a:pt x="2490305" y="956273"/>
                  </a:lnTo>
                  <a:lnTo>
                    <a:pt x="2491202" y="959358"/>
                  </a:lnTo>
                  <a:lnTo>
                    <a:pt x="2491202" y="962044"/>
                  </a:lnTo>
                  <a:lnTo>
                    <a:pt x="2488611" y="963237"/>
                  </a:lnTo>
                  <a:lnTo>
                    <a:pt x="2487316" y="962740"/>
                  </a:lnTo>
                  <a:lnTo>
                    <a:pt x="2486817" y="961944"/>
                  </a:lnTo>
                  <a:lnTo>
                    <a:pt x="2486817" y="960949"/>
                  </a:lnTo>
                  <a:lnTo>
                    <a:pt x="2486020" y="960153"/>
                  </a:lnTo>
                  <a:lnTo>
                    <a:pt x="2484127" y="960153"/>
                  </a:lnTo>
                  <a:lnTo>
                    <a:pt x="2484127" y="960850"/>
                  </a:lnTo>
                  <a:lnTo>
                    <a:pt x="2484127" y="961646"/>
                  </a:lnTo>
                  <a:lnTo>
                    <a:pt x="2483629" y="962143"/>
                  </a:lnTo>
                  <a:lnTo>
                    <a:pt x="2480938" y="961646"/>
                  </a:lnTo>
                  <a:lnTo>
                    <a:pt x="2479643" y="959755"/>
                  </a:lnTo>
                  <a:lnTo>
                    <a:pt x="2478946" y="957567"/>
                  </a:lnTo>
                  <a:lnTo>
                    <a:pt x="2478049" y="956572"/>
                  </a:lnTo>
                  <a:lnTo>
                    <a:pt x="2475358" y="956572"/>
                  </a:lnTo>
                  <a:lnTo>
                    <a:pt x="2473266" y="956572"/>
                  </a:lnTo>
                  <a:lnTo>
                    <a:pt x="2471273" y="955676"/>
                  </a:lnTo>
                  <a:lnTo>
                    <a:pt x="2468981" y="954184"/>
                  </a:lnTo>
                  <a:lnTo>
                    <a:pt x="2463302" y="948414"/>
                  </a:lnTo>
                  <a:lnTo>
                    <a:pt x="2459615" y="946822"/>
                  </a:lnTo>
                  <a:lnTo>
                    <a:pt x="2458319" y="944932"/>
                  </a:lnTo>
                  <a:lnTo>
                    <a:pt x="2457323" y="942743"/>
                  </a:lnTo>
                  <a:lnTo>
                    <a:pt x="2456027" y="940952"/>
                  </a:lnTo>
                  <a:lnTo>
                    <a:pt x="2453636" y="939062"/>
                  </a:lnTo>
                  <a:lnTo>
                    <a:pt x="2451344" y="937967"/>
                  </a:lnTo>
                  <a:lnTo>
                    <a:pt x="2448853" y="937371"/>
                  </a:lnTo>
                  <a:lnTo>
                    <a:pt x="2437892" y="936774"/>
                  </a:lnTo>
                  <a:lnTo>
                    <a:pt x="2436198" y="936276"/>
                  </a:lnTo>
                  <a:lnTo>
                    <a:pt x="2436198" y="934088"/>
                  </a:lnTo>
                  <a:lnTo>
                    <a:pt x="2433707" y="933391"/>
                  </a:lnTo>
                  <a:lnTo>
                    <a:pt x="2423743" y="933391"/>
                  </a:lnTo>
                  <a:lnTo>
                    <a:pt x="2415771" y="934386"/>
                  </a:lnTo>
                  <a:lnTo>
                    <a:pt x="2408497" y="933391"/>
                  </a:lnTo>
                  <a:lnTo>
                    <a:pt x="2406803" y="933391"/>
                  </a:lnTo>
                  <a:lnTo>
                    <a:pt x="2402817" y="935480"/>
                  </a:lnTo>
                  <a:lnTo>
                    <a:pt x="2400227" y="936376"/>
                  </a:lnTo>
                  <a:lnTo>
                    <a:pt x="2398932" y="935779"/>
                  </a:lnTo>
                  <a:lnTo>
                    <a:pt x="2397935" y="932396"/>
                  </a:lnTo>
                  <a:lnTo>
                    <a:pt x="2395444" y="931899"/>
                  </a:lnTo>
                  <a:lnTo>
                    <a:pt x="2389465" y="933391"/>
                  </a:lnTo>
                  <a:lnTo>
                    <a:pt x="2385081" y="933391"/>
                  </a:lnTo>
                  <a:lnTo>
                    <a:pt x="2380398" y="931998"/>
                  </a:lnTo>
                  <a:lnTo>
                    <a:pt x="2370433" y="927024"/>
                  </a:lnTo>
                  <a:lnTo>
                    <a:pt x="2369337" y="925731"/>
                  </a:lnTo>
                  <a:lnTo>
                    <a:pt x="2366348" y="921254"/>
                  </a:lnTo>
                  <a:lnTo>
                    <a:pt x="2365551" y="920358"/>
                  </a:lnTo>
                  <a:lnTo>
                    <a:pt x="2362262" y="920358"/>
                  </a:lnTo>
                  <a:lnTo>
                    <a:pt x="2360768" y="920358"/>
                  </a:lnTo>
                  <a:lnTo>
                    <a:pt x="2360768" y="918966"/>
                  </a:lnTo>
                  <a:lnTo>
                    <a:pt x="2361764" y="916180"/>
                  </a:lnTo>
                  <a:lnTo>
                    <a:pt x="2358277" y="915185"/>
                  </a:lnTo>
                  <a:lnTo>
                    <a:pt x="2354291" y="912897"/>
                  </a:lnTo>
                  <a:lnTo>
                    <a:pt x="2350803" y="911703"/>
                  </a:lnTo>
                  <a:lnTo>
                    <a:pt x="2348811" y="914290"/>
                  </a:lnTo>
                  <a:lnTo>
                    <a:pt x="2346220" y="911106"/>
                  </a:lnTo>
                  <a:lnTo>
                    <a:pt x="2342632" y="909713"/>
                  </a:lnTo>
                  <a:lnTo>
                    <a:pt x="2338647" y="908619"/>
                  </a:lnTo>
                  <a:lnTo>
                    <a:pt x="2335060" y="906729"/>
                  </a:lnTo>
                  <a:lnTo>
                    <a:pt x="2327586" y="909614"/>
                  </a:lnTo>
                  <a:lnTo>
                    <a:pt x="2325992" y="909614"/>
                  </a:lnTo>
                  <a:lnTo>
                    <a:pt x="2324697" y="907325"/>
                  </a:lnTo>
                  <a:lnTo>
                    <a:pt x="2322106" y="904938"/>
                  </a:lnTo>
                  <a:lnTo>
                    <a:pt x="2321110" y="904938"/>
                  </a:lnTo>
                  <a:lnTo>
                    <a:pt x="2319914" y="904938"/>
                  </a:lnTo>
                  <a:lnTo>
                    <a:pt x="2319914" y="904241"/>
                  </a:lnTo>
                  <a:lnTo>
                    <a:pt x="2321508" y="902351"/>
                  </a:lnTo>
                  <a:lnTo>
                    <a:pt x="2320212" y="901157"/>
                  </a:lnTo>
                  <a:lnTo>
                    <a:pt x="2318818" y="900560"/>
                  </a:lnTo>
                  <a:lnTo>
                    <a:pt x="2315430" y="900560"/>
                  </a:lnTo>
                  <a:lnTo>
                    <a:pt x="2315928" y="898272"/>
                  </a:lnTo>
                  <a:lnTo>
                    <a:pt x="2314632" y="896581"/>
                  </a:lnTo>
                  <a:lnTo>
                    <a:pt x="2310248" y="893895"/>
                  </a:lnTo>
                  <a:lnTo>
                    <a:pt x="2308355" y="891607"/>
                  </a:lnTo>
                  <a:lnTo>
                    <a:pt x="2307658" y="891109"/>
                  </a:lnTo>
                  <a:lnTo>
                    <a:pt x="2306561" y="891109"/>
                  </a:lnTo>
                  <a:lnTo>
                    <a:pt x="2305664" y="891607"/>
                  </a:lnTo>
                  <a:lnTo>
                    <a:pt x="2304668" y="891607"/>
                  </a:lnTo>
                  <a:lnTo>
                    <a:pt x="2303273" y="890811"/>
                  </a:lnTo>
                  <a:lnTo>
                    <a:pt x="2302476" y="891706"/>
                  </a:lnTo>
                  <a:lnTo>
                    <a:pt x="2301480" y="891706"/>
                  </a:lnTo>
                  <a:lnTo>
                    <a:pt x="2300184" y="891706"/>
                  </a:lnTo>
                  <a:lnTo>
                    <a:pt x="2298989" y="890910"/>
                  </a:lnTo>
                  <a:lnTo>
                    <a:pt x="2296099" y="891507"/>
                  </a:lnTo>
                  <a:lnTo>
                    <a:pt x="2291515" y="888124"/>
                  </a:lnTo>
                  <a:lnTo>
                    <a:pt x="2289522" y="890015"/>
                  </a:lnTo>
                  <a:lnTo>
                    <a:pt x="2288426" y="887925"/>
                  </a:lnTo>
                  <a:lnTo>
                    <a:pt x="2287330" y="887130"/>
                  </a:lnTo>
                  <a:lnTo>
                    <a:pt x="2284241" y="887130"/>
                  </a:lnTo>
                  <a:lnTo>
                    <a:pt x="2282149" y="888025"/>
                  </a:lnTo>
                  <a:lnTo>
                    <a:pt x="2281351" y="888025"/>
                  </a:lnTo>
                  <a:lnTo>
                    <a:pt x="2280554" y="888025"/>
                  </a:lnTo>
                  <a:lnTo>
                    <a:pt x="2279757" y="886732"/>
                  </a:lnTo>
                  <a:lnTo>
                    <a:pt x="2279159" y="886732"/>
                  </a:lnTo>
                  <a:lnTo>
                    <a:pt x="2276668" y="886732"/>
                  </a:lnTo>
                  <a:lnTo>
                    <a:pt x="2274277" y="886732"/>
                  </a:lnTo>
                  <a:lnTo>
                    <a:pt x="2271885" y="886234"/>
                  </a:lnTo>
                  <a:lnTo>
                    <a:pt x="2269195" y="884145"/>
                  </a:lnTo>
                  <a:lnTo>
                    <a:pt x="2269195" y="882652"/>
                  </a:lnTo>
                  <a:lnTo>
                    <a:pt x="2269992" y="880862"/>
                  </a:lnTo>
                  <a:lnTo>
                    <a:pt x="2271088" y="879071"/>
                  </a:lnTo>
                  <a:lnTo>
                    <a:pt x="2271686" y="877579"/>
                  </a:lnTo>
                  <a:lnTo>
                    <a:pt x="2271686" y="875788"/>
                  </a:lnTo>
                  <a:lnTo>
                    <a:pt x="2270291" y="871908"/>
                  </a:lnTo>
                  <a:lnTo>
                    <a:pt x="2268697" y="870018"/>
                  </a:lnTo>
                  <a:lnTo>
                    <a:pt x="2265508" y="869222"/>
                  </a:lnTo>
                  <a:lnTo>
                    <a:pt x="2262419" y="867929"/>
                  </a:lnTo>
                  <a:lnTo>
                    <a:pt x="2261622" y="864745"/>
                  </a:lnTo>
                  <a:lnTo>
                    <a:pt x="2261622" y="864745"/>
                  </a:lnTo>
                  <a:lnTo>
                    <a:pt x="2256341" y="864745"/>
                  </a:lnTo>
                  <a:lnTo>
                    <a:pt x="2252654" y="863253"/>
                  </a:lnTo>
                  <a:lnTo>
                    <a:pt x="2251159" y="860169"/>
                  </a:lnTo>
                  <a:lnTo>
                    <a:pt x="2250661" y="858378"/>
                  </a:lnTo>
                  <a:lnTo>
                    <a:pt x="2248269" y="855194"/>
                  </a:lnTo>
                  <a:lnTo>
                    <a:pt x="2247672" y="853503"/>
                  </a:lnTo>
                  <a:lnTo>
                    <a:pt x="2248269" y="852409"/>
                  </a:lnTo>
                  <a:lnTo>
                    <a:pt x="2249665" y="853005"/>
                  </a:lnTo>
                  <a:lnTo>
                    <a:pt x="2251458" y="854299"/>
                  </a:lnTo>
                  <a:lnTo>
                    <a:pt x="2252953" y="854995"/>
                  </a:lnTo>
                  <a:lnTo>
                    <a:pt x="2252355" y="853204"/>
                  </a:lnTo>
                  <a:lnTo>
                    <a:pt x="2252953" y="846937"/>
                  </a:lnTo>
                  <a:lnTo>
                    <a:pt x="2252953" y="844649"/>
                  </a:lnTo>
                  <a:lnTo>
                    <a:pt x="2251757" y="840570"/>
                  </a:lnTo>
                  <a:lnTo>
                    <a:pt x="2251757" y="838480"/>
                  </a:lnTo>
                  <a:lnTo>
                    <a:pt x="2251757" y="832909"/>
                  </a:lnTo>
                  <a:lnTo>
                    <a:pt x="2251757" y="831317"/>
                  </a:lnTo>
                  <a:lnTo>
                    <a:pt x="2251757" y="831317"/>
                  </a:lnTo>
                  <a:lnTo>
                    <a:pt x="2251159" y="831317"/>
                  </a:lnTo>
                  <a:lnTo>
                    <a:pt x="2251159" y="830820"/>
                  </a:lnTo>
                  <a:lnTo>
                    <a:pt x="2251159" y="829427"/>
                  </a:lnTo>
                  <a:lnTo>
                    <a:pt x="2251159" y="828730"/>
                  </a:lnTo>
                  <a:lnTo>
                    <a:pt x="2248868" y="827139"/>
                  </a:lnTo>
                  <a:lnTo>
                    <a:pt x="2246476" y="829029"/>
                  </a:lnTo>
                  <a:lnTo>
                    <a:pt x="2245479" y="830223"/>
                  </a:lnTo>
                  <a:lnTo>
                    <a:pt x="2244583" y="831815"/>
                  </a:lnTo>
                  <a:lnTo>
                    <a:pt x="2243985" y="833605"/>
                  </a:lnTo>
                  <a:lnTo>
                    <a:pt x="2243985" y="834799"/>
                  </a:lnTo>
                  <a:lnTo>
                    <a:pt x="2243985" y="835694"/>
                  </a:lnTo>
                  <a:lnTo>
                    <a:pt x="2242789" y="836988"/>
                  </a:lnTo>
                  <a:lnTo>
                    <a:pt x="2239501" y="838580"/>
                  </a:lnTo>
                  <a:lnTo>
                    <a:pt x="2237807" y="836391"/>
                  </a:lnTo>
                  <a:lnTo>
                    <a:pt x="2236312" y="833705"/>
                  </a:lnTo>
                  <a:lnTo>
                    <a:pt x="2233821" y="833705"/>
                  </a:lnTo>
                  <a:lnTo>
                    <a:pt x="2233821" y="832113"/>
                  </a:lnTo>
                  <a:lnTo>
                    <a:pt x="2234419" y="830720"/>
                  </a:lnTo>
                  <a:lnTo>
                    <a:pt x="2235615" y="829825"/>
                  </a:lnTo>
                  <a:lnTo>
                    <a:pt x="2237010" y="829825"/>
                  </a:lnTo>
                  <a:lnTo>
                    <a:pt x="2238006" y="830919"/>
                  </a:lnTo>
                  <a:lnTo>
                    <a:pt x="2238006" y="832710"/>
                  </a:lnTo>
                  <a:lnTo>
                    <a:pt x="2238006" y="834501"/>
                  </a:lnTo>
                  <a:lnTo>
                    <a:pt x="2238006" y="835595"/>
                  </a:lnTo>
                  <a:lnTo>
                    <a:pt x="2239302" y="835595"/>
                  </a:lnTo>
                  <a:lnTo>
                    <a:pt x="2239302" y="834202"/>
                  </a:lnTo>
                  <a:lnTo>
                    <a:pt x="2238604" y="831417"/>
                  </a:lnTo>
                  <a:lnTo>
                    <a:pt x="2239501" y="829825"/>
                  </a:lnTo>
                  <a:lnTo>
                    <a:pt x="2240298" y="828531"/>
                  </a:lnTo>
                  <a:lnTo>
                    <a:pt x="2240896" y="827238"/>
                  </a:lnTo>
                  <a:lnTo>
                    <a:pt x="2240896" y="825248"/>
                  </a:lnTo>
                  <a:lnTo>
                    <a:pt x="2240298" y="819080"/>
                  </a:lnTo>
                  <a:lnTo>
                    <a:pt x="2239501" y="816195"/>
                  </a:lnTo>
                  <a:lnTo>
                    <a:pt x="2238305" y="814205"/>
                  </a:lnTo>
                  <a:lnTo>
                    <a:pt x="2233423" y="811818"/>
                  </a:lnTo>
                  <a:lnTo>
                    <a:pt x="2232028" y="810126"/>
                  </a:lnTo>
                  <a:lnTo>
                    <a:pt x="2233622" y="807142"/>
                  </a:lnTo>
                  <a:lnTo>
                    <a:pt x="2233622" y="805251"/>
                  </a:lnTo>
                  <a:lnTo>
                    <a:pt x="2231230" y="804157"/>
                  </a:lnTo>
                  <a:lnTo>
                    <a:pt x="2228341" y="803262"/>
                  </a:lnTo>
                  <a:lnTo>
                    <a:pt x="2226946" y="802466"/>
                  </a:lnTo>
                  <a:lnTo>
                    <a:pt x="2226946" y="801570"/>
                  </a:lnTo>
                  <a:lnTo>
                    <a:pt x="2225750" y="799780"/>
                  </a:lnTo>
                  <a:lnTo>
                    <a:pt x="2225750" y="798586"/>
                  </a:lnTo>
                  <a:lnTo>
                    <a:pt x="2226248" y="797193"/>
                  </a:lnTo>
                  <a:lnTo>
                    <a:pt x="2226248" y="797193"/>
                  </a:lnTo>
                  <a:lnTo>
                    <a:pt x="2228739" y="792716"/>
                  </a:lnTo>
                  <a:lnTo>
                    <a:pt x="2228739" y="791423"/>
                  </a:lnTo>
                  <a:lnTo>
                    <a:pt x="2228739" y="790229"/>
                  </a:lnTo>
                  <a:lnTo>
                    <a:pt x="2228141" y="789234"/>
                  </a:lnTo>
                  <a:lnTo>
                    <a:pt x="2227643" y="788438"/>
                  </a:lnTo>
                  <a:lnTo>
                    <a:pt x="2227643" y="787742"/>
                  </a:lnTo>
                  <a:lnTo>
                    <a:pt x="2227643" y="784956"/>
                  </a:lnTo>
                  <a:lnTo>
                    <a:pt x="2229537" y="778987"/>
                  </a:lnTo>
                  <a:lnTo>
                    <a:pt x="2230035" y="776300"/>
                  </a:lnTo>
                  <a:lnTo>
                    <a:pt x="2230035" y="773614"/>
                  </a:lnTo>
                  <a:lnTo>
                    <a:pt x="2229138" y="771127"/>
                  </a:lnTo>
                  <a:lnTo>
                    <a:pt x="2227842" y="768938"/>
                  </a:lnTo>
                  <a:lnTo>
                    <a:pt x="2225949" y="766750"/>
                  </a:lnTo>
                  <a:lnTo>
                    <a:pt x="2225949" y="766750"/>
                  </a:lnTo>
                  <a:lnTo>
                    <a:pt x="2224554" y="766053"/>
                  </a:lnTo>
                  <a:lnTo>
                    <a:pt x="2224554" y="765556"/>
                  </a:lnTo>
                  <a:lnTo>
                    <a:pt x="2224554" y="764462"/>
                  </a:lnTo>
                  <a:lnTo>
                    <a:pt x="2224554" y="764462"/>
                  </a:lnTo>
                  <a:lnTo>
                    <a:pt x="2223757" y="763964"/>
                  </a:lnTo>
                  <a:lnTo>
                    <a:pt x="2220170" y="762571"/>
                  </a:lnTo>
                  <a:lnTo>
                    <a:pt x="2220967" y="761079"/>
                  </a:lnTo>
                  <a:lnTo>
                    <a:pt x="2223159" y="758691"/>
                  </a:lnTo>
                  <a:lnTo>
                    <a:pt x="2223159" y="757398"/>
                  </a:lnTo>
                  <a:lnTo>
                    <a:pt x="2223159" y="755906"/>
                  </a:lnTo>
                  <a:lnTo>
                    <a:pt x="2223757" y="754115"/>
                  </a:lnTo>
                  <a:lnTo>
                    <a:pt x="2223757" y="751329"/>
                  </a:lnTo>
                  <a:lnTo>
                    <a:pt x="2224853" y="748245"/>
                  </a:lnTo>
                  <a:lnTo>
                    <a:pt x="2224853" y="746554"/>
                  </a:lnTo>
                  <a:lnTo>
                    <a:pt x="2224853" y="740784"/>
                  </a:lnTo>
                  <a:lnTo>
                    <a:pt x="2224853" y="738794"/>
                  </a:lnTo>
                  <a:lnTo>
                    <a:pt x="2224355" y="737600"/>
                  </a:lnTo>
                  <a:lnTo>
                    <a:pt x="2223358" y="737600"/>
                  </a:lnTo>
                  <a:lnTo>
                    <a:pt x="2221366" y="737600"/>
                  </a:lnTo>
                  <a:lnTo>
                    <a:pt x="2220668" y="737003"/>
                  </a:lnTo>
                  <a:lnTo>
                    <a:pt x="2220668" y="735511"/>
                  </a:lnTo>
                  <a:lnTo>
                    <a:pt x="2220668" y="732327"/>
                  </a:lnTo>
                  <a:lnTo>
                    <a:pt x="2220668" y="726656"/>
                  </a:lnTo>
                  <a:lnTo>
                    <a:pt x="2219672" y="724667"/>
                  </a:lnTo>
                  <a:lnTo>
                    <a:pt x="2217081" y="722378"/>
                  </a:lnTo>
                  <a:lnTo>
                    <a:pt x="2214590" y="721185"/>
                  </a:lnTo>
                  <a:lnTo>
                    <a:pt x="2212398" y="720488"/>
                  </a:lnTo>
                  <a:lnTo>
                    <a:pt x="2211700" y="719891"/>
                  </a:lnTo>
                  <a:lnTo>
                    <a:pt x="2210206" y="717205"/>
                  </a:lnTo>
                  <a:lnTo>
                    <a:pt x="2208910" y="716608"/>
                  </a:lnTo>
                  <a:lnTo>
                    <a:pt x="2207416" y="716608"/>
                  </a:lnTo>
                  <a:lnTo>
                    <a:pt x="2204725" y="718001"/>
                  </a:lnTo>
                  <a:lnTo>
                    <a:pt x="2203330" y="718001"/>
                  </a:lnTo>
                  <a:lnTo>
                    <a:pt x="2202832" y="717404"/>
                  </a:lnTo>
                  <a:lnTo>
                    <a:pt x="2201537" y="715016"/>
                  </a:lnTo>
                  <a:lnTo>
                    <a:pt x="2200839" y="714320"/>
                  </a:lnTo>
                  <a:lnTo>
                    <a:pt x="2196355" y="714320"/>
                  </a:lnTo>
                  <a:lnTo>
                    <a:pt x="2195558" y="713723"/>
                  </a:lnTo>
                  <a:lnTo>
                    <a:pt x="2194960" y="712828"/>
                  </a:lnTo>
                  <a:lnTo>
                    <a:pt x="2193465" y="710440"/>
                  </a:lnTo>
                  <a:lnTo>
                    <a:pt x="2192469" y="709744"/>
                  </a:lnTo>
                  <a:lnTo>
                    <a:pt x="2192469" y="708351"/>
                  </a:lnTo>
                  <a:lnTo>
                    <a:pt x="2192469" y="706759"/>
                  </a:lnTo>
                  <a:lnTo>
                    <a:pt x="2191971" y="705565"/>
                  </a:lnTo>
                  <a:lnTo>
                    <a:pt x="2191074" y="705068"/>
                  </a:lnTo>
                  <a:lnTo>
                    <a:pt x="2188782" y="704371"/>
                  </a:lnTo>
                  <a:lnTo>
                    <a:pt x="2187686" y="703675"/>
                  </a:lnTo>
                  <a:lnTo>
                    <a:pt x="2186092" y="701884"/>
                  </a:lnTo>
                  <a:lnTo>
                    <a:pt x="2184996" y="699994"/>
                  </a:lnTo>
                  <a:lnTo>
                    <a:pt x="2183600" y="698700"/>
                  </a:lnTo>
                  <a:lnTo>
                    <a:pt x="2183600" y="698700"/>
                  </a:lnTo>
                  <a:lnTo>
                    <a:pt x="2180512" y="698103"/>
                  </a:lnTo>
                  <a:lnTo>
                    <a:pt x="2180512" y="697308"/>
                  </a:lnTo>
                  <a:lnTo>
                    <a:pt x="2179017" y="695716"/>
                  </a:lnTo>
                  <a:lnTo>
                    <a:pt x="2177323" y="694323"/>
                  </a:lnTo>
                  <a:lnTo>
                    <a:pt x="2176626" y="694323"/>
                  </a:lnTo>
                  <a:lnTo>
                    <a:pt x="2176626" y="692930"/>
                  </a:lnTo>
                  <a:lnTo>
                    <a:pt x="2176626" y="689945"/>
                  </a:lnTo>
                  <a:lnTo>
                    <a:pt x="2176626" y="688652"/>
                  </a:lnTo>
                  <a:lnTo>
                    <a:pt x="2175729" y="687359"/>
                  </a:lnTo>
                  <a:lnTo>
                    <a:pt x="2174533" y="686662"/>
                  </a:lnTo>
                  <a:lnTo>
                    <a:pt x="2173536" y="685966"/>
                  </a:lnTo>
                  <a:lnTo>
                    <a:pt x="2173536" y="684374"/>
                  </a:lnTo>
                  <a:lnTo>
                    <a:pt x="2174633" y="682185"/>
                  </a:lnTo>
                  <a:lnTo>
                    <a:pt x="2175131" y="680793"/>
                  </a:lnTo>
                  <a:lnTo>
                    <a:pt x="2175131" y="680096"/>
                  </a:lnTo>
                  <a:lnTo>
                    <a:pt x="2173138" y="679201"/>
                  </a:lnTo>
                  <a:lnTo>
                    <a:pt x="2170946" y="677111"/>
                  </a:lnTo>
                  <a:lnTo>
                    <a:pt x="2168953" y="674624"/>
                  </a:lnTo>
                  <a:lnTo>
                    <a:pt x="2167757" y="672535"/>
                  </a:lnTo>
                  <a:lnTo>
                    <a:pt x="2165266" y="668556"/>
                  </a:lnTo>
                  <a:lnTo>
                    <a:pt x="2163771" y="667561"/>
                  </a:lnTo>
                  <a:lnTo>
                    <a:pt x="2161081" y="666964"/>
                  </a:lnTo>
                  <a:lnTo>
                    <a:pt x="2159188" y="666267"/>
                  </a:lnTo>
                  <a:lnTo>
                    <a:pt x="2157394" y="664178"/>
                  </a:lnTo>
                  <a:lnTo>
                    <a:pt x="2156198" y="662387"/>
                  </a:lnTo>
                  <a:lnTo>
                    <a:pt x="2155302" y="660497"/>
                  </a:lnTo>
                  <a:lnTo>
                    <a:pt x="2155302" y="658607"/>
                  </a:lnTo>
                  <a:lnTo>
                    <a:pt x="2155302" y="657712"/>
                  </a:lnTo>
                  <a:lnTo>
                    <a:pt x="2155302" y="656717"/>
                  </a:lnTo>
                  <a:lnTo>
                    <a:pt x="2155302" y="656020"/>
                  </a:lnTo>
                  <a:lnTo>
                    <a:pt x="2154305" y="656020"/>
                  </a:lnTo>
                  <a:lnTo>
                    <a:pt x="2152611" y="654528"/>
                  </a:lnTo>
                  <a:lnTo>
                    <a:pt x="2150917" y="652638"/>
                  </a:lnTo>
                  <a:lnTo>
                    <a:pt x="2150917" y="651643"/>
                  </a:lnTo>
                  <a:lnTo>
                    <a:pt x="2150917" y="648658"/>
                  </a:lnTo>
                  <a:lnTo>
                    <a:pt x="2149921" y="645574"/>
                  </a:lnTo>
                  <a:lnTo>
                    <a:pt x="2147629" y="643286"/>
                  </a:lnTo>
                  <a:lnTo>
                    <a:pt x="2135273" y="637118"/>
                  </a:lnTo>
                  <a:lnTo>
                    <a:pt x="2133181" y="637118"/>
                  </a:lnTo>
                  <a:lnTo>
                    <a:pt x="2132184" y="636322"/>
                  </a:lnTo>
                  <a:lnTo>
                    <a:pt x="2131686" y="634531"/>
                  </a:lnTo>
                  <a:lnTo>
                    <a:pt x="2131686" y="632541"/>
                  </a:lnTo>
                  <a:lnTo>
                    <a:pt x="2131686" y="631347"/>
                  </a:lnTo>
                  <a:lnTo>
                    <a:pt x="2130889" y="631347"/>
                  </a:lnTo>
                  <a:lnTo>
                    <a:pt x="2127302" y="630751"/>
                  </a:lnTo>
                  <a:lnTo>
                    <a:pt x="2125109" y="629159"/>
                  </a:lnTo>
                  <a:lnTo>
                    <a:pt x="2123017" y="626870"/>
                  </a:lnTo>
                  <a:lnTo>
                    <a:pt x="2121821" y="624184"/>
                  </a:lnTo>
                  <a:lnTo>
                    <a:pt x="2122618" y="621598"/>
                  </a:lnTo>
                  <a:lnTo>
                    <a:pt x="2122618" y="618812"/>
                  </a:lnTo>
                  <a:lnTo>
                    <a:pt x="2120625" y="615628"/>
                  </a:lnTo>
                  <a:lnTo>
                    <a:pt x="2117038" y="610952"/>
                  </a:lnTo>
                  <a:lnTo>
                    <a:pt x="2115843" y="606078"/>
                  </a:lnTo>
                  <a:lnTo>
                    <a:pt x="2115245" y="601004"/>
                  </a:lnTo>
                  <a:lnTo>
                    <a:pt x="2115245" y="600208"/>
                  </a:lnTo>
                  <a:lnTo>
                    <a:pt x="2114149" y="599313"/>
                  </a:lnTo>
                  <a:lnTo>
                    <a:pt x="2113252" y="598218"/>
                  </a:lnTo>
                  <a:lnTo>
                    <a:pt x="2113252" y="596626"/>
                  </a:lnTo>
                  <a:lnTo>
                    <a:pt x="2113850" y="595632"/>
                  </a:lnTo>
                  <a:lnTo>
                    <a:pt x="2117536" y="593741"/>
                  </a:lnTo>
                  <a:lnTo>
                    <a:pt x="2112255" y="591751"/>
                  </a:lnTo>
                  <a:lnTo>
                    <a:pt x="2109764" y="589961"/>
                  </a:lnTo>
                  <a:lnTo>
                    <a:pt x="2108070" y="587175"/>
                  </a:lnTo>
                  <a:lnTo>
                    <a:pt x="2108070" y="585583"/>
                  </a:lnTo>
                  <a:lnTo>
                    <a:pt x="2108070" y="582201"/>
                  </a:lnTo>
                  <a:lnTo>
                    <a:pt x="2107473" y="580907"/>
                  </a:lnTo>
                  <a:lnTo>
                    <a:pt x="2106277" y="579912"/>
                  </a:lnTo>
                  <a:lnTo>
                    <a:pt x="2103287" y="578520"/>
                  </a:lnTo>
                  <a:lnTo>
                    <a:pt x="2101893" y="577525"/>
                  </a:lnTo>
                  <a:lnTo>
                    <a:pt x="2101893" y="575137"/>
                  </a:lnTo>
                  <a:lnTo>
                    <a:pt x="2097309" y="569168"/>
                  </a:lnTo>
                  <a:lnTo>
                    <a:pt x="2095714" y="566084"/>
                  </a:lnTo>
                  <a:lnTo>
                    <a:pt x="2092526" y="552553"/>
                  </a:lnTo>
                  <a:lnTo>
                    <a:pt x="2091828" y="551161"/>
                  </a:lnTo>
                  <a:lnTo>
                    <a:pt x="2091230" y="550464"/>
                  </a:lnTo>
                  <a:lnTo>
                    <a:pt x="2090633" y="549071"/>
                  </a:lnTo>
                  <a:lnTo>
                    <a:pt x="2090134" y="548275"/>
                  </a:lnTo>
                  <a:lnTo>
                    <a:pt x="2089237" y="547778"/>
                  </a:lnTo>
                  <a:lnTo>
                    <a:pt x="2087444" y="547778"/>
                  </a:lnTo>
                  <a:lnTo>
                    <a:pt x="2086647" y="547280"/>
                  </a:lnTo>
                  <a:lnTo>
                    <a:pt x="2086149" y="546286"/>
                  </a:lnTo>
                  <a:lnTo>
                    <a:pt x="2087045" y="544594"/>
                  </a:lnTo>
                  <a:lnTo>
                    <a:pt x="2087045" y="543500"/>
                  </a:lnTo>
                  <a:lnTo>
                    <a:pt x="2086348" y="543003"/>
                  </a:lnTo>
                  <a:lnTo>
                    <a:pt x="2084455" y="542107"/>
                  </a:lnTo>
                  <a:lnTo>
                    <a:pt x="2084455" y="541610"/>
                  </a:lnTo>
                  <a:lnTo>
                    <a:pt x="2083757" y="539322"/>
                  </a:lnTo>
                  <a:lnTo>
                    <a:pt x="2082263" y="537829"/>
                  </a:lnTo>
                  <a:lnTo>
                    <a:pt x="2080768" y="536735"/>
                  </a:lnTo>
                  <a:lnTo>
                    <a:pt x="2080070" y="535740"/>
                  </a:lnTo>
                  <a:lnTo>
                    <a:pt x="2080070" y="533949"/>
                  </a:lnTo>
                  <a:lnTo>
                    <a:pt x="2080070" y="532457"/>
                  </a:lnTo>
                  <a:lnTo>
                    <a:pt x="2080070" y="531263"/>
                  </a:lnTo>
                  <a:lnTo>
                    <a:pt x="2079173" y="530467"/>
                  </a:lnTo>
                  <a:lnTo>
                    <a:pt x="2080369" y="527383"/>
                  </a:lnTo>
                  <a:lnTo>
                    <a:pt x="2079871" y="524498"/>
                  </a:lnTo>
                  <a:lnTo>
                    <a:pt x="2077380" y="519026"/>
                  </a:lnTo>
                  <a:lnTo>
                    <a:pt x="2076284" y="510868"/>
                  </a:lnTo>
                  <a:lnTo>
                    <a:pt x="2075287" y="508978"/>
                  </a:lnTo>
                  <a:lnTo>
                    <a:pt x="2074092" y="508480"/>
                  </a:lnTo>
                  <a:lnTo>
                    <a:pt x="2072497" y="508480"/>
                  </a:lnTo>
                  <a:lnTo>
                    <a:pt x="2071102" y="508480"/>
                  </a:lnTo>
                  <a:lnTo>
                    <a:pt x="2070504" y="507585"/>
                  </a:lnTo>
                  <a:lnTo>
                    <a:pt x="2070504" y="506789"/>
                  </a:lnTo>
                  <a:lnTo>
                    <a:pt x="2063928" y="501516"/>
                  </a:lnTo>
                  <a:lnTo>
                    <a:pt x="2062932" y="499626"/>
                  </a:lnTo>
                  <a:lnTo>
                    <a:pt x="2063928" y="496641"/>
                  </a:lnTo>
                  <a:lnTo>
                    <a:pt x="2061238" y="491767"/>
                  </a:lnTo>
                  <a:lnTo>
                    <a:pt x="2059643" y="489677"/>
                  </a:lnTo>
                  <a:lnTo>
                    <a:pt x="2057152" y="487886"/>
                  </a:lnTo>
                  <a:lnTo>
                    <a:pt x="2051173" y="485101"/>
                  </a:lnTo>
                  <a:lnTo>
                    <a:pt x="2050077" y="484305"/>
                  </a:lnTo>
                  <a:lnTo>
                    <a:pt x="2047686" y="481221"/>
                  </a:lnTo>
                  <a:lnTo>
                    <a:pt x="2044697" y="478634"/>
                  </a:lnTo>
                  <a:lnTo>
                    <a:pt x="2035529" y="474456"/>
                  </a:lnTo>
                  <a:lnTo>
                    <a:pt x="2034234" y="473660"/>
                  </a:lnTo>
                  <a:lnTo>
                    <a:pt x="2032939" y="472466"/>
                  </a:lnTo>
                  <a:lnTo>
                    <a:pt x="2031942" y="471173"/>
                  </a:lnTo>
                  <a:lnTo>
                    <a:pt x="2031145" y="469680"/>
                  </a:lnTo>
                  <a:lnTo>
                    <a:pt x="2031145" y="467691"/>
                  </a:lnTo>
                  <a:lnTo>
                    <a:pt x="2030647" y="463711"/>
                  </a:lnTo>
                  <a:lnTo>
                    <a:pt x="2029651" y="461323"/>
                  </a:lnTo>
                  <a:lnTo>
                    <a:pt x="2025764" y="459931"/>
                  </a:lnTo>
                  <a:lnTo>
                    <a:pt x="2017394" y="457443"/>
                  </a:lnTo>
                  <a:lnTo>
                    <a:pt x="2013707" y="455553"/>
                  </a:lnTo>
                  <a:lnTo>
                    <a:pt x="2011316" y="452569"/>
                  </a:lnTo>
                  <a:lnTo>
                    <a:pt x="2010220" y="451772"/>
                  </a:lnTo>
                  <a:lnTo>
                    <a:pt x="2008924" y="451772"/>
                  </a:lnTo>
                  <a:lnTo>
                    <a:pt x="2007530" y="451772"/>
                  </a:lnTo>
                  <a:lnTo>
                    <a:pt x="2006334" y="450479"/>
                  </a:lnTo>
                  <a:lnTo>
                    <a:pt x="2005835" y="448589"/>
                  </a:lnTo>
                  <a:lnTo>
                    <a:pt x="2006931" y="444410"/>
                  </a:lnTo>
                  <a:lnTo>
                    <a:pt x="2006931" y="439735"/>
                  </a:lnTo>
                  <a:lnTo>
                    <a:pt x="2005038" y="437944"/>
                  </a:lnTo>
                  <a:lnTo>
                    <a:pt x="2001850" y="437944"/>
                  </a:lnTo>
                  <a:lnTo>
                    <a:pt x="1998761" y="439635"/>
                  </a:lnTo>
                  <a:lnTo>
                    <a:pt x="1996569" y="441525"/>
                  </a:lnTo>
                  <a:lnTo>
                    <a:pt x="1995173" y="441028"/>
                  </a:lnTo>
                  <a:lnTo>
                    <a:pt x="1995173" y="439735"/>
                  </a:lnTo>
                  <a:lnTo>
                    <a:pt x="1996170" y="436750"/>
                  </a:lnTo>
                  <a:lnTo>
                    <a:pt x="1996170" y="434561"/>
                  </a:lnTo>
                  <a:lnTo>
                    <a:pt x="1995074" y="433865"/>
                  </a:lnTo>
                  <a:lnTo>
                    <a:pt x="1991686" y="433865"/>
                  </a:lnTo>
                  <a:lnTo>
                    <a:pt x="1990092" y="433069"/>
                  </a:lnTo>
                  <a:lnTo>
                    <a:pt x="1988996" y="432074"/>
                  </a:lnTo>
                  <a:lnTo>
                    <a:pt x="1988199" y="430781"/>
                  </a:lnTo>
                  <a:lnTo>
                    <a:pt x="1986604" y="427398"/>
                  </a:lnTo>
                  <a:lnTo>
                    <a:pt x="1985807" y="424911"/>
                  </a:lnTo>
                  <a:lnTo>
                    <a:pt x="1983714" y="421727"/>
                  </a:lnTo>
                  <a:lnTo>
                    <a:pt x="1982818" y="420036"/>
                  </a:lnTo>
                  <a:lnTo>
                    <a:pt x="1982818" y="418245"/>
                  </a:lnTo>
                  <a:lnTo>
                    <a:pt x="1983316" y="416455"/>
                  </a:lnTo>
                  <a:lnTo>
                    <a:pt x="1982220" y="417051"/>
                  </a:lnTo>
                  <a:lnTo>
                    <a:pt x="1980924" y="417051"/>
                  </a:lnTo>
                  <a:lnTo>
                    <a:pt x="1978234" y="417051"/>
                  </a:lnTo>
                  <a:lnTo>
                    <a:pt x="1976939" y="416355"/>
                  </a:lnTo>
                  <a:lnTo>
                    <a:pt x="1976141" y="414564"/>
                  </a:lnTo>
                  <a:lnTo>
                    <a:pt x="1975045" y="414564"/>
                  </a:lnTo>
                  <a:lnTo>
                    <a:pt x="1972554" y="415460"/>
                  </a:lnTo>
                  <a:lnTo>
                    <a:pt x="1970661" y="417051"/>
                  </a:lnTo>
                  <a:lnTo>
                    <a:pt x="1968569" y="418146"/>
                  </a:lnTo>
                  <a:lnTo>
                    <a:pt x="1965978" y="417449"/>
                  </a:lnTo>
                  <a:lnTo>
                    <a:pt x="1965978" y="416355"/>
                  </a:lnTo>
                  <a:lnTo>
                    <a:pt x="1967173" y="413868"/>
                  </a:lnTo>
                  <a:lnTo>
                    <a:pt x="1967173" y="413171"/>
                  </a:lnTo>
                  <a:lnTo>
                    <a:pt x="1967173" y="411878"/>
                  </a:lnTo>
                  <a:lnTo>
                    <a:pt x="1966277" y="410883"/>
                  </a:lnTo>
                  <a:lnTo>
                    <a:pt x="1965380" y="410883"/>
                  </a:lnTo>
                  <a:lnTo>
                    <a:pt x="1965380" y="411480"/>
                  </a:lnTo>
                  <a:lnTo>
                    <a:pt x="1964882" y="414166"/>
                  </a:lnTo>
                  <a:lnTo>
                    <a:pt x="1963487" y="415559"/>
                  </a:lnTo>
                  <a:lnTo>
                    <a:pt x="1961593" y="416355"/>
                  </a:lnTo>
                  <a:lnTo>
                    <a:pt x="1955017" y="417151"/>
                  </a:lnTo>
                  <a:lnTo>
                    <a:pt x="1934590" y="414266"/>
                  </a:lnTo>
                  <a:lnTo>
                    <a:pt x="1933494" y="413470"/>
                  </a:lnTo>
                  <a:lnTo>
                    <a:pt x="1933494" y="412077"/>
                  </a:lnTo>
                  <a:lnTo>
                    <a:pt x="1932697" y="412077"/>
                  </a:lnTo>
                  <a:lnTo>
                    <a:pt x="1931202" y="413072"/>
                  </a:lnTo>
                  <a:lnTo>
                    <a:pt x="1927017" y="413072"/>
                  </a:lnTo>
                  <a:lnTo>
                    <a:pt x="1924526" y="412276"/>
                  </a:lnTo>
                  <a:lnTo>
                    <a:pt x="1923230" y="412276"/>
                  </a:lnTo>
                  <a:lnTo>
                    <a:pt x="1922234" y="412774"/>
                  </a:lnTo>
                  <a:lnTo>
                    <a:pt x="1921437" y="413569"/>
                  </a:lnTo>
                  <a:lnTo>
                    <a:pt x="1920341" y="413569"/>
                  </a:lnTo>
                  <a:lnTo>
                    <a:pt x="1919145" y="413569"/>
                  </a:lnTo>
                  <a:lnTo>
                    <a:pt x="1917949" y="413569"/>
                  </a:lnTo>
                  <a:lnTo>
                    <a:pt x="1916256" y="412674"/>
                  </a:lnTo>
                  <a:lnTo>
                    <a:pt x="1914462" y="411281"/>
                  </a:lnTo>
                  <a:lnTo>
                    <a:pt x="1912569" y="410684"/>
                  </a:lnTo>
                  <a:lnTo>
                    <a:pt x="1910576" y="412475"/>
                  </a:lnTo>
                  <a:lnTo>
                    <a:pt x="1907287" y="411679"/>
                  </a:lnTo>
                  <a:lnTo>
                    <a:pt x="1895330" y="412873"/>
                  </a:lnTo>
                  <a:lnTo>
                    <a:pt x="1890747" y="410983"/>
                  </a:lnTo>
                  <a:lnTo>
                    <a:pt x="1889252" y="409789"/>
                  </a:lnTo>
                  <a:lnTo>
                    <a:pt x="1883473" y="406705"/>
                  </a:lnTo>
                  <a:lnTo>
                    <a:pt x="1878889" y="406705"/>
                  </a:lnTo>
                  <a:lnTo>
                    <a:pt x="1877195" y="405809"/>
                  </a:lnTo>
                  <a:lnTo>
                    <a:pt x="1876597" y="403223"/>
                  </a:lnTo>
                  <a:lnTo>
                    <a:pt x="1874305" y="403820"/>
                  </a:lnTo>
                  <a:lnTo>
                    <a:pt x="1872711" y="402626"/>
                  </a:lnTo>
                  <a:lnTo>
                    <a:pt x="1871017" y="401034"/>
                  </a:lnTo>
                  <a:lnTo>
                    <a:pt x="1868626" y="400338"/>
                  </a:lnTo>
                  <a:lnTo>
                    <a:pt x="1867529" y="401034"/>
                  </a:lnTo>
                  <a:lnTo>
                    <a:pt x="1866234" y="403621"/>
                  </a:lnTo>
                  <a:lnTo>
                    <a:pt x="1864839" y="404217"/>
                  </a:lnTo>
                  <a:lnTo>
                    <a:pt x="1863345" y="404217"/>
                  </a:lnTo>
                  <a:lnTo>
                    <a:pt x="1862348" y="405212"/>
                  </a:lnTo>
                  <a:lnTo>
                    <a:pt x="1862348" y="406506"/>
                  </a:lnTo>
                  <a:lnTo>
                    <a:pt x="1862348" y="410286"/>
                  </a:lnTo>
                  <a:lnTo>
                    <a:pt x="1862348" y="411679"/>
                  </a:lnTo>
                  <a:lnTo>
                    <a:pt x="1859259" y="415957"/>
                  </a:lnTo>
                  <a:lnTo>
                    <a:pt x="1859259" y="416455"/>
                  </a:lnTo>
                  <a:lnTo>
                    <a:pt x="1845508" y="415460"/>
                  </a:lnTo>
                  <a:lnTo>
                    <a:pt x="1844611" y="415460"/>
                  </a:lnTo>
                  <a:lnTo>
                    <a:pt x="1843615" y="417250"/>
                  </a:lnTo>
                  <a:lnTo>
                    <a:pt x="1842220" y="418245"/>
                  </a:lnTo>
                  <a:lnTo>
                    <a:pt x="1842220" y="418245"/>
                  </a:lnTo>
                  <a:lnTo>
                    <a:pt x="1842220" y="418245"/>
                  </a:lnTo>
                  <a:lnTo>
                    <a:pt x="1841423" y="418245"/>
                  </a:lnTo>
                  <a:lnTo>
                    <a:pt x="1840725" y="418245"/>
                  </a:lnTo>
                  <a:lnTo>
                    <a:pt x="1840227" y="416853"/>
                  </a:lnTo>
                  <a:lnTo>
                    <a:pt x="1839629" y="416853"/>
                  </a:lnTo>
                  <a:lnTo>
                    <a:pt x="1837337" y="417748"/>
                  </a:lnTo>
                  <a:lnTo>
                    <a:pt x="1832853" y="420235"/>
                  </a:lnTo>
                  <a:lnTo>
                    <a:pt x="1830562" y="420732"/>
                  </a:lnTo>
                  <a:lnTo>
                    <a:pt x="1824981" y="420732"/>
                  </a:lnTo>
                  <a:lnTo>
                    <a:pt x="1823985" y="421727"/>
                  </a:lnTo>
                  <a:lnTo>
                    <a:pt x="1823985" y="422722"/>
                  </a:lnTo>
                  <a:lnTo>
                    <a:pt x="1823985" y="424016"/>
                  </a:lnTo>
                  <a:lnTo>
                    <a:pt x="1823985" y="425508"/>
                  </a:lnTo>
                  <a:lnTo>
                    <a:pt x="1820298" y="431875"/>
                  </a:lnTo>
                  <a:lnTo>
                    <a:pt x="1819800" y="433865"/>
                  </a:lnTo>
                  <a:lnTo>
                    <a:pt x="1819202" y="433865"/>
                  </a:lnTo>
                  <a:lnTo>
                    <a:pt x="1817209" y="437645"/>
                  </a:lnTo>
                  <a:lnTo>
                    <a:pt x="1817209" y="437645"/>
                  </a:lnTo>
                  <a:lnTo>
                    <a:pt x="1816014" y="439933"/>
                  </a:lnTo>
                  <a:lnTo>
                    <a:pt x="1815216" y="440829"/>
                  </a:lnTo>
                  <a:lnTo>
                    <a:pt x="1813622" y="441525"/>
                  </a:lnTo>
                  <a:lnTo>
                    <a:pt x="1814319" y="443316"/>
                  </a:lnTo>
                  <a:lnTo>
                    <a:pt x="1814319" y="443814"/>
                  </a:lnTo>
                  <a:lnTo>
                    <a:pt x="1813124" y="444410"/>
                  </a:lnTo>
                  <a:lnTo>
                    <a:pt x="1813821" y="446301"/>
                  </a:lnTo>
                  <a:lnTo>
                    <a:pt x="1813124" y="447395"/>
                  </a:lnTo>
                  <a:lnTo>
                    <a:pt x="1811928" y="448290"/>
                  </a:lnTo>
                  <a:lnTo>
                    <a:pt x="1807942" y="458239"/>
                  </a:lnTo>
                  <a:lnTo>
                    <a:pt x="1807145" y="459532"/>
                  </a:lnTo>
                  <a:lnTo>
                    <a:pt x="1806448" y="460826"/>
                  </a:lnTo>
                  <a:lnTo>
                    <a:pt x="1806448" y="462816"/>
                  </a:lnTo>
                  <a:lnTo>
                    <a:pt x="1806448" y="464408"/>
                  </a:lnTo>
                  <a:lnTo>
                    <a:pt x="1806946" y="465900"/>
                  </a:lnTo>
                  <a:lnTo>
                    <a:pt x="1806946" y="467591"/>
                  </a:lnTo>
                  <a:lnTo>
                    <a:pt x="1805750" y="469481"/>
                  </a:lnTo>
                  <a:lnTo>
                    <a:pt x="1805750" y="470277"/>
                  </a:lnTo>
                  <a:lnTo>
                    <a:pt x="1806647" y="472267"/>
                  </a:lnTo>
                  <a:lnTo>
                    <a:pt x="1806647" y="472864"/>
                  </a:lnTo>
                  <a:lnTo>
                    <a:pt x="1805551" y="473560"/>
                  </a:lnTo>
                  <a:lnTo>
                    <a:pt x="1796583" y="473560"/>
                  </a:lnTo>
                  <a:lnTo>
                    <a:pt x="1795885" y="473560"/>
                  </a:lnTo>
                  <a:lnTo>
                    <a:pt x="1794391" y="474754"/>
                  </a:lnTo>
                  <a:lnTo>
                    <a:pt x="1793594" y="475749"/>
                  </a:lnTo>
                  <a:lnTo>
                    <a:pt x="1793594" y="477241"/>
                  </a:lnTo>
                  <a:lnTo>
                    <a:pt x="1793594" y="479828"/>
                  </a:lnTo>
                  <a:lnTo>
                    <a:pt x="1791900" y="485300"/>
                  </a:lnTo>
                  <a:lnTo>
                    <a:pt x="1791900" y="486991"/>
                  </a:lnTo>
                  <a:lnTo>
                    <a:pt x="1792796" y="488284"/>
                  </a:lnTo>
                  <a:lnTo>
                    <a:pt x="1795885" y="490274"/>
                  </a:lnTo>
                  <a:lnTo>
                    <a:pt x="1796982" y="491866"/>
                  </a:lnTo>
                  <a:lnTo>
                    <a:pt x="1795586" y="492463"/>
                  </a:lnTo>
                  <a:lnTo>
                    <a:pt x="1792199" y="493060"/>
                  </a:lnTo>
                  <a:lnTo>
                    <a:pt x="1786519" y="497338"/>
                  </a:lnTo>
                  <a:lnTo>
                    <a:pt x="1785821" y="498432"/>
                  </a:lnTo>
                  <a:lnTo>
                    <a:pt x="1783031" y="496940"/>
                  </a:lnTo>
                  <a:lnTo>
                    <a:pt x="1780640" y="499129"/>
                  </a:lnTo>
                  <a:lnTo>
                    <a:pt x="1777252" y="506192"/>
                  </a:lnTo>
                  <a:lnTo>
                    <a:pt x="1776156" y="507684"/>
                  </a:lnTo>
                  <a:lnTo>
                    <a:pt x="1775159" y="508480"/>
                  </a:lnTo>
                  <a:lnTo>
                    <a:pt x="1770078" y="511166"/>
                  </a:lnTo>
                  <a:lnTo>
                    <a:pt x="1769081" y="512062"/>
                  </a:lnTo>
                  <a:lnTo>
                    <a:pt x="1768483" y="513355"/>
                  </a:lnTo>
                  <a:lnTo>
                    <a:pt x="1767686" y="515842"/>
                  </a:lnTo>
                  <a:lnTo>
                    <a:pt x="1767188" y="515842"/>
                  </a:lnTo>
                  <a:lnTo>
                    <a:pt x="1766092" y="515842"/>
                  </a:lnTo>
                  <a:lnTo>
                    <a:pt x="1765494" y="520618"/>
                  </a:lnTo>
                  <a:lnTo>
                    <a:pt x="1763800" y="524398"/>
                  </a:lnTo>
                  <a:lnTo>
                    <a:pt x="1760611" y="526090"/>
                  </a:lnTo>
                  <a:lnTo>
                    <a:pt x="1755629" y="525294"/>
                  </a:lnTo>
                  <a:lnTo>
                    <a:pt x="1748754" y="523503"/>
                  </a:lnTo>
                  <a:lnTo>
                    <a:pt x="1741181" y="523503"/>
                  </a:lnTo>
                  <a:lnTo>
                    <a:pt x="1739387" y="522508"/>
                  </a:lnTo>
                  <a:lnTo>
                    <a:pt x="1739985" y="520220"/>
                  </a:lnTo>
                  <a:lnTo>
                    <a:pt x="1739985" y="519523"/>
                  </a:lnTo>
                  <a:lnTo>
                    <a:pt x="1738092" y="520120"/>
                  </a:lnTo>
                  <a:lnTo>
                    <a:pt x="1737394" y="520120"/>
                  </a:lnTo>
                  <a:lnTo>
                    <a:pt x="1735900" y="517733"/>
                  </a:lnTo>
                  <a:lnTo>
                    <a:pt x="1734704" y="517733"/>
                  </a:lnTo>
                  <a:lnTo>
                    <a:pt x="1733608" y="519126"/>
                  </a:lnTo>
                  <a:lnTo>
                    <a:pt x="1732113" y="519921"/>
                  </a:lnTo>
                  <a:lnTo>
                    <a:pt x="1730320" y="519225"/>
                  </a:lnTo>
                  <a:lnTo>
                    <a:pt x="1726832" y="515942"/>
                  </a:lnTo>
                  <a:lnTo>
                    <a:pt x="1725636" y="515146"/>
                  </a:lnTo>
                  <a:lnTo>
                    <a:pt x="1724142" y="515146"/>
                  </a:lnTo>
                  <a:lnTo>
                    <a:pt x="1718761" y="512161"/>
                  </a:lnTo>
                  <a:lnTo>
                    <a:pt x="1712284" y="505894"/>
                  </a:lnTo>
                  <a:lnTo>
                    <a:pt x="1711586" y="504700"/>
                  </a:lnTo>
                  <a:lnTo>
                    <a:pt x="1711586" y="503705"/>
                  </a:lnTo>
                  <a:lnTo>
                    <a:pt x="1711586" y="502810"/>
                  </a:lnTo>
                  <a:lnTo>
                    <a:pt x="1710490" y="502014"/>
                  </a:lnTo>
                  <a:lnTo>
                    <a:pt x="1709494" y="502014"/>
                  </a:lnTo>
                  <a:lnTo>
                    <a:pt x="1706106" y="502014"/>
                  </a:lnTo>
                  <a:lnTo>
                    <a:pt x="1695046" y="499327"/>
                  </a:lnTo>
                  <a:lnTo>
                    <a:pt x="1691359" y="497338"/>
                  </a:lnTo>
                  <a:lnTo>
                    <a:pt x="1685380" y="492364"/>
                  </a:lnTo>
                  <a:lnTo>
                    <a:pt x="1684184" y="491866"/>
                  </a:lnTo>
                  <a:lnTo>
                    <a:pt x="1682690" y="491866"/>
                  </a:lnTo>
                  <a:lnTo>
                    <a:pt x="1681892" y="491070"/>
                  </a:lnTo>
                  <a:lnTo>
                    <a:pt x="1682889" y="487886"/>
                  </a:lnTo>
                  <a:lnTo>
                    <a:pt x="1682291" y="486593"/>
                  </a:lnTo>
                  <a:lnTo>
                    <a:pt x="1681095" y="485499"/>
                  </a:lnTo>
                  <a:lnTo>
                    <a:pt x="1679700" y="485499"/>
                  </a:lnTo>
                  <a:lnTo>
                    <a:pt x="1670932" y="485001"/>
                  </a:lnTo>
                  <a:lnTo>
                    <a:pt x="1662860" y="483410"/>
                  </a:lnTo>
                  <a:lnTo>
                    <a:pt x="1651401" y="479530"/>
                  </a:lnTo>
                  <a:lnTo>
                    <a:pt x="1646619" y="476943"/>
                  </a:lnTo>
                  <a:lnTo>
                    <a:pt x="1640540" y="470377"/>
                  </a:lnTo>
                  <a:lnTo>
                    <a:pt x="1636256" y="468287"/>
                  </a:lnTo>
                  <a:lnTo>
                    <a:pt x="1633466" y="465999"/>
                  </a:lnTo>
                  <a:lnTo>
                    <a:pt x="1629280" y="461522"/>
                  </a:lnTo>
                  <a:lnTo>
                    <a:pt x="1627088" y="456448"/>
                  </a:lnTo>
                  <a:lnTo>
                    <a:pt x="1626291" y="455752"/>
                  </a:lnTo>
                  <a:lnTo>
                    <a:pt x="1625195" y="455752"/>
                  </a:lnTo>
                  <a:lnTo>
                    <a:pt x="1622206" y="453563"/>
                  </a:lnTo>
                  <a:lnTo>
                    <a:pt x="1620213" y="451076"/>
                  </a:lnTo>
                  <a:lnTo>
                    <a:pt x="1616925" y="450181"/>
                  </a:lnTo>
                  <a:lnTo>
                    <a:pt x="1613437" y="450181"/>
                  </a:lnTo>
                  <a:lnTo>
                    <a:pt x="1611145" y="451275"/>
                  </a:lnTo>
                  <a:lnTo>
                    <a:pt x="1609850" y="449385"/>
                  </a:lnTo>
                  <a:lnTo>
                    <a:pt x="1599886" y="443117"/>
                  </a:lnTo>
                  <a:lnTo>
                    <a:pt x="1598989" y="443117"/>
                  </a:lnTo>
                  <a:lnTo>
                    <a:pt x="1598191" y="442520"/>
                  </a:lnTo>
                  <a:lnTo>
                    <a:pt x="1597594" y="441426"/>
                  </a:lnTo>
                  <a:lnTo>
                    <a:pt x="1597594" y="440033"/>
                  </a:lnTo>
                  <a:lnTo>
                    <a:pt x="1597594" y="439138"/>
                  </a:lnTo>
                  <a:lnTo>
                    <a:pt x="1595800" y="437446"/>
                  </a:lnTo>
                  <a:lnTo>
                    <a:pt x="1589821" y="433367"/>
                  </a:lnTo>
                  <a:lnTo>
                    <a:pt x="1588028" y="431477"/>
                  </a:lnTo>
                  <a:lnTo>
                    <a:pt x="1587529" y="430084"/>
                  </a:lnTo>
                  <a:lnTo>
                    <a:pt x="1587529" y="428692"/>
                  </a:lnTo>
                  <a:lnTo>
                    <a:pt x="1587529" y="426702"/>
                  </a:lnTo>
                  <a:lnTo>
                    <a:pt x="1586732" y="424712"/>
                  </a:lnTo>
                  <a:lnTo>
                    <a:pt x="1584540" y="420534"/>
                  </a:lnTo>
                  <a:lnTo>
                    <a:pt x="1583444" y="414664"/>
                  </a:lnTo>
                  <a:lnTo>
                    <a:pt x="1581750" y="412574"/>
                  </a:lnTo>
                  <a:lnTo>
                    <a:pt x="1579458" y="410784"/>
                  </a:lnTo>
                  <a:lnTo>
                    <a:pt x="1577167" y="408297"/>
                  </a:lnTo>
                  <a:lnTo>
                    <a:pt x="1576668" y="407103"/>
                  </a:lnTo>
                  <a:lnTo>
                    <a:pt x="1574875" y="400536"/>
                  </a:lnTo>
                  <a:lnTo>
                    <a:pt x="1572583" y="397651"/>
                  </a:lnTo>
                  <a:lnTo>
                    <a:pt x="1571985" y="396259"/>
                  </a:lnTo>
                  <a:lnTo>
                    <a:pt x="1571985" y="395562"/>
                  </a:lnTo>
                  <a:lnTo>
                    <a:pt x="1570291" y="393672"/>
                  </a:lnTo>
                  <a:lnTo>
                    <a:pt x="1569793" y="392876"/>
                  </a:lnTo>
                  <a:lnTo>
                    <a:pt x="1569793" y="391483"/>
                  </a:lnTo>
                  <a:lnTo>
                    <a:pt x="1569793" y="389294"/>
                  </a:lnTo>
                  <a:lnTo>
                    <a:pt x="1569793" y="388001"/>
                  </a:lnTo>
                  <a:lnTo>
                    <a:pt x="1567501" y="380341"/>
                  </a:lnTo>
                  <a:lnTo>
                    <a:pt x="1567501" y="376958"/>
                  </a:lnTo>
                  <a:lnTo>
                    <a:pt x="1567501" y="374073"/>
                  </a:lnTo>
                  <a:lnTo>
                    <a:pt x="1569295" y="369098"/>
                  </a:lnTo>
                  <a:lnTo>
                    <a:pt x="1569295" y="365815"/>
                  </a:lnTo>
                  <a:lnTo>
                    <a:pt x="1569295" y="360742"/>
                  </a:lnTo>
                  <a:lnTo>
                    <a:pt x="1569295" y="357558"/>
                  </a:lnTo>
                  <a:lnTo>
                    <a:pt x="1567501" y="355369"/>
                  </a:lnTo>
                  <a:lnTo>
                    <a:pt x="1565010" y="350295"/>
                  </a:lnTo>
                  <a:lnTo>
                    <a:pt x="1563814" y="349102"/>
                  </a:lnTo>
                  <a:lnTo>
                    <a:pt x="1561622" y="348107"/>
                  </a:lnTo>
                  <a:lnTo>
                    <a:pt x="1560725" y="347410"/>
                  </a:lnTo>
                  <a:lnTo>
                    <a:pt x="1559131" y="344625"/>
                  </a:lnTo>
                  <a:lnTo>
                    <a:pt x="1557636" y="340744"/>
                  </a:lnTo>
                  <a:lnTo>
                    <a:pt x="1555743" y="337362"/>
                  </a:lnTo>
                  <a:lnTo>
                    <a:pt x="1553352" y="335870"/>
                  </a:lnTo>
                  <a:lnTo>
                    <a:pt x="1552754" y="335273"/>
                  </a:lnTo>
                  <a:lnTo>
                    <a:pt x="1552754" y="333880"/>
                  </a:lnTo>
                  <a:lnTo>
                    <a:pt x="1552754" y="332189"/>
                  </a:lnTo>
                  <a:lnTo>
                    <a:pt x="1552754" y="331094"/>
                  </a:lnTo>
                  <a:lnTo>
                    <a:pt x="1551957" y="330100"/>
                  </a:lnTo>
                  <a:lnTo>
                    <a:pt x="1550362" y="329105"/>
                  </a:lnTo>
                  <a:lnTo>
                    <a:pt x="1549366" y="328110"/>
                  </a:lnTo>
                  <a:lnTo>
                    <a:pt x="1548369" y="326518"/>
                  </a:lnTo>
                  <a:lnTo>
                    <a:pt x="1548369" y="325821"/>
                  </a:lnTo>
                  <a:lnTo>
                    <a:pt x="1548369" y="324926"/>
                  </a:lnTo>
                  <a:lnTo>
                    <a:pt x="1548369" y="322737"/>
                  </a:lnTo>
                  <a:lnTo>
                    <a:pt x="1548369" y="321444"/>
                  </a:lnTo>
                  <a:lnTo>
                    <a:pt x="1547074" y="319554"/>
                  </a:lnTo>
                  <a:lnTo>
                    <a:pt x="1547074" y="317962"/>
                  </a:lnTo>
                  <a:lnTo>
                    <a:pt x="1547074" y="316967"/>
                  </a:lnTo>
                  <a:lnTo>
                    <a:pt x="1547772" y="315375"/>
                  </a:lnTo>
                  <a:lnTo>
                    <a:pt x="1547772" y="314480"/>
                  </a:lnTo>
                  <a:lnTo>
                    <a:pt x="1547273" y="313783"/>
                  </a:lnTo>
                  <a:lnTo>
                    <a:pt x="1545181" y="312590"/>
                  </a:lnTo>
                  <a:lnTo>
                    <a:pt x="1545181" y="311197"/>
                  </a:lnTo>
                  <a:lnTo>
                    <a:pt x="1545181" y="308212"/>
                  </a:lnTo>
                  <a:lnTo>
                    <a:pt x="1545181" y="306820"/>
                  </a:lnTo>
                  <a:lnTo>
                    <a:pt x="1543686" y="304332"/>
                  </a:lnTo>
                  <a:lnTo>
                    <a:pt x="1539900" y="300054"/>
                  </a:lnTo>
                  <a:lnTo>
                    <a:pt x="1539103" y="298562"/>
                  </a:lnTo>
                  <a:lnTo>
                    <a:pt x="1538305" y="298065"/>
                  </a:lnTo>
                  <a:lnTo>
                    <a:pt x="1534320" y="297468"/>
                  </a:lnTo>
                  <a:lnTo>
                    <a:pt x="1533024" y="297468"/>
                  </a:lnTo>
                  <a:lnTo>
                    <a:pt x="1532227" y="296174"/>
                  </a:lnTo>
                  <a:lnTo>
                    <a:pt x="1532227" y="294682"/>
                  </a:lnTo>
                  <a:lnTo>
                    <a:pt x="1532227" y="293090"/>
                  </a:lnTo>
                  <a:lnTo>
                    <a:pt x="1532227" y="291697"/>
                  </a:lnTo>
                  <a:lnTo>
                    <a:pt x="1530633" y="289508"/>
                  </a:lnTo>
                  <a:lnTo>
                    <a:pt x="1528241" y="287618"/>
                  </a:lnTo>
                  <a:lnTo>
                    <a:pt x="1525551" y="286325"/>
                  </a:lnTo>
                  <a:lnTo>
                    <a:pt x="1523159" y="286325"/>
                  </a:lnTo>
                  <a:lnTo>
                    <a:pt x="1520768" y="285231"/>
                  </a:lnTo>
                  <a:lnTo>
                    <a:pt x="1514889" y="278466"/>
                  </a:lnTo>
                  <a:lnTo>
                    <a:pt x="1514092" y="279460"/>
                  </a:lnTo>
                  <a:lnTo>
                    <a:pt x="1512497" y="277669"/>
                  </a:lnTo>
                  <a:lnTo>
                    <a:pt x="1511900" y="277669"/>
                  </a:lnTo>
                  <a:lnTo>
                    <a:pt x="1511900" y="277669"/>
                  </a:lnTo>
                  <a:lnTo>
                    <a:pt x="1511900" y="276177"/>
                  </a:lnTo>
                  <a:lnTo>
                    <a:pt x="1511402" y="275282"/>
                  </a:lnTo>
                  <a:lnTo>
                    <a:pt x="1510405" y="275282"/>
                  </a:lnTo>
                  <a:lnTo>
                    <a:pt x="1509110" y="275282"/>
                  </a:lnTo>
                  <a:lnTo>
                    <a:pt x="1507814" y="274785"/>
                  </a:lnTo>
                  <a:lnTo>
                    <a:pt x="1506619" y="272695"/>
                  </a:lnTo>
                  <a:lnTo>
                    <a:pt x="1505722" y="272695"/>
                  </a:lnTo>
                  <a:lnTo>
                    <a:pt x="1504925" y="272695"/>
                  </a:lnTo>
                  <a:lnTo>
                    <a:pt x="1503530" y="272695"/>
                  </a:lnTo>
                  <a:lnTo>
                    <a:pt x="1503530" y="272695"/>
                  </a:lnTo>
                  <a:lnTo>
                    <a:pt x="1502633" y="273790"/>
                  </a:lnTo>
                  <a:lnTo>
                    <a:pt x="1502135" y="273790"/>
                  </a:lnTo>
                  <a:lnTo>
                    <a:pt x="1501437" y="273790"/>
                  </a:lnTo>
                  <a:lnTo>
                    <a:pt x="1500142" y="273193"/>
                  </a:lnTo>
                  <a:lnTo>
                    <a:pt x="1499345" y="272397"/>
                  </a:lnTo>
                  <a:lnTo>
                    <a:pt x="1498747" y="271601"/>
                  </a:lnTo>
                  <a:lnTo>
                    <a:pt x="1497950" y="270805"/>
                  </a:lnTo>
                  <a:lnTo>
                    <a:pt x="1490775" y="267422"/>
                  </a:lnTo>
                  <a:lnTo>
                    <a:pt x="1486989" y="266427"/>
                  </a:lnTo>
                  <a:lnTo>
                    <a:pt x="1485494" y="265134"/>
                  </a:lnTo>
                  <a:lnTo>
                    <a:pt x="1480512" y="259065"/>
                  </a:lnTo>
                  <a:lnTo>
                    <a:pt x="1470547" y="251405"/>
                  </a:lnTo>
                  <a:lnTo>
                    <a:pt x="1466263" y="246431"/>
                  </a:lnTo>
                  <a:lnTo>
                    <a:pt x="1463074" y="244839"/>
                  </a:lnTo>
                  <a:lnTo>
                    <a:pt x="1461878" y="242849"/>
                  </a:lnTo>
                  <a:lnTo>
                    <a:pt x="1460184" y="237874"/>
                  </a:lnTo>
                  <a:lnTo>
                    <a:pt x="1458690" y="235089"/>
                  </a:lnTo>
                  <a:lnTo>
                    <a:pt x="1456796" y="233597"/>
                  </a:lnTo>
                  <a:lnTo>
                    <a:pt x="1447829" y="230811"/>
                  </a:lnTo>
                  <a:lnTo>
                    <a:pt x="1445238" y="228921"/>
                  </a:lnTo>
                  <a:lnTo>
                    <a:pt x="1442249" y="225538"/>
                  </a:lnTo>
                  <a:lnTo>
                    <a:pt x="1441252" y="224941"/>
                  </a:lnTo>
                  <a:lnTo>
                    <a:pt x="1439160" y="224145"/>
                  </a:lnTo>
                  <a:lnTo>
                    <a:pt x="1429195" y="218077"/>
                  </a:lnTo>
                  <a:lnTo>
                    <a:pt x="1428000" y="216286"/>
                  </a:lnTo>
                  <a:lnTo>
                    <a:pt x="1427103" y="213699"/>
                  </a:lnTo>
                  <a:lnTo>
                    <a:pt x="1417138" y="202755"/>
                  </a:lnTo>
                  <a:lnTo>
                    <a:pt x="1414846" y="200865"/>
                  </a:lnTo>
                  <a:lnTo>
                    <a:pt x="1412754" y="200169"/>
                  </a:lnTo>
                  <a:lnTo>
                    <a:pt x="1412754" y="199671"/>
                  </a:lnTo>
                  <a:lnTo>
                    <a:pt x="1411259" y="198676"/>
                  </a:lnTo>
                  <a:lnTo>
                    <a:pt x="1408868" y="197284"/>
                  </a:lnTo>
                  <a:lnTo>
                    <a:pt x="1407971" y="195990"/>
                  </a:lnTo>
                  <a:lnTo>
                    <a:pt x="1407074" y="193603"/>
                  </a:lnTo>
                  <a:lnTo>
                    <a:pt x="1406277" y="192309"/>
                  </a:lnTo>
                  <a:lnTo>
                    <a:pt x="1404683" y="191016"/>
                  </a:lnTo>
                  <a:lnTo>
                    <a:pt x="1399202" y="187235"/>
                  </a:lnTo>
                  <a:lnTo>
                    <a:pt x="1397110" y="186539"/>
                  </a:lnTo>
                  <a:lnTo>
                    <a:pt x="1393921" y="186539"/>
                  </a:lnTo>
                  <a:lnTo>
                    <a:pt x="1391530" y="185644"/>
                  </a:lnTo>
                  <a:lnTo>
                    <a:pt x="1387245" y="183057"/>
                  </a:lnTo>
                  <a:lnTo>
                    <a:pt x="1381964" y="181664"/>
                  </a:lnTo>
                  <a:lnTo>
                    <a:pt x="1379074" y="180470"/>
                  </a:lnTo>
                  <a:lnTo>
                    <a:pt x="1377779" y="178680"/>
                  </a:lnTo>
                  <a:lnTo>
                    <a:pt x="1373394" y="176192"/>
                  </a:lnTo>
                  <a:lnTo>
                    <a:pt x="1372597" y="175297"/>
                  </a:lnTo>
                  <a:lnTo>
                    <a:pt x="1372597" y="174601"/>
                  </a:lnTo>
                  <a:lnTo>
                    <a:pt x="1372597" y="173805"/>
                  </a:lnTo>
                  <a:lnTo>
                    <a:pt x="1372099" y="172312"/>
                  </a:lnTo>
                  <a:lnTo>
                    <a:pt x="1370903" y="170124"/>
                  </a:lnTo>
                  <a:lnTo>
                    <a:pt x="1365622" y="164055"/>
                  </a:lnTo>
                  <a:lnTo>
                    <a:pt x="1364128" y="161568"/>
                  </a:lnTo>
                  <a:lnTo>
                    <a:pt x="1360839" y="151619"/>
                  </a:lnTo>
                  <a:lnTo>
                    <a:pt x="1358448" y="146844"/>
                  </a:lnTo>
                  <a:lnTo>
                    <a:pt x="1355060" y="141869"/>
                  </a:lnTo>
                  <a:lnTo>
                    <a:pt x="1350775" y="137790"/>
                  </a:lnTo>
                  <a:lnTo>
                    <a:pt x="1346092" y="135999"/>
                  </a:lnTo>
                  <a:lnTo>
                    <a:pt x="1340611" y="136497"/>
                  </a:lnTo>
                  <a:lnTo>
                    <a:pt x="1338120" y="135900"/>
                  </a:lnTo>
                  <a:lnTo>
                    <a:pt x="1337024" y="134905"/>
                  </a:lnTo>
                  <a:lnTo>
                    <a:pt x="1336427" y="134308"/>
                  </a:lnTo>
                  <a:lnTo>
                    <a:pt x="1335031" y="134308"/>
                  </a:lnTo>
                  <a:lnTo>
                    <a:pt x="1121693" y="134308"/>
                  </a:lnTo>
                  <a:lnTo>
                    <a:pt x="1121693" y="198478"/>
                  </a:lnTo>
                  <a:lnTo>
                    <a:pt x="770249" y="198478"/>
                  </a:lnTo>
                  <a:lnTo>
                    <a:pt x="762576" y="197582"/>
                  </a:lnTo>
                  <a:lnTo>
                    <a:pt x="759188" y="196289"/>
                  </a:lnTo>
                  <a:lnTo>
                    <a:pt x="752712" y="193901"/>
                  </a:lnTo>
                  <a:lnTo>
                    <a:pt x="746235" y="191613"/>
                  </a:lnTo>
                  <a:lnTo>
                    <a:pt x="739758" y="189225"/>
                  </a:lnTo>
                  <a:lnTo>
                    <a:pt x="733281" y="186937"/>
                  </a:lnTo>
                  <a:lnTo>
                    <a:pt x="726804" y="184549"/>
                  </a:lnTo>
                  <a:lnTo>
                    <a:pt x="720427" y="181067"/>
                  </a:lnTo>
                  <a:lnTo>
                    <a:pt x="713950" y="178779"/>
                  </a:lnTo>
                  <a:lnTo>
                    <a:pt x="707373" y="176391"/>
                  </a:lnTo>
                  <a:lnTo>
                    <a:pt x="655857" y="158384"/>
                  </a:lnTo>
                  <a:lnTo>
                    <a:pt x="604341" y="140377"/>
                  </a:lnTo>
                  <a:lnTo>
                    <a:pt x="552726" y="122270"/>
                  </a:lnTo>
                  <a:lnTo>
                    <a:pt x="501210" y="103964"/>
                  </a:lnTo>
                  <a:lnTo>
                    <a:pt x="449594" y="85858"/>
                  </a:lnTo>
                  <a:lnTo>
                    <a:pt x="398078" y="67751"/>
                  </a:lnTo>
                  <a:lnTo>
                    <a:pt x="346562" y="49744"/>
                  </a:lnTo>
                  <a:lnTo>
                    <a:pt x="294648" y="31836"/>
                  </a:lnTo>
                  <a:lnTo>
                    <a:pt x="290064" y="30244"/>
                  </a:lnTo>
                  <a:lnTo>
                    <a:pt x="290064" y="30244"/>
                  </a:lnTo>
                  <a:lnTo>
                    <a:pt x="290064" y="30244"/>
                  </a:lnTo>
                  <a:lnTo>
                    <a:pt x="291658" y="28652"/>
                  </a:lnTo>
                  <a:lnTo>
                    <a:pt x="293452" y="22882"/>
                  </a:lnTo>
                  <a:lnTo>
                    <a:pt x="293452" y="19699"/>
                  </a:lnTo>
                  <a:lnTo>
                    <a:pt x="292356" y="16813"/>
                  </a:lnTo>
                  <a:lnTo>
                    <a:pt x="294349" y="13033"/>
                  </a:lnTo>
                  <a:lnTo>
                    <a:pt x="294947" y="11939"/>
                  </a:lnTo>
                  <a:lnTo>
                    <a:pt x="297836" y="9551"/>
                  </a:lnTo>
                  <a:lnTo>
                    <a:pt x="298833" y="8556"/>
                  </a:lnTo>
                  <a:lnTo>
                    <a:pt x="300327" y="6069"/>
                  </a:lnTo>
                  <a:lnTo>
                    <a:pt x="301324" y="3582"/>
                  </a:lnTo>
                  <a:lnTo>
                    <a:pt x="302221" y="0"/>
                  </a:lnTo>
                  <a:lnTo>
                    <a:pt x="302221" y="0"/>
                  </a:lnTo>
                  <a:lnTo>
                    <a:pt x="297139" y="0"/>
                  </a:lnTo>
                  <a:lnTo>
                    <a:pt x="287872" y="796"/>
                  </a:lnTo>
                  <a:lnTo>
                    <a:pt x="278605" y="1592"/>
                  </a:lnTo>
                  <a:lnTo>
                    <a:pt x="269338" y="2388"/>
                  </a:lnTo>
                  <a:lnTo>
                    <a:pt x="260071" y="3184"/>
                  </a:lnTo>
                  <a:lnTo>
                    <a:pt x="250804" y="3980"/>
                  </a:lnTo>
                  <a:lnTo>
                    <a:pt x="241537" y="4776"/>
                  </a:lnTo>
                  <a:lnTo>
                    <a:pt x="232270" y="5571"/>
                  </a:lnTo>
                  <a:lnTo>
                    <a:pt x="223004" y="6367"/>
                  </a:lnTo>
                  <a:lnTo>
                    <a:pt x="213737" y="7163"/>
                  </a:lnTo>
                  <a:lnTo>
                    <a:pt x="204470" y="7860"/>
                  </a:lnTo>
                  <a:lnTo>
                    <a:pt x="195203" y="8755"/>
                  </a:lnTo>
                  <a:lnTo>
                    <a:pt x="185936" y="9551"/>
                  </a:lnTo>
                  <a:lnTo>
                    <a:pt x="176669" y="10347"/>
                  </a:lnTo>
                  <a:lnTo>
                    <a:pt x="167402" y="11143"/>
                  </a:lnTo>
                  <a:lnTo>
                    <a:pt x="158135" y="11939"/>
                  </a:lnTo>
                  <a:lnTo>
                    <a:pt x="148868" y="12734"/>
                  </a:lnTo>
                  <a:lnTo>
                    <a:pt x="139601" y="13530"/>
                  </a:lnTo>
                  <a:lnTo>
                    <a:pt x="130334" y="14326"/>
                  </a:lnTo>
                  <a:lnTo>
                    <a:pt x="121167" y="15122"/>
                  </a:lnTo>
                  <a:lnTo>
                    <a:pt x="111801" y="15918"/>
                  </a:lnTo>
                  <a:lnTo>
                    <a:pt x="102534" y="16714"/>
                  </a:lnTo>
                  <a:lnTo>
                    <a:pt x="93267" y="17510"/>
                  </a:lnTo>
                  <a:lnTo>
                    <a:pt x="84000" y="18306"/>
                  </a:lnTo>
                  <a:lnTo>
                    <a:pt x="74733" y="19102"/>
                  </a:lnTo>
                  <a:lnTo>
                    <a:pt x="65566" y="19897"/>
                  </a:lnTo>
                  <a:lnTo>
                    <a:pt x="56199" y="20694"/>
                  </a:lnTo>
                  <a:lnTo>
                    <a:pt x="46932" y="21489"/>
                  </a:lnTo>
                  <a:lnTo>
                    <a:pt x="37765" y="22285"/>
                  </a:lnTo>
                  <a:lnTo>
                    <a:pt x="28498" y="23081"/>
                  </a:lnTo>
                  <a:lnTo>
                    <a:pt x="19231" y="23877"/>
                  </a:lnTo>
                  <a:lnTo>
                    <a:pt x="9964" y="24673"/>
                  </a:lnTo>
                  <a:lnTo>
                    <a:pt x="0" y="25469"/>
                  </a:lnTo>
                  <a:lnTo>
                    <a:pt x="0" y="26563"/>
                  </a:lnTo>
                  <a:lnTo>
                    <a:pt x="0" y="28155"/>
                  </a:lnTo>
                  <a:lnTo>
                    <a:pt x="0" y="31438"/>
                  </a:lnTo>
                  <a:lnTo>
                    <a:pt x="0" y="34025"/>
                  </a:lnTo>
                  <a:lnTo>
                    <a:pt x="0" y="36612"/>
                  </a:lnTo>
                  <a:lnTo>
                    <a:pt x="1395" y="38999"/>
                  </a:lnTo>
                  <a:lnTo>
                    <a:pt x="3787" y="43675"/>
                  </a:lnTo>
                  <a:lnTo>
                    <a:pt x="5680" y="48749"/>
                  </a:lnTo>
                  <a:lnTo>
                    <a:pt x="11758" y="61981"/>
                  </a:lnTo>
                  <a:lnTo>
                    <a:pt x="13651" y="63672"/>
                  </a:lnTo>
                  <a:lnTo>
                    <a:pt x="19132" y="64866"/>
                  </a:lnTo>
                  <a:lnTo>
                    <a:pt x="21424" y="66259"/>
                  </a:lnTo>
                  <a:lnTo>
                    <a:pt x="23317" y="68149"/>
                  </a:lnTo>
                  <a:lnTo>
                    <a:pt x="24612" y="70139"/>
                  </a:lnTo>
                  <a:lnTo>
                    <a:pt x="26804" y="76108"/>
                  </a:lnTo>
                  <a:lnTo>
                    <a:pt x="29096" y="82674"/>
                  </a:lnTo>
                  <a:lnTo>
                    <a:pt x="30192" y="91628"/>
                  </a:lnTo>
                  <a:lnTo>
                    <a:pt x="30192" y="96603"/>
                  </a:lnTo>
                  <a:lnTo>
                    <a:pt x="31488" y="99687"/>
                  </a:lnTo>
                  <a:lnTo>
                    <a:pt x="34377" y="103467"/>
                  </a:lnTo>
                  <a:lnTo>
                    <a:pt x="39260" y="104561"/>
                  </a:lnTo>
                  <a:lnTo>
                    <a:pt x="43445" y="104561"/>
                  </a:lnTo>
                  <a:lnTo>
                    <a:pt x="45039" y="106352"/>
                  </a:lnTo>
                  <a:lnTo>
                    <a:pt x="45039" y="110730"/>
                  </a:lnTo>
                  <a:lnTo>
                    <a:pt x="45039" y="114212"/>
                  </a:lnTo>
                  <a:lnTo>
                    <a:pt x="47431" y="115107"/>
                  </a:lnTo>
                  <a:lnTo>
                    <a:pt x="49523" y="115107"/>
                  </a:lnTo>
                  <a:lnTo>
                    <a:pt x="52612" y="116699"/>
                  </a:lnTo>
                  <a:lnTo>
                    <a:pt x="54904" y="119783"/>
                  </a:lnTo>
                  <a:lnTo>
                    <a:pt x="57295" y="120479"/>
                  </a:lnTo>
                  <a:lnTo>
                    <a:pt x="61979" y="121375"/>
                  </a:lnTo>
                  <a:lnTo>
                    <a:pt x="62975" y="123464"/>
                  </a:lnTo>
                  <a:lnTo>
                    <a:pt x="62975" y="126349"/>
                  </a:lnTo>
                  <a:lnTo>
                    <a:pt x="62975" y="129433"/>
                  </a:lnTo>
                  <a:lnTo>
                    <a:pt x="62078" y="133612"/>
                  </a:lnTo>
                  <a:lnTo>
                    <a:pt x="60783" y="136298"/>
                  </a:lnTo>
                  <a:lnTo>
                    <a:pt x="59089" y="138984"/>
                  </a:lnTo>
                  <a:lnTo>
                    <a:pt x="56897" y="140477"/>
                  </a:lnTo>
                  <a:lnTo>
                    <a:pt x="54605" y="139979"/>
                  </a:lnTo>
                  <a:lnTo>
                    <a:pt x="50918" y="137492"/>
                  </a:lnTo>
                  <a:lnTo>
                    <a:pt x="45637" y="136397"/>
                  </a:lnTo>
                  <a:lnTo>
                    <a:pt x="46833" y="138288"/>
                  </a:lnTo>
                  <a:lnTo>
                    <a:pt x="50021" y="142267"/>
                  </a:lnTo>
                  <a:lnTo>
                    <a:pt x="53210" y="142267"/>
                  </a:lnTo>
                  <a:lnTo>
                    <a:pt x="55103" y="143063"/>
                  </a:lnTo>
                  <a:lnTo>
                    <a:pt x="56000" y="143859"/>
                  </a:lnTo>
                  <a:lnTo>
                    <a:pt x="57694" y="146545"/>
                  </a:lnTo>
                  <a:lnTo>
                    <a:pt x="58591" y="149231"/>
                  </a:lnTo>
                  <a:lnTo>
                    <a:pt x="57594" y="153111"/>
                  </a:lnTo>
                  <a:lnTo>
                    <a:pt x="56797" y="155300"/>
                  </a:lnTo>
                  <a:lnTo>
                    <a:pt x="56797" y="157489"/>
                  </a:lnTo>
                  <a:lnTo>
                    <a:pt x="59288" y="160573"/>
                  </a:lnTo>
                  <a:lnTo>
                    <a:pt x="56399" y="160573"/>
                  </a:lnTo>
                  <a:lnTo>
                    <a:pt x="54705" y="160573"/>
                  </a:lnTo>
                  <a:lnTo>
                    <a:pt x="54705" y="160573"/>
                  </a:lnTo>
                  <a:lnTo>
                    <a:pt x="54705" y="162165"/>
                  </a:lnTo>
                  <a:lnTo>
                    <a:pt x="55402" y="164154"/>
                  </a:lnTo>
                  <a:lnTo>
                    <a:pt x="58292" y="166244"/>
                  </a:lnTo>
                  <a:lnTo>
                    <a:pt x="58989" y="167537"/>
                  </a:lnTo>
                  <a:lnTo>
                    <a:pt x="63772" y="171417"/>
                  </a:lnTo>
                  <a:lnTo>
                    <a:pt x="64669" y="172909"/>
                  </a:lnTo>
                  <a:lnTo>
                    <a:pt x="64669" y="173904"/>
                  </a:lnTo>
                  <a:lnTo>
                    <a:pt x="64669" y="174799"/>
                  </a:lnTo>
                  <a:lnTo>
                    <a:pt x="65964" y="175695"/>
                  </a:lnTo>
                  <a:lnTo>
                    <a:pt x="67658" y="176292"/>
                  </a:lnTo>
                  <a:lnTo>
                    <a:pt x="70150" y="178480"/>
                  </a:lnTo>
                  <a:lnTo>
                    <a:pt x="71843" y="179177"/>
                  </a:lnTo>
                  <a:lnTo>
                    <a:pt x="72940" y="180072"/>
                  </a:lnTo>
                  <a:lnTo>
                    <a:pt x="74932" y="182559"/>
                  </a:lnTo>
                  <a:lnTo>
                    <a:pt x="75630" y="183057"/>
                  </a:lnTo>
                  <a:lnTo>
                    <a:pt x="77025" y="184848"/>
                  </a:lnTo>
                  <a:lnTo>
                    <a:pt x="82505" y="194797"/>
                  </a:lnTo>
                  <a:lnTo>
                    <a:pt x="96655" y="211709"/>
                  </a:lnTo>
                  <a:lnTo>
                    <a:pt x="100740" y="221658"/>
                  </a:lnTo>
                  <a:lnTo>
                    <a:pt x="99644" y="230015"/>
                  </a:lnTo>
                  <a:lnTo>
                    <a:pt x="98648" y="238869"/>
                  </a:lnTo>
                  <a:lnTo>
                    <a:pt x="96854" y="244242"/>
                  </a:lnTo>
                  <a:lnTo>
                    <a:pt x="97452" y="248918"/>
                  </a:lnTo>
                  <a:lnTo>
                    <a:pt x="100940" y="248918"/>
                  </a:lnTo>
                  <a:lnTo>
                    <a:pt x="105922" y="247525"/>
                  </a:lnTo>
                  <a:lnTo>
                    <a:pt x="108213" y="248619"/>
                  </a:lnTo>
                  <a:lnTo>
                    <a:pt x="111203" y="252897"/>
                  </a:lnTo>
                  <a:lnTo>
                    <a:pt x="112100" y="254787"/>
                  </a:lnTo>
                  <a:lnTo>
                    <a:pt x="114391" y="257872"/>
                  </a:lnTo>
                  <a:lnTo>
                    <a:pt x="117580" y="262249"/>
                  </a:lnTo>
                  <a:lnTo>
                    <a:pt x="120569" y="262249"/>
                  </a:lnTo>
                  <a:lnTo>
                    <a:pt x="126349" y="267820"/>
                  </a:lnTo>
                  <a:lnTo>
                    <a:pt x="131132" y="268616"/>
                  </a:lnTo>
                  <a:lnTo>
                    <a:pt x="132427" y="270109"/>
                  </a:lnTo>
                  <a:lnTo>
                    <a:pt x="132427" y="272795"/>
                  </a:lnTo>
                  <a:lnTo>
                    <a:pt x="134619" y="280356"/>
                  </a:lnTo>
                  <a:lnTo>
                    <a:pt x="135416" y="294980"/>
                  </a:lnTo>
                  <a:lnTo>
                    <a:pt x="133125" y="315873"/>
                  </a:lnTo>
                  <a:lnTo>
                    <a:pt x="135616" y="321245"/>
                  </a:lnTo>
                  <a:lnTo>
                    <a:pt x="137708" y="328209"/>
                  </a:lnTo>
                  <a:lnTo>
                    <a:pt x="138705" y="332885"/>
                  </a:lnTo>
                  <a:lnTo>
                    <a:pt x="141893" y="332885"/>
                  </a:lnTo>
                  <a:lnTo>
                    <a:pt x="142491" y="330298"/>
                  </a:lnTo>
                  <a:lnTo>
                    <a:pt x="141793" y="327214"/>
                  </a:lnTo>
                  <a:lnTo>
                    <a:pt x="140598" y="325523"/>
                  </a:lnTo>
                  <a:lnTo>
                    <a:pt x="139502" y="325026"/>
                  </a:lnTo>
                  <a:lnTo>
                    <a:pt x="139502" y="323832"/>
                  </a:lnTo>
                  <a:lnTo>
                    <a:pt x="140100" y="322538"/>
                  </a:lnTo>
                  <a:lnTo>
                    <a:pt x="141096" y="321643"/>
                  </a:lnTo>
                  <a:lnTo>
                    <a:pt x="142690" y="322936"/>
                  </a:lnTo>
                  <a:lnTo>
                    <a:pt x="143488" y="324130"/>
                  </a:lnTo>
                  <a:lnTo>
                    <a:pt x="144883" y="324130"/>
                  </a:lnTo>
                  <a:lnTo>
                    <a:pt x="146178" y="323036"/>
                  </a:lnTo>
                  <a:lnTo>
                    <a:pt x="146178" y="320748"/>
                  </a:lnTo>
                  <a:lnTo>
                    <a:pt x="145281" y="318957"/>
                  </a:lnTo>
                  <a:lnTo>
                    <a:pt x="144085" y="317365"/>
                  </a:lnTo>
                  <a:lnTo>
                    <a:pt x="142989" y="315176"/>
                  </a:lnTo>
                  <a:lnTo>
                    <a:pt x="145082" y="315873"/>
                  </a:lnTo>
                  <a:lnTo>
                    <a:pt x="147274" y="317763"/>
                  </a:lnTo>
                  <a:lnTo>
                    <a:pt x="149167" y="320051"/>
                  </a:lnTo>
                  <a:lnTo>
                    <a:pt x="149964" y="321941"/>
                  </a:lnTo>
                  <a:lnTo>
                    <a:pt x="149466" y="324031"/>
                  </a:lnTo>
                  <a:lnTo>
                    <a:pt x="148270" y="325722"/>
                  </a:lnTo>
                  <a:lnTo>
                    <a:pt x="144683" y="328806"/>
                  </a:lnTo>
                  <a:lnTo>
                    <a:pt x="150064" y="328806"/>
                  </a:lnTo>
                  <a:lnTo>
                    <a:pt x="154349" y="330696"/>
                  </a:lnTo>
                  <a:lnTo>
                    <a:pt x="158434" y="333184"/>
                  </a:lnTo>
                  <a:lnTo>
                    <a:pt x="162121" y="336367"/>
                  </a:lnTo>
                  <a:lnTo>
                    <a:pt x="163516" y="340446"/>
                  </a:lnTo>
                  <a:lnTo>
                    <a:pt x="165907" y="345122"/>
                  </a:lnTo>
                  <a:lnTo>
                    <a:pt x="167004" y="351390"/>
                  </a:lnTo>
                  <a:lnTo>
                    <a:pt x="167004" y="357657"/>
                  </a:lnTo>
                  <a:lnTo>
                    <a:pt x="166206" y="362234"/>
                  </a:lnTo>
                  <a:lnTo>
                    <a:pt x="166206" y="363925"/>
                  </a:lnTo>
                  <a:lnTo>
                    <a:pt x="166206" y="365019"/>
                  </a:lnTo>
                  <a:lnTo>
                    <a:pt x="167402" y="367009"/>
                  </a:lnTo>
                  <a:lnTo>
                    <a:pt x="167402" y="367805"/>
                  </a:lnTo>
                  <a:lnTo>
                    <a:pt x="168299" y="372183"/>
                  </a:lnTo>
                  <a:lnTo>
                    <a:pt x="167402" y="379843"/>
                  </a:lnTo>
                  <a:lnTo>
                    <a:pt x="164811" y="389792"/>
                  </a:lnTo>
                  <a:lnTo>
                    <a:pt x="164811" y="391384"/>
                  </a:lnTo>
                  <a:lnTo>
                    <a:pt x="170491" y="391384"/>
                  </a:lnTo>
                  <a:lnTo>
                    <a:pt x="172783" y="392279"/>
                  </a:lnTo>
                  <a:lnTo>
                    <a:pt x="174776" y="393970"/>
                  </a:lnTo>
                  <a:lnTo>
                    <a:pt x="175772" y="395960"/>
                  </a:lnTo>
                  <a:lnTo>
                    <a:pt x="178363" y="399243"/>
                  </a:lnTo>
                  <a:lnTo>
                    <a:pt x="179060" y="403223"/>
                  </a:lnTo>
                  <a:lnTo>
                    <a:pt x="179060" y="405710"/>
                  </a:lnTo>
                  <a:lnTo>
                    <a:pt x="179658" y="408695"/>
                  </a:lnTo>
                  <a:lnTo>
                    <a:pt x="179658" y="412774"/>
                  </a:lnTo>
                  <a:lnTo>
                    <a:pt x="178762" y="416256"/>
                  </a:lnTo>
                  <a:lnTo>
                    <a:pt x="178762" y="419240"/>
                  </a:lnTo>
                  <a:lnTo>
                    <a:pt x="188726" y="427796"/>
                  </a:lnTo>
                  <a:lnTo>
                    <a:pt x="192313" y="427796"/>
                  </a:lnTo>
                  <a:lnTo>
                    <a:pt x="194904" y="431079"/>
                  </a:lnTo>
                  <a:lnTo>
                    <a:pt x="197993" y="433268"/>
                  </a:lnTo>
                  <a:lnTo>
                    <a:pt x="199487" y="435854"/>
                  </a:lnTo>
                  <a:lnTo>
                    <a:pt x="201680" y="436849"/>
                  </a:lnTo>
                  <a:lnTo>
                    <a:pt x="204270" y="439138"/>
                  </a:lnTo>
                  <a:lnTo>
                    <a:pt x="206861" y="437049"/>
                  </a:lnTo>
                  <a:lnTo>
                    <a:pt x="210149" y="437944"/>
                  </a:lnTo>
                  <a:lnTo>
                    <a:pt x="213737" y="441326"/>
                  </a:lnTo>
                  <a:lnTo>
                    <a:pt x="220313" y="446798"/>
                  </a:lnTo>
                  <a:lnTo>
                    <a:pt x="231075" y="450579"/>
                  </a:lnTo>
                  <a:lnTo>
                    <a:pt x="237851" y="456150"/>
                  </a:lnTo>
                  <a:lnTo>
                    <a:pt x="243530" y="464805"/>
                  </a:lnTo>
                  <a:lnTo>
                    <a:pt x="253993" y="466198"/>
                  </a:lnTo>
                  <a:lnTo>
                    <a:pt x="270633" y="471968"/>
                  </a:lnTo>
                  <a:lnTo>
                    <a:pt x="276512" y="478535"/>
                  </a:lnTo>
                  <a:lnTo>
                    <a:pt x="282292" y="484603"/>
                  </a:lnTo>
                  <a:lnTo>
                    <a:pt x="285779" y="488782"/>
                  </a:lnTo>
                  <a:lnTo>
                    <a:pt x="288569" y="492463"/>
                  </a:lnTo>
                  <a:lnTo>
                    <a:pt x="294149" y="497736"/>
                  </a:lnTo>
                  <a:lnTo>
                    <a:pt x="298334" y="497736"/>
                  </a:lnTo>
                  <a:lnTo>
                    <a:pt x="299331" y="498432"/>
                  </a:lnTo>
                  <a:lnTo>
                    <a:pt x="299829" y="500124"/>
                  </a:lnTo>
                  <a:lnTo>
                    <a:pt x="300427" y="503506"/>
                  </a:lnTo>
                  <a:lnTo>
                    <a:pt x="301324" y="504998"/>
                  </a:lnTo>
                  <a:lnTo>
                    <a:pt x="302121" y="508282"/>
                  </a:lnTo>
                  <a:lnTo>
                    <a:pt x="304213" y="511266"/>
                  </a:lnTo>
                  <a:lnTo>
                    <a:pt x="306306" y="508878"/>
                  </a:lnTo>
                  <a:lnTo>
                    <a:pt x="309993" y="510271"/>
                  </a:lnTo>
                  <a:lnTo>
                    <a:pt x="313480" y="511465"/>
                  </a:lnTo>
                  <a:lnTo>
                    <a:pt x="314477" y="513455"/>
                  </a:lnTo>
                  <a:lnTo>
                    <a:pt x="315174" y="515942"/>
                  </a:lnTo>
                  <a:lnTo>
                    <a:pt x="316370" y="518330"/>
                  </a:lnTo>
                  <a:lnTo>
                    <a:pt x="317167" y="520518"/>
                  </a:lnTo>
                  <a:lnTo>
                    <a:pt x="317167" y="525095"/>
                  </a:lnTo>
                  <a:lnTo>
                    <a:pt x="318662" y="529572"/>
                  </a:lnTo>
                  <a:lnTo>
                    <a:pt x="320754" y="527681"/>
                  </a:lnTo>
                  <a:lnTo>
                    <a:pt x="322548" y="527681"/>
                  </a:lnTo>
                  <a:lnTo>
                    <a:pt x="323146" y="529074"/>
                  </a:lnTo>
                  <a:lnTo>
                    <a:pt x="324043" y="531760"/>
                  </a:lnTo>
                  <a:lnTo>
                    <a:pt x="324840" y="534148"/>
                  </a:lnTo>
                  <a:lnTo>
                    <a:pt x="326434" y="535342"/>
                  </a:lnTo>
                  <a:lnTo>
                    <a:pt x="327331" y="535342"/>
                  </a:lnTo>
                  <a:lnTo>
                    <a:pt x="328228" y="534646"/>
                  </a:lnTo>
                  <a:lnTo>
                    <a:pt x="330021" y="534646"/>
                  </a:lnTo>
                  <a:lnTo>
                    <a:pt x="333210" y="535143"/>
                  </a:lnTo>
                  <a:lnTo>
                    <a:pt x="335402" y="537730"/>
                  </a:lnTo>
                  <a:lnTo>
                    <a:pt x="337794" y="540018"/>
                  </a:lnTo>
                  <a:lnTo>
                    <a:pt x="337794" y="542406"/>
                  </a:lnTo>
                  <a:lnTo>
                    <a:pt x="340085" y="542406"/>
                  </a:lnTo>
                  <a:lnTo>
                    <a:pt x="342277" y="544893"/>
                  </a:lnTo>
                  <a:lnTo>
                    <a:pt x="341580" y="547778"/>
                  </a:lnTo>
                  <a:lnTo>
                    <a:pt x="343573" y="552454"/>
                  </a:lnTo>
                  <a:lnTo>
                    <a:pt x="346263" y="551459"/>
                  </a:lnTo>
                  <a:lnTo>
                    <a:pt x="347359" y="554046"/>
                  </a:lnTo>
                  <a:lnTo>
                    <a:pt x="347359" y="556433"/>
                  </a:lnTo>
                  <a:lnTo>
                    <a:pt x="348954" y="558423"/>
                  </a:lnTo>
                  <a:lnTo>
                    <a:pt x="348954" y="560512"/>
                  </a:lnTo>
                  <a:lnTo>
                    <a:pt x="348954" y="563000"/>
                  </a:lnTo>
                  <a:lnTo>
                    <a:pt x="353039" y="563696"/>
                  </a:lnTo>
                  <a:lnTo>
                    <a:pt x="355132" y="566780"/>
                  </a:lnTo>
                  <a:lnTo>
                    <a:pt x="357922" y="567874"/>
                  </a:lnTo>
                  <a:lnTo>
                    <a:pt x="357922" y="569566"/>
                  </a:lnTo>
                  <a:lnTo>
                    <a:pt x="357922" y="570859"/>
                  </a:lnTo>
                  <a:lnTo>
                    <a:pt x="357922" y="570859"/>
                  </a:lnTo>
                  <a:lnTo>
                    <a:pt x="357922" y="572849"/>
                  </a:lnTo>
                  <a:lnTo>
                    <a:pt x="361210" y="573645"/>
                  </a:lnTo>
                  <a:lnTo>
                    <a:pt x="362505" y="572749"/>
                  </a:lnTo>
                  <a:lnTo>
                    <a:pt x="365993" y="572749"/>
                  </a:lnTo>
                  <a:lnTo>
                    <a:pt x="368982" y="572749"/>
                  </a:lnTo>
                  <a:lnTo>
                    <a:pt x="370178" y="573346"/>
                  </a:lnTo>
                  <a:lnTo>
                    <a:pt x="371274" y="574838"/>
                  </a:lnTo>
                  <a:lnTo>
                    <a:pt x="372370" y="577823"/>
                  </a:lnTo>
                  <a:lnTo>
                    <a:pt x="372370" y="581305"/>
                  </a:lnTo>
                  <a:lnTo>
                    <a:pt x="372370" y="583892"/>
                  </a:lnTo>
                  <a:lnTo>
                    <a:pt x="372370" y="586081"/>
                  </a:lnTo>
                  <a:lnTo>
                    <a:pt x="373865" y="586877"/>
                  </a:lnTo>
                  <a:lnTo>
                    <a:pt x="376455" y="586877"/>
                  </a:lnTo>
                  <a:lnTo>
                    <a:pt x="378648" y="586877"/>
                  </a:lnTo>
                  <a:lnTo>
                    <a:pt x="380441" y="588170"/>
                  </a:lnTo>
                  <a:lnTo>
                    <a:pt x="381637" y="589761"/>
                  </a:lnTo>
                  <a:lnTo>
                    <a:pt x="381637" y="590956"/>
                  </a:lnTo>
                  <a:lnTo>
                    <a:pt x="382434" y="592149"/>
                  </a:lnTo>
                  <a:lnTo>
                    <a:pt x="383530" y="592945"/>
                  </a:lnTo>
                  <a:lnTo>
                    <a:pt x="383530" y="594935"/>
                  </a:lnTo>
                  <a:lnTo>
                    <a:pt x="383530" y="597323"/>
                  </a:lnTo>
                  <a:lnTo>
                    <a:pt x="384427" y="598318"/>
                  </a:lnTo>
                  <a:lnTo>
                    <a:pt x="386121" y="599113"/>
                  </a:lnTo>
                  <a:lnTo>
                    <a:pt x="387217" y="601302"/>
                  </a:lnTo>
                  <a:lnTo>
                    <a:pt x="386320" y="604884"/>
                  </a:lnTo>
                  <a:lnTo>
                    <a:pt x="384925" y="608764"/>
                  </a:lnTo>
                  <a:lnTo>
                    <a:pt x="382334" y="617419"/>
                  </a:lnTo>
                  <a:lnTo>
                    <a:pt x="380043" y="622393"/>
                  </a:lnTo>
                  <a:lnTo>
                    <a:pt x="378648" y="625378"/>
                  </a:lnTo>
                  <a:lnTo>
                    <a:pt x="377651" y="627666"/>
                  </a:lnTo>
                  <a:lnTo>
                    <a:pt x="376854" y="629556"/>
                  </a:lnTo>
                  <a:lnTo>
                    <a:pt x="377751" y="630253"/>
                  </a:lnTo>
                  <a:lnTo>
                    <a:pt x="378747" y="631546"/>
                  </a:lnTo>
                  <a:lnTo>
                    <a:pt x="380142" y="631546"/>
                  </a:lnTo>
                  <a:lnTo>
                    <a:pt x="381338" y="630452"/>
                  </a:lnTo>
                  <a:lnTo>
                    <a:pt x="382733" y="630452"/>
                  </a:lnTo>
                  <a:lnTo>
                    <a:pt x="383729" y="631447"/>
                  </a:lnTo>
                  <a:lnTo>
                    <a:pt x="384427" y="633635"/>
                  </a:lnTo>
                  <a:lnTo>
                    <a:pt x="384427" y="635227"/>
                  </a:lnTo>
                  <a:lnTo>
                    <a:pt x="385025" y="636023"/>
                  </a:lnTo>
                  <a:lnTo>
                    <a:pt x="383430" y="637814"/>
                  </a:lnTo>
                  <a:lnTo>
                    <a:pt x="382334" y="640202"/>
                  </a:lnTo>
                  <a:lnTo>
                    <a:pt x="380939" y="643087"/>
                  </a:lnTo>
                  <a:lnTo>
                    <a:pt x="378946" y="646071"/>
                  </a:lnTo>
                  <a:lnTo>
                    <a:pt x="378349" y="647365"/>
                  </a:lnTo>
                  <a:lnTo>
                    <a:pt x="378349" y="648061"/>
                  </a:lnTo>
                  <a:lnTo>
                    <a:pt x="379245" y="649255"/>
                  </a:lnTo>
                  <a:lnTo>
                    <a:pt x="379245" y="651046"/>
                  </a:lnTo>
                  <a:lnTo>
                    <a:pt x="379245" y="654926"/>
                  </a:lnTo>
                  <a:lnTo>
                    <a:pt x="379245" y="657115"/>
                  </a:lnTo>
                  <a:lnTo>
                    <a:pt x="380939" y="657115"/>
                  </a:lnTo>
                  <a:lnTo>
                    <a:pt x="382932" y="657115"/>
                  </a:lnTo>
                  <a:lnTo>
                    <a:pt x="384427" y="658905"/>
                  </a:lnTo>
                  <a:lnTo>
                    <a:pt x="385921" y="659502"/>
                  </a:lnTo>
                  <a:lnTo>
                    <a:pt x="387018" y="659502"/>
                  </a:lnTo>
                  <a:lnTo>
                    <a:pt x="387018" y="660895"/>
                  </a:lnTo>
                  <a:lnTo>
                    <a:pt x="385124" y="663681"/>
                  </a:lnTo>
                  <a:lnTo>
                    <a:pt x="383530" y="665372"/>
                  </a:lnTo>
                  <a:lnTo>
                    <a:pt x="382334" y="663382"/>
                  </a:lnTo>
                  <a:lnTo>
                    <a:pt x="380142" y="661393"/>
                  </a:lnTo>
                  <a:lnTo>
                    <a:pt x="378349" y="660398"/>
                  </a:lnTo>
                  <a:lnTo>
                    <a:pt x="376754" y="661492"/>
                  </a:lnTo>
                  <a:lnTo>
                    <a:pt x="376754" y="662387"/>
                  </a:lnTo>
                  <a:lnTo>
                    <a:pt x="377452" y="663183"/>
                  </a:lnTo>
                  <a:lnTo>
                    <a:pt x="378747" y="663183"/>
                  </a:lnTo>
                  <a:lnTo>
                    <a:pt x="380142" y="665571"/>
                  </a:lnTo>
                  <a:lnTo>
                    <a:pt x="380740" y="668357"/>
                  </a:lnTo>
                  <a:lnTo>
                    <a:pt x="380740" y="670943"/>
                  </a:lnTo>
                  <a:lnTo>
                    <a:pt x="379245" y="675022"/>
                  </a:lnTo>
                  <a:lnTo>
                    <a:pt x="376256" y="670446"/>
                  </a:lnTo>
                  <a:lnTo>
                    <a:pt x="376256" y="668954"/>
                  </a:lnTo>
                  <a:lnTo>
                    <a:pt x="375260" y="666566"/>
                  </a:lnTo>
                  <a:lnTo>
                    <a:pt x="373765" y="664377"/>
                  </a:lnTo>
                  <a:lnTo>
                    <a:pt x="373765" y="663183"/>
                  </a:lnTo>
                  <a:lnTo>
                    <a:pt x="373765" y="661989"/>
                  </a:lnTo>
                  <a:lnTo>
                    <a:pt x="375060" y="660696"/>
                  </a:lnTo>
                  <a:lnTo>
                    <a:pt x="377352" y="659005"/>
                  </a:lnTo>
                  <a:lnTo>
                    <a:pt x="377352" y="656617"/>
                  </a:lnTo>
                  <a:lnTo>
                    <a:pt x="376655" y="653036"/>
                  </a:lnTo>
                  <a:lnTo>
                    <a:pt x="374761" y="653036"/>
                  </a:lnTo>
                  <a:lnTo>
                    <a:pt x="372171" y="656020"/>
                  </a:lnTo>
                  <a:lnTo>
                    <a:pt x="368384" y="661591"/>
                  </a:lnTo>
                  <a:lnTo>
                    <a:pt x="365694" y="664676"/>
                  </a:lnTo>
                  <a:lnTo>
                    <a:pt x="365096" y="665372"/>
                  </a:lnTo>
                  <a:lnTo>
                    <a:pt x="363203" y="667461"/>
                  </a:lnTo>
                  <a:lnTo>
                    <a:pt x="362306" y="669153"/>
                  </a:lnTo>
                  <a:lnTo>
                    <a:pt x="359815" y="671341"/>
                  </a:lnTo>
                  <a:lnTo>
                    <a:pt x="358818" y="672535"/>
                  </a:lnTo>
                  <a:lnTo>
                    <a:pt x="357722" y="674525"/>
                  </a:lnTo>
                  <a:lnTo>
                    <a:pt x="357722" y="676316"/>
                  </a:lnTo>
                  <a:lnTo>
                    <a:pt x="357722" y="678504"/>
                  </a:lnTo>
                  <a:lnTo>
                    <a:pt x="358818" y="680494"/>
                  </a:lnTo>
                  <a:lnTo>
                    <a:pt x="360213" y="679798"/>
                  </a:lnTo>
                  <a:lnTo>
                    <a:pt x="361708" y="678504"/>
                  </a:lnTo>
                  <a:lnTo>
                    <a:pt x="362804" y="676913"/>
                  </a:lnTo>
                  <a:lnTo>
                    <a:pt x="365196" y="675918"/>
                  </a:lnTo>
                  <a:lnTo>
                    <a:pt x="366690" y="675918"/>
                  </a:lnTo>
                  <a:lnTo>
                    <a:pt x="367986" y="675221"/>
                  </a:lnTo>
                  <a:lnTo>
                    <a:pt x="368982" y="674425"/>
                  </a:lnTo>
                  <a:lnTo>
                    <a:pt x="369979" y="674425"/>
                  </a:lnTo>
                  <a:lnTo>
                    <a:pt x="369979" y="673430"/>
                  </a:lnTo>
                  <a:lnTo>
                    <a:pt x="369979" y="672336"/>
                  </a:lnTo>
                  <a:lnTo>
                    <a:pt x="371174" y="671640"/>
                  </a:lnTo>
                  <a:lnTo>
                    <a:pt x="371971" y="671640"/>
                  </a:lnTo>
                  <a:lnTo>
                    <a:pt x="372968" y="672137"/>
                  </a:lnTo>
                  <a:lnTo>
                    <a:pt x="372968" y="673331"/>
                  </a:lnTo>
                  <a:lnTo>
                    <a:pt x="372470" y="674227"/>
                  </a:lnTo>
                  <a:lnTo>
                    <a:pt x="372968" y="675221"/>
                  </a:lnTo>
                  <a:lnTo>
                    <a:pt x="373765" y="675918"/>
                  </a:lnTo>
                  <a:lnTo>
                    <a:pt x="374861" y="675918"/>
                  </a:lnTo>
                  <a:lnTo>
                    <a:pt x="374861" y="675918"/>
                  </a:lnTo>
                  <a:lnTo>
                    <a:pt x="374861" y="676813"/>
                  </a:lnTo>
                  <a:lnTo>
                    <a:pt x="374064" y="676813"/>
                  </a:lnTo>
                  <a:lnTo>
                    <a:pt x="373167" y="677410"/>
                  </a:lnTo>
                  <a:lnTo>
                    <a:pt x="373167" y="677908"/>
                  </a:lnTo>
                  <a:lnTo>
                    <a:pt x="373765" y="677908"/>
                  </a:lnTo>
                  <a:lnTo>
                    <a:pt x="374861" y="677908"/>
                  </a:lnTo>
                  <a:lnTo>
                    <a:pt x="375459" y="678504"/>
                  </a:lnTo>
                  <a:lnTo>
                    <a:pt x="375459" y="680096"/>
                  </a:lnTo>
                  <a:lnTo>
                    <a:pt x="374064" y="681987"/>
                  </a:lnTo>
                  <a:lnTo>
                    <a:pt x="372071" y="684573"/>
                  </a:lnTo>
                  <a:lnTo>
                    <a:pt x="371672" y="688453"/>
                  </a:lnTo>
                  <a:lnTo>
                    <a:pt x="370875" y="689547"/>
                  </a:lnTo>
                  <a:lnTo>
                    <a:pt x="370875" y="691040"/>
                  </a:lnTo>
                  <a:lnTo>
                    <a:pt x="370875" y="692731"/>
                  </a:lnTo>
                  <a:lnTo>
                    <a:pt x="370875" y="694820"/>
                  </a:lnTo>
                  <a:lnTo>
                    <a:pt x="372171" y="696810"/>
                  </a:lnTo>
                  <a:lnTo>
                    <a:pt x="373167" y="698004"/>
                  </a:lnTo>
                  <a:lnTo>
                    <a:pt x="374164" y="699397"/>
                  </a:lnTo>
                  <a:lnTo>
                    <a:pt x="374164" y="701287"/>
                  </a:lnTo>
                  <a:lnTo>
                    <a:pt x="374164" y="702879"/>
                  </a:lnTo>
                  <a:lnTo>
                    <a:pt x="375359" y="703874"/>
                  </a:lnTo>
                  <a:lnTo>
                    <a:pt x="376156" y="705167"/>
                  </a:lnTo>
                  <a:lnTo>
                    <a:pt x="377253" y="705863"/>
                  </a:lnTo>
                  <a:lnTo>
                    <a:pt x="378747" y="705863"/>
                  </a:lnTo>
                  <a:lnTo>
                    <a:pt x="380441" y="705267"/>
                  </a:lnTo>
                  <a:lnTo>
                    <a:pt x="381936" y="704272"/>
                  </a:lnTo>
                  <a:lnTo>
                    <a:pt x="382833" y="703476"/>
                  </a:lnTo>
                  <a:lnTo>
                    <a:pt x="384028" y="703476"/>
                  </a:lnTo>
                  <a:lnTo>
                    <a:pt x="384925" y="704073"/>
                  </a:lnTo>
                  <a:lnTo>
                    <a:pt x="384925" y="704073"/>
                  </a:lnTo>
                  <a:lnTo>
                    <a:pt x="384925" y="703177"/>
                  </a:lnTo>
                  <a:lnTo>
                    <a:pt x="384925" y="702381"/>
                  </a:lnTo>
                  <a:lnTo>
                    <a:pt x="385921" y="702381"/>
                  </a:lnTo>
                  <a:lnTo>
                    <a:pt x="385921" y="701386"/>
                  </a:lnTo>
                  <a:lnTo>
                    <a:pt x="385423" y="699795"/>
                  </a:lnTo>
                  <a:lnTo>
                    <a:pt x="384526" y="698501"/>
                  </a:lnTo>
                  <a:lnTo>
                    <a:pt x="383530" y="697905"/>
                  </a:lnTo>
                  <a:lnTo>
                    <a:pt x="383530" y="696313"/>
                  </a:lnTo>
                  <a:lnTo>
                    <a:pt x="382534" y="694323"/>
                  </a:lnTo>
                  <a:lnTo>
                    <a:pt x="381936" y="693029"/>
                  </a:lnTo>
                  <a:lnTo>
                    <a:pt x="381936" y="692433"/>
                  </a:lnTo>
                  <a:lnTo>
                    <a:pt x="382932" y="692433"/>
                  </a:lnTo>
                  <a:lnTo>
                    <a:pt x="384028" y="693726"/>
                  </a:lnTo>
                  <a:lnTo>
                    <a:pt x="384626" y="694820"/>
                  </a:lnTo>
                  <a:lnTo>
                    <a:pt x="385722" y="697009"/>
                  </a:lnTo>
                  <a:lnTo>
                    <a:pt x="387217" y="699496"/>
                  </a:lnTo>
                  <a:lnTo>
                    <a:pt x="387715" y="699496"/>
                  </a:lnTo>
                  <a:lnTo>
                    <a:pt x="388413" y="699496"/>
                  </a:lnTo>
                  <a:lnTo>
                    <a:pt x="390007" y="699496"/>
                  </a:lnTo>
                  <a:lnTo>
                    <a:pt x="391103" y="699496"/>
                  </a:lnTo>
                  <a:lnTo>
                    <a:pt x="392000" y="698601"/>
                  </a:lnTo>
                  <a:lnTo>
                    <a:pt x="392000" y="698601"/>
                  </a:lnTo>
                  <a:lnTo>
                    <a:pt x="392897" y="699297"/>
                  </a:lnTo>
                  <a:lnTo>
                    <a:pt x="392897" y="700292"/>
                  </a:lnTo>
                  <a:lnTo>
                    <a:pt x="393495" y="700292"/>
                  </a:lnTo>
                  <a:lnTo>
                    <a:pt x="394690" y="700292"/>
                  </a:lnTo>
                  <a:lnTo>
                    <a:pt x="396583" y="701188"/>
                  </a:lnTo>
                  <a:lnTo>
                    <a:pt x="396583" y="701983"/>
                  </a:lnTo>
                  <a:lnTo>
                    <a:pt x="397978" y="701983"/>
                  </a:lnTo>
                  <a:lnTo>
                    <a:pt x="399274" y="702978"/>
                  </a:lnTo>
                  <a:lnTo>
                    <a:pt x="399872" y="704272"/>
                  </a:lnTo>
                  <a:lnTo>
                    <a:pt x="399872" y="706062"/>
                  </a:lnTo>
                  <a:lnTo>
                    <a:pt x="401566" y="708351"/>
                  </a:lnTo>
                  <a:lnTo>
                    <a:pt x="400868" y="709644"/>
                  </a:lnTo>
                  <a:lnTo>
                    <a:pt x="400071" y="710937"/>
                  </a:lnTo>
                  <a:lnTo>
                    <a:pt x="399174" y="712231"/>
                  </a:lnTo>
                  <a:lnTo>
                    <a:pt x="399174" y="712828"/>
                  </a:lnTo>
                  <a:lnTo>
                    <a:pt x="397281" y="712828"/>
                  </a:lnTo>
                  <a:lnTo>
                    <a:pt x="393893" y="712231"/>
                  </a:lnTo>
                  <a:lnTo>
                    <a:pt x="391701" y="711335"/>
                  </a:lnTo>
                  <a:lnTo>
                    <a:pt x="390705" y="710539"/>
                  </a:lnTo>
                  <a:lnTo>
                    <a:pt x="390705" y="709445"/>
                  </a:lnTo>
                  <a:lnTo>
                    <a:pt x="389509" y="708948"/>
                  </a:lnTo>
                  <a:lnTo>
                    <a:pt x="388014" y="709445"/>
                  </a:lnTo>
                  <a:lnTo>
                    <a:pt x="387416" y="708749"/>
                  </a:lnTo>
                  <a:lnTo>
                    <a:pt x="387416" y="707754"/>
                  </a:lnTo>
                  <a:lnTo>
                    <a:pt x="386619" y="707754"/>
                  </a:lnTo>
                  <a:lnTo>
                    <a:pt x="385124" y="707754"/>
                  </a:lnTo>
                  <a:lnTo>
                    <a:pt x="384128" y="707754"/>
                  </a:lnTo>
                  <a:lnTo>
                    <a:pt x="383530" y="708351"/>
                  </a:lnTo>
                  <a:lnTo>
                    <a:pt x="383530" y="709047"/>
                  </a:lnTo>
                  <a:lnTo>
                    <a:pt x="384327" y="709047"/>
                  </a:lnTo>
                  <a:lnTo>
                    <a:pt x="385224" y="708550"/>
                  </a:lnTo>
                  <a:lnTo>
                    <a:pt x="385224" y="709047"/>
                  </a:lnTo>
                  <a:lnTo>
                    <a:pt x="385224" y="709047"/>
                  </a:lnTo>
                  <a:lnTo>
                    <a:pt x="385224" y="710042"/>
                  </a:lnTo>
                  <a:lnTo>
                    <a:pt x="386121" y="709445"/>
                  </a:lnTo>
                  <a:lnTo>
                    <a:pt x="386918" y="710241"/>
                  </a:lnTo>
                  <a:lnTo>
                    <a:pt x="386420" y="712330"/>
                  </a:lnTo>
                  <a:lnTo>
                    <a:pt x="385324" y="713922"/>
                  </a:lnTo>
                  <a:lnTo>
                    <a:pt x="383131" y="715613"/>
                  </a:lnTo>
                  <a:lnTo>
                    <a:pt x="383131" y="716509"/>
                  </a:lnTo>
                  <a:lnTo>
                    <a:pt x="382135" y="717702"/>
                  </a:lnTo>
                  <a:lnTo>
                    <a:pt x="380740" y="718598"/>
                  </a:lnTo>
                  <a:lnTo>
                    <a:pt x="379544" y="719394"/>
                  </a:lnTo>
                  <a:lnTo>
                    <a:pt x="379544" y="718299"/>
                  </a:lnTo>
                  <a:lnTo>
                    <a:pt x="379544" y="716708"/>
                  </a:lnTo>
                  <a:lnTo>
                    <a:pt x="378448" y="716708"/>
                  </a:lnTo>
                  <a:lnTo>
                    <a:pt x="377352" y="716111"/>
                  </a:lnTo>
                  <a:lnTo>
                    <a:pt x="377352" y="714718"/>
                  </a:lnTo>
                  <a:lnTo>
                    <a:pt x="376555" y="713623"/>
                  </a:lnTo>
                  <a:lnTo>
                    <a:pt x="375359" y="711733"/>
                  </a:lnTo>
                  <a:lnTo>
                    <a:pt x="373466" y="710042"/>
                  </a:lnTo>
                  <a:lnTo>
                    <a:pt x="370178" y="708649"/>
                  </a:lnTo>
                  <a:lnTo>
                    <a:pt x="367786" y="706858"/>
                  </a:lnTo>
                  <a:lnTo>
                    <a:pt x="364299" y="706162"/>
                  </a:lnTo>
                  <a:lnTo>
                    <a:pt x="362206" y="704968"/>
                  </a:lnTo>
                  <a:lnTo>
                    <a:pt x="359516" y="702083"/>
                  </a:lnTo>
                  <a:lnTo>
                    <a:pt x="356925" y="700789"/>
                  </a:lnTo>
                  <a:lnTo>
                    <a:pt x="354035" y="696810"/>
                  </a:lnTo>
                  <a:lnTo>
                    <a:pt x="353139" y="694721"/>
                  </a:lnTo>
                  <a:lnTo>
                    <a:pt x="353637" y="693328"/>
                  </a:lnTo>
                  <a:lnTo>
                    <a:pt x="354434" y="691637"/>
                  </a:lnTo>
                  <a:lnTo>
                    <a:pt x="355231" y="689349"/>
                  </a:lnTo>
                  <a:lnTo>
                    <a:pt x="355829" y="687259"/>
                  </a:lnTo>
                  <a:lnTo>
                    <a:pt x="355331" y="684573"/>
                  </a:lnTo>
                  <a:lnTo>
                    <a:pt x="355331" y="683379"/>
                  </a:lnTo>
                  <a:lnTo>
                    <a:pt x="355331" y="682385"/>
                  </a:lnTo>
                  <a:lnTo>
                    <a:pt x="354534" y="681787"/>
                  </a:lnTo>
                  <a:lnTo>
                    <a:pt x="353039" y="681787"/>
                  </a:lnTo>
                  <a:lnTo>
                    <a:pt x="351744" y="681787"/>
                  </a:lnTo>
                  <a:lnTo>
                    <a:pt x="350648" y="682484"/>
                  </a:lnTo>
                  <a:lnTo>
                    <a:pt x="349253" y="683379"/>
                  </a:lnTo>
                  <a:lnTo>
                    <a:pt x="346761" y="685071"/>
                  </a:lnTo>
                  <a:lnTo>
                    <a:pt x="344669" y="687060"/>
                  </a:lnTo>
                  <a:lnTo>
                    <a:pt x="343075" y="688254"/>
                  </a:lnTo>
                  <a:lnTo>
                    <a:pt x="341779" y="689647"/>
                  </a:lnTo>
                  <a:lnTo>
                    <a:pt x="338192" y="692134"/>
                  </a:lnTo>
                  <a:lnTo>
                    <a:pt x="334306" y="693726"/>
                  </a:lnTo>
                  <a:lnTo>
                    <a:pt x="329922" y="695815"/>
                  </a:lnTo>
                  <a:lnTo>
                    <a:pt x="325936" y="693925"/>
                  </a:lnTo>
                  <a:lnTo>
                    <a:pt x="320754" y="694621"/>
                  </a:lnTo>
                  <a:lnTo>
                    <a:pt x="316569" y="695716"/>
                  </a:lnTo>
                  <a:lnTo>
                    <a:pt x="312384" y="694920"/>
                  </a:lnTo>
                  <a:lnTo>
                    <a:pt x="308398" y="693826"/>
                  </a:lnTo>
                  <a:lnTo>
                    <a:pt x="305509" y="693826"/>
                  </a:lnTo>
                  <a:lnTo>
                    <a:pt x="303416" y="693229"/>
                  </a:lnTo>
                  <a:lnTo>
                    <a:pt x="302221" y="692532"/>
                  </a:lnTo>
                  <a:lnTo>
                    <a:pt x="301623" y="691139"/>
                  </a:lnTo>
                  <a:lnTo>
                    <a:pt x="299530" y="691139"/>
                  </a:lnTo>
                  <a:lnTo>
                    <a:pt x="296441" y="690642"/>
                  </a:lnTo>
                  <a:lnTo>
                    <a:pt x="293751" y="689945"/>
                  </a:lnTo>
                  <a:lnTo>
                    <a:pt x="289566" y="690841"/>
                  </a:lnTo>
                  <a:lnTo>
                    <a:pt x="286975" y="690343"/>
                  </a:lnTo>
                  <a:lnTo>
                    <a:pt x="285978" y="688553"/>
                  </a:lnTo>
                  <a:lnTo>
                    <a:pt x="283288" y="687856"/>
                  </a:lnTo>
                  <a:lnTo>
                    <a:pt x="281993" y="687856"/>
                  </a:lnTo>
                  <a:lnTo>
                    <a:pt x="277011" y="686961"/>
                  </a:lnTo>
                  <a:lnTo>
                    <a:pt x="271630" y="688354"/>
                  </a:lnTo>
                  <a:lnTo>
                    <a:pt x="265552" y="687856"/>
                  </a:lnTo>
                  <a:lnTo>
                    <a:pt x="264455" y="685866"/>
                  </a:lnTo>
                  <a:lnTo>
                    <a:pt x="262164" y="684175"/>
                  </a:lnTo>
                  <a:lnTo>
                    <a:pt x="260270" y="683678"/>
                  </a:lnTo>
                  <a:lnTo>
                    <a:pt x="256783" y="684971"/>
                  </a:lnTo>
                  <a:lnTo>
                    <a:pt x="260171" y="688652"/>
                  </a:lnTo>
                  <a:lnTo>
                    <a:pt x="260171" y="688652"/>
                  </a:lnTo>
                  <a:lnTo>
                    <a:pt x="260669" y="690642"/>
                  </a:lnTo>
                  <a:lnTo>
                    <a:pt x="260669" y="692433"/>
                  </a:lnTo>
                  <a:lnTo>
                    <a:pt x="262064" y="694721"/>
                  </a:lnTo>
                  <a:lnTo>
                    <a:pt x="262064" y="697407"/>
                  </a:lnTo>
                  <a:lnTo>
                    <a:pt x="263459" y="700093"/>
                  </a:lnTo>
                  <a:lnTo>
                    <a:pt x="264854" y="701784"/>
                  </a:lnTo>
                  <a:lnTo>
                    <a:pt x="266050" y="703476"/>
                  </a:lnTo>
                  <a:lnTo>
                    <a:pt x="267744" y="701983"/>
                  </a:lnTo>
                  <a:lnTo>
                    <a:pt x="269537" y="701983"/>
                  </a:lnTo>
                  <a:lnTo>
                    <a:pt x="272427" y="703078"/>
                  </a:lnTo>
                  <a:lnTo>
                    <a:pt x="273922" y="705267"/>
                  </a:lnTo>
                  <a:lnTo>
                    <a:pt x="274818" y="708749"/>
                  </a:lnTo>
                  <a:lnTo>
                    <a:pt x="277310" y="709644"/>
                  </a:lnTo>
                  <a:lnTo>
                    <a:pt x="278904" y="710341"/>
                  </a:lnTo>
                  <a:lnTo>
                    <a:pt x="278904" y="708351"/>
                  </a:lnTo>
                  <a:lnTo>
                    <a:pt x="279502" y="707157"/>
                  </a:lnTo>
                  <a:lnTo>
                    <a:pt x="280299" y="706062"/>
                  </a:lnTo>
                  <a:lnTo>
                    <a:pt x="281993" y="706062"/>
                  </a:lnTo>
                  <a:lnTo>
                    <a:pt x="283388" y="706759"/>
                  </a:lnTo>
                  <a:lnTo>
                    <a:pt x="284484" y="707953"/>
                  </a:lnTo>
                  <a:lnTo>
                    <a:pt x="285181" y="709346"/>
                  </a:lnTo>
                  <a:lnTo>
                    <a:pt x="285181" y="711037"/>
                  </a:lnTo>
                  <a:lnTo>
                    <a:pt x="284583" y="713623"/>
                  </a:lnTo>
                  <a:lnTo>
                    <a:pt x="283487" y="713623"/>
                  </a:lnTo>
                  <a:lnTo>
                    <a:pt x="281694" y="712231"/>
                  </a:lnTo>
                  <a:lnTo>
                    <a:pt x="281196" y="712927"/>
                  </a:lnTo>
                  <a:lnTo>
                    <a:pt x="282989" y="714817"/>
                  </a:lnTo>
                  <a:lnTo>
                    <a:pt x="283786" y="716011"/>
                  </a:lnTo>
                  <a:lnTo>
                    <a:pt x="285082" y="716807"/>
                  </a:lnTo>
                  <a:lnTo>
                    <a:pt x="285879" y="715116"/>
                  </a:lnTo>
                  <a:lnTo>
                    <a:pt x="286975" y="715116"/>
                  </a:lnTo>
                  <a:lnTo>
                    <a:pt x="290064" y="716509"/>
                  </a:lnTo>
                  <a:lnTo>
                    <a:pt x="293053" y="719095"/>
                  </a:lnTo>
                  <a:lnTo>
                    <a:pt x="294648" y="722975"/>
                  </a:lnTo>
                  <a:lnTo>
                    <a:pt x="294648" y="723672"/>
                  </a:lnTo>
                  <a:lnTo>
                    <a:pt x="296441" y="725960"/>
                  </a:lnTo>
                  <a:lnTo>
                    <a:pt x="296441" y="726756"/>
                  </a:lnTo>
                  <a:lnTo>
                    <a:pt x="298235" y="730437"/>
                  </a:lnTo>
                  <a:lnTo>
                    <a:pt x="300626" y="730437"/>
                  </a:lnTo>
                  <a:lnTo>
                    <a:pt x="304911" y="732427"/>
                  </a:lnTo>
                  <a:lnTo>
                    <a:pt x="311188" y="735013"/>
                  </a:lnTo>
                  <a:lnTo>
                    <a:pt x="315573" y="736605"/>
                  </a:lnTo>
                  <a:lnTo>
                    <a:pt x="317566" y="740286"/>
                  </a:lnTo>
                  <a:lnTo>
                    <a:pt x="319758" y="740286"/>
                  </a:lnTo>
                  <a:lnTo>
                    <a:pt x="323046" y="742375"/>
                  </a:lnTo>
                  <a:lnTo>
                    <a:pt x="324142" y="743370"/>
                  </a:lnTo>
                  <a:lnTo>
                    <a:pt x="326932" y="746156"/>
                  </a:lnTo>
                  <a:lnTo>
                    <a:pt x="328825" y="752225"/>
                  </a:lnTo>
                  <a:lnTo>
                    <a:pt x="329722" y="757497"/>
                  </a:lnTo>
                  <a:lnTo>
                    <a:pt x="329722" y="763467"/>
                  </a:lnTo>
                  <a:lnTo>
                    <a:pt x="329722" y="769535"/>
                  </a:lnTo>
                  <a:lnTo>
                    <a:pt x="331217" y="772321"/>
                  </a:lnTo>
                  <a:lnTo>
                    <a:pt x="332811" y="771624"/>
                  </a:lnTo>
                  <a:lnTo>
                    <a:pt x="335203" y="772819"/>
                  </a:lnTo>
                  <a:lnTo>
                    <a:pt x="336996" y="773515"/>
                  </a:lnTo>
                  <a:lnTo>
                    <a:pt x="336996" y="775107"/>
                  </a:lnTo>
                  <a:lnTo>
                    <a:pt x="336996" y="776500"/>
                  </a:lnTo>
                  <a:lnTo>
                    <a:pt x="336099" y="778091"/>
                  </a:lnTo>
                  <a:lnTo>
                    <a:pt x="337893" y="779484"/>
                  </a:lnTo>
                  <a:lnTo>
                    <a:pt x="341181" y="777196"/>
                  </a:lnTo>
                  <a:lnTo>
                    <a:pt x="346761" y="779484"/>
                  </a:lnTo>
                  <a:lnTo>
                    <a:pt x="350648" y="782369"/>
                  </a:lnTo>
                  <a:lnTo>
                    <a:pt x="353936" y="785155"/>
                  </a:lnTo>
                  <a:lnTo>
                    <a:pt x="353936" y="782170"/>
                  </a:lnTo>
                  <a:lnTo>
                    <a:pt x="356028" y="782170"/>
                  </a:lnTo>
                  <a:lnTo>
                    <a:pt x="360712" y="781573"/>
                  </a:lnTo>
                  <a:lnTo>
                    <a:pt x="364199" y="783066"/>
                  </a:lnTo>
                  <a:lnTo>
                    <a:pt x="367687" y="783066"/>
                  </a:lnTo>
                  <a:lnTo>
                    <a:pt x="372071" y="785255"/>
                  </a:lnTo>
                  <a:lnTo>
                    <a:pt x="376156" y="787742"/>
                  </a:lnTo>
                  <a:lnTo>
                    <a:pt x="379943" y="791920"/>
                  </a:lnTo>
                  <a:lnTo>
                    <a:pt x="382534" y="795402"/>
                  </a:lnTo>
                  <a:lnTo>
                    <a:pt x="384327" y="799879"/>
                  </a:lnTo>
                  <a:lnTo>
                    <a:pt x="389907" y="805550"/>
                  </a:lnTo>
                  <a:lnTo>
                    <a:pt x="391302" y="806346"/>
                  </a:lnTo>
                  <a:lnTo>
                    <a:pt x="392498" y="805649"/>
                  </a:lnTo>
                  <a:lnTo>
                    <a:pt x="393893" y="805152"/>
                  </a:lnTo>
                  <a:lnTo>
                    <a:pt x="393893" y="803262"/>
                  </a:lnTo>
                  <a:lnTo>
                    <a:pt x="395786" y="802665"/>
                  </a:lnTo>
                  <a:lnTo>
                    <a:pt x="402164" y="803461"/>
                  </a:lnTo>
                  <a:lnTo>
                    <a:pt x="406050" y="804654"/>
                  </a:lnTo>
                  <a:lnTo>
                    <a:pt x="409537" y="806843"/>
                  </a:lnTo>
                  <a:lnTo>
                    <a:pt x="413922" y="809430"/>
                  </a:lnTo>
                  <a:lnTo>
                    <a:pt x="417011" y="813509"/>
                  </a:lnTo>
                  <a:lnTo>
                    <a:pt x="421694" y="821667"/>
                  </a:lnTo>
                  <a:lnTo>
                    <a:pt x="423886" y="826144"/>
                  </a:lnTo>
                  <a:lnTo>
                    <a:pt x="423886" y="828233"/>
                  </a:lnTo>
                  <a:lnTo>
                    <a:pt x="424982" y="830123"/>
                  </a:lnTo>
                  <a:lnTo>
                    <a:pt x="432455" y="834302"/>
                  </a:lnTo>
                  <a:lnTo>
                    <a:pt x="436043" y="840370"/>
                  </a:lnTo>
                  <a:lnTo>
                    <a:pt x="441025" y="842559"/>
                  </a:lnTo>
                  <a:lnTo>
                    <a:pt x="444014" y="843256"/>
                  </a:lnTo>
                  <a:lnTo>
                    <a:pt x="446406" y="841465"/>
                  </a:lnTo>
                  <a:lnTo>
                    <a:pt x="447900" y="841465"/>
                  </a:lnTo>
                  <a:lnTo>
                    <a:pt x="447900" y="838281"/>
                  </a:lnTo>
                  <a:lnTo>
                    <a:pt x="449893" y="836689"/>
                  </a:lnTo>
                  <a:lnTo>
                    <a:pt x="450889" y="834501"/>
                  </a:lnTo>
                  <a:lnTo>
                    <a:pt x="452783" y="831118"/>
                  </a:lnTo>
                  <a:lnTo>
                    <a:pt x="456868" y="829626"/>
                  </a:lnTo>
                  <a:lnTo>
                    <a:pt x="459758" y="829626"/>
                  </a:lnTo>
                  <a:lnTo>
                    <a:pt x="463345" y="829626"/>
                  </a:lnTo>
                  <a:lnTo>
                    <a:pt x="465737" y="830123"/>
                  </a:lnTo>
                  <a:lnTo>
                    <a:pt x="470420" y="831218"/>
                  </a:lnTo>
                  <a:lnTo>
                    <a:pt x="475302" y="833705"/>
                  </a:lnTo>
                  <a:lnTo>
                    <a:pt x="480284" y="837485"/>
                  </a:lnTo>
                  <a:lnTo>
                    <a:pt x="482178" y="837485"/>
                  </a:lnTo>
                  <a:lnTo>
                    <a:pt x="482776" y="836391"/>
                  </a:lnTo>
                  <a:lnTo>
                    <a:pt x="482776" y="834401"/>
                  </a:lnTo>
                  <a:lnTo>
                    <a:pt x="482776" y="832810"/>
                  </a:lnTo>
                  <a:lnTo>
                    <a:pt x="482776" y="831715"/>
                  </a:lnTo>
                  <a:lnTo>
                    <a:pt x="482776" y="829327"/>
                  </a:lnTo>
                  <a:lnTo>
                    <a:pt x="483573" y="827437"/>
                  </a:lnTo>
                  <a:lnTo>
                    <a:pt x="485167" y="825746"/>
                  </a:lnTo>
                  <a:lnTo>
                    <a:pt x="486761" y="826840"/>
                  </a:lnTo>
                  <a:lnTo>
                    <a:pt x="490349" y="823458"/>
                  </a:lnTo>
                  <a:lnTo>
                    <a:pt x="491245" y="819379"/>
                  </a:lnTo>
                  <a:lnTo>
                    <a:pt x="491744" y="810823"/>
                  </a:lnTo>
                  <a:lnTo>
                    <a:pt x="493438" y="807738"/>
                  </a:lnTo>
                  <a:lnTo>
                    <a:pt x="495430" y="806744"/>
                  </a:lnTo>
                  <a:lnTo>
                    <a:pt x="497623" y="807341"/>
                  </a:lnTo>
                  <a:lnTo>
                    <a:pt x="499516" y="809430"/>
                  </a:lnTo>
                  <a:lnTo>
                    <a:pt x="500114" y="811818"/>
                  </a:lnTo>
                  <a:lnTo>
                    <a:pt x="500114" y="818981"/>
                  </a:lnTo>
                  <a:lnTo>
                    <a:pt x="499317" y="820374"/>
                  </a:lnTo>
                  <a:lnTo>
                    <a:pt x="498519" y="822861"/>
                  </a:lnTo>
                  <a:lnTo>
                    <a:pt x="497423" y="824353"/>
                  </a:lnTo>
                  <a:lnTo>
                    <a:pt x="495630" y="825447"/>
                  </a:lnTo>
                  <a:lnTo>
                    <a:pt x="494534" y="827139"/>
                  </a:lnTo>
                  <a:lnTo>
                    <a:pt x="493039" y="828830"/>
                  </a:lnTo>
                  <a:lnTo>
                    <a:pt x="491943" y="829626"/>
                  </a:lnTo>
                  <a:lnTo>
                    <a:pt x="490149" y="830919"/>
                  </a:lnTo>
                  <a:lnTo>
                    <a:pt x="489053" y="831914"/>
                  </a:lnTo>
                  <a:lnTo>
                    <a:pt x="486662" y="831914"/>
                  </a:lnTo>
                  <a:lnTo>
                    <a:pt x="485865" y="832610"/>
                  </a:lnTo>
                  <a:lnTo>
                    <a:pt x="486662" y="833406"/>
                  </a:lnTo>
                  <a:lnTo>
                    <a:pt x="486662" y="835396"/>
                  </a:lnTo>
                  <a:lnTo>
                    <a:pt x="487459" y="836988"/>
                  </a:lnTo>
                  <a:lnTo>
                    <a:pt x="488455" y="838480"/>
                  </a:lnTo>
                  <a:lnTo>
                    <a:pt x="489651" y="839276"/>
                  </a:lnTo>
                  <a:lnTo>
                    <a:pt x="491345" y="838580"/>
                  </a:lnTo>
                  <a:lnTo>
                    <a:pt x="491345" y="837485"/>
                  </a:lnTo>
                  <a:lnTo>
                    <a:pt x="491345" y="836291"/>
                  </a:lnTo>
                  <a:lnTo>
                    <a:pt x="492740" y="836291"/>
                  </a:lnTo>
                  <a:lnTo>
                    <a:pt x="494633" y="836291"/>
                  </a:lnTo>
                  <a:lnTo>
                    <a:pt x="494633" y="834600"/>
                  </a:lnTo>
                  <a:lnTo>
                    <a:pt x="494633" y="833008"/>
                  </a:lnTo>
                  <a:lnTo>
                    <a:pt x="496427" y="832213"/>
                  </a:lnTo>
                  <a:lnTo>
                    <a:pt x="498021" y="831616"/>
                  </a:lnTo>
                  <a:lnTo>
                    <a:pt x="499117" y="831616"/>
                  </a:lnTo>
                  <a:lnTo>
                    <a:pt x="500213" y="832213"/>
                  </a:lnTo>
                  <a:lnTo>
                    <a:pt x="499416" y="832909"/>
                  </a:lnTo>
                  <a:lnTo>
                    <a:pt x="497523" y="833904"/>
                  </a:lnTo>
                  <a:lnTo>
                    <a:pt x="497523" y="835496"/>
                  </a:lnTo>
                  <a:lnTo>
                    <a:pt x="497523" y="837684"/>
                  </a:lnTo>
                  <a:lnTo>
                    <a:pt x="498220" y="839177"/>
                  </a:lnTo>
                  <a:lnTo>
                    <a:pt x="499615" y="841465"/>
                  </a:lnTo>
                  <a:lnTo>
                    <a:pt x="500911" y="843355"/>
                  </a:lnTo>
                  <a:lnTo>
                    <a:pt x="502505" y="844449"/>
                  </a:lnTo>
                  <a:lnTo>
                    <a:pt x="504498" y="847136"/>
                  </a:lnTo>
                  <a:lnTo>
                    <a:pt x="505793" y="849225"/>
                  </a:lnTo>
                  <a:lnTo>
                    <a:pt x="507487" y="851712"/>
                  </a:lnTo>
                  <a:lnTo>
                    <a:pt x="508384" y="852607"/>
                  </a:lnTo>
                  <a:lnTo>
                    <a:pt x="508384" y="854100"/>
                  </a:lnTo>
                  <a:lnTo>
                    <a:pt x="508384" y="855592"/>
                  </a:lnTo>
                  <a:lnTo>
                    <a:pt x="508384" y="857880"/>
                  </a:lnTo>
                  <a:lnTo>
                    <a:pt x="508384" y="859671"/>
                  </a:lnTo>
                  <a:lnTo>
                    <a:pt x="510477" y="861561"/>
                  </a:lnTo>
                  <a:lnTo>
                    <a:pt x="513765" y="864446"/>
                  </a:lnTo>
                  <a:lnTo>
                    <a:pt x="515559" y="866536"/>
                  </a:lnTo>
                  <a:lnTo>
                    <a:pt x="517651" y="867332"/>
                  </a:lnTo>
                  <a:lnTo>
                    <a:pt x="520840" y="867332"/>
                  </a:lnTo>
                  <a:lnTo>
                    <a:pt x="520840" y="867332"/>
                  </a:lnTo>
                  <a:lnTo>
                    <a:pt x="520840" y="868028"/>
                  </a:lnTo>
                  <a:lnTo>
                    <a:pt x="520840" y="868923"/>
                  </a:lnTo>
                  <a:lnTo>
                    <a:pt x="520840" y="870416"/>
                  </a:lnTo>
                  <a:lnTo>
                    <a:pt x="527217" y="873898"/>
                  </a:lnTo>
                  <a:lnTo>
                    <a:pt x="532199" y="877977"/>
                  </a:lnTo>
                  <a:lnTo>
                    <a:pt x="536285" y="881857"/>
                  </a:lnTo>
                  <a:lnTo>
                    <a:pt x="539473" y="884344"/>
                  </a:lnTo>
                  <a:lnTo>
                    <a:pt x="541865" y="886135"/>
                  </a:lnTo>
                  <a:lnTo>
                    <a:pt x="545751" y="888522"/>
                  </a:lnTo>
                  <a:lnTo>
                    <a:pt x="549139" y="890910"/>
                  </a:lnTo>
                  <a:lnTo>
                    <a:pt x="554121" y="897377"/>
                  </a:lnTo>
                  <a:lnTo>
                    <a:pt x="555715" y="897874"/>
                  </a:lnTo>
                  <a:lnTo>
                    <a:pt x="561096" y="897874"/>
                  </a:lnTo>
                  <a:lnTo>
                    <a:pt x="563188" y="897874"/>
                  </a:lnTo>
                  <a:lnTo>
                    <a:pt x="563188" y="897874"/>
                  </a:lnTo>
                  <a:lnTo>
                    <a:pt x="564185" y="900461"/>
                  </a:lnTo>
                  <a:lnTo>
                    <a:pt x="566078" y="901854"/>
                  </a:lnTo>
                  <a:lnTo>
                    <a:pt x="568171" y="901157"/>
                  </a:lnTo>
                  <a:lnTo>
                    <a:pt x="569865" y="899964"/>
                  </a:lnTo>
                  <a:lnTo>
                    <a:pt x="570562" y="901356"/>
                  </a:lnTo>
                  <a:lnTo>
                    <a:pt x="570562" y="903445"/>
                  </a:lnTo>
                  <a:lnTo>
                    <a:pt x="570562" y="903943"/>
                  </a:lnTo>
                  <a:lnTo>
                    <a:pt x="577936" y="909116"/>
                  </a:lnTo>
                  <a:lnTo>
                    <a:pt x="580128" y="909116"/>
                  </a:lnTo>
                  <a:lnTo>
                    <a:pt x="581224" y="907724"/>
                  </a:lnTo>
                  <a:lnTo>
                    <a:pt x="582121" y="906331"/>
                  </a:lnTo>
                  <a:lnTo>
                    <a:pt x="583615" y="905634"/>
                  </a:lnTo>
                  <a:lnTo>
                    <a:pt x="584911" y="905634"/>
                  </a:lnTo>
                  <a:lnTo>
                    <a:pt x="589993" y="908519"/>
                  </a:lnTo>
                  <a:lnTo>
                    <a:pt x="592982" y="911206"/>
                  </a:lnTo>
                  <a:lnTo>
                    <a:pt x="597466" y="917075"/>
                  </a:lnTo>
                  <a:lnTo>
                    <a:pt x="600256" y="923542"/>
                  </a:lnTo>
                  <a:lnTo>
                    <a:pt x="601352" y="927521"/>
                  </a:lnTo>
                  <a:lnTo>
                    <a:pt x="601850" y="931998"/>
                  </a:lnTo>
                  <a:lnTo>
                    <a:pt x="603843" y="934784"/>
                  </a:lnTo>
                  <a:lnTo>
                    <a:pt x="607430" y="934187"/>
                  </a:lnTo>
                  <a:lnTo>
                    <a:pt x="610719" y="935978"/>
                  </a:lnTo>
                  <a:lnTo>
                    <a:pt x="613010" y="939460"/>
                  </a:lnTo>
                  <a:lnTo>
                    <a:pt x="615701" y="942246"/>
                  </a:lnTo>
                  <a:lnTo>
                    <a:pt x="618192" y="947817"/>
                  </a:lnTo>
                  <a:lnTo>
                    <a:pt x="620583" y="956671"/>
                  </a:lnTo>
                  <a:lnTo>
                    <a:pt x="623174" y="961248"/>
                  </a:lnTo>
                  <a:lnTo>
                    <a:pt x="624270" y="966819"/>
                  </a:lnTo>
                  <a:lnTo>
                    <a:pt x="627060" y="971296"/>
                  </a:lnTo>
                  <a:lnTo>
                    <a:pt x="627857" y="979056"/>
                  </a:lnTo>
                  <a:lnTo>
                    <a:pt x="627857" y="997262"/>
                  </a:lnTo>
                  <a:lnTo>
                    <a:pt x="627857" y="1005022"/>
                  </a:lnTo>
                  <a:lnTo>
                    <a:pt x="627857" y="1008206"/>
                  </a:lnTo>
                  <a:lnTo>
                    <a:pt x="627857" y="1009797"/>
                  </a:lnTo>
                  <a:lnTo>
                    <a:pt x="628754" y="1008902"/>
                  </a:lnTo>
                  <a:lnTo>
                    <a:pt x="629252" y="1003629"/>
                  </a:lnTo>
                  <a:lnTo>
                    <a:pt x="629950" y="997561"/>
                  </a:lnTo>
                  <a:lnTo>
                    <a:pt x="629950" y="983035"/>
                  </a:lnTo>
                  <a:lnTo>
                    <a:pt x="629950" y="980747"/>
                  </a:lnTo>
                  <a:lnTo>
                    <a:pt x="630946" y="980051"/>
                  </a:lnTo>
                  <a:lnTo>
                    <a:pt x="631644" y="981046"/>
                  </a:lnTo>
                  <a:lnTo>
                    <a:pt x="632242" y="985125"/>
                  </a:lnTo>
                  <a:lnTo>
                    <a:pt x="633238" y="993183"/>
                  </a:lnTo>
                  <a:lnTo>
                    <a:pt x="633238" y="997760"/>
                  </a:lnTo>
                  <a:lnTo>
                    <a:pt x="632242" y="1000545"/>
                  </a:lnTo>
                  <a:lnTo>
                    <a:pt x="632840" y="1003530"/>
                  </a:lnTo>
                  <a:lnTo>
                    <a:pt x="633338" y="1008604"/>
                  </a:lnTo>
                  <a:lnTo>
                    <a:pt x="633338" y="1011091"/>
                  </a:lnTo>
                  <a:lnTo>
                    <a:pt x="631744" y="1012185"/>
                  </a:lnTo>
                  <a:lnTo>
                    <a:pt x="630548" y="1012981"/>
                  </a:lnTo>
                  <a:lnTo>
                    <a:pt x="631245" y="1014374"/>
                  </a:lnTo>
                  <a:lnTo>
                    <a:pt x="632740" y="1013777"/>
                  </a:lnTo>
                  <a:lnTo>
                    <a:pt x="635829" y="1013777"/>
                  </a:lnTo>
                  <a:lnTo>
                    <a:pt x="637324" y="1013777"/>
                  </a:lnTo>
                  <a:lnTo>
                    <a:pt x="635131" y="1014772"/>
                  </a:lnTo>
                  <a:lnTo>
                    <a:pt x="631843" y="1016165"/>
                  </a:lnTo>
                  <a:lnTo>
                    <a:pt x="630747" y="1017856"/>
                  </a:lnTo>
                  <a:lnTo>
                    <a:pt x="632341" y="1017856"/>
                  </a:lnTo>
                  <a:lnTo>
                    <a:pt x="632341" y="1018851"/>
                  </a:lnTo>
                  <a:lnTo>
                    <a:pt x="632341" y="1021239"/>
                  </a:lnTo>
                  <a:lnTo>
                    <a:pt x="631345" y="1022433"/>
                  </a:lnTo>
                  <a:lnTo>
                    <a:pt x="630548" y="1024820"/>
                  </a:lnTo>
                  <a:lnTo>
                    <a:pt x="630548" y="1026611"/>
                  </a:lnTo>
                  <a:lnTo>
                    <a:pt x="632043" y="1027208"/>
                  </a:lnTo>
                  <a:lnTo>
                    <a:pt x="632043" y="1031187"/>
                  </a:lnTo>
                  <a:lnTo>
                    <a:pt x="632043" y="1038549"/>
                  </a:lnTo>
                  <a:lnTo>
                    <a:pt x="632043" y="1042927"/>
                  </a:lnTo>
                  <a:lnTo>
                    <a:pt x="631245" y="1045016"/>
                  </a:lnTo>
                  <a:lnTo>
                    <a:pt x="629252" y="1047702"/>
                  </a:lnTo>
                  <a:lnTo>
                    <a:pt x="626961" y="1050985"/>
                  </a:lnTo>
                  <a:lnTo>
                    <a:pt x="625366" y="1054766"/>
                  </a:lnTo>
                  <a:lnTo>
                    <a:pt x="624370" y="1058547"/>
                  </a:lnTo>
                  <a:lnTo>
                    <a:pt x="624370" y="1061133"/>
                  </a:lnTo>
                  <a:lnTo>
                    <a:pt x="624968" y="1063222"/>
                  </a:lnTo>
                  <a:lnTo>
                    <a:pt x="624968" y="1064615"/>
                  </a:lnTo>
                  <a:lnTo>
                    <a:pt x="624370" y="1066605"/>
                  </a:lnTo>
                  <a:lnTo>
                    <a:pt x="625566" y="1067401"/>
                  </a:lnTo>
                  <a:lnTo>
                    <a:pt x="625566" y="1068296"/>
                  </a:lnTo>
                  <a:lnTo>
                    <a:pt x="626861" y="1068296"/>
                  </a:lnTo>
                  <a:lnTo>
                    <a:pt x="626861" y="1069888"/>
                  </a:lnTo>
                  <a:lnTo>
                    <a:pt x="625964" y="1071977"/>
                  </a:lnTo>
                  <a:lnTo>
                    <a:pt x="626562" y="1073171"/>
                  </a:lnTo>
                  <a:lnTo>
                    <a:pt x="625665" y="1077151"/>
                  </a:lnTo>
                  <a:lnTo>
                    <a:pt x="624171" y="1079638"/>
                  </a:lnTo>
                  <a:lnTo>
                    <a:pt x="623373" y="1081230"/>
                  </a:lnTo>
                  <a:lnTo>
                    <a:pt x="624270" y="1082423"/>
                  </a:lnTo>
                  <a:lnTo>
                    <a:pt x="623573" y="1083717"/>
                  </a:lnTo>
                  <a:lnTo>
                    <a:pt x="621879" y="1083717"/>
                  </a:lnTo>
                  <a:lnTo>
                    <a:pt x="621181" y="1084513"/>
                  </a:lnTo>
                  <a:lnTo>
                    <a:pt x="621181" y="1086005"/>
                  </a:lnTo>
                  <a:lnTo>
                    <a:pt x="621181" y="1086502"/>
                  </a:lnTo>
                  <a:lnTo>
                    <a:pt x="622277" y="1087497"/>
                  </a:lnTo>
                  <a:lnTo>
                    <a:pt x="622277" y="1090880"/>
                  </a:lnTo>
                  <a:lnTo>
                    <a:pt x="622277" y="1092770"/>
                  </a:lnTo>
                  <a:lnTo>
                    <a:pt x="622875" y="1095257"/>
                  </a:lnTo>
                  <a:lnTo>
                    <a:pt x="624270" y="1095257"/>
                  </a:lnTo>
                  <a:lnTo>
                    <a:pt x="625665" y="1093069"/>
                  </a:lnTo>
                  <a:lnTo>
                    <a:pt x="627060" y="1090382"/>
                  </a:lnTo>
                  <a:lnTo>
                    <a:pt x="625964" y="1087995"/>
                  </a:lnTo>
                  <a:lnTo>
                    <a:pt x="625267" y="1085408"/>
                  </a:lnTo>
                  <a:lnTo>
                    <a:pt x="626163" y="1083617"/>
                  </a:lnTo>
                  <a:lnTo>
                    <a:pt x="627459" y="1082025"/>
                  </a:lnTo>
                  <a:lnTo>
                    <a:pt x="627459" y="1079638"/>
                  </a:lnTo>
                  <a:lnTo>
                    <a:pt x="628754" y="1077648"/>
                  </a:lnTo>
                  <a:lnTo>
                    <a:pt x="629452" y="1076951"/>
                  </a:lnTo>
                  <a:lnTo>
                    <a:pt x="630448" y="1078046"/>
                  </a:lnTo>
                  <a:lnTo>
                    <a:pt x="630448" y="1079140"/>
                  </a:lnTo>
                  <a:lnTo>
                    <a:pt x="630448" y="1080732"/>
                  </a:lnTo>
                  <a:lnTo>
                    <a:pt x="631644" y="1082523"/>
                  </a:lnTo>
                  <a:lnTo>
                    <a:pt x="631644" y="1083418"/>
                  </a:lnTo>
                  <a:lnTo>
                    <a:pt x="631644" y="1084413"/>
                  </a:lnTo>
                  <a:lnTo>
                    <a:pt x="629950" y="1085508"/>
                  </a:lnTo>
                  <a:lnTo>
                    <a:pt x="629950" y="1086204"/>
                  </a:lnTo>
                  <a:lnTo>
                    <a:pt x="629950" y="1087298"/>
                  </a:lnTo>
                  <a:lnTo>
                    <a:pt x="629950" y="1087895"/>
                  </a:lnTo>
                  <a:lnTo>
                    <a:pt x="629950" y="1088492"/>
                  </a:lnTo>
                  <a:lnTo>
                    <a:pt x="630747" y="1091477"/>
                  </a:lnTo>
                  <a:lnTo>
                    <a:pt x="630050" y="1092571"/>
                  </a:lnTo>
                  <a:lnTo>
                    <a:pt x="627857" y="1094561"/>
                  </a:lnTo>
                  <a:lnTo>
                    <a:pt x="626462" y="1095257"/>
                  </a:lnTo>
                  <a:lnTo>
                    <a:pt x="627459" y="1097545"/>
                  </a:lnTo>
                  <a:lnTo>
                    <a:pt x="628156" y="1097545"/>
                  </a:lnTo>
                  <a:lnTo>
                    <a:pt x="629053" y="1097545"/>
                  </a:lnTo>
                  <a:lnTo>
                    <a:pt x="629850" y="1098441"/>
                  </a:lnTo>
                  <a:lnTo>
                    <a:pt x="629850" y="1099834"/>
                  </a:lnTo>
                  <a:lnTo>
                    <a:pt x="629850" y="1104012"/>
                  </a:lnTo>
                  <a:lnTo>
                    <a:pt x="629850" y="1106499"/>
                  </a:lnTo>
                  <a:lnTo>
                    <a:pt x="630648" y="1108390"/>
                  </a:lnTo>
                  <a:lnTo>
                    <a:pt x="631943" y="1109981"/>
                  </a:lnTo>
                  <a:lnTo>
                    <a:pt x="633736" y="1111374"/>
                  </a:lnTo>
                  <a:lnTo>
                    <a:pt x="636327" y="1111374"/>
                  </a:lnTo>
                  <a:lnTo>
                    <a:pt x="635729" y="1109782"/>
                  </a:lnTo>
                  <a:lnTo>
                    <a:pt x="635729" y="1106897"/>
                  </a:lnTo>
                  <a:lnTo>
                    <a:pt x="635032" y="1102619"/>
                  </a:lnTo>
                  <a:lnTo>
                    <a:pt x="635032" y="1100829"/>
                  </a:lnTo>
                  <a:lnTo>
                    <a:pt x="637025" y="1099436"/>
                  </a:lnTo>
                  <a:lnTo>
                    <a:pt x="637722" y="1100928"/>
                  </a:lnTo>
                  <a:lnTo>
                    <a:pt x="637722" y="1102221"/>
                  </a:lnTo>
                  <a:lnTo>
                    <a:pt x="637124" y="1103316"/>
                  </a:lnTo>
                  <a:lnTo>
                    <a:pt x="636028" y="1104211"/>
                  </a:lnTo>
                  <a:lnTo>
                    <a:pt x="638220" y="1111076"/>
                  </a:lnTo>
                  <a:lnTo>
                    <a:pt x="639914" y="1113265"/>
                  </a:lnTo>
                  <a:lnTo>
                    <a:pt x="642107" y="1110777"/>
                  </a:lnTo>
                  <a:lnTo>
                    <a:pt x="642704" y="1112071"/>
                  </a:lnTo>
                  <a:lnTo>
                    <a:pt x="643502" y="1112767"/>
                  </a:lnTo>
                  <a:lnTo>
                    <a:pt x="644498" y="1112767"/>
                  </a:lnTo>
                  <a:lnTo>
                    <a:pt x="645594" y="1112270"/>
                  </a:lnTo>
                  <a:lnTo>
                    <a:pt x="644897" y="1111673"/>
                  </a:lnTo>
                  <a:lnTo>
                    <a:pt x="643601" y="1110081"/>
                  </a:lnTo>
                  <a:lnTo>
                    <a:pt x="642904" y="1109484"/>
                  </a:lnTo>
                  <a:lnTo>
                    <a:pt x="644897" y="1107992"/>
                  </a:lnTo>
                  <a:lnTo>
                    <a:pt x="645594" y="1107992"/>
                  </a:lnTo>
                  <a:lnTo>
                    <a:pt x="643003" y="1105405"/>
                  </a:lnTo>
                  <a:lnTo>
                    <a:pt x="641907" y="1102321"/>
                  </a:lnTo>
                  <a:lnTo>
                    <a:pt x="641409" y="1098739"/>
                  </a:lnTo>
                  <a:lnTo>
                    <a:pt x="640413" y="1094760"/>
                  </a:lnTo>
                  <a:lnTo>
                    <a:pt x="642007" y="1095954"/>
                  </a:lnTo>
                  <a:lnTo>
                    <a:pt x="643302" y="1098540"/>
                  </a:lnTo>
                  <a:lnTo>
                    <a:pt x="644299" y="1101426"/>
                  </a:lnTo>
                  <a:lnTo>
                    <a:pt x="644299" y="1103714"/>
                  </a:lnTo>
                  <a:lnTo>
                    <a:pt x="645096" y="1105703"/>
                  </a:lnTo>
                  <a:lnTo>
                    <a:pt x="646989" y="1108390"/>
                  </a:lnTo>
                  <a:lnTo>
                    <a:pt x="649480" y="1110976"/>
                  </a:lnTo>
                  <a:lnTo>
                    <a:pt x="651971" y="1112668"/>
                  </a:lnTo>
                  <a:lnTo>
                    <a:pt x="651971" y="1113662"/>
                  </a:lnTo>
                  <a:lnTo>
                    <a:pt x="651473" y="1113662"/>
                  </a:lnTo>
                  <a:lnTo>
                    <a:pt x="648683" y="1111673"/>
                  </a:lnTo>
                  <a:lnTo>
                    <a:pt x="648683" y="1112170"/>
                  </a:lnTo>
                  <a:lnTo>
                    <a:pt x="650277" y="1114160"/>
                  </a:lnTo>
                  <a:lnTo>
                    <a:pt x="653167" y="1116349"/>
                  </a:lnTo>
                  <a:lnTo>
                    <a:pt x="655658" y="1119731"/>
                  </a:lnTo>
                  <a:lnTo>
                    <a:pt x="658149" y="1122517"/>
                  </a:lnTo>
                  <a:lnTo>
                    <a:pt x="660341" y="1124606"/>
                  </a:lnTo>
                  <a:lnTo>
                    <a:pt x="662135" y="1128983"/>
                  </a:lnTo>
                  <a:lnTo>
                    <a:pt x="664626" y="1136047"/>
                  </a:lnTo>
                  <a:lnTo>
                    <a:pt x="664626" y="1139430"/>
                  </a:lnTo>
                  <a:lnTo>
                    <a:pt x="664626" y="1141021"/>
                  </a:lnTo>
                  <a:lnTo>
                    <a:pt x="664626" y="1143409"/>
                  </a:lnTo>
                  <a:lnTo>
                    <a:pt x="665523" y="1144802"/>
                  </a:lnTo>
                  <a:lnTo>
                    <a:pt x="666918" y="1143907"/>
                  </a:lnTo>
                  <a:lnTo>
                    <a:pt x="668114" y="1143210"/>
                  </a:lnTo>
                  <a:lnTo>
                    <a:pt x="669509" y="1143907"/>
                  </a:lnTo>
                  <a:lnTo>
                    <a:pt x="671900" y="1143907"/>
                  </a:lnTo>
                  <a:lnTo>
                    <a:pt x="669309" y="1142215"/>
                  </a:lnTo>
                  <a:lnTo>
                    <a:pt x="666719" y="1139629"/>
                  </a:lnTo>
                  <a:lnTo>
                    <a:pt x="668612" y="1140226"/>
                  </a:lnTo>
                  <a:lnTo>
                    <a:pt x="671501" y="1140226"/>
                  </a:lnTo>
                  <a:lnTo>
                    <a:pt x="673594" y="1140226"/>
                  </a:lnTo>
                  <a:lnTo>
                    <a:pt x="674989" y="1139629"/>
                  </a:lnTo>
                  <a:lnTo>
                    <a:pt x="676484" y="1140624"/>
                  </a:lnTo>
                  <a:lnTo>
                    <a:pt x="679872" y="1141121"/>
                  </a:lnTo>
                  <a:lnTo>
                    <a:pt x="681466" y="1138236"/>
                  </a:lnTo>
                  <a:lnTo>
                    <a:pt x="680270" y="1136246"/>
                  </a:lnTo>
                  <a:lnTo>
                    <a:pt x="680270" y="1136147"/>
                  </a:lnTo>
                  <a:lnTo>
                    <a:pt x="682363" y="1136147"/>
                  </a:lnTo>
                  <a:lnTo>
                    <a:pt x="683758" y="1137440"/>
                  </a:lnTo>
                  <a:lnTo>
                    <a:pt x="686349" y="1139330"/>
                  </a:lnTo>
                  <a:lnTo>
                    <a:pt x="687943" y="1141419"/>
                  </a:lnTo>
                  <a:lnTo>
                    <a:pt x="686548" y="1141419"/>
                  </a:lnTo>
                  <a:lnTo>
                    <a:pt x="685551" y="1140823"/>
                  </a:lnTo>
                  <a:lnTo>
                    <a:pt x="686149" y="1142315"/>
                  </a:lnTo>
                  <a:lnTo>
                    <a:pt x="688640" y="1146792"/>
                  </a:lnTo>
                  <a:lnTo>
                    <a:pt x="689836" y="1151667"/>
                  </a:lnTo>
                  <a:lnTo>
                    <a:pt x="692825" y="1155945"/>
                  </a:lnTo>
                  <a:lnTo>
                    <a:pt x="696711" y="1159029"/>
                  </a:lnTo>
                  <a:lnTo>
                    <a:pt x="699701" y="1159029"/>
                  </a:lnTo>
                  <a:lnTo>
                    <a:pt x="702092" y="1160521"/>
                  </a:lnTo>
                  <a:lnTo>
                    <a:pt x="706576" y="1164699"/>
                  </a:lnTo>
                  <a:lnTo>
                    <a:pt x="707672" y="1167386"/>
                  </a:lnTo>
                  <a:lnTo>
                    <a:pt x="709865" y="1168878"/>
                  </a:lnTo>
                  <a:lnTo>
                    <a:pt x="711857" y="1169475"/>
                  </a:lnTo>
                  <a:lnTo>
                    <a:pt x="715943" y="1171365"/>
                  </a:lnTo>
                  <a:lnTo>
                    <a:pt x="720726" y="1174051"/>
                  </a:lnTo>
                  <a:lnTo>
                    <a:pt x="722619" y="1176140"/>
                  </a:lnTo>
                  <a:lnTo>
                    <a:pt x="712655" y="1171067"/>
                  </a:lnTo>
                  <a:lnTo>
                    <a:pt x="711160" y="1171067"/>
                  </a:lnTo>
                  <a:lnTo>
                    <a:pt x="711758" y="1171763"/>
                  </a:lnTo>
                  <a:lnTo>
                    <a:pt x="732484" y="1182906"/>
                  </a:lnTo>
                  <a:lnTo>
                    <a:pt x="739160" y="1186388"/>
                  </a:lnTo>
                  <a:lnTo>
                    <a:pt x="745836" y="1191362"/>
                  </a:lnTo>
                  <a:lnTo>
                    <a:pt x="750320" y="1193750"/>
                  </a:lnTo>
                  <a:lnTo>
                    <a:pt x="754206" y="1195939"/>
                  </a:lnTo>
                  <a:lnTo>
                    <a:pt x="757395" y="1198227"/>
                  </a:lnTo>
                  <a:lnTo>
                    <a:pt x="762775" y="1201808"/>
                  </a:lnTo>
                  <a:lnTo>
                    <a:pt x="765765" y="1204395"/>
                  </a:lnTo>
                  <a:lnTo>
                    <a:pt x="766562" y="1206285"/>
                  </a:lnTo>
                  <a:lnTo>
                    <a:pt x="769352" y="1208275"/>
                  </a:lnTo>
                  <a:lnTo>
                    <a:pt x="773637" y="1211856"/>
                  </a:lnTo>
                  <a:lnTo>
                    <a:pt x="776427" y="1214045"/>
                  </a:lnTo>
                  <a:lnTo>
                    <a:pt x="781110" y="1219219"/>
                  </a:lnTo>
                  <a:lnTo>
                    <a:pt x="782505" y="1220611"/>
                  </a:lnTo>
                  <a:lnTo>
                    <a:pt x="782505" y="1222402"/>
                  </a:lnTo>
                  <a:lnTo>
                    <a:pt x="783900" y="1222402"/>
                  </a:lnTo>
                  <a:lnTo>
                    <a:pt x="786192" y="1223994"/>
                  </a:lnTo>
                  <a:lnTo>
                    <a:pt x="790676" y="1228272"/>
                  </a:lnTo>
                  <a:lnTo>
                    <a:pt x="798548" y="1238221"/>
                  </a:lnTo>
                  <a:lnTo>
                    <a:pt x="811900" y="1252547"/>
                  </a:lnTo>
                  <a:lnTo>
                    <a:pt x="820768" y="1259710"/>
                  </a:lnTo>
                  <a:lnTo>
                    <a:pt x="827445" y="1262794"/>
                  </a:lnTo>
                  <a:lnTo>
                    <a:pt x="842590" y="1269559"/>
                  </a:lnTo>
                  <a:lnTo>
                    <a:pt x="848868" y="1273340"/>
                  </a:lnTo>
                  <a:lnTo>
                    <a:pt x="854747" y="1278812"/>
                  </a:lnTo>
                  <a:lnTo>
                    <a:pt x="858434" y="1285975"/>
                  </a:lnTo>
                  <a:lnTo>
                    <a:pt x="859829" y="1287268"/>
                  </a:lnTo>
                  <a:lnTo>
                    <a:pt x="863914" y="1294431"/>
                  </a:lnTo>
                  <a:lnTo>
                    <a:pt x="864612" y="1297018"/>
                  </a:lnTo>
                  <a:lnTo>
                    <a:pt x="866306" y="1298809"/>
                  </a:lnTo>
                  <a:lnTo>
                    <a:pt x="867103" y="1300898"/>
                  </a:lnTo>
                  <a:lnTo>
                    <a:pt x="870092" y="1306071"/>
                  </a:lnTo>
                  <a:lnTo>
                    <a:pt x="870989" y="1307464"/>
                  </a:lnTo>
                  <a:lnTo>
                    <a:pt x="872384" y="1308658"/>
                  </a:lnTo>
                  <a:lnTo>
                    <a:pt x="873281" y="1312637"/>
                  </a:lnTo>
                  <a:lnTo>
                    <a:pt x="874377" y="1321591"/>
                  </a:lnTo>
                  <a:lnTo>
                    <a:pt x="879957" y="1341986"/>
                  </a:lnTo>
                  <a:lnTo>
                    <a:pt x="879957" y="1345767"/>
                  </a:lnTo>
                  <a:lnTo>
                    <a:pt x="881053" y="1349846"/>
                  </a:lnTo>
                  <a:lnTo>
                    <a:pt x="882049" y="1350741"/>
                  </a:lnTo>
                  <a:lnTo>
                    <a:pt x="883046" y="1353626"/>
                  </a:lnTo>
                  <a:lnTo>
                    <a:pt x="883046" y="1354919"/>
                  </a:lnTo>
                  <a:lnTo>
                    <a:pt x="885437" y="1358899"/>
                  </a:lnTo>
                  <a:lnTo>
                    <a:pt x="887530" y="1361486"/>
                  </a:lnTo>
                  <a:lnTo>
                    <a:pt x="889523" y="1363674"/>
                  </a:lnTo>
                  <a:lnTo>
                    <a:pt x="893010" y="1366560"/>
                  </a:lnTo>
                  <a:lnTo>
                    <a:pt x="895701" y="1368350"/>
                  </a:lnTo>
                  <a:lnTo>
                    <a:pt x="897295" y="1368848"/>
                  </a:lnTo>
                  <a:lnTo>
                    <a:pt x="898690" y="1369644"/>
                  </a:lnTo>
                  <a:lnTo>
                    <a:pt x="901181" y="1369644"/>
                  </a:lnTo>
                  <a:lnTo>
                    <a:pt x="906163" y="1369644"/>
                  </a:lnTo>
                  <a:lnTo>
                    <a:pt x="905167" y="1368649"/>
                  </a:lnTo>
                  <a:lnTo>
                    <a:pt x="905167" y="1367554"/>
                  </a:lnTo>
                  <a:lnTo>
                    <a:pt x="907259" y="1366560"/>
                  </a:lnTo>
                  <a:lnTo>
                    <a:pt x="910548" y="1366560"/>
                  </a:lnTo>
                  <a:lnTo>
                    <a:pt x="911544" y="1366560"/>
                  </a:lnTo>
                  <a:lnTo>
                    <a:pt x="913338" y="1365167"/>
                  </a:lnTo>
                  <a:lnTo>
                    <a:pt x="914932" y="1363873"/>
                  </a:lnTo>
                  <a:lnTo>
                    <a:pt x="917224" y="1361685"/>
                  </a:lnTo>
                  <a:lnTo>
                    <a:pt x="917224" y="1358899"/>
                  </a:lnTo>
                  <a:lnTo>
                    <a:pt x="922904" y="1355119"/>
                  </a:lnTo>
                  <a:lnTo>
                    <a:pt x="926291" y="1355119"/>
                  </a:lnTo>
                  <a:lnTo>
                    <a:pt x="928683" y="1352333"/>
                  </a:lnTo>
                  <a:lnTo>
                    <a:pt x="928085" y="1351139"/>
                  </a:lnTo>
                  <a:lnTo>
                    <a:pt x="928583" y="1349149"/>
                  </a:lnTo>
                  <a:lnTo>
                    <a:pt x="930975" y="1347856"/>
                  </a:lnTo>
                  <a:lnTo>
                    <a:pt x="933765" y="1345767"/>
                  </a:lnTo>
                  <a:lnTo>
                    <a:pt x="939444" y="1343677"/>
                  </a:lnTo>
                  <a:lnTo>
                    <a:pt x="941936" y="1342384"/>
                  </a:lnTo>
                  <a:lnTo>
                    <a:pt x="945722" y="1342384"/>
                  </a:lnTo>
                  <a:lnTo>
                    <a:pt x="947117" y="1340593"/>
                  </a:lnTo>
                  <a:lnTo>
                    <a:pt x="951501" y="1338802"/>
                  </a:lnTo>
                  <a:lnTo>
                    <a:pt x="952199" y="1336912"/>
                  </a:lnTo>
                  <a:lnTo>
                    <a:pt x="953395" y="1336415"/>
                  </a:lnTo>
                  <a:lnTo>
                    <a:pt x="954889" y="1333828"/>
                  </a:lnTo>
                  <a:lnTo>
                    <a:pt x="956185" y="1332833"/>
                  </a:lnTo>
                  <a:lnTo>
                    <a:pt x="958576" y="1329351"/>
                  </a:lnTo>
                  <a:lnTo>
                    <a:pt x="960170" y="1327063"/>
                  </a:lnTo>
                  <a:lnTo>
                    <a:pt x="961267" y="1326068"/>
                  </a:lnTo>
                  <a:lnTo>
                    <a:pt x="961267" y="1324476"/>
                  </a:lnTo>
                  <a:lnTo>
                    <a:pt x="962462" y="1322188"/>
                  </a:lnTo>
                  <a:lnTo>
                    <a:pt x="963060" y="1320795"/>
                  </a:lnTo>
                  <a:lnTo>
                    <a:pt x="963060" y="1319502"/>
                  </a:lnTo>
                  <a:lnTo>
                    <a:pt x="963060" y="1316617"/>
                  </a:lnTo>
                  <a:lnTo>
                    <a:pt x="963060" y="1315224"/>
                  </a:lnTo>
                  <a:lnTo>
                    <a:pt x="963060" y="1315224"/>
                  </a:lnTo>
                  <a:lnTo>
                    <a:pt x="964156" y="1313533"/>
                  </a:lnTo>
                  <a:lnTo>
                    <a:pt x="964156" y="1311443"/>
                  </a:lnTo>
                  <a:lnTo>
                    <a:pt x="964156" y="1308359"/>
                  </a:lnTo>
                  <a:lnTo>
                    <a:pt x="964156" y="1306867"/>
                  </a:lnTo>
                  <a:lnTo>
                    <a:pt x="964156" y="1304479"/>
                  </a:lnTo>
                  <a:lnTo>
                    <a:pt x="964156" y="1302987"/>
                  </a:lnTo>
                  <a:lnTo>
                    <a:pt x="965651" y="1302092"/>
                  </a:lnTo>
                  <a:lnTo>
                    <a:pt x="965651" y="1300699"/>
                  </a:lnTo>
                  <a:lnTo>
                    <a:pt x="965651" y="1298709"/>
                  </a:lnTo>
                  <a:lnTo>
                    <a:pt x="964057" y="1298212"/>
                  </a:lnTo>
                  <a:lnTo>
                    <a:pt x="964057" y="1296421"/>
                  </a:lnTo>
                  <a:lnTo>
                    <a:pt x="964655" y="1294133"/>
                  </a:lnTo>
                  <a:lnTo>
                    <a:pt x="964655" y="1291546"/>
                  </a:lnTo>
                  <a:lnTo>
                    <a:pt x="962462" y="1289357"/>
                  </a:lnTo>
                  <a:lnTo>
                    <a:pt x="959373" y="1285378"/>
                  </a:lnTo>
                  <a:lnTo>
                    <a:pt x="958177" y="1282493"/>
                  </a:lnTo>
                  <a:lnTo>
                    <a:pt x="958177" y="1280602"/>
                  </a:lnTo>
                  <a:lnTo>
                    <a:pt x="959274" y="1279408"/>
                  </a:lnTo>
                  <a:lnTo>
                    <a:pt x="959274" y="1278414"/>
                  </a:lnTo>
                  <a:lnTo>
                    <a:pt x="958277" y="1277717"/>
                  </a:lnTo>
                  <a:lnTo>
                    <a:pt x="959573" y="1275429"/>
                  </a:lnTo>
                  <a:lnTo>
                    <a:pt x="957679" y="1274534"/>
                  </a:lnTo>
                  <a:lnTo>
                    <a:pt x="957679" y="1272942"/>
                  </a:lnTo>
                  <a:lnTo>
                    <a:pt x="956783" y="1272146"/>
                  </a:lnTo>
                  <a:lnTo>
                    <a:pt x="954690" y="1271648"/>
                  </a:lnTo>
                  <a:lnTo>
                    <a:pt x="951501" y="1270952"/>
                  </a:lnTo>
                  <a:lnTo>
                    <a:pt x="950106" y="1270355"/>
                  </a:lnTo>
                  <a:lnTo>
                    <a:pt x="949110" y="1269261"/>
                  </a:lnTo>
                  <a:lnTo>
                    <a:pt x="946121" y="1267868"/>
                  </a:lnTo>
                  <a:lnTo>
                    <a:pt x="944526" y="1267868"/>
                  </a:lnTo>
                  <a:lnTo>
                    <a:pt x="942733" y="1267271"/>
                  </a:lnTo>
                  <a:lnTo>
                    <a:pt x="941836" y="1266276"/>
                  </a:lnTo>
                  <a:lnTo>
                    <a:pt x="939644" y="1265480"/>
                  </a:lnTo>
                  <a:lnTo>
                    <a:pt x="937252" y="1264386"/>
                  </a:lnTo>
                  <a:lnTo>
                    <a:pt x="935160" y="1261998"/>
                  </a:lnTo>
                  <a:lnTo>
                    <a:pt x="935160" y="1258814"/>
                  </a:lnTo>
                  <a:lnTo>
                    <a:pt x="933864" y="1254039"/>
                  </a:lnTo>
                  <a:lnTo>
                    <a:pt x="933067" y="1250657"/>
                  </a:lnTo>
                  <a:lnTo>
                    <a:pt x="933067" y="1247075"/>
                  </a:lnTo>
                  <a:lnTo>
                    <a:pt x="934562" y="1243991"/>
                  </a:lnTo>
                  <a:lnTo>
                    <a:pt x="932868" y="1242598"/>
                  </a:lnTo>
                  <a:lnTo>
                    <a:pt x="931573" y="1240111"/>
                  </a:lnTo>
                  <a:lnTo>
                    <a:pt x="929181" y="1237922"/>
                  </a:lnTo>
                  <a:lnTo>
                    <a:pt x="925195" y="1233147"/>
                  </a:lnTo>
                  <a:lnTo>
                    <a:pt x="923501" y="1232550"/>
                  </a:lnTo>
                  <a:lnTo>
                    <a:pt x="922605" y="1231655"/>
                  </a:lnTo>
                  <a:lnTo>
                    <a:pt x="922605" y="1231655"/>
                  </a:lnTo>
                  <a:lnTo>
                    <a:pt x="921608" y="1230859"/>
                  </a:lnTo>
                  <a:lnTo>
                    <a:pt x="921608" y="1230162"/>
                  </a:lnTo>
                  <a:lnTo>
                    <a:pt x="920711" y="1229665"/>
                  </a:lnTo>
                  <a:lnTo>
                    <a:pt x="919615" y="1229068"/>
                  </a:lnTo>
                  <a:lnTo>
                    <a:pt x="918918" y="1227974"/>
                  </a:lnTo>
                  <a:lnTo>
                    <a:pt x="917921" y="1225287"/>
                  </a:lnTo>
                  <a:lnTo>
                    <a:pt x="917921" y="1223397"/>
                  </a:lnTo>
                  <a:lnTo>
                    <a:pt x="917921" y="1222104"/>
                  </a:lnTo>
                  <a:lnTo>
                    <a:pt x="918420" y="1219915"/>
                  </a:lnTo>
                  <a:lnTo>
                    <a:pt x="918420" y="1218821"/>
                  </a:lnTo>
                  <a:lnTo>
                    <a:pt x="918420" y="1218323"/>
                  </a:lnTo>
                  <a:lnTo>
                    <a:pt x="919117" y="1218323"/>
                  </a:lnTo>
                  <a:lnTo>
                    <a:pt x="920811" y="1216632"/>
                  </a:lnTo>
                  <a:lnTo>
                    <a:pt x="920811" y="1215438"/>
                  </a:lnTo>
                  <a:lnTo>
                    <a:pt x="921409" y="1215438"/>
                  </a:lnTo>
                  <a:lnTo>
                    <a:pt x="921409" y="1214344"/>
                  </a:lnTo>
                  <a:lnTo>
                    <a:pt x="920413" y="1212951"/>
                  </a:lnTo>
                  <a:lnTo>
                    <a:pt x="919117" y="1212155"/>
                  </a:lnTo>
                  <a:lnTo>
                    <a:pt x="918619" y="1210961"/>
                  </a:lnTo>
                  <a:lnTo>
                    <a:pt x="918619" y="1209568"/>
                  </a:lnTo>
                  <a:lnTo>
                    <a:pt x="918619" y="1208772"/>
                  </a:lnTo>
                  <a:lnTo>
                    <a:pt x="917722" y="1208772"/>
                  </a:lnTo>
                  <a:lnTo>
                    <a:pt x="915530" y="1209966"/>
                  </a:lnTo>
                  <a:lnTo>
                    <a:pt x="910847" y="1211856"/>
                  </a:lnTo>
                  <a:lnTo>
                    <a:pt x="905665" y="1212951"/>
                  </a:lnTo>
                  <a:lnTo>
                    <a:pt x="902875" y="1211757"/>
                  </a:lnTo>
                  <a:lnTo>
                    <a:pt x="899786" y="1211757"/>
                  </a:lnTo>
                  <a:lnTo>
                    <a:pt x="898092" y="1210663"/>
                  </a:lnTo>
                  <a:lnTo>
                    <a:pt x="898092" y="1207977"/>
                  </a:lnTo>
                  <a:lnTo>
                    <a:pt x="897395" y="1201808"/>
                  </a:lnTo>
                  <a:lnTo>
                    <a:pt x="896896" y="1201211"/>
                  </a:lnTo>
                  <a:lnTo>
                    <a:pt x="896896" y="1199420"/>
                  </a:lnTo>
                  <a:lnTo>
                    <a:pt x="896199" y="1198227"/>
                  </a:lnTo>
                  <a:lnTo>
                    <a:pt x="895601" y="1195342"/>
                  </a:lnTo>
                  <a:lnTo>
                    <a:pt x="894206" y="1193849"/>
                  </a:lnTo>
                  <a:lnTo>
                    <a:pt x="892512" y="1192755"/>
                  </a:lnTo>
                  <a:lnTo>
                    <a:pt x="890619" y="1191660"/>
                  </a:lnTo>
                  <a:lnTo>
                    <a:pt x="889025" y="1190964"/>
                  </a:lnTo>
                  <a:lnTo>
                    <a:pt x="889025" y="1189870"/>
                  </a:lnTo>
                  <a:lnTo>
                    <a:pt x="887630" y="1189870"/>
                  </a:lnTo>
                  <a:lnTo>
                    <a:pt x="887131" y="1188776"/>
                  </a:lnTo>
                  <a:lnTo>
                    <a:pt x="886334" y="1188278"/>
                  </a:lnTo>
                  <a:lnTo>
                    <a:pt x="885836" y="1187781"/>
                  </a:lnTo>
                  <a:lnTo>
                    <a:pt x="884242" y="1187781"/>
                  </a:lnTo>
                  <a:lnTo>
                    <a:pt x="882049" y="1186587"/>
                  </a:lnTo>
                  <a:lnTo>
                    <a:pt x="880953" y="1186587"/>
                  </a:lnTo>
                  <a:lnTo>
                    <a:pt x="879758" y="1185194"/>
                  </a:lnTo>
                  <a:lnTo>
                    <a:pt x="878462" y="1184100"/>
                  </a:lnTo>
                  <a:lnTo>
                    <a:pt x="875074" y="1183105"/>
                  </a:lnTo>
                  <a:lnTo>
                    <a:pt x="875074" y="1182110"/>
                  </a:lnTo>
                  <a:lnTo>
                    <a:pt x="874078" y="1180816"/>
                  </a:lnTo>
                  <a:lnTo>
                    <a:pt x="874078" y="1179523"/>
                  </a:lnTo>
                  <a:lnTo>
                    <a:pt x="873082" y="1178031"/>
                  </a:lnTo>
                  <a:lnTo>
                    <a:pt x="872085" y="1177135"/>
                  </a:lnTo>
                  <a:lnTo>
                    <a:pt x="870590" y="1176638"/>
                  </a:lnTo>
                  <a:lnTo>
                    <a:pt x="869594" y="1175345"/>
                  </a:lnTo>
                  <a:lnTo>
                    <a:pt x="868199" y="1175345"/>
                  </a:lnTo>
                  <a:lnTo>
                    <a:pt x="867501" y="1174350"/>
                  </a:lnTo>
                  <a:lnTo>
                    <a:pt x="867501" y="1172758"/>
                  </a:lnTo>
                  <a:lnTo>
                    <a:pt x="868398" y="1172261"/>
                  </a:lnTo>
                  <a:lnTo>
                    <a:pt x="868398" y="1171166"/>
                  </a:lnTo>
                  <a:lnTo>
                    <a:pt x="866605" y="1170171"/>
                  </a:lnTo>
                  <a:lnTo>
                    <a:pt x="866605" y="1170868"/>
                  </a:lnTo>
                  <a:lnTo>
                    <a:pt x="863316" y="1170171"/>
                  </a:lnTo>
                  <a:lnTo>
                    <a:pt x="859928" y="1170171"/>
                  </a:lnTo>
                  <a:lnTo>
                    <a:pt x="859928" y="1171266"/>
                  </a:lnTo>
                  <a:lnTo>
                    <a:pt x="858932" y="1172061"/>
                  </a:lnTo>
                  <a:lnTo>
                    <a:pt x="857138" y="1172061"/>
                  </a:lnTo>
                  <a:lnTo>
                    <a:pt x="855943" y="1172957"/>
                  </a:lnTo>
                  <a:lnTo>
                    <a:pt x="855943" y="1173753"/>
                  </a:lnTo>
                  <a:lnTo>
                    <a:pt x="857039" y="1173753"/>
                  </a:lnTo>
                  <a:lnTo>
                    <a:pt x="856541" y="1174449"/>
                  </a:lnTo>
                  <a:lnTo>
                    <a:pt x="854747" y="1174449"/>
                  </a:lnTo>
                  <a:lnTo>
                    <a:pt x="854747" y="1175146"/>
                  </a:lnTo>
                  <a:lnTo>
                    <a:pt x="854747" y="1176439"/>
                  </a:lnTo>
                  <a:lnTo>
                    <a:pt x="854747" y="1177135"/>
                  </a:lnTo>
                  <a:lnTo>
                    <a:pt x="854747" y="1178429"/>
                  </a:lnTo>
                  <a:lnTo>
                    <a:pt x="854747" y="1179225"/>
                  </a:lnTo>
                  <a:lnTo>
                    <a:pt x="854249" y="1180021"/>
                  </a:lnTo>
                  <a:lnTo>
                    <a:pt x="854249" y="1182607"/>
                  </a:lnTo>
                  <a:lnTo>
                    <a:pt x="855146" y="1182607"/>
                  </a:lnTo>
                  <a:lnTo>
                    <a:pt x="855146" y="1181115"/>
                  </a:lnTo>
                  <a:lnTo>
                    <a:pt x="855943" y="1181115"/>
                  </a:lnTo>
                  <a:lnTo>
                    <a:pt x="855943" y="1183403"/>
                  </a:lnTo>
                  <a:lnTo>
                    <a:pt x="855943" y="1183900"/>
                  </a:lnTo>
                  <a:lnTo>
                    <a:pt x="856740" y="1184398"/>
                  </a:lnTo>
                  <a:lnTo>
                    <a:pt x="857836" y="1184995"/>
                  </a:lnTo>
                  <a:lnTo>
                    <a:pt x="857836" y="1186189"/>
                  </a:lnTo>
                  <a:lnTo>
                    <a:pt x="857836" y="1187582"/>
                  </a:lnTo>
                  <a:lnTo>
                    <a:pt x="859231" y="1187582"/>
                  </a:lnTo>
                  <a:lnTo>
                    <a:pt x="858633" y="1193053"/>
                  </a:lnTo>
                  <a:lnTo>
                    <a:pt x="856341" y="1195640"/>
                  </a:lnTo>
                  <a:lnTo>
                    <a:pt x="853950" y="1197630"/>
                  </a:lnTo>
                  <a:lnTo>
                    <a:pt x="853452" y="1198127"/>
                  </a:lnTo>
                  <a:lnTo>
                    <a:pt x="853452" y="1199122"/>
                  </a:lnTo>
                  <a:lnTo>
                    <a:pt x="853452" y="1201510"/>
                  </a:lnTo>
                  <a:lnTo>
                    <a:pt x="852156" y="1201510"/>
                  </a:lnTo>
                  <a:lnTo>
                    <a:pt x="850861" y="1201510"/>
                  </a:lnTo>
                  <a:lnTo>
                    <a:pt x="848071" y="1202505"/>
                  </a:lnTo>
                  <a:lnTo>
                    <a:pt x="845081" y="1202505"/>
                  </a:lnTo>
                  <a:lnTo>
                    <a:pt x="844284" y="1200913"/>
                  </a:lnTo>
                  <a:lnTo>
                    <a:pt x="844982" y="1199918"/>
                  </a:lnTo>
                  <a:lnTo>
                    <a:pt x="844484" y="1198724"/>
                  </a:lnTo>
                  <a:lnTo>
                    <a:pt x="843487" y="1197530"/>
                  </a:lnTo>
                  <a:lnTo>
                    <a:pt x="843985" y="1195541"/>
                  </a:lnTo>
                  <a:lnTo>
                    <a:pt x="842889" y="1194446"/>
                  </a:lnTo>
                  <a:lnTo>
                    <a:pt x="842889" y="1193650"/>
                  </a:lnTo>
                  <a:lnTo>
                    <a:pt x="846476" y="1194546"/>
                  </a:lnTo>
                  <a:lnTo>
                    <a:pt x="849665" y="1196237"/>
                  </a:lnTo>
                  <a:lnTo>
                    <a:pt x="850861" y="1196933"/>
                  </a:lnTo>
                  <a:lnTo>
                    <a:pt x="852953" y="1196237"/>
                  </a:lnTo>
                  <a:lnTo>
                    <a:pt x="854847" y="1195441"/>
                  </a:lnTo>
                  <a:lnTo>
                    <a:pt x="856142" y="1194247"/>
                  </a:lnTo>
                  <a:lnTo>
                    <a:pt x="856142" y="1193352"/>
                  </a:lnTo>
                  <a:lnTo>
                    <a:pt x="855544" y="1193352"/>
                  </a:lnTo>
                  <a:lnTo>
                    <a:pt x="853153" y="1193352"/>
                  </a:lnTo>
                  <a:lnTo>
                    <a:pt x="846476" y="1193352"/>
                  </a:lnTo>
                  <a:lnTo>
                    <a:pt x="840099" y="1192357"/>
                  </a:lnTo>
                  <a:lnTo>
                    <a:pt x="836014" y="1191263"/>
                  </a:lnTo>
                  <a:lnTo>
                    <a:pt x="832726" y="1190566"/>
                  </a:lnTo>
                  <a:lnTo>
                    <a:pt x="829138" y="1189472"/>
                  </a:lnTo>
                  <a:lnTo>
                    <a:pt x="826348" y="1188278"/>
                  </a:lnTo>
                  <a:lnTo>
                    <a:pt x="826348" y="1187283"/>
                  </a:lnTo>
                  <a:lnTo>
                    <a:pt x="824854" y="1186487"/>
                  </a:lnTo>
                  <a:lnTo>
                    <a:pt x="824854" y="1184497"/>
                  </a:lnTo>
                  <a:lnTo>
                    <a:pt x="822761" y="1183503"/>
                  </a:lnTo>
                  <a:lnTo>
                    <a:pt x="821267" y="1182607"/>
                  </a:lnTo>
                  <a:lnTo>
                    <a:pt x="820569" y="1180518"/>
                  </a:lnTo>
                  <a:lnTo>
                    <a:pt x="818875" y="1178429"/>
                  </a:lnTo>
                  <a:lnTo>
                    <a:pt x="817281" y="1175046"/>
                  </a:lnTo>
                  <a:lnTo>
                    <a:pt x="817281" y="1174250"/>
                  </a:lnTo>
                  <a:lnTo>
                    <a:pt x="815288" y="1173156"/>
                  </a:lnTo>
                  <a:lnTo>
                    <a:pt x="815288" y="1172360"/>
                  </a:lnTo>
                  <a:lnTo>
                    <a:pt x="812000" y="1167983"/>
                  </a:lnTo>
                  <a:lnTo>
                    <a:pt x="812000" y="1166291"/>
                  </a:lnTo>
                  <a:lnTo>
                    <a:pt x="811402" y="1165097"/>
                  </a:lnTo>
                  <a:lnTo>
                    <a:pt x="811402" y="1163904"/>
                  </a:lnTo>
                  <a:lnTo>
                    <a:pt x="810804" y="1162909"/>
                  </a:lnTo>
                  <a:lnTo>
                    <a:pt x="809907" y="1161615"/>
                  </a:lnTo>
                  <a:lnTo>
                    <a:pt x="810505" y="1160521"/>
                  </a:lnTo>
                  <a:lnTo>
                    <a:pt x="810007" y="1159427"/>
                  </a:lnTo>
                  <a:lnTo>
                    <a:pt x="810007" y="1157835"/>
                  </a:lnTo>
                  <a:lnTo>
                    <a:pt x="811003" y="1156641"/>
                  </a:lnTo>
                  <a:lnTo>
                    <a:pt x="811003" y="1155248"/>
                  </a:lnTo>
                  <a:lnTo>
                    <a:pt x="811003" y="1153656"/>
                  </a:lnTo>
                  <a:lnTo>
                    <a:pt x="806619" y="1148384"/>
                  </a:lnTo>
                  <a:lnTo>
                    <a:pt x="805722" y="1146792"/>
                  </a:lnTo>
                  <a:lnTo>
                    <a:pt x="805722" y="1145996"/>
                  </a:lnTo>
                  <a:lnTo>
                    <a:pt x="804925" y="1142912"/>
                  </a:lnTo>
                  <a:lnTo>
                    <a:pt x="804925" y="1141519"/>
                  </a:lnTo>
                  <a:lnTo>
                    <a:pt x="805622" y="1140723"/>
                  </a:lnTo>
                  <a:lnTo>
                    <a:pt x="805622" y="1139430"/>
                  </a:lnTo>
                  <a:lnTo>
                    <a:pt x="805025" y="1136942"/>
                  </a:lnTo>
                  <a:lnTo>
                    <a:pt x="805025" y="1135152"/>
                  </a:lnTo>
                  <a:lnTo>
                    <a:pt x="805025" y="1132366"/>
                  </a:lnTo>
                  <a:lnTo>
                    <a:pt x="805822" y="1130078"/>
                  </a:lnTo>
                  <a:lnTo>
                    <a:pt x="806320" y="1126795"/>
                  </a:lnTo>
                  <a:lnTo>
                    <a:pt x="807017" y="1124208"/>
                  </a:lnTo>
                  <a:lnTo>
                    <a:pt x="808811" y="1122019"/>
                  </a:lnTo>
                  <a:lnTo>
                    <a:pt x="810704" y="1122019"/>
                  </a:lnTo>
                  <a:lnTo>
                    <a:pt x="811402" y="1120527"/>
                  </a:lnTo>
                  <a:lnTo>
                    <a:pt x="811402" y="1119333"/>
                  </a:lnTo>
                  <a:lnTo>
                    <a:pt x="810106" y="1116249"/>
                  </a:lnTo>
                  <a:lnTo>
                    <a:pt x="811103" y="1113862"/>
                  </a:lnTo>
                  <a:lnTo>
                    <a:pt x="812896" y="1111573"/>
                  </a:lnTo>
                  <a:lnTo>
                    <a:pt x="812896" y="1110081"/>
                  </a:lnTo>
                  <a:lnTo>
                    <a:pt x="813395" y="1108290"/>
                  </a:lnTo>
                  <a:lnTo>
                    <a:pt x="813395" y="1107693"/>
                  </a:lnTo>
                  <a:lnTo>
                    <a:pt x="813395" y="1106798"/>
                  </a:lnTo>
                  <a:lnTo>
                    <a:pt x="813893" y="1105803"/>
                  </a:lnTo>
                  <a:lnTo>
                    <a:pt x="813893" y="1105803"/>
                  </a:lnTo>
                  <a:lnTo>
                    <a:pt x="813893" y="1105803"/>
                  </a:lnTo>
                  <a:lnTo>
                    <a:pt x="813893" y="1105803"/>
                  </a:lnTo>
                  <a:lnTo>
                    <a:pt x="813893" y="1105007"/>
                  </a:lnTo>
                  <a:lnTo>
                    <a:pt x="813893" y="1104112"/>
                  </a:lnTo>
                  <a:lnTo>
                    <a:pt x="813096" y="1103216"/>
                  </a:lnTo>
                  <a:lnTo>
                    <a:pt x="813096" y="1101326"/>
                  </a:lnTo>
                  <a:lnTo>
                    <a:pt x="812498" y="1100431"/>
                  </a:lnTo>
                  <a:lnTo>
                    <a:pt x="811900" y="1099436"/>
                  </a:lnTo>
                  <a:lnTo>
                    <a:pt x="811900" y="1098342"/>
                  </a:lnTo>
                  <a:lnTo>
                    <a:pt x="811900" y="1098342"/>
                  </a:lnTo>
                  <a:lnTo>
                    <a:pt x="810106" y="1096352"/>
                  </a:lnTo>
                  <a:lnTo>
                    <a:pt x="810106" y="1096352"/>
                  </a:lnTo>
                  <a:lnTo>
                    <a:pt x="810106" y="1096352"/>
                  </a:lnTo>
                  <a:lnTo>
                    <a:pt x="809210" y="1095755"/>
                  </a:lnTo>
                  <a:lnTo>
                    <a:pt x="809210" y="1095058"/>
                  </a:lnTo>
                  <a:lnTo>
                    <a:pt x="807416" y="1093765"/>
                  </a:lnTo>
                  <a:lnTo>
                    <a:pt x="807416" y="1092969"/>
                  </a:lnTo>
                  <a:lnTo>
                    <a:pt x="806918" y="1092969"/>
                  </a:lnTo>
                  <a:lnTo>
                    <a:pt x="806918" y="1092969"/>
                  </a:lnTo>
                  <a:lnTo>
                    <a:pt x="807516" y="1092969"/>
                  </a:lnTo>
                  <a:lnTo>
                    <a:pt x="807516" y="1092969"/>
                  </a:lnTo>
                  <a:lnTo>
                    <a:pt x="807516" y="1092969"/>
                  </a:lnTo>
                  <a:lnTo>
                    <a:pt x="807017" y="1092471"/>
                  </a:lnTo>
                  <a:lnTo>
                    <a:pt x="806320" y="1092471"/>
                  </a:lnTo>
                  <a:lnTo>
                    <a:pt x="805224" y="1092471"/>
                  </a:lnTo>
                  <a:lnTo>
                    <a:pt x="805224" y="1091676"/>
                  </a:lnTo>
                  <a:lnTo>
                    <a:pt x="804028" y="1090183"/>
                  </a:lnTo>
                  <a:lnTo>
                    <a:pt x="803131" y="1088592"/>
                  </a:lnTo>
                  <a:lnTo>
                    <a:pt x="801537" y="1087000"/>
                  </a:lnTo>
                  <a:lnTo>
                    <a:pt x="801537" y="1085607"/>
                  </a:lnTo>
                  <a:lnTo>
                    <a:pt x="801537" y="1083816"/>
                  </a:lnTo>
                  <a:lnTo>
                    <a:pt x="801537" y="1082921"/>
                  </a:lnTo>
                  <a:lnTo>
                    <a:pt x="800640" y="1082423"/>
                  </a:lnTo>
                  <a:lnTo>
                    <a:pt x="800640" y="1081627"/>
                  </a:lnTo>
                  <a:lnTo>
                    <a:pt x="800640" y="1081130"/>
                  </a:lnTo>
                  <a:lnTo>
                    <a:pt x="800640" y="1080334"/>
                  </a:lnTo>
                  <a:lnTo>
                    <a:pt x="797850" y="1078444"/>
                  </a:lnTo>
                  <a:lnTo>
                    <a:pt x="797850" y="1077548"/>
                  </a:lnTo>
                  <a:lnTo>
                    <a:pt x="796953" y="1077051"/>
                  </a:lnTo>
                  <a:lnTo>
                    <a:pt x="796953" y="1077051"/>
                  </a:lnTo>
                  <a:lnTo>
                    <a:pt x="796953" y="1077548"/>
                  </a:lnTo>
                  <a:lnTo>
                    <a:pt x="796057" y="1077548"/>
                  </a:lnTo>
                  <a:lnTo>
                    <a:pt x="794462" y="1077548"/>
                  </a:lnTo>
                  <a:lnTo>
                    <a:pt x="793565" y="1076454"/>
                  </a:lnTo>
                  <a:lnTo>
                    <a:pt x="792968" y="1075459"/>
                  </a:lnTo>
                  <a:lnTo>
                    <a:pt x="792968" y="1074067"/>
                  </a:lnTo>
                  <a:lnTo>
                    <a:pt x="792270" y="1073171"/>
                  </a:lnTo>
                  <a:lnTo>
                    <a:pt x="790178" y="1072574"/>
                  </a:lnTo>
                  <a:lnTo>
                    <a:pt x="790178" y="1071977"/>
                  </a:lnTo>
                  <a:lnTo>
                    <a:pt x="788384" y="1071181"/>
                  </a:lnTo>
                  <a:lnTo>
                    <a:pt x="788384" y="1069391"/>
                  </a:lnTo>
                  <a:lnTo>
                    <a:pt x="787886" y="1068495"/>
                  </a:lnTo>
                  <a:lnTo>
                    <a:pt x="787886" y="1067600"/>
                  </a:lnTo>
                  <a:lnTo>
                    <a:pt x="787188" y="1066903"/>
                  </a:lnTo>
                  <a:lnTo>
                    <a:pt x="787188" y="1066307"/>
                  </a:lnTo>
                  <a:lnTo>
                    <a:pt x="787188" y="1065710"/>
                  </a:lnTo>
                  <a:lnTo>
                    <a:pt x="786391" y="1065112"/>
                  </a:lnTo>
                  <a:lnTo>
                    <a:pt x="786391" y="1065112"/>
                  </a:lnTo>
                  <a:lnTo>
                    <a:pt x="784697" y="1064416"/>
                  </a:lnTo>
                  <a:lnTo>
                    <a:pt x="783302" y="1062924"/>
                  </a:lnTo>
                  <a:lnTo>
                    <a:pt x="782505" y="1060536"/>
                  </a:lnTo>
                  <a:lnTo>
                    <a:pt x="782505" y="1058049"/>
                  </a:lnTo>
                  <a:lnTo>
                    <a:pt x="783302" y="1057552"/>
                  </a:lnTo>
                  <a:lnTo>
                    <a:pt x="783302" y="1056855"/>
                  </a:lnTo>
                  <a:lnTo>
                    <a:pt x="782505" y="1056159"/>
                  </a:lnTo>
                  <a:lnTo>
                    <a:pt x="781509" y="1053671"/>
                  </a:lnTo>
                  <a:lnTo>
                    <a:pt x="780313" y="1052975"/>
                  </a:lnTo>
                  <a:lnTo>
                    <a:pt x="779316" y="1050388"/>
                  </a:lnTo>
                  <a:lnTo>
                    <a:pt x="779316" y="1048797"/>
                  </a:lnTo>
                  <a:lnTo>
                    <a:pt x="778420" y="1047503"/>
                  </a:lnTo>
                  <a:lnTo>
                    <a:pt x="778420" y="1046608"/>
                  </a:lnTo>
                  <a:lnTo>
                    <a:pt x="779018" y="1044916"/>
                  </a:lnTo>
                  <a:lnTo>
                    <a:pt x="779516" y="1044916"/>
                  </a:lnTo>
                  <a:lnTo>
                    <a:pt x="779516" y="1044320"/>
                  </a:lnTo>
                  <a:lnTo>
                    <a:pt x="779516" y="1043424"/>
                  </a:lnTo>
                  <a:lnTo>
                    <a:pt x="779516" y="1042728"/>
                  </a:lnTo>
                  <a:lnTo>
                    <a:pt x="779516" y="1042728"/>
                  </a:lnTo>
                  <a:lnTo>
                    <a:pt x="778719" y="1042728"/>
                  </a:lnTo>
                  <a:lnTo>
                    <a:pt x="777921" y="1042230"/>
                  </a:lnTo>
                  <a:lnTo>
                    <a:pt x="777921" y="1041136"/>
                  </a:lnTo>
                  <a:lnTo>
                    <a:pt x="777921" y="1041136"/>
                  </a:lnTo>
                  <a:lnTo>
                    <a:pt x="777423" y="1040141"/>
                  </a:lnTo>
                  <a:lnTo>
                    <a:pt x="776228" y="1039146"/>
                  </a:lnTo>
                  <a:lnTo>
                    <a:pt x="776228" y="1038351"/>
                  </a:lnTo>
                  <a:lnTo>
                    <a:pt x="774235" y="1037356"/>
                  </a:lnTo>
                  <a:lnTo>
                    <a:pt x="773238" y="1036361"/>
                  </a:lnTo>
                  <a:lnTo>
                    <a:pt x="773238" y="1034072"/>
                  </a:lnTo>
                  <a:lnTo>
                    <a:pt x="771444" y="1030889"/>
                  </a:lnTo>
                  <a:lnTo>
                    <a:pt x="770847" y="1029496"/>
                  </a:lnTo>
                  <a:lnTo>
                    <a:pt x="770847" y="1026213"/>
                  </a:lnTo>
                  <a:lnTo>
                    <a:pt x="769651" y="1025218"/>
                  </a:lnTo>
                  <a:lnTo>
                    <a:pt x="768754" y="1022930"/>
                  </a:lnTo>
                  <a:lnTo>
                    <a:pt x="768057" y="1022034"/>
                  </a:lnTo>
                  <a:lnTo>
                    <a:pt x="768057" y="1016762"/>
                  </a:lnTo>
                  <a:lnTo>
                    <a:pt x="768953" y="1016762"/>
                  </a:lnTo>
                  <a:lnTo>
                    <a:pt x="768953" y="1015170"/>
                  </a:lnTo>
                  <a:lnTo>
                    <a:pt x="769651" y="1014573"/>
                  </a:lnTo>
                  <a:lnTo>
                    <a:pt x="769651" y="1013678"/>
                  </a:lnTo>
                  <a:lnTo>
                    <a:pt x="768654" y="1011688"/>
                  </a:lnTo>
                  <a:lnTo>
                    <a:pt x="769651" y="1010693"/>
                  </a:lnTo>
                  <a:lnTo>
                    <a:pt x="769053" y="1009400"/>
                  </a:lnTo>
                  <a:lnTo>
                    <a:pt x="767459" y="1009400"/>
                  </a:lnTo>
                  <a:lnTo>
                    <a:pt x="767459" y="1009400"/>
                  </a:lnTo>
                  <a:lnTo>
                    <a:pt x="766961" y="1009400"/>
                  </a:lnTo>
                  <a:lnTo>
                    <a:pt x="766961" y="1010096"/>
                  </a:lnTo>
                  <a:lnTo>
                    <a:pt x="766064" y="1010096"/>
                  </a:lnTo>
                  <a:lnTo>
                    <a:pt x="765366" y="1009499"/>
                  </a:lnTo>
                  <a:lnTo>
                    <a:pt x="764768" y="1009499"/>
                  </a:lnTo>
                  <a:lnTo>
                    <a:pt x="764171" y="1010096"/>
                  </a:lnTo>
                  <a:lnTo>
                    <a:pt x="763174" y="1010096"/>
                  </a:lnTo>
                  <a:lnTo>
                    <a:pt x="763174" y="1009499"/>
                  </a:lnTo>
                  <a:lnTo>
                    <a:pt x="763971" y="1008405"/>
                  </a:lnTo>
                  <a:lnTo>
                    <a:pt x="763971" y="1008405"/>
                  </a:lnTo>
                  <a:lnTo>
                    <a:pt x="763074" y="1009499"/>
                  </a:lnTo>
                  <a:lnTo>
                    <a:pt x="760683" y="1009499"/>
                  </a:lnTo>
                  <a:lnTo>
                    <a:pt x="760683" y="1009002"/>
                  </a:lnTo>
                  <a:lnTo>
                    <a:pt x="760185" y="1009599"/>
                  </a:lnTo>
                  <a:lnTo>
                    <a:pt x="758989" y="1009599"/>
                  </a:lnTo>
                  <a:lnTo>
                    <a:pt x="757694" y="1009002"/>
                  </a:lnTo>
                  <a:lnTo>
                    <a:pt x="756996" y="1007808"/>
                  </a:lnTo>
                  <a:lnTo>
                    <a:pt x="755900" y="1007111"/>
                  </a:lnTo>
                  <a:lnTo>
                    <a:pt x="755003" y="1005121"/>
                  </a:lnTo>
                  <a:lnTo>
                    <a:pt x="755003" y="1004027"/>
                  </a:lnTo>
                  <a:lnTo>
                    <a:pt x="754405" y="1003530"/>
                  </a:lnTo>
                  <a:lnTo>
                    <a:pt x="752712" y="1003032"/>
                  </a:lnTo>
                  <a:lnTo>
                    <a:pt x="751615" y="1000147"/>
                  </a:lnTo>
                  <a:lnTo>
                    <a:pt x="750320" y="999053"/>
                  </a:lnTo>
                  <a:lnTo>
                    <a:pt x="749224" y="997361"/>
                  </a:lnTo>
                  <a:lnTo>
                    <a:pt x="748626" y="995272"/>
                  </a:lnTo>
                  <a:lnTo>
                    <a:pt x="748128" y="994079"/>
                  </a:lnTo>
                  <a:lnTo>
                    <a:pt x="748128" y="991989"/>
                  </a:lnTo>
                  <a:lnTo>
                    <a:pt x="747331" y="990000"/>
                  </a:lnTo>
                  <a:lnTo>
                    <a:pt x="746633" y="988010"/>
                  </a:lnTo>
                  <a:lnTo>
                    <a:pt x="746633" y="986418"/>
                  </a:lnTo>
                  <a:lnTo>
                    <a:pt x="746633" y="985423"/>
                  </a:lnTo>
                  <a:lnTo>
                    <a:pt x="745039" y="982339"/>
                  </a:lnTo>
                  <a:lnTo>
                    <a:pt x="744142" y="982339"/>
                  </a:lnTo>
                  <a:lnTo>
                    <a:pt x="743544" y="982936"/>
                  </a:lnTo>
                  <a:lnTo>
                    <a:pt x="742647" y="982438"/>
                  </a:lnTo>
                  <a:lnTo>
                    <a:pt x="742647" y="981344"/>
                  </a:lnTo>
                  <a:lnTo>
                    <a:pt x="741551" y="979951"/>
                  </a:lnTo>
                  <a:lnTo>
                    <a:pt x="740655" y="979354"/>
                  </a:lnTo>
                  <a:lnTo>
                    <a:pt x="738662" y="978658"/>
                  </a:lnTo>
                  <a:lnTo>
                    <a:pt x="737267" y="976867"/>
                  </a:lnTo>
                  <a:lnTo>
                    <a:pt x="735672" y="975872"/>
                  </a:lnTo>
                  <a:lnTo>
                    <a:pt x="735074" y="974778"/>
                  </a:lnTo>
                  <a:lnTo>
                    <a:pt x="735074" y="973385"/>
                  </a:lnTo>
                  <a:lnTo>
                    <a:pt x="735074" y="971793"/>
                  </a:lnTo>
                  <a:lnTo>
                    <a:pt x="735074" y="969804"/>
                  </a:lnTo>
                  <a:lnTo>
                    <a:pt x="735074" y="967018"/>
                  </a:lnTo>
                  <a:lnTo>
                    <a:pt x="736071" y="967018"/>
                  </a:lnTo>
                  <a:lnTo>
                    <a:pt x="736071" y="967714"/>
                  </a:lnTo>
                  <a:lnTo>
                    <a:pt x="736669" y="968311"/>
                  </a:lnTo>
                  <a:lnTo>
                    <a:pt x="737167" y="968311"/>
                  </a:lnTo>
                  <a:lnTo>
                    <a:pt x="737765" y="967615"/>
                  </a:lnTo>
                  <a:lnTo>
                    <a:pt x="737067" y="967018"/>
                  </a:lnTo>
                  <a:lnTo>
                    <a:pt x="737067" y="966421"/>
                  </a:lnTo>
                  <a:lnTo>
                    <a:pt x="735971" y="965028"/>
                  </a:lnTo>
                  <a:lnTo>
                    <a:pt x="735074" y="964332"/>
                  </a:lnTo>
                  <a:lnTo>
                    <a:pt x="735074" y="964332"/>
                  </a:lnTo>
                  <a:lnTo>
                    <a:pt x="730391" y="964332"/>
                  </a:lnTo>
                  <a:lnTo>
                    <a:pt x="729494" y="963735"/>
                  </a:lnTo>
                  <a:lnTo>
                    <a:pt x="729494" y="959755"/>
                  </a:lnTo>
                  <a:lnTo>
                    <a:pt x="728897" y="958761"/>
                  </a:lnTo>
                  <a:lnTo>
                    <a:pt x="729694" y="957169"/>
                  </a:lnTo>
                  <a:lnTo>
                    <a:pt x="729694" y="955179"/>
                  </a:lnTo>
                  <a:lnTo>
                    <a:pt x="729694" y="953886"/>
                  </a:lnTo>
                  <a:lnTo>
                    <a:pt x="728398" y="951498"/>
                  </a:lnTo>
                  <a:lnTo>
                    <a:pt x="727601" y="948911"/>
                  </a:lnTo>
                  <a:lnTo>
                    <a:pt x="727003" y="946225"/>
                  </a:lnTo>
                  <a:lnTo>
                    <a:pt x="728598" y="944832"/>
                  </a:lnTo>
                  <a:lnTo>
                    <a:pt x="729893" y="943041"/>
                  </a:lnTo>
                  <a:lnTo>
                    <a:pt x="729893" y="939559"/>
                  </a:lnTo>
                  <a:lnTo>
                    <a:pt x="728897" y="937371"/>
                  </a:lnTo>
                  <a:lnTo>
                    <a:pt x="729494" y="935978"/>
                  </a:lnTo>
                  <a:lnTo>
                    <a:pt x="731089" y="934685"/>
                  </a:lnTo>
                  <a:lnTo>
                    <a:pt x="731089" y="933192"/>
                  </a:lnTo>
                  <a:lnTo>
                    <a:pt x="731886" y="932496"/>
                  </a:lnTo>
                  <a:lnTo>
                    <a:pt x="731886" y="931202"/>
                  </a:lnTo>
                  <a:lnTo>
                    <a:pt x="731288" y="929412"/>
                  </a:lnTo>
                  <a:lnTo>
                    <a:pt x="731288" y="927720"/>
                  </a:lnTo>
                  <a:lnTo>
                    <a:pt x="728797" y="926129"/>
                  </a:lnTo>
                  <a:lnTo>
                    <a:pt x="728199" y="924935"/>
                  </a:lnTo>
                  <a:lnTo>
                    <a:pt x="727502" y="924935"/>
                  </a:lnTo>
                  <a:lnTo>
                    <a:pt x="726904" y="924935"/>
                  </a:lnTo>
                  <a:lnTo>
                    <a:pt x="726904" y="924437"/>
                  </a:lnTo>
                  <a:lnTo>
                    <a:pt x="726904" y="923840"/>
                  </a:lnTo>
                  <a:lnTo>
                    <a:pt x="726904" y="923244"/>
                  </a:lnTo>
                  <a:lnTo>
                    <a:pt x="726206" y="923244"/>
                  </a:lnTo>
                  <a:lnTo>
                    <a:pt x="726206" y="922249"/>
                  </a:lnTo>
                  <a:lnTo>
                    <a:pt x="726206" y="922249"/>
                  </a:lnTo>
                  <a:lnTo>
                    <a:pt x="726206" y="921751"/>
                  </a:lnTo>
                  <a:lnTo>
                    <a:pt x="726206" y="919065"/>
                  </a:lnTo>
                  <a:lnTo>
                    <a:pt x="725509" y="917274"/>
                  </a:lnTo>
                  <a:lnTo>
                    <a:pt x="724014" y="916279"/>
                  </a:lnTo>
                  <a:lnTo>
                    <a:pt x="724014" y="913892"/>
                  </a:lnTo>
                  <a:lnTo>
                    <a:pt x="724014" y="912200"/>
                  </a:lnTo>
                  <a:lnTo>
                    <a:pt x="722519" y="909116"/>
                  </a:lnTo>
                  <a:lnTo>
                    <a:pt x="722519" y="908022"/>
                  </a:lnTo>
                  <a:lnTo>
                    <a:pt x="720427" y="907325"/>
                  </a:lnTo>
                  <a:lnTo>
                    <a:pt x="720925" y="903744"/>
                  </a:lnTo>
                  <a:lnTo>
                    <a:pt x="722420" y="903744"/>
                  </a:lnTo>
                  <a:lnTo>
                    <a:pt x="722420" y="900660"/>
                  </a:lnTo>
                  <a:lnTo>
                    <a:pt x="722420" y="898670"/>
                  </a:lnTo>
                  <a:lnTo>
                    <a:pt x="721722" y="896481"/>
                  </a:lnTo>
                  <a:lnTo>
                    <a:pt x="720128" y="894492"/>
                  </a:lnTo>
                  <a:lnTo>
                    <a:pt x="718035" y="893696"/>
                  </a:lnTo>
                  <a:lnTo>
                    <a:pt x="716840" y="892303"/>
                  </a:lnTo>
                  <a:lnTo>
                    <a:pt x="716840" y="891209"/>
                  </a:lnTo>
                  <a:lnTo>
                    <a:pt x="718135" y="890711"/>
                  </a:lnTo>
                  <a:lnTo>
                    <a:pt x="718135" y="890015"/>
                  </a:lnTo>
                  <a:lnTo>
                    <a:pt x="717537" y="889219"/>
                  </a:lnTo>
                  <a:lnTo>
                    <a:pt x="716242" y="888721"/>
                  </a:lnTo>
                  <a:lnTo>
                    <a:pt x="713352" y="886831"/>
                  </a:lnTo>
                  <a:lnTo>
                    <a:pt x="712455" y="884145"/>
                  </a:lnTo>
                  <a:lnTo>
                    <a:pt x="712455" y="881260"/>
                  </a:lnTo>
                  <a:lnTo>
                    <a:pt x="712455" y="877678"/>
                  </a:lnTo>
                  <a:lnTo>
                    <a:pt x="713950" y="874892"/>
                  </a:lnTo>
                  <a:lnTo>
                    <a:pt x="713950" y="872306"/>
                  </a:lnTo>
                  <a:lnTo>
                    <a:pt x="714647" y="871112"/>
                  </a:lnTo>
                  <a:lnTo>
                    <a:pt x="715445" y="870615"/>
                  </a:lnTo>
                  <a:lnTo>
                    <a:pt x="713751" y="869620"/>
                  </a:lnTo>
                  <a:lnTo>
                    <a:pt x="713153" y="868923"/>
                  </a:lnTo>
                  <a:lnTo>
                    <a:pt x="713153" y="867531"/>
                  </a:lnTo>
                  <a:lnTo>
                    <a:pt x="711658" y="867531"/>
                  </a:lnTo>
                  <a:lnTo>
                    <a:pt x="711658" y="868127"/>
                  </a:lnTo>
                  <a:lnTo>
                    <a:pt x="710761" y="868127"/>
                  </a:lnTo>
                  <a:lnTo>
                    <a:pt x="708071" y="867531"/>
                  </a:lnTo>
                  <a:lnTo>
                    <a:pt x="705381" y="866436"/>
                  </a:lnTo>
                  <a:lnTo>
                    <a:pt x="702391" y="865342"/>
                  </a:lnTo>
                  <a:lnTo>
                    <a:pt x="700299" y="864048"/>
                  </a:lnTo>
                  <a:lnTo>
                    <a:pt x="700299" y="861561"/>
                  </a:lnTo>
                  <a:lnTo>
                    <a:pt x="700996" y="854697"/>
                  </a:lnTo>
                  <a:lnTo>
                    <a:pt x="700996" y="851414"/>
                  </a:lnTo>
                  <a:lnTo>
                    <a:pt x="700996" y="848429"/>
                  </a:lnTo>
                  <a:lnTo>
                    <a:pt x="701594" y="845046"/>
                  </a:lnTo>
                  <a:lnTo>
                    <a:pt x="700299" y="844350"/>
                  </a:lnTo>
                  <a:lnTo>
                    <a:pt x="700299" y="843355"/>
                  </a:lnTo>
                  <a:lnTo>
                    <a:pt x="698704" y="842758"/>
                  </a:lnTo>
                  <a:lnTo>
                    <a:pt x="695715" y="841465"/>
                  </a:lnTo>
                  <a:lnTo>
                    <a:pt x="695715" y="840768"/>
                  </a:lnTo>
                  <a:lnTo>
                    <a:pt x="693921" y="839873"/>
                  </a:lnTo>
                  <a:lnTo>
                    <a:pt x="693921" y="838978"/>
                  </a:lnTo>
                  <a:lnTo>
                    <a:pt x="691131" y="837983"/>
                  </a:lnTo>
                  <a:lnTo>
                    <a:pt x="691131" y="837087"/>
                  </a:lnTo>
                  <a:lnTo>
                    <a:pt x="690135" y="836291"/>
                  </a:lnTo>
                  <a:lnTo>
                    <a:pt x="689437" y="834899"/>
                  </a:lnTo>
                  <a:lnTo>
                    <a:pt x="688740" y="833307"/>
                  </a:lnTo>
                  <a:lnTo>
                    <a:pt x="687146" y="833307"/>
                  </a:lnTo>
                  <a:lnTo>
                    <a:pt x="682064" y="829526"/>
                  </a:lnTo>
                  <a:lnTo>
                    <a:pt x="681067" y="827238"/>
                  </a:lnTo>
                  <a:lnTo>
                    <a:pt x="678975" y="824253"/>
                  </a:lnTo>
                  <a:lnTo>
                    <a:pt x="676085" y="821667"/>
                  </a:lnTo>
                  <a:lnTo>
                    <a:pt x="673096" y="819976"/>
                  </a:lnTo>
                  <a:lnTo>
                    <a:pt x="673096" y="818782"/>
                  </a:lnTo>
                  <a:lnTo>
                    <a:pt x="670206" y="817090"/>
                  </a:lnTo>
                  <a:lnTo>
                    <a:pt x="669110" y="817886"/>
                  </a:lnTo>
                  <a:lnTo>
                    <a:pt x="668213" y="818881"/>
                  </a:lnTo>
                  <a:lnTo>
                    <a:pt x="666021" y="818881"/>
                  </a:lnTo>
                  <a:lnTo>
                    <a:pt x="666021" y="819777"/>
                  </a:lnTo>
                  <a:lnTo>
                    <a:pt x="666918" y="820572"/>
                  </a:lnTo>
                  <a:lnTo>
                    <a:pt x="666918" y="822164"/>
                  </a:lnTo>
                  <a:lnTo>
                    <a:pt x="667615" y="823159"/>
                  </a:lnTo>
                  <a:lnTo>
                    <a:pt x="667615" y="824055"/>
                  </a:lnTo>
                  <a:lnTo>
                    <a:pt x="667615" y="825248"/>
                  </a:lnTo>
                  <a:lnTo>
                    <a:pt x="668313" y="826044"/>
                  </a:lnTo>
                  <a:lnTo>
                    <a:pt x="669309" y="827139"/>
                  </a:lnTo>
                  <a:lnTo>
                    <a:pt x="668711" y="828830"/>
                  </a:lnTo>
                  <a:lnTo>
                    <a:pt x="669309" y="831019"/>
                  </a:lnTo>
                  <a:lnTo>
                    <a:pt x="669309" y="832909"/>
                  </a:lnTo>
                  <a:lnTo>
                    <a:pt x="670007" y="834600"/>
                  </a:lnTo>
                  <a:lnTo>
                    <a:pt x="670007" y="838381"/>
                  </a:lnTo>
                  <a:lnTo>
                    <a:pt x="670505" y="839475"/>
                  </a:lnTo>
                  <a:lnTo>
                    <a:pt x="670505" y="840669"/>
                  </a:lnTo>
                  <a:lnTo>
                    <a:pt x="670505" y="841763"/>
                  </a:lnTo>
                  <a:lnTo>
                    <a:pt x="671402" y="841763"/>
                  </a:lnTo>
                  <a:lnTo>
                    <a:pt x="672996" y="845345"/>
                  </a:lnTo>
                  <a:lnTo>
                    <a:pt x="676484" y="847235"/>
                  </a:lnTo>
                  <a:lnTo>
                    <a:pt x="677680" y="849523"/>
                  </a:lnTo>
                  <a:lnTo>
                    <a:pt x="679473" y="850419"/>
                  </a:lnTo>
                  <a:lnTo>
                    <a:pt x="683060" y="853602"/>
                  </a:lnTo>
                  <a:lnTo>
                    <a:pt x="685850" y="857283"/>
                  </a:lnTo>
                  <a:lnTo>
                    <a:pt x="687445" y="858577"/>
                  </a:lnTo>
                  <a:lnTo>
                    <a:pt x="687445" y="860268"/>
                  </a:lnTo>
                  <a:lnTo>
                    <a:pt x="682662" y="864446"/>
                  </a:lnTo>
                  <a:lnTo>
                    <a:pt x="679971" y="866038"/>
                  </a:lnTo>
                  <a:lnTo>
                    <a:pt x="676683" y="864148"/>
                  </a:lnTo>
                  <a:lnTo>
                    <a:pt x="673893" y="861661"/>
                  </a:lnTo>
                  <a:lnTo>
                    <a:pt x="670605" y="857582"/>
                  </a:lnTo>
                  <a:lnTo>
                    <a:pt x="668911" y="855293"/>
                  </a:lnTo>
                  <a:lnTo>
                    <a:pt x="667316" y="853801"/>
                  </a:lnTo>
                  <a:lnTo>
                    <a:pt x="664925" y="853105"/>
                  </a:lnTo>
                  <a:lnTo>
                    <a:pt x="664427" y="851612"/>
                  </a:lnTo>
                  <a:lnTo>
                    <a:pt x="664427" y="850518"/>
                  </a:lnTo>
                  <a:lnTo>
                    <a:pt x="663929" y="848628"/>
                  </a:lnTo>
                  <a:lnTo>
                    <a:pt x="662633" y="846439"/>
                  </a:lnTo>
                  <a:lnTo>
                    <a:pt x="659744" y="843952"/>
                  </a:lnTo>
                  <a:lnTo>
                    <a:pt x="657950" y="843454"/>
                  </a:lnTo>
                  <a:lnTo>
                    <a:pt x="657352" y="840768"/>
                  </a:lnTo>
                  <a:lnTo>
                    <a:pt x="659245" y="836789"/>
                  </a:lnTo>
                  <a:lnTo>
                    <a:pt x="660840" y="837684"/>
                  </a:lnTo>
                  <a:lnTo>
                    <a:pt x="660840" y="836291"/>
                  </a:lnTo>
                  <a:lnTo>
                    <a:pt x="661437" y="834899"/>
                  </a:lnTo>
                  <a:lnTo>
                    <a:pt x="662733" y="833904"/>
                  </a:lnTo>
                  <a:lnTo>
                    <a:pt x="662733" y="833008"/>
                  </a:lnTo>
                  <a:lnTo>
                    <a:pt x="662733" y="830919"/>
                  </a:lnTo>
                  <a:lnTo>
                    <a:pt x="661836" y="827835"/>
                  </a:lnTo>
                  <a:lnTo>
                    <a:pt x="656854" y="823557"/>
                  </a:lnTo>
                  <a:lnTo>
                    <a:pt x="656156" y="820871"/>
                  </a:lnTo>
                  <a:lnTo>
                    <a:pt x="652868" y="819677"/>
                  </a:lnTo>
                  <a:lnTo>
                    <a:pt x="651573" y="818881"/>
                  </a:lnTo>
                  <a:lnTo>
                    <a:pt x="650875" y="816295"/>
                  </a:lnTo>
                  <a:lnTo>
                    <a:pt x="649082" y="814006"/>
                  </a:lnTo>
                  <a:lnTo>
                    <a:pt x="649082" y="812713"/>
                  </a:lnTo>
                  <a:lnTo>
                    <a:pt x="647886" y="812116"/>
                  </a:lnTo>
                  <a:lnTo>
                    <a:pt x="645594" y="810624"/>
                  </a:lnTo>
                  <a:lnTo>
                    <a:pt x="643701" y="806943"/>
                  </a:lnTo>
                  <a:lnTo>
                    <a:pt x="643701" y="804257"/>
                  </a:lnTo>
                  <a:lnTo>
                    <a:pt x="643701" y="801968"/>
                  </a:lnTo>
                  <a:lnTo>
                    <a:pt x="644797" y="799083"/>
                  </a:lnTo>
                  <a:lnTo>
                    <a:pt x="646889" y="796198"/>
                  </a:lnTo>
                  <a:lnTo>
                    <a:pt x="648982" y="794606"/>
                  </a:lnTo>
                  <a:lnTo>
                    <a:pt x="650576" y="794606"/>
                  </a:lnTo>
                  <a:lnTo>
                    <a:pt x="652270" y="793910"/>
                  </a:lnTo>
                  <a:lnTo>
                    <a:pt x="652270" y="792616"/>
                  </a:lnTo>
                  <a:lnTo>
                    <a:pt x="651573" y="791821"/>
                  </a:lnTo>
                  <a:lnTo>
                    <a:pt x="651573" y="790627"/>
                  </a:lnTo>
                  <a:lnTo>
                    <a:pt x="650377" y="790627"/>
                  </a:lnTo>
                  <a:lnTo>
                    <a:pt x="646092" y="790627"/>
                  </a:lnTo>
                  <a:lnTo>
                    <a:pt x="643900" y="787841"/>
                  </a:lnTo>
                  <a:lnTo>
                    <a:pt x="638420" y="786747"/>
                  </a:lnTo>
                  <a:lnTo>
                    <a:pt x="637224" y="786150"/>
                  </a:lnTo>
                  <a:lnTo>
                    <a:pt x="636726" y="785453"/>
                  </a:lnTo>
                  <a:lnTo>
                    <a:pt x="634135" y="785453"/>
                  </a:lnTo>
                  <a:lnTo>
                    <a:pt x="630847" y="784060"/>
                  </a:lnTo>
                  <a:lnTo>
                    <a:pt x="628455" y="781474"/>
                  </a:lnTo>
                  <a:lnTo>
                    <a:pt x="625765" y="781474"/>
                  </a:lnTo>
                  <a:lnTo>
                    <a:pt x="624569" y="780777"/>
                  </a:lnTo>
                  <a:lnTo>
                    <a:pt x="623971" y="779584"/>
                  </a:lnTo>
                  <a:lnTo>
                    <a:pt x="622477" y="777992"/>
                  </a:lnTo>
                  <a:lnTo>
                    <a:pt x="620783" y="776300"/>
                  </a:lnTo>
                  <a:lnTo>
                    <a:pt x="618491" y="774709"/>
                  </a:lnTo>
                  <a:lnTo>
                    <a:pt x="618491" y="773614"/>
                  </a:lnTo>
                  <a:lnTo>
                    <a:pt x="618989" y="772619"/>
                  </a:lnTo>
                  <a:lnTo>
                    <a:pt x="619587" y="771923"/>
                  </a:lnTo>
                  <a:lnTo>
                    <a:pt x="620484" y="769237"/>
                  </a:lnTo>
                  <a:lnTo>
                    <a:pt x="618989" y="767745"/>
                  </a:lnTo>
                  <a:lnTo>
                    <a:pt x="617694" y="764661"/>
                  </a:lnTo>
                  <a:lnTo>
                    <a:pt x="616099" y="763566"/>
                  </a:lnTo>
                  <a:lnTo>
                    <a:pt x="615402" y="760283"/>
                  </a:lnTo>
                  <a:lnTo>
                    <a:pt x="614704" y="758592"/>
                  </a:lnTo>
                  <a:lnTo>
                    <a:pt x="612612" y="758094"/>
                  </a:lnTo>
                  <a:lnTo>
                    <a:pt x="611715" y="756503"/>
                  </a:lnTo>
                  <a:lnTo>
                    <a:pt x="611018" y="754314"/>
                  </a:lnTo>
                  <a:lnTo>
                    <a:pt x="608925" y="753220"/>
                  </a:lnTo>
                  <a:lnTo>
                    <a:pt x="607630" y="751031"/>
                  </a:lnTo>
                  <a:lnTo>
                    <a:pt x="607630" y="749439"/>
                  </a:lnTo>
                  <a:lnTo>
                    <a:pt x="607630" y="747748"/>
                  </a:lnTo>
                  <a:lnTo>
                    <a:pt x="606334" y="745360"/>
                  </a:lnTo>
                  <a:lnTo>
                    <a:pt x="604939" y="742375"/>
                  </a:lnTo>
                  <a:lnTo>
                    <a:pt x="604939" y="740187"/>
                  </a:lnTo>
                  <a:lnTo>
                    <a:pt x="604341" y="735312"/>
                  </a:lnTo>
                  <a:lnTo>
                    <a:pt x="603146" y="732228"/>
                  </a:lnTo>
                  <a:lnTo>
                    <a:pt x="600555" y="729840"/>
                  </a:lnTo>
                  <a:lnTo>
                    <a:pt x="600555" y="728248"/>
                  </a:lnTo>
                  <a:lnTo>
                    <a:pt x="598163" y="725960"/>
                  </a:lnTo>
                  <a:lnTo>
                    <a:pt x="594377" y="723672"/>
                  </a:lnTo>
                  <a:lnTo>
                    <a:pt x="592484" y="722378"/>
                  </a:lnTo>
                  <a:lnTo>
                    <a:pt x="587701" y="721284"/>
                  </a:lnTo>
                  <a:lnTo>
                    <a:pt x="586406" y="720190"/>
                  </a:lnTo>
                  <a:lnTo>
                    <a:pt x="584911" y="718996"/>
                  </a:lnTo>
                  <a:lnTo>
                    <a:pt x="584014" y="718200"/>
                  </a:lnTo>
                  <a:lnTo>
                    <a:pt x="582519" y="717603"/>
                  </a:lnTo>
                  <a:lnTo>
                    <a:pt x="580227" y="716906"/>
                  </a:lnTo>
                  <a:lnTo>
                    <a:pt x="578633" y="715812"/>
                  </a:lnTo>
                  <a:lnTo>
                    <a:pt x="576640" y="715315"/>
                  </a:lnTo>
                  <a:lnTo>
                    <a:pt x="573850" y="715315"/>
                  </a:lnTo>
                  <a:lnTo>
                    <a:pt x="569865" y="713524"/>
                  </a:lnTo>
                  <a:lnTo>
                    <a:pt x="569865" y="711833"/>
                  </a:lnTo>
                  <a:lnTo>
                    <a:pt x="567174" y="710241"/>
                  </a:lnTo>
                  <a:lnTo>
                    <a:pt x="567174" y="708948"/>
                  </a:lnTo>
                  <a:lnTo>
                    <a:pt x="565978" y="707953"/>
                  </a:lnTo>
                  <a:lnTo>
                    <a:pt x="565978" y="706659"/>
                  </a:lnTo>
                  <a:lnTo>
                    <a:pt x="565181" y="705665"/>
                  </a:lnTo>
                  <a:lnTo>
                    <a:pt x="564484" y="705665"/>
                  </a:lnTo>
                  <a:lnTo>
                    <a:pt x="563288" y="705665"/>
                  </a:lnTo>
                  <a:lnTo>
                    <a:pt x="562690" y="704769"/>
                  </a:lnTo>
                  <a:lnTo>
                    <a:pt x="561793" y="704769"/>
                  </a:lnTo>
                  <a:lnTo>
                    <a:pt x="560697" y="703277"/>
                  </a:lnTo>
                  <a:lnTo>
                    <a:pt x="558904" y="701386"/>
                  </a:lnTo>
                  <a:lnTo>
                    <a:pt x="557608" y="699596"/>
                  </a:lnTo>
                  <a:lnTo>
                    <a:pt x="556911" y="697905"/>
                  </a:lnTo>
                  <a:lnTo>
                    <a:pt x="556911" y="696512"/>
                  </a:lnTo>
                  <a:lnTo>
                    <a:pt x="555715" y="695616"/>
                  </a:lnTo>
                  <a:lnTo>
                    <a:pt x="555715" y="693328"/>
                  </a:lnTo>
                  <a:lnTo>
                    <a:pt x="555715" y="692532"/>
                  </a:lnTo>
                  <a:lnTo>
                    <a:pt x="554818" y="690642"/>
                  </a:lnTo>
                  <a:lnTo>
                    <a:pt x="554818" y="689747"/>
                  </a:lnTo>
                  <a:lnTo>
                    <a:pt x="554221" y="689747"/>
                  </a:lnTo>
                  <a:lnTo>
                    <a:pt x="554221" y="690443"/>
                  </a:lnTo>
                  <a:lnTo>
                    <a:pt x="552526" y="689448"/>
                  </a:lnTo>
                  <a:lnTo>
                    <a:pt x="552028" y="688354"/>
                  </a:lnTo>
                  <a:lnTo>
                    <a:pt x="550035" y="687160"/>
                  </a:lnTo>
                  <a:lnTo>
                    <a:pt x="548242" y="684673"/>
                  </a:lnTo>
                  <a:lnTo>
                    <a:pt x="548242" y="682385"/>
                  </a:lnTo>
                  <a:lnTo>
                    <a:pt x="548242" y="680892"/>
                  </a:lnTo>
                  <a:lnTo>
                    <a:pt x="548840" y="680892"/>
                  </a:lnTo>
                  <a:lnTo>
                    <a:pt x="548840" y="679897"/>
                  </a:lnTo>
                  <a:lnTo>
                    <a:pt x="548840" y="679002"/>
                  </a:lnTo>
                  <a:lnTo>
                    <a:pt x="548840" y="677311"/>
                  </a:lnTo>
                  <a:lnTo>
                    <a:pt x="548840" y="674724"/>
                  </a:lnTo>
                  <a:lnTo>
                    <a:pt x="549936" y="671242"/>
                  </a:lnTo>
                  <a:lnTo>
                    <a:pt x="549936" y="670546"/>
                  </a:lnTo>
                  <a:lnTo>
                    <a:pt x="549338" y="668257"/>
                  </a:lnTo>
                  <a:lnTo>
                    <a:pt x="549338" y="666467"/>
                  </a:lnTo>
                  <a:lnTo>
                    <a:pt x="548242" y="665770"/>
                  </a:lnTo>
                  <a:lnTo>
                    <a:pt x="546149" y="665770"/>
                  </a:lnTo>
                  <a:lnTo>
                    <a:pt x="544455" y="663780"/>
                  </a:lnTo>
                  <a:lnTo>
                    <a:pt x="543658" y="661791"/>
                  </a:lnTo>
                  <a:lnTo>
                    <a:pt x="543658" y="659900"/>
                  </a:lnTo>
                  <a:lnTo>
                    <a:pt x="544455" y="658110"/>
                  </a:lnTo>
                  <a:lnTo>
                    <a:pt x="545452" y="656816"/>
                  </a:lnTo>
                  <a:lnTo>
                    <a:pt x="545452" y="655324"/>
                  </a:lnTo>
                  <a:lnTo>
                    <a:pt x="544555" y="655324"/>
                  </a:lnTo>
                  <a:lnTo>
                    <a:pt x="544555" y="654727"/>
                  </a:lnTo>
                  <a:lnTo>
                    <a:pt x="543260" y="649852"/>
                  </a:lnTo>
                  <a:lnTo>
                    <a:pt x="543758" y="645574"/>
                  </a:lnTo>
                  <a:lnTo>
                    <a:pt x="543758" y="643982"/>
                  </a:lnTo>
                  <a:lnTo>
                    <a:pt x="544356" y="643186"/>
                  </a:lnTo>
                  <a:lnTo>
                    <a:pt x="544356" y="640998"/>
                  </a:lnTo>
                  <a:lnTo>
                    <a:pt x="544356" y="640102"/>
                  </a:lnTo>
                  <a:lnTo>
                    <a:pt x="545352" y="639306"/>
                  </a:lnTo>
                  <a:lnTo>
                    <a:pt x="544655" y="638511"/>
                  </a:lnTo>
                  <a:lnTo>
                    <a:pt x="543559" y="638511"/>
                  </a:lnTo>
                  <a:lnTo>
                    <a:pt x="543060" y="637516"/>
                  </a:lnTo>
                  <a:lnTo>
                    <a:pt x="538875" y="632939"/>
                  </a:lnTo>
                  <a:lnTo>
                    <a:pt x="538875" y="631745"/>
                  </a:lnTo>
                  <a:lnTo>
                    <a:pt x="537181" y="630651"/>
                  </a:lnTo>
                  <a:lnTo>
                    <a:pt x="535687" y="628960"/>
                  </a:lnTo>
                  <a:lnTo>
                    <a:pt x="534690" y="627368"/>
                  </a:lnTo>
                  <a:lnTo>
                    <a:pt x="535188" y="625179"/>
                  </a:lnTo>
                  <a:lnTo>
                    <a:pt x="534491" y="623985"/>
                  </a:lnTo>
                  <a:lnTo>
                    <a:pt x="534491" y="620802"/>
                  </a:lnTo>
                  <a:lnTo>
                    <a:pt x="536484" y="615529"/>
                  </a:lnTo>
                  <a:lnTo>
                    <a:pt x="537082" y="613639"/>
                  </a:lnTo>
                  <a:lnTo>
                    <a:pt x="536484" y="611450"/>
                  </a:lnTo>
                  <a:lnTo>
                    <a:pt x="535986" y="610555"/>
                  </a:lnTo>
                  <a:lnTo>
                    <a:pt x="536882" y="608764"/>
                  </a:lnTo>
                  <a:lnTo>
                    <a:pt x="537680" y="608067"/>
                  </a:lnTo>
                  <a:lnTo>
                    <a:pt x="537680" y="606873"/>
                  </a:lnTo>
                  <a:lnTo>
                    <a:pt x="537680" y="605381"/>
                  </a:lnTo>
                  <a:lnTo>
                    <a:pt x="536185" y="605381"/>
                  </a:lnTo>
                  <a:lnTo>
                    <a:pt x="536185" y="606276"/>
                  </a:lnTo>
                  <a:lnTo>
                    <a:pt x="535487" y="606276"/>
                  </a:lnTo>
                  <a:lnTo>
                    <a:pt x="533993" y="606276"/>
                  </a:lnTo>
                  <a:lnTo>
                    <a:pt x="533993" y="606276"/>
                  </a:lnTo>
                  <a:lnTo>
                    <a:pt x="534790" y="605182"/>
                  </a:lnTo>
                  <a:lnTo>
                    <a:pt x="534790" y="604386"/>
                  </a:lnTo>
                  <a:lnTo>
                    <a:pt x="533395" y="603590"/>
                  </a:lnTo>
                  <a:lnTo>
                    <a:pt x="533395" y="602595"/>
                  </a:lnTo>
                  <a:lnTo>
                    <a:pt x="531103" y="598914"/>
                  </a:lnTo>
                  <a:lnTo>
                    <a:pt x="527615" y="600208"/>
                  </a:lnTo>
                  <a:lnTo>
                    <a:pt x="522434" y="601601"/>
                  </a:lnTo>
                  <a:lnTo>
                    <a:pt x="518647" y="601601"/>
                  </a:lnTo>
                  <a:lnTo>
                    <a:pt x="514263" y="600108"/>
                  </a:lnTo>
                  <a:lnTo>
                    <a:pt x="514263" y="598716"/>
                  </a:lnTo>
                  <a:lnTo>
                    <a:pt x="511274" y="598218"/>
                  </a:lnTo>
                  <a:lnTo>
                    <a:pt x="509082" y="597223"/>
                  </a:lnTo>
                  <a:lnTo>
                    <a:pt x="509082" y="596328"/>
                  </a:lnTo>
                  <a:lnTo>
                    <a:pt x="506491" y="594736"/>
                  </a:lnTo>
                  <a:lnTo>
                    <a:pt x="505096" y="591453"/>
                  </a:lnTo>
                  <a:lnTo>
                    <a:pt x="505096" y="588966"/>
                  </a:lnTo>
                  <a:lnTo>
                    <a:pt x="504498" y="586280"/>
                  </a:lnTo>
                  <a:lnTo>
                    <a:pt x="503900" y="584389"/>
                  </a:lnTo>
                  <a:lnTo>
                    <a:pt x="502605" y="580808"/>
                  </a:lnTo>
                  <a:lnTo>
                    <a:pt x="502605" y="577525"/>
                  </a:lnTo>
                  <a:lnTo>
                    <a:pt x="501907" y="575634"/>
                  </a:lnTo>
                  <a:lnTo>
                    <a:pt x="499018" y="573346"/>
                  </a:lnTo>
                  <a:lnTo>
                    <a:pt x="497224" y="568670"/>
                  </a:lnTo>
                  <a:lnTo>
                    <a:pt x="496526" y="565487"/>
                  </a:lnTo>
                  <a:lnTo>
                    <a:pt x="495729" y="565487"/>
                  </a:lnTo>
                  <a:lnTo>
                    <a:pt x="494135" y="561607"/>
                  </a:lnTo>
                  <a:lnTo>
                    <a:pt x="494633" y="559418"/>
                  </a:lnTo>
                  <a:lnTo>
                    <a:pt x="494633" y="557528"/>
                  </a:lnTo>
                  <a:lnTo>
                    <a:pt x="493537" y="556533"/>
                  </a:lnTo>
                  <a:lnTo>
                    <a:pt x="494035" y="554842"/>
                  </a:lnTo>
                  <a:lnTo>
                    <a:pt x="493238" y="553946"/>
                  </a:lnTo>
                  <a:lnTo>
                    <a:pt x="492043" y="553349"/>
                  </a:lnTo>
                  <a:lnTo>
                    <a:pt x="492043" y="551359"/>
                  </a:lnTo>
                  <a:lnTo>
                    <a:pt x="491345" y="550265"/>
                  </a:lnTo>
                  <a:lnTo>
                    <a:pt x="489551" y="548773"/>
                  </a:lnTo>
                  <a:lnTo>
                    <a:pt x="486263" y="548176"/>
                  </a:lnTo>
                  <a:lnTo>
                    <a:pt x="485167" y="549270"/>
                  </a:lnTo>
                  <a:lnTo>
                    <a:pt x="483074" y="550166"/>
                  </a:lnTo>
                  <a:lnTo>
                    <a:pt x="482377" y="551061"/>
                  </a:lnTo>
                  <a:lnTo>
                    <a:pt x="480982" y="552553"/>
                  </a:lnTo>
                  <a:lnTo>
                    <a:pt x="479986" y="553449"/>
                  </a:lnTo>
                  <a:lnTo>
                    <a:pt x="477196" y="553449"/>
                  </a:lnTo>
                  <a:lnTo>
                    <a:pt x="474405" y="553449"/>
                  </a:lnTo>
                  <a:lnTo>
                    <a:pt x="474405" y="550862"/>
                  </a:lnTo>
                  <a:lnTo>
                    <a:pt x="472712" y="550066"/>
                  </a:lnTo>
                  <a:lnTo>
                    <a:pt x="472014" y="548275"/>
                  </a:lnTo>
                  <a:lnTo>
                    <a:pt x="472014" y="547181"/>
                  </a:lnTo>
                  <a:lnTo>
                    <a:pt x="472014" y="543798"/>
                  </a:lnTo>
                  <a:lnTo>
                    <a:pt x="472911" y="543102"/>
                  </a:lnTo>
                  <a:lnTo>
                    <a:pt x="471715" y="542605"/>
                  </a:lnTo>
                  <a:lnTo>
                    <a:pt x="471217" y="541411"/>
                  </a:lnTo>
                  <a:lnTo>
                    <a:pt x="470220" y="540416"/>
                  </a:lnTo>
                  <a:lnTo>
                    <a:pt x="470220" y="539222"/>
                  </a:lnTo>
                  <a:lnTo>
                    <a:pt x="471615" y="539222"/>
                  </a:lnTo>
                  <a:lnTo>
                    <a:pt x="471615" y="538426"/>
                  </a:lnTo>
                  <a:lnTo>
                    <a:pt x="468228" y="537630"/>
                  </a:lnTo>
                  <a:lnTo>
                    <a:pt x="468726" y="535441"/>
                  </a:lnTo>
                  <a:lnTo>
                    <a:pt x="468726" y="535441"/>
                  </a:lnTo>
                  <a:lnTo>
                    <a:pt x="469224" y="534745"/>
                  </a:lnTo>
                  <a:lnTo>
                    <a:pt x="468626" y="534148"/>
                  </a:lnTo>
                  <a:lnTo>
                    <a:pt x="466334" y="535143"/>
                  </a:lnTo>
                  <a:lnTo>
                    <a:pt x="466334" y="535939"/>
                  </a:lnTo>
                  <a:lnTo>
                    <a:pt x="465438" y="536635"/>
                  </a:lnTo>
                  <a:lnTo>
                    <a:pt x="463544" y="534845"/>
                  </a:lnTo>
                  <a:lnTo>
                    <a:pt x="463544" y="532855"/>
                  </a:lnTo>
                  <a:lnTo>
                    <a:pt x="462448" y="531362"/>
                  </a:lnTo>
                  <a:lnTo>
                    <a:pt x="461751" y="532556"/>
                  </a:lnTo>
                  <a:lnTo>
                    <a:pt x="460555" y="533850"/>
                  </a:lnTo>
                  <a:lnTo>
                    <a:pt x="459060" y="533253"/>
                  </a:lnTo>
                  <a:lnTo>
                    <a:pt x="457566" y="533253"/>
                  </a:lnTo>
                  <a:lnTo>
                    <a:pt x="456968" y="533253"/>
                  </a:lnTo>
                  <a:lnTo>
                    <a:pt x="456370" y="534248"/>
                  </a:lnTo>
                  <a:lnTo>
                    <a:pt x="456370" y="535043"/>
                  </a:lnTo>
                  <a:lnTo>
                    <a:pt x="455473" y="535541"/>
                  </a:lnTo>
                  <a:lnTo>
                    <a:pt x="456071" y="536735"/>
                  </a:lnTo>
                  <a:lnTo>
                    <a:pt x="457466" y="537630"/>
                  </a:lnTo>
                  <a:lnTo>
                    <a:pt x="456569" y="539520"/>
                  </a:lnTo>
                  <a:lnTo>
                    <a:pt x="456569" y="540018"/>
                  </a:lnTo>
                  <a:lnTo>
                    <a:pt x="456071" y="540615"/>
                  </a:lnTo>
                  <a:lnTo>
                    <a:pt x="453181" y="541212"/>
                  </a:lnTo>
                  <a:lnTo>
                    <a:pt x="450591" y="541212"/>
                  </a:lnTo>
                  <a:lnTo>
                    <a:pt x="450591" y="539222"/>
                  </a:lnTo>
                  <a:lnTo>
                    <a:pt x="449594" y="538426"/>
                  </a:lnTo>
                  <a:lnTo>
                    <a:pt x="448697" y="536436"/>
                  </a:lnTo>
                  <a:lnTo>
                    <a:pt x="448000" y="534646"/>
                  </a:lnTo>
                  <a:lnTo>
                    <a:pt x="446605" y="532556"/>
                  </a:lnTo>
                  <a:lnTo>
                    <a:pt x="446605" y="531661"/>
                  </a:lnTo>
                  <a:lnTo>
                    <a:pt x="447701" y="531064"/>
                  </a:lnTo>
                  <a:lnTo>
                    <a:pt x="447701" y="528776"/>
                  </a:lnTo>
                  <a:lnTo>
                    <a:pt x="447103" y="526289"/>
                  </a:lnTo>
                  <a:lnTo>
                    <a:pt x="445509" y="525294"/>
                  </a:lnTo>
                  <a:lnTo>
                    <a:pt x="445509" y="523404"/>
                  </a:lnTo>
                  <a:lnTo>
                    <a:pt x="445509" y="522011"/>
                  </a:lnTo>
                  <a:lnTo>
                    <a:pt x="446206" y="521414"/>
                  </a:lnTo>
                  <a:lnTo>
                    <a:pt x="446904" y="519921"/>
                  </a:lnTo>
                  <a:lnTo>
                    <a:pt x="451388" y="519921"/>
                  </a:lnTo>
                  <a:lnTo>
                    <a:pt x="451388" y="518230"/>
                  </a:lnTo>
                  <a:lnTo>
                    <a:pt x="449993" y="516340"/>
                  </a:lnTo>
                  <a:lnTo>
                    <a:pt x="447801" y="512559"/>
                  </a:lnTo>
                  <a:lnTo>
                    <a:pt x="447003" y="509276"/>
                  </a:lnTo>
                  <a:lnTo>
                    <a:pt x="445907" y="507684"/>
                  </a:lnTo>
                  <a:lnTo>
                    <a:pt x="444512" y="507684"/>
                  </a:lnTo>
                  <a:lnTo>
                    <a:pt x="443117" y="505993"/>
                  </a:lnTo>
                  <a:lnTo>
                    <a:pt x="442220" y="504103"/>
                  </a:lnTo>
                  <a:lnTo>
                    <a:pt x="442220" y="502810"/>
                  </a:lnTo>
                  <a:lnTo>
                    <a:pt x="441423" y="502810"/>
                  </a:lnTo>
                  <a:lnTo>
                    <a:pt x="440228" y="502810"/>
                  </a:lnTo>
                  <a:lnTo>
                    <a:pt x="440228" y="501715"/>
                  </a:lnTo>
                  <a:lnTo>
                    <a:pt x="440228" y="501019"/>
                  </a:lnTo>
                  <a:lnTo>
                    <a:pt x="439729" y="501019"/>
                  </a:lnTo>
                  <a:lnTo>
                    <a:pt x="438633" y="499626"/>
                  </a:lnTo>
                  <a:lnTo>
                    <a:pt x="438633" y="497537"/>
                  </a:lnTo>
                  <a:lnTo>
                    <a:pt x="437637" y="497039"/>
                  </a:lnTo>
                  <a:lnTo>
                    <a:pt x="436441" y="496243"/>
                  </a:lnTo>
                  <a:lnTo>
                    <a:pt x="436441" y="494751"/>
                  </a:lnTo>
                  <a:lnTo>
                    <a:pt x="437537" y="493358"/>
                  </a:lnTo>
                  <a:lnTo>
                    <a:pt x="438633" y="491667"/>
                  </a:lnTo>
                  <a:lnTo>
                    <a:pt x="440626" y="489876"/>
                  </a:lnTo>
                  <a:lnTo>
                    <a:pt x="440626" y="489080"/>
                  </a:lnTo>
                  <a:lnTo>
                    <a:pt x="439729" y="488384"/>
                  </a:lnTo>
                  <a:lnTo>
                    <a:pt x="439729" y="485797"/>
                  </a:lnTo>
                  <a:lnTo>
                    <a:pt x="438135" y="484106"/>
                  </a:lnTo>
                  <a:lnTo>
                    <a:pt x="434050" y="481022"/>
                  </a:lnTo>
                  <a:lnTo>
                    <a:pt x="421495" y="468287"/>
                  </a:lnTo>
                  <a:lnTo>
                    <a:pt x="419402" y="467292"/>
                  </a:lnTo>
                  <a:lnTo>
                    <a:pt x="418206" y="467292"/>
                  </a:lnTo>
                  <a:lnTo>
                    <a:pt x="417309" y="466099"/>
                  </a:lnTo>
                  <a:lnTo>
                    <a:pt x="416213" y="465601"/>
                  </a:lnTo>
                  <a:lnTo>
                    <a:pt x="414719" y="465601"/>
                  </a:lnTo>
                  <a:lnTo>
                    <a:pt x="413722" y="464805"/>
                  </a:lnTo>
                  <a:lnTo>
                    <a:pt x="413722" y="462716"/>
                  </a:lnTo>
                  <a:lnTo>
                    <a:pt x="412925" y="461821"/>
                  </a:lnTo>
                  <a:lnTo>
                    <a:pt x="411431" y="461821"/>
                  </a:lnTo>
                  <a:lnTo>
                    <a:pt x="409537" y="461124"/>
                  </a:lnTo>
                  <a:lnTo>
                    <a:pt x="407644" y="459234"/>
                  </a:lnTo>
                  <a:lnTo>
                    <a:pt x="405452" y="458040"/>
                  </a:lnTo>
                  <a:lnTo>
                    <a:pt x="403758" y="455851"/>
                  </a:lnTo>
                  <a:lnTo>
                    <a:pt x="402363" y="454260"/>
                  </a:lnTo>
                  <a:lnTo>
                    <a:pt x="401267" y="453165"/>
                  </a:lnTo>
                  <a:lnTo>
                    <a:pt x="399672" y="452569"/>
                  </a:lnTo>
                  <a:lnTo>
                    <a:pt x="398576" y="450579"/>
                  </a:lnTo>
                  <a:lnTo>
                    <a:pt x="397879" y="450579"/>
                  </a:lnTo>
                  <a:lnTo>
                    <a:pt x="396882" y="449683"/>
                  </a:lnTo>
                  <a:lnTo>
                    <a:pt x="395786" y="448191"/>
                  </a:lnTo>
                  <a:lnTo>
                    <a:pt x="394890" y="446699"/>
                  </a:lnTo>
                  <a:lnTo>
                    <a:pt x="393295" y="445405"/>
                  </a:lnTo>
                  <a:lnTo>
                    <a:pt x="391900" y="445405"/>
                  </a:lnTo>
                  <a:lnTo>
                    <a:pt x="390705" y="445405"/>
                  </a:lnTo>
                  <a:lnTo>
                    <a:pt x="389708" y="445405"/>
                  </a:lnTo>
                  <a:lnTo>
                    <a:pt x="389708" y="445405"/>
                  </a:lnTo>
                  <a:lnTo>
                    <a:pt x="389110" y="444908"/>
                  </a:lnTo>
                  <a:lnTo>
                    <a:pt x="389110" y="444112"/>
                  </a:lnTo>
                  <a:lnTo>
                    <a:pt x="389110" y="444112"/>
                  </a:lnTo>
                  <a:lnTo>
                    <a:pt x="387416" y="444112"/>
                  </a:lnTo>
                  <a:lnTo>
                    <a:pt x="386918" y="442918"/>
                  </a:lnTo>
                  <a:lnTo>
                    <a:pt x="386121" y="441923"/>
                  </a:lnTo>
                  <a:lnTo>
                    <a:pt x="386121" y="441326"/>
                  </a:lnTo>
                  <a:lnTo>
                    <a:pt x="386121" y="439536"/>
                  </a:lnTo>
                  <a:lnTo>
                    <a:pt x="383630" y="437844"/>
                  </a:lnTo>
                  <a:lnTo>
                    <a:pt x="382733" y="437844"/>
                  </a:lnTo>
                  <a:lnTo>
                    <a:pt x="381836" y="437049"/>
                  </a:lnTo>
                  <a:lnTo>
                    <a:pt x="380043" y="436352"/>
                  </a:lnTo>
                  <a:lnTo>
                    <a:pt x="380043" y="436352"/>
                  </a:lnTo>
                  <a:lnTo>
                    <a:pt x="379245" y="435357"/>
                  </a:lnTo>
                  <a:lnTo>
                    <a:pt x="378249" y="434362"/>
                  </a:lnTo>
                  <a:lnTo>
                    <a:pt x="377651" y="434362"/>
                  </a:lnTo>
                  <a:lnTo>
                    <a:pt x="377651" y="433566"/>
                  </a:lnTo>
                  <a:lnTo>
                    <a:pt x="376555" y="432671"/>
                  </a:lnTo>
                  <a:lnTo>
                    <a:pt x="376555" y="431577"/>
                  </a:lnTo>
                  <a:lnTo>
                    <a:pt x="375559" y="431079"/>
                  </a:lnTo>
                  <a:lnTo>
                    <a:pt x="375559" y="431079"/>
                  </a:lnTo>
                  <a:lnTo>
                    <a:pt x="374861" y="431079"/>
                  </a:lnTo>
                  <a:lnTo>
                    <a:pt x="374861" y="431079"/>
                  </a:lnTo>
                  <a:lnTo>
                    <a:pt x="374861" y="429885"/>
                  </a:lnTo>
                  <a:lnTo>
                    <a:pt x="374164" y="429885"/>
                  </a:lnTo>
                  <a:lnTo>
                    <a:pt x="373566" y="429885"/>
                  </a:lnTo>
                  <a:lnTo>
                    <a:pt x="373566" y="429885"/>
                  </a:lnTo>
                  <a:lnTo>
                    <a:pt x="373566" y="429885"/>
                  </a:lnTo>
                  <a:lnTo>
                    <a:pt x="373566" y="429885"/>
                  </a:lnTo>
                  <a:lnTo>
                    <a:pt x="373566" y="429885"/>
                  </a:lnTo>
                  <a:lnTo>
                    <a:pt x="373566" y="429089"/>
                  </a:lnTo>
                  <a:lnTo>
                    <a:pt x="372769" y="429089"/>
                  </a:lnTo>
                  <a:lnTo>
                    <a:pt x="372270" y="428294"/>
                  </a:lnTo>
                  <a:lnTo>
                    <a:pt x="372270" y="426503"/>
                  </a:lnTo>
                  <a:lnTo>
                    <a:pt x="371672" y="425806"/>
                  </a:lnTo>
                  <a:lnTo>
                    <a:pt x="370178" y="425806"/>
                  </a:lnTo>
                  <a:lnTo>
                    <a:pt x="370178" y="425806"/>
                  </a:lnTo>
                  <a:lnTo>
                    <a:pt x="369381" y="425806"/>
                  </a:lnTo>
                  <a:lnTo>
                    <a:pt x="368285" y="424613"/>
                  </a:lnTo>
                  <a:lnTo>
                    <a:pt x="367388" y="424016"/>
                  </a:lnTo>
                  <a:lnTo>
                    <a:pt x="365993" y="424016"/>
                  </a:lnTo>
                  <a:lnTo>
                    <a:pt x="365993" y="424016"/>
                  </a:lnTo>
                  <a:lnTo>
                    <a:pt x="365993" y="423319"/>
                  </a:lnTo>
                  <a:lnTo>
                    <a:pt x="365993" y="423319"/>
                  </a:lnTo>
                  <a:lnTo>
                    <a:pt x="365993" y="422722"/>
                  </a:lnTo>
                  <a:lnTo>
                    <a:pt x="365295" y="422722"/>
                  </a:lnTo>
                  <a:lnTo>
                    <a:pt x="365295" y="422722"/>
                  </a:lnTo>
                  <a:lnTo>
                    <a:pt x="364598" y="422722"/>
                  </a:lnTo>
                  <a:lnTo>
                    <a:pt x="364598" y="422722"/>
                  </a:lnTo>
                  <a:lnTo>
                    <a:pt x="364598" y="422722"/>
                  </a:lnTo>
                  <a:lnTo>
                    <a:pt x="364598" y="423319"/>
                  </a:lnTo>
                  <a:lnTo>
                    <a:pt x="363601" y="423319"/>
                  </a:lnTo>
                  <a:lnTo>
                    <a:pt x="363601" y="424016"/>
                  </a:lnTo>
                  <a:lnTo>
                    <a:pt x="363601" y="424613"/>
                  </a:lnTo>
                  <a:lnTo>
                    <a:pt x="364398" y="424613"/>
                  </a:lnTo>
                  <a:lnTo>
                    <a:pt x="364398" y="425110"/>
                  </a:lnTo>
                  <a:lnTo>
                    <a:pt x="364398" y="425806"/>
                  </a:lnTo>
                  <a:lnTo>
                    <a:pt x="363402" y="426602"/>
                  </a:lnTo>
                  <a:lnTo>
                    <a:pt x="360213" y="426602"/>
                  </a:lnTo>
                  <a:lnTo>
                    <a:pt x="358021" y="426105"/>
                  </a:lnTo>
                  <a:lnTo>
                    <a:pt x="357224" y="425110"/>
                  </a:lnTo>
                  <a:lnTo>
                    <a:pt x="357224" y="424115"/>
                  </a:lnTo>
                  <a:lnTo>
                    <a:pt x="356327" y="422822"/>
                  </a:lnTo>
                  <a:lnTo>
                    <a:pt x="355132" y="422225"/>
                  </a:lnTo>
                  <a:lnTo>
                    <a:pt x="354035" y="422225"/>
                  </a:lnTo>
                  <a:lnTo>
                    <a:pt x="352740" y="421727"/>
                  </a:lnTo>
                  <a:lnTo>
                    <a:pt x="351345" y="420534"/>
                  </a:lnTo>
                  <a:lnTo>
                    <a:pt x="351345" y="418643"/>
                  </a:lnTo>
                  <a:lnTo>
                    <a:pt x="351345" y="417350"/>
                  </a:lnTo>
                  <a:lnTo>
                    <a:pt x="351345" y="416653"/>
                  </a:lnTo>
                  <a:lnTo>
                    <a:pt x="349950" y="415957"/>
                  </a:lnTo>
                  <a:lnTo>
                    <a:pt x="349950" y="409888"/>
                  </a:lnTo>
                  <a:lnTo>
                    <a:pt x="350648" y="409093"/>
                  </a:lnTo>
                  <a:lnTo>
                    <a:pt x="351544" y="409093"/>
                  </a:lnTo>
                  <a:lnTo>
                    <a:pt x="350648" y="408297"/>
                  </a:lnTo>
                  <a:lnTo>
                    <a:pt x="349153" y="405212"/>
                  </a:lnTo>
                  <a:lnTo>
                    <a:pt x="349950" y="401531"/>
                  </a:lnTo>
                  <a:lnTo>
                    <a:pt x="348954" y="400039"/>
                  </a:lnTo>
                  <a:lnTo>
                    <a:pt x="347559" y="397850"/>
                  </a:lnTo>
                  <a:lnTo>
                    <a:pt x="343573" y="397353"/>
                  </a:lnTo>
                  <a:lnTo>
                    <a:pt x="341879" y="396159"/>
                  </a:lnTo>
                  <a:lnTo>
                    <a:pt x="340783" y="392180"/>
                  </a:lnTo>
                  <a:lnTo>
                    <a:pt x="334306" y="389294"/>
                  </a:lnTo>
                  <a:lnTo>
                    <a:pt x="332811" y="385912"/>
                  </a:lnTo>
                  <a:lnTo>
                    <a:pt x="331117" y="382231"/>
                  </a:lnTo>
                  <a:lnTo>
                    <a:pt x="328128" y="377555"/>
                  </a:lnTo>
                  <a:lnTo>
                    <a:pt x="328128" y="374471"/>
                  </a:lnTo>
                  <a:lnTo>
                    <a:pt x="326035" y="372083"/>
                  </a:lnTo>
                  <a:lnTo>
                    <a:pt x="325039" y="369098"/>
                  </a:lnTo>
                  <a:lnTo>
                    <a:pt x="322548" y="368203"/>
                  </a:lnTo>
                  <a:lnTo>
                    <a:pt x="321751" y="366014"/>
                  </a:lnTo>
                  <a:lnTo>
                    <a:pt x="321751" y="364323"/>
                  </a:lnTo>
                  <a:lnTo>
                    <a:pt x="320356" y="362831"/>
                  </a:lnTo>
                  <a:lnTo>
                    <a:pt x="318961" y="360045"/>
                  </a:lnTo>
                  <a:lnTo>
                    <a:pt x="318064" y="358851"/>
                  </a:lnTo>
                  <a:lnTo>
                    <a:pt x="317366" y="356663"/>
                  </a:lnTo>
                  <a:lnTo>
                    <a:pt x="318662" y="354673"/>
                  </a:lnTo>
                  <a:lnTo>
                    <a:pt x="319160" y="352484"/>
                  </a:lnTo>
                  <a:lnTo>
                    <a:pt x="319957" y="349499"/>
                  </a:lnTo>
                  <a:lnTo>
                    <a:pt x="320555" y="347510"/>
                  </a:lnTo>
                  <a:lnTo>
                    <a:pt x="319160" y="345620"/>
                  </a:lnTo>
                  <a:lnTo>
                    <a:pt x="319160" y="344028"/>
                  </a:lnTo>
                  <a:lnTo>
                    <a:pt x="319160" y="342933"/>
                  </a:lnTo>
                  <a:lnTo>
                    <a:pt x="320156" y="340446"/>
                  </a:lnTo>
                  <a:lnTo>
                    <a:pt x="321153" y="333283"/>
                  </a:lnTo>
                  <a:lnTo>
                    <a:pt x="320555" y="331791"/>
                  </a:lnTo>
                  <a:lnTo>
                    <a:pt x="321253" y="328707"/>
                  </a:lnTo>
                  <a:lnTo>
                    <a:pt x="321950" y="324827"/>
                  </a:lnTo>
                  <a:lnTo>
                    <a:pt x="321053" y="322340"/>
                  </a:lnTo>
                  <a:lnTo>
                    <a:pt x="321053" y="319355"/>
                  </a:lnTo>
                  <a:lnTo>
                    <a:pt x="322050" y="316868"/>
                  </a:lnTo>
                  <a:lnTo>
                    <a:pt x="322050" y="314878"/>
                  </a:lnTo>
                  <a:lnTo>
                    <a:pt x="320854" y="312291"/>
                  </a:lnTo>
                  <a:lnTo>
                    <a:pt x="320256" y="310699"/>
                  </a:lnTo>
                  <a:lnTo>
                    <a:pt x="320256" y="309307"/>
                  </a:lnTo>
                  <a:lnTo>
                    <a:pt x="320256" y="307914"/>
                  </a:lnTo>
                  <a:lnTo>
                    <a:pt x="320256" y="306421"/>
                  </a:lnTo>
                  <a:lnTo>
                    <a:pt x="318761" y="303636"/>
                  </a:lnTo>
                  <a:lnTo>
                    <a:pt x="315872" y="299059"/>
                  </a:lnTo>
                  <a:lnTo>
                    <a:pt x="314078" y="294781"/>
                  </a:lnTo>
                  <a:lnTo>
                    <a:pt x="314975" y="290006"/>
                  </a:lnTo>
                  <a:lnTo>
                    <a:pt x="314377" y="287618"/>
                  </a:lnTo>
                  <a:lnTo>
                    <a:pt x="313181" y="284236"/>
                  </a:lnTo>
                  <a:lnTo>
                    <a:pt x="314776" y="280754"/>
                  </a:lnTo>
                  <a:lnTo>
                    <a:pt x="315573" y="279460"/>
                  </a:lnTo>
                  <a:lnTo>
                    <a:pt x="314576" y="277172"/>
                  </a:lnTo>
                  <a:lnTo>
                    <a:pt x="313879" y="275282"/>
                  </a:lnTo>
                  <a:lnTo>
                    <a:pt x="313879" y="268915"/>
                  </a:lnTo>
                  <a:lnTo>
                    <a:pt x="312982" y="266726"/>
                  </a:lnTo>
                  <a:lnTo>
                    <a:pt x="312384" y="265433"/>
                  </a:lnTo>
                  <a:lnTo>
                    <a:pt x="312982" y="263443"/>
                  </a:lnTo>
                  <a:lnTo>
                    <a:pt x="312982" y="261155"/>
                  </a:lnTo>
                  <a:lnTo>
                    <a:pt x="312982" y="259662"/>
                  </a:lnTo>
                  <a:lnTo>
                    <a:pt x="312982" y="254887"/>
                  </a:lnTo>
                  <a:lnTo>
                    <a:pt x="312484" y="253494"/>
                  </a:lnTo>
                  <a:lnTo>
                    <a:pt x="312484" y="252499"/>
                  </a:lnTo>
                  <a:lnTo>
                    <a:pt x="312484" y="251703"/>
                  </a:lnTo>
                  <a:lnTo>
                    <a:pt x="310491" y="250510"/>
                  </a:lnTo>
                  <a:lnTo>
                    <a:pt x="301922" y="246629"/>
                  </a:lnTo>
                  <a:lnTo>
                    <a:pt x="299729" y="244938"/>
                  </a:lnTo>
                  <a:lnTo>
                    <a:pt x="298334" y="242451"/>
                  </a:lnTo>
                  <a:lnTo>
                    <a:pt x="298334" y="239466"/>
                  </a:lnTo>
                  <a:lnTo>
                    <a:pt x="300527" y="237278"/>
                  </a:lnTo>
                  <a:lnTo>
                    <a:pt x="300527" y="236283"/>
                  </a:lnTo>
                  <a:lnTo>
                    <a:pt x="297438" y="233895"/>
                  </a:lnTo>
                  <a:lnTo>
                    <a:pt x="294149" y="230612"/>
                  </a:lnTo>
                  <a:lnTo>
                    <a:pt x="291658" y="226235"/>
                  </a:lnTo>
                  <a:lnTo>
                    <a:pt x="291060" y="220265"/>
                  </a:lnTo>
                  <a:lnTo>
                    <a:pt x="291658" y="217480"/>
                  </a:lnTo>
                  <a:lnTo>
                    <a:pt x="293053" y="204646"/>
                  </a:lnTo>
                  <a:lnTo>
                    <a:pt x="293053" y="196687"/>
                  </a:lnTo>
                  <a:lnTo>
                    <a:pt x="295943" y="188031"/>
                  </a:lnTo>
                  <a:lnTo>
                    <a:pt x="295943" y="168134"/>
                  </a:lnTo>
                  <a:lnTo>
                    <a:pt x="297438" y="162364"/>
                  </a:lnTo>
                  <a:lnTo>
                    <a:pt x="299630" y="157688"/>
                  </a:lnTo>
                  <a:lnTo>
                    <a:pt x="304014" y="152514"/>
                  </a:lnTo>
                  <a:lnTo>
                    <a:pt x="305110" y="149729"/>
                  </a:lnTo>
                  <a:lnTo>
                    <a:pt x="303516" y="146346"/>
                  </a:lnTo>
                  <a:lnTo>
                    <a:pt x="301722" y="143660"/>
                  </a:lnTo>
                  <a:lnTo>
                    <a:pt x="300626" y="140675"/>
                  </a:lnTo>
                  <a:lnTo>
                    <a:pt x="300028" y="136596"/>
                  </a:lnTo>
                  <a:lnTo>
                    <a:pt x="295744" y="134507"/>
                  </a:lnTo>
                  <a:lnTo>
                    <a:pt x="291160" y="128637"/>
                  </a:lnTo>
                  <a:lnTo>
                    <a:pt x="292655" y="122270"/>
                  </a:lnTo>
                  <a:lnTo>
                    <a:pt x="291459" y="121176"/>
                  </a:lnTo>
                  <a:lnTo>
                    <a:pt x="288370" y="120479"/>
                  </a:lnTo>
                  <a:lnTo>
                    <a:pt x="287075" y="118689"/>
                  </a:lnTo>
                  <a:lnTo>
                    <a:pt x="285480" y="117097"/>
                  </a:lnTo>
                  <a:lnTo>
                    <a:pt x="283587" y="115704"/>
                  </a:lnTo>
                  <a:lnTo>
                    <a:pt x="281395" y="114610"/>
                  </a:lnTo>
                  <a:lnTo>
                    <a:pt x="278107" y="114013"/>
                  </a:lnTo>
                  <a:lnTo>
                    <a:pt x="277210" y="114013"/>
                  </a:lnTo>
                  <a:lnTo>
                    <a:pt x="275914" y="113217"/>
                  </a:lnTo>
                  <a:lnTo>
                    <a:pt x="275416" y="112620"/>
                  </a:lnTo>
                  <a:lnTo>
                    <a:pt x="273523" y="109337"/>
                  </a:lnTo>
                  <a:lnTo>
                    <a:pt x="273523" y="107546"/>
                  </a:lnTo>
                  <a:lnTo>
                    <a:pt x="273523" y="105855"/>
                  </a:lnTo>
                  <a:lnTo>
                    <a:pt x="274221" y="105158"/>
                  </a:lnTo>
                  <a:lnTo>
                    <a:pt x="275317" y="105954"/>
                  </a:lnTo>
                  <a:lnTo>
                    <a:pt x="275317" y="107645"/>
                  </a:lnTo>
                  <a:lnTo>
                    <a:pt x="275317" y="109337"/>
                  </a:lnTo>
                  <a:lnTo>
                    <a:pt x="275815" y="110033"/>
                  </a:lnTo>
                  <a:lnTo>
                    <a:pt x="276612" y="110033"/>
                  </a:lnTo>
                  <a:lnTo>
                    <a:pt x="278406" y="111326"/>
                  </a:lnTo>
                  <a:lnTo>
                    <a:pt x="279701" y="111326"/>
                  </a:lnTo>
                  <a:lnTo>
                    <a:pt x="281295" y="111326"/>
                  </a:lnTo>
                  <a:lnTo>
                    <a:pt x="282890" y="111326"/>
                  </a:lnTo>
                  <a:lnTo>
                    <a:pt x="285680" y="112620"/>
                  </a:lnTo>
                  <a:lnTo>
                    <a:pt x="285680" y="112620"/>
                  </a:lnTo>
                  <a:lnTo>
                    <a:pt x="292954" y="117694"/>
                  </a:lnTo>
                  <a:lnTo>
                    <a:pt x="295544" y="118390"/>
                  </a:lnTo>
                  <a:lnTo>
                    <a:pt x="297139" y="119286"/>
                  </a:lnTo>
                  <a:lnTo>
                    <a:pt x="300427" y="123762"/>
                  </a:lnTo>
                  <a:lnTo>
                    <a:pt x="302021" y="125255"/>
                  </a:lnTo>
                  <a:lnTo>
                    <a:pt x="303317" y="125752"/>
                  </a:lnTo>
                  <a:lnTo>
                    <a:pt x="307701" y="125752"/>
                  </a:lnTo>
                  <a:lnTo>
                    <a:pt x="309196" y="126250"/>
                  </a:lnTo>
                  <a:lnTo>
                    <a:pt x="311687" y="128339"/>
                  </a:lnTo>
                  <a:lnTo>
                    <a:pt x="312883" y="128339"/>
                  </a:lnTo>
                  <a:lnTo>
                    <a:pt x="312883" y="128836"/>
                  </a:lnTo>
                  <a:lnTo>
                    <a:pt x="315274" y="131324"/>
                  </a:lnTo>
                  <a:lnTo>
                    <a:pt x="316370" y="132119"/>
                  </a:lnTo>
                  <a:lnTo>
                    <a:pt x="317566" y="132119"/>
                  </a:lnTo>
                  <a:lnTo>
                    <a:pt x="326833" y="132119"/>
                  </a:lnTo>
                  <a:lnTo>
                    <a:pt x="329224" y="132816"/>
                  </a:lnTo>
                  <a:lnTo>
                    <a:pt x="334804" y="138984"/>
                  </a:lnTo>
                  <a:lnTo>
                    <a:pt x="340683" y="144655"/>
                  </a:lnTo>
                  <a:lnTo>
                    <a:pt x="344769" y="146147"/>
                  </a:lnTo>
                  <a:lnTo>
                    <a:pt x="346463" y="148734"/>
                  </a:lnTo>
                  <a:lnTo>
                    <a:pt x="348455" y="148734"/>
                  </a:lnTo>
                  <a:lnTo>
                    <a:pt x="350946" y="150326"/>
                  </a:lnTo>
                  <a:lnTo>
                    <a:pt x="357523" y="154206"/>
                  </a:lnTo>
                  <a:lnTo>
                    <a:pt x="361608" y="156096"/>
                  </a:lnTo>
                  <a:lnTo>
                    <a:pt x="361608" y="157887"/>
                  </a:lnTo>
                  <a:lnTo>
                    <a:pt x="363203" y="158881"/>
                  </a:lnTo>
                  <a:lnTo>
                    <a:pt x="364996" y="160871"/>
                  </a:lnTo>
                  <a:lnTo>
                    <a:pt x="366292" y="162165"/>
                  </a:lnTo>
                  <a:lnTo>
                    <a:pt x="369779" y="164154"/>
                  </a:lnTo>
                  <a:lnTo>
                    <a:pt x="373267" y="165249"/>
                  </a:lnTo>
                  <a:lnTo>
                    <a:pt x="376156" y="167836"/>
                  </a:lnTo>
                  <a:lnTo>
                    <a:pt x="382534" y="170422"/>
                  </a:lnTo>
                  <a:lnTo>
                    <a:pt x="387715" y="170422"/>
                  </a:lnTo>
                  <a:lnTo>
                    <a:pt x="398875" y="170422"/>
                  </a:lnTo>
                  <a:lnTo>
                    <a:pt x="400171" y="168631"/>
                  </a:lnTo>
                  <a:lnTo>
                    <a:pt x="400171" y="167736"/>
                  </a:lnTo>
                  <a:lnTo>
                    <a:pt x="400669" y="166940"/>
                  </a:lnTo>
                  <a:lnTo>
                    <a:pt x="401366" y="165647"/>
                  </a:lnTo>
                  <a:lnTo>
                    <a:pt x="402961" y="165647"/>
                  </a:lnTo>
                  <a:lnTo>
                    <a:pt x="404156" y="164950"/>
                  </a:lnTo>
                  <a:lnTo>
                    <a:pt x="404156" y="163060"/>
                  </a:lnTo>
                  <a:lnTo>
                    <a:pt x="406349" y="160573"/>
                  </a:lnTo>
                  <a:lnTo>
                    <a:pt x="407345" y="160573"/>
                  </a:lnTo>
                  <a:lnTo>
                    <a:pt x="407345" y="160573"/>
                  </a:lnTo>
                  <a:lnTo>
                    <a:pt x="406249" y="158881"/>
                  </a:lnTo>
                  <a:lnTo>
                    <a:pt x="406249" y="158881"/>
                  </a:lnTo>
                  <a:lnTo>
                    <a:pt x="405651" y="158881"/>
                  </a:lnTo>
                  <a:lnTo>
                    <a:pt x="404754" y="158881"/>
                  </a:lnTo>
                  <a:lnTo>
                    <a:pt x="403857" y="157787"/>
                  </a:lnTo>
                  <a:lnTo>
                    <a:pt x="403857" y="151221"/>
                  </a:lnTo>
                  <a:lnTo>
                    <a:pt x="403857" y="149430"/>
                  </a:lnTo>
                  <a:lnTo>
                    <a:pt x="405751" y="150525"/>
                  </a:lnTo>
                  <a:lnTo>
                    <a:pt x="406349" y="156096"/>
                  </a:lnTo>
                  <a:lnTo>
                    <a:pt x="408640" y="158384"/>
                  </a:lnTo>
                  <a:lnTo>
                    <a:pt x="410334" y="158384"/>
                  </a:lnTo>
                  <a:lnTo>
                    <a:pt x="411929" y="157887"/>
                  </a:lnTo>
                  <a:lnTo>
                    <a:pt x="415516" y="156494"/>
                  </a:lnTo>
                  <a:lnTo>
                    <a:pt x="416712" y="159081"/>
                  </a:lnTo>
                  <a:lnTo>
                    <a:pt x="420000" y="160772"/>
                  </a:lnTo>
                  <a:lnTo>
                    <a:pt x="425680" y="163657"/>
                  </a:lnTo>
                  <a:lnTo>
                    <a:pt x="421495" y="163657"/>
                  </a:lnTo>
                  <a:lnTo>
                    <a:pt x="423587" y="165746"/>
                  </a:lnTo>
                  <a:lnTo>
                    <a:pt x="429167" y="168134"/>
                  </a:lnTo>
                  <a:lnTo>
                    <a:pt x="435943" y="173108"/>
                  </a:lnTo>
                  <a:lnTo>
                    <a:pt x="439032" y="177585"/>
                  </a:lnTo>
                  <a:lnTo>
                    <a:pt x="439032" y="181963"/>
                  </a:lnTo>
                  <a:lnTo>
                    <a:pt x="441025" y="189524"/>
                  </a:lnTo>
                  <a:lnTo>
                    <a:pt x="442320" y="193603"/>
                  </a:lnTo>
                  <a:lnTo>
                    <a:pt x="441224" y="194797"/>
                  </a:lnTo>
                  <a:lnTo>
                    <a:pt x="438932" y="194797"/>
                  </a:lnTo>
                  <a:lnTo>
                    <a:pt x="438035" y="195592"/>
                  </a:lnTo>
                  <a:lnTo>
                    <a:pt x="440726" y="197881"/>
                  </a:lnTo>
                  <a:lnTo>
                    <a:pt x="445409" y="197881"/>
                  </a:lnTo>
                  <a:lnTo>
                    <a:pt x="448797" y="198975"/>
                  </a:lnTo>
                  <a:lnTo>
                    <a:pt x="449993" y="201760"/>
                  </a:lnTo>
                  <a:lnTo>
                    <a:pt x="458463" y="203054"/>
                  </a:lnTo>
                  <a:lnTo>
                    <a:pt x="464441" y="204546"/>
                  </a:lnTo>
                  <a:lnTo>
                    <a:pt x="484370" y="208128"/>
                  </a:lnTo>
                  <a:lnTo>
                    <a:pt x="489053" y="209521"/>
                  </a:lnTo>
                  <a:lnTo>
                    <a:pt x="490548" y="208924"/>
                  </a:lnTo>
                  <a:lnTo>
                    <a:pt x="489452" y="208028"/>
                  </a:lnTo>
                  <a:lnTo>
                    <a:pt x="487658" y="207431"/>
                  </a:lnTo>
                  <a:lnTo>
                    <a:pt x="486064" y="206436"/>
                  </a:lnTo>
                  <a:lnTo>
                    <a:pt x="484669" y="204248"/>
                  </a:lnTo>
                  <a:lnTo>
                    <a:pt x="486462" y="204248"/>
                  </a:lnTo>
                  <a:lnTo>
                    <a:pt x="488455" y="203352"/>
                  </a:lnTo>
                  <a:lnTo>
                    <a:pt x="490050" y="203352"/>
                  </a:lnTo>
                  <a:lnTo>
                    <a:pt x="491445" y="207332"/>
                  </a:lnTo>
                  <a:lnTo>
                    <a:pt x="493139" y="208924"/>
                  </a:lnTo>
                  <a:lnTo>
                    <a:pt x="494633" y="212306"/>
                  </a:lnTo>
                  <a:lnTo>
                    <a:pt x="499815" y="215191"/>
                  </a:lnTo>
                  <a:lnTo>
                    <a:pt x="501907" y="216485"/>
                  </a:lnTo>
                  <a:lnTo>
                    <a:pt x="504199" y="217281"/>
                  </a:lnTo>
                  <a:lnTo>
                    <a:pt x="504697" y="216186"/>
                  </a:lnTo>
                  <a:lnTo>
                    <a:pt x="503203" y="215391"/>
                  </a:lnTo>
                  <a:lnTo>
                    <a:pt x="501309" y="214495"/>
                  </a:lnTo>
                  <a:lnTo>
                    <a:pt x="501309" y="213102"/>
                  </a:lnTo>
                  <a:lnTo>
                    <a:pt x="504897" y="213102"/>
                  </a:lnTo>
                  <a:lnTo>
                    <a:pt x="508085" y="215391"/>
                  </a:lnTo>
                  <a:lnTo>
                    <a:pt x="510875" y="219569"/>
                  </a:lnTo>
                  <a:lnTo>
                    <a:pt x="513466" y="221857"/>
                  </a:lnTo>
                  <a:lnTo>
                    <a:pt x="512868" y="226533"/>
                  </a:lnTo>
                  <a:lnTo>
                    <a:pt x="512868" y="232900"/>
                  </a:lnTo>
                  <a:lnTo>
                    <a:pt x="512868" y="239665"/>
                  </a:lnTo>
                  <a:lnTo>
                    <a:pt x="510277" y="244441"/>
                  </a:lnTo>
                  <a:lnTo>
                    <a:pt x="509480" y="245535"/>
                  </a:lnTo>
                  <a:lnTo>
                    <a:pt x="508583" y="245038"/>
                  </a:lnTo>
                  <a:lnTo>
                    <a:pt x="506790" y="240461"/>
                  </a:lnTo>
                  <a:lnTo>
                    <a:pt x="505793" y="237576"/>
                  </a:lnTo>
                  <a:lnTo>
                    <a:pt x="505295" y="235984"/>
                  </a:lnTo>
                  <a:lnTo>
                    <a:pt x="504398" y="234592"/>
                  </a:lnTo>
                  <a:lnTo>
                    <a:pt x="503402" y="234592"/>
                  </a:lnTo>
                  <a:lnTo>
                    <a:pt x="503402" y="236681"/>
                  </a:lnTo>
                  <a:lnTo>
                    <a:pt x="507188" y="246629"/>
                  </a:lnTo>
                  <a:lnTo>
                    <a:pt x="507188" y="251305"/>
                  </a:lnTo>
                  <a:lnTo>
                    <a:pt x="507188" y="256877"/>
                  </a:lnTo>
                  <a:lnTo>
                    <a:pt x="505893" y="265830"/>
                  </a:lnTo>
                  <a:lnTo>
                    <a:pt x="503601" y="270208"/>
                  </a:lnTo>
                  <a:lnTo>
                    <a:pt x="505494" y="274685"/>
                  </a:lnTo>
                  <a:lnTo>
                    <a:pt x="509779" y="290305"/>
                  </a:lnTo>
                  <a:lnTo>
                    <a:pt x="514662" y="299059"/>
                  </a:lnTo>
                  <a:lnTo>
                    <a:pt x="521537" y="309904"/>
                  </a:lnTo>
                  <a:lnTo>
                    <a:pt x="530505" y="317962"/>
                  </a:lnTo>
                  <a:lnTo>
                    <a:pt x="536085" y="324528"/>
                  </a:lnTo>
                  <a:lnTo>
                    <a:pt x="537978" y="328508"/>
                  </a:lnTo>
                  <a:lnTo>
                    <a:pt x="538975" y="333979"/>
                  </a:lnTo>
                  <a:lnTo>
                    <a:pt x="538975" y="339949"/>
                  </a:lnTo>
                  <a:lnTo>
                    <a:pt x="538975" y="344326"/>
                  </a:lnTo>
                  <a:lnTo>
                    <a:pt x="537480" y="347112"/>
                  </a:lnTo>
                  <a:lnTo>
                    <a:pt x="538178" y="348007"/>
                  </a:lnTo>
                  <a:lnTo>
                    <a:pt x="539274" y="346714"/>
                  </a:lnTo>
                  <a:lnTo>
                    <a:pt x="540470" y="346714"/>
                  </a:lnTo>
                  <a:lnTo>
                    <a:pt x="541466" y="346714"/>
                  </a:lnTo>
                  <a:lnTo>
                    <a:pt x="543957" y="348306"/>
                  </a:lnTo>
                  <a:lnTo>
                    <a:pt x="545651" y="349897"/>
                  </a:lnTo>
                  <a:lnTo>
                    <a:pt x="547744" y="352285"/>
                  </a:lnTo>
                  <a:lnTo>
                    <a:pt x="549637" y="354872"/>
                  </a:lnTo>
                  <a:lnTo>
                    <a:pt x="551032" y="358553"/>
                  </a:lnTo>
                  <a:lnTo>
                    <a:pt x="551032" y="366512"/>
                  </a:lnTo>
                  <a:lnTo>
                    <a:pt x="550235" y="373974"/>
                  </a:lnTo>
                  <a:lnTo>
                    <a:pt x="550235" y="376361"/>
                  </a:lnTo>
                  <a:lnTo>
                    <a:pt x="551729" y="378848"/>
                  </a:lnTo>
                  <a:lnTo>
                    <a:pt x="552825" y="380739"/>
                  </a:lnTo>
                  <a:lnTo>
                    <a:pt x="553822" y="382828"/>
                  </a:lnTo>
                  <a:lnTo>
                    <a:pt x="553124" y="386509"/>
                  </a:lnTo>
                  <a:lnTo>
                    <a:pt x="552028" y="390588"/>
                  </a:lnTo>
                  <a:lnTo>
                    <a:pt x="552626" y="392975"/>
                  </a:lnTo>
                  <a:lnTo>
                    <a:pt x="551131" y="395463"/>
                  </a:lnTo>
                  <a:lnTo>
                    <a:pt x="551729" y="397353"/>
                  </a:lnTo>
                  <a:lnTo>
                    <a:pt x="553921" y="398348"/>
                  </a:lnTo>
                  <a:lnTo>
                    <a:pt x="556413" y="397452"/>
                  </a:lnTo>
                  <a:lnTo>
                    <a:pt x="558406" y="398348"/>
                  </a:lnTo>
                  <a:lnTo>
                    <a:pt x="559302" y="397751"/>
                  </a:lnTo>
                  <a:lnTo>
                    <a:pt x="561494" y="399144"/>
                  </a:lnTo>
                  <a:lnTo>
                    <a:pt x="562889" y="401133"/>
                  </a:lnTo>
                  <a:lnTo>
                    <a:pt x="565480" y="409291"/>
                  </a:lnTo>
                  <a:lnTo>
                    <a:pt x="566875" y="411480"/>
                  </a:lnTo>
                  <a:lnTo>
                    <a:pt x="568968" y="414067"/>
                  </a:lnTo>
                  <a:lnTo>
                    <a:pt x="570761" y="416952"/>
                  </a:lnTo>
                  <a:lnTo>
                    <a:pt x="571857" y="422324"/>
                  </a:lnTo>
                  <a:lnTo>
                    <a:pt x="572754" y="424413"/>
                  </a:lnTo>
                  <a:lnTo>
                    <a:pt x="575245" y="427498"/>
                  </a:lnTo>
                  <a:lnTo>
                    <a:pt x="577338" y="427498"/>
                  </a:lnTo>
                  <a:lnTo>
                    <a:pt x="578235" y="428890"/>
                  </a:lnTo>
                  <a:lnTo>
                    <a:pt x="578932" y="430681"/>
                  </a:lnTo>
                  <a:lnTo>
                    <a:pt x="582021" y="438939"/>
                  </a:lnTo>
                  <a:lnTo>
                    <a:pt x="587003" y="443316"/>
                  </a:lnTo>
                  <a:lnTo>
                    <a:pt x="591388" y="446798"/>
                  </a:lnTo>
                  <a:lnTo>
                    <a:pt x="591388" y="449584"/>
                  </a:lnTo>
                  <a:lnTo>
                    <a:pt x="591388" y="452569"/>
                  </a:lnTo>
                  <a:lnTo>
                    <a:pt x="592783" y="453961"/>
                  </a:lnTo>
                  <a:lnTo>
                    <a:pt x="594178" y="455056"/>
                  </a:lnTo>
                  <a:lnTo>
                    <a:pt x="596768" y="455653"/>
                  </a:lnTo>
                  <a:lnTo>
                    <a:pt x="598064" y="457443"/>
                  </a:lnTo>
                  <a:lnTo>
                    <a:pt x="598064" y="460627"/>
                  </a:lnTo>
                  <a:lnTo>
                    <a:pt x="597067" y="463413"/>
                  </a:lnTo>
                  <a:lnTo>
                    <a:pt x="594277" y="468785"/>
                  </a:lnTo>
                  <a:lnTo>
                    <a:pt x="592683" y="472764"/>
                  </a:lnTo>
                  <a:lnTo>
                    <a:pt x="593779" y="477241"/>
                  </a:lnTo>
                  <a:lnTo>
                    <a:pt x="595971" y="478933"/>
                  </a:lnTo>
                  <a:lnTo>
                    <a:pt x="600655" y="480823"/>
                  </a:lnTo>
                  <a:lnTo>
                    <a:pt x="602548" y="483310"/>
                  </a:lnTo>
                  <a:lnTo>
                    <a:pt x="603644" y="484007"/>
                  </a:lnTo>
                  <a:lnTo>
                    <a:pt x="603644" y="482315"/>
                  </a:lnTo>
                  <a:lnTo>
                    <a:pt x="603644" y="481221"/>
                  </a:lnTo>
                  <a:lnTo>
                    <a:pt x="603644" y="480524"/>
                  </a:lnTo>
                  <a:lnTo>
                    <a:pt x="604541" y="479728"/>
                  </a:lnTo>
                  <a:lnTo>
                    <a:pt x="605736" y="479231"/>
                  </a:lnTo>
                  <a:lnTo>
                    <a:pt x="612114" y="479231"/>
                  </a:lnTo>
                  <a:lnTo>
                    <a:pt x="615103" y="481320"/>
                  </a:lnTo>
                  <a:lnTo>
                    <a:pt x="616996" y="486195"/>
                  </a:lnTo>
                  <a:lnTo>
                    <a:pt x="618690" y="490075"/>
                  </a:lnTo>
                  <a:lnTo>
                    <a:pt x="618690" y="493557"/>
                  </a:lnTo>
                  <a:lnTo>
                    <a:pt x="616996" y="499129"/>
                  </a:lnTo>
                  <a:lnTo>
                    <a:pt x="619288" y="500223"/>
                  </a:lnTo>
                  <a:lnTo>
                    <a:pt x="621480" y="502113"/>
                  </a:lnTo>
                  <a:lnTo>
                    <a:pt x="621480" y="503506"/>
                  </a:lnTo>
                  <a:lnTo>
                    <a:pt x="623672" y="505794"/>
                  </a:lnTo>
                  <a:lnTo>
                    <a:pt x="625067" y="508679"/>
                  </a:lnTo>
                  <a:lnTo>
                    <a:pt x="625067" y="510172"/>
                  </a:lnTo>
                  <a:lnTo>
                    <a:pt x="623872" y="511763"/>
                  </a:lnTo>
                  <a:lnTo>
                    <a:pt x="622676" y="513753"/>
                  </a:lnTo>
                  <a:lnTo>
                    <a:pt x="622676" y="515047"/>
                  </a:lnTo>
                  <a:lnTo>
                    <a:pt x="624270" y="515743"/>
                  </a:lnTo>
                  <a:lnTo>
                    <a:pt x="624270" y="518926"/>
                  </a:lnTo>
                  <a:lnTo>
                    <a:pt x="625964" y="524697"/>
                  </a:lnTo>
                  <a:lnTo>
                    <a:pt x="625964" y="525990"/>
                  </a:lnTo>
                  <a:lnTo>
                    <a:pt x="625964" y="527383"/>
                  </a:lnTo>
                  <a:lnTo>
                    <a:pt x="624868" y="528278"/>
                  </a:lnTo>
                  <a:lnTo>
                    <a:pt x="623573" y="529273"/>
                  </a:lnTo>
                  <a:lnTo>
                    <a:pt x="624171" y="530169"/>
                  </a:lnTo>
                  <a:lnTo>
                    <a:pt x="626163" y="530766"/>
                  </a:lnTo>
                  <a:lnTo>
                    <a:pt x="628854" y="530766"/>
                  </a:lnTo>
                  <a:lnTo>
                    <a:pt x="630548" y="530766"/>
                  </a:lnTo>
                  <a:lnTo>
                    <a:pt x="631843" y="531462"/>
                  </a:lnTo>
                  <a:lnTo>
                    <a:pt x="632640" y="532357"/>
                  </a:lnTo>
                  <a:lnTo>
                    <a:pt x="633637" y="534049"/>
                  </a:lnTo>
                  <a:lnTo>
                    <a:pt x="634534" y="536138"/>
                  </a:lnTo>
                  <a:lnTo>
                    <a:pt x="637423" y="538227"/>
                  </a:lnTo>
                  <a:lnTo>
                    <a:pt x="639217" y="540018"/>
                  </a:lnTo>
                  <a:lnTo>
                    <a:pt x="639217" y="541411"/>
                  </a:lnTo>
                  <a:lnTo>
                    <a:pt x="640911" y="542207"/>
                  </a:lnTo>
                  <a:lnTo>
                    <a:pt x="641608" y="544893"/>
                  </a:lnTo>
                  <a:lnTo>
                    <a:pt x="644797" y="545788"/>
                  </a:lnTo>
                  <a:lnTo>
                    <a:pt x="649480" y="547679"/>
                  </a:lnTo>
                  <a:lnTo>
                    <a:pt x="651373" y="549967"/>
                  </a:lnTo>
                  <a:lnTo>
                    <a:pt x="654861" y="553250"/>
                  </a:lnTo>
                  <a:lnTo>
                    <a:pt x="657751" y="553250"/>
                  </a:lnTo>
                  <a:lnTo>
                    <a:pt x="660042" y="552752"/>
                  </a:lnTo>
                  <a:lnTo>
                    <a:pt x="662035" y="552752"/>
                  </a:lnTo>
                  <a:lnTo>
                    <a:pt x="663430" y="555439"/>
                  </a:lnTo>
                  <a:lnTo>
                    <a:pt x="663430" y="556931"/>
                  </a:lnTo>
                  <a:lnTo>
                    <a:pt x="663430" y="558523"/>
                  </a:lnTo>
                  <a:lnTo>
                    <a:pt x="663430" y="559816"/>
                  </a:lnTo>
                  <a:lnTo>
                    <a:pt x="662633" y="560313"/>
                  </a:lnTo>
                  <a:lnTo>
                    <a:pt x="661437" y="559816"/>
                  </a:lnTo>
                  <a:lnTo>
                    <a:pt x="660740" y="558721"/>
                  </a:lnTo>
                  <a:lnTo>
                    <a:pt x="660042" y="557329"/>
                  </a:lnTo>
                  <a:lnTo>
                    <a:pt x="659245" y="555936"/>
                  </a:lnTo>
                  <a:lnTo>
                    <a:pt x="658050" y="555936"/>
                  </a:lnTo>
                  <a:lnTo>
                    <a:pt x="655758" y="557627"/>
                  </a:lnTo>
                  <a:lnTo>
                    <a:pt x="654363" y="558224"/>
                  </a:lnTo>
                  <a:lnTo>
                    <a:pt x="652868" y="558224"/>
                  </a:lnTo>
                  <a:lnTo>
                    <a:pt x="652270" y="559219"/>
                  </a:lnTo>
                  <a:lnTo>
                    <a:pt x="653466" y="560612"/>
                  </a:lnTo>
                  <a:lnTo>
                    <a:pt x="655957" y="564293"/>
                  </a:lnTo>
                  <a:lnTo>
                    <a:pt x="675886" y="583394"/>
                  </a:lnTo>
                  <a:lnTo>
                    <a:pt x="678178" y="589563"/>
                  </a:lnTo>
                  <a:lnTo>
                    <a:pt x="680569" y="594935"/>
                  </a:lnTo>
                  <a:lnTo>
                    <a:pt x="682462" y="600606"/>
                  </a:lnTo>
                  <a:lnTo>
                    <a:pt x="683758" y="600606"/>
                  </a:lnTo>
                  <a:lnTo>
                    <a:pt x="686847" y="601302"/>
                  </a:lnTo>
                  <a:lnTo>
                    <a:pt x="689836" y="602496"/>
                  </a:lnTo>
                  <a:lnTo>
                    <a:pt x="697808" y="606476"/>
                  </a:lnTo>
                  <a:lnTo>
                    <a:pt x="706676" y="609560"/>
                  </a:lnTo>
                  <a:lnTo>
                    <a:pt x="712057" y="611251"/>
                  </a:lnTo>
                  <a:lnTo>
                    <a:pt x="716441" y="610455"/>
                  </a:lnTo>
                  <a:lnTo>
                    <a:pt x="715943" y="612942"/>
                  </a:lnTo>
                  <a:lnTo>
                    <a:pt x="714747" y="614434"/>
                  </a:lnTo>
                  <a:lnTo>
                    <a:pt x="713950" y="616026"/>
                  </a:lnTo>
                  <a:lnTo>
                    <a:pt x="714747" y="619011"/>
                  </a:lnTo>
                  <a:lnTo>
                    <a:pt x="716441" y="621399"/>
                  </a:lnTo>
                  <a:lnTo>
                    <a:pt x="722021" y="626274"/>
                  </a:lnTo>
                  <a:lnTo>
                    <a:pt x="722719" y="627766"/>
                  </a:lnTo>
                  <a:lnTo>
                    <a:pt x="722719" y="630751"/>
                  </a:lnTo>
                  <a:lnTo>
                    <a:pt x="723715" y="632641"/>
                  </a:lnTo>
                  <a:lnTo>
                    <a:pt x="723715" y="633437"/>
                  </a:lnTo>
                  <a:lnTo>
                    <a:pt x="723715" y="634133"/>
                  </a:lnTo>
                  <a:lnTo>
                    <a:pt x="724512" y="634133"/>
                  </a:lnTo>
                  <a:lnTo>
                    <a:pt x="726704" y="634133"/>
                  </a:lnTo>
                  <a:lnTo>
                    <a:pt x="727800" y="635625"/>
                  </a:lnTo>
                  <a:lnTo>
                    <a:pt x="728797" y="641893"/>
                  </a:lnTo>
                  <a:lnTo>
                    <a:pt x="732882" y="646271"/>
                  </a:lnTo>
                  <a:lnTo>
                    <a:pt x="735174" y="651444"/>
                  </a:lnTo>
                  <a:lnTo>
                    <a:pt x="737566" y="653931"/>
                  </a:lnTo>
                  <a:lnTo>
                    <a:pt x="739060" y="657015"/>
                  </a:lnTo>
                  <a:lnTo>
                    <a:pt x="742946" y="658110"/>
                  </a:lnTo>
                  <a:lnTo>
                    <a:pt x="745736" y="661194"/>
                  </a:lnTo>
                  <a:lnTo>
                    <a:pt x="747530" y="663283"/>
                  </a:lnTo>
                  <a:lnTo>
                    <a:pt x="749025" y="665571"/>
                  </a:lnTo>
                  <a:lnTo>
                    <a:pt x="752712" y="666467"/>
                  </a:lnTo>
                  <a:lnTo>
                    <a:pt x="754505" y="668556"/>
                  </a:lnTo>
                  <a:lnTo>
                    <a:pt x="755800" y="668556"/>
                  </a:lnTo>
                  <a:lnTo>
                    <a:pt x="757594" y="669551"/>
                  </a:lnTo>
                  <a:lnTo>
                    <a:pt x="758690" y="671043"/>
                  </a:lnTo>
                  <a:lnTo>
                    <a:pt x="757793" y="672038"/>
                  </a:lnTo>
                  <a:lnTo>
                    <a:pt x="757793" y="673331"/>
                  </a:lnTo>
                  <a:lnTo>
                    <a:pt x="763573" y="673331"/>
                  </a:lnTo>
                  <a:lnTo>
                    <a:pt x="765864" y="670645"/>
                  </a:lnTo>
                  <a:lnTo>
                    <a:pt x="768356" y="669849"/>
                  </a:lnTo>
                  <a:lnTo>
                    <a:pt x="771046" y="669849"/>
                  </a:lnTo>
                  <a:lnTo>
                    <a:pt x="774035" y="671441"/>
                  </a:lnTo>
                  <a:lnTo>
                    <a:pt x="776626" y="673630"/>
                  </a:lnTo>
                  <a:lnTo>
                    <a:pt x="778719" y="675918"/>
                  </a:lnTo>
                  <a:lnTo>
                    <a:pt x="777623" y="675918"/>
                  </a:lnTo>
                  <a:lnTo>
                    <a:pt x="776825" y="675918"/>
                  </a:lnTo>
                  <a:lnTo>
                    <a:pt x="775331" y="677311"/>
                  </a:lnTo>
                  <a:lnTo>
                    <a:pt x="776228" y="677908"/>
                  </a:lnTo>
                  <a:lnTo>
                    <a:pt x="776825" y="678703"/>
                  </a:lnTo>
                  <a:lnTo>
                    <a:pt x="776825" y="679499"/>
                  </a:lnTo>
                  <a:lnTo>
                    <a:pt x="777423" y="680196"/>
                  </a:lnTo>
                  <a:lnTo>
                    <a:pt x="778220" y="680196"/>
                  </a:lnTo>
                  <a:lnTo>
                    <a:pt x="780213" y="680196"/>
                  </a:lnTo>
                  <a:lnTo>
                    <a:pt x="780911" y="680196"/>
                  </a:lnTo>
                  <a:lnTo>
                    <a:pt x="783800" y="684175"/>
                  </a:lnTo>
                  <a:lnTo>
                    <a:pt x="784398" y="684175"/>
                  </a:lnTo>
                  <a:lnTo>
                    <a:pt x="784896" y="685568"/>
                  </a:lnTo>
                  <a:lnTo>
                    <a:pt x="786092" y="684474"/>
                  </a:lnTo>
                  <a:lnTo>
                    <a:pt x="787288" y="682185"/>
                  </a:lnTo>
                  <a:lnTo>
                    <a:pt x="787886" y="680395"/>
                  </a:lnTo>
                  <a:lnTo>
                    <a:pt x="787886" y="678504"/>
                  </a:lnTo>
                  <a:lnTo>
                    <a:pt x="787886" y="677311"/>
                  </a:lnTo>
                  <a:lnTo>
                    <a:pt x="786790" y="676813"/>
                  </a:lnTo>
                  <a:lnTo>
                    <a:pt x="784996" y="676813"/>
                  </a:lnTo>
                  <a:lnTo>
                    <a:pt x="787487" y="673928"/>
                  </a:lnTo>
                  <a:lnTo>
                    <a:pt x="788783" y="671938"/>
                  </a:lnTo>
                  <a:lnTo>
                    <a:pt x="788783" y="669551"/>
                  </a:lnTo>
                  <a:lnTo>
                    <a:pt x="788783" y="668556"/>
                  </a:lnTo>
                  <a:lnTo>
                    <a:pt x="789480" y="667163"/>
                  </a:lnTo>
                  <a:lnTo>
                    <a:pt x="790975" y="667163"/>
                  </a:lnTo>
                  <a:lnTo>
                    <a:pt x="792469" y="668158"/>
                  </a:lnTo>
                  <a:lnTo>
                    <a:pt x="793167" y="669551"/>
                  </a:lnTo>
                  <a:lnTo>
                    <a:pt x="793167" y="671341"/>
                  </a:lnTo>
                  <a:lnTo>
                    <a:pt x="793167" y="672635"/>
                  </a:lnTo>
                  <a:lnTo>
                    <a:pt x="793167" y="673928"/>
                  </a:lnTo>
                  <a:lnTo>
                    <a:pt x="794163" y="675818"/>
                  </a:lnTo>
                  <a:lnTo>
                    <a:pt x="790377" y="677311"/>
                  </a:lnTo>
                  <a:lnTo>
                    <a:pt x="788982" y="677311"/>
                  </a:lnTo>
                  <a:lnTo>
                    <a:pt x="788982" y="678306"/>
                  </a:lnTo>
                  <a:lnTo>
                    <a:pt x="793665" y="677211"/>
                  </a:lnTo>
                  <a:lnTo>
                    <a:pt x="798149" y="677211"/>
                  </a:lnTo>
                  <a:lnTo>
                    <a:pt x="802534" y="677211"/>
                  </a:lnTo>
                  <a:lnTo>
                    <a:pt x="811501" y="679400"/>
                  </a:lnTo>
                  <a:lnTo>
                    <a:pt x="813494" y="680196"/>
                  </a:lnTo>
                  <a:lnTo>
                    <a:pt x="817380" y="682882"/>
                  </a:lnTo>
                  <a:lnTo>
                    <a:pt x="819274" y="682882"/>
                  </a:lnTo>
                  <a:lnTo>
                    <a:pt x="819872" y="682185"/>
                  </a:lnTo>
                  <a:lnTo>
                    <a:pt x="818277" y="680793"/>
                  </a:lnTo>
                  <a:lnTo>
                    <a:pt x="821466" y="680793"/>
                  </a:lnTo>
                  <a:lnTo>
                    <a:pt x="828840" y="683777"/>
                  </a:lnTo>
                  <a:lnTo>
                    <a:pt x="831331" y="682782"/>
                  </a:lnTo>
                  <a:lnTo>
                    <a:pt x="831929" y="685469"/>
                  </a:lnTo>
                  <a:lnTo>
                    <a:pt x="830334" y="686762"/>
                  </a:lnTo>
                  <a:lnTo>
                    <a:pt x="824057" y="687657"/>
                  </a:lnTo>
                  <a:lnTo>
                    <a:pt x="822861" y="687657"/>
                  </a:lnTo>
                  <a:lnTo>
                    <a:pt x="822064" y="687657"/>
                  </a:lnTo>
                  <a:lnTo>
                    <a:pt x="821466" y="690343"/>
                  </a:lnTo>
                  <a:lnTo>
                    <a:pt x="820669" y="690940"/>
                  </a:lnTo>
                  <a:lnTo>
                    <a:pt x="819872" y="690940"/>
                  </a:lnTo>
                  <a:lnTo>
                    <a:pt x="819174" y="689647"/>
                  </a:lnTo>
                  <a:lnTo>
                    <a:pt x="818377" y="691338"/>
                  </a:lnTo>
                  <a:lnTo>
                    <a:pt x="818377" y="692930"/>
                  </a:lnTo>
                  <a:lnTo>
                    <a:pt x="819573" y="694024"/>
                  </a:lnTo>
                  <a:lnTo>
                    <a:pt x="821366" y="694024"/>
                  </a:lnTo>
                  <a:lnTo>
                    <a:pt x="819772" y="697407"/>
                  </a:lnTo>
                  <a:lnTo>
                    <a:pt x="819772" y="699496"/>
                  </a:lnTo>
                  <a:lnTo>
                    <a:pt x="821964" y="700491"/>
                  </a:lnTo>
                  <a:lnTo>
                    <a:pt x="826249" y="700491"/>
                  </a:lnTo>
                  <a:lnTo>
                    <a:pt x="825551" y="701983"/>
                  </a:lnTo>
                  <a:lnTo>
                    <a:pt x="824256" y="701983"/>
                  </a:lnTo>
                  <a:lnTo>
                    <a:pt x="822761" y="701983"/>
                  </a:lnTo>
                  <a:lnTo>
                    <a:pt x="821067" y="702779"/>
                  </a:lnTo>
                  <a:lnTo>
                    <a:pt x="820370" y="703874"/>
                  </a:lnTo>
                  <a:lnTo>
                    <a:pt x="819274" y="708450"/>
                  </a:lnTo>
                  <a:lnTo>
                    <a:pt x="820270" y="706759"/>
                  </a:lnTo>
                  <a:lnTo>
                    <a:pt x="821964" y="705863"/>
                  </a:lnTo>
                  <a:lnTo>
                    <a:pt x="823459" y="705863"/>
                  </a:lnTo>
                  <a:lnTo>
                    <a:pt x="823459" y="708052"/>
                  </a:lnTo>
                  <a:lnTo>
                    <a:pt x="822064" y="709843"/>
                  </a:lnTo>
                  <a:lnTo>
                    <a:pt x="819473" y="710440"/>
                  </a:lnTo>
                  <a:lnTo>
                    <a:pt x="817181" y="711435"/>
                  </a:lnTo>
                  <a:lnTo>
                    <a:pt x="815985" y="713623"/>
                  </a:lnTo>
                  <a:lnTo>
                    <a:pt x="815985" y="718200"/>
                  </a:lnTo>
                  <a:lnTo>
                    <a:pt x="819672" y="727154"/>
                  </a:lnTo>
                  <a:lnTo>
                    <a:pt x="820768" y="731631"/>
                  </a:lnTo>
                  <a:lnTo>
                    <a:pt x="820768" y="740286"/>
                  </a:lnTo>
                  <a:lnTo>
                    <a:pt x="824355" y="742375"/>
                  </a:lnTo>
                  <a:lnTo>
                    <a:pt x="824953" y="745758"/>
                  </a:lnTo>
                  <a:lnTo>
                    <a:pt x="824953" y="749240"/>
                  </a:lnTo>
                  <a:lnTo>
                    <a:pt x="825452" y="750235"/>
                  </a:lnTo>
                  <a:lnTo>
                    <a:pt x="826747" y="750931"/>
                  </a:lnTo>
                  <a:lnTo>
                    <a:pt x="830035" y="750931"/>
                  </a:lnTo>
                  <a:lnTo>
                    <a:pt x="831530" y="750135"/>
                  </a:lnTo>
                  <a:lnTo>
                    <a:pt x="833921" y="748146"/>
                  </a:lnTo>
                  <a:lnTo>
                    <a:pt x="834818" y="749339"/>
                  </a:lnTo>
                  <a:lnTo>
                    <a:pt x="835516" y="749837"/>
                  </a:lnTo>
                  <a:lnTo>
                    <a:pt x="837210" y="750434"/>
                  </a:lnTo>
                  <a:lnTo>
                    <a:pt x="837210" y="751429"/>
                  </a:lnTo>
                  <a:lnTo>
                    <a:pt x="836711" y="752324"/>
                  </a:lnTo>
                  <a:lnTo>
                    <a:pt x="836711" y="752921"/>
                  </a:lnTo>
                  <a:lnTo>
                    <a:pt x="837708" y="754811"/>
                  </a:lnTo>
                  <a:lnTo>
                    <a:pt x="840996" y="758691"/>
                  </a:lnTo>
                  <a:lnTo>
                    <a:pt x="843487" y="760880"/>
                  </a:lnTo>
                  <a:lnTo>
                    <a:pt x="841893" y="762173"/>
                  </a:lnTo>
                  <a:lnTo>
                    <a:pt x="838306" y="761676"/>
                  </a:lnTo>
                  <a:lnTo>
                    <a:pt x="834918" y="761676"/>
                  </a:lnTo>
                  <a:lnTo>
                    <a:pt x="831032" y="761676"/>
                  </a:lnTo>
                  <a:lnTo>
                    <a:pt x="831032" y="763069"/>
                  </a:lnTo>
                  <a:lnTo>
                    <a:pt x="833822" y="763069"/>
                  </a:lnTo>
                  <a:lnTo>
                    <a:pt x="838306" y="764163"/>
                  </a:lnTo>
                  <a:lnTo>
                    <a:pt x="840398" y="765357"/>
                  </a:lnTo>
                  <a:lnTo>
                    <a:pt x="845978" y="769436"/>
                  </a:lnTo>
                  <a:lnTo>
                    <a:pt x="850064" y="774410"/>
                  </a:lnTo>
                  <a:lnTo>
                    <a:pt x="854448" y="779584"/>
                  </a:lnTo>
                  <a:lnTo>
                    <a:pt x="856441" y="780479"/>
                  </a:lnTo>
                  <a:lnTo>
                    <a:pt x="860626" y="782867"/>
                  </a:lnTo>
                  <a:lnTo>
                    <a:pt x="863416" y="783563"/>
                  </a:lnTo>
                  <a:lnTo>
                    <a:pt x="866505" y="784260"/>
                  </a:lnTo>
                  <a:lnTo>
                    <a:pt x="869594" y="784757"/>
                  </a:lnTo>
                  <a:lnTo>
                    <a:pt x="872583" y="785652"/>
                  </a:lnTo>
                  <a:lnTo>
                    <a:pt x="878064" y="786946"/>
                  </a:lnTo>
                  <a:lnTo>
                    <a:pt x="883345" y="788537"/>
                  </a:lnTo>
                  <a:lnTo>
                    <a:pt x="884242" y="788537"/>
                  </a:lnTo>
                  <a:lnTo>
                    <a:pt x="886633" y="789334"/>
                  </a:lnTo>
                  <a:lnTo>
                    <a:pt x="890320" y="791124"/>
                  </a:lnTo>
                  <a:lnTo>
                    <a:pt x="891316" y="789532"/>
                  </a:lnTo>
                  <a:lnTo>
                    <a:pt x="892014" y="788736"/>
                  </a:lnTo>
                  <a:lnTo>
                    <a:pt x="892911" y="787941"/>
                  </a:lnTo>
                  <a:lnTo>
                    <a:pt x="893907" y="787941"/>
                  </a:lnTo>
                  <a:lnTo>
                    <a:pt x="894804" y="787941"/>
                  </a:lnTo>
                  <a:lnTo>
                    <a:pt x="896996" y="787941"/>
                  </a:lnTo>
                  <a:lnTo>
                    <a:pt x="899089" y="787941"/>
                  </a:lnTo>
                  <a:lnTo>
                    <a:pt x="901082" y="788836"/>
                  </a:lnTo>
                  <a:lnTo>
                    <a:pt x="902875" y="790229"/>
                  </a:lnTo>
                  <a:lnTo>
                    <a:pt x="907359" y="795601"/>
                  </a:lnTo>
                  <a:lnTo>
                    <a:pt x="908256" y="801471"/>
                  </a:lnTo>
                  <a:lnTo>
                    <a:pt x="908256" y="804356"/>
                  </a:lnTo>
                  <a:lnTo>
                    <a:pt x="911345" y="812017"/>
                  </a:lnTo>
                  <a:lnTo>
                    <a:pt x="908754" y="810226"/>
                  </a:lnTo>
                  <a:lnTo>
                    <a:pt x="905167" y="804754"/>
                  </a:lnTo>
                  <a:lnTo>
                    <a:pt x="903971" y="802864"/>
                  </a:lnTo>
                  <a:lnTo>
                    <a:pt x="903473" y="804257"/>
                  </a:lnTo>
                  <a:lnTo>
                    <a:pt x="907857" y="810524"/>
                  </a:lnTo>
                  <a:lnTo>
                    <a:pt x="908854" y="812514"/>
                  </a:lnTo>
                  <a:lnTo>
                    <a:pt x="908854" y="814603"/>
                  </a:lnTo>
                  <a:lnTo>
                    <a:pt x="910647" y="818881"/>
                  </a:lnTo>
                  <a:lnTo>
                    <a:pt x="912541" y="821766"/>
                  </a:lnTo>
                  <a:lnTo>
                    <a:pt x="913437" y="826641"/>
                  </a:lnTo>
                  <a:lnTo>
                    <a:pt x="914434" y="831417"/>
                  </a:lnTo>
                  <a:lnTo>
                    <a:pt x="917622" y="836291"/>
                  </a:lnTo>
                  <a:lnTo>
                    <a:pt x="923501" y="842758"/>
                  </a:lnTo>
                  <a:lnTo>
                    <a:pt x="925594" y="844549"/>
                  </a:lnTo>
                  <a:lnTo>
                    <a:pt x="930975" y="846638"/>
                  </a:lnTo>
                  <a:lnTo>
                    <a:pt x="934861" y="848429"/>
                  </a:lnTo>
                  <a:lnTo>
                    <a:pt x="938747" y="849026"/>
                  </a:lnTo>
                  <a:lnTo>
                    <a:pt x="938747" y="847633"/>
                  </a:lnTo>
                  <a:lnTo>
                    <a:pt x="940541" y="846340"/>
                  </a:lnTo>
                  <a:lnTo>
                    <a:pt x="946021" y="846340"/>
                  </a:lnTo>
                  <a:lnTo>
                    <a:pt x="955288" y="848031"/>
                  </a:lnTo>
                  <a:lnTo>
                    <a:pt x="959871" y="850120"/>
                  </a:lnTo>
                  <a:lnTo>
                    <a:pt x="959871" y="849026"/>
                  </a:lnTo>
                  <a:lnTo>
                    <a:pt x="958576" y="849026"/>
                  </a:lnTo>
                  <a:lnTo>
                    <a:pt x="956085" y="847733"/>
                  </a:lnTo>
                  <a:lnTo>
                    <a:pt x="956085" y="846738"/>
                  </a:lnTo>
                  <a:lnTo>
                    <a:pt x="956085" y="845842"/>
                  </a:lnTo>
                  <a:lnTo>
                    <a:pt x="956085" y="844947"/>
                  </a:lnTo>
                  <a:lnTo>
                    <a:pt x="954690" y="844947"/>
                  </a:lnTo>
                  <a:lnTo>
                    <a:pt x="953195" y="844947"/>
                  </a:lnTo>
                  <a:lnTo>
                    <a:pt x="952199" y="844250"/>
                  </a:lnTo>
                  <a:lnTo>
                    <a:pt x="952199" y="842758"/>
                  </a:lnTo>
                  <a:lnTo>
                    <a:pt x="953295" y="841266"/>
                  </a:lnTo>
                  <a:lnTo>
                    <a:pt x="954790" y="839475"/>
                  </a:lnTo>
                  <a:lnTo>
                    <a:pt x="956982" y="840072"/>
                  </a:lnTo>
                  <a:lnTo>
                    <a:pt x="957679" y="842559"/>
                  </a:lnTo>
                  <a:lnTo>
                    <a:pt x="959074" y="841465"/>
                  </a:lnTo>
                  <a:lnTo>
                    <a:pt x="960569" y="840669"/>
                  </a:lnTo>
                  <a:lnTo>
                    <a:pt x="960569" y="842659"/>
                  </a:lnTo>
                  <a:lnTo>
                    <a:pt x="961466" y="844151"/>
                  </a:lnTo>
                  <a:lnTo>
                    <a:pt x="963259" y="844151"/>
                  </a:lnTo>
                  <a:lnTo>
                    <a:pt x="965551" y="844151"/>
                  </a:lnTo>
                  <a:lnTo>
                    <a:pt x="966249" y="845643"/>
                  </a:lnTo>
                  <a:lnTo>
                    <a:pt x="965551" y="847036"/>
                  </a:lnTo>
                  <a:lnTo>
                    <a:pt x="966448" y="847633"/>
                  </a:lnTo>
                  <a:lnTo>
                    <a:pt x="967146" y="850120"/>
                  </a:lnTo>
                  <a:lnTo>
                    <a:pt x="964356" y="849026"/>
                  </a:lnTo>
                  <a:lnTo>
                    <a:pt x="961765" y="848330"/>
                  </a:lnTo>
                  <a:lnTo>
                    <a:pt x="960370" y="848330"/>
                  </a:lnTo>
                  <a:lnTo>
                    <a:pt x="961267" y="849424"/>
                  </a:lnTo>
                  <a:lnTo>
                    <a:pt x="964854" y="849424"/>
                  </a:lnTo>
                  <a:lnTo>
                    <a:pt x="968540" y="850717"/>
                  </a:lnTo>
                  <a:lnTo>
                    <a:pt x="972427" y="854100"/>
                  </a:lnTo>
                  <a:lnTo>
                    <a:pt x="976014" y="859671"/>
                  </a:lnTo>
                  <a:lnTo>
                    <a:pt x="981594" y="863650"/>
                  </a:lnTo>
                  <a:lnTo>
                    <a:pt x="986178" y="870117"/>
                  </a:lnTo>
                  <a:lnTo>
                    <a:pt x="988968" y="873400"/>
                  </a:lnTo>
                  <a:lnTo>
                    <a:pt x="990263" y="878872"/>
                  </a:lnTo>
                  <a:lnTo>
                    <a:pt x="991060" y="884244"/>
                  </a:lnTo>
                  <a:lnTo>
                    <a:pt x="989267" y="894193"/>
                  </a:lnTo>
                  <a:lnTo>
                    <a:pt x="989267" y="896183"/>
                  </a:lnTo>
                  <a:lnTo>
                    <a:pt x="990462" y="896183"/>
                  </a:lnTo>
                  <a:lnTo>
                    <a:pt x="994049" y="892204"/>
                  </a:lnTo>
                  <a:lnTo>
                    <a:pt x="995345" y="892204"/>
                  </a:lnTo>
                  <a:lnTo>
                    <a:pt x="996740" y="892204"/>
                  </a:lnTo>
                  <a:lnTo>
                    <a:pt x="999330" y="892999"/>
                  </a:lnTo>
                  <a:lnTo>
                    <a:pt x="999330" y="892004"/>
                  </a:lnTo>
                  <a:lnTo>
                    <a:pt x="999330" y="891209"/>
                  </a:lnTo>
                  <a:lnTo>
                    <a:pt x="998832" y="890711"/>
                  </a:lnTo>
                  <a:lnTo>
                    <a:pt x="998334" y="890214"/>
                  </a:lnTo>
                  <a:lnTo>
                    <a:pt x="1001822" y="892204"/>
                  </a:lnTo>
                  <a:lnTo>
                    <a:pt x="1004014" y="896680"/>
                  </a:lnTo>
                  <a:lnTo>
                    <a:pt x="1006903" y="902550"/>
                  </a:lnTo>
                  <a:lnTo>
                    <a:pt x="1010391" y="902550"/>
                  </a:lnTo>
                  <a:lnTo>
                    <a:pt x="1011089" y="904440"/>
                  </a:lnTo>
                  <a:lnTo>
                    <a:pt x="1010192" y="905137"/>
                  </a:lnTo>
                  <a:lnTo>
                    <a:pt x="1008797" y="905137"/>
                  </a:lnTo>
                  <a:lnTo>
                    <a:pt x="1007900" y="906032"/>
                  </a:lnTo>
                  <a:lnTo>
                    <a:pt x="1007900" y="907325"/>
                  </a:lnTo>
                  <a:lnTo>
                    <a:pt x="1009594" y="910608"/>
                  </a:lnTo>
                  <a:lnTo>
                    <a:pt x="1009594" y="912101"/>
                  </a:lnTo>
                  <a:lnTo>
                    <a:pt x="1007800" y="912101"/>
                  </a:lnTo>
                  <a:lnTo>
                    <a:pt x="1001921" y="906729"/>
                  </a:lnTo>
                  <a:lnTo>
                    <a:pt x="999231" y="905734"/>
                  </a:lnTo>
                  <a:lnTo>
                    <a:pt x="999231" y="904838"/>
                  </a:lnTo>
                  <a:lnTo>
                    <a:pt x="1000825" y="903744"/>
                  </a:lnTo>
                  <a:lnTo>
                    <a:pt x="1001722" y="901555"/>
                  </a:lnTo>
                  <a:lnTo>
                    <a:pt x="1001722" y="898869"/>
                  </a:lnTo>
                  <a:lnTo>
                    <a:pt x="1000726" y="896183"/>
                  </a:lnTo>
                  <a:lnTo>
                    <a:pt x="999131" y="895288"/>
                  </a:lnTo>
                  <a:lnTo>
                    <a:pt x="996540" y="894492"/>
                  </a:lnTo>
                  <a:lnTo>
                    <a:pt x="994049" y="894492"/>
                  </a:lnTo>
                  <a:lnTo>
                    <a:pt x="992953" y="895785"/>
                  </a:lnTo>
                  <a:lnTo>
                    <a:pt x="992953" y="903147"/>
                  </a:lnTo>
                  <a:lnTo>
                    <a:pt x="992356" y="905734"/>
                  </a:lnTo>
                  <a:lnTo>
                    <a:pt x="988569" y="912897"/>
                  </a:lnTo>
                  <a:lnTo>
                    <a:pt x="989466" y="917274"/>
                  </a:lnTo>
                  <a:lnTo>
                    <a:pt x="988868" y="918966"/>
                  </a:lnTo>
                  <a:lnTo>
                    <a:pt x="987971" y="919960"/>
                  </a:lnTo>
                  <a:lnTo>
                    <a:pt x="986676" y="919960"/>
                  </a:lnTo>
                  <a:lnTo>
                    <a:pt x="985978" y="918766"/>
                  </a:lnTo>
                  <a:lnTo>
                    <a:pt x="985978" y="917274"/>
                  </a:lnTo>
                  <a:lnTo>
                    <a:pt x="986477" y="915682"/>
                  </a:lnTo>
                  <a:lnTo>
                    <a:pt x="986477" y="914290"/>
                  </a:lnTo>
                  <a:lnTo>
                    <a:pt x="986477" y="911305"/>
                  </a:lnTo>
                  <a:lnTo>
                    <a:pt x="986975" y="909415"/>
                  </a:lnTo>
                  <a:lnTo>
                    <a:pt x="986975" y="909415"/>
                  </a:lnTo>
                  <a:lnTo>
                    <a:pt x="987473" y="908519"/>
                  </a:lnTo>
                  <a:lnTo>
                    <a:pt x="988071" y="907425"/>
                  </a:lnTo>
                  <a:lnTo>
                    <a:pt x="988868" y="906430"/>
                  </a:lnTo>
                  <a:lnTo>
                    <a:pt x="989765" y="905634"/>
                  </a:lnTo>
                  <a:lnTo>
                    <a:pt x="991060" y="902650"/>
                  </a:lnTo>
                  <a:lnTo>
                    <a:pt x="991060" y="900958"/>
                  </a:lnTo>
                  <a:lnTo>
                    <a:pt x="990064" y="900958"/>
                  </a:lnTo>
                  <a:lnTo>
                    <a:pt x="990064" y="902451"/>
                  </a:lnTo>
                  <a:lnTo>
                    <a:pt x="990064" y="904639"/>
                  </a:lnTo>
                  <a:lnTo>
                    <a:pt x="987672" y="909315"/>
                  </a:lnTo>
                  <a:lnTo>
                    <a:pt x="982491" y="918766"/>
                  </a:lnTo>
                  <a:lnTo>
                    <a:pt x="980897" y="924338"/>
                  </a:lnTo>
                  <a:lnTo>
                    <a:pt x="978804" y="927223"/>
                  </a:lnTo>
                  <a:lnTo>
                    <a:pt x="974021" y="932297"/>
                  </a:lnTo>
                  <a:lnTo>
                    <a:pt x="969437" y="939858"/>
                  </a:lnTo>
                  <a:lnTo>
                    <a:pt x="968939" y="942146"/>
                  </a:lnTo>
                  <a:lnTo>
                    <a:pt x="968939" y="948215"/>
                  </a:lnTo>
                  <a:lnTo>
                    <a:pt x="968939" y="950801"/>
                  </a:lnTo>
                  <a:lnTo>
                    <a:pt x="969736" y="953786"/>
                  </a:lnTo>
                  <a:lnTo>
                    <a:pt x="970832" y="955975"/>
                  </a:lnTo>
                  <a:lnTo>
                    <a:pt x="970832" y="957268"/>
                  </a:lnTo>
                  <a:lnTo>
                    <a:pt x="970832" y="959158"/>
                  </a:lnTo>
                  <a:lnTo>
                    <a:pt x="970832" y="961845"/>
                  </a:lnTo>
                  <a:lnTo>
                    <a:pt x="970832" y="961845"/>
                  </a:lnTo>
                  <a:lnTo>
                    <a:pt x="970235" y="963039"/>
                  </a:lnTo>
                  <a:lnTo>
                    <a:pt x="968839" y="968311"/>
                  </a:lnTo>
                  <a:lnTo>
                    <a:pt x="968341" y="971097"/>
                  </a:lnTo>
                  <a:lnTo>
                    <a:pt x="969039" y="973485"/>
                  </a:lnTo>
                  <a:lnTo>
                    <a:pt x="971629" y="974480"/>
                  </a:lnTo>
                  <a:lnTo>
                    <a:pt x="972726" y="975872"/>
                  </a:lnTo>
                  <a:lnTo>
                    <a:pt x="972726" y="978957"/>
                  </a:lnTo>
                  <a:lnTo>
                    <a:pt x="972726" y="982438"/>
                  </a:lnTo>
                  <a:lnTo>
                    <a:pt x="972028" y="984926"/>
                  </a:lnTo>
                  <a:lnTo>
                    <a:pt x="973423" y="986915"/>
                  </a:lnTo>
                  <a:lnTo>
                    <a:pt x="973423" y="985920"/>
                  </a:lnTo>
                  <a:lnTo>
                    <a:pt x="973423" y="976967"/>
                  </a:lnTo>
                  <a:lnTo>
                    <a:pt x="974220" y="975275"/>
                  </a:lnTo>
                  <a:lnTo>
                    <a:pt x="975615" y="974480"/>
                  </a:lnTo>
                  <a:lnTo>
                    <a:pt x="978007" y="974480"/>
                  </a:lnTo>
                  <a:lnTo>
                    <a:pt x="979999" y="975076"/>
                  </a:lnTo>
                  <a:lnTo>
                    <a:pt x="982690" y="976469"/>
                  </a:lnTo>
                  <a:lnTo>
                    <a:pt x="985181" y="978160"/>
                  </a:lnTo>
                  <a:lnTo>
                    <a:pt x="986178" y="979752"/>
                  </a:lnTo>
                  <a:lnTo>
                    <a:pt x="986178" y="979752"/>
                  </a:lnTo>
                  <a:lnTo>
                    <a:pt x="986178" y="979752"/>
                  </a:lnTo>
                  <a:lnTo>
                    <a:pt x="986178" y="979752"/>
                  </a:lnTo>
                  <a:lnTo>
                    <a:pt x="986178" y="980548"/>
                  </a:lnTo>
                  <a:lnTo>
                    <a:pt x="986178" y="981245"/>
                  </a:lnTo>
                  <a:lnTo>
                    <a:pt x="984982" y="982240"/>
                  </a:lnTo>
                  <a:lnTo>
                    <a:pt x="984982" y="982936"/>
                  </a:lnTo>
                  <a:lnTo>
                    <a:pt x="984982" y="987612"/>
                  </a:lnTo>
                  <a:lnTo>
                    <a:pt x="981295" y="986319"/>
                  </a:lnTo>
                  <a:lnTo>
                    <a:pt x="977608" y="986319"/>
                  </a:lnTo>
                  <a:lnTo>
                    <a:pt x="974121" y="987413"/>
                  </a:lnTo>
                  <a:lnTo>
                    <a:pt x="971131" y="989403"/>
                  </a:lnTo>
                  <a:lnTo>
                    <a:pt x="975715" y="990596"/>
                  </a:lnTo>
                  <a:lnTo>
                    <a:pt x="989765" y="990596"/>
                  </a:lnTo>
                  <a:lnTo>
                    <a:pt x="994149" y="991989"/>
                  </a:lnTo>
                  <a:lnTo>
                    <a:pt x="997437" y="995372"/>
                  </a:lnTo>
                  <a:lnTo>
                    <a:pt x="1000227" y="999152"/>
                  </a:lnTo>
                  <a:lnTo>
                    <a:pt x="1003117" y="1001839"/>
                  </a:lnTo>
                  <a:lnTo>
                    <a:pt x="1003615" y="999152"/>
                  </a:lnTo>
                  <a:lnTo>
                    <a:pt x="1001523" y="996168"/>
                  </a:lnTo>
                  <a:lnTo>
                    <a:pt x="992854" y="989005"/>
                  </a:lnTo>
                  <a:lnTo>
                    <a:pt x="991857" y="987811"/>
                  </a:lnTo>
                  <a:lnTo>
                    <a:pt x="991160" y="986319"/>
                  </a:lnTo>
                  <a:lnTo>
                    <a:pt x="991160" y="984727"/>
                  </a:lnTo>
                  <a:lnTo>
                    <a:pt x="991758" y="984130"/>
                  </a:lnTo>
                  <a:lnTo>
                    <a:pt x="994946" y="986418"/>
                  </a:lnTo>
                  <a:lnTo>
                    <a:pt x="998932" y="988308"/>
                  </a:lnTo>
                  <a:lnTo>
                    <a:pt x="1000427" y="988308"/>
                  </a:lnTo>
                  <a:lnTo>
                    <a:pt x="1001622" y="988806"/>
                  </a:lnTo>
                  <a:lnTo>
                    <a:pt x="1002519" y="990198"/>
                  </a:lnTo>
                  <a:lnTo>
                    <a:pt x="1003516" y="992984"/>
                  </a:lnTo>
                  <a:lnTo>
                    <a:pt x="1005010" y="996267"/>
                  </a:lnTo>
                  <a:lnTo>
                    <a:pt x="1006704" y="997859"/>
                  </a:lnTo>
                  <a:lnTo>
                    <a:pt x="1008896" y="997859"/>
                  </a:lnTo>
                  <a:lnTo>
                    <a:pt x="1012085" y="996068"/>
                  </a:lnTo>
                  <a:lnTo>
                    <a:pt x="1015373" y="997063"/>
                  </a:lnTo>
                  <a:lnTo>
                    <a:pt x="1017964" y="995073"/>
                  </a:lnTo>
                  <a:lnTo>
                    <a:pt x="1022049" y="988905"/>
                  </a:lnTo>
                  <a:lnTo>
                    <a:pt x="1024540" y="987114"/>
                  </a:lnTo>
                  <a:lnTo>
                    <a:pt x="1030619" y="985125"/>
                  </a:lnTo>
                  <a:lnTo>
                    <a:pt x="1033708" y="983732"/>
                  </a:lnTo>
                  <a:lnTo>
                    <a:pt x="1035701" y="981941"/>
                  </a:lnTo>
                  <a:lnTo>
                    <a:pt x="1037594" y="977564"/>
                  </a:lnTo>
                  <a:lnTo>
                    <a:pt x="1039388" y="974778"/>
                  </a:lnTo>
                  <a:lnTo>
                    <a:pt x="1042178" y="969207"/>
                  </a:lnTo>
                  <a:lnTo>
                    <a:pt x="1043672" y="967615"/>
                  </a:lnTo>
                  <a:lnTo>
                    <a:pt x="1044868" y="969704"/>
                  </a:lnTo>
                  <a:lnTo>
                    <a:pt x="1044270" y="972490"/>
                  </a:lnTo>
                  <a:lnTo>
                    <a:pt x="1039188" y="976967"/>
                  </a:lnTo>
                  <a:lnTo>
                    <a:pt x="1037992" y="979653"/>
                  </a:lnTo>
                  <a:lnTo>
                    <a:pt x="1037992" y="984130"/>
                  </a:lnTo>
                  <a:lnTo>
                    <a:pt x="1037992" y="984926"/>
                  </a:lnTo>
                  <a:lnTo>
                    <a:pt x="1037494" y="984926"/>
                  </a:lnTo>
                  <a:lnTo>
                    <a:pt x="1036797" y="984926"/>
                  </a:lnTo>
                  <a:lnTo>
                    <a:pt x="1036797" y="984926"/>
                  </a:lnTo>
                  <a:lnTo>
                    <a:pt x="1036797" y="985821"/>
                  </a:lnTo>
                  <a:lnTo>
                    <a:pt x="1036797" y="986418"/>
                  </a:lnTo>
                  <a:lnTo>
                    <a:pt x="1036797" y="986915"/>
                  </a:lnTo>
                  <a:lnTo>
                    <a:pt x="1036797" y="987711"/>
                  </a:lnTo>
                  <a:lnTo>
                    <a:pt x="1035501" y="989601"/>
                  </a:lnTo>
                  <a:lnTo>
                    <a:pt x="1028825" y="996267"/>
                  </a:lnTo>
                  <a:lnTo>
                    <a:pt x="1027829" y="996267"/>
                  </a:lnTo>
                  <a:lnTo>
                    <a:pt x="1027330" y="996864"/>
                  </a:lnTo>
                  <a:lnTo>
                    <a:pt x="1027330" y="997461"/>
                  </a:lnTo>
                  <a:lnTo>
                    <a:pt x="1027330" y="999152"/>
                  </a:lnTo>
                  <a:lnTo>
                    <a:pt x="1027330" y="999749"/>
                  </a:lnTo>
                  <a:lnTo>
                    <a:pt x="1026434" y="1001540"/>
                  </a:lnTo>
                  <a:lnTo>
                    <a:pt x="1026434" y="1002336"/>
                  </a:lnTo>
                  <a:lnTo>
                    <a:pt x="1026434" y="1002336"/>
                  </a:lnTo>
                  <a:lnTo>
                    <a:pt x="1025238" y="1001640"/>
                  </a:lnTo>
                  <a:lnTo>
                    <a:pt x="1024540" y="998953"/>
                  </a:lnTo>
                  <a:lnTo>
                    <a:pt x="1023644" y="997660"/>
                  </a:lnTo>
                  <a:lnTo>
                    <a:pt x="1022249" y="998257"/>
                  </a:lnTo>
                  <a:lnTo>
                    <a:pt x="1021352" y="998257"/>
                  </a:lnTo>
                  <a:lnTo>
                    <a:pt x="1017067" y="996665"/>
                  </a:lnTo>
                  <a:lnTo>
                    <a:pt x="1015473" y="997262"/>
                  </a:lnTo>
                  <a:lnTo>
                    <a:pt x="1014576" y="998655"/>
                  </a:lnTo>
                  <a:lnTo>
                    <a:pt x="1013978" y="1000247"/>
                  </a:lnTo>
                  <a:lnTo>
                    <a:pt x="1013181" y="1001540"/>
                  </a:lnTo>
                  <a:lnTo>
                    <a:pt x="1012484" y="1001540"/>
                  </a:lnTo>
                  <a:lnTo>
                    <a:pt x="1009694" y="1002833"/>
                  </a:lnTo>
                  <a:lnTo>
                    <a:pt x="1015971" y="1009897"/>
                  </a:lnTo>
                  <a:lnTo>
                    <a:pt x="1019957" y="1012583"/>
                  </a:lnTo>
                  <a:lnTo>
                    <a:pt x="1023544" y="1012583"/>
                  </a:lnTo>
                  <a:lnTo>
                    <a:pt x="1021950" y="1010494"/>
                  </a:lnTo>
                  <a:lnTo>
                    <a:pt x="1021950" y="1009002"/>
                  </a:lnTo>
                  <a:lnTo>
                    <a:pt x="1023743" y="1008106"/>
                  </a:lnTo>
                  <a:lnTo>
                    <a:pt x="1030021" y="1007509"/>
                  </a:lnTo>
                  <a:lnTo>
                    <a:pt x="1031017" y="1007509"/>
                  </a:lnTo>
                  <a:lnTo>
                    <a:pt x="1031815" y="1008504"/>
                  </a:lnTo>
                  <a:lnTo>
                    <a:pt x="1031815" y="1009201"/>
                  </a:lnTo>
                  <a:lnTo>
                    <a:pt x="1030918" y="1009201"/>
                  </a:lnTo>
                  <a:lnTo>
                    <a:pt x="1029323" y="1009201"/>
                  </a:lnTo>
                  <a:lnTo>
                    <a:pt x="1030619" y="1011091"/>
                  </a:lnTo>
                  <a:lnTo>
                    <a:pt x="1032113" y="1012086"/>
                  </a:lnTo>
                  <a:lnTo>
                    <a:pt x="1033808" y="1012086"/>
                  </a:lnTo>
                  <a:lnTo>
                    <a:pt x="1035900" y="1010593"/>
                  </a:lnTo>
                  <a:lnTo>
                    <a:pt x="1036797" y="1009698"/>
                  </a:lnTo>
                  <a:lnTo>
                    <a:pt x="1037395" y="1009002"/>
                  </a:lnTo>
                  <a:lnTo>
                    <a:pt x="1037395" y="1008007"/>
                  </a:lnTo>
                  <a:lnTo>
                    <a:pt x="1037395" y="1006415"/>
                  </a:lnTo>
                  <a:lnTo>
                    <a:pt x="1037395" y="1004923"/>
                  </a:lnTo>
                  <a:lnTo>
                    <a:pt x="1036896" y="1004027"/>
                  </a:lnTo>
                  <a:lnTo>
                    <a:pt x="1036199" y="1003132"/>
                  </a:lnTo>
                  <a:lnTo>
                    <a:pt x="1036199" y="1001640"/>
                  </a:lnTo>
                  <a:lnTo>
                    <a:pt x="1036199" y="999351"/>
                  </a:lnTo>
                  <a:lnTo>
                    <a:pt x="1037096" y="998854"/>
                  </a:lnTo>
                  <a:lnTo>
                    <a:pt x="1038690" y="999351"/>
                  </a:lnTo>
                  <a:lnTo>
                    <a:pt x="1040882" y="999351"/>
                  </a:lnTo>
                  <a:lnTo>
                    <a:pt x="1041580" y="999351"/>
                  </a:lnTo>
                  <a:lnTo>
                    <a:pt x="1042775" y="998655"/>
                  </a:lnTo>
                  <a:lnTo>
                    <a:pt x="1043473" y="998655"/>
                  </a:lnTo>
                  <a:lnTo>
                    <a:pt x="1044270" y="998655"/>
                  </a:lnTo>
                  <a:lnTo>
                    <a:pt x="1044270" y="999252"/>
                  </a:lnTo>
                  <a:lnTo>
                    <a:pt x="1044270" y="999948"/>
                  </a:lnTo>
                  <a:lnTo>
                    <a:pt x="1044270" y="999948"/>
                  </a:lnTo>
                  <a:lnTo>
                    <a:pt x="1048654" y="1001739"/>
                  </a:lnTo>
                  <a:lnTo>
                    <a:pt x="1049950" y="1001739"/>
                  </a:lnTo>
                  <a:lnTo>
                    <a:pt x="1051046" y="1001242"/>
                  </a:lnTo>
                  <a:lnTo>
                    <a:pt x="1051743" y="1001242"/>
                  </a:lnTo>
                  <a:lnTo>
                    <a:pt x="1051743" y="1003132"/>
                  </a:lnTo>
                  <a:lnTo>
                    <a:pt x="1051743" y="1009599"/>
                  </a:lnTo>
                  <a:lnTo>
                    <a:pt x="1051743" y="1011588"/>
                  </a:lnTo>
                  <a:lnTo>
                    <a:pt x="1050448" y="1015866"/>
                  </a:lnTo>
                  <a:lnTo>
                    <a:pt x="1051544" y="1015866"/>
                  </a:lnTo>
                  <a:lnTo>
                    <a:pt x="1052939" y="1014673"/>
                  </a:lnTo>
                  <a:lnTo>
                    <a:pt x="1053537" y="1014673"/>
                  </a:lnTo>
                  <a:lnTo>
                    <a:pt x="1054633" y="1014673"/>
                  </a:lnTo>
                  <a:lnTo>
                    <a:pt x="1054633" y="1015468"/>
                  </a:lnTo>
                  <a:lnTo>
                    <a:pt x="1054633" y="1016563"/>
                  </a:lnTo>
                  <a:lnTo>
                    <a:pt x="1055231" y="1017657"/>
                  </a:lnTo>
                  <a:lnTo>
                    <a:pt x="1056726" y="1019945"/>
                  </a:lnTo>
                  <a:lnTo>
                    <a:pt x="1055530" y="1020940"/>
                  </a:lnTo>
                  <a:lnTo>
                    <a:pt x="1050348" y="1020940"/>
                  </a:lnTo>
                  <a:lnTo>
                    <a:pt x="1052142" y="1023328"/>
                  </a:lnTo>
                  <a:lnTo>
                    <a:pt x="1055330" y="1023328"/>
                  </a:lnTo>
                  <a:lnTo>
                    <a:pt x="1062007" y="1021139"/>
                  </a:lnTo>
                  <a:lnTo>
                    <a:pt x="1065893" y="1022034"/>
                  </a:lnTo>
                  <a:lnTo>
                    <a:pt x="1070775" y="1026114"/>
                  </a:lnTo>
                  <a:lnTo>
                    <a:pt x="1073765" y="1027606"/>
                  </a:lnTo>
                  <a:lnTo>
                    <a:pt x="1064598" y="1024920"/>
                  </a:lnTo>
                  <a:lnTo>
                    <a:pt x="1059316" y="1024920"/>
                  </a:lnTo>
                  <a:lnTo>
                    <a:pt x="1056427" y="1027108"/>
                  </a:lnTo>
                  <a:lnTo>
                    <a:pt x="1060911" y="1027108"/>
                  </a:lnTo>
                  <a:lnTo>
                    <a:pt x="1066192" y="1027805"/>
                  </a:lnTo>
                  <a:lnTo>
                    <a:pt x="1071274" y="1029198"/>
                  </a:lnTo>
                  <a:lnTo>
                    <a:pt x="1078847" y="1034072"/>
                  </a:lnTo>
                  <a:lnTo>
                    <a:pt x="1091800" y="1039345"/>
                  </a:lnTo>
                  <a:lnTo>
                    <a:pt x="1093793" y="1040539"/>
                  </a:lnTo>
                  <a:lnTo>
                    <a:pt x="1095886" y="1042131"/>
                  </a:lnTo>
                  <a:lnTo>
                    <a:pt x="1097580" y="1044220"/>
                  </a:lnTo>
                  <a:lnTo>
                    <a:pt x="1098676" y="1046906"/>
                  </a:lnTo>
                  <a:lnTo>
                    <a:pt x="1098676" y="1049095"/>
                  </a:lnTo>
                  <a:lnTo>
                    <a:pt x="1098178" y="1055164"/>
                  </a:lnTo>
                  <a:lnTo>
                    <a:pt x="1098178" y="1056358"/>
                  </a:lnTo>
                  <a:lnTo>
                    <a:pt x="1099871" y="1054069"/>
                  </a:lnTo>
                  <a:lnTo>
                    <a:pt x="1102961" y="1039345"/>
                  </a:lnTo>
                  <a:lnTo>
                    <a:pt x="1104057" y="1040440"/>
                  </a:lnTo>
                  <a:lnTo>
                    <a:pt x="1107046" y="1041733"/>
                  </a:lnTo>
                  <a:lnTo>
                    <a:pt x="1108142" y="1043225"/>
                  </a:lnTo>
                  <a:lnTo>
                    <a:pt x="1108142" y="1044916"/>
                  </a:lnTo>
                  <a:lnTo>
                    <a:pt x="1108142" y="1048896"/>
                  </a:lnTo>
                  <a:lnTo>
                    <a:pt x="1108142" y="1050787"/>
                  </a:lnTo>
                  <a:lnTo>
                    <a:pt x="1106747" y="1050090"/>
                  </a:lnTo>
                  <a:lnTo>
                    <a:pt x="1103857" y="1048200"/>
                  </a:lnTo>
                  <a:lnTo>
                    <a:pt x="1102961" y="1048200"/>
                  </a:lnTo>
                  <a:lnTo>
                    <a:pt x="1102961" y="1049195"/>
                  </a:lnTo>
                  <a:lnTo>
                    <a:pt x="1103459" y="1053373"/>
                  </a:lnTo>
                  <a:lnTo>
                    <a:pt x="1105850" y="1054567"/>
                  </a:lnTo>
                  <a:lnTo>
                    <a:pt x="1109338" y="1055064"/>
                  </a:lnTo>
                  <a:lnTo>
                    <a:pt x="1112626" y="1055064"/>
                  </a:lnTo>
                  <a:lnTo>
                    <a:pt x="1114220" y="1054069"/>
                  </a:lnTo>
                  <a:lnTo>
                    <a:pt x="1116014" y="1054766"/>
                  </a:lnTo>
                  <a:lnTo>
                    <a:pt x="1117309" y="1054169"/>
                  </a:lnTo>
                  <a:lnTo>
                    <a:pt x="1118704" y="1053274"/>
                  </a:lnTo>
                  <a:lnTo>
                    <a:pt x="1120398" y="1053274"/>
                  </a:lnTo>
                  <a:lnTo>
                    <a:pt x="1121096" y="1054069"/>
                  </a:lnTo>
                  <a:lnTo>
                    <a:pt x="1123786" y="1058944"/>
                  </a:lnTo>
                  <a:lnTo>
                    <a:pt x="1126078" y="1061431"/>
                  </a:lnTo>
                  <a:lnTo>
                    <a:pt x="1127473" y="1062426"/>
                  </a:lnTo>
                  <a:lnTo>
                    <a:pt x="1129067" y="1062426"/>
                  </a:lnTo>
                  <a:lnTo>
                    <a:pt x="1130562" y="1062426"/>
                  </a:lnTo>
                  <a:lnTo>
                    <a:pt x="1131558" y="1061929"/>
                  </a:lnTo>
                  <a:lnTo>
                    <a:pt x="1131558" y="1061034"/>
                  </a:lnTo>
                  <a:lnTo>
                    <a:pt x="1130562" y="1060039"/>
                  </a:lnTo>
                  <a:lnTo>
                    <a:pt x="1132654" y="1060039"/>
                  </a:lnTo>
                  <a:lnTo>
                    <a:pt x="1134249" y="1060934"/>
                  </a:lnTo>
                  <a:lnTo>
                    <a:pt x="1147302" y="1072674"/>
                  </a:lnTo>
                  <a:lnTo>
                    <a:pt x="1147302" y="1074067"/>
                  </a:lnTo>
                  <a:lnTo>
                    <a:pt x="1147302" y="1075658"/>
                  </a:lnTo>
                  <a:lnTo>
                    <a:pt x="1146206" y="1076753"/>
                  </a:lnTo>
                  <a:lnTo>
                    <a:pt x="1142021" y="1074962"/>
                  </a:lnTo>
                  <a:lnTo>
                    <a:pt x="1136740" y="1074265"/>
                  </a:lnTo>
                  <a:lnTo>
                    <a:pt x="1134647" y="1073270"/>
                  </a:lnTo>
                  <a:lnTo>
                    <a:pt x="1132156" y="1070584"/>
                  </a:lnTo>
                  <a:lnTo>
                    <a:pt x="1131160" y="1069291"/>
                  </a:lnTo>
                  <a:lnTo>
                    <a:pt x="1130662" y="1069291"/>
                  </a:lnTo>
                  <a:lnTo>
                    <a:pt x="1130662" y="1069291"/>
                  </a:lnTo>
                  <a:lnTo>
                    <a:pt x="1129565" y="1070286"/>
                  </a:lnTo>
                  <a:lnTo>
                    <a:pt x="1129565" y="1070883"/>
                  </a:lnTo>
                  <a:lnTo>
                    <a:pt x="1128270" y="1073270"/>
                  </a:lnTo>
                  <a:lnTo>
                    <a:pt x="1128270" y="1076454"/>
                  </a:lnTo>
                  <a:lnTo>
                    <a:pt x="1129466" y="1077349"/>
                  </a:lnTo>
                  <a:lnTo>
                    <a:pt x="1130961" y="1077349"/>
                  </a:lnTo>
                  <a:lnTo>
                    <a:pt x="1132156" y="1077349"/>
                  </a:lnTo>
                  <a:lnTo>
                    <a:pt x="1132654" y="1079240"/>
                  </a:lnTo>
                  <a:lnTo>
                    <a:pt x="1132654" y="1082125"/>
                  </a:lnTo>
                  <a:lnTo>
                    <a:pt x="1132654" y="1083120"/>
                  </a:lnTo>
                  <a:lnTo>
                    <a:pt x="1131558" y="1083120"/>
                  </a:lnTo>
                  <a:lnTo>
                    <a:pt x="1130961" y="1083120"/>
                  </a:lnTo>
                  <a:lnTo>
                    <a:pt x="1128569" y="1081429"/>
                  </a:lnTo>
                  <a:lnTo>
                    <a:pt x="1128569" y="1081429"/>
                  </a:lnTo>
                  <a:lnTo>
                    <a:pt x="1127971" y="1081926"/>
                  </a:lnTo>
                  <a:lnTo>
                    <a:pt x="1127174" y="1081926"/>
                  </a:lnTo>
                  <a:lnTo>
                    <a:pt x="1126476" y="1081926"/>
                  </a:lnTo>
                  <a:lnTo>
                    <a:pt x="1126476" y="1081230"/>
                  </a:lnTo>
                  <a:lnTo>
                    <a:pt x="1125081" y="1077349"/>
                  </a:lnTo>
                  <a:lnTo>
                    <a:pt x="1117309" y="1068396"/>
                  </a:lnTo>
                  <a:lnTo>
                    <a:pt x="1116412" y="1066107"/>
                  </a:lnTo>
                  <a:lnTo>
                    <a:pt x="1114121" y="1064715"/>
                  </a:lnTo>
                  <a:lnTo>
                    <a:pt x="1111331" y="1064118"/>
                  </a:lnTo>
                  <a:lnTo>
                    <a:pt x="1108640" y="1064118"/>
                  </a:lnTo>
                  <a:lnTo>
                    <a:pt x="1109338" y="1065710"/>
                  </a:lnTo>
                  <a:lnTo>
                    <a:pt x="1110533" y="1066704"/>
                  </a:lnTo>
                  <a:lnTo>
                    <a:pt x="1113024" y="1067898"/>
                  </a:lnTo>
                  <a:lnTo>
                    <a:pt x="1117509" y="1071679"/>
                  </a:lnTo>
                  <a:lnTo>
                    <a:pt x="1120398" y="1075459"/>
                  </a:lnTo>
                  <a:lnTo>
                    <a:pt x="1130363" y="1095357"/>
                  </a:lnTo>
                  <a:lnTo>
                    <a:pt x="1134348" y="1100530"/>
                  </a:lnTo>
                  <a:lnTo>
                    <a:pt x="1139032" y="1103515"/>
                  </a:lnTo>
                  <a:lnTo>
                    <a:pt x="1139530" y="1103515"/>
                  </a:lnTo>
                  <a:lnTo>
                    <a:pt x="1139530" y="1102619"/>
                  </a:lnTo>
                  <a:lnTo>
                    <a:pt x="1139530" y="1101923"/>
                  </a:lnTo>
                  <a:lnTo>
                    <a:pt x="1140427" y="1101923"/>
                  </a:lnTo>
                  <a:lnTo>
                    <a:pt x="1141024" y="1102619"/>
                  </a:lnTo>
                  <a:lnTo>
                    <a:pt x="1141622" y="1102619"/>
                  </a:lnTo>
                  <a:lnTo>
                    <a:pt x="1142220" y="1102619"/>
                  </a:lnTo>
                  <a:lnTo>
                    <a:pt x="1143017" y="1102619"/>
                  </a:lnTo>
                  <a:lnTo>
                    <a:pt x="1143715" y="1102022"/>
                  </a:lnTo>
                  <a:lnTo>
                    <a:pt x="1143715" y="1100530"/>
                  </a:lnTo>
                  <a:lnTo>
                    <a:pt x="1143715" y="1095755"/>
                  </a:lnTo>
                  <a:lnTo>
                    <a:pt x="1144512" y="1091377"/>
                  </a:lnTo>
                  <a:lnTo>
                    <a:pt x="1144512" y="1089686"/>
                  </a:lnTo>
                  <a:lnTo>
                    <a:pt x="1144512" y="1088790"/>
                  </a:lnTo>
                  <a:lnTo>
                    <a:pt x="1144512" y="1088094"/>
                  </a:lnTo>
                  <a:lnTo>
                    <a:pt x="1142918" y="1080732"/>
                  </a:lnTo>
                  <a:lnTo>
                    <a:pt x="1142918" y="1078146"/>
                  </a:lnTo>
                  <a:lnTo>
                    <a:pt x="1144512" y="1078146"/>
                  </a:lnTo>
                  <a:lnTo>
                    <a:pt x="1149494" y="1082423"/>
                  </a:lnTo>
                  <a:lnTo>
                    <a:pt x="1150889" y="1084413"/>
                  </a:lnTo>
                  <a:lnTo>
                    <a:pt x="1148996" y="1087895"/>
                  </a:lnTo>
                  <a:lnTo>
                    <a:pt x="1148498" y="1089686"/>
                  </a:lnTo>
                  <a:lnTo>
                    <a:pt x="1148498" y="1091875"/>
                  </a:lnTo>
                  <a:lnTo>
                    <a:pt x="1149295" y="1096650"/>
                  </a:lnTo>
                  <a:lnTo>
                    <a:pt x="1149295" y="1098839"/>
                  </a:lnTo>
                  <a:lnTo>
                    <a:pt x="1147701" y="1100331"/>
                  </a:lnTo>
                  <a:lnTo>
                    <a:pt x="1149295" y="1101426"/>
                  </a:lnTo>
                  <a:lnTo>
                    <a:pt x="1150989" y="1103415"/>
                  </a:lnTo>
                  <a:lnTo>
                    <a:pt x="1152384" y="1105803"/>
                  </a:lnTo>
                  <a:lnTo>
                    <a:pt x="1152982" y="1108290"/>
                  </a:lnTo>
                  <a:lnTo>
                    <a:pt x="1152085" y="1111275"/>
                  </a:lnTo>
                  <a:lnTo>
                    <a:pt x="1150092" y="1111275"/>
                  </a:lnTo>
                  <a:lnTo>
                    <a:pt x="1148000" y="1109882"/>
                  </a:lnTo>
                  <a:lnTo>
                    <a:pt x="1147103" y="1108986"/>
                  </a:lnTo>
                  <a:lnTo>
                    <a:pt x="1144811" y="1107594"/>
                  </a:lnTo>
                  <a:lnTo>
                    <a:pt x="1143615" y="1107594"/>
                  </a:lnTo>
                  <a:lnTo>
                    <a:pt x="1142320" y="1107594"/>
                  </a:lnTo>
                  <a:lnTo>
                    <a:pt x="1142320" y="1107594"/>
                  </a:lnTo>
                  <a:lnTo>
                    <a:pt x="1142320" y="1108589"/>
                  </a:lnTo>
                  <a:lnTo>
                    <a:pt x="1142818" y="1109583"/>
                  </a:lnTo>
                  <a:lnTo>
                    <a:pt x="1143416" y="1109583"/>
                  </a:lnTo>
                  <a:lnTo>
                    <a:pt x="1144811" y="1110379"/>
                  </a:lnTo>
                  <a:lnTo>
                    <a:pt x="1146206" y="1112369"/>
                  </a:lnTo>
                  <a:lnTo>
                    <a:pt x="1147302" y="1114856"/>
                  </a:lnTo>
                  <a:lnTo>
                    <a:pt x="1148000" y="1117144"/>
                  </a:lnTo>
                  <a:lnTo>
                    <a:pt x="1148697" y="1122218"/>
                  </a:lnTo>
                  <a:lnTo>
                    <a:pt x="1148697" y="1124308"/>
                  </a:lnTo>
                  <a:lnTo>
                    <a:pt x="1149893" y="1126098"/>
                  </a:lnTo>
                  <a:lnTo>
                    <a:pt x="1160854" y="1136047"/>
                  </a:lnTo>
                  <a:lnTo>
                    <a:pt x="1170220" y="1141917"/>
                  </a:lnTo>
                  <a:lnTo>
                    <a:pt x="1173708" y="1142713"/>
                  </a:lnTo>
                  <a:lnTo>
                    <a:pt x="1172113" y="1140624"/>
                  </a:lnTo>
                  <a:lnTo>
                    <a:pt x="1166733" y="1137540"/>
                  </a:lnTo>
                  <a:lnTo>
                    <a:pt x="1164640" y="1135848"/>
                  </a:lnTo>
                  <a:lnTo>
                    <a:pt x="1160754" y="1131570"/>
                  </a:lnTo>
                  <a:lnTo>
                    <a:pt x="1158761" y="1130177"/>
                  </a:lnTo>
                  <a:lnTo>
                    <a:pt x="1157864" y="1129182"/>
                  </a:lnTo>
                  <a:lnTo>
                    <a:pt x="1157266" y="1127690"/>
                  </a:lnTo>
                  <a:lnTo>
                    <a:pt x="1160355" y="1128287"/>
                  </a:lnTo>
                  <a:lnTo>
                    <a:pt x="1163345" y="1129779"/>
                  </a:lnTo>
                  <a:lnTo>
                    <a:pt x="1166135" y="1131869"/>
                  </a:lnTo>
                  <a:lnTo>
                    <a:pt x="1168426" y="1134356"/>
                  </a:lnTo>
                  <a:lnTo>
                    <a:pt x="1170419" y="1133162"/>
                  </a:lnTo>
                  <a:lnTo>
                    <a:pt x="1171914" y="1133759"/>
                  </a:lnTo>
                  <a:lnTo>
                    <a:pt x="1177095" y="1139032"/>
                  </a:lnTo>
                  <a:lnTo>
                    <a:pt x="1177993" y="1139032"/>
                  </a:lnTo>
                  <a:lnTo>
                    <a:pt x="1179786" y="1139828"/>
                  </a:lnTo>
                  <a:lnTo>
                    <a:pt x="1180583" y="1140524"/>
                  </a:lnTo>
                  <a:lnTo>
                    <a:pt x="1180583" y="1141519"/>
                  </a:lnTo>
                  <a:lnTo>
                    <a:pt x="1180583" y="1143310"/>
                  </a:lnTo>
                  <a:lnTo>
                    <a:pt x="1180583" y="1144105"/>
                  </a:lnTo>
                  <a:lnTo>
                    <a:pt x="1181281" y="1145300"/>
                  </a:lnTo>
                  <a:lnTo>
                    <a:pt x="1183872" y="1147289"/>
                  </a:lnTo>
                  <a:lnTo>
                    <a:pt x="1184768" y="1147787"/>
                  </a:lnTo>
                  <a:lnTo>
                    <a:pt x="1185765" y="1147787"/>
                  </a:lnTo>
                  <a:lnTo>
                    <a:pt x="1186662" y="1147787"/>
                  </a:lnTo>
                  <a:lnTo>
                    <a:pt x="1189153" y="1146195"/>
                  </a:lnTo>
                  <a:lnTo>
                    <a:pt x="1191644" y="1147886"/>
                  </a:lnTo>
                  <a:lnTo>
                    <a:pt x="1193537" y="1150473"/>
                  </a:lnTo>
                  <a:lnTo>
                    <a:pt x="1195729" y="1152065"/>
                  </a:lnTo>
                  <a:lnTo>
                    <a:pt x="1199515" y="1150871"/>
                  </a:lnTo>
                  <a:lnTo>
                    <a:pt x="1200811" y="1149876"/>
                  </a:lnTo>
                  <a:lnTo>
                    <a:pt x="1204199" y="1146493"/>
                  </a:lnTo>
                  <a:lnTo>
                    <a:pt x="1204697" y="1145300"/>
                  </a:lnTo>
                  <a:lnTo>
                    <a:pt x="1203701" y="1144404"/>
                  </a:lnTo>
                  <a:lnTo>
                    <a:pt x="1200412" y="1145697"/>
                  </a:lnTo>
                  <a:lnTo>
                    <a:pt x="1198619" y="1145697"/>
                  </a:lnTo>
                  <a:lnTo>
                    <a:pt x="1199814" y="1144105"/>
                  </a:lnTo>
                  <a:lnTo>
                    <a:pt x="1201409" y="1143011"/>
                  </a:lnTo>
                  <a:lnTo>
                    <a:pt x="1203402" y="1143011"/>
                  </a:lnTo>
                  <a:lnTo>
                    <a:pt x="1205594" y="1143011"/>
                  </a:lnTo>
                  <a:lnTo>
                    <a:pt x="1207686" y="1144006"/>
                  </a:lnTo>
                  <a:lnTo>
                    <a:pt x="1208982" y="1145498"/>
                  </a:lnTo>
                  <a:lnTo>
                    <a:pt x="1213665" y="1156144"/>
                  </a:lnTo>
                  <a:lnTo>
                    <a:pt x="1214263" y="1158034"/>
                  </a:lnTo>
                  <a:lnTo>
                    <a:pt x="1214263" y="1160620"/>
                  </a:lnTo>
                  <a:lnTo>
                    <a:pt x="1213366" y="1162013"/>
                  </a:lnTo>
                  <a:lnTo>
                    <a:pt x="1212170" y="1163108"/>
                  </a:lnTo>
                  <a:lnTo>
                    <a:pt x="1210875" y="1164699"/>
                  </a:lnTo>
                  <a:lnTo>
                    <a:pt x="1212569" y="1164699"/>
                  </a:lnTo>
                  <a:lnTo>
                    <a:pt x="1212569" y="1165197"/>
                  </a:lnTo>
                  <a:lnTo>
                    <a:pt x="1212569" y="1165993"/>
                  </a:lnTo>
                  <a:lnTo>
                    <a:pt x="1212569" y="1166490"/>
                  </a:lnTo>
                  <a:lnTo>
                    <a:pt x="1208484" y="1163406"/>
                  </a:lnTo>
                  <a:lnTo>
                    <a:pt x="1206092" y="1162312"/>
                  </a:lnTo>
                  <a:lnTo>
                    <a:pt x="1205594" y="1163705"/>
                  </a:lnTo>
                  <a:lnTo>
                    <a:pt x="1207487" y="1164899"/>
                  </a:lnTo>
                  <a:lnTo>
                    <a:pt x="1211174" y="1167187"/>
                  </a:lnTo>
                  <a:lnTo>
                    <a:pt x="1212569" y="1168281"/>
                  </a:lnTo>
                  <a:lnTo>
                    <a:pt x="1210476" y="1167187"/>
                  </a:lnTo>
                  <a:lnTo>
                    <a:pt x="1209081" y="1166391"/>
                  </a:lnTo>
                  <a:lnTo>
                    <a:pt x="1207088" y="1165396"/>
                  </a:lnTo>
                  <a:lnTo>
                    <a:pt x="1188754" y="1155149"/>
                  </a:lnTo>
                  <a:lnTo>
                    <a:pt x="1187459" y="1155149"/>
                  </a:lnTo>
                  <a:lnTo>
                    <a:pt x="1177494" y="1149677"/>
                  </a:lnTo>
                  <a:lnTo>
                    <a:pt x="1177494" y="1149677"/>
                  </a:lnTo>
                  <a:lnTo>
                    <a:pt x="1177494" y="1147488"/>
                  </a:lnTo>
                  <a:lnTo>
                    <a:pt x="1177494" y="1146891"/>
                  </a:lnTo>
                  <a:lnTo>
                    <a:pt x="1176697" y="1145996"/>
                  </a:lnTo>
                  <a:lnTo>
                    <a:pt x="1175701" y="1145300"/>
                  </a:lnTo>
                  <a:lnTo>
                    <a:pt x="1174804" y="1145300"/>
                  </a:lnTo>
                  <a:lnTo>
                    <a:pt x="1174804" y="1146792"/>
                  </a:lnTo>
                  <a:lnTo>
                    <a:pt x="1175800" y="1149179"/>
                  </a:lnTo>
                  <a:lnTo>
                    <a:pt x="1177993" y="1151468"/>
                  </a:lnTo>
                  <a:lnTo>
                    <a:pt x="1207188" y="1169375"/>
                  </a:lnTo>
                  <a:lnTo>
                    <a:pt x="1214960" y="1176638"/>
                  </a:lnTo>
                  <a:lnTo>
                    <a:pt x="1219743" y="1180021"/>
                  </a:lnTo>
                  <a:lnTo>
                    <a:pt x="1224725" y="1182209"/>
                  </a:lnTo>
                  <a:lnTo>
                    <a:pt x="1226121" y="1183801"/>
                  </a:lnTo>
                  <a:lnTo>
                    <a:pt x="1226619" y="1186985"/>
                  </a:lnTo>
                  <a:lnTo>
                    <a:pt x="1228014" y="1188378"/>
                  </a:lnTo>
                  <a:lnTo>
                    <a:pt x="1236185" y="1193949"/>
                  </a:lnTo>
                  <a:lnTo>
                    <a:pt x="1254220" y="1206186"/>
                  </a:lnTo>
                  <a:lnTo>
                    <a:pt x="1260896" y="1212652"/>
                  </a:lnTo>
                  <a:lnTo>
                    <a:pt x="1262491" y="1213747"/>
                  </a:lnTo>
                  <a:lnTo>
                    <a:pt x="1264882" y="1214642"/>
                  </a:lnTo>
                  <a:lnTo>
                    <a:pt x="1271060" y="1219219"/>
                  </a:lnTo>
                  <a:lnTo>
                    <a:pt x="1287900" y="1237524"/>
                  </a:lnTo>
                  <a:lnTo>
                    <a:pt x="1291587" y="1244190"/>
                  </a:lnTo>
                  <a:lnTo>
                    <a:pt x="1293081" y="1249960"/>
                  </a:lnTo>
                  <a:lnTo>
                    <a:pt x="1295174" y="1252746"/>
                  </a:lnTo>
                  <a:lnTo>
                    <a:pt x="1297466" y="1255133"/>
                  </a:lnTo>
                  <a:lnTo>
                    <a:pt x="1299060" y="1257621"/>
                  </a:lnTo>
                  <a:lnTo>
                    <a:pt x="1300256" y="1263988"/>
                  </a:lnTo>
                  <a:lnTo>
                    <a:pt x="1301651" y="1266774"/>
                  </a:lnTo>
                  <a:lnTo>
                    <a:pt x="1307031" y="1268564"/>
                  </a:lnTo>
                  <a:lnTo>
                    <a:pt x="1309323" y="1270256"/>
                  </a:lnTo>
                  <a:lnTo>
                    <a:pt x="1313010" y="1274335"/>
                  </a:lnTo>
                  <a:lnTo>
                    <a:pt x="1315700" y="1278513"/>
                  </a:lnTo>
                  <a:lnTo>
                    <a:pt x="1317594" y="1280801"/>
                  </a:lnTo>
                  <a:lnTo>
                    <a:pt x="1320882" y="1282493"/>
                  </a:lnTo>
                  <a:lnTo>
                    <a:pt x="1321878" y="1284084"/>
                  </a:lnTo>
                  <a:lnTo>
                    <a:pt x="1323273" y="1287368"/>
                  </a:lnTo>
                  <a:lnTo>
                    <a:pt x="1323871" y="1288263"/>
                  </a:lnTo>
                  <a:lnTo>
                    <a:pt x="1324469" y="1288959"/>
                  </a:lnTo>
                  <a:lnTo>
                    <a:pt x="1329551" y="1293536"/>
                  </a:lnTo>
                  <a:lnTo>
                    <a:pt x="1331942" y="1295128"/>
                  </a:lnTo>
                  <a:lnTo>
                    <a:pt x="1334135" y="1295824"/>
                  </a:lnTo>
                  <a:lnTo>
                    <a:pt x="1335729" y="1297316"/>
                  </a:lnTo>
                  <a:lnTo>
                    <a:pt x="1340313" y="1306469"/>
                  </a:lnTo>
                  <a:lnTo>
                    <a:pt x="1340313" y="1306469"/>
                  </a:lnTo>
                  <a:lnTo>
                    <a:pt x="1340811" y="1307166"/>
                  </a:lnTo>
                  <a:lnTo>
                    <a:pt x="1340811" y="1307862"/>
                  </a:lnTo>
                  <a:lnTo>
                    <a:pt x="1340811" y="1308757"/>
                  </a:lnTo>
                  <a:lnTo>
                    <a:pt x="1339217" y="1309752"/>
                  </a:lnTo>
                  <a:lnTo>
                    <a:pt x="1339217" y="1310648"/>
                  </a:lnTo>
                  <a:lnTo>
                    <a:pt x="1341309" y="1312438"/>
                  </a:lnTo>
                  <a:lnTo>
                    <a:pt x="1345793" y="1319303"/>
                  </a:lnTo>
                  <a:lnTo>
                    <a:pt x="1346391" y="1321193"/>
                  </a:lnTo>
                  <a:lnTo>
                    <a:pt x="1346391" y="1326267"/>
                  </a:lnTo>
                  <a:lnTo>
                    <a:pt x="1346391" y="1327361"/>
                  </a:lnTo>
                  <a:lnTo>
                    <a:pt x="1347786" y="1328058"/>
                  </a:lnTo>
                  <a:lnTo>
                    <a:pt x="1348882" y="1327560"/>
                  </a:lnTo>
                  <a:lnTo>
                    <a:pt x="1350178" y="1326665"/>
                  </a:lnTo>
                  <a:lnTo>
                    <a:pt x="1351672" y="1326665"/>
                  </a:lnTo>
                  <a:lnTo>
                    <a:pt x="1353864" y="1327759"/>
                  </a:lnTo>
                  <a:lnTo>
                    <a:pt x="1365622" y="1341389"/>
                  </a:lnTo>
                  <a:lnTo>
                    <a:pt x="1368113" y="1343379"/>
                  </a:lnTo>
                  <a:lnTo>
                    <a:pt x="1369508" y="1344075"/>
                  </a:lnTo>
                  <a:lnTo>
                    <a:pt x="1371800" y="1344871"/>
                  </a:lnTo>
                  <a:lnTo>
                    <a:pt x="1372797" y="1345767"/>
                  </a:lnTo>
                  <a:lnTo>
                    <a:pt x="1396512" y="1375613"/>
                  </a:lnTo>
                  <a:lnTo>
                    <a:pt x="1397807" y="1374220"/>
                  </a:lnTo>
                  <a:lnTo>
                    <a:pt x="1399302" y="1373026"/>
                  </a:lnTo>
                  <a:lnTo>
                    <a:pt x="1400896" y="1372330"/>
                  </a:lnTo>
                  <a:lnTo>
                    <a:pt x="1402590" y="1372330"/>
                  </a:lnTo>
                  <a:lnTo>
                    <a:pt x="1400099" y="1375911"/>
                  </a:lnTo>
                  <a:lnTo>
                    <a:pt x="1400099" y="1376807"/>
                  </a:lnTo>
                  <a:lnTo>
                    <a:pt x="1400697" y="1377503"/>
                  </a:lnTo>
                  <a:lnTo>
                    <a:pt x="1401195" y="1377503"/>
                  </a:lnTo>
                  <a:lnTo>
                    <a:pt x="1401195" y="1377503"/>
                  </a:lnTo>
                  <a:lnTo>
                    <a:pt x="1402092" y="1378299"/>
                  </a:lnTo>
                  <a:lnTo>
                    <a:pt x="1407273" y="1381582"/>
                  </a:lnTo>
                  <a:lnTo>
                    <a:pt x="1409466" y="1383671"/>
                  </a:lnTo>
                  <a:lnTo>
                    <a:pt x="1415046" y="1390934"/>
                  </a:lnTo>
                  <a:lnTo>
                    <a:pt x="1425010" y="1400883"/>
                  </a:lnTo>
                  <a:lnTo>
                    <a:pt x="1429195" y="1407449"/>
                  </a:lnTo>
                  <a:lnTo>
                    <a:pt x="1430391" y="1415010"/>
                  </a:lnTo>
                  <a:lnTo>
                    <a:pt x="1431288" y="1415010"/>
                  </a:lnTo>
                  <a:lnTo>
                    <a:pt x="1432384" y="1413418"/>
                  </a:lnTo>
                  <a:lnTo>
                    <a:pt x="1433580" y="1414015"/>
                  </a:lnTo>
                  <a:lnTo>
                    <a:pt x="1434775" y="1415806"/>
                  </a:lnTo>
                  <a:lnTo>
                    <a:pt x="1435572" y="1417696"/>
                  </a:lnTo>
                  <a:lnTo>
                    <a:pt x="1433580" y="1419089"/>
                  </a:lnTo>
                  <a:lnTo>
                    <a:pt x="1435174" y="1423267"/>
                  </a:lnTo>
                  <a:lnTo>
                    <a:pt x="1436868" y="1430331"/>
                  </a:lnTo>
                  <a:lnTo>
                    <a:pt x="1439957" y="1440280"/>
                  </a:lnTo>
                  <a:lnTo>
                    <a:pt x="1443344" y="1452517"/>
                  </a:lnTo>
                  <a:lnTo>
                    <a:pt x="1444242" y="1461371"/>
                  </a:lnTo>
                  <a:lnTo>
                    <a:pt x="1443046" y="1480771"/>
                  </a:lnTo>
                  <a:lnTo>
                    <a:pt x="1444142" y="1488233"/>
                  </a:lnTo>
                  <a:lnTo>
                    <a:pt x="1446234" y="1493108"/>
                  </a:lnTo>
                  <a:lnTo>
                    <a:pt x="1452711" y="1503653"/>
                  </a:lnTo>
                  <a:lnTo>
                    <a:pt x="2444170" y="1503653"/>
                  </a:lnTo>
                  <a:lnTo>
                    <a:pt x="2444170" y="1499176"/>
                  </a:lnTo>
                  <a:lnTo>
                    <a:pt x="2444269" y="1494301"/>
                  </a:lnTo>
                  <a:lnTo>
                    <a:pt x="2441181" y="1486939"/>
                  </a:lnTo>
                  <a:lnTo>
                    <a:pt x="2440284" y="1484253"/>
                  </a:lnTo>
                  <a:lnTo>
                    <a:pt x="2439287" y="1482761"/>
                  </a:lnTo>
                  <a:lnTo>
                    <a:pt x="2437095" y="1477886"/>
                  </a:lnTo>
                  <a:lnTo>
                    <a:pt x="2436597" y="1474802"/>
                  </a:lnTo>
                  <a:lnTo>
                    <a:pt x="2438291" y="1479179"/>
                  </a:lnTo>
                  <a:lnTo>
                    <a:pt x="2448255" y="1497982"/>
                  </a:lnTo>
                  <a:lnTo>
                    <a:pt x="2451743" y="1500270"/>
                  </a:lnTo>
                  <a:lnTo>
                    <a:pt x="2453138" y="1503354"/>
                  </a:lnTo>
                  <a:lnTo>
                    <a:pt x="2453138" y="1504250"/>
                  </a:lnTo>
                  <a:lnTo>
                    <a:pt x="2454234" y="1504250"/>
                  </a:lnTo>
                  <a:lnTo>
                    <a:pt x="2438390" y="1474404"/>
                  </a:lnTo>
                  <a:lnTo>
                    <a:pt x="2436995" y="1469529"/>
                  </a:lnTo>
                  <a:lnTo>
                    <a:pt x="2436995" y="1453113"/>
                  </a:lnTo>
                  <a:lnTo>
                    <a:pt x="2434305" y="1444558"/>
                  </a:lnTo>
                  <a:lnTo>
                    <a:pt x="2433607" y="1443165"/>
                  </a:lnTo>
                  <a:lnTo>
                    <a:pt x="2433109" y="1441672"/>
                  </a:lnTo>
                  <a:lnTo>
                    <a:pt x="2432013" y="1434808"/>
                  </a:lnTo>
                  <a:lnTo>
                    <a:pt x="2431415" y="1433017"/>
                  </a:lnTo>
                  <a:lnTo>
                    <a:pt x="2431415" y="1429038"/>
                  </a:lnTo>
                  <a:lnTo>
                    <a:pt x="2427629" y="1415408"/>
                  </a:lnTo>
                  <a:lnTo>
                    <a:pt x="2430120" y="1404265"/>
                  </a:lnTo>
                  <a:lnTo>
                    <a:pt x="2430120" y="1400584"/>
                  </a:lnTo>
                  <a:lnTo>
                    <a:pt x="2430120" y="1398395"/>
                  </a:lnTo>
                  <a:lnTo>
                    <a:pt x="2430120" y="1397102"/>
                  </a:lnTo>
                  <a:lnTo>
                    <a:pt x="2429323" y="1397102"/>
                  </a:lnTo>
                  <a:lnTo>
                    <a:pt x="2428127" y="1398793"/>
                  </a:lnTo>
                  <a:lnTo>
                    <a:pt x="2428127" y="1400684"/>
                  </a:lnTo>
                  <a:lnTo>
                    <a:pt x="2428625" y="1404763"/>
                  </a:lnTo>
                  <a:lnTo>
                    <a:pt x="2428625" y="1406255"/>
                  </a:lnTo>
                  <a:lnTo>
                    <a:pt x="2427529" y="1407449"/>
                  </a:lnTo>
                  <a:lnTo>
                    <a:pt x="2426134" y="1408245"/>
                  </a:lnTo>
                  <a:lnTo>
                    <a:pt x="2424540" y="1408245"/>
                  </a:lnTo>
                  <a:lnTo>
                    <a:pt x="2423444" y="1407150"/>
                  </a:lnTo>
                  <a:lnTo>
                    <a:pt x="2423444" y="1405161"/>
                  </a:lnTo>
                  <a:lnTo>
                    <a:pt x="2423942" y="1403171"/>
                  </a:lnTo>
                  <a:lnTo>
                    <a:pt x="2428227" y="1393222"/>
                  </a:lnTo>
                  <a:lnTo>
                    <a:pt x="2428227" y="1390536"/>
                  </a:lnTo>
                  <a:lnTo>
                    <a:pt x="2425736" y="1387651"/>
                  </a:lnTo>
                  <a:lnTo>
                    <a:pt x="2429124" y="1388646"/>
                  </a:lnTo>
                  <a:lnTo>
                    <a:pt x="2429921" y="1388646"/>
                  </a:lnTo>
                  <a:lnTo>
                    <a:pt x="2430618" y="1387750"/>
                  </a:lnTo>
                  <a:lnTo>
                    <a:pt x="2430618" y="1385860"/>
                  </a:lnTo>
                  <a:lnTo>
                    <a:pt x="2430618" y="1384865"/>
                  </a:lnTo>
                  <a:lnTo>
                    <a:pt x="2434803" y="1380488"/>
                  </a:lnTo>
                  <a:lnTo>
                    <a:pt x="2435800" y="1378498"/>
                  </a:lnTo>
                  <a:lnTo>
                    <a:pt x="2439586" y="1364371"/>
                  </a:lnTo>
                  <a:lnTo>
                    <a:pt x="2440882" y="1362879"/>
                  </a:lnTo>
                  <a:lnTo>
                    <a:pt x="2440882" y="1365067"/>
                  </a:lnTo>
                  <a:lnTo>
                    <a:pt x="2440882" y="1372927"/>
                  </a:lnTo>
                  <a:lnTo>
                    <a:pt x="2442276" y="1356213"/>
                  </a:lnTo>
                  <a:lnTo>
                    <a:pt x="2438988" y="1317214"/>
                  </a:lnTo>
                  <a:lnTo>
                    <a:pt x="2440284" y="1292640"/>
                  </a:lnTo>
                  <a:lnTo>
                    <a:pt x="2442376" y="1279608"/>
                  </a:lnTo>
                  <a:lnTo>
                    <a:pt x="2444768" y="1251950"/>
                  </a:lnTo>
                  <a:lnTo>
                    <a:pt x="2443472" y="1247175"/>
                  </a:lnTo>
                  <a:lnTo>
                    <a:pt x="2442276" y="1251154"/>
                  </a:lnTo>
                  <a:lnTo>
                    <a:pt x="2441679" y="1260207"/>
                  </a:lnTo>
                  <a:lnTo>
                    <a:pt x="2440882" y="1263888"/>
                  </a:lnTo>
                  <a:lnTo>
                    <a:pt x="2439985" y="1263888"/>
                  </a:lnTo>
                  <a:lnTo>
                    <a:pt x="2440882" y="1251353"/>
                  </a:lnTo>
                  <a:lnTo>
                    <a:pt x="2440184" y="1247970"/>
                  </a:lnTo>
                  <a:lnTo>
                    <a:pt x="2438490" y="1246379"/>
                  </a:lnTo>
                  <a:lnTo>
                    <a:pt x="2435700" y="1246379"/>
                  </a:lnTo>
                  <a:lnTo>
                    <a:pt x="2432213" y="1246379"/>
                  </a:lnTo>
                  <a:lnTo>
                    <a:pt x="2432213" y="1245583"/>
                  </a:lnTo>
                  <a:lnTo>
                    <a:pt x="2441181" y="1246478"/>
                  </a:lnTo>
                  <a:lnTo>
                    <a:pt x="2443472" y="1245583"/>
                  </a:lnTo>
                  <a:lnTo>
                    <a:pt x="2444469" y="1243195"/>
                  </a:lnTo>
                  <a:lnTo>
                    <a:pt x="2445266" y="1221009"/>
                  </a:lnTo>
                  <a:lnTo>
                    <a:pt x="2443871" y="1240907"/>
                  </a:lnTo>
                  <a:lnTo>
                    <a:pt x="2443074" y="1242499"/>
                  </a:lnTo>
                  <a:lnTo>
                    <a:pt x="2442476" y="1230759"/>
                  </a:lnTo>
                  <a:lnTo>
                    <a:pt x="2441479" y="1224790"/>
                  </a:lnTo>
                  <a:lnTo>
                    <a:pt x="2439686" y="1221805"/>
                  </a:lnTo>
                  <a:lnTo>
                    <a:pt x="2441181" y="1219318"/>
                  </a:lnTo>
                  <a:lnTo>
                    <a:pt x="2442177" y="1215339"/>
                  </a:lnTo>
                  <a:lnTo>
                    <a:pt x="2442177" y="1211160"/>
                  </a:lnTo>
                  <a:lnTo>
                    <a:pt x="2441280" y="1207877"/>
                  </a:lnTo>
                  <a:lnTo>
                    <a:pt x="2440383" y="1210165"/>
                  </a:lnTo>
                  <a:lnTo>
                    <a:pt x="2439088" y="1208971"/>
                  </a:lnTo>
                  <a:lnTo>
                    <a:pt x="2438291" y="1205788"/>
                  </a:lnTo>
                  <a:lnTo>
                    <a:pt x="2438291" y="1202206"/>
                  </a:lnTo>
                  <a:lnTo>
                    <a:pt x="2439188" y="1202206"/>
                  </a:lnTo>
                  <a:lnTo>
                    <a:pt x="2439188" y="1203400"/>
                  </a:lnTo>
                  <a:lnTo>
                    <a:pt x="2439188" y="1204395"/>
                  </a:lnTo>
                  <a:lnTo>
                    <a:pt x="2439188" y="1205091"/>
                  </a:lnTo>
                  <a:lnTo>
                    <a:pt x="2439885" y="1205887"/>
                  </a:lnTo>
                  <a:lnTo>
                    <a:pt x="2440583" y="1204196"/>
                  </a:lnTo>
                  <a:lnTo>
                    <a:pt x="2441081" y="1201908"/>
                  </a:lnTo>
                  <a:lnTo>
                    <a:pt x="2441778" y="1194247"/>
                  </a:lnTo>
                  <a:lnTo>
                    <a:pt x="2443074" y="1188875"/>
                  </a:lnTo>
                  <a:lnTo>
                    <a:pt x="2444469" y="1163506"/>
                  </a:lnTo>
                  <a:lnTo>
                    <a:pt x="2445665" y="1158830"/>
                  </a:lnTo>
                  <a:lnTo>
                    <a:pt x="2445665" y="1156541"/>
                  </a:lnTo>
                  <a:lnTo>
                    <a:pt x="2444867" y="1153756"/>
                  </a:lnTo>
                  <a:lnTo>
                    <a:pt x="2442974" y="1153756"/>
                  </a:lnTo>
                  <a:lnTo>
                    <a:pt x="2440782" y="1155447"/>
                  </a:lnTo>
                  <a:lnTo>
                    <a:pt x="2439088" y="1157337"/>
                  </a:lnTo>
                  <a:lnTo>
                    <a:pt x="2437294" y="1158531"/>
                  </a:lnTo>
                  <a:lnTo>
                    <a:pt x="2434803" y="1158531"/>
                  </a:lnTo>
                  <a:lnTo>
                    <a:pt x="2432512" y="1157835"/>
                  </a:lnTo>
                  <a:lnTo>
                    <a:pt x="2430817" y="1156641"/>
                  </a:lnTo>
                  <a:lnTo>
                    <a:pt x="2430020" y="1154253"/>
                  </a:lnTo>
                  <a:lnTo>
                    <a:pt x="2430020" y="1151567"/>
                  </a:lnTo>
                  <a:lnTo>
                    <a:pt x="2431515" y="1146195"/>
                  </a:lnTo>
                  <a:lnTo>
                    <a:pt x="2430419" y="1147090"/>
                  </a:lnTo>
                  <a:lnTo>
                    <a:pt x="2429024" y="1147090"/>
                  </a:lnTo>
                  <a:lnTo>
                    <a:pt x="2428027" y="1146095"/>
                  </a:lnTo>
                  <a:lnTo>
                    <a:pt x="2428027" y="1144105"/>
                  </a:lnTo>
                  <a:lnTo>
                    <a:pt x="2429024" y="1143011"/>
                  </a:lnTo>
                  <a:lnTo>
                    <a:pt x="2430618" y="1142016"/>
                  </a:lnTo>
                  <a:lnTo>
                    <a:pt x="2431615" y="1140723"/>
                  </a:lnTo>
                  <a:lnTo>
                    <a:pt x="2430618" y="1138634"/>
                  </a:lnTo>
                  <a:lnTo>
                    <a:pt x="2432113" y="1139728"/>
                  </a:lnTo>
                  <a:lnTo>
                    <a:pt x="2433707" y="1140226"/>
                  </a:lnTo>
                  <a:lnTo>
                    <a:pt x="2435401" y="1140226"/>
                  </a:lnTo>
                  <a:lnTo>
                    <a:pt x="2436696" y="1138932"/>
                  </a:lnTo>
                  <a:lnTo>
                    <a:pt x="2437992" y="1139728"/>
                  </a:lnTo>
                  <a:lnTo>
                    <a:pt x="2437992" y="1140424"/>
                  </a:lnTo>
                  <a:lnTo>
                    <a:pt x="2437992" y="1141320"/>
                  </a:lnTo>
                  <a:lnTo>
                    <a:pt x="2437992" y="1142713"/>
                  </a:lnTo>
                  <a:lnTo>
                    <a:pt x="2437095" y="1143608"/>
                  </a:lnTo>
                  <a:lnTo>
                    <a:pt x="2437095" y="1144205"/>
                  </a:lnTo>
                  <a:lnTo>
                    <a:pt x="2437693" y="1144205"/>
                  </a:lnTo>
                  <a:lnTo>
                    <a:pt x="2437693" y="1144205"/>
                  </a:lnTo>
                  <a:lnTo>
                    <a:pt x="2438590" y="1144902"/>
                  </a:lnTo>
                  <a:lnTo>
                    <a:pt x="2438590" y="1144902"/>
                  </a:lnTo>
                  <a:lnTo>
                    <a:pt x="2439686" y="1148085"/>
                  </a:lnTo>
                  <a:lnTo>
                    <a:pt x="2440184" y="1148781"/>
                  </a:lnTo>
                  <a:lnTo>
                    <a:pt x="2441878" y="1149776"/>
                  </a:lnTo>
                  <a:lnTo>
                    <a:pt x="2443174" y="1149776"/>
                  </a:lnTo>
                  <a:lnTo>
                    <a:pt x="2443672" y="1148981"/>
                  </a:lnTo>
                  <a:lnTo>
                    <a:pt x="2444269" y="1144205"/>
                  </a:lnTo>
                  <a:lnTo>
                    <a:pt x="2448953" y="1129680"/>
                  </a:lnTo>
                  <a:lnTo>
                    <a:pt x="2449551" y="1122119"/>
                  </a:lnTo>
                  <a:lnTo>
                    <a:pt x="2449551" y="1119333"/>
                  </a:lnTo>
                  <a:lnTo>
                    <a:pt x="2448654" y="1119333"/>
                  </a:lnTo>
                  <a:lnTo>
                    <a:pt x="2447558" y="1123114"/>
                  </a:lnTo>
                  <a:lnTo>
                    <a:pt x="2445665" y="1122019"/>
                  </a:lnTo>
                  <a:lnTo>
                    <a:pt x="2444469" y="1119035"/>
                  </a:lnTo>
                  <a:lnTo>
                    <a:pt x="2445565" y="1117443"/>
                  </a:lnTo>
                  <a:lnTo>
                    <a:pt x="2447259" y="1115752"/>
                  </a:lnTo>
                  <a:lnTo>
                    <a:pt x="2446661" y="1112270"/>
                  </a:lnTo>
                  <a:lnTo>
                    <a:pt x="2444369" y="1106599"/>
                  </a:lnTo>
                  <a:lnTo>
                    <a:pt x="2444967" y="1105305"/>
                  </a:lnTo>
                  <a:lnTo>
                    <a:pt x="2445764" y="1104211"/>
                  </a:lnTo>
                  <a:lnTo>
                    <a:pt x="2445764" y="1103515"/>
                  </a:lnTo>
                  <a:lnTo>
                    <a:pt x="2443771" y="1103515"/>
                  </a:lnTo>
                  <a:lnTo>
                    <a:pt x="2442675" y="1102619"/>
                  </a:lnTo>
                  <a:lnTo>
                    <a:pt x="2441978" y="1100630"/>
                  </a:lnTo>
                  <a:lnTo>
                    <a:pt x="2441978" y="1098441"/>
                  </a:lnTo>
                  <a:lnTo>
                    <a:pt x="2442575" y="1097048"/>
                  </a:lnTo>
                  <a:lnTo>
                    <a:pt x="2448953" y="1097048"/>
                  </a:lnTo>
                  <a:lnTo>
                    <a:pt x="2450148" y="1097048"/>
                  </a:lnTo>
                  <a:lnTo>
                    <a:pt x="2451245" y="1096153"/>
                  </a:lnTo>
                  <a:lnTo>
                    <a:pt x="2452938" y="1093566"/>
                  </a:lnTo>
                  <a:lnTo>
                    <a:pt x="2452241" y="1091775"/>
                  </a:lnTo>
                  <a:lnTo>
                    <a:pt x="2452241" y="1090880"/>
                  </a:lnTo>
                  <a:lnTo>
                    <a:pt x="2453536" y="1090880"/>
                  </a:lnTo>
                  <a:lnTo>
                    <a:pt x="2455131" y="1091676"/>
                  </a:lnTo>
                  <a:lnTo>
                    <a:pt x="2455131" y="1089587"/>
                  </a:lnTo>
                  <a:lnTo>
                    <a:pt x="2455131" y="1088393"/>
                  </a:lnTo>
                  <a:lnTo>
                    <a:pt x="2454433" y="1087597"/>
                  </a:lnTo>
                  <a:lnTo>
                    <a:pt x="2452042" y="1085906"/>
                  </a:lnTo>
                  <a:lnTo>
                    <a:pt x="2450248" y="1085010"/>
                  </a:lnTo>
                  <a:lnTo>
                    <a:pt x="2448455" y="1084314"/>
                  </a:lnTo>
                  <a:lnTo>
                    <a:pt x="2446960" y="1084314"/>
                  </a:lnTo>
                  <a:lnTo>
                    <a:pt x="2445864" y="1084314"/>
                  </a:lnTo>
                  <a:lnTo>
                    <a:pt x="2444967" y="1083418"/>
                  </a:lnTo>
                  <a:lnTo>
                    <a:pt x="2444269" y="1082423"/>
                  </a:lnTo>
                  <a:lnTo>
                    <a:pt x="2444269" y="1081329"/>
                  </a:lnTo>
                  <a:lnTo>
                    <a:pt x="2443472" y="1081329"/>
                  </a:lnTo>
                  <a:lnTo>
                    <a:pt x="2441479" y="1081926"/>
                  </a:lnTo>
                  <a:lnTo>
                    <a:pt x="2439387" y="1082821"/>
                  </a:lnTo>
                  <a:lnTo>
                    <a:pt x="2438191" y="1083816"/>
                  </a:lnTo>
                  <a:lnTo>
                    <a:pt x="2440483" y="1081727"/>
                  </a:lnTo>
                  <a:lnTo>
                    <a:pt x="2442476" y="1078941"/>
                  </a:lnTo>
                  <a:lnTo>
                    <a:pt x="2443771" y="1075459"/>
                  </a:lnTo>
                  <a:lnTo>
                    <a:pt x="2445365" y="1061631"/>
                  </a:lnTo>
                  <a:lnTo>
                    <a:pt x="2447159" y="1059143"/>
                  </a:lnTo>
                  <a:lnTo>
                    <a:pt x="2447757" y="1057352"/>
                  </a:lnTo>
                  <a:lnTo>
                    <a:pt x="2447757" y="1054368"/>
                  </a:lnTo>
                  <a:lnTo>
                    <a:pt x="2446860" y="1049692"/>
                  </a:lnTo>
                  <a:lnTo>
                    <a:pt x="2445465" y="1045713"/>
                  </a:lnTo>
                  <a:lnTo>
                    <a:pt x="2444070" y="1044618"/>
                  </a:lnTo>
                  <a:lnTo>
                    <a:pt x="2442575" y="1045116"/>
                  </a:lnTo>
                  <a:lnTo>
                    <a:pt x="2440782" y="1044519"/>
                  </a:lnTo>
                  <a:lnTo>
                    <a:pt x="2438889" y="1043723"/>
                  </a:lnTo>
                  <a:lnTo>
                    <a:pt x="2437195" y="1043225"/>
                  </a:lnTo>
                  <a:lnTo>
                    <a:pt x="2436397" y="1043225"/>
                  </a:lnTo>
                  <a:lnTo>
                    <a:pt x="2434106" y="1043822"/>
                  </a:lnTo>
                  <a:lnTo>
                    <a:pt x="2436397" y="1042230"/>
                  </a:lnTo>
                  <a:lnTo>
                    <a:pt x="2437593" y="1041534"/>
                  </a:lnTo>
                  <a:lnTo>
                    <a:pt x="2438889" y="1041534"/>
                  </a:lnTo>
                  <a:lnTo>
                    <a:pt x="2441978" y="1043026"/>
                  </a:lnTo>
                  <a:lnTo>
                    <a:pt x="2443771" y="1043623"/>
                  </a:lnTo>
                  <a:lnTo>
                    <a:pt x="2444568" y="1042927"/>
                  </a:lnTo>
                  <a:lnTo>
                    <a:pt x="2444568" y="1041335"/>
                  </a:lnTo>
                  <a:lnTo>
                    <a:pt x="2444568" y="1039345"/>
                  </a:lnTo>
                  <a:lnTo>
                    <a:pt x="2445266" y="1037554"/>
                  </a:lnTo>
                  <a:lnTo>
                    <a:pt x="2446063" y="1036759"/>
                  </a:lnTo>
                  <a:lnTo>
                    <a:pt x="2446761" y="1036062"/>
                  </a:lnTo>
                  <a:lnTo>
                    <a:pt x="2447458" y="1031088"/>
                  </a:lnTo>
                  <a:lnTo>
                    <a:pt x="2446661" y="1029596"/>
                  </a:lnTo>
                  <a:lnTo>
                    <a:pt x="2446661" y="1028800"/>
                  </a:lnTo>
                  <a:lnTo>
                    <a:pt x="2447856" y="1028800"/>
                  </a:lnTo>
                  <a:lnTo>
                    <a:pt x="2448455" y="1028800"/>
                  </a:lnTo>
                  <a:lnTo>
                    <a:pt x="2449351" y="1028800"/>
                  </a:lnTo>
                  <a:lnTo>
                    <a:pt x="2450049" y="1028800"/>
                  </a:lnTo>
                  <a:lnTo>
                    <a:pt x="2450049" y="1028800"/>
                  </a:lnTo>
                  <a:lnTo>
                    <a:pt x="2453237" y="1028800"/>
                  </a:lnTo>
                  <a:lnTo>
                    <a:pt x="2454533" y="1028800"/>
                  </a:lnTo>
                  <a:lnTo>
                    <a:pt x="2455330" y="1028800"/>
                  </a:lnTo>
                  <a:lnTo>
                    <a:pt x="2456127" y="1029894"/>
                  </a:lnTo>
                  <a:lnTo>
                    <a:pt x="2456127" y="1030988"/>
                  </a:lnTo>
                  <a:lnTo>
                    <a:pt x="2455131" y="1031983"/>
                  </a:lnTo>
                  <a:lnTo>
                    <a:pt x="2453636" y="1031983"/>
                  </a:lnTo>
                  <a:lnTo>
                    <a:pt x="2455430" y="1033078"/>
                  </a:lnTo>
                  <a:lnTo>
                    <a:pt x="2453736" y="1033973"/>
                  </a:lnTo>
                  <a:lnTo>
                    <a:pt x="2453736" y="1034769"/>
                  </a:lnTo>
                  <a:lnTo>
                    <a:pt x="2455131" y="1035366"/>
                  </a:lnTo>
                  <a:lnTo>
                    <a:pt x="2456825" y="1035366"/>
                  </a:lnTo>
                  <a:lnTo>
                    <a:pt x="2458020" y="1035366"/>
                  </a:lnTo>
                  <a:lnTo>
                    <a:pt x="2462006" y="1034570"/>
                  </a:lnTo>
                  <a:lnTo>
                    <a:pt x="2463302" y="1035565"/>
                  </a:lnTo>
                  <a:lnTo>
                    <a:pt x="2463302" y="1038151"/>
                  </a:lnTo>
                  <a:lnTo>
                    <a:pt x="2464298" y="1039146"/>
                  </a:lnTo>
                  <a:lnTo>
                    <a:pt x="2465793" y="1039146"/>
                  </a:lnTo>
                  <a:lnTo>
                    <a:pt x="2466889" y="1037953"/>
                  </a:lnTo>
                  <a:lnTo>
                    <a:pt x="2467586" y="1036162"/>
                  </a:lnTo>
                  <a:lnTo>
                    <a:pt x="2467586" y="1034570"/>
                  </a:lnTo>
                  <a:lnTo>
                    <a:pt x="2465693" y="1034570"/>
                  </a:lnTo>
                  <a:lnTo>
                    <a:pt x="2465693" y="1033475"/>
                  </a:lnTo>
                  <a:lnTo>
                    <a:pt x="2465693" y="1031585"/>
                  </a:lnTo>
                  <a:lnTo>
                    <a:pt x="2464995" y="1029496"/>
                  </a:lnTo>
                  <a:lnTo>
                    <a:pt x="2466291" y="1027307"/>
                  </a:lnTo>
                  <a:lnTo>
                    <a:pt x="2468981" y="1023626"/>
                  </a:lnTo>
                  <a:lnTo>
                    <a:pt x="2470177" y="1021040"/>
                  </a:lnTo>
                  <a:lnTo>
                    <a:pt x="2467486" y="1020343"/>
                  </a:lnTo>
                  <a:lnTo>
                    <a:pt x="2465593" y="1017955"/>
                  </a:lnTo>
                  <a:lnTo>
                    <a:pt x="2465593" y="1015269"/>
                  </a:lnTo>
                  <a:lnTo>
                    <a:pt x="2468483" y="1013479"/>
                  </a:lnTo>
                  <a:lnTo>
                    <a:pt x="2473665" y="1016364"/>
                  </a:lnTo>
                  <a:lnTo>
                    <a:pt x="2474462" y="1017160"/>
                  </a:lnTo>
                  <a:lnTo>
                    <a:pt x="2475259" y="1018155"/>
                  </a:lnTo>
                  <a:lnTo>
                    <a:pt x="2476255" y="1018950"/>
                  </a:lnTo>
                  <a:lnTo>
                    <a:pt x="2477949" y="1018950"/>
                  </a:lnTo>
                  <a:lnTo>
                    <a:pt x="2481237" y="1018950"/>
                  </a:lnTo>
                  <a:lnTo>
                    <a:pt x="2482632" y="1020642"/>
                  </a:lnTo>
                  <a:lnTo>
                    <a:pt x="2481935" y="1022433"/>
                  </a:lnTo>
                  <a:lnTo>
                    <a:pt x="2479344" y="1023228"/>
                  </a:lnTo>
                  <a:lnTo>
                    <a:pt x="2478248" y="1023925"/>
                  </a:lnTo>
                  <a:lnTo>
                    <a:pt x="2478248" y="1025218"/>
                  </a:lnTo>
                  <a:lnTo>
                    <a:pt x="2479245" y="1026710"/>
                  </a:lnTo>
                  <a:lnTo>
                    <a:pt x="2479245" y="1027506"/>
                  </a:lnTo>
                  <a:lnTo>
                    <a:pt x="2478746" y="1028601"/>
                  </a:lnTo>
                  <a:lnTo>
                    <a:pt x="2478746" y="1032083"/>
                  </a:lnTo>
                  <a:lnTo>
                    <a:pt x="2479245" y="1033177"/>
                  </a:lnTo>
                  <a:lnTo>
                    <a:pt x="2479245" y="1037356"/>
                  </a:lnTo>
                  <a:lnTo>
                    <a:pt x="2476654" y="1043325"/>
                  </a:lnTo>
                  <a:lnTo>
                    <a:pt x="2470974" y="1052677"/>
                  </a:lnTo>
                  <a:lnTo>
                    <a:pt x="2470974" y="1049692"/>
                  </a:lnTo>
                  <a:lnTo>
                    <a:pt x="2474163" y="1049692"/>
                  </a:lnTo>
                  <a:lnTo>
                    <a:pt x="2471970" y="1061034"/>
                  </a:lnTo>
                  <a:lnTo>
                    <a:pt x="2471970" y="1062228"/>
                  </a:lnTo>
                  <a:lnTo>
                    <a:pt x="2467586" y="1069589"/>
                  </a:lnTo>
                  <a:lnTo>
                    <a:pt x="2467586" y="1072574"/>
                  </a:lnTo>
                  <a:lnTo>
                    <a:pt x="2468184" y="1075559"/>
                  </a:lnTo>
                  <a:lnTo>
                    <a:pt x="2468184" y="1078444"/>
                  </a:lnTo>
                  <a:lnTo>
                    <a:pt x="2465494" y="1082523"/>
                  </a:lnTo>
                  <a:lnTo>
                    <a:pt x="2465494" y="1084015"/>
                  </a:lnTo>
                  <a:lnTo>
                    <a:pt x="2464995" y="1089089"/>
                  </a:lnTo>
                  <a:lnTo>
                    <a:pt x="2464397" y="1090382"/>
                  </a:lnTo>
                  <a:lnTo>
                    <a:pt x="2463501" y="1091676"/>
                  </a:lnTo>
                  <a:lnTo>
                    <a:pt x="2462704" y="1093268"/>
                  </a:lnTo>
                  <a:lnTo>
                    <a:pt x="2461209" y="1098242"/>
                  </a:lnTo>
                  <a:lnTo>
                    <a:pt x="2458419" y="1115851"/>
                  </a:lnTo>
                  <a:lnTo>
                    <a:pt x="2452241" y="1138534"/>
                  </a:lnTo>
                  <a:lnTo>
                    <a:pt x="2449650" y="1162212"/>
                  </a:lnTo>
                  <a:lnTo>
                    <a:pt x="2446761" y="1180916"/>
                  </a:lnTo>
                  <a:lnTo>
                    <a:pt x="2444768" y="1209170"/>
                  </a:lnTo>
                  <a:lnTo>
                    <a:pt x="2444768" y="1208375"/>
                  </a:lnTo>
                  <a:lnTo>
                    <a:pt x="2445266" y="1203599"/>
                  </a:lnTo>
                  <a:lnTo>
                    <a:pt x="2452440" y="1144603"/>
                  </a:lnTo>
                  <a:lnTo>
                    <a:pt x="2464597" y="1099237"/>
                  </a:lnTo>
                  <a:lnTo>
                    <a:pt x="2476654" y="1053771"/>
                  </a:lnTo>
                  <a:lnTo>
                    <a:pt x="2494291" y="1024920"/>
                  </a:lnTo>
                  <a:lnTo>
                    <a:pt x="2501565" y="1009897"/>
                  </a:lnTo>
                  <a:lnTo>
                    <a:pt x="2506148" y="998158"/>
                  </a:lnTo>
                  <a:lnTo>
                    <a:pt x="2509536" y="989601"/>
                  </a:lnTo>
                  <a:lnTo>
                    <a:pt x="2511031" y="984030"/>
                  </a:lnTo>
                  <a:lnTo>
                    <a:pt x="2512526" y="981742"/>
                  </a:lnTo>
                  <a:lnTo>
                    <a:pt x="2513721" y="979056"/>
                  </a:lnTo>
                  <a:lnTo>
                    <a:pt x="2513721" y="972689"/>
                  </a:lnTo>
                  <a:lnTo>
                    <a:pt x="2514618" y="970002"/>
                  </a:lnTo>
                  <a:lnTo>
                    <a:pt x="2513323" y="964630"/>
                  </a:lnTo>
                  <a:lnTo>
                    <a:pt x="2516810" y="945727"/>
                  </a:lnTo>
                  <a:close/>
                  <a:moveTo>
                    <a:pt x="729395" y="966222"/>
                  </a:moveTo>
                  <a:lnTo>
                    <a:pt x="729395" y="966222"/>
                  </a:lnTo>
                  <a:lnTo>
                    <a:pt x="729395" y="967615"/>
                  </a:lnTo>
                  <a:lnTo>
                    <a:pt x="730192" y="967615"/>
                  </a:lnTo>
                  <a:lnTo>
                    <a:pt x="730192" y="968212"/>
                  </a:lnTo>
                  <a:lnTo>
                    <a:pt x="730690" y="968908"/>
                  </a:lnTo>
                  <a:lnTo>
                    <a:pt x="730690" y="968908"/>
                  </a:lnTo>
                  <a:lnTo>
                    <a:pt x="730690" y="968908"/>
                  </a:lnTo>
                  <a:lnTo>
                    <a:pt x="730690" y="970002"/>
                  </a:lnTo>
                  <a:lnTo>
                    <a:pt x="731188" y="970599"/>
                  </a:lnTo>
                  <a:lnTo>
                    <a:pt x="731188" y="971296"/>
                  </a:lnTo>
                  <a:lnTo>
                    <a:pt x="731188" y="971296"/>
                  </a:lnTo>
                  <a:lnTo>
                    <a:pt x="730292" y="970202"/>
                  </a:lnTo>
                  <a:lnTo>
                    <a:pt x="729594" y="969107"/>
                  </a:lnTo>
                  <a:lnTo>
                    <a:pt x="729594" y="966421"/>
                  </a:lnTo>
                  <a:lnTo>
                    <a:pt x="729594" y="965227"/>
                  </a:lnTo>
                  <a:close/>
                  <a:moveTo>
                    <a:pt x="442918" y="507585"/>
                  </a:moveTo>
                  <a:lnTo>
                    <a:pt x="443715" y="507585"/>
                  </a:lnTo>
                  <a:lnTo>
                    <a:pt x="444612" y="507585"/>
                  </a:lnTo>
                  <a:lnTo>
                    <a:pt x="444612" y="508182"/>
                  </a:lnTo>
                  <a:lnTo>
                    <a:pt x="444612" y="508878"/>
                  </a:lnTo>
                  <a:lnTo>
                    <a:pt x="444612" y="509475"/>
                  </a:lnTo>
                  <a:lnTo>
                    <a:pt x="445210" y="509973"/>
                  </a:lnTo>
                  <a:lnTo>
                    <a:pt x="445210" y="510570"/>
                  </a:lnTo>
                  <a:lnTo>
                    <a:pt x="445210" y="511763"/>
                  </a:lnTo>
                  <a:lnTo>
                    <a:pt x="445907" y="512659"/>
                  </a:lnTo>
                  <a:lnTo>
                    <a:pt x="445907" y="513455"/>
                  </a:lnTo>
                  <a:lnTo>
                    <a:pt x="446505" y="513455"/>
                  </a:lnTo>
                  <a:lnTo>
                    <a:pt x="446505" y="514350"/>
                  </a:lnTo>
                  <a:lnTo>
                    <a:pt x="447103" y="514350"/>
                  </a:lnTo>
                  <a:lnTo>
                    <a:pt x="447103" y="514947"/>
                  </a:lnTo>
                  <a:lnTo>
                    <a:pt x="446007" y="514947"/>
                  </a:lnTo>
                  <a:lnTo>
                    <a:pt x="445309" y="514450"/>
                  </a:lnTo>
                  <a:lnTo>
                    <a:pt x="445309" y="513853"/>
                  </a:lnTo>
                  <a:lnTo>
                    <a:pt x="445309" y="513256"/>
                  </a:lnTo>
                  <a:lnTo>
                    <a:pt x="444612" y="512559"/>
                  </a:lnTo>
                  <a:lnTo>
                    <a:pt x="444612" y="511863"/>
                  </a:lnTo>
                  <a:lnTo>
                    <a:pt x="444612" y="511863"/>
                  </a:lnTo>
                  <a:lnTo>
                    <a:pt x="444612" y="511863"/>
                  </a:lnTo>
                  <a:lnTo>
                    <a:pt x="444612" y="510868"/>
                  </a:lnTo>
                  <a:lnTo>
                    <a:pt x="444612" y="510072"/>
                  </a:lnTo>
                  <a:lnTo>
                    <a:pt x="443914" y="509575"/>
                  </a:lnTo>
                  <a:lnTo>
                    <a:pt x="443914" y="508679"/>
                  </a:lnTo>
                  <a:lnTo>
                    <a:pt x="443317" y="507784"/>
                  </a:lnTo>
                  <a:close/>
                  <a:moveTo>
                    <a:pt x="919715" y="664875"/>
                  </a:moveTo>
                  <a:lnTo>
                    <a:pt x="919715" y="664875"/>
                  </a:lnTo>
                  <a:lnTo>
                    <a:pt x="919017" y="664875"/>
                  </a:lnTo>
                  <a:lnTo>
                    <a:pt x="919017" y="665571"/>
                  </a:lnTo>
                  <a:lnTo>
                    <a:pt x="918121" y="669949"/>
                  </a:lnTo>
                  <a:lnTo>
                    <a:pt x="918121" y="670546"/>
                  </a:lnTo>
                  <a:lnTo>
                    <a:pt x="917224" y="671242"/>
                  </a:lnTo>
                  <a:lnTo>
                    <a:pt x="916327" y="672137"/>
                  </a:lnTo>
                  <a:lnTo>
                    <a:pt x="915430" y="675918"/>
                  </a:lnTo>
                  <a:lnTo>
                    <a:pt x="912839" y="681688"/>
                  </a:lnTo>
                  <a:lnTo>
                    <a:pt x="911146" y="684175"/>
                  </a:lnTo>
                  <a:lnTo>
                    <a:pt x="910149" y="685170"/>
                  </a:lnTo>
                  <a:lnTo>
                    <a:pt x="908953" y="685767"/>
                  </a:lnTo>
                  <a:lnTo>
                    <a:pt x="908953" y="685767"/>
                  </a:lnTo>
                  <a:lnTo>
                    <a:pt x="903373" y="683976"/>
                  </a:lnTo>
                  <a:lnTo>
                    <a:pt x="902377" y="683976"/>
                  </a:lnTo>
                  <a:lnTo>
                    <a:pt x="901580" y="683479"/>
                  </a:lnTo>
                  <a:lnTo>
                    <a:pt x="901580" y="681787"/>
                  </a:lnTo>
                  <a:lnTo>
                    <a:pt x="902178" y="680693"/>
                  </a:lnTo>
                  <a:lnTo>
                    <a:pt x="903174" y="679897"/>
                  </a:lnTo>
                  <a:lnTo>
                    <a:pt x="903971" y="679101"/>
                  </a:lnTo>
                  <a:lnTo>
                    <a:pt x="903971" y="678007"/>
                  </a:lnTo>
                  <a:lnTo>
                    <a:pt x="902975" y="675918"/>
                  </a:lnTo>
                  <a:lnTo>
                    <a:pt x="902277" y="672834"/>
                  </a:lnTo>
                  <a:lnTo>
                    <a:pt x="902277" y="669650"/>
                  </a:lnTo>
                  <a:lnTo>
                    <a:pt x="902277" y="667063"/>
                  </a:lnTo>
                  <a:lnTo>
                    <a:pt x="899786" y="667063"/>
                  </a:lnTo>
                  <a:lnTo>
                    <a:pt x="900484" y="667859"/>
                  </a:lnTo>
                  <a:lnTo>
                    <a:pt x="900484" y="669749"/>
                  </a:lnTo>
                  <a:lnTo>
                    <a:pt x="900982" y="670744"/>
                  </a:lnTo>
                  <a:lnTo>
                    <a:pt x="904469" y="674624"/>
                  </a:lnTo>
                  <a:lnTo>
                    <a:pt x="905067" y="673729"/>
                  </a:lnTo>
                  <a:lnTo>
                    <a:pt x="908654" y="670048"/>
                  </a:lnTo>
                  <a:lnTo>
                    <a:pt x="909252" y="670048"/>
                  </a:lnTo>
                  <a:lnTo>
                    <a:pt x="911943" y="670048"/>
                  </a:lnTo>
                  <a:lnTo>
                    <a:pt x="913338" y="668655"/>
                  </a:lnTo>
                  <a:lnTo>
                    <a:pt x="913338" y="665571"/>
                  </a:lnTo>
                  <a:lnTo>
                    <a:pt x="913338" y="660995"/>
                  </a:lnTo>
                  <a:lnTo>
                    <a:pt x="912740" y="658408"/>
                  </a:lnTo>
                  <a:lnTo>
                    <a:pt x="911345" y="655125"/>
                  </a:lnTo>
                  <a:lnTo>
                    <a:pt x="909651" y="652041"/>
                  </a:lnTo>
                  <a:lnTo>
                    <a:pt x="908057" y="649952"/>
                  </a:lnTo>
                  <a:lnTo>
                    <a:pt x="905864" y="648559"/>
                  </a:lnTo>
                  <a:lnTo>
                    <a:pt x="903971" y="647862"/>
                  </a:lnTo>
                  <a:lnTo>
                    <a:pt x="902875" y="646469"/>
                  </a:lnTo>
                  <a:lnTo>
                    <a:pt x="902875" y="643186"/>
                  </a:lnTo>
                  <a:lnTo>
                    <a:pt x="903573" y="643684"/>
                  </a:lnTo>
                  <a:lnTo>
                    <a:pt x="904170" y="644480"/>
                  </a:lnTo>
                  <a:lnTo>
                    <a:pt x="904170" y="645475"/>
                  </a:lnTo>
                  <a:lnTo>
                    <a:pt x="904170" y="646569"/>
                  </a:lnTo>
                  <a:lnTo>
                    <a:pt x="908654" y="647962"/>
                  </a:lnTo>
                  <a:lnTo>
                    <a:pt x="910647" y="649454"/>
                  </a:lnTo>
                  <a:lnTo>
                    <a:pt x="912939" y="651543"/>
                  </a:lnTo>
                  <a:lnTo>
                    <a:pt x="914832" y="654229"/>
                  </a:lnTo>
                  <a:lnTo>
                    <a:pt x="915530" y="657115"/>
                  </a:lnTo>
                  <a:lnTo>
                    <a:pt x="915530" y="658607"/>
                  </a:lnTo>
                  <a:lnTo>
                    <a:pt x="916227" y="660895"/>
                  </a:lnTo>
                  <a:lnTo>
                    <a:pt x="916227" y="661591"/>
                  </a:lnTo>
                  <a:lnTo>
                    <a:pt x="917323" y="662885"/>
                  </a:lnTo>
                  <a:lnTo>
                    <a:pt x="917323" y="663681"/>
                  </a:lnTo>
                  <a:close/>
                  <a:moveTo>
                    <a:pt x="970832" y="499427"/>
                  </a:moveTo>
                  <a:lnTo>
                    <a:pt x="967743" y="501417"/>
                  </a:lnTo>
                  <a:lnTo>
                    <a:pt x="965153" y="505595"/>
                  </a:lnTo>
                  <a:lnTo>
                    <a:pt x="962462" y="506391"/>
                  </a:lnTo>
                  <a:lnTo>
                    <a:pt x="955188" y="506391"/>
                  </a:lnTo>
                  <a:lnTo>
                    <a:pt x="952797" y="506391"/>
                  </a:lnTo>
                  <a:lnTo>
                    <a:pt x="951402" y="506391"/>
                  </a:lnTo>
                  <a:lnTo>
                    <a:pt x="950206" y="505695"/>
                  </a:lnTo>
                  <a:lnTo>
                    <a:pt x="949309" y="504700"/>
                  </a:lnTo>
                  <a:lnTo>
                    <a:pt x="948213" y="503904"/>
                  </a:lnTo>
                  <a:lnTo>
                    <a:pt x="946719" y="503904"/>
                  </a:lnTo>
                  <a:lnTo>
                    <a:pt x="941138" y="503904"/>
                  </a:lnTo>
                  <a:lnTo>
                    <a:pt x="938847" y="504401"/>
                  </a:lnTo>
                  <a:lnTo>
                    <a:pt x="933267" y="506789"/>
                  </a:lnTo>
                  <a:lnTo>
                    <a:pt x="932370" y="507684"/>
                  </a:lnTo>
                  <a:lnTo>
                    <a:pt x="932370" y="509177"/>
                  </a:lnTo>
                  <a:lnTo>
                    <a:pt x="932370" y="511863"/>
                  </a:lnTo>
                  <a:lnTo>
                    <a:pt x="932370" y="513057"/>
                  </a:lnTo>
                  <a:lnTo>
                    <a:pt x="932968" y="513952"/>
                  </a:lnTo>
                  <a:lnTo>
                    <a:pt x="934462" y="515743"/>
                  </a:lnTo>
                  <a:lnTo>
                    <a:pt x="934462" y="516439"/>
                  </a:lnTo>
                  <a:lnTo>
                    <a:pt x="934462" y="518628"/>
                  </a:lnTo>
                  <a:lnTo>
                    <a:pt x="934462" y="519822"/>
                  </a:lnTo>
                  <a:lnTo>
                    <a:pt x="934462" y="519822"/>
                  </a:lnTo>
                  <a:lnTo>
                    <a:pt x="935060" y="519822"/>
                  </a:lnTo>
                  <a:lnTo>
                    <a:pt x="935558" y="520618"/>
                  </a:lnTo>
                  <a:lnTo>
                    <a:pt x="936156" y="523105"/>
                  </a:lnTo>
                  <a:lnTo>
                    <a:pt x="936156" y="525990"/>
                  </a:lnTo>
                  <a:lnTo>
                    <a:pt x="936654" y="527283"/>
                  </a:lnTo>
                  <a:lnTo>
                    <a:pt x="938946" y="528378"/>
                  </a:lnTo>
                  <a:lnTo>
                    <a:pt x="939644" y="529472"/>
                  </a:lnTo>
                  <a:lnTo>
                    <a:pt x="939644" y="531959"/>
                  </a:lnTo>
                  <a:lnTo>
                    <a:pt x="937850" y="533651"/>
                  </a:lnTo>
                  <a:lnTo>
                    <a:pt x="935857" y="533651"/>
                  </a:lnTo>
                  <a:lnTo>
                    <a:pt x="934960" y="532258"/>
                  </a:lnTo>
                  <a:lnTo>
                    <a:pt x="934960" y="530467"/>
                  </a:lnTo>
                  <a:lnTo>
                    <a:pt x="934263" y="528079"/>
                  </a:lnTo>
                  <a:lnTo>
                    <a:pt x="932569" y="524100"/>
                  </a:lnTo>
                  <a:lnTo>
                    <a:pt x="929679" y="519325"/>
                  </a:lnTo>
                  <a:lnTo>
                    <a:pt x="928284" y="516738"/>
                  </a:lnTo>
                  <a:lnTo>
                    <a:pt x="927288" y="511067"/>
                  </a:lnTo>
                  <a:lnTo>
                    <a:pt x="925594" y="505993"/>
                  </a:lnTo>
                  <a:lnTo>
                    <a:pt x="925594" y="503307"/>
                  </a:lnTo>
                  <a:lnTo>
                    <a:pt x="925594" y="497636"/>
                  </a:lnTo>
                  <a:lnTo>
                    <a:pt x="925594" y="495050"/>
                  </a:lnTo>
                  <a:lnTo>
                    <a:pt x="921508" y="475152"/>
                  </a:lnTo>
                  <a:lnTo>
                    <a:pt x="919615" y="470078"/>
                  </a:lnTo>
                  <a:lnTo>
                    <a:pt x="925295" y="469481"/>
                  </a:lnTo>
                  <a:lnTo>
                    <a:pt x="926291" y="470576"/>
                  </a:lnTo>
                  <a:lnTo>
                    <a:pt x="926291" y="474356"/>
                  </a:lnTo>
                  <a:lnTo>
                    <a:pt x="926291" y="475948"/>
                  </a:lnTo>
                  <a:lnTo>
                    <a:pt x="925096" y="479231"/>
                  </a:lnTo>
                  <a:lnTo>
                    <a:pt x="925096" y="481121"/>
                  </a:lnTo>
                  <a:lnTo>
                    <a:pt x="925594" y="482912"/>
                  </a:lnTo>
                  <a:lnTo>
                    <a:pt x="927288" y="486295"/>
                  </a:lnTo>
                  <a:lnTo>
                    <a:pt x="927288" y="487886"/>
                  </a:lnTo>
                  <a:lnTo>
                    <a:pt x="928185" y="489677"/>
                  </a:lnTo>
                  <a:lnTo>
                    <a:pt x="930377" y="491965"/>
                  </a:lnTo>
                  <a:lnTo>
                    <a:pt x="932968" y="493756"/>
                  </a:lnTo>
                  <a:lnTo>
                    <a:pt x="935060" y="493756"/>
                  </a:lnTo>
                  <a:lnTo>
                    <a:pt x="936156" y="492562"/>
                  </a:lnTo>
                  <a:lnTo>
                    <a:pt x="936156" y="490572"/>
                  </a:lnTo>
                  <a:lnTo>
                    <a:pt x="936156" y="489478"/>
                  </a:lnTo>
                  <a:lnTo>
                    <a:pt x="936654" y="488782"/>
                  </a:lnTo>
                  <a:lnTo>
                    <a:pt x="937850" y="489379"/>
                  </a:lnTo>
                  <a:lnTo>
                    <a:pt x="938448" y="490971"/>
                  </a:lnTo>
                  <a:lnTo>
                    <a:pt x="939245" y="494453"/>
                  </a:lnTo>
                  <a:lnTo>
                    <a:pt x="941138" y="493756"/>
                  </a:lnTo>
                  <a:lnTo>
                    <a:pt x="943331" y="494652"/>
                  </a:lnTo>
                  <a:lnTo>
                    <a:pt x="947017" y="497338"/>
                  </a:lnTo>
                  <a:lnTo>
                    <a:pt x="951302" y="498930"/>
                  </a:lnTo>
                  <a:lnTo>
                    <a:pt x="952697" y="500322"/>
                  </a:lnTo>
                  <a:lnTo>
                    <a:pt x="952697" y="503208"/>
                  </a:lnTo>
                  <a:lnTo>
                    <a:pt x="955686" y="502213"/>
                  </a:lnTo>
                  <a:lnTo>
                    <a:pt x="959871" y="502213"/>
                  </a:lnTo>
                  <a:lnTo>
                    <a:pt x="961864" y="500621"/>
                  </a:lnTo>
                  <a:lnTo>
                    <a:pt x="965252" y="496144"/>
                  </a:lnTo>
                  <a:lnTo>
                    <a:pt x="967743" y="494652"/>
                  </a:lnTo>
                  <a:lnTo>
                    <a:pt x="970932" y="494652"/>
                  </a:lnTo>
                  <a:lnTo>
                    <a:pt x="972427" y="496641"/>
                  </a:lnTo>
                  <a:close/>
                  <a:moveTo>
                    <a:pt x="2324697" y="1222601"/>
                  </a:moveTo>
                  <a:lnTo>
                    <a:pt x="2323301" y="1224890"/>
                  </a:lnTo>
                  <a:lnTo>
                    <a:pt x="2322704" y="1226481"/>
                  </a:lnTo>
                  <a:lnTo>
                    <a:pt x="2322704" y="1228272"/>
                  </a:lnTo>
                  <a:lnTo>
                    <a:pt x="2322704" y="1229665"/>
                  </a:lnTo>
                  <a:lnTo>
                    <a:pt x="2322704" y="1230958"/>
                  </a:lnTo>
                  <a:lnTo>
                    <a:pt x="2321110" y="1233644"/>
                  </a:lnTo>
                  <a:lnTo>
                    <a:pt x="2320312" y="1237126"/>
                  </a:lnTo>
                  <a:lnTo>
                    <a:pt x="2319615" y="1238519"/>
                  </a:lnTo>
                  <a:lnTo>
                    <a:pt x="2318419" y="1236728"/>
                  </a:lnTo>
                  <a:lnTo>
                    <a:pt x="2317024" y="1236231"/>
                  </a:lnTo>
                  <a:lnTo>
                    <a:pt x="2314732" y="1236231"/>
                  </a:lnTo>
                  <a:lnTo>
                    <a:pt x="2313238" y="1235734"/>
                  </a:lnTo>
                  <a:lnTo>
                    <a:pt x="2311842" y="1234440"/>
                  </a:lnTo>
                  <a:lnTo>
                    <a:pt x="2311045" y="1232948"/>
                  </a:lnTo>
                  <a:lnTo>
                    <a:pt x="2310448" y="1231455"/>
                  </a:lnTo>
                  <a:lnTo>
                    <a:pt x="2309551" y="1229963"/>
                  </a:lnTo>
                  <a:lnTo>
                    <a:pt x="2308753" y="1228968"/>
                  </a:lnTo>
                  <a:lnTo>
                    <a:pt x="2307956" y="1228968"/>
                  </a:lnTo>
                  <a:lnTo>
                    <a:pt x="2303572" y="1227476"/>
                  </a:lnTo>
                  <a:lnTo>
                    <a:pt x="2302077" y="1227476"/>
                  </a:lnTo>
                  <a:lnTo>
                    <a:pt x="2298989" y="1227476"/>
                  </a:lnTo>
                  <a:lnTo>
                    <a:pt x="2301081" y="1224989"/>
                  </a:lnTo>
                  <a:lnTo>
                    <a:pt x="2313935" y="1216731"/>
                  </a:lnTo>
                  <a:lnTo>
                    <a:pt x="2313935" y="1215737"/>
                  </a:lnTo>
                  <a:lnTo>
                    <a:pt x="2313238" y="1213747"/>
                  </a:lnTo>
                  <a:lnTo>
                    <a:pt x="2311942" y="1211856"/>
                  </a:lnTo>
                  <a:lnTo>
                    <a:pt x="2310448" y="1210364"/>
                  </a:lnTo>
                  <a:lnTo>
                    <a:pt x="2309252" y="1208673"/>
                  </a:lnTo>
                  <a:lnTo>
                    <a:pt x="2308654" y="1206086"/>
                  </a:lnTo>
                  <a:lnTo>
                    <a:pt x="2311344" y="1207280"/>
                  </a:lnTo>
                  <a:lnTo>
                    <a:pt x="2317024" y="1206584"/>
                  </a:lnTo>
                  <a:lnTo>
                    <a:pt x="2319814" y="1207280"/>
                  </a:lnTo>
                  <a:lnTo>
                    <a:pt x="2321209" y="1208872"/>
                  </a:lnTo>
                  <a:lnTo>
                    <a:pt x="2322006" y="1210862"/>
                  </a:lnTo>
                  <a:lnTo>
                    <a:pt x="2322704" y="1215438"/>
                  </a:lnTo>
                  <a:lnTo>
                    <a:pt x="2324099" y="1220014"/>
                  </a:lnTo>
                  <a:lnTo>
                    <a:pt x="2324099" y="122100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69" name="Freeform: Shape 1168">
              <a:extLst>
                <a:ext uri="{FF2B5EF4-FFF2-40B4-BE49-F238E27FC236}">
                  <a16:creationId xmlns:a16="http://schemas.microsoft.com/office/drawing/2014/main" id="{DAD3C699-EA74-4C1D-9FAF-EA659C4B4A10}"/>
                </a:ext>
              </a:extLst>
            </p:cNvPr>
            <p:cNvSpPr/>
            <p:nvPr/>
          </p:nvSpPr>
          <p:spPr>
            <a:xfrm>
              <a:off x="2200471" y="4595359"/>
              <a:ext cx="20327" cy="29348"/>
            </a:xfrm>
            <a:custGeom>
              <a:avLst/>
              <a:gdLst>
                <a:gd name="connsiteX0" fmla="*/ 14249 w 20327"/>
                <a:gd name="connsiteY0" fmla="*/ 5770 h 29348"/>
                <a:gd name="connsiteX1" fmla="*/ 9865 w 20327"/>
                <a:gd name="connsiteY1" fmla="*/ 2189 h 29348"/>
                <a:gd name="connsiteX2" fmla="*/ 5181 w 20327"/>
                <a:gd name="connsiteY2" fmla="*/ 0 h 29348"/>
                <a:gd name="connsiteX3" fmla="*/ 3188 w 20327"/>
                <a:gd name="connsiteY3" fmla="*/ 796 h 29348"/>
                <a:gd name="connsiteX4" fmla="*/ 1794 w 20327"/>
                <a:gd name="connsiteY4" fmla="*/ 3084 h 29348"/>
                <a:gd name="connsiteX5" fmla="*/ 398 w 20327"/>
                <a:gd name="connsiteY5" fmla="*/ 4875 h 29348"/>
                <a:gd name="connsiteX6" fmla="*/ 0 w 20327"/>
                <a:gd name="connsiteY6" fmla="*/ 6765 h 29348"/>
                <a:gd name="connsiteX7" fmla="*/ 1096 w 20327"/>
                <a:gd name="connsiteY7" fmla="*/ 7362 h 29348"/>
                <a:gd name="connsiteX8" fmla="*/ 1794 w 20327"/>
                <a:gd name="connsiteY8" fmla="*/ 5372 h 29348"/>
                <a:gd name="connsiteX9" fmla="*/ 4085 w 20327"/>
                <a:gd name="connsiteY9" fmla="*/ 4576 h 29348"/>
                <a:gd name="connsiteX10" fmla="*/ 7174 w 20327"/>
                <a:gd name="connsiteY10" fmla="*/ 5770 h 29348"/>
                <a:gd name="connsiteX11" fmla="*/ 10164 w 20327"/>
                <a:gd name="connsiteY11" fmla="*/ 7462 h 29348"/>
                <a:gd name="connsiteX12" fmla="*/ 10562 w 20327"/>
                <a:gd name="connsiteY12" fmla="*/ 10347 h 29348"/>
                <a:gd name="connsiteX13" fmla="*/ 12456 w 20327"/>
                <a:gd name="connsiteY13" fmla="*/ 12336 h 29348"/>
                <a:gd name="connsiteX14" fmla="*/ 14648 w 20327"/>
                <a:gd name="connsiteY14" fmla="*/ 15122 h 29348"/>
                <a:gd name="connsiteX15" fmla="*/ 14448 w 20327"/>
                <a:gd name="connsiteY15" fmla="*/ 18604 h 29348"/>
                <a:gd name="connsiteX16" fmla="*/ 11758 w 20327"/>
                <a:gd name="connsiteY16" fmla="*/ 20892 h 29348"/>
                <a:gd name="connsiteX17" fmla="*/ 9665 w 20327"/>
                <a:gd name="connsiteY17" fmla="*/ 21489 h 29348"/>
                <a:gd name="connsiteX18" fmla="*/ 9267 w 20327"/>
                <a:gd name="connsiteY18" fmla="*/ 22484 h 29348"/>
                <a:gd name="connsiteX19" fmla="*/ 10263 w 20327"/>
                <a:gd name="connsiteY19" fmla="*/ 24971 h 29348"/>
                <a:gd name="connsiteX20" fmla="*/ 10064 w 20327"/>
                <a:gd name="connsiteY20" fmla="*/ 26563 h 29348"/>
                <a:gd name="connsiteX21" fmla="*/ 10961 w 20327"/>
                <a:gd name="connsiteY21" fmla="*/ 27558 h 29348"/>
                <a:gd name="connsiteX22" fmla="*/ 13452 w 20327"/>
                <a:gd name="connsiteY22" fmla="*/ 28851 h 29348"/>
                <a:gd name="connsiteX23" fmla="*/ 15246 w 20327"/>
                <a:gd name="connsiteY23" fmla="*/ 29349 h 29348"/>
                <a:gd name="connsiteX24" fmla="*/ 17338 w 20327"/>
                <a:gd name="connsiteY24" fmla="*/ 27856 h 29348"/>
                <a:gd name="connsiteX25" fmla="*/ 18833 w 20327"/>
                <a:gd name="connsiteY25" fmla="*/ 23578 h 29348"/>
                <a:gd name="connsiteX26" fmla="*/ 20327 w 20327"/>
                <a:gd name="connsiteY26" fmla="*/ 16615 h 29348"/>
                <a:gd name="connsiteX27" fmla="*/ 18434 w 20327"/>
                <a:gd name="connsiteY27" fmla="*/ 11640 h 29348"/>
                <a:gd name="connsiteX28" fmla="*/ 14249 w 20327"/>
                <a:gd name="connsiteY28" fmla="*/ 5770 h 29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0327" h="29348">
                  <a:moveTo>
                    <a:pt x="14249" y="5770"/>
                  </a:moveTo>
                  <a:lnTo>
                    <a:pt x="9865" y="2189"/>
                  </a:lnTo>
                  <a:lnTo>
                    <a:pt x="5181" y="0"/>
                  </a:lnTo>
                  <a:lnTo>
                    <a:pt x="3188" y="796"/>
                  </a:lnTo>
                  <a:lnTo>
                    <a:pt x="1794" y="3084"/>
                  </a:lnTo>
                  <a:lnTo>
                    <a:pt x="398" y="4875"/>
                  </a:lnTo>
                  <a:lnTo>
                    <a:pt x="0" y="6765"/>
                  </a:lnTo>
                  <a:lnTo>
                    <a:pt x="1096" y="7362"/>
                  </a:lnTo>
                  <a:lnTo>
                    <a:pt x="1794" y="5372"/>
                  </a:lnTo>
                  <a:lnTo>
                    <a:pt x="4085" y="4576"/>
                  </a:lnTo>
                  <a:lnTo>
                    <a:pt x="7174" y="5770"/>
                  </a:lnTo>
                  <a:lnTo>
                    <a:pt x="10164" y="7462"/>
                  </a:lnTo>
                  <a:lnTo>
                    <a:pt x="10562" y="10347"/>
                  </a:lnTo>
                  <a:lnTo>
                    <a:pt x="12456" y="12336"/>
                  </a:lnTo>
                  <a:lnTo>
                    <a:pt x="14648" y="15122"/>
                  </a:lnTo>
                  <a:lnTo>
                    <a:pt x="14448" y="18604"/>
                  </a:lnTo>
                  <a:lnTo>
                    <a:pt x="11758" y="20892"/>
                  </a:lnTo>
                  <a:lnTo>
                    <a:pt x="9665" y="21489"/>
                  </a:lnTo>
                  <a:lnTo>
                    <a:pt x="9267" y="22484"/>
                  </a:lnTo>
                  <a:lnTo>
                    <a:pt x="10263" y="24971"/>
                  </a:lnTo>
                  <a:lnTo>
                    <a:pt x="10064" y="26563"/>
                  </a:lnTo>
                  <a:lnTo>
                    <a:pt x="10961" y="27558"/>
                  </a:lnTo>
                  <a:lnTo>
                    <a:pt x="13452" y="28851"/>
                  </a:lnTo>
                  <a:lnTo>
                    <a:pt x="15246" y="29349"/>
                  </a:lnTo>
                  <a:lnTo>
                    <a:pt x="17338" y="27856"/>
                  </a:lnTo>
                  <a:lnTo>
                    <a:pt x="18833" y="23578"/>
                  </a:lnTo>
                  <a:lnTo>
                    <a:pt x="20327" y="16615"/>
                  </a:lnTo>
                  <a:lnTo>
                    <a:pt x="18434" y="11640"/>
                  </a:lnTo>
                  <a:lnTo>
                    <a:pt x="14249" y="577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0" name="Freeform: Shape 1169">
              <a:extLst>
                <a:ext uri="{FF2B5EF4-FFF2-40B4-BE49-F238E27FC236}">
                  <a16:creationId xmlns:a16="http://schemas.microsoft.com/office/drawing/2014/main" id="{8B705F5E-8A2A-485D-A782-366EF30420D2}"/>
                </a:ext>
              </a:extLst>
            </p:cNvPr>
            <p:cNvSpPr/>
            <p:nvPr/>
          </p:nvSpPr>
          <p:spPr>
            <a:xfrm>
              <a:off x="3537197" y="4586903"/>
              <a:ext cx="6078" cy="2785"/>
            </a:xfrm>
            <a:custGeom>
              <a:avLst/>
              <a:gdLst>
                <a:gd name="connsiteX0" fmla="*/ 2292 w 6078"/>
                <a:gd name="connsiteY0" fmla="*/ 2786 h 2785"/>
                <a:gd name="connsiteX1" fmla="*/ 4484 w 6078"/>
                <a:gd name="connsiteY1" fmla="*/ 1492 h 2785"/>
                <a:gd name="connsiteX2" fmla="*/ 6078 w 6078"/>
                <a:gd name="connsiteY2" fmla="*/ 0 h 2785"/>
                <a:gd name="connsiteX3" fmla="*/ 1196 w 6078"/>
                <a:gd name="connsiteY3" fmla="*/ 298 h 2785"/>
                <a:gd name="connsiteX4" fmla="*/ 0 w 6078"/>
                <a:gd name="connsiteY4" fmla="*/ 696 h 2785"/>
                <a:gd name="connsiteX5" fmla="*/ 1096 w 6078"/>
                <a:gd name="connsiteY5" fmla="*/ 1194 h 2785"/>
                <a:gd name="connsiteX6" fmla="*/ 1395 w 6078"/>
                <a:gd name="connsiteY6" fmla="*/ 1890 h 2785"/>
                <a:gd name="connsiteX7" fmla="*/ 1395 w 6078"/>
                <a:gd name="connsiteY7" fmla="*/ 2786 h 2785"/>
                <a:gd name="connsiteX8" fmla="*/ 2292 w 6078"/>
                <a:gd name="connsiteY8" fmla="*/ 2786 h 2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78" h="2785">
                  <a:moveTo>
                    <a:pt x="2292" y="2786"/>
                  </a:moveTo>
                  <a:lnTo>
                    <a:pt x="4484" y="1492"/>
                  </a:lnTo>
                  <a:lnTo>
                    <a:pt x="6078" y="0"/>
                  </a:lnTo>
                  <a:lnTo>
                    <a:pt x="1196" y="298"/>
                  </a:lnTo>
                  <a:lnTo>
                    <a:pt x="0" y="696"/>
                  </a:lnTo>
                  <a:lnTo>
                    <a:pt x="1096" y="1194"/>
                  </a:lnTo>
                  <a:lnTo>
                    <a:pt x="1395" y="1890"/>
                  </a:lnTo>
                  <a:lnTo>
                    <a:pt x="1395" y="2786"/>
                  </a:lnTo>
                  <a:lnTo>
                    <a:pt x="2292" y="278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1" name="Freeform: Shape 1170">
              <a:extLst>
                <a:ext uri="{FF2B5EF4-FFF2-40B4-BE49-F238E27FC236}">
                  <a16:creationId xmlns:a16="http://schemas.microsoft.com/office/drawing/2014/main" id="{D486AFC1-427F-4D36-B7EE-300AB2B1E5D8}"/>
                </a:ext>
              </a:extLst>
            </p:cNvPr>
            <p:cNvSpPr/>
            <p:nvPr/>
          </p:nvSpPr>
          <p:spPr>
            <a:xfrm>
              <a:off x="3554634" y="4582924"/>
              <a:ext cx="16042" cy="4974"/>
            </a:xfrm>
            <a:custGeom>
              <a:avLst/>
              <a:gdLst>
                <a:gd name="connsiteX0" fmla="*/ 0 w 16042"/>
                <a:gd name="connsiteY0" fmla="*/ 298 h 4974"/>
                <a:gd name="connsiteX1" fmla="*/ 1594 w 16042"/>
                <a:gd name="connsiteY1" fmla="*/ 1393 h 4974"/>
                <a:gd name="connsiteX2" fmla="*/ 2889 w 16042"/>
                <a:gd name="connsiteY2" fmla="*/ 1890 h 4974"/>
                <a:gd name="connsiteX3" fmla="*/ 10463 w 16042"/>
                <a:gd name="connsiteY3" fmla="*/ 2388 h 4974"/>
                <a:gd name="connsiteX4" fmla="*/ 12356 w 16042"/>
                <a:gd name="connsiteY4" fmla="*/ 3084 h 4974"/>
                <a:gd name="connsiteX5" fmla="*/ 13053 w 16042"/>
                <a:gd name="connsiteY5" fmla="*/ 4974 h 4974"/>
                <a:gd name="connsiteX6" fmla="*/ 15943 w 16042"/>
                <a:gd name="connsiteY6" fmla="*/ 3383 h 4974"/>
                <a:gd name="connsiteX7" fmla="*/ 16043 w 16042"/>
                <a:gd name="connsiteY7" fmla="*/ 1890 h 4974"/>
                <a:gd name="connsiteX8" fmla="*/ 14050 w 16042"/>
                <a:gd name="connsiteY8" fmla="*/ 796 h 4974"/>
                <a:gd name="connsiteX9" fmla="*/ 2093 w 16042"/>
                <a:gd name="connsiteY9" fmla="*/ 0 h 4974"/>
                <a:gd name="connsiteX10" fmla="*/ 0 w 16042"/>
                <a:gd name="connsiteY10" fmla="*/ 298 h 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42" h="4974">
                  <a:moveTo>
                    <a:pt x="0" y="298"/>
                  </a:moveTo>
                  <a:lnTo>
                    <a:pt x="1594" y="1393"/>
                  </a:lnTo>
                  <a:lnTo>
                    <a:pt x="2889" y="1890"/>
                  </a:lnTo>
                  <a:lnTo>
                    <a:pt x="10463" y="2388"/>
                  </a:lnTo>
                  <a:lnTo>
                    <a:pt x="12356" y="3084"/>
                  </a:lnTo>
                  <a:lnTo>
                    <a:pt x="13053" y="4974"/>
                  </a:lnTo>
                  <a:lnTo>
                    <a:pt x="15943" y="3383"/>
                  </a:lnTo>
                  <a:lnTo>
                    <a:pt x="16043" y="1890"/>
                  </a:lnTo>
                  <a:lnTo>
                    <a:pt x="14050" y="796"/>
                  </a:lnTo>
                  <a:lnTo>
                    <a:pt x="2093" y="0"/>
                  </a:lnTo>
                  <a:lnTo>
                    <a:pt x="0" y="2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2" name="Freeform: Shape 1171">
              <a:extLst>
                <a:ext uri="{FF2B5EF4-FFF2-40B4-BE49-F238E27FC236}">
                  <a16:creationId xmlns:a16="http://schemas.microsoft.com/office/drawing/2014/main" id="{BA838184-FF31-4D74-ACCD-59B2218CCB54}"/>
                </a:ext>
              </a:extLst>
            </p:cNvPr>
            <p:cNvSpPr/>
            <p:nvPr/>
          </p:nvSpPr>
          <p:spPr>
            <a:xfrm>
              <a:off x="3485083" y="4564220"/>
              <a:ext cx="39160" cy="26563"/>
            </a:xfrm>
            <a:custGeom>
              <a:avLst/>
              <a:gdLst>
                <a:gd name="connsiteX0" fmla="*/ 0 w 39160"/>
                <a:gd name="connsiteY0" fmla="*/ 1293 h 26563"/>
                <a:gd name="connsiteX1" fmla="*/ 299 w 39160"/>
                <a:gd name="connsiteY1" fmla="*/ 3781 h 26563"/>
                <a:gd name="connsiteX2" fmla="*/ 1992 w 39160"/>
                <a:gd name="connsiteY2" fmla="*/ 3880 h 26563"/>
                <a:gd name="connsiteX3" fmla="*/ 5679 w 39160"/>
                <a:gd name="connsiteY3" fmla="*/ 2288 h 26563"/>
                <a:gd name="connsiteX4" fmla="*/ 8170 w 39160"/>
                <a:gd name="connsiteY4" fmla="*/ 3184 h 26563"/>
                <a:gd name="connsiteX5" fmla="*/ 9267 w 39160"/>
                <a:gd name="connsiteY5" fmla="*/ 5074 h 26563"/>
                <a:gd name="connsiteX6" fmla="*/ 9865 w 39160"/>
                <a:gd name="connsiteY6" fmla="*/ 6964 h 26563"/>
                <a:gd name="connsiteX7" fmla="*/ 10961 w 39160"/>
                <a:gd name="connsiteY7" fmla="*/ 7860 h 26563"/>
                <a:gd name="connsiteX8" fmla="*/ 11558 w 39160"/>
                <a:gd name="connsiteY8" fmla="*/ 8158 h 26563"/>
                <a:gd name="connsiteX9" fmla="*/ 13551 w 39160"/>
                <a:gd name="connsiteY9" fmla="*/ 9650 h 26563"/>
                <a:gd name="connsiteX10" fmla="*/ 13950 w 39160"/>
                <a:gd name="connsiteY10" fmla="*/ 10247 h 26563"/>
                <a:gd name="connsiteX11" fmla="*/ 14149 w 39160"/>
                <a:gd name="connsiteY11" fmla="*/ 11839 h 26563"/>
                <a:gd name="connsiteX12" fmla="*/ 14647 w 39160"/>
                <a:gd name="connsiteY12" fmla="*/ 12336 h 26563"/>
                <a:gd name="connsiteX13" fmla="*/ 15544 w 39160"/>
                <a:gd name="connsiteY13" fmla="*/ 12635 h 26563"/>
                <a:gd name="connsiteX14" fmla="*/ 18434 w 39160"/>
                <a:gd name="connsiteY14" fmla="*/ 14923 h 26563"/>
                <a:gd name="connsiteX15" fmla="*/ 20527 w 39160"/>
                <a:gd name="connsiteY15" fmla="*/ 15918 h 26563"/>
                <a:gd name="connsiteX16" fmla="*/ 22918 w 39160"/>
                <a:gd name="connsiteY16" fmla="*/ 16216 h 26563"/>
                <a:gd name="connsiteX17" fmla="*/ 25110 w 39160"/>
                <a:gd name="connsiteY17" fmla="*/ 15421 h 26563"/>
                <a:gd name="connsiteX18" fmla="*/ 29395 w 39160"/>
                <a:gd name="connsiteY18" fmla="*/ 20196 h 26563"/>
                <a:gd name="connsiteX19" fmla="*/ 31288 w 39160"/>
                <a:gd name="connsiteY19" fmla="*/ 21788 h 26563"/>
                <a:gd name="connsiteX20" fmla="*/ 32982 w 39160"/>
                <a:gd name="connsiteY20" fmla="*/ 22982 h 26563"/>
                <a:gd name="connsiteX21" fmla="*/ 34178 w 39160"/>
                <a:gd name="connsiteY21" fmla="*/ 23479 h 26563"/>
                <a:gd name="connsiteX22" fmla="*/ 35274 w 39160"/>
                <a:gd name="connsiteY22" fmla="*/ 23678 h 26563"/>
                <a:gd name="connsiteX23" fmla="*/ 36270 w 39160"/>
                <a:gd name="connsiteY23" fmla="*/ 24076 h 26563"/>
                <a:gd name="connsiteX24" fmla="*/ 39160 w 39160"/>
                <a:gd name="connsiteY24" fmla="*/ 26563 h 26563"/>
                <a:gd name="connsiteX25" fmla="*/ 38064 w 39160"/>
                <a:gd name="connsiteY25" fmla="*/ 24076 h 26563"/>
                <a:gd name="connsiteX26" fmla="*/ 35971 w 39160"/>
                <a:gd name="connsiteY26" fmla="*/ 20992 h 26563"/>
                <a:gd name="connsiteX27" fmla="*/ 33480 w 39160"/>
                <a:gd name="connsiteY27" fmla="*/ 18405 h 26563"/>
                <a:gd name="connsiteX28" fmla="*/ 28299 w 39160"/>
                <a:gd name="connsiteY28" fmla="*/ 16316 h 26563"/>
                <a:gd name="connsiteX29" fmla="*/ 23516 w 39160"/>
                <a:gd name="connsiteY29" fmla="*/ 12436 h 26563"/>
                <a:gd name="connsiteX30" fmla="*/ 17637 w 39160"/>
                <a:gd name="connsiteY30" fmla="*/ 10645 h 26563"/>
                <a:gd name="connsiteX31" fmla="*/ 14947 w 39160"/>
                <a:gd name="connsiteY31" fmla="*/ 8456 h 26563"/>
                <a:gd name="connsiteX32" fmla="*/ 8370 w 39160"/>
                <a:gd name="connsiteY32" fmla="*/ 995 h 26563"/>
                <a:gd name="connsiteX33" fmla="*/ 6278 w 39160"/>
                <a:gd name="connsiteY33" fmla="*/ 0 h 26563"/>
                <a:gd name="connsiteX34" fmla="*/ 3687 w 39160"/>
                <a:gd name="connsiteY34" fmla="*/ 199 h 26563"/>
                <a:gd name="connsiteX35" fmla="*/ 0 w 39160"/>
                <a:gd name="connsiteY35" fmla="*/ 1293 h 2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9160" h="26563">
                  <a:moveTo>
                    <a:pt x="0" y="1293"/>
                  </a:moveTo>
                  <a:lnTo>
                    <a:pt x="299" y="3781"/>
                  </a:lnTo>
                  <a:lnTo>
                    <a:pt x="1992" y="3880"/>
                  </a:lnTo>
                  <a:lnTo>
                    <a:pt x="5679" y="2288"/>
                  </a:lnTo>
                  <a:lnTo>
                    <a:pt x="8170" y="3184"/>
                  </a:lnTo>
                  <a:lnTo>
                    <a:pt x="9267" y="5074"/>
                  </a:lnTo>
                  <a:lnTo>
                    <a:pt x="9865" y="6964"/>
                  </a:lnTo>
                  <a:lnTo>
                    <a:pt x="10961" y="7860"/>
                  </a:lnTo>
                  <a:lnTo>
                    <a:pt x="11558" y="8158"/>
                  </a:lnTo>
                  <a:lnTo>
                    <a:pt x="13551" y="9650"/>
                  </a:lnTo>
                  <a:lnTo>
                    <a:pt x="13950" y="10247"/>
                  </a:lnTo>
                  <a:lnTo>
                    <a:pt x="14149" y="11839"/>
                  </a:lnTo>
                  <a:lnTo>
                    <a:pt x="14647" y="12336"/>
                  </a:lnTo>
                  <a:lnTo>
                    <a:pt x="15544" y="12635"/>
                  </a:lnTo>
                  <a:lnTo>
                    <a:pt x="18434" y="14923"/>
                  </a:lnTo>
                  <a:lnTo>
                    <a:pt x="20527" y="15918"/>
                  </a:lnTo>
                  <a:lnTo>
                    <a:pt x="22918" y="16216"/>
                  </a:lnTo>
                  <a:lnTo>
                    <a:pt x="25110" y="15421"/>
                  </a:lnTo>
                  <a:lnTo>
                    <a:pt x="29395" y="20196"/>
                  </a:lnTo>
                  <a:lnTo>
                    <a:pt x="31288" y="21788"/>
                  </a:lnTo>
                  <a:lnTo>
                    <a:pt x="32982" y="22982"/>
                  </a:lnTo>
                  <a:lnTo>
                    <a:pt x="34178" y="23479"/>
                  </a:lnTo>
                  <a:lnTo>
                    <a:pt x="35274" y="23678"/>
                  </a:lnTo>
                  <a:lnTo>
                    <a:pt x="36270" y="24076"/>
                  </a:lnTo>
                  <a:lnTo>
                    <a:pt x="39160" y="26563"/>
                  </a:lnTo>
                  <a:lnTo>
                    <a:pt x="38064" y="24076"/>
                  </a:lnTo>
                  <a:lnTo>
                    <a:pt x="35971" y="20992"/>
                  </a:lnTo>
                  <a:lnTo>
                    <a:pt x="33480" y="18405"/>
                  </a:lnTo>
                  <a:lnTo>
                    <a:pt x="28299" y="16316"/>
                  </a:lnTo>
                  <a:lnTo>
                    <a:pt x="23516" y="12436"/>
                  </a:lnTo>
                  <a:lnTo>
                    <a:pt x="17637" y="10645"/>
                  </a:lnTo>
                  <a:lnTo>
                    <a:pt x="14947" y="8456"/>
                  </a:lnTo>
                  <a:lnTo>
                    <a:pt x="8370" y="995"/>
                  </a:lnTo>
                  <a:lnTo>
                    <a:pt x="6278" y="0"/>
                  </a:lnTo>
                  <a:lnTo>
                    <a:pt x="3687" y="199"/>
                  </a:lnTo>
                  <a:lnTo>
                    <a:pt x="0" y="12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3" name="Freeform: Shape 1172">
              <a:extLst>
                <a:ext uri="{FF2B5EF4-FFF2-40B4-BE49-F238E27FC236}">
                  <a16:creationId xmlns:a16="http://schemas.microsoft.com/office/drawing/2014/main" id="{8C2BC86A-4AF4-4A4C-A9E0-C46D8D0D3E3B}"/>
                </a:ext>
              </a:extLst>
            </p:cNvPr>
            <p:cNvSpPr/>
            <p:nvPr/>
          </p:nvSpPr>
          <p:spPr>
            <a:xfrm>
              <a:off x="3497439" y="4468712"/>
              <a:ext cx="3088" cy="2288"/>
            </a:xfrm>
            <a:custGeom>
              <a:avLst/>
              <a:gdLst>
                <a:gd name="connsiteX0" fmla="*/ 3089 w 3088"/>
                <a:gd name="connsiteY0" fmla="*/ 1990 h 2288"/>
                <a:gd name="connsiteX1" fmla="*/ 0 w 3088"/>
                <a:gd name="connsiteY1" fmla="*/ 0 h 2288"/>
                <a:gd name="connsiteX2" fmla="*/ 199 w 3088"/>
                <a:gd name="connsiteY2" fmla="*/ 498 h 2288"/>
                <a:gd name="connsiteX3" fmla="*/ 2591 w 3088"/>
                <a:gd name="connsiteY3" fmla="*/ 2288 h 2288"/>
                <a:gd name="connsiteX4" fmla="*/ 3089 w 3088"/>
                <a:gd name="connsiteY4" fmla="*/ 1990 h 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8" h="2288">
                  <a:moveTo>
                    <a:pt x="3089" y="1990"/>
                  </a:moveTo>
                  <a:lnTo>
                    <a:pt x="0" y="0"/>
                  </a:lnTo>
                  <a:lnTo>
                    <a:pt x="199" y="498"/>
                  </a:lnTo>
                  <a:lnTo>
                    <a:pt x="2591" y="2288"/>
                  </a:lnTo>
                  <a:lnTo>
                    <a:pt x="3089" y="19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4" name="Freeform: Shape 1173">
              <a:extLst>
                <a:ext uri="{FF2B5EF4-FFF2-40B4-BE49-F238E27FC236}">
                  <a16:creationId xmlns:a16="http://schemas.microsoft.com/office/drawing/2014/main" id="{F48C09AC-8A4D-4327-822A-29A255117F84}"/>
                </a:ext>
              </a:extLst>
            </p:cNvPr>
            <p:cNvSpPr/>
            <p:nvPr/>
          </p:nvSpPr>
          <p:spPr>
            <a:xfrm>
              <a:off x="3490364" y="4459957"/>
              <a:ext cx="5281" cy="5670"/>
            </a:xfrm>
            <a:custGeom>
              <a:avLst/>
              <a:gdLst>
                <a:gd name="connsiteX0" fmla="*/ 5281 w 5281"/>
                <a:gd name="connsiteY0" fmla="*/ 5571 h 5670"/>
                <a:gd name="connsiteX1" fmla="*/ 3886 w 5281"/>
                <a:gd name="connsiteY1" fmla="*/ 3780 h 5670"/>
                <a:gd name="connsiteX2" fmla="*/ 698 w 5281"/>
                <a:gd name="connsiteY2" fmla="*/ 398 h 5670"/>
                <a:gd name="connsiteX3" fmla="*/ 0 w 5281"/>
                <a:gd name="connsiteY3" fmla="*/ 0 h 5670"/>
                <a:gd name="connsiteX4" fmla="*/ 5082 w 5281"/>
                <a:gd name="connsiteY4" fmla="*/ 5671 h 5670"/>
                <a:gd name="connsiteX5" fmla="*/ 5281 w 5281"/>
                <a:gd name="connsiteY5" fmla="*/ 5571 h 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281" h="5670">
                  <a:moveTo>
                    <a:pt x="5281" y="5571"/>
                  </a:moveTo>
                  <a:lnTo>
                    <a:pt x="3886" y="3780"/>
                  </a:lnTo>
                  <a:lnTo>
                    <a:pt x="698" y="398"/>
                  </a:lnTo>
                  <a:lnTo>
                    <a:pt x="0" y="0"/>
                  </a:lnTo>
                  <a:lnTo>
                    <a:pt x="5082" y="5671"/>
                  </a:lnTo>
                  <a:lnTo>
                    <a:pt x="5281" y="557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5" name="Freeform: Shape 1174">
              <a:extLst>
                <a:ext uri="{FF2B5EF4-FFF2-40B4-BE49-F238E27FC236}">
                  <a16:creationId xmlns:a16="http://schemas.microsoft.com/office/drawing/2014/main" id="{961066DB-EFF6-4939-A1FD-B966E8A67F57}"/>
                </a:ext>
              </a:extLst>
            </p:cNvPr>
            <p:cNvSpPr/>
            <p:nvPr/>
          </p:nvSpPr>
          <p:spPr>
            <a:xfrm>
              <a:off x="3531617" y="4189749"/>
              <a:ext cx="797" cy="1492"/>
            </a:xfrm>
            <a:custGeom>
              <a:avLst/>
              <a:gdLst>
                <a:gd name="connsiteX0" fmla="*/ 598 w 797"/>
                <a:gd name="connsiteY0" fmla="*/ 1393 h 1492"/>
                <a:gd name="connsiteX1" fmla="*/ 797 w 797"/>
                <a:gd name="connsiteY1" fmla="*/ 1492 h 1492"/>
                <a:gd name="connsiteX2" fmla="*/ 299 w 797"/>
                <a:gd name="connsiteY2" fmla="*/ 99 h 1492"/>
                <a:gd name="connsiteX3" fmla="*/ 0 w 797"/>
                <a:gd name="connsiteY3" fmla="*/ 0 h 1492"/>
                <a:gd name="connsiteX4" fmla="*/ 598 w 797"/>
                <a:gd name="connsiteY4" fmla="*/ 1393 h 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7" h="1492">
                  <a:moveTo>
                    <a:pt x="598" y="1393"/>
                  </a:moveTo>
                  <a:lnTo>
                    <a:pt x="797" y="1492"/>
                  </a:lnTo>
                  <a:lnTo>
                    <a:pt x="299" y="99"/>
                  </a:lnTo>
                  <a:lnTo>
                    <a:pt x="0" y="0"/>
                  </a:lnTo>
                  <a:lnTo>
                    <a:pt x="598" y="13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6" name="Freeform: Shape 1175">
              <a:extLst>
                <a:ext uri="{FF2B5EF4-FFF2-40B4-BE49-F238E27FC236}">
                  <a16:creationId xmlns:a16="http://schemas.microsoft.com/office/drawing/2014/main" id="{3C441DB0-15E2-4C09-B52D-BD32C3FA4C98}"/>
                </a:ext>
              </a:extLst>
            </p:cNvPr>
            <p:cNvSpPr/>
            <p:nvPr/>
          </p:nvSpPr>
          <p:spPr>
            <a:xfrm>
              <a:off x="3529026" y="4186367"/>
              <a:ext cx="1195" cy="2089"/>
            </a:xfrm>
            <a:custGeom>
              <a:avLst/>
              <a:gdLst>
                <a:gd name="connsiteX0" fmla="*/ 1196 w 1195"/>
                <a:gd name="connsiteY0" fmla="*/ 2089 h 2089"/>
                <a:gd name="connsiteX1" fmla="*/ 1196 w 1195"/>
                <a:gd name="connsiteY1" fmla="*/ 1592 h 2089"/>
                <a:gd name="connsiteX2" fmla="*/ 100 w 1195"/>
                <a:gd name="connsiteY2" fmla="*/ 0 h 2089"/>
                <a:gd name="connsiteX3" fmla="*/ 0 w 1195"/>
                <a:gd name="connsiteY3" fmla="*/ 597 h 2089"/>
                <a:gd name="connsiteX4" fmla="*/ 1196 w 1195"/>
                <a:gd name="connsiteY4" fmla="*/ 2089 h 2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95" h="2089">
                  <a:moveTo>
                    <a:pt x="1196" y="2089"/>
                  </a:moveTo>
                  <a:lnTo>
                    <a:pt x="1196" y="1592"/>
                  </a:lnTo>
                  <a:lnTo>
                    <a:pt x="100" y="0"/>
                  </a:lnTo>
                  <a:lnTo>
                    <a:pt x="0" y="597"/>
                  </a:lnTo>
                  <a:lnTo>
                    <a:pt x="1196" y="208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7" name="Freeform: Shape 1176">
              <a:extLst>
                <a:ext uri="{FF2B5EF4-FFF2-40B4-BE49-F238E27FC236}">
                  <a16:creationId xmlns:a16="http://schemas.microsoft.com/office/drawing/2014/main" id="{F65996BF-3D98-4667-B254-0633E9C7B17F}"/>
                </a:ext>
              </a:extLst>
            </p:cNvPr>
            <p:cNvSpPr/>
            <p:nvPr/>
          </p:nvSpPr>
          <p:spPr>
            <a:xfrm>
              <a:off x="3527132" y="4157117"/>
              <a:ext cx="7672" cy="11142"/>
            </a:xfrm>
            <a:custGeom>
              <a:avLst/>
              <a:gdLst>
                <a:gd name="connsiteX0" fmla="*/ 4684 w 7672"/>
                <a:gd name="connsiteY0" fmla="*/ 5870 h 11142"/>
                <a:gd name="connsiteX1" fmla="*/ 6278 w 7672"/>
                <a:gd name="connsiteY1" fmla="*/ 5372 h 11142"/>
                <a:gd name="connsiteX2" fmla="*/ 7175 w 7672"/>
                <a:gd name="connsiteY2" fmla="*/ 4974 h 11142"/>
                <a:gd name="connsiteX3" fmla="*/ 7374 w 7672"/>
                <a:gd name="connsiteY3" fmla="*/ 5571 h 11142"/>
                <a:gd name="connsiteX4" fmla="*/ 7673 w 7672"/>
                <a:gd name="connsiteY4" fmla="*/ 4377 h 11142"/>
                <a:gd name="connsiteX5" fmla="*/ 7374 w 7672"/>
                <a:gd name="connsiteY5" fmla="*/ 1492 h 11142"/>
                <a:gd name="connsiteX6" fmla="*/ 6875 w 7672"/>
                <a:gd name="connsiteY6" fmla="*/ 0 h 11142"/>
                <a:gd name="connsiteX7" fmla="*/ 5480 w 7672"/>
                <a:gd name="connsiteY7" fmla="*/ 398 h 11142"/>
                <a:gd name="connsiteX8" fmla="*/ 2989 w 7672"/>
                <a:gd name="connsiteY8" fmla="*/ 2388 h 11142"/>
                <a:gd name="connsiteX9" fmla="*/ 1295 w 7672"/>
                <a:gd name="connsiteY9" fmla="*/ 5372 h 11142"/>
                <a:gd name="connsiteX10" fmla="*/ 398 w 7672"/>
                <a:gd name="connsiteY10" fmla="*/ 7959 h 11142"/>
                <a:gd name="connsiteX11" fmla="*/ 0 w 7672"/>
                <a:gd name="connsiteY11" fmla="*/ 10048 h 11142"/>
                <a:gd name="connsiteX12" fmla="*/ 398 w 7672"/>
                <a:gd name="connsiteY12" fmla="*/ 10645 h 11142"/>
                <a:gd name="connsiteX13" fmla="*/ 1893 w 7672"/>
                <a:gd name="connsiteY13" fmla="*/ 10645 h 11142"/>
                <a:gd name="connsiteX14" fmla="*/ 5381 w 7672"/>
                <a:gd name="connsiteY14" fmla="*/ 11143 h 11142"/>
                <a:gd name="connsiteX15" fmla="*/ 5879 w 7672"/>
                <a:gd name="connsiteY15" fmla="*/ 10446 h 11142"/>
                <a:gd name="connsiteX16" fmla="*/ 4584 w 7672"/>
                <a:gd name="connsiteY16" fmla="*/ 9352 h 11142"/>
                <a:gd name="connsiteX17" fmla="*/ 2591 w 7672"/>
                <a:gd name="connsiteY17" fmla="*/ 8556 h 11142"/>
                <a:gd name="connsiteX18" fmla="*/ 1295 w 7672"/>
                <a:gd name="connsiteY18" fmla="*/ 7462 h 11142"/>
                <a:gd name="connsiteX19" fmla="*/ 1595 w 7672"/>
                <a:gd name="connsiteY19" fmla="*/ 5671 h 11142"/>
                <a:gd name="connsiteX20" fmla="*/ 2292 w 7672"/>
                <a:gd name="connsiteY20" fmla="*/ 4576 h 11142"/>
                <a:gd name="connsiteX21" fmla="*/ 3189 w 7672"/>
                <a:gd name="connsiteY21" fmla="*/ 3383 h 11142"/>
                <a:gd name="connsiteX22" fmla="*/ 4882 w 7672"/>
                <a:gd name="connsiteY22" fmla="*/ 1791 h 11142"/>
                <a:gd name="connsiteX23" fmla="*/ 5381 w 7672"/>
                <a:gd name="connsiteY23" fmla="*/ 2487 h 11142"/>
                <a:gd name="connsiteX24" fmla="*/ 4484 w 7672"/>
                <a:gd name="connsiteY24" fmla="*/ 4576 h 11142"/>
                <a:gd name="connsiteX25" fmla="*/ 4684 w 7672"/>
                <a:gd name="connsiteY25" fmla="*/ 5870 h 1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7672" h="11142">
                  <a:moveTo>
                    <a:pt x="4684" y="5870"/>
                  </a:moveTo>
                  <a:lnTo>
                    <a:pt x="6278" y="5372"/>
                  </a:lnTo>
                  <a:lnTo>
                    <a:pt x="7175" y="4974"/>
                  </a:lnTo>
                  <a:lnTo>
                    <a:pt x="7374" y="5571"/>
                  </a:lnTo>
                  <a:lnTo>
                    <a:pt x="7673" y="4377"/>
                  </a:lnTo>
                  <a:lnTo>
                    <a:pt x="7374" y="1492"/>
                  </a:lnTo>
                  <a:lnTo>
                    <a:pt x="6875" y="0"/>
                  </a:lnTo>
                  <a:lnTo>
                    <a:pt x="5480" y="398"/>
                  </a:lnTo>
                  <a:lnTo>
                    <a:pt x="2989" y="2388"/>
                  </a:lnTo>
                  <a:lnTo>
                    <a:pt x="1295" y="5372"/>
                  </a:lnTo>
                  <a:lnTo>
                    <a:pt x="398" y="7959"/>
                  </a:lnTo>
                  <a:lnTo>
                    <a:pt x="0" y="10048"/>
                  </a:lnTo>
                  <a:lnTo>
                    <a:pt x="398" y="10645"/>
                  </a:lnTo>
                  <a:lnTo>
                    <a:pt x="1893" y="10645"/>
                  </a:lnTo>
                  <a:lnTo>
                    <a:pt x="5381" y="11143"/>
                  </a:lnTo>
                  <a:lnTo>
                    <a:pt x="5879" y="10446"/>
                  </a:lnTo>
                  <a:lnTo>
                    <a:pt x="4584" y="9352"/>
                  </a:lnTo>
                  <a:lnTo>
                    <a:pt x="2591" y="8556"/>
                  </a:lnTo>
                  <a:lnTo>
                    <a:pt x="1295" y="7462"/>
                  </a:lnTo>
                  <a:lnTo>
                    <a:pt x="1595" y="5671"/>
                  </a:lnTo>
                  <a:lnTo>
                    <a:pt x="2292" y="4576"/>
                  </a:lnTo>
                  <a:lnTo>
                    <a:pt x="3189" y="3383"/>
                  </a:lnTo>
                  <a:lnTo>
                    <a:pt x="4882" y="1791"/>
                  </a:lnTo>
                  <a:lnTo>
                    <a:pt x="5381" y="2487"/>
                  </a:lnTo>
                  <a:lnTo>
                    <a:pt x="4484" y="4576"/>
                  </a:lnTo>
                  <a:lnTo>
                    <a:pt x="4684" y="587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8" name="Freeform: Shape 1177">
              <a:extLst>
                <a:ext uri="{FF2B5EF4-FFF2-40B4-BE49-F238E27FC236}">
                  <a16:creationId xmlns:a16="http://schemas.microsoft.com/office/drawing/2014/main" id="{7E093AFB-3F1E-4FDA-8E1D-DF3EAD63AEF3}"/>
                </a:ext>
              </a:extLst>
            </p:cNvPr>
            <p:cNvSpPr/>
            <p:nvPr/>
          </p:nvSpPr>
          <p:spPr>
            <a:xfrm>
              <a:off x="1046892" y="4391709"/>
              <a:ext cx="25309" cy="32432"/>
            </a:xfrm>
            <a:custGeom>
              <a:avLst/>
              <a:gdLst>
                <a:gd name="connsiteX0" fmla="*/ 23715 w 25309"/>
                <a:gd name="connsiteY0" fmla="*/ 9352 h 32432"/>
                <a:gd name="connsiteX1" fmla="*/ 23018 w 25309"/>
                <a:gd name="connsiteY1" fmla="*/ 4776 h 32432"/>
                <a:gd name="connsiteX2" fmla="*/ 22221 w 25309"/>
                <a:gd name="connsiteY2" fmla="*/ 2786 h 32432"/>
                <a:gd name="connsiteX3" fmla="*/ 20826 w 25309"/>
                <a:gd name="connsiteY3" fmla="*/ 1194 h 32432"/>
                <a:gd name="connsiteX4" fmla="*/ 18036 w 25309"/>
                <a:gd name="connsiteY4" fmla="*/ 497 h 32432"/>
                <a:gd name="connsiteX5" fmla="*/ 12356 w 25309"/>
                <a:gd name="connsiteY5" fmla="*/ 1194 h 32432"/>
                <a:gd name="connsiteX6" fmla="*/ 9665 w 25309"/>
                <a:gd name="connsiteY6" fmla="*/ 0 h 32432"/>
                <a:gd name="connsiteX7" fmla="*/ 10263 w 25309"/>
                <a:gd name="connsiteY7" fmla="*/ 2587 h 32432"/>
                <a:gd name="connsiteX8" fmla="*/ 11459 w 25309"/>
                <a:gd name="connsiteY8" fmla="*/ 4278 h 32432"/>
                <a:gd name="connsiteX9" fmla="*/ 12954 w 25309"/>
                <a:gd name="connsiteY9" fmla="*/ 5770 h 32432"/>
                <a:gd name="connsiteX10" fmla="*/ 14150 w 25309"/>
                <a:gd name="connsiteY10" fmla="*/ 7760 h 32432"/>
                <a:gd name="connsiteX11" fmla="*/ 14947 w 25309"/>
                <a:gd name="connsiteY11" fmla="*/ 9650 h 32432"/>
                <a:gd name="connsiteX12" fmla="*/ 14947 w 25309"/>
                <a:gd name="connsiteY12" fmla="*/ 10546 h 32432"/>
                <a:gd name="connsiteX13" fmla="*/ 2093 w 25309"/>
                <a:gd name="connsiteY13" fmla="*/ 18803 h 32432"/>
                <a:gd name="connsiteX14" fmla="*/ 0 w 25309"/>
                <a:gd name="connsiteY14" fmla="*/ 21290 h 32432"/>
                <a:gd name="connsiteX15" fmla="*/ 3089 w 25309"/>
                <a:gd name="connsiteY15" fmla="*/ 20892 h 32432"/>
                <a:gd name="connsiteX16" fmla="*/ 4584 w 25309"/>
                <a:gd name="connsiteY16" fmla="*/ 20992 h 32432"/>
                <a:gd name="connsiteX17" fmla="*/ 8968 w 25309"/>
                <a:gd name="connsiteY17" fmla="*/ 22484 h 32432"/>
                <a:gd name="connsiteX18" fmla="*/ 9765 w 25309"/>
                <a:gd name="connsiteY18" fmla="*/ 22982 h 32432"/>
                <a:gd name="connsiteX19" fmla="*/ 10562 w 25309"/>
                <a:gd name="connsiteY19" fmla="*/ 23977 h 32432"/>
                <a:gd name="connsiteX20" fmla="*/ 11459 w 25309"/>
                <a:gd name="connsiteY20" fmla="*/ 25469 h 32432"/>
                <a:gd name="connsiteX21" fmla="*/ 12057 w 25309"/>
                <a:gd name="connsiteY21" fmla="*/ 26961 h 32432"/>
                <a:gd name="connsiteX22" fmla="*/ 12854 w 25309"/>
                <a:gd name="connsiteY22" fmla="*/ 28454 h 32432"/>
                <a:gd name="connsiteX23" fmla="*/ 14249 w 25309"/>
                <a:gd name="connsiteY23" fmla="*/ 29747 h 32432"/>
                <a:gd name="connsiteX24" fmla="*/ 15744 w 25309"/>
                <a:gd name="connsiteY24" fmla="*/ 30244 h 32432"/>
                <a:gd name="connsiteX25" fmla="*/ 17239 w 25309"/>
                <a:gd name="connsiteY25" fmla="*/ 30145 h 32432"/>
                <a:gd name="connsiteX26" fmla="*/ 18534 w 25309"/>
                <a:gd name="connsiteY26" fmla="*/ 30642 h 32432"/>
                <a:gd name="connsiteX27" fmla="*/ 19829 w 25309"/>
                <a:gd name="connsiteY27" fmla="*/ 32433 h 32432"/>
                <a:gd name="connsiteX28" fmla="*/ 20427 w 25309"/>
                <a:gd name="connsiteY28" fmla="*/ 31040 h 32432"/>
                <a:gd name="connsiteX29" fmla="*/ 21324 w 25309"/>
                <a:gd name="connsiteY29" fmla="*/ 27558 h 32432"/>
                <a:gd name="connsiteX30" fmla="*/ 22918 w 25309"/>
                <a:gd name="connsiteY30" fmla="*/ 24872 h 32432"/>
                <a:gd name="connsiteX31" fmla="*/ 22918 w 25309"/>
                <a:gd name="connsiteY31" fmla="*/ 23578 h 32432"/>
                <a:gd name="connsiteX32" fmla="*/ 22719 w 25309"/>
                <a:gd name="connsiteY32" fmla="*/ 22186 h 32432"/>
                <a:gd name="connsiteX33" fmla="*/ 22819 w 25309"/>
                <a:gd name="connsiteY33" fmla="*/ 20395 h 32432"/>
                <a:gd name="connsiteX34" fmla="*/ 23516 w 25309"/>
                <a:gd name="connsiteY34" fmla="*/ 18803 h 32432"/>
                <a:gd name="connsiteX35" fmla="*/ 24911 w 25309"/>
                <a:gd name="connsiteY35" fmla="*/ 16515 h 32432"/>
                <a:gd name="connsiteX36" fmla="*/ 25310 w 25309"/>
                <a:gd name="connsiteY36" fmla="*/ 14923 h 32432"/>
                <a:gd name="connsiteX37" fmla="*/ 25111 w 25309"/>
                <a:gd name="connsiteY37" fmla="*/ 13928 h 32432"/>
                <a:gd name="connsiteX38" fmla="*/ 23715 w 25309"/>
                <a:gd name="connsiteY38" fmla="*/ 9352 h 32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5309" h="32432">
                  <a:moveTo>
                    <a:pt x="23715" y="9352"/>
                  </a:moveTo>
                  <a:lnTo>
                    <a:pt x="23018" y="4776"/>
                  </a:lnTo>
                  <a:lnTo>
                    <a:pt x="22221" y="2786"/>
                  </a:lnTo>
                  <a:lnTo>
                    <a:pt x="20826" y="1194"/>
                  </a:lnTo>
                  <a:lnTo>
                    <a:pt x="18036" y="497"/>
                  </a:lnTo>
                  <a:lnTo>
                    <a:pt x="12356" y="1194"/>
                  </a:lnTo>
                  <a:lnTo>
                    <a:pt x="9665" y="0"/>
                  </a:lnTo>
                  <a:lnTo>
                    <a:pt x="10263" y="2587"/>
                  </a:lnTo>
                  <a:lnTo>
                    <a:pt x="11459" y="4278"/>
                  </a:lnTo>
                  <a:lnTo>
                    <a:pt x="12954" y="5770"/>
                  </a:lnTo>
                  <a:lnTo>
                    <a:pt x="14150" y="7760"/>
                  </a:lnTo>
                  <a:lnTo>
                    <a:pt x="14947" y="9650"/>
                  </a:lnTo>
                  <a:lnTo>
                    <a:pt x="14947" y="10546"/>
                  </a:lnTo>
                  <a:lnTo>
                    <a:pt x="2093" y="18803"/>
                  </a:lnTo>
                  <a:lnTo>
                    <a:pt x="0" y="21290"/>
                  </a:lnTo>
                  <a:lnTo>
                    <a:pt x="3089" y="20892"/>
                  </a:lnTo>
                  <a:lnTo>
                    <a:pt x="4584" y="20992"/>
                  </a:lnTo>
                  <a:lnTo>
                    <a:pt x="8968" y="22484"/>
                  </a:lnTo>
                  <a:lnTo>
                    <a:pt x="9765" y="22982"/>
                  </a:lnTo>
                  <a:lnTo>
                    <a:pt x="10562" y="23977"/>
                  </a:lnTo>
                  <a:lnTo>
                    <a:pt x="11459" y="25469"/>
                  </a:lnTo>
                  <a:lnTo>
                    <a:pt x="12057" y="26961"/>
                  </a:lnTo>
                  <a:lnTo>
                    <a:pt x="12854" y="28454"/>
                  </a:lnTo>
                  <a:lnTo>
                    <a:pt x="14249" y="29747"/>
                  </a:lnTo>
                  <a:lnTo>
                    <a:pt x="15744" y="30244"/>
                  </a:lnTo>
                  <a:lnTo>
                    <a:pt x="17239" y="30145"/>
                  </a:lnTo>
                  <a:lnTo>
                    <a:pt x="18534" y="30642"/>
                  </a:lnTo>
                  <a:lnTo>
                    <a:pt x="19829" y="32433"/>
                  </a:lnTo>
                  <a:lnTo>
                    <a:pt x="20427" y="31040"/>
                  </a:lnTo>
                  <a:lnTo>
                    <a:pt x="21324" y="27558"/>
                  </a:lnTo>
                  <a:lnTo>
                    <a:pt x="22918" y="24872"/>
                  </a:lnTo>
                  <a:lnTo>
                    <a:pt x="22918" y="23578"/>
                  </a:lnTo>
                  <a:lnTo>
                    <a:pt x="22719" y="22186"/>
                  </a:lnTo>
                  <a:lnTo>
                    <a:pt x="22819" y="20395"/>
                  </a:lnTo>
                  <a:lnTo>
                    <a:pt x="23516" y="18803"/>
                  </a:lnTo>
                  <a:lnTo>
                    <a:pt x="24911" y="16515"/>
                  </a:lnTo>
                  <a:lnTo>
                    <a:pt x="25310" y="14923"/>
                  </a:lnTo>
                  <a:lnTo>
                    <a:pt x="25111" y="13928"/>
                  </a:lnTo>
                  <a:lnTo>
                    <a:pt x="23715" y="935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79" name="Freeform: Shape 1178">
              <a:extLst>
                <a:ext uri="{FF2B5EF4-FFF2-40B4-BE49-F238E27FC236}">
                  <a16:creationId xmlns:a16="http://schemas.microsoft.com/office/drawing/2014/main" id="{E9ACB429-6F7D-4669-BF39-84C0B4E38B4D}"/>
                </a:ext>
              </a:extLst>
            </p:cNvPr>
            <p:cNvSpPr/>
            <p:nvPr/>
          </p:nvSpPr>
          <p:spPr>
            <a:xfrm>
              <a:off x="3329738" y="4507611"/>
              <a:ext cx="19031" cy="5670"/>
            </a:xfrm>
            <a:custGeom>
              <a:avLst/>
              <a:gdLst>
                <a:gd name="connsiteX0" fmla="*/ 2889 w 19031"/>
                <a:gd name="connsiteY0" fmla="*/ 2686 h 5670"/>
                <a:gd name="connsiteX1" fmla="*/ 6477 w 19031"/>
                <a:gd name="connsiteY1" fmla="*/ 3979 h 5670"/>
                <a:gd name="connsiteX2" fmla="*/ 7872 w 19031"/>
                <a:gd name="connsiteY2" fmla="*/ 4179 h 5670"/>
                <a:gd name="connsiteX3" fmla="*/ 10264 w 19031"/>
                <a:gd name="connsiteY3" fmla="*/ 3880 h 5670"/>
                <a:gd name="connsiteX4" fmla="*/ 11060 w 19031"/>
                <a:gd name="connsiteY4" fmla="*/ 3979 h 5670"/>
                <a:gd name="connsiteX5" fmla="*/ 12655 w 19031"/>
                <a:gd name="connsiteY5" fmla="*/ 4477 h 5670"/>
                <a:gd name="connsiteX6" fmla="*/ 15345 w 19031"/>
                <a:gd name="connsiteY6" fmla="*/ 5671 h 5670"/>
                <a:gd name="connsiteX7" fmla="*/ 15744 w 19031"/>
                <a:gd name="connsiteY7" fmla="*/ 5372 h 5670"/>
                <a:gd name="connsiteX8" fmla="*/ 16342 w 19031"/>
                <a:gd name="connsiteY8" fmla="*/ 4477 h 5670"/>
                <a:gd name="connsiteX9" fmla="*/ 17238 w 19031"/>
                <a:gd name="connsiteY9" fmla="*/ 4577 h 5670"/>
                <a:gd name="connsiteX10" fmla="*/ 18235 w 19031"/>
                <a:gd name="connsiteY10" fmla="*/ 5074 h 5670"/>
                <a:gd name="connsiteX11" fmla="*/ 18933 w 19031"/>
                <a:gd name="connsiteY11" fmla="*/ 4776 h 5670"/>
                <a:gd name="connsiteX12" fmla="*/ 19032 w 19031"/>
                <a:gd name="connsiteY12" fmla="*/ 3979 h 5670"/>
                <a:gd name="connsiteX13" fmla="*/ 18833 w 19031"/>
                <a:gd name="connsiteY13" fmla="*/ 3582 h 5670"/>
                <a:gd name="connsiteX14" fmla="*/ 10961 w 19031"/>
                <a:gd name="connsiteY14" fmla="*/ 2587 h 5670"/>
                <a:gd name="connsiteX15" fmla="*/ 6477 w 19031"/>
                <a:gd name="connsiteY15" fmla="*/ 1691 h 5670"/>
                <a:gd name="connsiteX16" fmla="*/ 2989 w 19031"/>
                <a:gd name="connsiteY16" fmla="*/ 298 h 5670"/>
                <a:gd name="connsiteX17" fmla="*/ 498 w 19031"/>
                <a:gd name="connsiteY17" fmla="*/ 0 h 5670"/>
                <a:gd name="connsiteX18" fmla="*/ 0 w 19031"/>
                <a:gd name="connsiteY18" fmla="*/ 796 h 5670"/>
                <a:gd name="connsiteX19" fmla="*/ 698 w 19031"/>
                <a:gd name="connsiteY19" fmla="*/ 1095 h 5670"/>
                <a:gd name="connsiteX20" fmla="*/ 1694 w 19031"/>
                <a:gd name="connsiteY20" fmla="*/ 2388 h 5670"/>
                <a:gd name="connsiteX21" fmla="*/ 2889 w 19031"/>
                <a:gd name="connsiteY21" fmla="*/ 2686 h 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031" h="5670">
                  <a:moveTo>
                    <a:pt x="2889" y="2686"/>
                  </a:moveTo>
                  <a:lnTo>
                    <a:pt x="6477" y="3979"/>
                  </a:lnTo>
                  <a:lnTo>
                    <a:pt x="7872" y="4179"/>
                  </a:lnTo>
                  <a:lnTo>
                    <a:pt x="10264" y="3880"/>
                  </a:lnTo>
                  <a:lnTo>
                    <a:pt x="11060" y="3979"/>
                  </a:lnTo>
                  <a:lnTo>
                    <a:pt x="12655" y="4477"/>
                  </a:lnTo>
                  <a:lnTo>
                    <a:pt x="15345" y="5671"/>
                  </a:lnTo>
                  <a:lnTo>
                    <a:pt x="15744" y="5372"/>
                  </a:lnTo>
                  <a:lnTo>
                    <a:pt x="16342" y="4477"/>
                  </a:lnTo>
                  <a:lnTo>
                    <a:pt x="17238" y="4577"/>
                  </a:lnTo>
                  <a:lnTo>
                    <a:pt x="18235" y="5074"/>
                  </a:lnTo>
                  <a:lnTo>
                    <a:pt x="18933" y="4776"/>
                  </a:lnTo>
                  <a:lnTo>
                    <a:pt x="19032" y="3979"/>
                  </a:lnTo>
                  <a:lnTo>
                    <a:pt x="18833" y="3582"/>
                  </a:lnTo>
                  <a:lnTo>
                    <a:pt x="10961" y="2587"/>
                  </a:lnTo>
                  <a:lnTo>
                    <a:pt x="6477" y="1691"/>
                  </a:lnTo>
                  <a:lnTo>
                    <a:pt x="2989" y="298"/>
                  </a:lnTo>
                  <a:lnTo>
                    <a:pt x="498" y="0"/>
                  </a:lnTo>
                  <a:lnTo>
                    <a:pt x="0" y="796"/>
                  </a:lnTo>
                  <a:lnTo>
                    <a:pt x="698" y="1095"/>
                  </a:lnTo>
                  <a:lnTo>
                    <a:pt x="1694" y="2388"/>
                  </a:lnTo>
                  <a:lnTo>
                    <a:pt x="2889" y="268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0" name="Freeform: Shape 1179">
              <a:extLst>
                <a:ext uri="{FF2B5EF4-FFF2-40B4-BE49-F238E27FC236}">
                  <a16:creationId xmlns:a16="http://schemas.microsoft.com/office/drawing/2014/main" id="{807E9943-4EB0-446E-9864-90DB1A1E1337}"/>
                </a:ext>
              </a:extLst>
            </p:cNvPr>
            <p:cNvSpPr/>
            <p:nvPr/>
          </p:nvSpPr>
          <p:spPr>
            <a:xfrm>
              <a:off x="3315787" y="4513183"/>
              <a:ext cx="21125" cy="10147"/>
            </a:xfrm>
            <a:custGeom>
              <a:avLst/>
              <a:gdLst>
                <a:gd name="connsiteX0" fmla="*/ 0 w 21125"/>
                <a:gd name="connsiteY0" fmla="*/ 10148 h 10147"/>
                <a:gd name="connsiteX1" fmla="*/ 6278 w 21125"/>
                <a:gd name="connsiteY1" fmla="*/ 7064 h 10147"/>
                <a:gd name="connsiteX2" fmla="*/ 9367 w 21125"/>
                <a:gd name="connsiteY2" fmla="*/ 5969 h 10147"/>
                <a:gd name="connsiteX3" fmla="*/ 13452 w 21125"/>
                <a:gd name="connsiteY3" fmla="*/ 5571 h 10147"/>
                <a:gd name="connsiteX4" fmla="*/ 15046 w 21125"/>
                <a:gd name="connsiteY4" fmla="*/ 5969 h 10147"/>
                <a:gd name="connsiteX5" fmla="*/ 16342 w 21125"/>
                <a:gd name="connsiteY5" fmla="*/ 6666 h 10147"/>
                <a:gd name="connsiteX6" fmla="*/ 17837 w 21125"/>
                <a:gd name="connsiteY6" fmla="*/ 6765 h 10147"/>
                <a:gd name="connsiteX7" fmla="*/ 19929 w 21125"/>
                <a:gd name="connsiteY7" fmla="*/ 5571 h 10147"/>
                <a:gd name="connsiteX8" fmla="*/ 21125 w 21125"/>
                <a:gd name="connsiteY8" fmla="*/ 4377 h 10147"/>
                <a:gd name="connsiteX9" fmla="*/ 21125 w 21125"/>
                <a:gd name="connsiteY9" fmla="*/ 3781 h 10147"/>
                <a:gd name="connsiteX10" fmla="*/ 20328 w 21125"/>
                <a:gd name="connsiteY10" fmla="*/ 2885 h 10147"/>
                <a:gd name="connsiteX11" fmla="*/ 19132 w 21125"/>
                <a:gd name="connsiteY11" fmla="*/ 895 h 10147"/>
                <a:gd name="connsiteX12" fmla="*/ 18135 w 21125"/>
                <a:gd name="connsiteY12" fmla="*/ 895 h 10147"/>
                <a:gd name="connsiteX13" fmla="*/ 18135 w 21125"/>
                <a:gd name="connsiteY13" fmla="*/ 2686 h 10147"/>
                <a:gd name="connsiteX14" fmla="*/ 16143 w 21125"/>
                <a:gd name="connsiteY14" fmla="*/ 895 h 10147"/>
                <a:gd name="connsiteX15" fmla="*/ 15644 w 21125"/>
                <a:gd name="connsiteY15" fmla="*/ 0 h 10147"/>
                <a:gd name="connsiteX16" fmla="*/ 14748 w 21125"/>
                <a:gd name="connsiteY16" fmla="*/ 895 h 10147"/>
                <a:gd name="connsiteX17" fmla="*/ 15346 w 21125"/>
                <a:gd name="connsiteY17" fmla="*/ 1592 h 10147"/>
                <a:gd name="connsiteX18" fmla="*/ 16043 w 21125"/>
                <a:gd name="connsiteY18" fmla="*/ 2985 h 10147"/>
                <a:gd name="connsiteX19" fmla="*/ 16442 w 21125"/>
                <a:gd name="connsiteY19" fmla="*/ 3781 h 10147"/>
                <a:gd name="connsiteX20" fmla="*/ 13751 w 21125"/>
                <a:gd name="connsiteY20" fmla="*/ 3184 h 10147"/>
                <a:gd name="connsiteX21" fmla="*/ 11360 w 21125"/>
                <a:gd name="connsiteY21" fmla="*/ 3084 h 10147"/>
                <a:gd name="connsiteX22" fmla="*/ 9068 w 21125"/>
                <a:gd name="connsiteY22" fmla="*/ 3582 h 10147"/>
                <a:gd name="connsiteX23" fmla="*/ 1395 w 21125"/>
                <a:gd name="connsiteY23" fmla="*/ 8655 h 10147"/>
                <a:gd name="connsiteX24" fmla="*/ 0 w 21125"/>
                <a:gd name="connsiteY24" fmla="*/ 10148 h 1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125" h="10147">
                  <a:moveTo>
                    <a:pt x="0" y="10148"/>
                  </a:moveTo>
                  <a:lnTo>
                    <a:pt x="6278" y="7064"/>
                  </a:lnTo>
                  <a:lnTo>
                    <a:pt x="9367" y="5969"/>
                  </a:lnTo>
                  <a:lnTo>
                    <a:pt x="13452" y="5571"/>
                  </a:lnTo>
                  <a:lnTo>
                    <a:pt x="15046" y="5969"/>
                  </a:lnTo>
                  <a:lnTo>
                    <a:pt x="16342" y="6666"/>
                  </a:lnTo>
                  <a:lnTo>
                    <a:pt x="17837" y="6765"/>
                  </a:lnTo>
                  <a:lnTo>
                    <a:pt x="19929" y="5571"/>
                  </a:lnTo>
                  <a:lnTo>
                    <a:pt x="21125" y="4377"/>
                  </a:lnTo>
                  <a:lnTo>
                    <a:pt x="21125" y="3781"/>
                  </a:lnTo>
                  <a:lnTo>
                    <a:pt x="20328" y="2885"/>
                  </a:lnTo>
                  <a:lnTo>
                    <a:pt x="19132" y="895"/>
                  </a:lnTo>
                  <a:lnTo>
                    <a:pt x="18135" y="895"/>
                  </a:lnTo>
                  <a:lnTo>
                    <a:pt x="18135" y="2686"/>
                  </a:lnTo>
                  <a:lnTo>
                    <a:pt x="16143" y="895"/>
                  </a:lnTo>
                  <a:lnTo>
                    <a:pt x="15644" y="0"/>
                  </a:lnTo>
                  <a:lnTo>
                    <a:pt x="14748" y="895"/>
                  </a:lnTo>
                  <a:lnTo>
                    <a:pt x="15346" y="1592"/>
                  </a:lnTo>
                  <a:lnTo>
                    <a:pt x="16043" y="2985"/>
                  </a:lnTo>
                  <a:lnTo>
                    <a:pt x="16442" y="3781"/>
                  </a:lnTo>
                  <a:lnTo>
                    <a:pt x="13751" y="3184"/>
                  </a:lnTo>
                  <a:lnTo>
                    <a:pt x="11360" y="3084"/>
                  </a:lnTo>
                  <a:lnTo>
                    <a:pt x="9068" y="3582"/>
                  </a:lnTo>
                  <a:lnTo>
                    <a:pt x="1395" y="8655"/>
                  </a:lnTo>
                  <a:lnTo>
                    <a:pt x="0" y="1014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1" name="Freeform: Shape 1180">
              <a:extLst>
                <a:ext uri="{FF2B5EF4-FFF2-40B4-BE49-F238E27FC236}">
                  <a16:creationId xmlns:a16="http://schemas.microsoft.com/office/drawing/2014/main" id="{7E0E6E93-514C-4F6E-87D6-E3405C70380C}"/>
                </a:ext>
              </a:extLst>
            </p:cNvPr>
            <p:cNvSpPr/>
            <p:nvPr/>
          </p:nvSpPr>
          <p:spPr>
            <a:xfrm>
              <a:off x="3319475" y="4502239"/>
              <a:ext cx="9067" cy="4576"/>
            </a:xfrm>
            <a:custGeom>
              <a:avLst/>
              <a:gdLst>
                <a:gd name="connsiteX0" fmla="*/ 2292 w 9067"/>
                <a:gd name="connsiteY0" fmla="*/ 3084 h 4576"/>
                <a:gd name="connsiteX1" fmla="*/ 3687 w 9067"/>
                <a:gd name="connsiteY1" fmla="*/ 3681 h 4576"/>
                <a:gd name="connsiteX2" fmla="*/ 5181 w 9067"/>
                <a:gd name="connsiteY2" fmla="*/ 3880 h 4576"/>
                <a:gd name="connsiteX3" fmla="*/ 6676 w 9067"/>
                <a:gd name="connsiteY3" fmla="*/ 4278 h 4576"/>
                <a:gd name="connsiteX4" fmla="*/ 8071 w 9067"/>
                <a:gd name="connsiteY4" fmla="*/ 4576 h 4576"/>
                <a:gd name="connsiteX5" fmla="*/ 9067 w 9067"/>
                <a:gd name="connsiteY5" fmla="*/ 3383 h 4576"/>
                <a:gd name="connsiteX6" fmla="*/ 8669 w 9067"/>
                <a:gd name="connsiteY6" fmla="*/ 2288 h 4576"/>
                <a:gd name="connsiteX7" fmla="*/ 8071 w 9067"/>
                <a:gd name="connsiteY7" fmla="*/ 2089 h 4576"/>
                <a:gd name="connsiteX8" fmla="*/ 7174 w 9067"/>
                <a:gd name="connsiteY8" fmla="*/ 2089 h 4576"/>
                <a:gd name="connsiteX9" fmla="*/ 3687 w 9067"/>
                <a:gd name="connsiteY9" fmla="*/ 0 h 4576"/>
                <a:gd name="connsiteX10" fmla="*/ 797 w 9067"/>
                <a:gd name="connsiteY10" fmla="*/ 298 h 4576"/>
                <a:gd name="connsiteX11" fmla="*/ 0 w 9067"/>
                <a:gd name="connsiteY11" fmla="*/ 1094 h 4576"/>
                <a:gd name="connsiteX12" fmla="*/ 1096 w 9067"/>
                <a:gd name="connsiteY12" fmla="*/ 1492 h 4576"/>
                <a:gd name="connsiteX13" fmla="*/ 1694 w 9067"/>
                <a:gd name="connsiteY13" fmla="*/ 2089 h 4576"/>
                <a:gd name="connsiteX14" fmla="*/ 2292 w 9067"/>
                <a:gd name="connsiteY14" fmla="*/ 3084 h 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7" h="4576">
                  <a:moveTo>
                    <a:pt x="2292" y="3084"/>
                  </a:moveTo>
                  <a:lnTo>
                    <a:pt x="3687" y="3681"/>
                  </a:lnTo>
                  <a:lnTo>
                    <a:pt x="5181" y="3880"/>
                  </a:lnTo>
                  <a:lnTo>
                    <a:pt x="6676" y="4278"/>
                  </a:lnTo>
                  <a:lnTo>
                    <a:pt x="8071" y="4576"/>
                  </a:lnTo>
                  <a:lnTo>
                    <a:pt x="9067" y="3383"/>
                  </a:lnTo>
                  <a:lnTo>
                    <a:pt x="8669" y="2288"/>
                  </a:lnTo>
                  <a:lnTo>
                    <a:pt x="8071" y="2089"/>
                  </a:lnTo>
                  <a:lnTo>
                    <a:pt x="7174" y="2089"/>
                  </a:lnTo>
                  <a:lnTo>
                    <a:pt x="3687" y="0"/>
                  </a:lnTo>
                  <a:lnTo>
                    <a:pt x="797" y="298"/>
                  </a:lnTo>
                  <a:lnTo>
                    <a:pt x="0" y="1094"/>
                  </a:lnTo>
                  <a:lnTo>
                    <a:pt x="1096" y="1492"/>
                  </a:lnTo>
                  <a:lnTo>
                    <a:pt x="1694" y="2089"/>
                  </a:lnTo>
                  <a:lnTo>
                    <a:pt x="2292" y="308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2" name="Freeform: Shape 1181">
              <a:extLst>
                <a:ext uri="{FF2B5EF4-FFF2-40B4-BE49-F238E27FC236}">
                  <a16:creationId xmlns:a16="http://schemas.microsoft.com/office/drawing/2014/main" id="{24CA3DCD-B38C-4912-B812-D1BD6294CF7F}"/>
                </a:ext>
              </a:extLst>
            </p:cNvPr>
            <p:cNvSpPr/>
            <p:nvPr/>
          </p:nvSpPr>
          <p:spPr>
            <a:xfrm>
              <a:off x="3349567" y="4509502"/>
              <a:ext cx="5281" cy="4775"/>
            </a:xfrm>
            <a:custGeom>
              <a:avLst/>
              <a:gdLst>
                <a:gd name="connsiteX0" fmla="*/ 797 w 5281"/>
                <a:gd name="connsiteY0" fmla="*/ 3880 h 4775"/>
                <a:gd name="connsiteX1" fmla="*/ 1694 w 5281"/>
                <a:gd name="connsiteY1" fmla="*/ 3283 h 4775"/>
                <a:gd name="connsiteX2" fmla="*/ 3189 w 5281"/>
                <a:gd name="connsiteY2" fmla="*/ 3681 h 4775"/>
                <a:gd name="connsiteX3" fmla="*/ 3787 w 5281"/>
                <a:gd name="connsiteY3" fmla="*/ 3482 h 4775"/>
                <a:gd name="connsiteX4" fmla="*/ 3986 w 5281"/>
                <a:gd name="connsiteY4" fmla="*/ 2487 h 4775"/>
                <a:gd name="connsiteX5" fmla="*/ 4384 w 5281"/>
                <a:gd name="connsiteY5" fmla="*/ 2388 h 4775"/>
                <a:gd name="connsiteX6" fmla="*/ 4882 w 5281"/>
                <a:gd name="connsiteY6" fmla="*/ 2487 h 4775"/>
                <a:gd name="connsiteX7" fmla="*/ 5281 w 5281"/>
                <a:gd name="connsiteY7" fmla="*/ 1492 h 4775"/>
                <a:gd name="connsiteX8" fmla="*/ 4982 w 5281"/>
                <a:gd name="connsiteY8" fmla="*/ 398 h 4775"/>
                <a:gd name="connsiteX9" fmla="*/ 4584 w 5281"/>
                <a:gd name="connsiteY9" fmla="*/ 0 h 4775"/>
                <a:gd name="connsiteX10" fmla="*/ 3488 w 5281"/>
                <a:gd name="connsiteY10" fmla="*/ 199 h 4775"/>
                <a:gd name="connsiteX11" fmla="*/ 1295 w 5281"/>
                <a:gd name="connsiteY11" fmla="*/ 1194 h 4775"/>
                <a:gd name="connsiteX12" fmla="*/ 0 w 5281"/>
                <a:gd name="connsiteY12" fmla="*/ 2587 h 4775"/>
                <a:gd name="connsiteX13" fmla="*/ 100 w 5281"/>
                <a:gd name="connsiteY13" fmla="*/ 4377 h 4775"/>
                <a:gd name="connsiteX14" fmla="*/ 498 w 5281"/>
                <a:gd name="connsiteY14" fmla="*/ 4776 h 4775"/>
                <a:gd name="connsiteX15" fmla="*/ 797 w 5281"/>
                <a:gd name="connsiteY15" fmla="*/ 3880 h 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81" h="4775">
                  <a:moveTo>
                    <a:pt x="797" y="3880"/>
                  </a:moveTo>
                  <a:lnTo>
                    <a:pt x="1694" y="3283"/>
                  </a:lnTo>
                  <a:lnTo>
                    <a:pt x="3189" y="3681"/>
                  </a:lnTo>
                  <a:lnTo>
                    <a:pt x="3787" y="3482"/>
                  </a:lnTo>
                  <a:lnTo>
                    <a:pt x="3986" y="2487"/>
                  </a:lnTo>
                  <a:lnTo>
                    <a:pt x="4384" y="2388"/>
                  </a:lnTo>
                  <a:lnTo>
                    <a:pt x="4882" y="2487"/>
                  </a:lnTo>
                  <a:lnTo>
                    <a:pt x="5281" y="1492"/>
                  </a:lnTo>
                  <a:lnTo>
                    <a:pt x="4982" y="398"/>
                  </a:lnTo>
                  <a:lnTo>
                    <a:pt x="4584" y="0"/>
                  </a:lnTo>
                  <a:lnTo>
                    <a:pt x="3488" y="199"/>
                  </a:lnTo>
                  <a:lnTo>
                    <a:pt x="1295" y="1194"/>
                  </a:lnTo>
                  <a:lnTo>
                    <a:pt x="0" y="2587"/>
                  </a:lnTo>
                  <a:lnTo>
                    <a:pt x="100" y="4377"/>
                  </a:lnTo>
                  <a:lnTo>
                    <a:pt x="498" y="4776"/>
                  </a:lnTo>
                  <a:lnTo>
                    <a:pt x="797" y="388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3" name="Freeform: Shape 1182">
              <a:extLst>
                <a:ext uri="{FF2B5EF4-FFF2-40B4-BE49-F238E27FC236}">
                  <a16:creationId xmlns:a16="http://schemas.microsoft.com/office/drawing/2014/main" id="{48C65B98-A707-4219-81A6-E5BF300E96F9}"/>
                </a:ext>
              </a:extLst>
            </p:cNvPr>
            <p:cNvSpPr/>
            <p:nvPr/>
          </p:nvSpPr>
          <p:spPr>
            <a:xfrm>
              <a:off x="3394805" y="4536960"/>
              <a:ext cx="14747" cy="7063"/>
            </a:xfrm>
            <a:custGeom>
              <a:avLst/>
              <a:gdLst>
                <a:gd name="connsiteX0" fmla="*/ 2391 w 14747"/>
                <a:gd name="connsiteY0" fmla="*/ 2587 h 7063"/>
                <a:gd name="connsiteX1" fmla="*/ 1594 w 14747"/>
                <a:gd name="connsiteY1" fmla="*/ 2487 h 7063"/>
                <a:gd name="connsiteX2" fmla="*/ 797 w 14747"/>
                <a:gd name="connsiteY2" fmla="*/ 2686 h 7063"/>
                <a:gd name="connsiteX3" fmla="*/ 0 w 14747"/>
                <a:gd name="connsiteY3" fmla="*/ 3383 h 7063"/>
                <a:gd name="connsiteX4" fmla="*/ 1992 w 14747"/>
                <a:gd name="connsiteY4" fmla="*/ 4875 h 7063"/>
                <a:gd name="connsiteX5" fmla="*/ 14747 w 14747"/>
                <a:gd name="connsiteY5" fmla="*/ 7064 h 7063"/>
                <a:gd name="connsiteX6" fmla="*/ 14647 w 14747"/>
                <a:gd name="connsiteY6" fmla="*/ 5770 h 7063"/>
                <a:gd name="connsiteX7" fmla="*/ 14149 w 14747"/>
                <a:gd name="connsiteY7" fmla="*/ 4676 h 7063"/>
                <a:gd name="connsiteX8" fmla="*/ 13352 w 14747"/>
                <a:gd name="connsiteY8" fmla="*/ 3880 h 7063"/>
                <a:gd name="connsiteX9" fmla="*/ 12256 w 14747"/>
                <a:gd name="connsiteY9" fmla="*/ 3383 h 7063"/>
                <a:gd name="connsiteX10" fmla="*/ 12854 w 14747"/>
                <a:gd name="connsiteY10" fmla="*/ 2985 h 7063"/>
                <a:gd name="connsiteX11" fmla="*/ 14050 w 14747"/>
                <a:gd name="connsiteY11" fmla="*/ 1890 h 7063"/>
                <a:gd name="connsiteX12" fmla="*/ 14747 w 14747"/>
                <a:gd name="connsiteY12" fmla="*/ 1492 h 7063"/>
                <a:gd name="connsiteX13" fmla="*/ 12456 w 14747"/>
                <a:gd name="connsiteY13" fmla="*/ 0 h 7063"/>
                <a:gd name="connsiteX14" fmla="*/ 9665 w 14747"/>
                <a:gd name="connsiteY14" fmla="*/ 398 h 7063"/>
                <a:gd name="connsiteX15" fmla="*/ 3487 w 14747"/>
                <a:gd name="connsiteY15" fmla="*/ 3383 h 7063"/>
                <a:gd name="connsiteX16" fmla="*/ 2391 w 14747"/>
                <a:gd name="connsiteY16" fmla="*/ 2587 h 7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747" h="7063">
                  <a:moveTo>
                    <a:pt x="2391" y="2587"/>
                  </a:moveTo>
                  <a:lnTo>
                    <a:pt x="1594" y="2487"/>
                  </a:lnTo>
                  <a:lnTo>
                    <a:pt x="797" y="2686"/>
                  </a:lnTo>
                  <a:lnTo>
                    <a:pt x="0" y="3383"/>
                  </a:lnTo>
                  <a:lnTo>
                    <a:pt x="1992" y="4875"/>
                  </a:lnTo>
                  <a:lnTo>
                    <a:pt x="14747" y="7064"/>
                  </a:lnTo>
                  <a:lnTo>
                    <a:pt x="14647" y="5770"/>
                  </a:lnTo>
                  <a:lnTo>
                    <a:pt x="14149" y="4676"/>
                  </a:lnTo>
                  <a:lnTo>
                    <a:pt x="13352" y="3880"/>
                  </a:lnTo>
                  <a:lnTo>
                    <a:pt x="12256" y="3383"/>
                  </a:lnTo>
                  <a:lnTo>
                    <a:pt x="12854" y="2985"/>
                  </a:lnTo>
                  <a:lnTo>
                    <a:pt x="14050" y="1890"/>
                  </a:lnTo>
                  <a:lnTo>
                    <a:pt x="14747" y="1492"/>
                  </a:lnTo>
                  <a:lnTo>
                    <a:pt x="12456" y="0"/>
                  </a:lnTo>
                  <a:lnTo>
                    <a:pt x="9665" y="398"/>
                  </a:lnTo>
                  <a:lnTo>
                    <a:pt x="3487" y="3383"/>
                  </a:lnTo>
                  <a:lnTo>
                    <a:pt x="2391" y="258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4" name="Freeform: Shape 1183">
              <a:extLst>
                <a:ext uri="{FF2B5EF4-FFF2-40B4-BE49-F238E27FC236}">
                  <a16:creationId xmlns:a16="http://schemas.microsoft.com/office/drawing/2014/main" id="{D3FE5B4B-9CE1-444F-AB41-971786C0DBC1}"/>
                </a:ext>
              </a:extLst>
            </p:cNvPr>
            <p:cNvSpPr/>
            <p:nvPr/>
          </p:nvSpPr>
          <p:spPr>
            <a:xfrm>
              <a:off x="3426891" y="4528902"/>
              <a:ext cx="5281" cy="5969"/>
            </a:xfrm>
            <a:custGeom>
              <a:avLst/>
              <a:gdLst>
                <a:gd name="connsiteX0" fmla="*/ 1196 w 5281"/>
                <a:gd name="connsiteY0" fmla="*/ 4377 h 5969"/>
                <a:gd name="connsiteX1" fmla="*/ 2192 w 5281"/>
                <a:gd name="connsiteY1" fmla="*/ 4477 h 5969"/>
                <a:gd name="connsiteX2" fmla="*/ 3089 w 5281"/>
                <a:gd name="connsiteY2" fmla="*/ 4278 h 5969"/>
                <a:gd name="connsiteX3" fmla="*/ 3587 w 5281"/>
                <a:gd name="connsiteY3" fmla="*/ 4278 h 5969"/>
                <a:gd name="connsiteX4" fmla="*/ 4185 w 5281"/>
                <a:gd name="connsiteY4" fmla="*/ 4875 h 5969"/>
                <a:gd name="connsiteX5" fmla="*/ 4882 w 5281"/>
                <a:gd name="connsiteY5" fmla="*/ 5969 h 5969"/>
                <a:gd name="connsiteX6" fmla="*/ 5281 w 5281"/>
                <a:gd name="connsiteY6" fmla="*/ 5571 h 5969"/>
                <a:gd name="connsiteX7" fmla="*/ 4684 w 5281"/>
                <a:gd name="connsiteY7" fmla="*/ 3781 h 5969"/>
                <a:gd name="connsiteX8" fmla="*/ 4285 w 5281"/>
                <a:gd name="connsiteY8" fmla="*/ 2786 h 5969"/>
                <a:gd name="connsiteX9" fmla="*/ 3886 w 5281"/>
                <a:gd name="connsiteY9" fmla="*/ 1691 h 5969"/>
                <a:gd name="connsiteX10" fmla="*/ 2292 w 5281"/>
                <a:gd name="connsiteY10" fmla="*/ 0 h 5969"/>
                <a:gd name="connsiteX11" fmla="*/ 897 w 5281"/>
                <a:gd name="connsiteY11" fmla="*/ 398 h 5969"/>
                <a:gd name="connsiteX12" fmla="*/ 698 w 5281"/>
                <a:gd name="connsiteY12" fmla="*/ 1990 h 5969"/>
                <a:gd name="connsiteX13" fmla="*/ 498 w 5281"/>
                <a:gd name="connsiteY13" fmla="*/ 2786 h 5969"/>
                <a:gd name="connsiteX14" fmla="*/ 100 w 5281"/>
                <a:gd name="connsiteY14" fmla="*/ 2686 h 5969"/>
                <a:gd name="connsiteX15" fmla="*/ 0 w 5281"/>
                <a:gd name="connsiteY15" fmla="*/ 2985 h 5969"/>
                <a:gd name="connsiteX16" fmla="*/ 498 w 5281"/>
                <a:gd name="connsiteY16" fmla="*/ 3681 h 5969"/>
                <a:gd name="connsiteX17" fmla="*/ 1196 w 5281"/>
                <a:gd name="connsiteY17" fmla="*/ 4377 h 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281" h="5969">
                  <a:moveTo>
                    <a:pt x="1196" y="4377"/>
                  </a:moveTo>
                  <a:lnTo>
                    <a:pt x="2192" y="4477"/>
                  </a:lnTo>
                  <a:lnTo>
                    <a:pt x="3089" y="4278"/>
                  </a:lnTo>
                  <a:lnTo>
                    <a:pt x="3587" y="4278"/>
                  </a:lnTo>
                  <a:lnTo>
                    <a:pt x="4185" y="4875"/>
                  </a:lnTo>
                  <a:lnTo>
                    <a:pt x="4882" y="5969"/>
                  </a:lnTo>
                  <a:lnTo>
                    <a:pt x="5281" y="5571"/>
                  </a:lnTo>
                  <a:lnTo>
                    <a:pt x="4684" y="3781"/>
                  </a:lnTo>
                  <a:lnTo>
                    <a:pt x="4285" y="2786"/>
                  </a:lnTo>
                  <a:lnTo>
                    <a:pt x="3886" y="1691"/>
                  </a:lnTo>
                  <a:lnTo>
                    <a:pt x="2292" y="0"/>
                  </a:lnTo>
                  <a:lnTo>
                    <a:pt x="897" y="398"/>
                  </a:lnTo>
                  <a:lnTo>
                    <a:pt x="698" y="1990"/>
                  </a:lnTo>
                  <a:lnTo>
                    <a:pt x="498" y="2786"/>
                  </a:lnTo>
                  <a:lnTo>
                    <a:pt x="100" y="2686"/>
                  </a:lnTo>
                  <a:lnTo>
                    <a:pt x="0" y="2985"/>
                  </a:lnTo>
                  <a:lnTo>
                    <a:pt x="498" y="3681"/>
                  </a:lnTo>
                  <a:lnTo>
                    <a:pt x="1196" y="437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5" name="Freeform: Shape 1184">
              <a:extLst>
                <a:ext uri="{FF2B5EF4-FFF2-40B4-BE49-F238E27FC236}">
                  <a16:creationId xmlns:a16="http://schemas.microsoft.com/office/drawing/2014/main" id="{56F8D278-B276-4CFD-A054-8156E81646AA}"/>
                </a:ext>
              </a:extLst>
            </p:cNvPr>
            <p:cNvSpPr/>
            <p:nvPr/>
          </p:nvSpPr>
          <p:spPr>
            <a:xfrm>
              <a:off x="3400186" y="4519052"/>
              <a:ext cx="8569" cy="7859"/>
            </a:xfrm>
            <a:custGeom>
              <a:avLst/>
              <a:gdLst>
                <a:gd name="connsiteX0" fmla="*/ 3089 w 8569"/>
                <a:gd name="connsiteY0" fmla="*/ 0 h 7859"/>
                <a:gd name="connsiteX1" fmla="*/ 2192 w 8569"/>
                <a:gd name="connsiteY1" fmla="*/ 100 h 7859"/>
                <a:gd name="connsiteX2" fmla="*/ 1196 w 8569"/>
                <a:gd name="connsiteY2" fmla="*/ 298 h 7859"/>
                <a:gd name="connsiteX3" fmla="*/ 0 w 8569"/>
                <a:gd name="connsiteY3" fmla="*/ 1095 h 7859"/>
                <a:gd name="connsiteX4" fmla="*/ 299 w 8569"/>
                <a:gd name="connsiteY4" fmla="*/ 2189 h 7859"/>
                <a:gd name="connsiteX5" fmla="*/ 1196 w 8569"/>
                <a:gd name="connsiteY5" fmla="*/ 2686 h 7859"/>
                <a:gd name="connsiteX6" fmla="*/ 1395 w 8569"/>
                <a:gd name="connsiteY6" fmla="*/ 2985 h 7859"/>
                <a:gd name="connsiteX7" fmla="*/ 1594 w 8569"/>
                <a:gd name="connsiteY7" fmla="*/ 3582 h 7859"/>
                <a:gd name="connsiteX8" fmla="*/ 2192 w 8569"/>
                <a:gd name="connsiteY8" fmla="*/ 3880 h 7859"/>
                <a:gd name="connsiteX9" fmla="*/ 3986 w 8569"/>
                <a:gd name="connsiteY9" fmla="*/ 4875 h 7859"/>
                <a:gd name="connsiteX10" fmla="*/ 4982 w 8569"/>
                <a:gd name="connsiteY10" fmla="*/ 5273 h 7859"/>
                <a:gd name="connsiteX11" fmla="*/ 5580 w 8569"/>
                <a:gd name="connsiteY11" fmla="*/ 6268 h 7859"/>
                <a:gd name="connsiteX12" fmla="*/ 6178 w 8569"/>
                <a:gd name="connsiteY12" fmla="*/ 7263 h 7859"/>
                <a:gd name="connsiteX13" fmla="*/ 6975 w 8569"/>
                <a:gd name="connsiteY13" fmla="*/ 7860 h 7859"/>
                <a:gd name="connsiteX14" fmla="*/ 7772 w 8569"/>
                <a:gd name="connsiteY14" fmla="*/ 7760 h 7859"/>
                <a:gd name="connsiteX15" fmla="*/ 8370 w 8569"/>
                <a:gd name="connsiteY15" fmla="*/ 7064 h 7859"/>
                <a:gd name="connsiteX16" fmla="*/ 8569 w 8569"/>
                <a:gd name="connsiteY16" fmla="*/ 6069 h 7859"/>
                <a:gd name="connsiteX17" fmla="*/ 8071 w 8569"/>
                <a:gd name="connsiteY17" fmla="*/ 5174 h 7859"/>
                <a:gd name="connsiteX18" fmla="*/ 7673 w 8569"/>
                <a:gd name="connsiteY18" fmla="*/ 4776 h 7859"/>
                <a:gd name="connsiteX19" fmla="*/ 6975 w 8569"/>
                <a:gd name="connsiteY19" fmla="*/ 3681 h 7859"/>
                <a:gd name="connsiteX20" fmla="*/ 5082 w 8569"/>
                <a:gd name="connsiteY20" fmla="*/ 1990 h 7859"/>
                <a:gd name="connsiteX21" fmla="*/ 4185 w 8569"/>
                <a:gd name="connsiteY21" fmla="*/ 1095 h 7859"/>
                <a:gd name="connsiteX22" fmla="*/ 4185 w 8569"/>
                <a:gd name="connsiteY22" fmla="*/ 298 h 7859"/>
                <a:gd name="connsiteX23" fmla="*/ 3089 w 8569"/>
                <a:gd name="connsiteY23" fmla="*/ 0 h 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569" h="7859">
                  <a:moveTo>
                    <a:pt x="3089" y="0"/>
                  </a:moveTo>
                  <a:lnTo>
                    <a:pt x="2192" y="100"/>
                  </a:lnTo>
                  <a:lnTo>
                    <a:pt x="1196" y="298"/>
                  </a:lnTo>
                  <a:lnTo>
                    <a:pt x="0" y="1095"/>
                  </a:lnTo>
                  <a:lnTo>
                    <a:pt x="299" y="2189"/>
                  </a:lnTo>
                  <a:lnTo>
                    <a:pt x="1196" y="2686"/>
                  </a:lnTo>
                  <a:lnTo>
                    <a:pt x="1395" y="2985"/>
                  </a:lnTo>
                  <a:lnTo>
                    <a:pt x="1594" y="3582"/>
                  </a:lnTo>
                  <a:lnTo>
                    <a:pt x="2192" y="3880"/>
                  </a:lnTo>
                  <a:lnTo>
                    <a:pt x="3986" y="4875"/>
                  </a:lnTo>
                  <a:lnTo>
                    <a:pt x="4982" y="5273"/>
                  </a:lnTo>
                  <a:lnTo>
                    <a:pt x="5580" y="6268"/>
                  </a:lnTo>
                  <a:lnTo>
                    <a:pt x="6178" y="7263"/>
                  </a:lnTo>
                  <a:lnTo>
                    <a:pt x="6975" y="7860"/>
                  </a:lnTo>
                  <a:lnTo>
                    <a:pt x="7772" y="7760"/>
                  </a:lnTo>
                  <a:lnTo>
                    <a:pt x="8370" y="7064"/>
                  </a:lnTo>
                  <a:lnTo>
                    <a:pt x="8569" y="6069"/>
                  </a:lnTo>
                  <a:lnTo>
                    <a:pt x="8071" y="5174"/>
                  </a:lnTo>
                  <a:lnTo>
                    <a:pt x="7673" y="4776"/>
                  </a:lnTo>
                  <a:lnTo>
                    <a:pt x="6975" y="3681"/>
                  </a:lnTo>
                  <a:lnTo>
                    <a:pt x="5082" y="1990"/>
                  </a:lnTo>
                  <a:lnTo>
                    <a:pt x="4185" y="1095"/>
                  </a:lnTo>
                  <a:lnTo>
                    <a:pt x="4185" y="298"/>
                  </a:lnTo>
                  <a:lnTo>
                    <a:pt x="3089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CF36B5B3-77E4-47C4-9B84-69CEC126002B}"/>
                </a:ext>
              </a:extLst>
            </p:cNvPr>
            <p:cNvSpPr/>
            <p:nvPr/>
          </p:nvSpPr>
          <p:spPr>
            <a:xfrm>
              <a:off x="3410350" y="4521540"/>
              <a:ext cx="11956" cy="7760"/>
            </a:xfrm>
            <a:custGeom>
              <a:avLst/>
              <a:gdLst>
                <a:gd name="connsiteX0" fmla="*/ 7971 w 11956"/>
                <a:gd name="connsiteY0" fmla="*/ 7760 h 7760"/>
                <a:gd name="connsiteX1" fmla="*/ 10463 w 11956"/>
                <a:gd name="connsiteY1" fmla="*/ 6566 h 7760"/>
                <a:gd name="connsiteX2" fmla="*/ 11558 w 11956"/>
                <a:gd name="connsiteY2" fmla="*/ 5671 h 7760"/>
                <a:gd name="connsiteX3" fmla="*/ 11957 w 11956"/>
                <a:gd name="connsiteY3" fmla="*/ 5074 h 7760"/>
                <a:gd name="connsiteX4" fmla="*/ 11260 w 11956"/>
                <a:gd name="connsiteY4" fmla="*/ 4776 h 7760"/>
                <a:gd name="connsiteX5" fmla="*/ 9267 w 11956"/>
                <a:gd name="connsiteY5" fmla="*/ 4776 h 7760"/>
                <a:gd name="connsiteX6" fmla="*/ 7473 w 11956"/>
                <a:gd name="connsiteY6" fmla="*/ 4377 h 7760"/>
                <a:gd name="connsiteX7" fmla="*/ 5779 w 11956"/>
                <a:gd name="connsiteY7" fmla="*/ 3283 h 7760"/>
                <a:gd name="connsiteX8" fmla="*/ 4384 w 11956"/>
                <a:gd name="connsiteY8" fmla="*/ 1691 h 7760"/>
                <a:gd name="connsiteX9" fmla="*/ 3587 w 11956"/>
                <a:gd name="connsiteY9" fmla="*/ 0 h 7760"/>
                <a:gd name="connsiteX10" fmla="*/ 2690 w 11956"/>
                <a:gd name="connsiteY10" fmla="*/ 0 h 7760"/>
                <a:gd name="connsiteX11" fmla="*/ 1893 w 11956"/>
                <a:gd name="connsiteY11" fmla="*/ 1293 h 7760"/>
                <a:gd name="connsiteX12" fmla="*/ 996 w 11956"/>
                <a:gd name="connsiteY12" fmla="*/ 2288 h 7760"/>
                <a:gd name="connsiteX13" fmla="*/ 299 w 11956"/>
                <a:gd name="connsiteY13" fmla="*/ 3283 h 7760"/>
                <a:gd name="connsiteX14" fmla="*/ 0 w 11956"/>
                <a:gd name="connsiteY14" fmla="*/ 4776 h 7760"/>
                <a:gd name="connsiteX15" fmla="*/ 5381 w 11956"/>
                <a:gd name="connsiteY15" fmla="*/ 7263 h 7760"/>
                <a:gd name="connsiteX16" fmla="*/ 7971 w 11956"/>
                <a:gd name="connsiteY16" fmla="*/ 7760 h 7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956" h="7760">
                  <a:moveTo>
                    <a:pt x="7971" y="7760"/>
                  </a:moveTo>
                  <a:lnTo>
                    <a:pt x="10463" y="6566"/>
                  </a:lnTo>
                  <a:lnTo>
                    <a:pt x="11558" y="5671"/>
                  </a:lnTo>
                  <a:lnTo>
                    <a:pt x="11957" y="5074"/>
                  </a:lnTo>
                  <a:lnTo>
                    <a:pt x="11260" y="4776"/>
                  </a:lnTo>
                  <a:lnTo>
                    <a:pt x="9267" y="4776"/>
                  </a:lnTo>
                  <a:lnTo>
                    <a:pt x="7473" y="4377"/>
                  </a:lnTo>
                  <a:lnTo>
                    <a:pt x="5779" y="3283"/>
                  </a:lnTo>
                  <a:lnTo>
                    <a:pt x="4384" y="1691"/>
                  </a:lnTo>
                  <a:lnTo>
                    <a:pt x="3587" y="0"/>
                  </a:lnTo>
                  <a:lnTo>
                    <a:pt x="2690" y="0"/>
                  </a:lnTo>
                  <a:lnTo>
                    <a:pt x="1893" y="1293"/>
                  </a:lnTo>
                  <a:lnTo>
                    <a:pt x="996" y="2288"/>
                  </a:lnTo>
                  <a:lnTo>
                    <a:pt x="299" y="3283"/>
                  </a:lnTo>
                  <a:lnTo>
                    <a:pt x="0" y="4776"/>
                  </a:lnTo>
                  <a:lnTo>
                    <a:pt x="5381" y="7263"/>
                  </a:lnTo>
                  <a:lnTo>
                    <a:pt x="7971" y="776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7" name="Freeform: Shape 1186">
              <a:extLst>
                <a:ext uri="{FF2B5EF4-FFF2-40B4-BE49-F238E27FC236}">
                  <a16:creationId xmlns:a16="http://schemas.microsoft.com/office/drawing/2014/main" id="{E384B037-44CC-42B4-A504-954BA145F2BA}"/>
                </a:ext>
              </a:extLst>
            </p:cNvPr>
            <p:cNvSpPr/>
            <p:nvPr/>
          </p:nvSpPr>
          <p:spPr>
            <a:xfrm>
              <a:off x="3380357" y="4517361"/>
              <a:ext cx="10860" cy="3780"/>
            </a:xfrm>
            <a:custGeom>
              <a:avLst/>
              <a:gdLst>
                <a:gd name="connsiteX0" fmla="*/ 0 w 10860"/>
                <a:gd name="connsiteY0" fmla="*/ 2686 h 3780"/>
                <a:gd name="connsiteX1" fmla="*/ 299 w 10860"/>
                <a:gd name="connsiteY1" fmla="*/ 3581 h 3780"/>
                <a:gd name="connsiteX2" fmla="*/ 498 w 10860"/>
                <a:gd name="connsiteY2" fmla="*/ 3781 h 3780"/>
                <a:gd name="connsiteX3" fmla="*/ 2292 w 10860"/>
                <a:gd name="connsiteY3" fmla="*/ 3383 h 3780"/>
                <a:gd name="connsiteX4" fmla="*/ 4185 w 10860"/>
                <a:gd name="connsiteY4" fmla="*/ 2487 h 3780"/>
                <a:gd name="connsiteX5" fmla="*/ 5381 w 10860"/>
                <a:gd name="connsiteY5" fmla="*/ 1592 h 3780"/>
                <a:gd name="connsiteX6" fmla="*/ 8669 w 10860"/>
                <a:gd name="connsiteY6" fmla="*/ 1094 h 3780"/>
                <a:gd name="connsiteX7" fmla="*/ 9665 w 10860"/>
                <a:gd name="connsiteY7" fmla="*/ 1194 h 3780"/>
                <a:gd name="connsiteX8" fmla="*/ 10662 w 10860"/>
                <a:gd name="connsiteY8" fmla="*/ 895 h 3780"/>
                <a:gd name="connsiteX9" fmla="*/ 10861 w 10860"/>
                <a:gd name="connsiteY9" fmla="*/ 298 h 3780"/>
                <a:gd name="connsiteX10" fmla="*/ 9167 w 10860"/>
                <a:gd name="connsiteY10" fmla="*/ 0 h 3780"/>
                <a:gd name="connsiteX11" fmla="*/ 7672 w 10860"/>
                <a:gd name="connsiteY11" fmla="*/ 0 h 3780"/>
                <a:gd name="connsiteX12" fmla="*/ 4783 w 10860"/>
                <a:gd name="connsiteY12" fmla="*/ 298 h 3780"/>
                <a:gd name="connsiteX13" fmla="*/ 3787 w 10860"/>
                <a:gd name="connsiteY13" fmla="*/ 298 h 3780"/>
                <a:gd name="connsiteX14" fmla="*/ 1993 w 10860"/>
                <a:gd name="connsiteY14" fmla="*/ 497 h 3780"/>
                <a:gd name="connsiteX15" fmla="*/ 1395 w 10860"/>
                <a:gd name="connsiteY15" fmla="*/ 1293 h 3780"/>
                <a:gd name="connsiteX16" fmla="*/ 1594 w 10860"/>
                <a:gd name="connsiteY16" fmla="*/ 2487 h 3780"/>
                <a:gd name="connsiteX17" fmla="*/ 498 w 10860"/>
                <a:gd name="connsiteY17" fmla="*/ 2388 h 3780"/>
                <a:gd name="connsiteX18" fmla="*/ 0 w 10860"/>
                <a:gd name="connsiteY18" fmla="*/ 2686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860" h="3780">
                  <a:moveTo>
                    <a:pt x="0" y="2686"/>
                  </a:moveTo>
                  <a:lnTo>
                    <a:pt x="299" y="3581"/>
                  </a:lnTo>
                  <a:lnTo>
                    <a:pt x="498" y="3781"/>
                  </a:lnTo>
                  <a:lnTo>
                    <a:pt x="2292" y="3383"/>
                  </a:lnTo>
                  <a:lnTo>
                    <a:pt x="4185" y="2487"/>
                  </a:lnTo>
                  <a:lnTo>
                    <a:pt x="5381" y="1592"/>
                  </a:lnTo>
                  <a:lnTo>
                    <a:pt x="8669" y="1094"/>
                  </a:lnTo>
                  <a:lnTo>
                    <a:pt x="9665" y="1194"/>
                  </a:lnTo>
                  <a:lnTo>
                    <a:pt x="10662" y="895"/>
                  </a:lnTo>
                  <a:lnTo>
                    <a:pt x="10861" y="298"/>
                  </a:lnTo>
                  <a:lnTo>
                    <a:pt x="9167" y="0"/>
                  </a:lnTo>
                  <a:lnTo>
                    <a:pt x="7672" y="0"/>
                  </a:lnTo>
                  <a:lnTo>
                    <a:pt x="4783" y="298"/>
                  </a:lnTo>
                  <a:lnTo>
                    <a:pt x="3787" y="298"/>
                  </a:lnTo>
                  <a:lnTo>
                    <a:pt x="1993" y="497"/>
                  </a:lnTo>
                  <a:lnTo>
                    <a:pt x="1395" y="1293"/>
                  </a:lnTo>
                  <a:lnTo>
                    <a:pt x="1594" y="2487"/>
                  </a:lnTo>
                  <a:lnTo>
                    <a:pt x="498" y="2388"/>
                  </a:lnTo>
                  <a:lnTo>
                    <a:pt x="0" y="268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8" name="Freeform: Shape 1187">
              <a:extLst>
                <a:ext uri="{FF2B5EF4-FFF2-40B4-BE49-F238E27FC236}">
                  <a16:creationId xmlns:a16="http://schemas.microsoft.com/office/drawing/2014/main" id="{BD264AC0-8D59-4931-9B01-4130D81F4CC1}"/>
                </a:ext>
              </a:extLst>
            </p:cNvPr>
            <p:cNvSpPr/>
            <p:nvPr/>
          </p:nvSpPr>
          <p:spPr>
            <a:xfrm>
              <a:off x="3471930" y="4551187"/>
              <a:ext cx="9964" cy="9948"/>
            </a:xfrm>
            <a:custGeom>
              <a:avLst/>
              <a:gdLst>
                <a:gd name="connsiteX0" fmla="*/ 0 w 9964"/>
                <a:gd name="connsiteY0" fmla="*/ 4278 h 9948"/>
                <a:gd name="connsiteX1" fmla="*/ 1096 w 9964"/>
                <a:gd name="connsiteY1" fmla="*/ 5571 h 9948"/>
                <a:gd name="connsiteX2" fmla="*/ 3587 w 9964"/>
                <a:gd name="connsiteY2" fmla="*/ 7263 h 9948"/>
                <a:gd name="connsiteX3" fmla="*/ 4384 w 9964"/>
                <a:gd name="connsiteY3" fmla="*/ 7561 h 9948"/>
                <a:gd name="connsiteX4" fmla="*/ 5181 w 9964"/>
                <a:gd name="connsiteY4" fmla="*/ 7462 h 9948"/>
                <a:gd name="connsiteX5" fmla="*/ 5680 w 9964"/>
                <a:gd name="connsiteY5" fmla="*/ 7660 h 9948"/>
                <a:gd name="connsiteX6" fmla="*/ 5978 w 9964"/>
                <a:gd name="connsiteY6" fmla="*/ 8158 h 9948"/>
                <a:gd name="connsiteX7" fmla="*/ 5978 w 9964"/>
                <a:gd name="connsiteY7" fmla="*/ 9053 h 9948"/>
                <a:gd name="connsiteX8" fmla="*/ 6875 w 9964"/>
                <a:gd name="connsiteY8" fmla="*/ 9949 h 9948"/>
                <a:gd name="connsiteX9" fmla="*/ 8868 w 9964"/>
                <a:gd name="connsiteY9" fmla="*/ 9650 h 9948"/>
                <a:gd name="connsiteX10" fmla="*/ 9964 w 9964"/>
                <a:gd name="connsiteY10" fmla="*/ 8456 h 9948"/>
                <a:gd name="connsiteX11" fmla="*/ 9267 w 9964"/>
                <a:gd name="connsiteY11" fmla="*/ 7462 h 9948"/>
                <a:gd name="connsiteX12" fmla="*/ 7573 w 9964"/>
                <a:gd name="connsiteY12" fmla="*/ 6467 h 9948"/>
                <a:gd name="connsiteX13" fmla="*/ 6776 w 9964"/>
                <a:gd name="connsiteY13" fmla="*/ 5671 h 9948"/>
                <a:gd name="connsiteX14" fmla="*/ 5978 w 9964"/>
                <a:gd name="connsiteY14" fmla="*/ 4477 h 9948"/>
                <a:gd name="connsiteX15" fmla="*/ 3587 w 9964"/>
                <a:gd name="connsiteY15" fmla="*/ 3979 h 9948"/>
                <a:gd name="connsiteX16" fmla="*/ 2690 w 9964"/>
                <a:gd name="connsiteY16" fmla="*/ 3681 h 9948"/>
                <a:gd name="connsiteX17" fmla="*/ 3089 w 9964"/>
                <a:gd name="connsiteY17" fmla="*/ 1492 h 9948"/>
                <a:gd name="connsiteX18" fmla="*/ 2192 w 9964"/>
                <a:gd name="connsiteY18" fmla="*/ 0 h 9948"/>
                <a:gd name="connsiteX19" fmla="*/ 1494 w 9964"/>
                <a:gd name="connsiteY19" fmla="*/ 398 h 9948"/>
                <a:gd name="connsiteX20" fmla="*/ 1395 w 9964"/>
                <a:gd name="connsiteY20" fmla="*/ 1592 h 9948"/>
                <a:gd name="connsiteX21" fmla="*/ 1694 w 9964"/>
                <a:gd name="connsiteY21" fmla="*/ 2487 h 9948"/>
                <a:gd name="connsiteX22" fmla="*/ 100 w 9964"/>
                <a:gd name="connsiteY22" fmla="*/ 2885 h 9948"/>
                <a:gd name="connsiteX23" fmla="*/ 0 w 9964"/>
                <a:gd name="connsiteY23" fmla="*/ 4278 h 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964" h="9948">
                  <a:moveTo>
                    <a:pt x="0" y="4278"/>
                  </a:moveTo>
                  <a:lnTo>
                    <a:pt x="1096" y="5571"/>
                  </a:lnTo>
                  <a:lnTo>
                    <a:pt x="3587" y="7263"/>
                  </a:lnTo>
                  <a:lnTo>
                    <a:pt x="4384" y="7561"/>
                  </a:lnTo>
                  <a:lnTo>
                    <a:pt x="5181" y="7462"/>
                  </a:lnTo>
                  <a:lnTo>
                    <a:pt x="5680" y="7660"/>
                  </a:lnTo>
                  <a:lnTo>
                    <a:pt x="5978" y="8158"/>
                  </a:lnTo>
                  <a:lnTo>
                    <a:pt x="5978" y="9053"/>
                  </a:lnTo>
                  <a:lnTo>
                    <a:pt x="6875" y="9949"/>
                  </a:lnTo>
                  <a:lnTo>
                    <a:pt x="8868" y="9650"/>
                  </a:lnTo>
                  <a:lnTo>
                    <a:pt x="9964" y="8456"/>
                  </a:lnTo>
                  <a:lnTo>
                    <a:pt x="9267" y="7462"/>
                  </a:lnTo>
                  <a:lnTo>
                    <a:pt x="7573" y="6467"/>
                  </a:lnTo>
                  <a:lnTo>
                    <a:pt x="6776" y="5671"/>
                  </a:lnTo>
                  <a:lnTo>
                    <a:pt x="5978" y="4477"/>
                  </a:lnTo>
                  <a:lnTo>
                    <a:pt x="3587" y="3979"/>
                  </a:lnTo>
                  <a:lnTo>
                    <a:pt x="2690" y="3681"/>
                  </a:lnTo>
                  <a:lnTo>
                    <a:pt x="3089" y="1492"/>
                  </a:lnTo>
                  <a:lnTo>
                    <a:pt x="2192" y="0"/>
                  </a:lnTo>
                  <a:lnTo>
                    <a:pt x="1494" y="398"/>
                  </a:lnTo>
                  <a:lnTo>
                    <a:pt x="1395" y="1592"/>
                  </a:lnTo>
                  <a:lnTo>
                    <a:pt x="1694" y="2487"/>
                  </a:lnTo>
                  <a:lnTo>
                    <a:pt x="100" y="2885"/>
                  </a:lnTo>
                  <a:lnTo>
                    <a:pt x="0" y="427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89" name="Freeform: Shape 1188">
              <a:extLst>
                <a:ext uri="{FF2B5EF4-FFF2-40B4-BE49-F238E27FC236}">
                  <a16:creationId xmlns:a16="http://schemas.microsoft.com/office/drawing/2014/main" id="{9C3055DD-2FD4-4DC1-A840-8E90A6BEB283}"/>
                </a:ext>
              </a:extLst>
            </p:cNvPr>
            <p:cNvSpPr/>
            <p:nvPr/>
          </p:nvSpPr>
          <p:spPr>
            <a:xfrm>
              <a:off x="3365311" y="4510298"/>
              <a:ext cx="13950" cy="5173"/>
            </a:xfrm>
            <a:custGeom>
              <a:avLst/>
              <a:gdLst>
                <a:gd name="connsiteX0" fmla="*/ 2591 w 13950"/>
                <a:gd name="connsiteY0" fmla="*/ 3780 h 5173"/>
                <a:gd name="connsiteX1" fmla="*/ 4783 w 13950"/>
                <a:gd name="connsiteY1" fmla="*/ 3283 h 5173"/>
                <a:gd name="connsiteX2" fmla="*/ 7374 w 13950"/>
                <a:gd name="connsiteY2" fmla="*/ 3979 h 5173"/>
                <a:gd name="connsiteX3" fmla="*/ 9566 w 13950"/>
                <a:gd name="connsiteY3" fmla="*/ 4974 h 5173"/>
                <a:gd name="connsiteX4" fmla="*/ 10861 w 13950"/>
                <a:gd name="connsiteY4" fmla="*/ 5173 h 5173"/>
                <a:gd name="connsiteX5" fmla="*/ 11957 w 13950"/>
                <a:gd name="connsiteY5" fmla="*/ 4477 h 5173"/>
                <a:gd name="connsiteX6" fmla="*/ 12854 w 13950"/>
                <a:gd name="connsiteY6" fmla="*/ 3979 h 5173"/>
                <a:gd name="connsiteX7" fmla="*/ 13651 w 13950"/>
                <a:gd name="connsiteY7" fmla="*/ 3383 h 5173"/>
                <a:gd name="connsiteX8" fmla="*/ 13950 w 13950"/>
                <a:gd name="connsiteY8" fmla="*/ 2388 h 5173"/>
                <a:gd name="connsiteX9" fmla="*/ 13651 w 13950"/>
                <a:gd name="connsiteY9" fmla="*/ 1393 h 5173"/>
                <a:gd name="connsiteX10" fmla="*/ 12854 w 13950"/>
                <a:gd name="connsiteY10" fmla="*/ 1393 h 5173"/>
                <a:gd name="connsiteX11" fmla="*/ 11957 w 13950"/>
                <a:gd name="connsiteY11" fmla="*/ 1691 h 5173"/>
                <a:gd name="connsiteX12" fmla="*/ 11260 w 13950"/>
                <a:gd name="connsiteY12" fmla="*/ 1890 h 5173"/>
                <a:gd name="connsiteX13" fmla="*/ 8071 w 13950"/>
                <a:gd name="connsiteY13" fmla="*/ 1990 h 5173"/>
                <a:gd name="connsiteX14" fmla="*/ 6975 w 13950"/>
                <a:gd name="connsiteY14" fmla="*/ 1890 h 5173"/>
                <a:gd name="connsiteX15" fmla="*/ 6278 w 13950"/>
                <a:gd name="connsiteY15" fmla="*/ 1492 h 5173"/>
                <a:gd name="connsiteX16" fmla="*/ 5281 w 13950"/>
                <a:gd name="connsiteY16" fmla="*/ 298 h 5173"/>
                <a:gd name="connsiteX17" fmla="*/ 4783 w 13950"/>
                <a:gd name="connsiteY17" fmla="*/ 0 h 5173"/>
                <a:gd name="connsiteX18" fmla="*/ 2691 w 13950"/>
                <a:gd name="connsiteY18" fmla="*/ 199 h 5173"/>
                <a:gd name="connsiteX19" fmla="*/ 1295 w 13950"/>
                <a:gd name="connsiteY19" fmla="*/ 696 h 5173"/>
                <a:gd name="connsiteX20" fmla="*/ 498 w 13950"/>
                <a:gd name="connsiteY20" fmla="*/ 1890 h 5173"/>
                <a:gd name="connsiteX21" fmla="*/ 0 w 13950"/>
                <a:gd name="connsiteY21" fmla="*/ 3780 h 5173"/>
                <a:gd name="connsiteX22" fmla="*/ 1594 w 13950"/>
                <a:gd name="connsiteY22" fmla="*/ 2885 h 5173"/>
                <a:gd name="connsiteX23" fmla="*/ 2093 w 13950"/>
                <a:gd name="connsiteY23" fmla="*/ 2985 h 5173"/>
                <a:gd name="connsiteX24" fmla="*/ 2591 w 13950"/>
                <a:gd name="connsiteY24" fmla="*/ 3780 h 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3950" h="5173">
                  <a:moveTo>
                    <a:pt x="2591" y="3780"/>
                  </a:moveTo>
                  <a:lnTo>
                    <a:pt x="4783" y="3283"/>
                  </a:lnTo>
                  <a:lnTo>
                    <a:pt x="7374" y="3979"/>
                  </a:lnTo>
                  <a:lnTo>
                    <a:pt x="9566" y="4974"/>
                  </a:lnTo>
                  <a:lnTo>
                    <a:pt x="10861" y="5173"/>
                  </a:lnTo>
                  <a:lnTo>
                    <a:pt x="11957" y="4477"/>
                  </a:lnTo>
                  <a:lnTo>
                    <a:pt x="12854" y="3979"/>
                  </a:lnTo>
                  <a:lnTo>
                    <a:pt x="13651" y="3383"/>
                  </a:lnTo>
                  <a:lnTo>
                    <a:pt x="13950" y="2388"/>
                  </a:lnTo>
                  <a:lnTo>
                    <a:pt x="13651" y="1393"/>
                  </a:lnTo>
                  <a:lnTo>
                    <a:pt x="12854" y="1393"/>
                  </a:lnTo>
                  <a:lnTo>
                    <a:pt x="11957" y="1691"/>
                  </a:lnTo>
                  <a:lnTo>
                    <a:pt x="11260" y="1890"/>
                  </a:lnTo>
                  <a:lnTo>
                    <a:pt x="8071" y="1990"/>
                  </a:lnTo>
                  <a:lnTo>
                    <a:pt x="6975" y="1890"/>
                  </a:lnTo>
                  <a:lnTo>
                    <a:pt x="6278" y="1492"/>
                  </a:lnTo>
                  <a:lnTo>
                    <a:pt x="5281" y="298"/>
                  </a:lnTo>
                  <a:lnTo>
                    <a:pt x="4783" y="0"/>
                  </a:lnTo>
                  <a:lnTo>
                    <a:pt x="2691" y="199"/>
                  </a:lnTo>
                  <a:lnTo>
                    <a:pt x="1295" y="696"/>
                  </a:lnTo>
                  <a:lnTo>
                    <a:pt x="498" y="1890"/>
                  </a:lnTo>
                  <a:lnTo>
                    <a:pt x="0" y="3780"/>
                  </a:lnTo>
                  <a:lnTo>
                    <a:pt x="1594" y="2885"/>
                  </a:lnTo>
                  <a:lnTo>
                    <a:pt x="2093" y="2985"/>
                  </a:lnTo>
                  <a:lnTo>
                    <a:pt x="2591" y="378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0" name="Freeform: Shape 1189">
              <a:extLst>
                <a:ext uri="{FF2B5EF4-FFF2-40B4-BE49-F238E27FC236}">
                  <a16:creationId xmlns:a16="http://schemas.microsoft.com/office/drawing/2014/main" id="{DCA884CB-5DE1-4D11-87BA-1413408C6CEA}"/>
                </a:ext>
              </a:extLst>
            </p:cNvPr>
            <p:cNvSpPr/>
            <p:nvPr/>
          </p:nvSpPr>
          <p:spPr>
            <a:xfrm>
              <a:off x="3444328" y="4543129"/>
              <a:ext cx="8868" cy="5173"/>
            </a:xfrm>
            <a:custGeom>
              <a:avLst/>
              <a:gdLst>
                <a:gd name="connsiteX0" fmla="*/ 2192 w 8868"/>
                <a:gd name="connsiteY0" fmla="*/ 4576 h 5173"/>
                <a:gd name="connsiteX1" fmla="*/ 3587 w 8868"/>
                <a:gd name="connsiteY1" fmla="*/ 2686 h 5173"/>
                <a:gd name="connsiteX2" fmla="*/ 4783 w 8868"/>
                <a:gd name="connsiteY2" fmla="*/ 2288 h 5173"/>
                <a:gd name="connsiteX3" fmla="*/ 7473 w 8868"/>
                <a:gd name="connsiteY3" fmla="*/ 3979 h 5173"/>
                <a:gd name="connsiteX4" fmla="*/ 8868 w 8868"/>
                <a:gd name="connsiteY4" fmla="*/ 2686 h 5173"/>
                <a:gd name="connsiteX5" fmla="*/ 8868 w 8868"/>
                <a:gd name="connsiteY5" fmla="*/ 796 h 5173"/>
                <a:gd name="connsiteX6" fmla="*/ 7872 w 8868"/>
                <a:gd name="connsiteY6" fmla="*/ 895 h 5173"/>
                <a:gd name="connsiteX7" fmla="*/ 5879 w 8868"/>
                <a:gd name="connsiteY7" fmla="*/ 0 h 5173"/>
                <a:gd name="connsiteX8" fmla="*/ 3787 w 8868"/>
                <a:gd name="connsiteY8" fmla="*/ 0 h 5173"/>
                <a:gd name="connsiteX9" fmla="*/ 1794 w 8868"/>
                <a:gd name="connsiteY9" fmla="*/ 696 h 5173"/>
                <a:gd name="connsiteX10" fmla="*/ 0 w 8868"/>
                <a:gd name="connsiteY10" fmla="*/ 1791 h 5173"/>
                <a:gd name="connsiteX11" fmla="*/ 996 w 8868"/>
                <a:gd name="connsiteY11" fmla="*/ 5173 h 5173"/>
                <a:gd name="connsiteX12" fmla="*/ 2192 w 8868"/>
                <a:gd name="connsiteY12" fmla="*/ 4576 h 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868" h="5173">
                  <a:moveTo>
                    <a:pt x="2192" y="4576"/>
                  </a:moveTo>
                  <a:lnTo>
                    <a:pt x="3587" y="2686"/>
                  </a:lnTo>
                  <a:lnTo>
                    <a:pt x="4783" y="2288"/>
                  </a:lnTo>
                  <a:lnTo>
                    <a:pt x="7473" y="3979"/>
                  </a:lnTo>
                  <a:lnTo>
                    <a:pt x="8868" y="2686"/>
                  </a:lnTo>
                  <a:lnTo>
                    <a:pt x="8868" y="796"/>
                  </a:lnTo>
                  <a:lnTo>
                    <a:pt x="7872" y="895"/>
                  </a:lnTo>
                  <a:lnTo>
                    <a:pt x="5879" y="0"/>
                  </a:lnTo>
                  <a:lnTo>
                    <a:pt x="3787" y="0"/>
                  </a:lnTo>
                  <a:lnTo>
                    <a:pt x="1794" y="696"/>
                  </a:lnTo>
                  <a:lnTo>
                    <a:pt x="0" y="1791"/>
                  </a:lnTo>
                  <a:lnTo>
                    <a:pt x="996" y="5173"/>
                  </a:lnTo>
                  <a:lnTo>
                    <a:pt x="2192" y="457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1" name="Freeform: Shape 1190">
              <a:extLst>
                <a:ext uri="{FF2B5EF4-FFF2-40B4-BE49-F238E27FC236}">
                  <a16:creationId xmlns:a16="http://schemas.microsoft.com/office/drawing/2014/main" id="{A90BD4F6-4D9B-471D-8A15-008C3E81AC6B}"/>
                </a:ext>
              </a:extLst>
            </p:cNvPr>
            <p:cNvSpPr/>
            <p:nvPr/>
          </p:nvSpPr>
          <p:spPr>
            <a:xfrm>
              <a:off x="3455289" y="4542830"/>
              <a:ext cx="6875" cy="7859"/>
            </a:xfrm>
            <a:custGeom>
              <a:avLst/>
              <a:gdLst>
                <a:gd name="connsiteX0" fmla="*/ 6079 w 6875"/>
                <a:gd name="connsiteY0" fmla="*/ 3482 h 7859"/>
                <a:gd name="connsiteX1" fmla="*/ 6875 w 6875"/>
                <a:gd name="connsiteY1" fmla="*/ 2885 h 7859"/>
                <a:gd name="connsiteX2" fmla="*/ 6677 w 6875"/>
                <a:gd name="connsiteY2" fmla="*/ 1890 h 7859"/>
                <a:gd name="connsiteX3" fmla="*/ 5680 w 6875"/>
                <a:gd name="connsiteY3" fmla="*/ 497 h 7859"/>
                <a:gd name="connsiteX4" fmla="*/ 4086 w 6875"/>
                <a:gd name="connsiteY4" fmla="*/ 0 h 7859"/>
                <a:gd name="connsiteX5" fmla="*/ 1196 w 6875"/>
                <a:gd name="connsiteY5" fmla="*/ 796 h 7859"/>
                <a:gd name="connsiteX6" fmla="*/ 0 w 6875"/>
                <a:gd name="connsiteY6" fmla="*/ 2786 h 7859"/>
                <a:gd name="connsiteX7" fmla="*/ 1097 w 6875"/>
                <a:gd name="connsiteY7" fmla="*/ 3383 h 7859"/>
                <a:gd name="connsiteX8" fmla="*/ 2292 w 6875"/>
                <a:gd name="connsiteY8" fmla="*/ 3581 h 7859"/>
                <a:gd name="connsiteX9" fmla="*/ 1993 w 6875"/>
                <a:gd name="connsiteY9" fmla="*/ 4278 h 7859"/>
                <a:gd name="connsiteX10" fmla="*/ 1196 w 6875"/>
                <a:gd name="connsiteY10" fmla="*/ 4974 h 7859"/>
                <a:gd name="connsiteX11" fmla="*/ 797 w 6875"/>
                <a:gd name="connsiteY11" fmla="*/ 5770 h 7859"/>
                <a:gd name="connsiteX12" fmla="*/ 1694 w 6875"/>
                <a:gd name="connsiteY12" fmla="*/ 6964 h 7859"/>
                <a:gd name="connsiteX13" fmla="*/ 3089 w 6875"/>
                <a:gd name="connsiteY13" fmla="*/ 7860 h 7859"/>
                <a:gd name="connsiteX14" fmla="*/ 4584 w 6875"/>
                <a:gd name="connsiteY14" fmla="*/ 7660 h 7859"/>
                <a:gd name="connsiteX15" fmla="*/ 5481 w 6875"/>
                <a:gd name="connsiteY15" fmla="*/ 6666 h 7859"/>
                <a:gd name="connsiteX16" fmla="*/ 5281 w 6875"/>
                <a:gd name="connsiteY16" fmla="*/ 5969 h 7859"/>
                <a:gd name="connsiteX17" fmla="*/ 4185 w 6875"/>
                <a:gd name="connsiteY17" fmla="*/ 5671 h 7859"/>
                <a:gd name="connsiteX18" fmla="*/ 3687 w 6875"/>
                <a:gd name="connsiteY18" fmla="*/ 4974 h 7859"/>
                <a:gd name="connsiteX19" fmla="*/ 4484 w 6875"/>
                <a:gd name="connsiteY19" fmla="*/ 3979 h 7859"/>
                <a:gd name="connsiteX20" fmla="*/ 6079 w 6875"/>
                <a:gd name="connsiteY20" fmla="*/ 3482 h 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75" h="7859">
                  <a:moveTo>
                    <a:pt x="6079" y="3482"/>
                  </a:moveTo>
                  <a:lnTo>
                    <a:pt x="6875" y="2885"/>
                  </a:lnTo>
                  <a:lnTo>
                    <a:pt x="6677" y="1890"/>
                  </a:lnTo>
                  <a:lnTo>
                    <a:pt x="5680" y="497"/>
                  </a:lnTo>
                  <a:lnTo>
                    <a:pt x="4086" y="0"/>
                  </a:lnTo>
                  <a:lnTo>
                    <a:pt x="1196" y="796"/>
                  </a:lnTo>
                  <a:lnTo>
                    <a:pt x="0" y="2786"/>
                  </a:lnTo>
                  <a:lnTo>
                    <a:pt x="1097" y="3383"/>
                  </a:lnTo>
                  <a:lnTo>
                    <a:pt x="2292" y="3581"/>
                  </a:lnTo>
                  <a:lnTo>
                    <a:pt x="1993" y="4278"/>
                  </a:lnTo>
                  <a:lnTo>
                    <a:pt x="1196" y="4974"/>
                  </a:lnTo>
                  <a:lnTo>
                    <a:pt x="797" y="5770"/>
                  </a:lnTo>
                  <a:lnTo>
                    <a:pt x="1694" y="6964"/>
                  </a:lnTo>
                  <a:lnTo>
                    <a:pt x="3089" y="7860"/>
                  </a:lnTo>
                  <a:lnTo>
                    <a:pt x="4584" y="7660"/>
                  </a:lnTo>
                  <a:lnTo>
                    <a:pt x="5481" y="6666"/>
                  </a:lnTo>
                  <a:lnTo>
                    <a:pt x="5281" y="5969"/>
                  </a:lnTo>
                  <a:lnTo>
                    <a:pt x="4185" y="5671"/>
                  </a:lnTo>
                  <a:lnTo>
                    <a:pt x="3687" y="4974"/>
                  </a:lnTo>
                  <a:lnTo>
                    <a:pt x="4484" y="3979"/>
                  </a:lnTo>
                  <a:lnTo>
                    <a:pt x="6079" y="348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2" name="Freeform: Shape 1191">
              <a:extLst>
                <a:ext uri="{FF2B5EF4-FFF2-40B4-BE49-F238E27FC236}">
                  <a16:creationId xmlns:a16="http://schemas.microsoft.com/office/drawing/2014/main" id="{A3F73400-13C4-4AE6-9C8A-A2A810B860EE}"/>
                </a:ext>
              </a:extLst>
            </p:cNvPr>
            <p:cNvSpPr/>
            <p:nvPr/>
          </p:nvSpPr>
          <p:spPr>
            <a:xfrm>
              <a:off x="1191575" y="4395887"/>
              <a:ext cx="797" cy="10147"/>
            </a:xfrm>
            <a:custGeom>
              <a:avLst/>
              <a:gdLst>
                <a:gd name="connsiteX0" fmla="*/ 0 w 797"/>
                <a:gd name="connsiteY0" fmla="*/ 10148 h 10147"/>
                <a:gd name="connsiteX1" fmla="*/ 797 w 797"/>
                <a:gd name="connsiteY1" fmla="*/ 0 h 10147"/>
                <a:gd name="connsiteX2" fmla="*/ 199 w 797"/>
                <a:gd name="connsiteY2" fmla="*/ 4775 h 10147"/>
                <a:gd name="connsiteX3" fmla="*/ 0 w 797"/>
                <a:gd name="connsiteY3" fmla="*/ 10148 h 1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7" h="10147">
                  <a:moveTo>
                    <a:pt x="0" y="10148"/>
                  </a:moveTo>
                  <a:lnTo>
                    <a:pt x="797" y="0"/>
                  </a:lnTo>
                  <a:lnTo>
                    <a:pt x="199" y="4775"/>
                  </a:lnTo>
                  <a:lnTo>
                    <a:pt x="0" y="1014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3" name="Freeform: Shape 1192">
              <a:extLst>
                <a:ext uri="{FF2B5EF4-FFF2-40B4-BE49-F238E27FC236}">
                  <a16:creationId xmlns:a16="http://schemas.microsoft.com/office/drawing/2014/main" id="{64AFEAE3-9FC7-451D-AD27-13055EBD1640}"/>
                </a:ext>
              </a:extLst>
            </p:cNvPr>
            <p:cNvSpPr/>
            <p:nvPr/>
          </p:nvSpPr>
          <p:spPr>
            <a:xfrm>
              <a:off x="-353107" y="3828510"/>
              <a:ext cx="19928" cy="43276"/>
            </a:xfrm>
            <a:custGeom>
              <a:avLst/>
              <a:gdLst>
                <a:gd name="connsiteX0" fmla="*/ 18534 w 19928"/>
                <a:gd name="connsiteY0" fmla="*/ 19002 h 43276"/>
                <a:gd name="connsiteX1" fmla="*/ 18235 w 19928"/>
                <a:gd name="connsiteY1" fmla="*/ 18306 h 43276"/>
                <a:gd name="connsiteX2" fmla="*/ 17537 w 19928"/>
                <a:gd name="connsiteY2" fmla="*/ 16017 h 43276"/>
                <a:gd name="connsiteX3" fmla="*/ 17438 w 19928"/>
                <a:gd name="connsiteY3" fmla="*/ 15420 h 43276"/>
                <a:gd name="connsiteX4" fmla="*/ 17338 w 19928"/>
                <a:gd name="connsiteY4" fmla="*/ 13928 h 43276"/>
                <a:gd name="connsiteX5" fmla="*/ 16641 w 19928"/>
                <a:gd name="connsiteY5" fmla="*/ 11043 h 43276"/>
                <a:gd name="connsiteX6" fmla="*/ 14747 w 19928"/>
                <a:gd name="connsiteY6" fmla="*/ 8357 h 43276"/>
                <a:gd name="connsiteX7" fmla="*/ 12456 w 19928"/>
                <a:gd name="connsiteY7" fmla="*/ 6267 h 43276"/>
                <a:gd name="connsiteX8" fmla="*/ 10363 w 19928"/>
                <a:gd name="connsiteY8" fmla="*/ 4775 h 43276"/>
                <a:gd name="connsiteX9" fmla="*/ 5979 w 19928"/>
                <a:gd name="connsiteY9" fmla="*/ 3383 h 43276"/>
                <a:gd name="connsiteX10" fmla="*/ 5879 w 19928"/>
                <a:gd name="connsiteY10" fmla="*/ 2288 h 43276"/>
                <a:gd name="connsiteX11" fmla="*/ 5480 w 19928"/>
                <a:gd name="connsiteY11" fmla="*/ 1293 h 43276"/>
                <a:gd name="connsiteX12" fmla="*/ 4982 w 19928"/>
                <a:gd name="connsiteY12" fmla="*/ 497 h 43276"/>
                <a:gd name="connsiteX13" fmla="*/ 4285 w 19928"/>
                <a:gd name="connsiteY13" fmla="*/ 0 h 43276"/>
                <a:gd name="connsiteX14" fmla="*/ 4285 w 19928"/>
                <a:gd name="connsiteY14" fmla="*/ 3283 h 43276"/>
                <a:gd name="connsiteX15" fmla="*/ 5381 w 19928"/>
                <a:gd name="connsiteY15" fmla="*/ 4676 h 43276"/>
                <a:gd name="connsiteX16" fmla="*/ 7274 w 19928"/>
                <a:gd name="connsiteY16" fmla="*/ 5372 h 43276"/>
                <a:gd name="connsiteX17" fmla="*/ 9466 w 19928"/>
                <a:gd name="connsiteY17" fmla="*/ 6765 h 43276"/>
                <a:gd name="connsiteX18" fmla="*/ 11060 w 19928"/>
                <a:gd name="connsiteY18" fmla="*/ 8854 h 43276"/>
                <a:gd name="connsiteX19" fmla="*/ 12754 w 19928"/>
                <a:gd name="connsiteY19" fmla="*/ 12038 h 43276"/>
                <a:gd name="connsiteX20" fmla="*/ 14149 w 19928"/>
                <a:gd name="connsiteY20" fmla="*/ 15222 h 43276"/>
                <a:gd name="connsiteX21" fmla="*/ 14747 w 19928"/>
                <a:gd name="connsiteY21" fmla="*/ 17808 h 43276"/>
                <a:gd name="connsiteX22" fmla="*/ 15146 w 19928"/>
                <a:gd name="connsiteY22" fmla="*/ 22385 h 43276"/>
                <a:gd name="connsiteX23" fmla="*/ 14847 w 19928"/>
                <a:gd name="connsiteY23" fmla="*/ 25469 h 43276"/>
                <a:gd name="connsiteX24" fmla="*/ 13452 w 19928"/>
                <a:gd name="connsiteY24" fmla="*/ 26961 h 43276"/>
                <a:gd name="connsiteX25" fmla="*/ 10761 w 19928"/>
                <a:gd name="connsiteY25" fmla="*/ 26762 h 43276"/>
                <a:gd name="connsiteX26" fmla="*/ 10164 w 19928"/>
                <a:gd name="connsiteY26" fmla="*/ 27160 h 43276"/>
                <a:gd name="connsiteX27" fmla="*/ 6576 w 19928"/>
                <a:gd name="connsiteY27" fmla="*/ 30841 h 43276"/>
                <a:gd name="connsiteX28" fmla="*/ 5979 w 19928"/>
                <a:gd name="connsiteY28" fmla="*/ 31836 h 43276"/>
                <a:gd name="connsiteX29" fmla="*/ 2491 w 19928"/>
                <a:gd name="connsiteY29" fmla="*/ 27856 h 43276"/>
                <a:gd name="connsiteX30" fmla="*/ 1993 w 19928"/>
                <a:gd name="connsiteY30" fmla="*/ 26861 h 43276"/>
                <a:gd name="connsiteX31" fmla="*/ 1395 w 19928"/>
                <a:gd name="connsiteY31" fmla="*/ 24971 h 43276"/>
                <a:gd name="connsiteX32" fmla="*/ 797 w 19928"/>
                <a:gd name="connsiteY32" fmla="*/ 24175 h 43276"/>
                <a:gd name="connsiteX33" fmla="*/ 100 w 19928"/>
                <a:gd name="connsiteY33" fmla="*/ 24175 h 43276"/>
                <a:gd name="connsiteX34" fmla="*/ 0 w 19928"/>
                <a:gd name="connsiteY34" fmla="*/ 26762 h 43276"/>
                <a:gd name="connsiteX35" fmla="*/ 399 w 19928"/>
                <a:gd name="connsiteY35" fmla="*/ 29946 h 43276"/>
                <a:gd name="connsiteX36" fmla="*/ 1096 w 19928"/>
                <a:gd name="connsiteY36" fmla="*/ 33030 h 43276"/>
                <a:gd name="connsiteX37" fmla="*/ 2092 w 19928"/>
                <a:gd name="connsiteY37" fmla="*/ 35119 h 43276"/>
                <a:gd name="connsiteX38" fmla="*/ 2391 w 19928"/>
                <a:gd name="connsiteY38" fmla="*/ 36213 h 43276"/>
                <a:gd name="connsiteX39" fmla="*/ 1594 w 19928"/>
                <a:gd name="connsiteY39" fmla="*/ 37009 h 43276"/>
                <a:gd name="connsiteX40" fmla="*/ 598 w 19928"/>
                <a:gd name="connsiteY40" fmla="*/ 37706 h 43276"/>
                <a:gd name="connsiteX41" fmla="*/ 100 w 19928"/>
                <a:gd name="connsiteY41" fmla="*/ 38899 h 43276"/>
                <a:gd name="connsiteX42" fmla="*/ 299 w 19928"/>
                <a:gd name="connsiteY42" fmla="*/ 40591 h 43276"/>
                <a:gd name="connsiteX43" fmla="*/ 1096 w 19928"/>
                <a:gd name="connsiteY43" fmla="*/ 41088 h 43276"/>
                <a:gd name="connsiteX44" fmla="*/ 2092 w 19928"/>
                <a:gd name="connsiteY44" fmla="*/ 41088 h 43276"/>
                <a:gd name="connsiteX45" fmla="*/ 7672 w 19928"/>
                <a:gd name="connsiteY45" fmla="*/ 42879 h 43276"/>
                <a:gd name="connsiteX46" fmla="*/ 7772 w 19928"/>
                <a:gd name="connsiteY46" fmla="*/ 43277 h 43276"/>
                <a:gd name="connsiteX47" fmla="*/ 8968 w 19928"/>
                <a:gd name="connsiteY47" fmla="*/ 42680 h 43276"/>
                <a:gd name="connsiteX48" fmla="*/ 9964 w 19928"/>
                <a:gd name="connsiteY48" fmla="*/ 41685 h 43276"/>
                <a:gd name="connsiteX49" fmla="*/ 11658 w 19928"/>
                <a:gd name="connsiteY49" fmla="*/ 39198 h 43276"/>
                <a:gd name="connsiteX50" fmla="*/ 14249 w 19928"/>
                <a:gd name="connsiteY50" fmla="*/ 33428 h 43276"/>
                <a:gd name="connsiteX51" fmla="*/ 15146 w 19928"/>
                <a:gd name="connsiteY51" fmla="*/ 29647 h 43276"/>
                <a:gd name="connsiteX52" fmla="*/ 16043 w 19928"/>
                <a:gd name="connsiteY52" fmla="*/ 28752 h 43276"/>
                <a:gd name="connsiteX53" fmla="*/ 16939 w 19928"/>
                <a:gd name="connsiteY53" fmla="*/ 28055 h 43276"/>
                <a:gd name="connsiteX54" fmla="*/ 17338 w 19928"/>
                <a:gd name="connsiteY54" fmla="*/ 27458 h 43276"/>
                <a:gd name="connsiteX55" fmla="*/ 18235 w 19928"/>
                <a:gd name="connsiteY55" fmla="*/ 23081 h 43276"/>
                <a:gd name="connsiteX56" fmla="*/ 18633 w 19928"/>
                <a:gd name="connsiteY56" fmla="*/ 22385 h 43276"/>
                <a:gd name="connsiteX57" fmla="*/ 19331 w 19928"/>
                <a:gd name="connsiteY57" fmla="*/ 22186 h 43276"/>
                <a:gd name="connsiteX58" fmla="*/ 19829 w 19928"/>
                <a:gd name="connsiteY58" fmla="*/ 21987 h 43276"/>
                <a:gd name="connsiteX59" fmla="*/ 19929 w 19928"/>
                <a:gd name="connsiteY59" fmla="*/ 21091 h 43276"/>
                <a:gd name="connsiteX60" fmla="*/ 19630 w 19928"/>
                <a:gd name="connsiteY60" fmla="*/ 20295 h 43276"/>
                <a:gd name="connsiteX61" fmla="*/ 18534 w 19928"/>
                <a:gd name="connsiteY61" fmla="*/ 19002 h 43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9928" h="43276">
                  <a:moveTo>
                    <a:pt x="18534" y="19002"/>
                  </a:moveTo>
                  <a:lnTo>
                    <a:pt x="18235" y="18306"/>
                  </a:lnTo>
                  <a:lnTo>
                    <a:pt x="17537" y="16017"/>
                  </a:lnTo>
                  <a:lnTo>
                    <a:pt x="17438" y="15420"/>
                  </a:lnTo>
                  <a:lnTo>
                    <a:pt x="17338" y="13928"/>
                  </a:lnTo>
                  <a:lnTo>
                    <a:pt x="16641" y="11043"/>
                  </a:lnTo>
                  <a:lnTo>
                    <a:pt x="14747" y="8357"/>
                  </a:lnTo>
                  <a:lnTo>
                    <a:pt x="12456" y="6267"/>
                  </a:lnTo>
                  <a:lnTo>
                    <a:pt x="10363" y="4775"/>
                  </a:lnTo>
                  <a:lnTo>
                    <a:pt x="5979" y="3383"/>
                  </a:lnTo>
                  <a:lnTo>
                    <a:pt x="5879" y="2288"/>
                  </a:lnTo>
                  <a:lnTo>
                    <a:pt x="5480" y="1293"/>
                  </a:lnTo>
                  <a:lnTo>
                    <a:pt x="4982" y="497"/>
                  </a:lnTo>
                  <a:lnTo>
                    <a:pt x="4285" y="0"/>
                  </a:lnTo>
                  <a:lnTo>
                    <a:pt x="4285" y="3283"/>
                  </a:lnTo>
                  <a:lnTo>
                    <a:pt x="5381" y="4676"/>
                  </a:lnTo>
                  <a:lnTo>
                    <a:pt x="7274" y="5372"/>
                  </a:lnTo>
                  <a:lnTo>
                    <a:pt x="9466" y="6765"/>
                  </a:lnTo>
                  <a:lnTo>
                    <a:pt x="11060" y="8854"/>
                  </a:lnTo>
                  <a:lnTo>
                    <a:pt x="12754" y="12038"/>
                  </a:lnTo>
                  <a:lnTo>
                    <a:pt x="14149" y="15222"/>
                  </a:lnTo>
                  <a:lnTo>
                    <a:pt x="14747" y="17808"/>
                  </a:lnTo>
                  <a:lnTo>
                    <a:pt x="15146" y="22385"/>
                  </a:lnTo>
                  <a:lnTo>
                    <a:pt x="14847" y="25469"/>
                  </a:lnTo>
                  <a:lnTo>
                    <a:pt x="13452" y="26961"/>
                  </a:lnTo>
                  <a:lnTo>
                    <a:pt x="10761" y="26762"/>
                  </a:lnTo>
                  <a:lnTo>
                    <a:pt x="10164" y="27160"/>
                  </a:lnTo>
                  <a:lnTo>
                    <a:pt x="6576" y="30841"/>
                  </a:lnTo>
                  <a:lnTo>
                    <a:pt x="5979" y="31836"/>
                  </a:lnTo>
                  <a:lnTo>
                    <a:pt x="2491" y="27856"/>
                  </a:lnTo>
                  <a:lnTo>
                    <a:pt x="1993" y="26861"/>
                  </a:lnTo>
                  <a:lnTo>
                    <a:pt x="1395" y="24971"/>
                  </a:lnTo>
                  <a:lnTo>
                    <a:pt x="797" y="24175"/>
                  </a:lnTo>
                  <a:lnTo>
                    <a:pt x="100" y="24175"/>
                  </a:lnTo>
                  <a:lnTo>
                    <a:pt x="0" y="26762"/>
                  </a:lnTo>
                  <a:lnTo>
                    <a:pt x="399" y="29946"/>
                  </a:lnTo>
                  <a:lnTo>
                    <a:pt x="1096" y="33030"/>
                  </a:lnTo>
                  <a:lnTo>
                    <a:pt x="2092" y="35119"/>
                  </a:lnTo>
                  <a:lnTo>
                    <a:pt x="2391" y="36213"/>
                  </a:lnTo>
                  <a:lnTo>
                    <a:pt x="1594" y="37009"/>
                  </a:lnTo>
                  <a:lnTo>
                    <a:pt x="598" y="37706"/>
                  </a:lnTo>
                  <a:lnTo>
                    <a:pt x="100" y="38899"/>
                  </a:lnTo>
                  <a:lnTo>
                    <a:pt x="299" y="40591"/>
                  </a:lnTo>
                  <a:lnTo>
                    <a:pt x="1096" y="41088"/>
                  </a:lnTo>
                  <a:lnTo>
                    <a:pt x="2092" y="41088"/>
                  </a:lnTo>
                  <a:lnTo>
                    <a:pt x="7672" y="42879"/>
                  </a:lnTo>
                  <a:lnTo>
                    <a:pt x="7772" y="43277"/>
                  </a:lnTo>
                  <a:lnTo>
                    <a:pt x="8968" y="42680"/>
                  </a:lnTo>
                  <a:lnTo>
                    <a:pt x="9964" y="41685"/>
                  </a:lnTo>
                  <a:lnTo>
                    <a:pt x="11658" y="39198"/>
                  </a:lnTo>
                  <a:lnTo>
                    <a:pt x="14249" y="33428"/>
                  </a:lnTo>
                  <a:lnTo>
                    <a:pt x="15146" y="29647"/>
                  </a:lnTo>
                  <a:lnTo>
                    <a:pt x="16043" y="28752"/>
                  </a:lnTo>
                  <a:lnTo>
                    <a:pt x="16939" y="28055"/>
                  </a:lnTo>
                  <a:lnTo>
                    <a:pt x="17338" y="27458"/>
                  </a:lnTo>
                  <a:lnTo>
                    <a:pt x="18235" y="23081"/>
                  </a:lnTo>
                  <a:lnTo>
                    <a:pt x="18633" y="22385"/>
                  </a:lnTo>
                  <a:lnTo>
                    <a:pt x="19331" y="22186"/>
                  </a:lnTo>
                  <a:lnTo>
                    <a:pt x="19829" y="21987"/>
                  </a:lnTo>
                  <a:lnTo>
                    <a:pt x="19929" y="21091"/>
                  </a:lnTo>
                  <a:lnTo>
                    <a:pt x="19630" y="20295"/>
                  </a:lnTo>
                  <a:lnTo>
                    <a:pt x="18534" y="1900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4" name="Freeform: Shape 1193">
              <a:extLst>
                <a:ext uri="{FF2B5EF4-FFF2-40B4-BE49-F238E27FC236}">
                  <a16:creationId xmlns:a16="http://schemas.microsoft.com/office/drawing/2014/main" id="{48ED8092-089C-463D-B759-CEB97CC4990D}"/>
                </a:ext>
              </a:extLst>
            </p:cNvPr>
            <p:cNvSpPr/>
            <p:nvPr/>
          </p:nvSpPr>
          <p:spPr>
            <a:xfrm>
              <a:off x="1176429" y="4199598"/>
              <a:ext cx="56797" cy="228124"/>
            </a:xfrm>
            <a:custGeom>
              <a:avLst/>
              <a:gdLst>
                <a:gd name="connsiteX0" fmla="*/ 20826 w 56797"/>
                <a:gd name="connsiteY0" fmla="*/ 149331 h 228124"/>
                <a:gd name="connsiteX1" fmla="*/ 23416 w 56797"/>
                <a:gd name="connsiteY1" fmla="*/ 125653 h 228124"/>
                <a:gd name="connsiteX2" fmla="*/ 29594 w 56797"/>
                <a:gd name="connsiteY2" fmla="*/ 102970 h 228124"/>
                <a:gd name="connsiteX3" fmla="*/ 32384 w 56797"/>
                <a:gd name="connsiteY3" fmla="*/ 85360 h 228124"/>
                <a:gd name="connsiteX4" fmla="*/ 33879 w 56797"/>
                <a:gd name="connsiteY4" fmla="*/ 80386 h 228124"/>
                <a:gd name="connsiteX5" fmla="*/ 34676 w 56797"/>
                <a:gd name="connsiteY5" fmla="*/ 78794 h 228124"/>
                <a:gd name="connsiteX6" fmla="*/ 35573 w 56797"/>
                <a:gd name="connsiteY6" fmla="*/ 77501 h 228124"/>
                <a:gd name="connsiteX7" fmla="*/ 36171 w 56797"/>
                <a:gd name="connsiteY7" fmla="*/ 76207 h 228124"/>
                <a:gd name="connsiteX8" fmla="*/ 36570 w 56797"/>
                <a:gd name="connsiteY8" fmla="*/ 71133 h 228124"/>
                <a:gd name="connsiteX9" fmla="*/ 36968 w 56797"/>
                <a:gd name="connsiteY9" fmla="*/ 69641 h 228124"/>
                <a:gd name="connsiteX10" fmla="*/ 39658 w 56797"/>
                <a:gd name="connsiteY10" fmla="*/ 65562 h 228124"/>
                <a:gd name="connsiteX11" fmla="*/ 39658 w 56797"/>
                <a:gd name="connsiteY11" fmla="*/ 62677 h 228124"/>
                <a:gd name="connsiteX12" fmla="*/ 39061 w 56797"/>
                <a:gd name="connsiteY12" fmla="*/ 59692 h 228124"/>
                <a:gd name="connsiteX13" fmla="*/ 39061 w 56797"/>
                <a:gd name="connsiteY13" fmla="*/ 56708 h 228124"/>
                <a:gd name="connsiteX14" fmla="*/ 43445 w 56797"/>
                <a:gd name="connsiteY14" fmla="*/ 49346 h 228124"/>
                <a:gd name="connsiteX15" fmla="*/ 43046 w 56797"/>
                <a:gd name="connsiteY15" fmla="*/ 48152 h 228124"/>
                <a:gd name="connsiteX16" fmla="*/ 45238 w 56797"/>
                <a:gd name="connsiteY16" fmla="*/ 36810 h 228124"/>
                <a:gd name="connsiteX17" fmla="*/ 46036 w 56797"/>
                <a:gd name="connsiteY17" fmla="*/ 36810 h 228124"/>
                <a:gd name="connsiteX18" fmla="*/ 46036 w 56797"/>
                <a:gd name="connsiteY18" fmla="*/ 39795 h 228124"/>
                <a:gd name="connsiteX19" fmla="*/ 51715 w 56797"/>
                <a:gd name="connsiteY19" fmla="*/ 30443 h 228124"/>
                <a:gd name="connsiteX20" fmla="*/ 54306 w 56797"/>
                <a:gd name="connsiteY20" fmla="*/ 24474 h 228124"/>
                <a:gd name="connsiteX21" fmla="*/ 54306 w 56797"/>
                <a:gd name="connsiteY21" fmla="*/ 20296 h 228124"/>
                <a:gd name="connsiteX22" fmla="*/ 53808 w 56797"/>
                <a:gd name="connsiteY22" fmla="*/ 19201 h 228124"/>
                <a:gd name="connsiteX23" fmla="*/ 53708 w 56797"/>
                <a:gd name="connsiteY23" fmla="*/ 17410 h 228124"/>
                <a:gd name="connsiteX24" fmla="*/ 53808 w 56797"/>
                <a:gd name="connsiteY24" fmla="*/ 15719 h 228124"/>
                <a:gd name="connsiteX25" fmla="*/ 54306 w 56797"/>
                <a:gd name="connsiteY25" fmla="*/ 14625 h 228124"/>
                <a:gd name="connsiteX26" fmla="*/ 53907 w 56797"/>
                <a:gd name="connsiteY26" fmla="*/ 13829 h 228124"/>
                <a:gd name="connsiteX27" fmla="*/ 52911 w 56797"/>
                <a:gd name="connsiteY27" fmla="*/ 12336 h 228124"/>
                <a:gd name="connsiteX28" fmla="*/ 52413 w 56797"/>
                <a:gd name="connsiteY28" fmla="*/ 11043 h 228124"/>
                <a:gd name="connsiteX29" fmla="*/ 53509 w 56797"/>
                <a:gd name="connsiteY29" fmla="*/ 10347 h 228124"/>
                <a:gd name="connsiteX30" fmla="*/ 56100 w 56797"/>
                <a:gd name="connsiteY30" fmla="*/ 9551 h 228124"/>
                <a:gd name="connsiteX31" fmla="*/ 56797 w 56797"/>
                <a:gd name="connsiteY31" fmla="*/ 7760 h 228124"/>
                <a:gd name="connsiteX32" fmla="*/ 55402 w 56797"/>
                <a:gd name="connsiteY32" fmla="*/ 6069 h 228124"/>
                <a:gd name="connsiteX33" fmla="*/ 52114 w 56797"/>
                <a:gd name="connsiteY33" fmla="*/ 5671 h 228124"/>
                <a:gd name="connsiteX34" fmla="*/ 50420 w 56797"/>
                <a:gd name="connsiteY34" fmla="*/ 5472 h 228124"/>
                <a:gd name="connsiteX35" fmla="*/ 49424 w 56797"/>
                <a:gd name="connsiteY35" fmla="*/ 4676 h 228124"/>
                <a:gd name="connsiteX36" fmla="*/ 48626 w 56797"/>
                <a:gd name="connsiteY36" fmla="*/ 3681 h 228124"/>
                <a:gd name="connsiteX37" fmla="*/ 47829 w 56797"/>
                <a:gd name="connsiteY37" fmla="*/ 2885 h 228124"/>
                <a:gd name="connsiteX38" fmla="*/ 42648 w 56797"/>
                <a:gd name="connsiteY38" fmla="*/ 0 h 228124"/>
                <a:gd name="connsiteX39" fmla="*/ 39758 w 56797"/>
                <a:gd name="connsiteY39" fmla="*/ 1791 h 228124"/>
                <a:gd name="connsiteX40" fmla="*/ 39658 w 56797"/>
                <a:gd name="connsiteY40" fmla="*/ 4576 h 228124"/>
                <a:gd name="connsiteX41" fmla="*/ 41552 w 56797"/>
                <a:gd name="connsiteY41" fmla="*/ 6865 h 228124"/>
                <a:gd name="connsiteX42" fmla="*/ 44242 w 56797"/>
                <a:gd name="connsiteY42" fmla="*/ 7561 h 228124"/>
                <a:gd name="connsiteX43" fmla="*/ 43046 w 56797"/>
                <a:gd name="connsiteY43" fmla="*/ 10148 h 228124"/>
                <a:gd name="connsiteX44" fmla="*/ 40356 w 56797"/>
                <a:gd name="connsiteY44" fmla="*/ 13829 h 228124"/>
                <a:gd name="connsiteX45" fmla="*/ 39061 w 56797"/>
                <a:gd name="connsiteY45" fmla="*/ 16017 h 228124"/>
                <a:gd name="connsiteX46" fmla="*/ 39758 w 56797"/>
                <a:gd name="connsiteY46" fmla="*/ 18107 h 228124"/>
                <a:gd name="connsiteX47" fmla="*/ 39459 w 56797"/>
                <a:gd name="connsiteY47" fmla="*/ 19997 h 228124"/>
                <a:gd name="connsiteX48" fmla="*/ 39758 w 56797"/>
                <a:gd name="connsiteY48" fmla="*/ 21091 h 228124"/>
                <a:gd name="connsiteX49" fmla="*/ 41651 w 56797"/>
                <a:gd name="connsiteY49" fmla="*/ 20793 h 228124"/>
                <a:gd name="connsiteX50" fmla="*/ 41552 w 56797"/>
                <a:gd name="connsiteY50" fmla="*/ 22484 h 228124"/>
                <a:gd name="connsiteX51" fmla="*/ 40854 w 56797"/>
                <a:gd name="connsiteY51" fmla="*/ 24275 h 228124"/>
                <a:gd name="connsiteX52" fmla="*/ 39758 w 56797"/>
                <a:gd name="connsiteY52" fmla="*/ 25469 h 228124"/>
                <a:gd name="connsiteX53" fmla="*/ 38263 w 56797"/>
                <a:gd name="connsiteY53" fmla="*/ 25469 h 228124"/>
                <a:gd name="connsiteX54" fmla="*/ 37267 w 56797"/>
                <a:gd name="connsiteY54" fmla="*/ 24474 h 228124"/>
                <a:gd name="connsiteX55" fmla="*/ 36868 w 56797"/>
                <a:gd name="connsiteY55" fmla="*/ 21887 h 228124"/>
                <a:gd name="connsiteX56" fmla="*/ 35573 w 56797"/>
                <a:gd name="connsiteY56" fmla="*/ 20793 h 228124"/>
                <a:gd name="connsiteX57" fmla="*/ 31587 w 56797"/>
                <a:gd name="connsiteY57" fmla="*/ 21688 h 228124"/>
                <a:gd name="connsiteX58" fmla="*/ 30392 w 56797"/>
                <a:gd name="connsiteY58" fmla="*/ 21688 h 228124"/>
                <a:gd name="connsiteX59" fmla="*/ 28698 w 56797"/>
                <a:gd name="connsiteY59" fmla="*/ 21290 h 228124"/>
                <a:gd name="connsiteX60" fmla="*/ 27303 w 56797"/>
                <a:gd name="connsiteY60" fmla="*/ 20693 h 228124"/>
                <a:gd name="connsiteX61" fmla="*/ 27004 w 56797"/>
                <a:gd name="connsiteY61" fmla="*/ 19997 h 228124"/>
                <a:gd name="connsiteX62" fmla="*/ 28698 w 56797"/>
                <a:gd name="connsiteY62" fmla="*/ 19002 h 228124"/>
                <a:gd name="connsiteX63" fmla="*/ 26904 w 56797"/>
                <a:gd name="connsiteY63" fmla="*/ 17908 h 228124"/>
                <a:gd name="connsiteX64" fmla="*/ 28399 w 56797"/>
                <a:gd name="connsiteY64" fmla="*/ 17410 h 228124"/>
                <a:gd name="connsiteX65" fmla="*/ 29295 w 56797"/>
                <a:gd name="connsiteY65" fmla="*/ 16415 h 228124"/>
                <a:gd name="connsiteX66" fmla="*/ 29495 w 56797"/>
                <a:gd name="connsiteY66" fmla="*/ 15321 h 228124"/>
                <a:gd name="connsiteX67" fmla="*/ 28698 w 56797"/>
                <a:gd name="connsiteY67" fmla="*/ 14227 h 228124"/>
                <a:gd name="connsiteX68" fmla="*/ 27901 w 56797"/>
                <a:gd name="connsiteY68" fmla="*/ 13928 h 228124"/>
                <a:gd name="connsiteX69" fmla="*/ 26605 w 56797"/>
                <a:gd name="connsiteY69" fmla="*/ 13829 h 228124"/>
                <a:gd name="connsiteX70" fmla="*/ 23416 w 56797"/>
                <a:gd name="connsiteY70" fmla="*/ 14227 h 228124"/>
                <a:gd name="connsiteX71" fmla="*/ 23516 w 56797"/>
                <a:gd name="connsiteY71" fmla="*/ 13928 h 228124"/>
                <a:gd name="connsiteX72" fmla="*/ 22819 w 56797"/>
                <a:gd name="connsiteY72" fmla="*/ 13729 h 228124"/>
                <a:gd name="connsiteX73" fmla="*/ 21922 w 56797"/>
                <a:gd name="connsiteY73" fmla="*/ 13431 h 228124"/>
                <a:gd name="connsiteX74" fmla="*/ 21324 w 56797"/>
                <a:gd name="connsiteY74" fmla="*/ 13331 h 228124"/>
                <a:gd name="connsiteX75" fmla="*/ 20128 w 56797"/>
                <a:gd name="connsiteY75" fmla="*/ 13729 h 228124"/>
                <a:gd name="connsiteX76" fmla="*/ 20128 w 56797"/>
                <a:gd name="connsiteY76" fmla="*/ 14525 h 228124"/>
                <a:gd name="connsiteX77" fmla="*/ 20925 w 56797"/>
                <a:gd name="connsiteY77" fmla="*/ 16017 h 228124"/>
                <a:gd name="connsiteX78" fmla="*/ 20228 w 56797"/>
                <a:gd name="connsiteY78" fmla="*/ 20992 h 228124"/>
                <a:gd name="connsiteX79" fmla="*/ 19530 w 56797"/>
                <a:gd name="connsiteY79" fmla="*/ 21688 h 228124"/>
                <a:gd name="connsiteX80" fmla="*/ 18733 w 56797"/>
                <a:gd name="connsiteY80" fmla="*/ 22484 h 228124"/>
                <a:gd name="connsiteX81" fmla="*/ 18036 w 56797"/>
                <a:gd name="connsiteY81" fmla="*/ 24275 h 228124"/>
                <a:gd name="connsiteX82" fmla="*/ 17637 w 56797"/>
                <a:gd name="connsiteY82" fmla="*/ 26265 h 228124"/>
                <a:gd name="connsiteX83" fmla="*/ 17438 w 56797"/>
                <a:gd name="connsiteY83" fmla="*/ 27856 h 228124"/>
                <a:gd name="connsiteX84" fmla="*/ 16641 w 56797"/>
                <a:gd name="connsiteY84" fmla="*/ 28553 h 228124"/>
                <a:gd name="connsiteX85" fmla="*/ 14847 w 56797"/>
                <a:gd name="connsiteY85" fmla="*/ 27956 h 228124"/>
                <a:gd name="connsiteX86" fmla="*/ 11758 w 56797"/>
                <a:gd name="connsiteY86" fmla="*/ 26464 h 228124"/>
                <a:gd name="connsiteX87" fmla="*/ 10463 w 56797"/>
                <a:gd name="connsiteY87" fmla="*/ 26762 h 228124"/>
                <a:gd name="connsiteX88" fmla="*/ 9267 w 56797"/>
                <a:gd name="connsiteY88" fmla="*/ 27459 h 228124"/>
                <a:gd name="connsiteX89" fmla="*/ 6975 w 56797"/>
                <a:gd name="connsiteY89" fmla="*/ 29050 h 228124"/>
                <a:gd name="connsiteX90" fmla="*/ 9267 w 56797"/>
                <a:gd name="connsiteY90" fmla="*/ 28453 h 228124"/>
                <a:gd name="connsiteX91" fmla="*/ 10064 w 56797"/>
                <a:gd name="connsiteY91" fmla="*/ 28354 h 228124"/>
                <a:gd name="connsiteX92" fmla="*/ 11758 w 56797"/>
                <a:gd name="connsiteY92" fmla="*/ 28851 h 228124"/>
                <a:gd name="connsiteX93" fmla="*/ 13651 w 56797"/>
                <a:gd name="connsiteY93" fmla="*/ 29647 h 228124"/>
                <a:gd name="connsiteX94" fmla="*/ 15445 w 56797"/>
                <a:gd name="connsiteY94" fmla="*/ 30244 h 228124"/>
                <a:gd name="connsiteX95" fmla="*/ 16940 w 56797"/>
                <a:gd name="connsiteY95" fmla="*/ 29747 h 228124"/>
                <a:gd name="connsiteX96" fmla="*/ 18334 w 56797"/>
                <a:gd name="connsiteY96" fmla="*/ 30841 h 228124"/>
                <a:gd name="connsiteX97" fmla="*/ 19730 w 56797"/>
                <a:gd name="connsiteY97" fmla="*/ 34821 h 228124"/>
                <a:gd name="connsiteX98" fmla="*/ 20726 w 56797"/>
                <a:gd name="connsiteY98" fmla="*/ 39497 h 228124"/>
                <a:gd name="connsiteX99" fmla="*/ 20925 w 56797"/>
                <a:gd name="connsiteY99" fmla="*/ 42481 h 228124"/>
                <a:gd name="connsiteX100" fmla="*/ 20327 w 56797"/>
                <a:gd name="connsiteY100" fmla="*/ 44272 h 228124"/>
                <a:gd name="connsiteX101" fmla="*/ 18534 w 56797"/>
                <a:gd name="connsiteY101" fmla="*/ 46759 h 228124"/>
                <a:gd name="connsiteX102" fmla="*/ 16940 w 56797"/>
                <a:gd name="connsiteY102" fmla="*/ 60588 h 228124"/>
                <a:gd name="connsiteX103" fmla="*/ 15644 w 56797"/>
                <a:gd name="connsiteY103" fmla="*/ 64070 h 228124"/>
                <a:gd name="connsiteX104" fmla="*/ 13651 w 56797"/>
                <a:gd name="connsiteY104" fmla="*/ 66856 h 228124"/>
                <a:gd name="connsiteX105" fmla="*/ 11360 w 56797"/>
                <a:gd name="connsiteY105" fmla="*/ 68945 h 228124"/>
                <a:gd name="connsiteX106" fmla="*/ 12555 w 56797"/>
                <a:gd name="connsiteY106" fmla="*/ 67950 h 228124"/>
                <a:gd name="connsiteX107" fmla="*/ 14747 w 56797"/>
                <a:gd name="connsiteY107" fmla="*/ 67054 h 228124"/>
                <a:gd name="connsiteX108" fmla="*/ 16641 w 56797"/>
                <a:gd name="connsiteY108" fmla="*/ 66458 h 228124"/>
                <a:gd name="connsiteX109" fmla="*/ 17438 w 56797"/>
                <a:gd name="connsiteY109" fmla="*/ 66657 h 228124"/>
                <a:gd name="connsiteX110" fmla="*/ 17737 w 56797"/>
                <a:gd name="connsiteY110" fmla="*/ 67751 h 228124"/>
                <a:gd name="connsiteX111" fmla="*/ 18434 w 56797"/>
                <a:gd name="connsiteY111" fmla="*/ 68746 h 228124"/>
                <a:gd name="connsiteX112" fmla="*/ 19331 w 56797"/>
                <a:gd name="connsiteY112" fmla="*/ 69641 h 228124"/>
                <a:gd name="connsiteX113" fmla="*/ 20427 w 56797"/>
                <a:gd name="connsiteY113" fmla="*/ 69940 h 228124"/>
                <a:gd name="connsiteX114" fmla="*/ 21922 w 56797"/>
                <a:gd name="connsiteY114" fmla="*/ 70238 h 228124"/>
                <a:gd name="connsiteX115" fmla="*/ 23715 w 56797"/>
                <a:gd name="connsiteY115" fmla="*/ 70935 h 228124"/>
                <a:gd name="connsiteX116" fmla="*/ 25509 w 56797"/>
                <a:gd name="connsiteY116" fmla="*/ 71830 h 228124"/>
                <a:gd name="connsiteX117" fmla="*/ 27901 w 56797"/>
                <a:gd name="connsiteY117" fmla="*/ 73621 h 228124"/>
                <a:gd name="connsiteX118" fmla="*/ 28598 w 56797"/>
                <a:gd name="connsiteY118" fmla="*/ 74317 h 228124"/>
                <a:gd name="connsiteX119" fmla="*/ 28797 w 56797"/>
                <a:gd name="connsiteY119" fmla="*/ 75511 h 228124"/>
                <a:gd name="connsiteX120" fmla="*/ 28698 w 56797"/>
                <a:gd name="connsiteY120" fmla="*/ 77600 h 228124"/>
                <a:gd name="connsiteX121" fmla="*/ 27103 w 56797"/>
                <a:gd name="connsiteY121" fmla="*/ 76804 h 228124"/>
                <a:gd name="connsiteX122" fmla="*/ 25808 w 56797"/>
                <a:gd name="connsiteY122" fmla="*/ 76705 h 228124"/>
                <a:gd name="connsiteX123" fmla="*/ 25409 w 56797"/>
                <a:gd name="connsiteY123" fmla="*/ 77600 h 228124"/>
                <a:gd name="connsiteX124" fmla="*/ 26107 w 56797"/>
                <a:gd name="connsiteY124" fmla="*/ 79391 h 228124"/>
                <a:gd name="connsiteX125" fmla="*/ 24413 w 56797"/>
                <a:gd name="connsiteY125" fmla="*/ 81978 h 228124"/>
                <a:gd name="connsiteX126" fmla="*/ 23416 w 56797"/>
                <a:gd name="connsiteY126" fmla="*/ 82873 h 228124"/>
                <a:gd name="connsiteX127" fmla="*/ 22121 w 56797"/>
                <a:gd name="connsiteY127" fmla="*/ 83271 h 228124"/>
                <a:gd name="connsiteX128" fmla="*/ 15744 w 56797"/>
                <a:gd name="connsiteY128" fmla="*/ 83271 h 228124"/>
                <a:gd name="connsiteX129" fmla="*/ 15146 w 56797"/>
                <a:gd name="connsiteY129" fmla="*/ 84664 h 228124"/>
                <a:gd name="connsiteX130" fmla="*/ 15246 w 56797"/>
                <a:gd name="connsiteY130" fmla="*/ 86853 h 228124"/>
                <a:gd name="connsiteX131" fmla="*/ 15843 w 56797"/>
                <a:gd name="connsiteY131" fmla="*/ 88842 h 228124"/>
                <a:gd name="connsiteX132" fmla="*/ 16940 w 56797"/>
                <a:gd name="connsiteY132" fmla="*/ 89738 h 228124"/>
                <a:gd name="connsiteX133" fmla="*/ 18932 w 56797"/>
                <a:gd name="connsiteY133" fmla="*/ 90036 h 228124"/>
                <a:gd name="connsiteX134" fmla="*/ 18833 w 56797"/>
                <a:gd name="connsiteY134" fmla="*/ 90732 h 228124"/>
                <a:gd name="connsiteX135" fmla="*/ 18036 w 56797"/>
                <a:gd name="connsiteY135" fmla="*/ 91827 h 228124"/>
                <a:gd name="connsiteX136" fmla="*/ 17438 w 56797"/>
                <a:gd name="connsiteY136" fmla="*/ 93120 h 228124"/>
                <a:gd name="connsiteX137" fmla="*/ 19730 w 56797"/>
                <a:gd name="connsiteY137" fmla="*/ 98791 h 228124"/>
                <a:gd name="connsiteX138" fmla="*/ 20327 w 56797"/>
                <a:gd name="connsiteY138" fmla="*/ 102273 h 228124"/>
                <a:gd name="connsiteX139" fmla="*/ 18633 w 56797"/>
                <a:gd name="connsiteY139" fmla="*/ 103964 h 228124"/>
                <a:gd name="connsiteX140" fmla="*/ 17537 w 56797"/>
                <a:gd name="connsiteY140" fmla="*/ 105556 h 228124"/>
                <a:gd name="connsiteX141" fmla="*/ 18733 w 56797"/>
                <a:gd name="connsiteY141" fmla="*/ 108541 h 228124"/>
                <a:gd name="connsiteX142" fmla="*/ 20726 w 56797"/>
                <a:gd name="connsiteY142" fmla="*/ 109635 h 228124"/>
                <a:gd name="connsiteX143" fmla="*/ 21723 w 56797"/>
                <a:gd name="connsiteY143" fmla="*/ 105854 h 228124"/>
                <a:gd name="connsiteX144" fmla="*/ 22619 w 56797"/>
                <a:gd name="connsiteY144" fmla="*/ 105854 h 228124"/>
                <a:gd name="connsiteX145" fmla="*/ 22320 w 56797"/>
                <a:gd name="connsiteY145" fmla="*/ 108640 h 228124"/>
                <a:gd name="connsiteX146" fmla="*/ 21723 w 56797"/>
                <a:gd name="connsiteY146" fmla="*/ 116201 h 228124"/>
                <a:gd name="connsiteX147" fmla="*/ 17139 w 56797"/>
                <a:gd name="connsiteY147" fmla="*/ 130726 h 228124"/>
                <a:gd name="connsiteX148" fmla="*/ 16441 w 56797"/>
                <a:gd name="connsiteY148" fmla="*/ 135502 h 228124"/>
                <a:gd name="connsiteX149" fmla="*/ 15943 w 56797"/>
                <a:gd name="connsiteY149" fmla="*/ 136298 h 228124"/>
                <a:gd name="connsiteX150" fmla="*/ 14747 w 56797"/>
                <a:gd name="connsiteY150" fmla="*/ 135999 h 228124"/>
                <a:gd name="connsiteX151" fmla="*/ 12954 w 56797"/>
                <a:gd name="connsiteY151" fmla="*/ 135005 h 228124"/>
                <a:gd name="connsiteX152" fmla="*/ 12456 w 56797"/>
                <a:gd name="connsiteY152" fmla="*/ 134308 h 228124"/>
                <a:gd name="connsiteX153" fmla="*/ 11360 w 56797"/>
                <a:gd name="connsiteY153" fmla="*/ 131124 h 228124"/>
                <a:gd name="connsiteX154" fmla="*/ 11160 w 56797"/>
                <a:gd name="connsiteY154" fmla="*/ 131124 h 228124"/>
                <a:gd name="connsiteX155" fmla="*/ 10263 w 56797"/>
                <a:gd name="connsiteY155" fmla="*/ 130428 h 228124"/>
                <a:gd name="connsiteX156" fmla="*/ 10064 w 56797"/>
                <a:gd name="connsiteY156" fmla="*/ 130229 h 228124"/>
                <a:gd name="connsiteX157" fmla="*/ 9466 w 56797"/>
                <a:gd name="connsiteY157" fmla="*/ 130030 h 228124"/>
                <a:gd name="connsiteX158" fmla="*/ 9665 w 56797"/>
                <a:gd name="connsiteY158" fmla="*/ 129433 h 228124"/>
                <a:gd name="connsiteX159" fmla="*/ 10562 w 56797"/>
                <a:gd name="connsiteY159" fmla="*/ 128538 h 228124"/>
                <a:gd name="connsiteX160" fmla="*/ 10263 w 56797"/>
                <a:gd name="connsiteY160" fmla="*/ 127145 h 228124"/>
                <a:gd name="connsiteX161" fmla="*/ 10263 w 56797"/>
                <a:gd name="connsiteY161" fmla="*/ 126250 h 228124"/>
                <a:gd name="connsiteX162" fmla="*/ 9964 w 56797"/>
                <a:gd name="connsiteY162" fmla="*/ 125454 h 228124"/>
                <a:gd name="connsiteX163" fmla="*/ 8669 w 56797"/>
                <a:gd name="connsiteY163" fmla="*/ 124757 h 228124"/>
                <a:gd name="connsiteX164" fmla="*/ 7374 w 56797"/>
                <a:gd name="connsiteY164" fmla="*/ 126051 h 228124"/>
                <a:gd name="connsiteX165" fmla="*/ 5680 w 56797"/>
                <a:gd name="connsiteY165" fmla="*/ 126349 h 228124"/>
                <a:gd name="connsiteX166" fmla="*/ 4085 w 56797"/>
                <a:gd name="connsiteY166" fmla="*/ 125852 h 228124"/>
                <a:gd name="connsiteX167" fmla="*/ 2591 w 56797"/>
                <a:gd name="connsiteY167" fmla="*/ 124757 h 228124"/>
                <a:gd name="connsiteX168" fmla="*/ 3587 w 56797"/>
                <a:gd name="connsiteY168" fmla="*/ 126846 h 228124"/>
                <a:gd name="connsiteX169" fmla="*/ 2591 w 56797"/>
                <a:gd name="connsiteY169" fmla="*/ 128140 h 228124"/>
                <a:gd name="connsiteX170" fmla="*/ 997 w 56797"/>
                <a:gd name="connsiteY170" fmla="*/ 129135 h 228124"/>
                <a:gd name="connsiteX171" fmla="*/ 0 w 56797"/>
                <a:gd name="connsiteY171" fmla="*/ 130229 h 228124"/>
                <a:gd name="connsiteX172" fmla="*/ 0 w 56797"/>
                <a:gd name="connsiteY172" fmla="*/ 132219 h 228124"/>
                <a:gd name="connsiteX173" fmla="*/ 997 w 56797"/>
                <a:gd name="connsiteY173" fmla="*/ 133214 h 228124"/>
                <a:gd name="connsiteX174" fmla="*/ 2392 w 56797"/>
                <a:gd name="connsiteY174" fmla="*/ 133114 h 228124"/>
                <a:gd name="connsiteX175" fmla="*/ 3488 w 56797"/>
                <a:gd name="connsiteY175" fmla="*/ 132219 h 228124"/>
                <a:gd name="connsiteX176" fmla="*/ 1993 w 56797"/>
                <a:gd name="connsiteY176" fmla="*/ 137591 h 228124"/>
                <a:gd name="connsiteX177" fmla="*/ 1794 w 56797"/>
                <a:gd name="connsiteY177" fmla="*/ 140277 h 228124"/>
                <a:gd name="connsiteX178" fmla="*/ 2591 w 56797"/>
                <a:gd name="connsiteY178" fmla="*/ 142665 h 228124"/>
                <a:gd name="connsiteX179" fmla="*/ 4185 w 56797"/>
                <a:gd name="connsiteY179" fmla="*/ 143958 h 228124"/>
                <a:gd name="connsiteX180" fmla="*/ 6577 w 56797"/>
                <a:gd name="connsiteY180" fmla="*/ 144555 h 228124"/>
                <a:gd name="connsiteX181" fmla="*/ 9068 w 56797"/>
                <a:gd name="connsiteY181" fmla="*/ 144356 h 228124"/>
                <a:gd name="connsiteX182" fmla="*/ 10961 w 56797"/>
                <a:gd name="connsiteY182" fmla="*/ 143162 h 228124"/>
                <a:gd name="connsiteX183" fmla="*/ 12555 w 56797"/>
                <a:gd name="connsiteY183" fmla="*/ 141272 h 228124"/>
                <a:gd name="connsiteX184" fmla="*/ 14747 w 56797"/>
                <a:gd name="connsiteY184" fmla="*/ 139581 h 228124"/>
                <a:gd name="connsiteX185" fmla="*/ 16641 w 56797"/>
                <a:gd name="connsiteY185" fmla="*/ 139382 h 228124"/>
                <a:gd name="connsiteX186" fmla="*/ 17438 w 56797"/>
                <a:gd name="connsiteY186" fmla="*/ 142168 h 228124"/>
                <a:gd name="connsiteX187" fmla="*/ 17139 w 56797"/>
                <a:gd name="connsiteY187" fmla="*/ 144456 h 228124"/>
                <a:gd name="connsiteX188" fmla="*/ 15943 w 56797"/>
                <a:gd name="connsiteY188" fmla="*/ 149132 h 228124"/>
                <a:gd name="connsiteX189" fmla="*/ 14548 w 56797"/>
                <a:gd name="connsiteY189" fmla="*/ 174501 h 228124"/>
                <a:gd name="connsiteX190" fmla="*/ 13253 w 56797"/>
                <a:gd name="connsiteY190" fmla="*/ 179873 h 228124"/>
                <a:gd name="connsiteX191" fmla="*/ 12555 w 56797"/>
                <a:gd name="connsiteY191" fmla="*/ 187434 h 228124"/>
                <a:gd name="connsiteX192" fmla="*/ 12057 w 56797"/>
                <a:gd name="connsiteY192" fmla="*/ 189921 h 228124"/>
                <a:gd name="connsiteX193" fmla="*/ 11360 w 56797"/>
                <a:gd name="connsiteY193" fmla="*/ 191513 h 228124"/>
                <a:gd name="connsiteX194" fmla="*/ 10662 w 56797"/>
                <a:gd name="connsiteY194" fmla="*/ 190718 h 228124"/>
                <a:gd name="connsiteX195" fmla="*/ 10164 w 56797"/>
                <a:gd name="connsiteY195" fmla="*/ 190021 h 228124"/>
                <a:gd name="connsiteX196" fmla="*/ 9865 w 56797"/>
                <a:gd name="connsiteY196" fmla="*/ 189026 h 228124"/>
                <a:gd name="connsiteX197" fmla="*/ 9566 w 56797"/>
                <a:gd name="connsiteY197" fmla="*/ 187832 h 228124"/>
                <a:gd name="connsiteX198" fmla="*/ 8669 w 56797"/>
                <a:gd name="connsiteY198" fmla="*/ 187832 h 228124"/>
                <a:gd name="connsiteX199" fmla="*/ 8370 w 56797"/>
                <a:gd name="connsiteY199" fmla="*/ 191414 h 228124"/>
                <a:gd name="connsiteX200" fmla="*/ 9167 w 56797"/>
                <a:gd name="connsiteY200" fmla="*/ 194597 h 228124"/>
                <a:gd name="connsiteX201" fmla="*/ 10463 w 56797"/>
                <a:gd name="connsiteY201" fmla="*/ 195791 h 228124"/>
                <a:gd name="connsiteX202" fmla="*/ 11360 w 56797"/>
                <a:gd name="connsiteY202" fmla="*/ 193503 h 228124"/>
                <a:gd name="connsiteX203" fmla="*/ 12256 w 56797"/>
                <a:gd name="connsiteY203" fmla="*/ 196786 h 228124"/>
                <a:gd name="connsiteX204" fmla="*/ 12057 w 56797"/>
                <a:gd name="connsiteY204" fmla="*/ 200965 h 228124"/>
                <a:gd name="connsiteX205" fmla="*/ 11061 w 56797"/>
                <a:gd name="connsiteY205" fmla="*/ 204944 h 228124"/>
                <a:gd name="connsiteX206" fmla="*/ 9566 w 56797"/>
                <a:gd name="connsiteY206" fmla="*/ 207431 h 228124"/>
                <a:gd name="connsiteX207" fmla="*/ 11360 w 56797"/>
                <a:gd name="connsiteY207" fmla="*/ 210416 h 228124"/>
                <a:gd name="connsiteX208" fmla="*/ 12356 w 56797"/>
                <a:gd name="connsiteY208" fmla="*/ 216385 h 228124"/>
                <a:gd name="connsiteX209" fmla="*/ 12954 w 56797"/>
                <a:gd name="connsiteY209" fmla="*/ 228125 h 228124"/>
                <a:gd name="connsiteX210" fmla="*/ 13751 w 56797"/>
                <a:gd name="connsiteY210" fmla="*/ 226533 h 228124"/>
                <a:gd name="connsiteX211" fmla="*/ 15146 w 56797"/>
                <a:gd name="connsiteY211" fmla="*/ 206436 h 228124"/>
                <a:gd name="connsiteX212" fmla="*/ 15345 w 56797"/>
                <a:gd name="connsiteY212" fmla="*/ 201064 h 228124"/>
                <a:gd name="connsiteX213" fmla="*/ 15943 w 56797"/>
                <a:gd name="connsiteY213" fmla="*/ 196289 h 228124"/>
                <a:gd name="connsiteX214" fmla="*/ 17936 w 56797"/>
                <a:gd name="connsiteY214" fmla="*/ 168034 h 228124"/>
                <a:gd name="connsiteX215" fmla="*/ 20826 w 56797"/>
                <a:gd name="connsiteY215" fmla="*/ 149331 h 228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</a:cxnLst>
              <a:rect l="l" t="t" r="r" b="b"/>
              <a:pathLst>
                <a:path w="56797" h="228124">
                  <a:moveTo>
                    <a:pt x="20826" y="149331"/>
                  </a:moveTo>
                  <a:lnTo>
                    <a:pt x="23416" y="125653"/>
                  </a:lnTo>
                  <a:lnTo>
                    <a:pt x="29594" y="102970"/>
                  </a:lnTo>
                  <a:lnTo>
                    <a:pt x="32384" y="85360"/>
                  </a:lnTo>
                  <a:lnTo>
                    <a:pt x="33879" y="80386"/>
                  </a:lnTo>
                  <a:lnTo>
                    <a:pt x="34676" y="78794"/>
                  </a:lnTo>
                  <a:lnTo>
                    <a:pt x="35573" y="77501"/>
                  </a:lnTo>
                  <a:lnTo>
                    <a:pt x="36171" y="76207"/>
                  </a:lnTo>
                  <a:lnTo>
                    <a:pt x="36570" y="71133"/>
                  </a:lnTo>
                  <a:lnTo>
                    <a:pt x="36968" y="69641"/>
                  </a:lnTo>
                  <a:lnTo>
                    <a:pt x="39658" y="65562"/>
                  </a:lnTo>
                  <a:lnTo>
                    <a:pt x="39658" y="62677"/>
                  </a:lnTo>
                  <a:lnTo>
                    <a:pt x="39061" y="59692"/>
                  </a:lnTo>
                  <a:lnTo>
                    <a:pt x="39061" y="56708"/>
                  </a:lnTo>
                  <a:lnTo>
                    <a:pt x="43445" y="49346"/>
                  </a:lnTo>
                  <a:lnTo>
                    <a:pt x="43046" y="48152"/>
                  </a:lnTo>
                  <a:lnTo>
                    <a:pt x="45238" y="36810"/>
                  </a:lnTo>
                  <a:lnTo>
                    <a:pt x="46036" y="36810"/>
                  </a:lnTo>
                  <a:lnTo>
                    <a:pt x="46036" y="39795"/>
                  </a:lnTo>
                  <a:lnTo>
                    <a:pt x="51715" y="30443"/>
                  </a:lnTo>
                  <a:lnTo>
                    <a:pt x="54306" y="24474"/>
                  </a:lnTo>
                  <a:lnTo>
                    <a:pt x="54306" y="20296"/>
                  </a:lnTo>
                  <a:lnTo>
                    <a:pt x="53808" y="19201"/>
                  </a:lnTo>
                  <a:lnTo>
                    <a:pt x="53708" y="17410"/>
                  </a:lnTo>
                  <a:lnTo>
                    <a:pt x="53808" y="15719"/>
                  </a:lnTo>
                  <a:lnTo>
                    <a:pt x="54306" y="14625"/>
                  </a:lnTo>
                  <a:lnTo>
                    <a:pt x="53907" y="13829"/>
                  </a:lnTo>
                  <a:lnTo>
                    <a:pt x="52911" y="12336"/>
                  </a:lnTo>
                  <a:lnTo>
                    <a:pt x="52413" y="11043"/>
                  </a:lnTo>
                  <a:lnTo>
                    <a:pt x="53509" y="10347"/>
                  </a:lnTo>
                  <a:lnTo>
                    <a:pt x="56100" y="9551"/>
                  </a:lnTo>
                  <a:lnTo>
                    <a:pt x="56797" y="7760"/>
                  </a:lnTo>
                  <a:lnTo>
                    <a:pt x="55402" y="6069"/>
                  </a:lnTo>
                  <a:lnTo>
                    <a:pt x="52114" y="5671"/>
                  </a:lnTo>
                  <a:lnTo>
                    <a:pt x="50420" y="5472"/>
                  </a:lnTo>
                  <a:lnTo>
                    <a:pt x="49424" y="4676"/>
                  </a:lnTo>
                  <a:lnTo>
                    <a:pt x="48626" y="3681"/>
                  </a:lnTo>
                  <a:lnTo>
                    <a:pt x="47829" y="2885"/>
                  </a:lnTo>
                  <a:lnTo>
                    <a:pt x="42648" y="0"/>
                  </a:lnTo>
                  <a:lnTo>
                    <a:pt x="39758" y="1791"/>
                  </a:lnTo>
                  <a:lnTo>
                    <a:pt x="39658" y="4576"/>
                  </a:lnTo>
                  <a:lnTo>
                    <a:pt x="41552" y="6865"/>
                  </a:lnTo>
                  <a:lnTo>
                    <a:pt x="44242" y="7561"/>
                  </a:lnTo>
                  <a:lnTo>
                    <a:pt x="43046" y="10148"/>
                  </a:lnTo>
                  <a:lnTo>
                    <a:pt x="40356" y="13829"/>
                  </a:lnTo>
                  <a:lnTo>
                    <a:pt x="39061" y="16017"/>
                  </a:lnTo>
                  <a:lnTo>
                    <a:pt x="39758" y="18107"/>
                  </a:lnTo>
                  <a:lnTo>
                    <a:pt x="39459" y="19997"/>
                  </a:lnTo>
                  <a:lnTo>
                    <a:pt x="39758" y="21091"/>
                  </a:lnTo>
                  <a:lnTo>
                    <a:pt x="41651" y="20793"/>
                  </a:lnTo>
                  <a:lnTo>
                    <a:pt x="41552" y="22484"/>
                  </a:lnTo>
                  <a:lnTo>
                    <a:pt x="40854" y="24275"/>
                  </a:lnTo>
                  <a:lnTo>
                    <a:pt x="39758" y="25469"/>
                  </a:lnTo>
                  <a:lnTo>
                    <a:pt x="38263" y="25469"/>
                  </a:lnTo>
                  <a:lnTo>
                    <a:pt x="37267" y="24474"/>
                  </a:lnTo>
                  <a:lnTo>
                    <a:pt x="36868" y="21887"/>
                  </a:lnTo>
                  <a:lnTo>
                    <a:pt x="35573" y="20793"/>
                  </a:lnTo>
                  <a:lnTo>
                    <a:pt x="31587" y="21688"/>
                  </a:lnTo>
                  <a:lnTo>
                    <a:pt x="30392" y="21688"/>
                  </a:lnTo>
                  <a:lnTo>
                    <a:pt x="28698" y="21290"/>
                  </a:lnTo>
                  <a:lnTo>
                    <a:pt x="27303" y="20693"/>
                  </a:lnTo>
                  <a:lnTo>
                    <a:pt x="27004" y="19997"/>
                  </a:lnTo>
                  <a:lnTo>
                    <a:pt x="28698" y="19002"/>
                  </a:lnTo>
                  <a:lnTo>
                    <a:pt x="26904" y="17908"/>
                  </a:lnTo>
                  <a:lnTo>
                    <a:pt x="28399" y="17410"/>
                  </a:lnTo>
                  <a:lnTo>
                    <a:pt x="29295" y="16415"/>
                  </a:lnTo>
                  <a:lnTo>
                    <a:pt x="29495" y="15321"/>
                  </a:lnTo>
                  <a:lnTo>
                    <a:pt x="28698" y="14227"/>
                  </a:lnTo>
                  <a:lnTo>
                    <a:pt x="27901" y="13928"/>
                  </a:lnTo>
                  <a:lnTo>
                    <a:pt x="26605" y="13829"/>
                  </a:lnTo>
                  <a:lnTo>
                    <a:pt x="23416" y="14227"/>
                  </a:lnTo>
                  <a:lnTo>
                    <a:pt x="23516" y="13928"/>
                  </a:lnTo>
                  <a:lnTo>
                    <a:pt x="22819" y="13729"/>
                  </a:lnTo>
                  <a:lnTo>
                    <a:pt x="21922" y="13431"/>
                  </a:lnTo>
                  <a:lnTo>
                    <a:pt x="21324" y="13331"/>
                  </a:lnTo>
                  <a:lnTo>
                    <a:pt x="20128" y="13729"/>
                  </a:lnTo>
                  <a:lnTo>
                    <a:pt x="20128" y="14525"/>
                  </a:lnTo>
                  <a:lnTo>
                    <a:pt x="20925" y="16017"/>
                  </a:lnTo>
                  <a:lnTo>
                    <a:pt x="20228" y="20992"/>
                  </a:lnTo>
                  <a:lnTo>
                    <a:pt x="19530" y="21688"/>
                  </a:lnTo>
                  <a:lnTo>
                    <a:pt x="18733" y="22484"/>
                  </a:lnTo>
                  <a:lnTo>
                    <a:pt x="18036" y="24275"/>
                  </a:lnTo>
                  <a:lnTo>
                    <a:pt x="17637" y="26265"/>
                  </a:lnTo>
                  <a:lnTo>
                    <a:pt x="17438" y="27856"/>
                  </a:lnTo>
                  <a:lnTo>
                    <a:pt x="16641" y="28553"/>
                  </a:lnTo>
                  <a:lnTo>
                    <a:pt x="14847" y="27956"/>
                  </a:lnTo>
                  <a:lnTo>
                    <a:pt x="11758" y="26464"/>
                  </a:lnTo>
                  <a:lnTo>
                    <a:pt x="10463" y="26762"/>
                  </a:lnTo>
                  <a:lnTo>
                    <a:pt x="9267" y="27459"/>
                  </a:lnTo>
                  <a:lnTo>
                    <a:pt x="6975" y="29050"/>
                  </a:lnTo>
                  <a:lnTo>
                    <a:pt x="9267" y="28453"/>
                  </a:lnTo>
                  <a:lnTo>
                    <a:pt x="10064" y="28354"/>
                  </a:lnTo>
                  <a:lnTo>
                    <a:pt x="11758" y="28851"/>
                  </a:lnTo>
                  <a:lnTo>
                    <a:pt x="13651" y="29647"/>
                  </a:lnTo>
                  <a:lnTo>
                    <a:pt x="15445" y="30244"/>
                  </a:lnTo>
                  <a:lnTo>
                    <a:pt x="16940" y="29747"/>
                  </a:lnTo>
                  <a:lnTo>
                    <a:pt x="18334" y="30841"/>
                  </a:lnTo>
                  <a:lnTo>
                    <a:pt x="19730" y="34821"/>
                  </a:lnTo>
                  <a:lnTo>
                    <a:pt x="20726" y="39497"/>
                  </a:lnTo>
                  <a:lnTo>
                    <a:pt x="20925" y="42481"/>
                  </a:lnTo>
                  <a:lnTo>
                    <a:pt x="20327" y="44272"/>
                  </a:lnTo>
                  <a:lnTo>
                    <a:pt x="18534" y="46759"/>
                  </a:lnTo>
                  <a:lnTo>
                    <a:pt x="16940" y="60588"/>
                  </a:lnTo>
                  <a:lnTo>
                    <a:pt x="15644" y="64070"/>
                  </a:lnTo>
                  <a:lnTo>
                    <a:pt x="13651" y="66856"/>
                  </a:lnTo>
                  <a:lnTo>
                    <a:pt x="11360" y="68945"/>
                  </a:lnTo>
                  <a:lnTo>
                    <a:pt x="12555" y="67950"/>
                  </a:lnTo>
                  <a:lnTo>
                    <a:pt x="14747" y="67054"/>
                  </a:lnTo>
                  <a:lnTo>
                    <a:pt x="16641" y="66458"/>
                  </a:lnTo>
                  <a:lnTo>
                    <a:pt x="17438" y="66657"/>
                  </a:lnTo>
                  <a:lnTo>
                    <a:pt x="17737" y="67751"/>
                  </a:lnTo>
                  <a:lnTo>
                    <a:pt x="18434" y="68746"/>
                  </a:lnTo>
                  <a:lnTo>
                    <a:pt x="19331" y="69641"/>
                  </a:lnTo>
                  <a:lnTo>
                    <a:pt x="20427" y="69940"/>
                  </a:lnTo>
                  <a:lnTo>
                    <a:pt x="21922" y="70238"/>
                  </a:lnTo>
                  <a:lnTo>
                    <a:pt x="23715" y="70935"/>
                  </a:lnTo>
                  <a:lnTo>
                    <a:pt x="25509" y="71830"/>
                  </a:lnTo>
                  <a:lnTo>
                    <a:pt x="27901" y="73621"/>
                  </a:lnTo>
                  <a:lnTo>
                    <a:pt x="28598" y="74317"/>
                  </a:lnTo>
                  <a:lnTo>
                    <a:pt x="28797" y="75511"/>
                  </a:lnTo>
                  <a:lnTo>
                    <a:pt x="28698" y="77600"/>
                  </a:lnTo>
                  <a:lnTo>
                    <a:pt x="27103" y="76804"/>
                  </a:lnTo>
                  <a:lnTo>
                    <a:pt x="25808" y="76705"/>
                  </a:lnTo>
                  <a:lnTo>
                    <a:pt x="25409" y="77600"/>
                  </a:lnTo>
                  <a:lnTo>
                    <a:pt x="26107" y="79391"/>
                  </a:lnTo>
                  <a:lnTo>
                    <a:pt x="24413" y="81978"/>
                  </a:lnTo>
                  <a:lnTo>
                    <a:pt x="23416" y="82873"/>
                  </a:lnTo>
                  <a:lnTo>
                    <a:pt x="22121" y="83271"/>
                  </a:lnTo>
                  <a:lnTo>
                    <a:pt x="15744" y="83271"/>
                  </a:lnTo>
                  <a:lnTo>
                    <a:pt x="15146" y="84664"/>
                  </a:lnTo>
                  <a:lnTo>
                    <a:pt x="15246" y="86853"/>
                  </a:lnTo>
                  <a:lnTo>
                    <a:pt x="15843" y="88842"/>
                  </a:lnTo>
                  <a:lnTo>
                    <a:pt x="16940" y="89738"/>
                  </a:lnTo>
                  <a:lnTo>
                    <a:pt x="18932" y="90036"/>
                  </a:lnTo>
                  <a:lnTo>
                    <a:pt x="18833" y="90732"/>
                  </a:lnTo>
                  <a:lnTo>
                    <a:pt x="18036" y="91827"/>
                  </a:lnTo>
                  <a:lnTo>
                    <a:pt x="17438" y="93120"/>
                  </a:lnTo>
                  <a:lnTo>
                    <a:pt x="19730" y="98791"/>
                  </a:lnTo>
                  <a:lnTo>
                    <a:pt x="20327" y="102273"/>
                  </a:lnTo>
                  <a:lnTo>
                    <a:pt x="18633" y="103964"/>
                  </a:lnTo>
                  <a:lnTo>
                    <a:pt x="17537" y="105556"/>
                  </a:lnTo>
                  <a:lnTo>
                    <a:pt x="18733" y="108541"/>
                  </a:lnTo>
                  <a:lnTo>
                    <a:pt x="20726" y="109635"/>
                  </a:lnTo>
                  <a:lnTo>
                    <a:pt x="21723" y="105854"/>
                  </a:lnTo>
                  <a:lnTo>
                    <a:pt x="22619" y="105854"/>
                  </a:lnTo>
                  <a:lnTo>
                    <a:pt x="22320" y="108640"/>
                  </a:lnTo>
                  <a:lnTo>
                    <a:pt x="21723" y="116201"/>
                  </a:lnTo>
                  <a:lnTo>
                    <a:pt x="17139" y="130726"/>
                  </a:lnTo>
                  <a:lnTo>
                    <a:pt x="16441" y="135502"/>
                  </a:lnTo>
                  <a:lnTo>
                    <a:pt x="15943" y="136298"/>
                  </a:lnTo>
                  <a:lnTo>
                    <a:pt x="14747" y="135999"/>
                  </a:lnTo>
                  <a:lnTo>
                    <a:pt x="12954" y="135005"/>
                  </a:lnTo>
                  <a:lnTo>
                    <a:pt x="12456" y="134308"/>
                  </a:lnTo>
                  <a:lnTo>
                    <a:pt x="11360" y="131124"/>
                  </a:lnTo>
                  <a:lnTo>
                    <a:pt x="11160" y="131124"/>
                  </a:lnTo>
                  <a:lnTo>
                    <a:pt x="10263" y="130428"/>
                  </a:lnTo>
                  <a:lnTo>
                    <a:pt x="10064" y="130229"/>
                  </a:lnTo>
                  <a:lnTo>
                    <a:pt x="9466" y="130030"/>
                  </a:lnTo>
                  <a:lnTo>
                    <a:pt x="9665" y="129433"/>
                  </a:lnTo>
                  <a:lnTo>
                    <a:pt x="10562" y="128538"/>
                  </a:lnTo>
                  <a:lnTo>
                    <a:pt x="10263" y="127145"/>
                  </a:lnTo>
                  <a:lnTo>
                    <a:pt x="10263" y="126250"/>
                  </a:lnTo>
                  <a:lnTo>
                    <a:pt x="9964" y="125454"/>
                  </a:lnTo>
                  <a:lnTo>
                    <a:pt x="8669" y="124757"/>
                  </a:lnTo>
                  <a:lnTo>
                    <a:pt x="7374" y="126051"/>
                  </a:lnTo>
                  <a:lnTo>
                    <a:pt x="5680" y="126349"/>
                  </a:lnTo>
                  <a:lnTo>
                    <a:pt x="4085" y="125852"/>
                  </a:lnTo>
                  <a:lnTo>
                    <a:pt x="2591" y="124757"/>
                  </a:lnTo>
                  <a:lnTo>
                    <a:pt x="3587" y="126846"/>
                  </a:lnTo>
                  <a:lnTo>
                    <a:pt x="2591" y="128140"/>
                  </a:lnTo>
                  <a:lnTo>
                    <a:pt x="997" y="129135"/>
                  </a:lnTo>
                  <a:lnTo>
                    <a:pt x="0" y="130229"/>
                  </a:lnTo>
                  <a:lnTo>
                    <a:pt x="0" y="132219"/>
                  </a:lnTo>
                  <a:lnTo>
                    <a:pt x="997" y="133214"/>
                  </a:lnTo>
                  <a:lnTo>
                    <a:pt x="2392" y="133114"/>
                  </a:lnTo>
                  <a:lnTo>
                    <a:pt x="3488" y="132219"/>
                  </a:lnTo>
                  <a:lnTo>
                    <a:pt x="1993" y="137591"/>
                  </a:lnTo>
                  <a:lnTo>
                    <a:pt x="1794" y="140277"/>
                  </a:lnTo>
                  <a:lnTo>
                    <a:pt x="2591" y="142665"/>
                  </a:lnTo>
                  <a:lnTo>
                    <a:pt x="4185" y="143958"/>
                  </a:lnTo>
                  <a:lnTo>
                    <a:pt x="6577" y="144555"/>
                  </a:lnTo>
                  <a:lnTo>
                    <a:pt x="9068" y="144356"/>
                  </a:lnTo>
                  <a:lnTo>
                    <a:pt x="10961" y="143162"/>
                  </a:lnTo>
                  <a:lnTo>
                    <a:pt x="12555" y="141272"/>
                  </a:lnTo>
                  <a:lnTo>
                    <a:pt x="14747" y="139581"/>
                  </a:lnTo>
                  <a:lnTo>
                    <a:pt x="16641" y="139382"/>
                  </a:lnTo>
                  <a:lnTo>
                    <a:pt x="17438" y="142168"/>
                  </a:lnTo>
                  <a:lnTo>
                    <a:pt x="17139" y="144456"/>
                  </a:lnTo>
                  <a:lnTo>
                    <a:pt x="15943" y="149132"/>
                  </a:lnTo>
                  <a:lnTo>
                    <a:pt x="14548" y="174501"/>
                  </a:lnTo>
                  <a:lnTo>
                    <a:pt x="13253" y="179873"/>
                  </a:lnTo>
                  <a:lnTo>
                    <a:pt x="12555" y="187434"/>
                  </a:lnTo>
                  <a:lnTo>
                    <a:pt x="12057" y="189921"/>
                  </a:lnTo>
                  <a:lnTo>
                    <a:pt x="11360" y="191513"/>
                  </a:lnTo>
                  <a:lnTo>
                    <a:pt x="10662" y="190718"/>
                  </a:lnTo>
                  <a:lnTo>
                    <a:pt x="10164" y="190021"/>
                  </a:lnTo>
                  <a:lnTo>
                    <a:pt x="9865" y="189026"/>
                  </a:lnTo>
                  <a:lnTo>
                    <a:pt x="9566" y="187832"/>
                  </a:lnTo>
                  <a:lnTo>
                    <a:pt x="8669" y="187832"/>
                  </a:lnTo>
                  <a:lnTo>
                    <a:pt x="8370" y="191414"/>
                  </a:lnTo>
                  <a:lnTo>
                    <a:pt x="9167" y="194597"/>
                  </a:lnTo>
                  <a:lnTo>
                    <a:pt x="10463" y="195791"/>
                  </a:lnTo>
                  <a:lnTo>
                    <a:pt x="11360" y="193503"/>
                  </a:lnTo>
                  <a:lnTo>
                    <a:pt x="12256" y="196786"/>
                  </a:lnTo>
                  <a:lnTo>
                    <a:pt x="12057" y="200965"/>
                  </a:lnTo>
                  <a:lnTo>
                    <a:pt x="11061" y="204944"/>
                  </a:lnTo>
                  <a:lnTo>
                    <a:pt x="9566" y="207431"/>
                  </a:lnTo>
                  <a:lnTo>
                    <a:pt x="11360" y="210416"/>
                  </a:lnTo>
                  <a:lnTo>
                    <a:pt x="12356" y="216385"/>
                  </a:lnTo>
                  <a:lnTo>
                    <a:pt x="12954" y="228125"/>
                  </a:lnTo>
                  <a:lnTo>
                    <a:pt x="13751" y="226533"/>
                  </a:lnTo>
                  <a:lnTo>
                    <a:pt x="15146" y="206436"/>
                  </a:lnTo>
                  <a:lnTo>
                    <a:pt x="15345" y="201064"/>
                  </a:lnTo>
                  <a:lnTo>
                    <a:pt x="15943" y="196289"/>
                  </a:lnTo>
                  <a:lnTo>
                    <a:pt x="17936" y="168034"/>
                  </a:lnTo>
                  <a:lnTo>
                    <a:pt x="20826" y="14933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5" name="Freeform: Shape 1194">
              <a:extLst>
                <a:ext uri="{FF2B5EF4-FFF2-40B4-BE49-F238E27FC236}">
                  <a16:creationId xmlns:a16="http://schemas.microsoft.com/office/drawing/2014/main" id="{DECF1BF9-6556-4557-8C61-5080914D16C4}"/>
                </a:ext>
              </a:extLst>
            </p:cNvPr>
            <p:cNvSpPr/>
            <p:nvPr/>
          </p:nvSpPr>
          <p:spPr>
            <a:xfrm>
              <a:off x="-333178" y="3655402"/>
              <a:ext cx="53608" cy="64169"/>
            </a:xfrm>
            <a:custGeom>
              <a:avLst/>
              <a:gdLst>
                <a:gd name="connsiteX0" fmla="*/ 48925 w 53608"/>
                <a:gd name="connsiteY0" fmla="*/ 25071 h 64169"/>
                <a:gd name="connsiteX1" fmla="*/ 46434 w 53608"/>
                <a:gd name="connsiteY1" fmla="*/ 26563 h 64169"/>
                <a:gd name="connsiteX2" fmla="*/ 43046 w 53608"/>
                <a:gd name="connsiteY2" fmla="*/ 30941 h 64169"/>
                <a:gd name="connsiteX3" fmla="*/ 41053 w 53608"/>
                <a:gd name="connsiteY3" fmla="*/ 32632 h 64169"/>
                <a:gd name="connsiteX4" fmla="*/ 36868 w 53608"/>
                <a:gd name="connsiteY4" fmla="*/ 32433 h 64169"/>
                <a:gd name="connsiteX5" fmla="*/ 33979 w 53608"/>
                <a:gd name="connsiteY5" fmla="*/ 33428 h 64169"/>
                <a:gd name="connsiteX6" fmla="*/ 33480 w 53608"/>
                <a:gd name="connsiteY6" fmla="*/ 30543 h 64169"/>
                <a:gd name="connsiteX7" fmla="*/ 32085 w 53608"/>
                <a:gd name="connsiteY7" fmla="*/ 29150 h 64169"/>
                <a:gd name="connsiteX8" fmla="*/ 27801 w 53608"/>
                <a:gd name="connsiteY8" fmla="*/ 27558 h 64169"/>
                <a:gd name="connsiteX9" fmla="*/ 24114 w 53608"/>
                <a:gd name="connsiteY9" fmla="*/ 24872 h 64169"/>
                <a:gd name="connsiteX10" fmla="*/ 21922 w 53608"/>
                <a:gd name="connsiteY10" fmla="*/ 23977 h 64169"/>
                <a:gd name="connsiteX11" fmla="*/ 20028 w 53608"/>
                <a:gd name="connsiteY11" fmla="*/ 24673 h 64169"/>
                <a:gd name="connsiteX12" fmla="*/ 19231 w 53608"/>
                <a:gd name="connsiteY12" fmla="*/ 21191 h 64169"/>
                <a:gd name="connsiteX13" fmla="*/ 18633 w 53608"/>
                <a:gd name="connsiteY13" fmla="*/ 19599 h 64169"/>
                <a:gd name="connsiteX14" fmla="*/ 17438 w 53608"/>
                <a:gd name="connsiteY14" fmla="*/ 19002 h 64169"/>
                <a:gd name="connsiteX15" fmla="*/ 16939 w 53608"/>
                <a:gd name="connsiteY15" fmla="*/ 19699 h 64169"/>
                <a:gd name="connsiteX16" fmla="*/ 16939 w 53608"/>
                <a:gd name="connsiteY16" fmla="*/ 21489 h 64169"/>
                <a:gd name="connsiteX17" fmla="*/ 16641 w 53608"/>
                <a:gd name="connsiteY17" fmla="*/ 23479 h 64169"/>
                <a:gd name="connsiteX18" fmla="*/ 15544 w 53608"/>
                <a:gd name="connsiteY18" fmla="*/ 24673 h 64169"/>
                <a:gd name="connsiteX19" fmla="*/ 13452 w 53608"/>
                <a:gd name="connsiteY19" fmla="*/ 24275 h 64169"/>
                <a:gd name="connsiteX20" fmla="*/ 10861 w 53608"/>
                <a:gd name="connsiteY20" fmla="*/ 22484 h 64169"/>
                <a:gd name="connsiteX21" fmla="*/ 8669 w 53608"/>
                <a:gd name="connsiteY21" fmla="*/ 20196 h 64169"/>
                <a:gd name="connsiteX22" fmla="*/ 7772 w 53608"/>
                <a:gd name="connsiteY22" fmla="*/ 18405 h 64169"/>
                <a:gd name="connsiteX23" fmla="*/ 7374 w 53608"/>
                <a:gd name="connsiteY23" fmla="*/ 16813 h 64169"/>
                <a:gd name="connsiteX24" fmla="*/ 5680 w 53608"/>
                <a:gd name="connsiteY24" fmla="*/ 13431 h 64169"/>
                <a:gd name="connsiteX25" fmla="*/ 5181 w 53608"/>
                <a:gd name="connsiteY25" fmla="*/ 11640 h 64169"/>
                <a:gd name="connsiteX26" fmla="*/ 5480 w 53608"/>
                <a:gd name="connsiteY26" fmla="*/ 9750 h 64169"/>
                <a:gd name="connsiteX27" fmla="*/ 6676 w 53608"/>
                <a:gd name="connsiteY27" fmla="*/ 6467 h 64169"/>
                <a:gd name="connsiteX28" fmla="*/ 6975 w 53608"/>
                <a:gd name="connsiteY28" fmla="*/ 4776 h 64169"/>
                <a:gd name="connsiteX29" fmla="*/ 6676 w 53608"/>
                <a:gd name="connsiteY29" fmla="*/ 1095 h 64169"/>
                <a:gd name="connsiteX30" fmla="*/ 5680 w 53608"/>
                <a:gd name="connsiteY30" fmla="*/ 0 h 64169"/>
                <a:gd name="connsiteX31" fmla="*/ 0 w 53608"/>
                <a:gd name="connsiteY31" fmla="*/ 597 h 64169"/>
                <a:gd name="connsiteX32" fmla="*/ 1893 w 53608"/>
                <a:gd name="connsiteY32" fmla="*/ 5671 h 64169"/>
                <a:gd name="connsiteX33" fmla="*/ 5979 w 53608"/>
                <a:gd name="connsiteY33" fmla="*/ 25668 h 64169"/>
                <a:gd name="connsiteX34" fmla="*/ 6277 w 53608"/>
                <a:gd name="connsiteY34" fmla="*/ 28254 h 64169"/>
                <a:gd name="connsiteX35" fmla="*/ 6178 w 53608"/>
                <a:gd name="connsiteY35" fmla="*/ 33925 h 64169"/>
                <a:gd name="connsiteX36" fmla="*/ 6576 w 53608"/>
                <a:gd name="connsiteY36" fmla="*/ 36612 h 64169"/>
                <a:gd name="connsiteX37" fmla="*/ 8270 w 53608"/>
                <a:gd name="connsiteY37" fmla="*/ 41685 h 64169"/>
                <a:gd name="connsiteX38" fmla="*/ 9267 w 53608"/>
                <a:gd name="connsiteY38" fmla="*/ 47356 h 64169"/>
                <a:gd name="connsiteX39" fmla="*/ 10662 w 53608"/>
                <a:gd name="connsiteY39" fmla="*/ 49943 h 64169"/>
                <a:gd name="connsiteX40" fmla="*/ 13851 w 53608"/>
                <a:gd name="connsiteY40" fmla="*/ 54619 h 64169"/>
                <a:gd name="connsiteX41" fmla="*/ 15544 w 53608"/>
                <a:gd name="connsiteY41" fmla="*/ 58598 h 64169"/>
                <a:gd name="connsiteX42" fmla="*/ 16242 w 53608"/>
                <a:gd name="connsiteY42" fmla="*/ 60986 h 64169"/>
                <a:gd name="connsiteX43" fmla="*/ 16541 w 53608"/>
                <a:gd name="connsiteY43" fmla="*/ 62777 h 64169"/>
                <a:gd name="connsiteX44" fmla="*/ 17438 w 53608"/>
                <a:gd name="connsiteY44" fmla="*/ 64170 h 64169"/>
                <a:gd name="connsiteX45" fmla="*/ 19431 w 53608"/>
                <a:gd name="connsiteY45" fmla="*/ 63771 h 64169"/>
                <a:gd name="connsiteX46" fmla="*/ 21224 w 53608"/>
                <a:gd name="connsiteY46" fmla="*/ 62080 h 64169"/>
                <a:gd name="connsiteX47" fmla="*/ 21722 w 53608"/>
                <a:gd name="connsiteY47" fmla="*/ 59494 h 64169"/>
                <a:gd name="connsiteX48" fmla="*/ 21025 w 53608"/>
                <a:gd name="connsiteY48" fmla="*/ 58499 h 64169"/>
                <a:gd name="connsiteX49" fmla="*/ 18733 w 53608"/>
                <a:gd name="connsiteY49" fmla="*/ 57404 h 64169"/>
                <a:gd name="connsiteX50" fmla="*/ 18235 w 53608"/>
                <a:gd name="connsiteY50" fmla="*/ 56011 h 64169"/>
                <a:gd name="connsiteX51" fmla="*/ 18036 w 53608"/>
                <a:gd name="connsiteY51" fmla="*/ 53226 h 64169"/>
                <a:gd name="connsiteX52" fmla="*/ 17438 w 53608"/>
                <a:gd name="connsiteY52" fmla="*/ 50739 h 64169"/>
                <a:gd name="connsiteX53" fmla="*/ 16939 w 53608"/>
                <a:gd name="connsiteY53" fmla="*/ 49943 h 64169"/>
                <a:gd name="connsiteX54" fmla="*/ 16342 w 53608"/>
                <a:gd name="connsiteY54" fmla="*/ 49843 h 64169"/>
                <a:gd name="connsiteX55" fmla="*/ 15843 w 53608"/>
                <a:gd name="connsiteY55" fmla="*/ 49545 h 64169"/>
                <a:gd name="connsiteX56" fmla="*/ 15544 w 53608"/>
                <a:gd name="connsiteY56" fmla="*/ 48351 h 64169"/>
                <a:gd name="connsiteX57" fmla="*/ 15644 w 53608"/>
                <a:gd name="connsiteY57" fmla="*/ 46859 h 64169"/>
                <a:gd name="connsiteX58" fmla="*/ 15544 w 53608"/>
                <a:gd name="connsiteY58" fmla="*/ 46162 h 64169"/>
                <a:gd name="connsiteX59" fmla="*/ 15246 w 53608"/>
                <a:gd name="connsiteY59" fmla="*/ 45466 h 64169"/>
                <a:gd name="connsiteX60" fmla="*/ 13751 w 53608"/>
                <a:gd name="connsiteY60" fmla="*/ 43675 h 64169"/>
                <a:gd name="connsiteX61" fmla="*/ 13153 w 53608"/>
                <a:gd name="connsiteY61" fmla="*/ 42780 h 64169"/>
                <a:gd name="connsiteX62" fmla="*/ 13053 w 53608"/>
                <a:gd name="connsiteY62" fmla="*/ 41586 h 64169"/>
                <a:gd name="connsiteX63" fmla="*/ 12854 w 53608"/>
                <a:gd name="connsiteY63" fmla="*/ 38900 h 64169"/>
                <a:gd name="connsiteX64" fmla="*/ 13053 w 53608"/>
                <a:gd name="connsiteY64" fmla="*/ 37407 h 64169"/>
                <a:gd name="connsiteX65" fmla="*/ 13950 w 53608"/>
                <a:gd name="connsiteY65" fmla="*/ 36512 h 64169"/>
                <a:gd name="connsiteX66" fmla="*/ 19530 w 53608"/>
                <a:gd name="connsiteY66" fmla="*/ 34124 h 64169"/>
                <a:gd name="connsiteX67" fmla="*/ 21822 w 53608"/>
                <a:gd name="connsiteY67" fmla="*/ 33627 h 64169"/>
                <a:gd name="connsiteX68" fmla="*/ 27402 w 53608"/>
                <a:gd name="connsiteY68" fmla="*/ 33428 h 64169"/>
                <a:gd name="connsiteX69" fmla="*/ 28897 w 53608"/>
                <a:gd name="connsiteY69" fmla="*/ 33726 h 64169"/>
                <a:gd name="connsiteX70" fmla="*/ 29993 w 53608"/>
                <a:gd name="connsiteY70" fmla="*/ 34522 h 64169"/>
                <a:gd name="connsiteX71" fmla="*/ 30890 w 53608"/>
                <a:gd name="connsiteY71" fmla="*/ 35517 h 64169"/>
                <a:gd name="connsiteX72" fmla="*/ 32085 w 53608"/>
                <a:gd name="connsiteY72" fmla="*/ 36313 h 64169"/>
                <a:gd name="connsiteX73" fmla="*/ 33480 w 53608"/>
                <a:gd name="connsiteY73" fmla="*/ 36612 h 64169"/>
                <a:gd name="connsiteX74" fmla="*/ 35872 w 53608"/>
                <a:gd name="connsiteY74" fmla="*/ 36313 h 64169"/>
                <a:gd name="connsiteX75" fmla="*/ 43146 w 53608"/>
                <a:gd name="connsiteY75" fmla="*/ 36512 h 64169"/>
                <a:gd name="connsiteX76" fmla="*/ 45836 w 53608"/>
                <a:gd name="connsiteY76" fmla="*/ 35716 h 64169"/>
                <a:gd name="connsiteX77" fmla="*/ 48427 w 53608"/>
                <a:gd name="connsiteY77" fmla="*/ 31538 h 64169"/>
                <a:gd name="connsiteX78" fmla="*/ 51516 w 53608"/>
                <a:gd name="connsiteY78" fmla="*/ 29548 h 64169"/>
                <a:gd name="connsiteX79" fmla="*/ 53608 w 53608"/>
                <a:gd name="connsiteY79" fmla="*/ 27558 h 64169"/>
                <a:gd name="connsiteX80" fmla="*/ 52114 w 53608"/>
                <a:gd name="connsiteY80" fmla="*/ 25568 h 64169"/>
                <a:gd name="connsiteX81" fmla="*/ 48925 w 53608"/>
                <a:gd name="connsiteY81" fmla="*/ 25071 h 64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53608" h="64169">
                  <a:moveTo>
                    <a:pt x="48925" y="25071"/>
                  </a:moveTo>
                  <a:lnTo>
                    <a:pt x="46434" y="26563"/>
                  </a:lnTo>
                  <a:lnTo>
                    <a:pt x="43046" y="30941"/>
                  </a:lnTo>
                  <a:lnTo>
                    <a:pt x="41053" y="32632"/>
                  </a:lnTo>
                  <a:lnTo>
                    <a:pt x="36868" y="32433"/>
                  </a:lnTo>
                  <a:lnTo>
                    <a:pt x="33979" y="33428"/>
                  </a:lnTo>
                  <a:lnTo>
                    <a:pt x="33480" y="30543"/>
                  </a:lnTo>
                  <a:lnTo>
                    <a:pt x="32085" y="29150"/>
                  </a:lnTo>
                  <a:lnTo>
                    <a:pt x="27801" y="27558"/>
                  </a:lnTo>
                  <a:lnTo>
                    <a:pt x="24114" y="24872"/>
                  </a:lnTo>
                  <a:lnTo>
                    <a:pt x="21922" y="23977"/>
                  </a:lnTo>
                  <a:lnTo>
                    <a:pt x="20028" y="24673"/>
                  </a:lnTo>
                  <a:lnTo>
                    <a:pt x="19231" y="21191"/>
                  </a:lnTo>
                  <a:lnTo>
                    <a:pt x="18633" y="19599"/>
                  </a:lnTo>
                  <a:lnTo>
                    <a:pt x="17438" y="19002"/>
                  </a:lnTo>
                  <a:lnTo>
                    <a:pt x="16939" y="19699"/>
                  </a:lnTo>
                  <a:lnTo>
                    <a:pt x="16939" y="21489"/>
                  </a:lnTo>
                  <a:lnTo>
                    <a:pt x="16641" y="23479"/>
                  </a:lnTo>
                  <a:lnTo>
                    <a:pt x="15544" y="24673"/>
                  </a:lnTo>
                  <a:lnTo>
                    <a:pt x="13452" y="24275"/>
                  </a:lnTo>
                  <a:lnTo>
                    <a:pt x="10861" y="22484"/>
                  </a:lnTo>
                  <a:lnTo>
                    <a:pt x="8669" y="20196"/>
                  </a:lnTo>
                  <a:lnTo>
                    <a:pt x="7772" y="18405"/>
                  </a:lnTo>
                  <a:lnTo>
                    <a:pt x="7374" y="16813"/>
                  </a:lnTo>
                  <a:lnTo>
                    <a:pt x="5680" y="13431"/>
                  </a:lnTo>
                  <a:lnTo>
                    <a:pt x="5181" y="11640"/>
                  </a:lnTo>
                  <a:lnTo>
                    <a:pt x="5480" y="9750"/>
                  </a:lnTo>
                  <a:lnTo>
                    <a:pt x="6676" y="6467"/>
                  </a:lnTo>
                  <a:lnTo>
                    <a:pt x="6975" y="4776"/>
                  </a:lnTo>
                  <a:lnTo>
                    <a:pt x="6676" y="1095"/>
                  </a:lnTo>
                  <a:lnTo>
                    <a:pt x="5680" y="0"/>
                  </a:lnTo>
                  <a:lnTo>
                    <a:pt x="0" y="597"/>
                  </a:lnTo>
                  <a:lnTo>
                    <a:pt x="1893" y="5671"/>
                  </a:lnTo>
                  <a:lnTo>
                    <a:pt x="5979" y="25668"/>
                  </a:lnTo>
                  <a:lnTo>
                    <a:pt x="6277" y="28254"/>
                  </a:lnTo>
                  <a:lnTo>
                    <a:pt x="6178" y="33925"/>
                  </a:lnTo>
                  <a:lnTo>
                    <a:pt x="6576" y="36612"/>
                  </a:lnTo>
                  <a:lnTo>
                    <a:pt x="8270" y="41685"/>
                  </a:lnTo>
                  <a:lnTo>
                    <a:pt x="9267" y="47356"/>
                  </a:lnTo>
                  <a:lnTo>
                    <a:pt x="10662" y="49943"/>
                  </a:lnTo>
                  <a:lnTo>
                    <a:pt x="13851" y="54619"/>
                  </a:lnTo>
                  <a:lnTo>
                    <a:pt x="15544" y="58598"/>
                  </a:lnTo>
                  <a:lnTo>
                    <a:pt x="16242" y="60986"/>
                  </a:lnTo>
                  <a:lnTo>
                    <a:pt x="16541" y="62777"/>
                  </a:lnTo>
                  <a:lnTo>
                    <a:pt x="17438" y="64170"/>
                  </a:lnTo>
                  <a:lnTo>
                    <a:pt x="19431" y="63771"/>
                  </a:lnTo>
                  <a:lnTo>
                    <a:pt x="21224" y="62080"/>
                  </a:lnTo>
                  <a:lnTo>
                    <a:pt x="21722" y="59494"/>
                  </a:lnTo>
                  <a:lnTo>
                    <a:pt x="21025" y="58499"/>
                  </a:lnTo>
                  <a:lnTo>
                    <a:pt x="18733" y="57404"/>
                  </a:lnTo>
                  <a:lnTo>
                    <a:pt x="18235" y="56011"/>
                  </a:lnTo>
                  <a:lnTo>
                    <a:pt x="18036" y="53226"/>
                  </a:lnTo>
                  <a:lnTo>
                    <a:pt x="17438" y="50739"/>
                  </a:lnTo>
                  <a:lnTo>
                    <a:pt x="16939" y="49943"/>
                  </a:lnTo>
                  <a:lnTo>
                    <a:pt x="16342" y="49843"/>
                  </a:lnTo>
                  <a:lnTo>
                    <a:pt x="15843" y="49545"/>
                  </a:lnTo>
                  <a:lnTo>
                    <a:pt x="15544" y="48351"/>
                  </a:lnTo>
                  <a:lnTo>
                    <a:pt x="15644" y="46859"/>
                  </a:lnTo>
                  <a:lnTo>
                    <a:pt x="15544" y="46162"/>
                  </a:lnTo>
                  <a:lnTo>
                    <a:pt x="15246" y="45466"/>
                  </a:lnTo>
                  <a:lnTo>
                    <a:pt x="13751" y="43675"/>
                  </a:lnTo>
                  <a:lnTo>
                    <a:pt x="13153" y="42780"/>
                  </a:lnTo>
                  <a:lnTo>
                    <a:pt x="13053" y="41586"/>
                  </a:lnTo>
                  <a:lnTo>
                    <a:pt x="12854" y="38900"/>
                  </a:lnTo>
                  <a:lnTo>
                    <a:pt x="13053" y="37407"/>
                  </a:lnTo>
                  <a:lnTo>
                    <a:pt x="13950" y="36512"/>
                  </a:lnTo>
                  <a:lnTo>
                    <a:pt x="19530" y="34124"/>
                  </a:lnTo>
                  <a:lnTo>
                    <a:pt x="21822" y="33627"/>
                  </a:lnTo>
                  <a:lnTo>
                    <a:pt x="27402" y="33428"/>
                  </a:lnTo>
                  <a:lnTo>
                    <a:pt x="28897" y="33726"/>
                  </a:lnTo>
                  <a:lnTo>
                    <a:pt x="29993" y="34522"/>
                  </a:lnTo>
                  <a:lnTo>
                    <a:pt x="30890" y="35517"/>
                  </a:lnTo>
                  <a:lnTo>
                    <a:pt x="32085" y="36313"/>
                  </a:lnTo>
                  <a:lnTo>
                    <a:pt x="33480" y="36612"/>
                  </a:lnTo>
                  <a:lnTo>
                    <a:pt x="35872" y="36313"/>
                  </a:lnTo>
                  <a:lnTo>
                    <a:pt x="43146" y="36512"/>
                  </a:lnTo>
                  <a:lnTo>
                    <a:pt x="45836" y="35716"/>
                  </a:lnTo>
                  <a:lnTo>
                    <a:pt x="48427" y="31538"/>
                  </a:lnTo>
                  <a:lnTo>
                    <a:pt x="51516" y="29548"/>
                  </a:lnTo>
                  <a:lnTo>
                    <a:pt x="53608" y="27558"/>
                  </a:lnTo>
                  <a:lnTo>
                    <a:pt x="52114" y="25568"/>
                  </a:lnTo>
                  <a:lnTo>
                    <a:pt x="48925" y="2507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6" name="Freeform: Shape 1195">
              <a:extLst>
                <a:ext uri="{FF2B5EF4-FFF2-40B4-BE49-F238E27FC236}">
                  <a16:creationId xmlns:a16="http://schemas.microsoft.com/office/drawing/2014/main" id="{6A64D781-4043-42D6-A4EC-ABFA08F46E93}"/>
                </a:ext>
              </a:extLst>
            </p:cNvPr>
            <p:cNvSpPr/>
            <p:nvPr/>
          </p:nvSpPr>
          <p:spPr>
            <a:xfrm>
              <a:off x="-540437" y="3848905"/>
              <a:ext cx="3786" cy="4775"/>
            </a:xfrm>
            <a:custGeom>
              <a:avLst/>
              <a:gdLst>
                <a:gd name="connsiteX0" fmla="*/ 996 w 3786"/>
                <a:gd name="connsiteY0" fmla="*/ 0 h 4775"/>
                <a:gd name="connsiteX1" fmla="*/ 0 w 3786"/>
                <a:gd name="connsiteY1" fmla="*/ 1194 h 4775"/>
                <a:gd name="connsiteX2" fmla="*/ 797 w 3786"/>
                <a:gd name="connsiteY2" fmla="*/ 2686 h 4775"/>
                <a:gd name="connsiteX3" fmla="*/ 1694 w 3786"/>
                <a:gd name="connsiteY3" fmla="*/ 4278 h 4775"/>
                <a:gd name="connsiteX4" fmla="*/ 3786 w 3786"/>
                <a:gd name="connsiteY4" fmla="*/ 4776 h 4775"/>
                <a:gd name="connsiteX5" fmla="*/ 2790 w 3786"/>
                <a:gd name="connsiteY5" fmla="*/ 2686 h 4775"/>
                <a:gd name="connsiteX6" fmla="*/ 996 w 3786"/>
                <a:gd name="connsiteY6" fmla="*/ 0 h 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6" h="4775">
                  <a:moveTo>
                    <a:pt x="996" y="0"/>
                  </a:moveTo>
                  <a:lnTo>
                    <a:pt x="0" y="1194"/>
                  </a:lnTo>
                  <a:lnTo>
                    <a:pt x="797" y="2686"/>
                  </a:lnTo>
                  <a:lnTo>
                    <a:pt x="1694" y="4278"/>
                  </a:lnTo>
                  <a:lnTo>
                    <a:pt x="3786" y="4776"/>
                  </a:lnTo>
                  <a:lnTo>
                    <a:pt x="2790" y="2686"/>
                  </a:lnTo>
                  <a:lnTo>
                    <a:pt x="996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7" name="Freeform: Shape 1196">
              <a:extLst>
                <a:ext uri="{FF2B5EF4-FFF2-40B4-BE49-F238E27FC236}">
                  <a16:creationId xmlns:a16="http://schemas.microsoft.com/office/drawing/2014/main" id="{ECF434D3-3CE9-42FE-BA39-B9081CDE9BBD}"/>
                </a:ext>
              </a:extLst>
            </p:cNvPr>
            <p:cNvSpPr/>
            <p:nvPr/>
          </p:nvSpPr>
          <p:spPr>
            <a:xfrm>
              <a:off x="-1424380" y="3679976"/>
              <a:ext cx="18832" cy="45266"/>
            </a:xfrm>
            <a:custGeom>
              <a:avLst/>
              <a:gdLst>
                <a:gd name="connsiteX0" fmla="*/ 17637 w 18832"/>
                <a:gd name="connsiteY0" fmla="*/ 18007 h 45266"/>
                <a:gd name="connsiteX1" fmla="*/ 14847 w 18832"/>
                <a:gd name="connsiteY1" fmla="*/ 14127 h 45266"/>
                <a:gd name="connsiteX2" fmla="*/ 12854 w 18832"/>
                <a:gd name="connsiteY2" fmla="*/ 12834 h 45266"/>
                <a:gd name="connsiteX3" fmla="*/ 11359 w 18832"/>
                <a:gd name="connsiteY3" fmla="*/ 10347 h 45266"/>
                <a:gd name="connsiteX4" fmla="*/ 10463 w 18832"/>
                <a:gd name="connsiteY4" fmla="*/ 7462 h 45266"/>
                <a:gd name="connsiteX5" fmla="*/ 10861 w 18832"/>
                <a:gd name="connsiteY5" fmla="*/ 5273 h 45266"/>
                <a:gd name="connsiteX6" fmla="*/ 12356 w 18832"/>
                <a:gd name="connsiteY6" fmla="*/ 3383 h 45266"/>
                <a:gd name="connsiteX7" fmla="*/ 14349 w 18832"/>
                <a:gd name="connsiteY7" fmla="*/ 1194 h 45266"/>
                <a:gd name="connsiteX8" fmla="*/ 12057 w 18832"/>
                <a:gd name="connsiteY8" fmla="*/ 0 h 45266"/>
                <a:gd name="connsiteX9" fmla="*/ 9167 w 18832"/>
                <a:gd name="connsiteY9" fmla="*/ 498 h 45266"/>
                <a:gd name="connsiteX10" fmla="*/ 7573 w 18832"/>
                <a:gd name="connsiteY10" fmla="*/ 2587 h 45266"/>
                <a:gd name="connsiteX11" fmla="*/ 4085 w 18832"/>
                <a:gd name="connsiteY11" fmla="*/ 3681 h 45266"/>
                <a:gd name="connsiteX12" fmla="*/ 1495 w 18832"/>
                <a:gd name="connsiteY12" fmla="*/ 5671 h 45266"/>
                <a:gd name="connsiteX13" fmla="*/ 498 w 18832"/>
                <a:gd name="connsiteY13" fmla="*/ 8158 h 45266"/>
                <a:gd name="connsiteX14" fmla="*/ 0 w 18832"/>
                <a:gd name="connsiteY14" fmla="*/ 10546 h 45266"/>
                <a:gd name="connsiteX15" fmla="*/ 598 w 18832"/>
                <a:gd name="connsiteY15" fmla="*/ 12834 h 45266"/>
                <a:gd name="connsiteX16" fmla="*/ 1395 w 18832"/>
                <a:gd name="connsiteY16" fmla="*/ 14923 h 45266"/>
                <a:gd name="connsiteX17" fmla="*/ 1694 w 18832"/>
                <a:gd name="connsiteY17" fmla="*/ 17311 h 45266"/>
                <a:gd name="connsiteX18" fmla="*/ 4285 w 18832"/>
                <a:gd name="connsiteY18" fmla="*/ 19500 h 45266"/>
                <a:gd name="connsiteX19" fmla="*/ 5779 w 18832"/>
                <a:gd name="connsiteY19" fmla="*/ 21091 h 45266"/>
                <a:gd name="connsiteX20" fmla="*/ 6975 w 18832"/>
                <a:gd name="connsiteY20" fmla="*/ 23081 h 45266"/>
                <a:gd name="connsiteX21" fmla="*/ 8171 w 18832"/>
                <a:gd name="connsiteY21" fmla="*/ 26961 h 45266"/>
                <a:gd name="connsiteX22" fmla="*/ 6676 w 18832"/>
                <a:gd name="connsiteY22" fmla="*/ 29349 h 45266"/>
                <a:gd name="connsiteX23" fmla="*/ 8769 w 18832"/>
                <a:gd name="connsiteY23" fmla="*/ 31239 h 45266"/>
                <a:gd name="connsiteX24" fmla="*/ 9466 w 18832"/>
                <a:gd name="connsiteY24" fmla="*/ 34025 h 45266"/>
                <a:gd name="connsiteX25" fmla="*/ 9068 w 18832"/>
                <a:gd name="connsiteY25" fmla="*/ 36412 h 45266"/>
                <a:gd name="connsiteX26" fmla="*/ 9665 w 18832"/>
                <a:gd name="connsiteY26" fmla="*/ 38601 h 45266"/>
                <a:gd name="connsiteX27" fmla="*/ 10861 w 18832"/>
                <a:gd name="connsiteY27" fmla="*/ 41785 h 45266"/>
                <a:gd name="connsiteX28" fmla="*/ 9367 w 18832"/>
                <a:gd name="connsiteY28" fmla="*/ 42382 h 45266"/>
                <a:gd name="connsiteX29" fmla="*/ 8968 w 18832"/>
                <a:gd name="connsiteY29" fmla="*/ 44073 h 45266"/>
                <a:gd name="connsiteX30" fmla="*/ 10164 w 18832"/>
                <a:gd name="connsiteY30" fmla="*/ 45267 h 45266"/>
                <a:gd name="connsiteX31" fmla="*/ 10064 w 18832"/>
                <a:gd name="connsiteY31" fmla="*/ 43775 h 45266"/>
                <a:gd name="connsiteX32" fmla="*/ 11060 w 18832"/>
                <a:gd name="connsiteY32" fmla="*/ 43775 h 45266"/>
                <a:gd name="connsiteX33" fmla="*/ 12456 w 18832"/>
                <a:gd name="connsiteY33" fmla="*/ 42780 h 45266"/>
                <a:gd name="connsiteX34" fmla="*/ 14947 w 18832"/>
                <a:gd name="connsiteY34" fmla="*/ 42979 h 45266"/>
                <a:gd name="connsiteX35" fmla="*/ 18135 w 18832"/>
                <a:gd name="connsiteY35" fmla="*/ 38701 h 45266"/>
                <a:gd name="connsiteX36" fmla="*/ 18733 w 18832"/>
                <a:gd name="connsiteY36" fmla="*/ 32433 h 45266"/>
                <a:gd name="connsiteX37" fmla="*/ 17737 w 18832"/>
                <a:gd name="connsiteY37" fmla="*/ 27260 h 45266"/>
                <a:gd name="connsiteX38" fmla="*/ 18833 w 18832"/>
                <a:gd name="connsiteY38" fmla="*/ 24573 h 45266"/>
                <a:gd name="connsiteX39" fmla="*/ 17637 w 18832"/>
                <a:gd name="connsiteY39" fmla="*/ 18007 h 45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8832" h="45266">
                  <a:moveTo>
                    <a:pt x="17637" y="18007"/>
                  </a:moveTo>
                  <a:lnTo>
                    <a:pt x="14847" y="14127"/>
                  </a:lnTo>
                  <a:lnTo>
                    <a:pt x="12854" y="12834"/>
                  </a:lnTo>
                  <a:lnTo>
                    <a:pt x="11359" y="10347"/>
                  </a:lnTo>
                  <a:lnTo>
                    <a:pt x="10463" y="7462"/>
                  </a:lnTo>
                  <a:lnTo>
                    <a:pt x="10861" y="5273"/>
                  </a:lnTo>
                  <a:lnTo>
                    <a:pt x="12356" y="3383"/>
                  </a:lnTo>
                  <a:lnTo>
                    <a:pt x="14349" y="1194"/>
                  </a:lnTo>
                  <a:lnTo>
                    <a:pt x="12057" y="0"/>
                  </a:lnTo>
                  <a:lnTo>
                    <a:pt x="9167" y="498"/>
                  </a:lnTo>
                  <a:lnTo>
                    <a:pt x="7573" y="2587"/>
                  </a:lnTo>
                  <a:lnTo>
                    <a:pt x="4085" y="3681"/>
                  </a:lnTo>
                  <a:lnTo>
                    <a:pt x="1495" y="5671"/>
                  </a:lnTo>
                  <a:lnTo>
                    <a:pt x="498" y="8158"/>
                  </a:lnTo>
                  <a:lnTo>
                    <a:pt x="0" y="10546"/>
                  </a:lnTo>
                  <a:lnTo>
                    <a:pt x="598" y="12834"/>
                  </a:lnTo>
                  <a:lnTo>
                    <a:pt x="1395" y="14923"/>
                  </a:lnTo>
                  <a:lnTo>
                    <a:pt x="1694" y="17311"/>
                  </a:lnTo>
                  <a:lnTo>
                    <a:pt x="4285" y="19500"/>
                  </a:lnTo>
                  <a:lnTo>
                    <a:pt x="5779" y="21091"/>
                  </a:lnTo>
                  <a:lnTo>
                    <a:pt x="6975" y="23081"/>
                  </a:lnTo>
                  <a:lnTo>
                    <a:pt x="8171" y="26961"/>
                  </a:lnTo>
                  <a:lnTo>
                    <a:pt x="6676" y="29349"/>
                  </a:lnTo>
                  <a:lnTo>
                    <a:pt x="8769" y="31239"/>
                  </a:lnTo>
                  <a:lnTo>
                    <a:pt x="9466" y="34025"/>
                  </a:lnTo>
                  <a:lnTo>
                    <a:pt x="9068" y="36412"/>
                  </a:lnTo>
                  <a:lnTo>
                    <a:pt x="9665" y="38601"/>
                  </a:lnTo>
                  <a:lnTo>
                    <a:pt x="10861" y="41785"/>
                  </a:lnTo>
                  <a:lnTo>
                    <a:pt x="9367" y="42382"/>
                  </a:lnTo>
                  <a:lnTo>
                    <a:pt x="8968" y="44073"/>
                  </a:lnTo>
                  <a:lnTo>
                    <a:pt x="10164" y="45267"/>
                  </a:lnTo>
                  <a:lnTo>
                    <a:pt x="10064" y="43775"/>
                  </a:lnTo>
                  <a:lnTo>
                    <a:pt x="11060" y="43775"/>
                  </a:lnTo>
                  <a:lnTo>
                    <a:pt x="12456" y="42780"/>
                  </a:lnTo>
                  <a:lnTo>
                    <a:pt x="14947" y="42979"/>
                  </a:lnTo>
                  <a:lnTo>
                    <a:pt x="18135" y="38701"/>
                  </a:lnTo>
                  <a:lnTo>
                    <a:pt x="18733" y="32433"/>
                  </a:lnTo>
                  <a:lnTo>
                    <a:pt x="17737" y="27260"/>
                  </a:lnTo>
                  <a:lnTo>
                    <a:pt x="18833" y="24573"/>
                  </a:lnTo>
                  <a:lnTo>
                    <a:pt x="17637" y="1800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8" name="Freeform: Shape 1197">
              <a:extLst>
                <a:ext uri="{FF2B5EF4-FFF2-40B4-BE49-F238E27FC236}">
                  <a16:creationId xmlns:a16="http://schemas.microsoft.com/office/drawing/2014/main" id="{65EFD568-1DEE-4A84-B172-3937231CBED5}"/>
                </a:ext>
              </a:extLst>
            </p:cNvPr>
            <p:cNvSpPr/>
            <p:nvPr/>
          </p:nvSpPr>
          <p:spPr>
            <a:xfrm>
              <a:off x="-1042743" y="3794187"/>
              <a:ext cx="25708" cy="49146"/>
            </a:xfrm>
            <a:custGeom>
              <a:avLst/>
              <a:gdLst>
                <a:gd name="connsiteX0" fmla="*/ 25210 w 25708"/>
                <a:gd name="connsiteY0" fmla="*/ 25966 h 49146"/>
                <a:gd name="connsiteX1" fmla="*/ 23516 w 25708"/>
                <a:gd name="connsiteY1" fmla="*/ 23280 h 49146"/>
                <a:gd name="connsiteX2" fmla="*/ 23416 w 25708"/>
                <a:gd name="connsiteY2" fmla="*/ 20196 h 49146"/>
                <a:gd name="connsiteX3" fmla="*/ 24712 w 25708"/>
                <a:gd name="connsiteY3" fmla="*/ 16415 h 49146"/>
                <a:gd name="connsiteX4" fmla="*/ 24014 w 25708"/>
                <a:gd name="connsiteY4" fmla="*/ 13033 h 49146"/>
                <a:gd name="connsiteX5" fmla="*/ 23118 w 25708"/>
                <a:gd name="connsiteY5" fmla="*/ 11143 h 49146"/>
                <a:gd name="connsiteX6" fmla="*/ 23317 w 25708"/>
                <a:gd name="connsiteY6" fmla="*/ 9750 h 49146"/>
                <a:gd name="connsiteX7" fmla="*/ 22021 w 25708"/>
                <a:gd name="connsiteY7" fmla="*/ 8854 h 49146"/>
                <a:gd name="connsiteX8" fmla="*/ 20626 w 25708"/>
                <a:gd name="connsiteY8" fmla="*/ 5173 h 49146"/>
                <a:gd name="connsiteX9" fmla="*/ 21025 w 25708"/>
                <a:gd name="connsiteY9" fmla="*/ 2487 h 49146"/>
                <a:gd name="connsiteX10" fmla="*/ 18135 w 25708"/>
                <a:gd name="connsiteY10" fmla="*/ 0 h 49146"/>
                <a:gd name="connsiteX11" fmla="*/ 15544 w 25708"/>
                <a:gd name="connsiteY11" fmla="*/ 1094 h 49146"/>
                <a:gd name="connsiteX12" fmla="*/ 13851 w 25708"/>
                <a:gd name="connsiteY12" fmla="*/ 2686 h 49146"/>
                <a:gd name="connsiteX13" fmla="*/ 12754 w 25708"/>
                <a:gd name="connsiteY13" fmla="*/ 7064 h 49146"/>
                <a:gd name="connsiteX14" fmla="*/ 12057 w 25708"/>
                <a:gd name="connsiteY14" fmla="*/ 11143 h 49146"/>
                <a:gd name="connsiteX15" fmla="*/ 13053 w 25708"/>
                <a:gd name="connsiteY15" fmla="*/ 16017 h 49146"/>
                <a:gd name="connsiteX16" fmla="*/ 15046 w 25708"/>
                <a:gd name="connsiteY16" fmla="*/ 20296 h 49146"/>
                <a:gd name="connsiteX17" fmla="*/ 10662 w 25708"/>
                <a:gd name="connsiteY17" fmla="*/ 26464 h 49146"/>
                <a:gd name="connsiteX18" fmla="*/ 3089 w 25708"/>
                <a:gd name="connsiteY18" fmla="*/ 35517 h 49146"/>
                <a:gd name="connsiteX19" fmla="*/ 698 w 25708"/>
                <a:gd name="connsiteY19" fmla="*/ 36711 h 49146"/>
                <a:gd name="connsiteX20" fmla="*/ 0 w 25708"/>
                <a:gd name="connsiteY20" fmla="*/ 41486 h 49146"/>
                <a:gd name="connsiteX21" fmla="*/ 1495 w 25708"/>
                <a:gd name="connsiteY21" fmla="*/ 43078 h 49146"/>
                <a:gd name="connsiteX22" fmla="*/ 2690 w 25708"/>
                <a:gd name="connsiteY22" fmla="*/ 41188 h 49146"/>
                <a:gd name="connsiteX23" fmla="*/ 4584 w 25708"/>
                <a:gd name="connsiteY23" fmla="*/ 40889 h 49146"/>
                <a:gd name="connsiteX24" fmla="*/ 6875 w 25708"/>
                <a:gd name="connsiteY24" fmla="*/ 39795 h 49146"/>
                <a:gd name="connsiteX25" fmla="*/ 9865 w 25708"/>
                <a:gd name="connsiteY25" fmla="*/ 40790 h 49146"/>
                <a:gd name="connsiteX26" fmla="*/ 12157 w 25708"/>
                <a:gd name="connsiteY26" fmla="*/ 43178 h 49146"/>
                <a:gd name="connsiteX27" fmla="*/ 13153 w 25708"/>
                <a:gd name="connsiteY27" fmla="*/ 47356 h 49146"/>
                <a:gd name="connsiteX28" fmla="*/ 14050 w 25708"/>
                <a:gd name="connsiteY28" fmla="*/ 48251 h 49146"/>
                <a:gd name="connsiteX29" fmla="*/ 15744 w 25708"/>
                <a:gd name="connsiteY29" fmla="*/ 47953 h 49146"/>
                <a:gd name="connsiteX30" fmla="*/ 16441 w 25708"/>
                <a:gd name="connsiteY30" fmla="*/ 49047 h 49146"/>
                <a:gd name="connsiteX31" fmla="*/ 17737 w 25708"/>
                <a:gd name="connsiteY31" fmla="*/ 48550 h 49146"/>
                <a:gd name="connsiteX32" fmla="*/ 19231 w 25708"/>
                <a:gd name="connsiteY32" fmla="*/ 47754 h 49146"/>
                <a:gd name="connsiteX33" fmla="*/ 20726 w 25708"/>
                <a:gd name="connsiteY33" fmla="*/ 48251 h 49146"/>
                <a:gd name="connsiteX34" fmla="*/ 21423 w 25708"/>
                <a:gd name="connsiteY34" fmla="*/ 48749 h 49146"/>
                <a:gd name="connsiteX35" fmla="*/ 22320 w 25708"/>
                <a:gd name="connsiteY35" fmla="*/ 49147 h 49146"/>
                <a:gd name="connsiteX36" fmla="*/ 22121 w 25708"/>
                <a:gd name="connsiteY36" fmla="*/ 48152 h 49146"/>
                <a:gd name="connsiteX37" fmla="*/ 22619 w 25708"/>
                <a:gd name="connsiteY37" fmla="*/ 47356 h 49146"/>
                <a:gd name="connsiteX38" fmla="*/ 21523 w 25708"/>
                <a:gd name="connsiteY38" fmla="*/ 45167 h 49146"/>
                <a:gd name="connsiteX39" fmla="*/ 22320 w 25708"/>
                <a:gd name="connsiteY39" fmla="*/ 43178 h 49146"/>
                <a:gd name="connsiteX40" fmla="*/ 21523 w 25708"/>
                <a:gd name="connsiteY40" fmla="*/ 40889 h 49146"/>
                <a:gd name="connsiteX41" fmla="*/ 22121 w 25708"/>
                <a:gd name="connsiteY41" fmla="*/ 39695 h 49146"/>
                <a:gd name="connsiteX42" fmla="*/ 21822 w 25708"/>
                <a:gd name="connsiteY42" fmla="*/ 38203 h 49146"/>
                <a:gd name="connsiteX43" fmla="*/ 23018 w 25708"/>
                <a:gd name="connsiteY43" fmla="*/ 36711 h 49146"/>
                <a:gd name="connsiteX44" fmla="*/ 23118 w 25708"/>
                <a:gd name="connsiteY44" fmla="*/ 35616 h 49146"/>
                <a:gd name="connsiteX45" fmla="*/ 24811 w 25708"/>
                <a:gd name="connsiteY45" fmla="*/ 34920 h 49146"/>
                <a:gd name="connsiteX46" fmla="*/ 25609 w 25708"/>
                <a:gd name="connsiteY46" fmla="*/ 33328 h 49146"/>
                <a:gd name="connsiteX47" fmla="*/ 25110 w 25708"/>
                <a:gd name="connsiteY47" fmla="*/ 31935 h 49146"/>
                <a:gd name="connsiteX48" fmla="*/ 25708 w 25708"/>
                <a:gd name="connsiteY48" fmla="*/ 29050 h 49146"/>
                <a:gd name="connsiteX49" fmla="*/ 25210 w 25708"/>
                <a:gd name="connsiteY49" fmla="*/ 25966 h 49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5708" h="49146">
                  <a:moveTo>
                    <a:pt x="25210" y="25966"/>
                  </a:moveTo>
                  <a:lnTo>
                    <a:pt x="23516" y="23280"/>
                  </a:lnTo>
                  <a:lnTo>
                    <a:pt x="23416" y="20196"/>
                  </a:lnTo>
                  <a:lnTo>
                    <a:pt x="24712" y="16415"/>
                  </a:lnTo>
                  <a:lnTo>
                    <a:pt x="24014" y="13033"/>
                  </a:lnTo>
                  <a:lnTo>
                    <a:pt x="23118" y="11143"/>
                  </a:lnTo>
                  <a:lnTo>
                    <a:pt x="23317" y="9750"/>
                  </a:lnTo>
                  <a:lnTo>
                    <a:pt x="22021" y="8854"/>
                  </a:lnTo>
                  <a:lnTo>
                    <a:pt x="20626" y="5173"/>
                  </a:lnTo>
                  <a:lnTo>
                    <a:pt x="21025" y="2487"/>
                  </a:lnTo>
                  <a:lnTo>
                    <a:pt x="18135" y="0"/>
                  </a:lnTo>
                  <a:lnTo>
                    <a:pt x="15544" y="1094"/>
                  </a:lnTo>
                  <a:lnTo>
                    <a:pt x="13851" y="2686"/>
                  </a:lnTo>
                  <a:lnTo>
                    <a:pt x="12754" y="7064"/>
                  </a:lnTo>
                  <a:lnTo>
                    <a:pt x="12057" y="11143"/>
                  </a:lnTo>
                  <a:lnTo>
                    <a:pt x="13053" y="16017"/>
                  </a:lnTo>
                  <a:lnTo>
                    <a:pt x="15046" y="20296"/>
                  </a:lnTo>
                  <a:lnTo>
                    <a:pt x="10662" y="26464"/>
                  </a:lnTo>
                  <a:lnTo>
                    <a:pt x="3089" y="35517"/>
                  </a:lnTo>
                  <a:lnTo>
                    <a:pt x="698" y="36711"/>
                  </a:lnTo>
                  <a:lnTo>
                    <a:pt x="0" y="41486"/>
                  </a:lnTo>
                  <a:lnTo>
                    <a:pt x="1495" y="43078"/>
                  </a:lnTo>
                  <a:lnTo>
                    <a:pt x="2690" y="41188"/>
                  </a:lnTo>
                  <a:lnTo>
                    <a:pt x="4584" y="40889"/>
                  </a:lnTo>
                  <a:lnTo>
                    <a:pt x="6875" y="39795"/>
                  </a:lnTo>
                  <a:lnTo>
                    <a:pt x="9865" y="40790"/>
                  </a:lnTo>
                  <a:lnTo>
                    <a:pt x="12157" y="43178"/>
                  </a:lnTo>
                  <a:lnTo>
                    <a:pt x="13153" y="47356"/>
                  </a:lnTo>
                  <a:lnTo>
                    <a:pt x="14050" y="48251"/>
                  </a:lnTo>
                  <a:lnTo>
                    <a:pt x="15744" y="47953"/>
                  </a:lnTo>
                  <a:lnTo>
                    <a:pt x="16441" y="49047"/>
                  </a:lnTo>
                  <a:lnTo>
                    <a:pt x="17737" y="48550"/>
                  </a:lnTo>
                  <a:lnTo>
                    <a:pt x="19231" y="47754"/>
                  </a:lnTo>
                  <a:lnTo>
                    <a:pt x="20726" y="48251"/>
                  </a:lnTo>
                  <a:lnTo>
                    <a:pt x="21423" y="48749"/>
                  </a:lnTo>
                  <a:lnTo>
                    <a:pt x="22320" y="49147"/>
                  </a:lnTo>
                  <a:lnTo>
                    <a:pt x="22121" y="48152"/>
                  </a:lnTo>
                  <a:lnTo>
                    <a:pt x="22619" y="47356"/>
                  </a:lnTo>
                  <a:lnTo>
                    <a:pt x="21523" y="45167"/>
                  </a:lnTo>
                  <a:lnTo>
                    <a:pt x="22320" y="43178"/>
                  </a:lnTo>
                  <a:lnTo>
                    <a:pt x="21523" y="40889"/>
                  </a:lnTo>
                  <a:lnTo>
                    <a:pt x="22121" y="39695"/>
                  </a:lnTo>
                  <a:lnTo>
                    <a:pt x="21822" y="38203"/>
                  </a:lnTo>
                  <a:lnTo>
                    <a:pt x="23018" y="36711"/>
                  </a:lnTo>
                  <a:lnTo>
                    <a:pt x="23118" y="35616"/>
                  </a:lnTo>
                  <a:lnTo>
                    <a:pt x="24811" y="34920"/>
                  </a:lnTo>
                  <a:lnTo>
                    <a:pt x="25609" y="33328"/>
                  </a:lnTo>
                  <a:lnTo>
                    <a:pt x="25110" y="31935"/>
                  </a:lnTo>
                  <a:lnTo>
                    <a:pt x="25708" y="29050"/>
                  </a:lnTo>
                  <a:lnTo>
                    <a:pt x="25210" y="2596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99" name="Freeform: Shape 1198">
              <a:extLst>
                <a:ext uri="{FF2B5EF4-FFF2-40B4-BE49-F238E27FC236}">
                  <a16:creationId xmlns:a16="http://schemas.microsoft.com/office/drawing/2014/main" id="{AEB85DA6-FB68-47E5-8F30-13022D910897}"/>
                </a:ext>
              </a:extLst>
            </p:cNvPr>
            <p:cNvSpPr/>
            <p:nvPr/>
          </p:nvSpPr>
          <p:spPr>
            <a:xfrm>
              <a:off x="-730459" y="3752104"/>
              <a:ext cx="17935" cy="14326"/>
            </a:xfrm>
            <a:custGeom>
              <a:avLst/>
              <a:gdLst>
                <a:gd name="connsiteX0" fmla="*/ 6577 w 17935"/>
                <a:gd name="connsiteY0" fmla="*/ 5273 h 14326"/>
                <a:gd name="connsiteX1" fmla="*/ 8270 w 17935"/>
                <a:gd name="connsiteY1" fmla="*/ 7263 h 14326"/>
                <a:gd name="connsiteX2" fmla="*/ 10562 w 17935"/>
                <a:gd name="connsiteY2" fmla="*/ 8357 h 14326"/>
                <a:gd name="connsiteX3" fmla="*/ 12157 w 17935"/>
                <a:gd name="connsiteY3" fmla="*/ 9551 h 14326"/>
                <a:gd name="connsiteX4" fmla="*/ 13352 w 17935"/>
                <a:gd name="connsiteY4" fmla="*/ 12734 h 14326"/>
                <a:gd name="connsiteX5" fmla="*/ 14050 w 17935"/>
                <a:gd name="connsiteY5" fmla="*/ 12834 h 14326"/>
                <a:gd name="connsiteX6" fmla="*/ 14349 w 17935"/>
                <a:gd name="connsiteY6" fmla="*/ 13630 h 14326"/>
                <a:gd name="connsiteX7" fmla="*/ 15246 w 17935"/>
                <a:gd name="connsiteY7" fmla="*/ 14326 h 14326"/>
                <a:gd name="connsiteX8" fmla="*/ 16740 w 17935"/>
                <a:gd name="connsiteY8" fmla="*/ 13431 h 14326"/>
                <a:gd name="connsiteX9" fmla="*/ 17936 w 17935"/>
                <a:gd name="connsiteY9" fmla="*/ 12137 h 14326"/>
                <a:gd name="connsiteX10" fmla="*/ 17039 w 17935"/>
                <a:gd name="connsiteY10" fmla="*/ 11640 h 14326"/>
                <a:gd name="connsiteX11" fmla="*/ 16541 w 17935"/>
                <a:gd name="connsiteY11" fmla="*/ 10446 h 14326"/>
                <a:gd name="connsiteX12" fmla="*/ 14648 w 17935"/>
                <a:gd name="connsiteY12" fmla="*/ 9451 h 14326"/>
                <a:gd name="connsiteX13" fmla="*/ 14050 w 17935"/>
                <a:gd name="connsiteY13" fmla="*/ 8456 h 14326"/>
                <a:gd name="connsiteX14" fmla="*/ 13053 w 17935"/>
                <a:gd name="connsiteY14" fmla="*/ 7661 h 14326"/>
                <a:gd name="connsiteX15" fmla="*/ 11359 w 17935"/>
                <a:gd name="connsiteY15" fmla="*/ 5770 h 14326"/>
                <a:gd name="connsiteX16" fmla="*/ 4285 w 17935"/>
                <a:gd name="connsiteY16" fmla="*/ 796 h 14326"/>
                <a:gd name="connsiteX17" fmla="*/ 0 w 17935"/>
                <a:gd name="connsiteY17" fmla="*/ 0 h 14326"/>
                <a:gd name="connsiteX18" fmla="*/ 1196 w 17935"/>
                <a:gd name="connsiteY18" fmla="*/ 995 h 14326"/>
                <a:gd name="connsiteX19" fmla="*/ 2093 w 17935"/>
                <a:gd name="connsiteY19" fmla="*/ 1990 h 14326"/>
                <a:gd name="connsiteX20" fmla="*/ 2890 w 17935"/>
                <a:gd name="connsiteY20" fmla="*/ 3084 h 14326"/>
                <a:gd name="connsiteX21" fmla="*/ 3687 w 17935"/>
                <a:gd name="connsiteY21" fmla="*/ 3880 h 14326"/>
                <a:gd name="connsiteX22" fmla="*/ 3388 w 17935"/>
                <a:gd name="connsiteY22" fmla="*/ 4776 h 14326"/>
                <a:gd name="connsiteX23" fmla="*/ 6577 w 17935"/>
                <a:gd name="connsiteY23" fmla="*/ 5273 h 14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935" h="14326">
                  <a:moveTo>
                    <a:pt x="6577" y="5273"/>
                  </a:moveTo>
                  <a:lnTo>
                    <a:pt x="8270" y="7263"/>
                  </a:lnTo>
                  <a:lnTo>
                    <a:pt x="10562" y="8357"/>
                  </a:lnTo>
                  <a:lnTo>
                    <a:pt x="12157" y="9551"/>
                  </a:lnTo>
                  <a:lnTo>
                    <a:pt x="13352" y="12734"/>
                  </a:lnTo>
                  <a:lnTo>
                    <a:pt x="14050" y="12834"/>
                  </a:lnTo>
                  <a:lnTo>
                    <a:pt x="14349" y="13630"/>
                  </a:lnTo>
                  <a:lnTo>
                    <a:pt x="15246" y="14326"/>
                  </a:lnTo>
                  <a:lnTo>
                    <a:pt x="16740" y="13431"/>
                  </a:lnTo>
                  <a:lnTo>
                    <a:pt x="17936" y="12137"/>
                  </a:lnTo>
                  <a:lnTo>
                    <a:pt x="17039" y="11640"/>
                  </a:lnTo>
                  <a:lnTo>
                    <a:pt x="16541" y="10446"/>
                  </a:lnTo>
                  <a:lnTo>
                    <a:pt x="14648" y="9451"/>
                  </a:lnTo>
                  <a:lnTo>
                    <a:pt x="14050" y="8456"/>
                  </a:lnTo>
                  <a:lnTo>
                    <a:pt x="13053" y="7661"/>
                  </a:lnTo>
                  <a:lnTo>
                    <a:pt x="11359" y="5770"/>
                  </a:lnTo>
                  <a:lnTo>
                    <a:pt x="4285" y="796"/>
                  </a:lnTo>
                  <a:lnTo>
                    <a:pt x="0" y="0"/>
                  </a:lnTo>
                  <a:lnTo>
                    <a:pt x="1196" y="995"/>
                  </a:lnTo>
                  <a:lnTo>
                    <a:pt x="2093" y="1990"/>
                  </a:lnTo>
                  <a:lnTo>
                    <a:pt x="2890" y="3084"/>
                  </a:lnTo>
                  <a:lnTo>
                    <a:pt x="3687" y="3880"/>
                  </a:lnTo>
                  <a:lnTo>
                    <a:pt x="3388" y="4776"/>
                  </a:lnTo>
                  <a:lnTo>
                    <a:pt x="6577" y="527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0" name="Freeform: Shape 1199">
              <a:extLst>
                <a:ext uri="{FF2B5EF4-FFF2-40B4-BE49-F238E27FC236}">
                  <a16:creationId xmlns:a16="http://schemas.microsoft.com/office/drawing/2014/main" id="{1E7E79B0-669F-4648-8B40-73C49652863D}"/>
                </a:ext>
              </a:extLst>
            </p:cNvPr>
            <p:cNvSpPr/>
            <p:nvPr/>
          </p:nvSpPr>
          <p:spPr>
            <a:xfrm>
              <a:off x="-819042" y="3629038"/>
              <a:ext cx="62277" cy="79888"/>
            </a:xfrm>
            <a:custGeom>
              <a:avLst/>
              <a:gdLst>
                <a:gd name="connsiteX0" fmla="*/ 60285 w 62277"/>
                <a:gd name="connsiteY0" fmla="*/ 69741 h 79888"/>
                <a:gd name="connsiteX1" fmla="*/ 59388 w 62277"/>
                <a:gd name="connsiteY1" fmla="*/ 69144 h 79888"/>
                <a:gd name="connsiteX2" fmla="*/ 57694 w 62277"/>
                <a:gd name="connsiteY2" fmla="*/ 68547 h 79888"/>
                <a:gd name="connsiteX3" fmla="*/ 56399 w 62277"/>
                <a:gd name="connsiteY3" fmla="*/ 68348 h 79888"/>
                <a:gd name="connsiteX4" fmla="*/ 55203 w 62277"/>
                <a:gd name="connsiteY4" fmla="*/ 65861 h 79888"/>
                <a:gd name="connsiteX5" fmla="*/ 55601 w 62277"/>
                <a:gd name="connsiteY5" fmla="*/ 64468 h 79888"/>
                <a:gd name="connsiteX6" fmla="*/ 55203 w 62277"/>
                <a:gd name="connsiteY6" fmla="*/ 63473 h 79888"/>
                <a:gd name="connsiteX7" fmla="*/ 53609 w 62277"/>
                <a:gd name="connsiteY7" fmla="*/ 60787 h 79888"/>
                <a:gd name="connsiteX8" fmla="*/ 53110 w 62277"/>
                <a:gd name="connsiteY8" fmla="*/ 59494 h 79888"/>
                <a:gd name="connsiteX9" fmla="*/ 53110 w 62277"/>
                <a:gd name="connsiteY9" fmla="*/ 55514 h 79888"/>
                <a:gd name="connsiteX10" fmla="*/ 53509 w 62277"/>
                <a:gd name="connsiteY10" fmla="*/ 52430 h 79888"/>
                <a:gd name="connsiteX11" fmla="*/ 54206 w 62277"/>
                <a:gd name="connsiteY11" fmla="*/ 51037 h 79888"/>
                <a:gd name="connsiteX12" fmla="*/ 53310 w 62277"/>
                <a:gd name="connsiteY12" fmla="*/ 50241 h 79888"/>
                <a:gd name="connsiteX13" fmla="*/ 53310 w 62277"/>
                <a:gd name="connsiteY13" fmla="*/ 48550 h 79888"/>
                <a:gd name="connsiteX14" fmla="*/ 53409 w 62277"/>
                <a:gd name="connsiteY14" fmla="*/ 45764 h 79888"/>
                <a:gd name="connsiteX15" fmla="*/ 52612 w 62277"/>
                <a:gd name="connsiteY15" fmla="*/ 44172 h 79888"/>
                <a:gd name="connsiteX16" fmla="*/ 52512 w 62277"/>
                <a:gd name="connsiteY16" fmla="*/ 41088 h 79888"/>
                <a:gd name="connsiteX17" fmla="*/ 53808 w 62277"/>
                <a:gd name="connsiteY17" fmla="*/ 38701 h 79888"/>
                <a:gd name="connsiteX18" fmla="*/ 52014 w 62277"/>
                <a:gd name="connsiteY18" fmla="*/ 36810 h 79888"/>
                <a:gd name="connsiteX19" fmla="*/ 49025 w 62277"/>
                <a:gd name="connsiteY19" fmla="*/ 37407 h 79888"/>
                <a:gd name="connsiteX20" fmla="*/ 47132 w 62277"/>
                <a:gd name="connsiteY20" fmla="*/ 36910 h 79888"/>
                <a:gd name="connsiteX21" fmla="*/ 45039 w 62277"/>
                <a:gd name="connsiteY21" fmla="*/ 36910 h 79888"/>
                <a:gd name="connsiteX22" fmla="*/ 42747 w 62277"/>
                <a:gd name="connsiteY22" fmla="*/ 37407 h 79888"/>
                <a:gd name="connsiteX23" fmla="*/ 41651 w 62277"/>
                <a:gd name="connsiteY23" fmla="*/ 36910 h 79888"/>
                <a:gd name="connsiteX24" fmla="*/ 40057 w 62277"/>
                <a:gd name="connsiteY24" fmla="*/ 36910 h 79888"/>
                <a:gd name="connsiteX25" fmla="*/ 39060 w 62277"/>
                <a:gd name="connsiteY25" fmla="*/ 38104 h 79888"/>
                <a:gd name="connsiteX26" fmla="*/ 37466 w 62277"/>
                <a:gd name="connsiteY26" fmla="*/ 38104 h 79888"/>
                <a:gd name="connsiteX27" fmla="*/ 36370 w 62277"/>
                <a:gd name="connsiteY27" fmla="*/ 36711 h 79888"/>
                <a:gd name="connsiteX28" fmla="*/ 31388 w 62277"/>
                <a:gd name="connsiteY28" fmla="*/ 35915 h 79888"/>
                <a:gd name="connsiteX29" fmla="*/ 28199 w 62277"/>
                <a:gd name="connsiteY29" fmla="*/ 33925 h 79888"/>
                <a:gd name="connsiteX30" fmla="*/ 28000 w 62277"/>
                <a:gd name="connsiteY30" fmla="*/ 30443 h 79888"/>
                <a:gd name="connsiteX31" fmla="*/ 27502 w 62277"/>
                <a:gd name="connsiteY31" fmla="*/ 29150 h 79888"/>
                <a:gd name="connsiteX32" fmla="*/ 27900 w 62277"/>
                <a:gd name="connsiteY32" fmla="*/ 26663 h 79888"/>
                <a:gd name="connsiteX33" fmla="*/ 29395 w 62277"/>
                <a:gd name="connsiteY33" fmla="*/ 24872 h 79888"/>
                <a:gd name="connsiteX34" fmla="*/ 30790 w 62277"/>
                <a:gd name="connsiteY34" fmla="*/ 23479 h 79888"/>
                <a:gd name="connsiteX35" fmla="*/ 29196 w 62277"/>
                <a:gd name="connsiteY35" fmla="*/ 22186 h 79888"/>
                <a:gd name="connsiteX36" fmla="*/ 29395 w 62277"/>
                <a:gd name="connsiteY36" fmla="*/ 20992 h 79888"/>
                <a:gd name="connsiteX37" fmla="*/ 27900 w 62277"/>
                <a:gd name="connsiteY37" fmla="*/ 18107 h 79888"/>
                <a:gd name="connsiteX38" fmla="*/ 26306 w 62277"/>
                <a:gd name="connsiteY38" fmla="*/ 16216 h 79888"/>
                <a:gd name="connsiteX39" fmla="*/ 26306 w 62277"/>
                <a:gd name="connsiteY39" fmla="*/ 15222 h 79888"/>
                <a:gd name="connsiteX40" fmla="*/ 25210 w 62277"/>
                <a:gd name="connsiteY40" fmla="*/ 14028 h 79888"/>
                <a:gd name="connsiteX41" fmla="*/ 25110 w 62277"/>
                <a:gd name="connsiteY41" fmla="*/ 12834 h 79888"/>
                <a:gd name="connsiteX42" fmla="*/ 22021 w 62277"/>
                <a:gd name="connsiteY42" fmla="*/ 11839 h 79888"/>
                <a:gd name="connsiteX43" fmla="*/ 20327 w 62277"/>
                <a:gd name="connsiteY43" fmla="*/ 8158 h 79888"/>
                <a:gd name="connsiteX44" fmla="*/ 16441 w 62277"/>
                <a:gd name="connsiteY44" fmla="*/ 4377 h 79888"/>
                <a:gd name="connsiteX45" fmla="*/ 14747 w 62277"/>
                <a:gd name="connsiteY45" fmla="*/ 2587 h 79888"/>
                <a:gd name="connsiteX46" fmla="*/ 11858 w 62277"/>
                <a:gd name="connsiteY46" fmla="*/ 2089 h 79888"/>
                <a:gd name="connsiteX47" fmla="*/ 10463 w 62277"/>
                <a:gd name="connsiteY47" fmla="*/ 1791 h 79888"/>
                <a:gd name="connsiteX48" fmla="*/ 10363 w 62277"/>
                <a:gd name="connsiteY48" fmla="*/ 100 h 79888"/>
                <a:gd name="connsiteX49" fmla="*/ 8769 w 62277"/>
                <a:gd name="connsiteY49" fmla="*/ 0 h 79888"/>
                <a:gd name="connsiteX50" fmla="*/ 8868 w 62277"/>
                <a:gd name="connsiteY50" fmla="*/ 995 h 79888"/>
                <a:gd name="connsiteX51" fmla="*/ 7274 w 62277"/>
                <a:gd name="connsiteY51" fmla="*/ 1691 h 79888"/>
                <a:gd name="connsiteX52" fmla="*/ 5580 w 62277"/>
                <a:gd name="connsiteY52" fmla="*/ 2388 h 79888"/>
                <a:gd name="connsiteX53" fmla="*/ 4384 w 62277"/>
                <a:gd name="connsiteY53" fmla="*/ 1691 h 79888"/>
                <a:gd name="connsiteX54" fmla="*/ 4285 w 62277"/>
                <a:gd name="connsiteY54" fmla="*/ 796 h 79888"/>
                <a:gd name="connsiteX55" fmla="*/ 2790 w 62277"/>
                <a:gd name="connsiteY55" fmla="*/ 1393 h 79888"/>
                <a:gd name="connsiteX56" fmla="*/ 3089 w 62277"/>
                <a:gd name="connsiteY56" fmla="*/ 3582 h 79888"/>
                <a:gd name="connsiteX57" fmla="*/ 3587 w 62277"/>
                <a:gd name="connsiteY57" fmla="*/ 5969 h 79888"/>
                <a:gd name="connsiteX58" fmla="*/ 2491 w 62277"/>
                <a:gd name="connsiteY58" fmla="*/ 10048 h 79888"/>
                <a:gd name="connsiteX59" fmla="*/ 598 w 62277"/>
                <a:gd name="connsiteY59" fmla="*/ 13232 h 79888"/>
                <a:gd name="connsiteX60" fmla="*/ 0 w 62277"/>
                <a:gd name="connsiteY60" fmla="*/ 16415 h 79888"/>
                <a:gd name="connsiteX61" fmla="*/ 498 w 62277"/>
                <a:gd name="connsiteY61" fmla="*/ 19798 h 79888"/>
                <a:gd name="connsiteX62" fmla="*/ 2690 w 62277"/>
                <a:gd name="connsiteY62" fmla="*/ 21589 h 79888"/>
                <a:gd name="connsiteX63" fmla="*/ 4085 w 62277"/>
                <a:gd name="connsiteY63" fmla="*/ 23181 h 79888"/>
                <a:gd name="connsiteX64" fmla="*/ 4384 w 62277"/>
                <a:gd name="connsiteY64" fmla="*/ 24275 h 79888"/>
                <a:gd name="connsiteX65" fmla="*/ 6278 w 62277"/>
                <a:gd name="connsiteY65" fmla="*/ 25966 h 79888"/>
                <a:gd name="connsiteX66" fmla="*/ 6776 w 62277"/>
                <a:gd name="connsiteY66" fmla="*/ 27558 h 79888"/>
                <a:gd name="connsiteX67" fmla="*/ 7772 w 62277"/>
                <a:gd name="connsiteY67" fmla="*/ 28354 h 79888"/>
                <a:gd name="connsiteX68" fmla="*/ 8669 w 62277"/>
                <a:gd name="connsiteY68" fmla="*/ 30443 h 79888"/>
                <a:gd name="connsiteX69" fmla="*/ 10363 w 62277"/>
                <a:gd name="connsiteY69" fmla="*/ 31637 h 79888"/>
                <a:gd name="connsiteX70" fmla="*/ 11160 w 62277"/>
                <a:gd name="connsiteY70" fmla="*/ 33030 h 79888"/>
                <a:gd name="connsiteX71" fmla="*/ 11359 w 62277"/>
                <a:gd name="connsiteY71" fmla="*/ 35617 h 79888"/>
                <a:gd name="connsiteX72" fmla="*/ 12356 w 62277"/>
                <a:gd name="connsiteY72" fmla="*/ 37407 h 79888"/>
                <a:gd name="connsiteX73" fmla="*/ 14149 w 62277"/>
                <a:gd name="connsiteY73" fmla="*/ 38402 h 79888"/>
                <a:gd name="connsiteX74" fmla="*/ 16242 w 62277"/>
                <a:gd name="connsiteY74" fmla="*/ 38303 h 79888"/>
                <a:gd name="connsiteX75" fmla="*/ 18135 w 62277"/>
                <a:gd name="connsiteY75" fmla="*/ 38203 h 79888"/>
                <a:gd name="connsiteX76" fmla="*/ 20128 w 62277"/>
                <a:gd name="connsiteY76" fmla="*/ 39994 h 79888"/>
                <a:gd name="connsiteX77" fmla="*/ 21025 w 62277"/>
                <a:gd name="connsiteY77" fmla="*/ 42183 h 79888"/>
                <a:gd name="connsiteX78" fmla="*/ 20527 w 62277"/>
                <a:gd name="connsiteY78" fmla="*/ 43377 h 79888"/>
                <a:gd name="connsiteX79" fmla="*/ 23815 w 62277"/>
                <a:gd name="connsiteY79" fmla="*/ 47754 h 79888"/>
                <a:gd name="connsiteX80" fmla="*/ 26107 w 62277"/>
                <a:gd name="connsiteY80" fmla="*/ 49843 h 79888"/>
                <a:gd name="connsiteX81" fmla="*/ 29295 w 62277"/>
                <a:gd name="connsiteY81" fmla="*/ 51137 h 79888"/>
                <a:gd name="connsiteX82" fmla="*/ 30292 w 62277"/>
                <a:gd name="connsiteY82" fmla="*/ 53524 h 79888"/>
                <a:gd name="connsiteX83" fmla="*/ 32683 w 62277"/>
                <a:gd name="connsiteY83" fmla="*/ 54917 h 79888"/>
                <a:gd name="connsiteX84" fmla="*/ 34477 w 62277"/>
                <a:gd name="connsiteY84" fmla="*/ 55713 h 79888"/>
                <a:gd name="connsiteX85" fmla="*/ 35573 w 62277"/>
                <a:gd name="connsiteY85" fmla="*/ 57006 h 79888"/>
                <a:gd name="connsiteX86" fmla="*/ 37068 w 62277"/>
                <a:gd name="connsiteY86" fmla="*/ 57205 h 79888"/>
                <a:gd name="connsiteX87" fmla="*/ 38064 w 62277"/>
                <a:gd name="connsiteY87" fmla="*/ 58897 h 79888"/>
                <a:gd name="connsiteX88" fmla="*/ 40256 w 62277"/>
                <a:gd name="connsiteY88" fmla="*/ 61185 h 79888"/>
                <a:gd name="connsiteX89" fmla="*/ 41850 w 62277"/>
                <a:gd name="connsiteY89" fmla="*/ 63175 h 79888"/>
                <a:gd name="connsiteX90" fmla="*/ 42448 w 62277"/>
                <a:gd name="connsiteY90" fmla="*/ 65264 h 79888"/>
                <a:gd name="connsiteX91" fmla="*/ 43345 w 62277"/>
                <a:gd name="connsiteY91" fmla="*/ 66060 h 79888"/>
                <a:gd name="connsiteX92" fmla="*/ 44342 w 62277"/>
                <a:gd name="connsiteY92" fmla="*/ 67851 h 79888"/>
                <a:gd name="connsiteX93" fmla="*/ 46135 w 62277"/>
                <a:gd name="connsiteY93" fmla="*/ 69243 h 79888"/>
                <a:gd name="connsiteX94" fmla="*/ 47829 w 62277"/>
                <a:gd name="connsiteY94" fmla="*/ 69840 h 79888"/>
                <a:gd name="connsiteX95" fmla="*/ 49922 w 62277"/>
                <a:gd name="connsiteY95" fmla="*/ 71034 h 79888"/>
                <a:gd name="connsiteX96" fmla="*/ 51018 w 62277"/>
                <a:gd name="connsiteY96" fmla="*/ 73621 h 79888"/>
                <a:gd name="connsiteX97" fmla="*/ 55004 w 62277"/>
                <a:gd name="connsiteY97" fmla="*/ 75212 h 79888"/>
                <a:gd name="connsiteX98" fmla="*/ 56498 w 62277"/>
                <a:gd name="connsiteY98" fmla="*/ 77103 h 79888"/>
                <a:gd name="connsiteX99" fmla="*/ 57993 w 62277"/>
                <a:gd name="connsiteY99" fmla="*/ 77600 h 79888"/>
                <a:gd name="connsiteX100" fmla="*/ 59587 w 62277"/>
                <a:gd name="connsiteY100" fmla="*/ 79590 h 79888"/>
                <a:gd name="connsiteX101" fmla="*/ 60584 w 62277"/>
                <a:gd name="connsiteY101" fmla="*/ 79888 h 79888"/>
                <a:gd name="connsiteX102" fmla="*/ 60683 w 62277"/>
                <a:gd name="connsiteY102" fmla="*/ 75710 h 79888"/>
                <a:gd name="connsiteX103" fmla="*/ 60384 w 62277"/>
                <a:gd name="connsiteY103" fmla="*/ 73919 h 79888"/>
                <a:gd name="connsiteX104" fmla="*/ 62278 w 62277"/>
                <a:gd name="connsiteY104" fmla="*/ 70139 h 79888"/>
                <a:gd name="connsiteX105" fmla="*/ 60285 w 62277"/>
                <a:gd name="connsiteY105" fmla="*/ 69741 h 7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62277" h="79888">
                  <a:moveTo>
                    <a:pt x="60285" y="69741"/>
                  </a:moveTo>
                  <a:lnTo>
                    <a:pt x="59388" y="69144"/>
                  </a:lnTo>
                  <a:lnTo>
                    <a:pt x="57694" y="68547"/>
                  </a:lnTo>
                  <a:lnTo>
                    <a:pt x="56399" y="68348"/>
                  </a:lnTo>
                  <a:lnTo>
                    <a:pt x="55203" y="65861"/>
                  </a:lnTo>
                  <a:lnTo>
                    <a:pt x="55601" y="64468"/>
                  </a:lnTo>
                  <a:lnTo>
                    <a:pt x="55203" y="63473"/>
                  </a:lnTo>
                  <a:lnTo>
                    <a:pt x="53609" y="60787"/>
                  </a:lnTo>
                  <a:lnTo>
                    <a:pt x="53110" y="59494"/>
                  </a:lnTo>
                  <a:lnTo>
                    <a:pt x="53110" y="55514"/>
                  </a:lnTo>
                  <a:lnTo>
                    <a:pt x="53509" y="52430"/>
                  </a:lnTo>
                  <a:lnTo>
                    <a:pt x="54206" y="51037"/>
                  </a:lnTo>
                  <a:lnTo>
                    <a:pt x="53310" y="50241"/>
                  </a:lnTo>
                  <a:lnTo>
                    <a:pt x="53310" y="48550"/>
                  </a:lnTo>
                  <a:lnTo>
                    <a:pt x="53409" y="45764"/>
                  </a:lnTo>
                  <a:lnTo>
                    <a:pt x="52612" y="44172"/>
                  </a:lnTo>
                  <a:lnTo>
                    <a:pt x="52512" y="41088"/>
                  </a:lnTo>
                  <a:lnTo>
                    <a:pt x="53808" y="38701"/>
                  </a:lnTo>
                  <a:lnTo>
                    <a:pt x="52014" y="36810"/>
                  </a:lnTo>
                  <a:lnTo>
                    <a:pt x="49025" y="37407"/>
                  </a:lnTo>
                  <a:lnTo>
                    <a:pt x="47132" y="36910"/>
                  </a:lnTo>
                  <a:lnTo>
                    <a:pt x="45039" y="36910"/>
                  </a:lnTo>
                  <a:lnTo>
                    <a:pt x="42747" y="37407"/>
                  </a:lnTo>
                  <a:lnTo>
                    <a:pt x="41651" y="36910"/>
                  </a:lnTo>
                  <a:lnTo>
                    <a:pt x="40057" y="36910"/>
                  </a:lnTo>
                  <a:lnTo>
                    <a:pt x="39060" y="38104"/>
                  </a:lnTo>
                  <a:lnTo>
                    <a:pt x="37466" y="38104"/>
                  </a:lnTo>
                  <a:lnTo>
                    <a:pt x="36370" y="36711"/>
                  </a:lnTo>
                  <a:lnTo>
                    <a:pt x="31388" y="35915"/>
                  </a:lnTo>
                  <a:lnTo>
                    <a:pt x="28199" y="33925"/>
                  </a:lnTo>
                  <a:lnTo>
                    <a:pt x="28000" y="30443"/>
                  </a:lnTo>
                  <a:lnTo>
                    <a:pt x="27502" y="29150"/>
                  </a:lnTo>
                  <a:lnTo>
                    <a:pt x="27900" y="26663"/>
                  </a:lnTo>
                  <a:lnTo>
                    <a:pt x="29395" y="24872"/>
                  </a:lnTo>
                  <a:lnTo>
                    <a:pt x="30790" y="23479"/>
                  </a:lnTo>
                  <a:lnTo>
                    <a:pt x="29196" y="22186"/>
                  </a:lnTo>
                  <a:lnTo>
                    <a:pt x="29395" y="20992"/>
                  </a:lnTo>
                  <a:lnTo>
                    <a:pt x="27900" y="18107"/>
                  </a:lnTo>
                  <a:lnTo>
                    <a:pt x="26306" y="16216"/>
                  </a:lnTo>
                  <a:lnTo>
                    <a:pt x="26306" y="15222"/>
                  </a:lnTo>
                  <a:lnTo>
                    <a:pt x="25210" y="14028"/>
                  </a:lnTo>
                  <a:lnTo>
                    <a:pt x="25110" y="12834"/>
                  </a:lnTo>
                  <a:lnTo>
                    <a:pt x="22021" y="11839"/>
                  </a:lnTo>
                  <a:lnTo>
                    <a:pt x="20327" y="8158"/>
                  </a:lnTo>
                  <a:lnTo>
                    <a:pt x="16441" y="4377"/>
                  </a:lnTo>
                  <a:lnTo>
                    <a:pt x="14747" y="2587"/>
                  </a:lnTo>
                  <a:lnTo>
                    <a:pt x="11858" y="2089"/>
                  </a:lnTo>
                  <a:lnTo>
                    <a:pt x="10463" y="1791"/>
                  </a:lnTo>
                  <a:lnTo>
                    <a:pt x="10363" y="100"/>
                  </a:lnTo>
                  <a:lnTo>
                    <a:pt x="8769" y="0"/>
                  </a:lnTo>
                  <a:lnTo>
                    <a:pt x="8868" y="995"/>
                  </a:lnTo>
                  <a:lnTo>
                    <a:pt x="7274" y="1691"/>
                  </a:lnTo>
                  <a:lnTo>
                    <a:pt x="5580" y="2388"/>
                  </a:lnTo>
                  <a:lnTo>
                    <a:pt x="4384" y="1691"/>
                  </a:lnTo>
                  <a:lnTo>
                    <a:pt x="4285" y="796"/>
                  </a:lnTo>
                  <a:lnTo>
                    <a:pt x="2790" y="1393"/>
                  </a:lnTo>
                  <a:lnTo>
                    <a:pt x="3089" y="3582"/>
                  </a:lnTo>
                  <a:lnTo>
                    <a:pt x="3587" y="5969"/>
                  </a:lnTo>
                  <a:lnTo>
                    <a:pt x="2491" y="10048"/>
                  </a:lnTo>
                  <a:lnTo>
                    <a:pt x="598" y="13232"/>
                  </a:lnTo>
                  <a:lnTo>
                    <a:pt x="0" y="16415"/>
                  </a:lnTo>
                  <a:lnTo>
                    <a:pt x="498" y="19798"/>
                  </a:lnTo>
                  <a:lnTo>
                    <a:pt x="2690" y="21589"/>
                  </a:lnTo>
                  <a:lnTo>
                    <a:pt x="4085" y="23181"/>
                  </a:lnTo>
                  <a:lnTo>
                    <a:pt x="4384" y="24275"/>
                  </a:lnTo>
                  <a:lnTo>
                    <a:pt x="6278" y="25966"/>
                  </a:lnTo>
                  <a:lnTo>
                    <a:pt x="6776" y="27558"/>
                  </a:lnTo>
                  <a:lnTo>
                    <a:pt x="7772" y="28354"/>
                  </a:lnTo>
                  <a:lnTo>
                    <a:pt x="8669" y="30443"/>
                  </a:lnTo>
                  <a:lnTo>
                    <a:pt x="10363" y="31637"/>
                  </a:lnTo>
                  <a:lnTo>
                    <a:pt x="11160" y="33030"/>
                  </a:lnTo>
                  <a:lnTo>
                    <a:pt x="11359" y="35617"/>
                  </a:lnTo>
                  <a:lnTo>
                    <a:pt x="12356" y="37407"/>
                  </a:lnTo>
                  <a:lnTo>
                    <a:pt x="14149" y="38402"/>
                  </a:lnTo>
                  <a:lnTo>
                    <a:pt x="16242" y="38303"/>
                  </a:lnTo>
                  <a:lnTo>
                    <a:pt x="18135" y="38203"/>
                  </a:lnTo>
                  <a:lnTo>
                    <a:pt x="20128" y="39994"/>
                  </a:lnTo>
                  <a:lnTo>
                    <a:pt x="21025" y="42183"/>
                  </a:lnTo>
                  <a:lnTo>
                    <a:pt x="20527" y="43377"/>
                  </a:lnTo>
                  <a:lnTo>
                    <a:pt x="23815" y="47754"/>
                  </a:lnTo>
                  <a:lnTo>
                    <a:pt x="26107" y="49843"/>
                  </a:lnTo>
                  <a:lnTo>
                    <a:pt x="29295" y="51137"/>
                  </a:lnTo>
                  <a:lnTo>
                    <a:pt x="30292" y="53524"/>
                  </a:lnTo>
                  <a:lnTo>
                    <a:pt x="32683" y="54917"/>
                  </a:lnTo>
                  <a:lnTo>
                    <a:pt x="34477" y="55713"/>
                  </a:lnTo>
                  <a:lnTo>
                    <a:pt x="35573" y="57006"/>
                  </a:lnTo>
                  <a:lnTo>
                    <a:pt x="37068" y="57205"/>
                  </a:lnTo>
                  <a:lnTo>
                    <a:pt x="38064" y="58897"/>
                  </a:lnTo>
                  <a:lnTo>
                    <a:pt x="40256" y="61185"/>
                  </a:lnTo>
                  <a:lnTo>
                    <a:pt x="41850" y="63175"/>
                  </a:lnTo>
                  <a:lnTo>
                    <a:pt x="42448" y="65264"/>
                  </a:lnTo>
                  <a:lnTo>
                    <a:pt x="43345" y="66060"/>
                  </a:lnTo>
                  <a:lnTo>
                    <a:pt x="44342" y="67851"/>
                  </a:lnTo>
                  <a:lnTo>
                    <a:pt x="46135" y="69243"/>
                  </a:lnTo>
                  <a:lnTo>
                    <a:pt x="47829" y="69840"/>
                  </a:lnTo>
                  <a:lnTo>
                    <a:pt x="49922" y="71034"/>
                  </a:lnTo>
                  <a:lnTo>
                    <a:pt x="51018" y="73621"/>
                  </a:lnTo>
                  <a:lnTo>
                    <a:pt x="55004" y="75212"/>
                  </a:lnTo>
                  <a:lnTo>
                    <a:pt x="56498" y="77103"/>
                  </a:lnTo>
                  <a:lnTo>
                    <a:pt x="57993" y="77600"/>
                  </a:lnTo>
                  <a:lnTo>
                    <a:pt x="59587" y="79590"/>
                  </a:lnTo>
                  <a:lnTo>
                    <a:pt x="60584" y="79888"/>
                  </a:lnTo>
                  <a:lnTo>
                    <a:pt x="60683" y="75710"/>
                  </a:lnTo>
                  <a:lnTo>
                    <a:pt x="60384" y="73919"/>
                  </a:lnTo>
                  <a:lnTo>
                    <a:pt x="62278" y="70139"/>
                  </a:lnTo>
                  <a:lnTo>
                    <a:pt x="60285" y="6974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1" name="Freeform: Shape 1200">
              <a:extLst>
                <a:ext uri="{FF2B5EF4-FFF2-40B4-BE49-F238E27FC236}">
                  <a16:creationId xmlns:a16="http://schemas.microsoft.com/office/drawing/2014/main" id="{E10F7125-1D04-4CCA-B900-19C614C18076}"/>
                </a:ext>
              </a:extLst>
            </p:cNvPr>
            <p:cNvSpPr/>
            <p:nvPr/>
          </p:nvSpPr>
          <p:spPr>
            <a:xfrm>
              <a:off x="-605007" y="3923720"/>
              <a:ext cx="6078" cy="3482"/>
            </a:xfrm>
            <a:custGeom>
              <a:avLst/>
              <a:gdLst>
                <a:gd name="connsiteX0" fmla="*/ 399 w 6078"/>
                <a:gd name="connsiteY0" fmla="*/ 597 h 3482"/>
                <a:gd name="connsiteX1" fmla="*/ 0 w 6078"/>
                <a:gd name="connsiteY1" fmla="*/ 2189 h 3482"/>
                <a:gd name="connsiteX2" fmla="*/ 1594 w 6078"/>
                <a:gd name="connsiteY2" fmla="*/ 3383 h 3482"/>
                <a:gd name="connsiteX3" fmla="*/ 3189 w 6078"/>
                <a:gd name="connsiteY3" fmla="*/ 3482 h 3482"/>
                <a:gd name="connsiteX4" fmla="*/ 5680 w 6078"/>
                <a:gd name="connsiteY4" fmla="*/ 3184 h 3482"/>
                <a:gd name="connsiteX5" fmla="*/ 6078 w 6078"/>
                <a:gd name="connsiteY5" fmla="*/ 2189 h 3482"/>
                <a:gd name="connsiteX6" fmla="*/ 5281 w 6078"/>
                <a:gd name="connsiteY6" fmla="*/ 895 h 3482"/>
                <a:gd name="connsiteX7" fmla="*/ 3189 w 6078"/>
                <a:gd name="connsiteY7" fmla="*/ 0 h 3482"/>
                <a:gd name="connsiteX8" fmla="*/ 399 w 6078"/>
                <a:gd name="connsiteY8" fmla="*/ 597 h 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78" h="3482">
                  <a:moveTo>
                    <a:pt x="399" y="597"/>
                  </a:moveTo>
                  <a:lnTo>
                    <a:pt x="0" y="2189"/>
                  </a:lnTo>
                  <a:lnTo>
                    <a:pt x="1594" y="3383"/>
                  </a:lnTo>
                  <a:lnTo>
                    <a:pt x="3189" y="3482"/>
                  </a:lnTo>
                  <a:lnTo>
                    <a:pt x="5680" y="3184"/>
                  </a:lnTo>
                  <a:lnTo>
                    <a:pt x="6078" y="2189"/>
                  </a:lnTo>
                  <a:lnTo>
                    <a:pt x="5281" y="895"/>
                  </a:lnTo>
                  <a:lnTo>
                    <a:pt x="3189" y="0"/>
                  </a:lnTo>
                  <a:lnTo>
                    <a:pt x="399" y="5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2" name="Freeform: Shape 1201">
              <a:extLst>
                <a:ext uri="{FF2B5EF4-FFF2-40B4-BE49-F238E27FC236}">
                  <a16:creationId xmlns:a16="http://schemas.microsoft.com/office/drawing/2014/main" id="{46BC416E-1480-48C9-A272-D004AE76563D}"/>
                </a:ext>
              </a:extLst>
            </p:cNvPr>
            <p:cNvSpPr/>
            <p:nvPr/>
          </p:nvSpPr>
          <p:spPr>
            <a:xfrm>
              <a:off x="-630914" y="3950681"/>
              <a:ext cx="8071" cy="11341"/>
            </a:xfrm>
            <a:custGeom>
              <a:avLst/>
              <a:gdLst>
                <a:gd name="connsiteX0" fmla="*/ 2392 w 8071"/>
                <a:gd name="connsiteY0" fmla="*/ 0 h 11341"/>
                <a:gd name="connsiteX1" fmla="*/ 0 w 8071"/>
                <a:gd name="connsiteY1" fmla="*/ 3283 h 11341"/>
                <a:gd name="connsiteX2" fmla="*/ 1495 w 8071"/>
                <a:gd name="connsiteY2" fmla="*/ 4974 h 11341"/>
                <a:gd name="connsiteX3" fmla="*/ 2092 w 8071"/>
                <a:gd name="connsiteY3" fmla="*/ 7859 h 11341"/>
                <a:gd name="connsiteX4" fmla="*/ 2690 w 8071"/>
                <a:gd name="connsiteY4" fmla="*/ 10745 h 11341"/>
                <a:gd name="connsiteX5" fmla="*/ 5381 w 8071"/>
                <a:gd name="connsiteY5" fmla="*/ 11341 h 11341"/>
                <a:gd name="connsiteX6" fmla="*/ 7174 w 8071"/>
                <a:gd name="connsiteY6" fmla="*/ 9252 h 11341"/>
                <a:gd name="connsiteX7" fmla="*/ 8071 w 8071"/>
                <a:gd name="connsiteY7" fmla="*/ 6069 h 11341"/>
                <a:gd name="connsiteX8" fmla="*/ 5680 w 8071"/>
                <a:gd name="connsiteY8" fmla="*/ 2586 h 11341"/>
                <a:gd name="connsiteX9" fmla="*/ 2392 w 8071"/>
                <a:gd name="connsiteY9" fmla="*/ 0 h 11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71" h="11341">
                  <a:moveTo>
                    <a:pt x="2392" y="0"/>
                  </a:moveTo>
                  <a:lnTo>
                    <a:pt x="0" y="3283"/>
                  </a:lnTo>
                  <a:lnTo>
                    <a:pt x="1495" y="4974"/>
                  </a:lnTo>
                  <a:lnTo>
                    <a:pt x="2092" y="7859"/>
                  </a:lnTo>
                  <a:lnTo>
                    <a:pt x="2690" y="10745"/>
                  </a:lnTo>
                  <a:lnTo>
                    <a:pt x="5381" y="11341"/>
                  </a:lnTo>
                  <a:lnTo>
                    <a:pt x="7174" y="9252"/>
                  </a:lnTo>
                  <a:lnTo>
                    <a:pt x="8071" y="6069"/>
                  </a:lnTo>
                  <a:lnTo>
                    <a:pt x="5680" y="2586"/>
                  </a:lnTo>
                  <a:lnTo>
                    <a:pt x="2392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3" name="Freeform: Shape 1202">
              <a:extLst>
                <a:ext uri="{FF2B5EF4-FFF2-40B4-BE49-F238E27FC236}">
                  <a16:creationId xmlns:a16="http://schemas.microsoft.com/office/drawing/2014/main" id="{8D8B9EDF-6475-4312-882E-4033955199BC}"/>
                </a:ext>
              </a:extLst>
            </p:cNvPr>
            <p:cNvSpPr/>
            <p:nvPr/>
          </p:nvSpPr>
          <p:spPr>
            <a:xfrm>
              <a:off x="-691000" y="3671917"/>
              <a:ext cx="49124" cy="70437"/>
            </a:xfrm>
            <a:custGeom>
              <a:avLst/>
              <a:gdLst>
                <a:gd name="connsiteX0" fmla="*/ 46633 w 49124"/>
                <a:gd name="connsiteY0" fmla="*/ 41188 h 70437"/>
                <a:gd name="connsiteX1" fmla="*/ 46833 w 49124"/>
                <a:gd name="connsiteY1" fmla="*/ 36711 h 70437"/>
                <a:gd name="connsiteX2" fmla="*/ 49124 w 49124"/>
                <a:gd name="connsiteY2" fmla="*/ 31836 h 70437"/>
                <a:gd name="connsiteX3" fmla="*/ 44043 w 49124"/>
                <a:gd name="connsiteY3" fmla="*/ 21290 h 70437"/>
                <a:gd name="connsiteX4" fmla="*/ 39359 w 49124"/>
                <a:gd name="connsiteY4" fmla="*/ 15321 h 70437"/>
                <a:gd name="connsiteX5" fmla="*/ 39858 w 49124"/>
                <a:gd name="connsiteY5" fmla="*/ 13232 h 70437"/>
                <a:gd name="connsiteX6" fmla="*/ 39160 w 49124"/>
                <a:gd name="connsiteY6" fmla="*/ 11441 h 70437"/>
                <a:gd name="connsiteX7" fmla="*/ 39858 w 49124"/>
                <a:gd name="connsiteY7" fmla="*/ 10048 h 70437"/>
                <a:gd name="connsiteX8" fmla="*/ 40057 w 49124"/>
                <a:gd name="connsiteY8" fmla="*/ 8755 h 70437"/>
                <a:gd name="connsiteX9" fmla="*/ 40455 w 49124"/>
                <a:gd name="connsiteY9" fmla="*/ 7561 h 70437"/>
                <a:gd name="connsiteX10" fmla="*/ 40157 w 49124"/>
                <a:gd name="connsiteY10" fmla="*/ 6865 h 70437"/>
                <a:gd name="connsiteX11" fmla="*/ 38762 w 49124"/>
                <a:gd name="connsiteY11" fmla="*/ 5273 h 70437"/>
                <a:gd name="connsiteX12" fmla="*/ 38164 w 49124"/>
                <a:gd name="connsiteY12" fmla="*/ 2985 h 70437"/>
                <a:gd name="connsiteX13" fmla="*/ 40057 w 49124"/>
                <a:gd name="connsiteY13" fmla="*/ 1194 h 70437"/>
                <a:gd name="connsiteX14" fmla="*/ 40356 w 49124"/>
                <a:gd name="connsiteY14" fmla="*/ 0 h 70437"/>
                <a:gd name="connsiteX15" fmla="*/ 38662 w 49124"/>
                <a:gd name="connsiteY15" fmla="*/ 597 h 70437"/>
                <a:gd name="connsiteX16" fmla="*/ 37466 w 49124"/>
                <a:gd name="connsiteY16" fmla="*/ 1890 h 70437"/>
                <a:gd name="connsiteX17" fmla="*/ 35972 w 49124"/>
                <a:gd name="connsiteY17" fmla="*/ 3383 h 70437"/>
                <a:gd name="connsiteX18" fmla="*/ 33779 w 49124"/>
                <a:gd name="connsiteY18" fmla="*/ 3681 h 70437"/>
                <a:gd name="connsiteX19" fmla="*/ 30292 w 49124"/>
                <a:gd name="connsiteY19" fmla="*/ 3582 h 70437"/>
                <a:gd name="connsiteX20" fmla="*/ 27900 w 49124"/>
                <a:gd name="connsiteY20" fmla="*/ 4079 h 70437"/>
                <a:gd name="connsiteX21" fmla="*/ 25708 w 49124"/>
                <a:gd name="connsiteY21" fmla="*/ 5870 h 70437"/>
                <a:gd name="connsiteX22" fmla="*/ 23018 w 49124"/>
                <a:gd name="connsiteY22" fmla="*/ 8058 h 70437"/>
                <a:gd name="connsiteX23" fmla="*/ 20427 w 49124"/>
                <a:gd name="connsiteY23" fmla="*/ 8058 h 70437"/>
                <a:gd name="connsiteX24" fmla="*/ 18235 w 49124"/>
                <a:gd name="connsiteY24" fmla="*/ 6268 h 70437"/>
                <a:gd name="connsiteX25" fmla="*/ 16441 w 49124"/>
                <a:gd name="connsiteY25" fmla="*/ 7462 h 70437"/>
                <a:gd name="connsiteX26" fmla="*/ 14947 w 49124"/>
                <a:gd name="connsiteY26" fmla="*/ 9153 h 70437"/>
                <a:gd name="connsiteX27" fmla="*/ 13851 w 49124"/>
                <a:gd name="connsiteY27" fmla="*/ 11043 h 70437"/>
                <a:gd name="connsiteX28" fmla="*/ 13053 w 49124"/>
                <a:gd name="connsiteY28" fmla="*/ 12934 h 70437"/>
                <a:gd name="connsiteX29" fmla="*/ 11559 w 49124"/>
                <a:gd name="connsiteY29" fmla="*/ 18206 h 70437"/>
                <a:gd name="connsiteX30" fmla="*/ 10463 w 49124"/>
                <a:gd name="connsiteY30" fmla="*/ 24076 h 70437"/>
                <a:gd name="connsiteX31" fmla="*/ 10064 w 49124"/>
                <a:gd name="connsiteY31" fmla="*/ 30244 h 70437"/>
                <a:gd name="connsiteX32" fmla="*/ 10463 w 49124"/>
                <a:gd name="connsiteY32" fmla="*/ 36114 h 70437"/>
                <a:gd name="connsiteX33" fmla="*/ 11858 w 49124"/>
                <a:gd name="connsiteY33" fmla="*/ 37407 h 70437"/>
                <a:gd name="connsiteX34" fmla="*/ 12256 w 49124"/>
                <a:gd name="connsiteY34" fmla="*/ 38800 h 70437"/>
                <a:gd name="connsiteX35" fmla="*/ 11658 w 49124"/>
                <a:gd name="connsiteY35" fmla="*/ 40491 h 70437"/>
                <a:gd name="connsiteX36" fmla="*/ 11060 w 49124"/>
                <a:gd name="connsiteY36" fmla="*/ 41785 h 70437"/>
                <a:gd name="connsiteX37" fmla="*/ 10562 w 49124"/>
                <a:gd name="connsiteY37" fmla="*/ 43178 h 70437"/>
                <a:gd name="connsiteX38" fmla="*/ 9964 w 49124"/>
                <a:gd name="connsiteY38" fmla="*/ 44372 h 70437"/>
                <a:gd name="connsiteX39" fmla="*/ 9167 w 49124"/>
                <a:gd name="connsiteY39" fmla="*/ 44869 h 70437"/>
                <a:gd name="connsiteX40" fmla="*/ 7174 w 49124"/>
                <a:gd name="connsiteY40" fmla="*/ 47655 h 70437"/>
                <a:gd name="connsiteX41" fmla="*/ 3388 w 49124"/>
                <a:gd name="connsiteY41" fmla="*/ 50042 h 70437"/>
                <a:gd name="connsiteX42" fmla="*/ 0 w 49124"/>
                <a:gd name="connsiteY42" fmla="*/ 52330 h 70437"/>
                <a:gd name="connsiteX43" fmla="*/ 1295 w 49124"/>
                <a:gd name="connsiteY43" fmla="*/ 53325 h 70437"/>
                <a:gd name="connsiteX44" fmla="*/ 2591 w 49124"/>
                <a:gd name="connsiteY44" fmla="*/ 53226 h 70437"/>
                <a:gd name="connsiteX45" fmla="*/ 4384 w 49124"/>
                <a:gd name="connsiteY45" fmla="*/ 54818 h 70437"/>
                <a:gd name="connsiteX46" fmla="*/ 7772 w 49124"/>
                <a:gd name="connsiteY46" fmla="*/ 56608 h 70437"/>
                <a:gd name="connsiteX47" fmla="*/ 11060 w 49124"/>
                <a:gd name="connsiteY47" fmla="*/ 58300 h 70437"/>
                <a:gd name="connsiteX48" fmla="*/ 11260 w 49124"/>
                <a:gd name="connsiteY48" fmla="*/ 59692 h 70437"/>
                <a:gd name="connsiteX49" fmla="*/ 14648 w 49124"/>
                <a:gd name="connsiteY49" fmla="*/ 60289 h 70437"/>
                <a:gd name="connsiteX50" fmla="*/ 14747 w 49124"/>
                <a:gd name="connsiteY50" fmla="*/ 62180 h 70437"/>
                <a:gd name="connsiteX51" fmla="*/ 16242 w 49124"/>
                <a:gd name="connsiteY51" fmla="*/ 62876 h 70437"/>
                <a:gd name="connsiteX52" fmla="*/ 18633 w 49124"/>
                <a:gd name="connsiteY52" fmla="*/ 62677 h 70437"/>
                <a:gd name="connsiteX53" fmla="*/ 19929 w 49124"/>
                <a:gd name="connsiteY53" fmla="*/ 63373 h 70437"/>
                <a:gd name="connsiteX54" fmla="*/ 21523 w 49124"/>
                <a:gd name="connsiteY54" fmla="*/ 62976 h 70437"/>
                <a:gd name="connsiteX55" fmla="*/ 23317 w 49124"/>
                <a:gd name="connsiteY55" fmla="*/ 63970 h 70437"/>
                <a:gd name="connsiteX56" fmla="*/ 25409 w 49124"/>
                <a:gd name="connsiteY56" fmla="*/ 66657 h 70437"/>
                <a:gd name="connsiteX57" fmla="*/ 27402 w 49124"/>
                <a:gd name="connsiteY57" fmla="*/ 66856 h 70437"/>
                <a:gd name="connsiteX58" fmla="*/ 28398 w 49124"/>
                <a:gd name="connsiteY58" fmla="*/ 68845 h 70437"/>
                <a:gd name="connsiteX59" fmla="*/ 30093 w 49124"/>
                <a:gd name="connsiteY59" fmla="*/ 67851 h 70437"/>
                <a:gd name="connsiteX60" fmla="*/ 32584 w 49124"/>
                <a:gd name="connsiteY60" fmla="*/ 68149 h 70437"/>
                <a:gd name="connsiteX61" fmla="*/ 34676 w 49124"/>
                <a:gd name="connsiteY61" fmla="*/ 70437 h 70437"/>
                <a:gd name="connsiteX62" fmla="*/ 37267 w 49124"/>
                <a:gd name="connsiteY62" fmla="*/ 68149 h 70437"/>
                <a:gd name="connsiteX63" fmla="*/ 39060 w 49124"/>
                <a:gd name="connsiteY63" fmla="*/ 67353 h 70437"/>
                <a:gd name="connsiteX64" fmla="*/ 40555 w 49124"/>
                <a:gd name="connsiteY64" fmla="*/ 68049 h 70437"/>
                <a:gd name="connsiteX65" fmla="*/ 41850 w 49124"/>
                <a:gd name="connsiteY65" fmla="*/ 67353 h 70437"/>
                <a:gd name="connsiteX66" fmla="*/ 40854 w 49124"/>
                <a:gd name="connsiteY66" fmla="*/ 65761 h 70437"/>
                <a:gd name="connsiteX67" fmla="*/ 39359 w 49124"/>
                <a:gd name="connsiteY67" fmla="*/ 65164 h 70437"/>
                <a:gd name="connsiteX68" fmla="*/ 38861 w 49124"/>
                <a:gd name="connsiteY68" fmla="*/ 62180 h 70437"/>
                <a:gd name="connsiteX69" fmla="*/ 39459 w 49124"/>
                <a:gd name="connsiteY69" fmla="*/ 59593 h 70437"/>
                <a:gd name="connsiteX70" fmla="*/ 41053 w 49124"/>
                <a:gd name="connsiteY70" fmla="*/ 57703 h 70437"/>
                <a:gd name="connsiteX71" fmla="*/ 41651 w 49124"/>
                <a:gd name="connsiteY71" fmla="*/ 54917 h 70437"/>
                <a:gd name="connsiteX72" fmla="*/ 43744 w 49124"/>
                <a:gd name="connsiteY72" fmla="*/ 52231 h 70437"/>
                <a:gd name="connsiteX73" fmla="*/ 43046 w 49124"/>
                <a:gd name="connsiteY73" fmla="*/ 50341 h 70437"/>
                <a:gd name="connsiteX74" fmla="*/ 44939 w 49124"/>
                <a:gd name="connsiteY74" fmla="*/ 48351 h 70437"/>
                <a:gd name="connsiteX75" fmla="*/ 46633 w 49124"/>
                <a:gd name="connsiteY75" fmla="*/ 41188 h 70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49124" h="70437">
                  <a:moveTo>
                    <a:pt x="46633" y="41188"/>
                  </a:moveTo>
                  <a:lnTo>
                    <a:pt x="46833" y="36711"/>
                  </a:lnTo>
                  <a:lnTo>
                    <a:pt x="49124" y="31836"/>
                  </a:lnTo>
                  <a:lnTo>
                    <a:pt x="44043" y="21290"/>
                  </a:lnTo>
                  <a:lnTo>
                    <a:pt x="39359" y="15321"/>
                  </a:lnTo>
                  <a:lnTo>
                    <a:pt x="39858" y="13232"/>
                  </a:lnTo>
                  <a:lnTo>
                    <a:pt x="39160" y="11441"/>
                  </a:lnTo>
                  <a:lnTo>
                    <a:pt x="39858" y="10048"/>
                  </a:lnTo>
                  <a:lnTo>
                    <a:pt x="40057" y="8755"/>
                  </a:lnTo>
                  <a:lnTo>
                    <a:pt x="40455" y="7561"/>
                  </a:lnTo>
                  <a:lnTo>
                    <a:pt x="40157" y="6865"/>
                  </a:lnTo>
                  <a:lnTo>
                    <a:pt x="38762" y="5273"/>
                  </a:lnTo>
                  <a:lnTo>
                    <a:pt x="38164" y="2985"/>
                  </a:lnTo>
                  <a:lnTo>
                    <a:pt x="40057" y="1194"/>
                  </a:lnTo>
                  <a:lnTo>
                    <a:pt x="40356" y="0"/>
                  </a:lnTo>
                  <a:lnTo>
                    <a:pt x="38662" y="597"/>
                  </a:lnTo>
                  <a:lnTo>
                    <a:pt x="37466" y="1890"/>
                  </a:lnTo>
                  <a:lnTo>
                    <a:pt x="35972" y="3383"/>
                  </a:lnTo>
                  <a:lnTo>
                    <a:pt x="33779" y="3681"/>
                  </a:lnTo>
                  <a:lnTo>
                    <a:pt x="30292" y="3582"/>
                  </a:lnTo>
                  <a:lnTo>
                    <a:pt x="27900" y="4079"/>
                  </a:lnTo>
                  <a:lnTo>
                    <a:pt x="25708" y="5870"/>
                  </a:lnTo>
                  <a:lnTo>
                    <a:pt x="23018" y="8058"/>
                  </a:lnTo>
                  <a:lnTo>
                    <a:pt x="20427" y="8058"/>
                  </a:lnTo>
                  <a:lnTo>
                    <a:pt x="18235" y="6268"/>
                  </a:lnTo>
                  <a:lnTo>
                    <a:pt x="16441" y="7462"/>
                  </a:lnTo>
                  <a:lnTo>
                    <a:pt x="14947" y="9153"/>
                  </a:lnTo>
                  <a:lnTo>
                    <a:pt x="13851" y="11043"/>
                  </a:lnTo>
                  <a:lnTo>
                    <a:pt x="13053" y="12934"/>
                  </a:lnTo>
                  <a:lnTo>
                    <a:pt x="11559" y="18206"/>
                  </a:lnTo>
                  <a:lnTo>
                    <a:pt x="10463" y="24076"/>
                  </a:lnTo>
                  <a:lnTo>
                    <a:pt x="10064" y="30244"/>
                  </a:lnTo>
                  <a:lnTo>
                    <a:pt x="10463" y="36114"/>
                  </a:lnTo>
                  <a:lnTo>
                    <a:pt x="11858" y="37407"/>
                  </a:lnTo>
                  <a:lnTo>
                    <a:pt x="12256" y="38800"/>
                  </a:lnTo>
                  <a:lnTo>
                    <a:pt x="11658" y="40491"/>
                  </a:lnTo>
                  <a:lnTo>
                    <a:pt x="11060" y="41785"/>
                  </a:lnTo>
                  <a:lnTo>
                    <a:pt x="10562" y="43178"/>
                  </a:lnTo>
                  <a:lnTo>
                    <a:pt x="9964" y="44372"/>
                  </a:lnTo>
                  <a:lnTo>
                    <a:pt x="9167" y="44869"/>
                  </a:lnTo>
                  <a:lnTo>
                    <a:pt x="7174" y="47655"/>
                  </a:lnTo>
                  <a:lnTo>
                    <a:pt x="3388" y="50042"/>
                  </a:lnTo>
                  <a:lnTo>
                    <a:pt x="0" y="52330"/>
                  </a:lnTo>
                  <a:lnTo>
                    <a:pt x="1295" y="53325"/>
                  </a:lnTo>
                  <a:lnTo>
                    <a:pt x="2591" y="53226"/>
                  </a:lnTo>
                  <a:lnTo>
                    <a:pt x="4384" y="54818"/>
                  </a:lnTo>
                  <a:lnTo>
                    <a:pt x="7772" y="56608"/>
                  </a:lnTo>
                  <a:lnTo>
                    <a:pt x="11060" y="58300"/>
                  </a:lnTo>
                  <a:lnTo>
                    <a:pt x="11260" y="59692"/>
                  </a:lnTo>
                  <a:lnTo>
                    <a:pt x="14648" y="60289"/>
                  </a:lnTo>
                  <a:lnTo>
                    <a:pt x="14747" y="62180"/>
                  </a:lnTo>
                  <a:lnTo>
                    <a:pt x="16242" y="62876"/>
                  </a:lnTo>
                  <a:lnTo>
                    <a:pt x="18633" y="62677"/>
                  </a:lnTo>
                  <a:lnTo>
                    <a:pt x="19929" y="63373"/>
                  </a:lnTo>
                  <a:lnTo>
                    <a:pt x="21523" y="62976"/>
                  </a:lnTo>
                  <a:lnTo>
                    <a:pt x="23317" y="63970"/>
                  </a:lnTo>
                  <a:lnTo>
                    <a:pt x="25409" y="66657"/>
                  </a:lnTo>
                  <a:lnTo>
                    <a:pt x="27402" y="66856"/>
                  </a:lnTo>
                  <a:lnTo>
                    <a:pt x="28398" y="68845"/>
                  </a:lnTo>
                  <a:lnTo>
                    <a:pt x="30093" y="67851"/>
                  </a:lnTo>
                  <a:lnTo>
                    <a:pt x="32584" y="68149"/>
                  </a:lnTo>
                  <a:lnTo>
                    <a:pt x="34676" y="70437"/>
                  </a:lnTo>
                  <a:lnTo>
                    <a:pt x="37267" y="68149"/>
                  </a:lnTo>
                  <a:lnTo>
                    <a:pt x="39060" y="67353"/>
                  </a:lnTo>
                  <a:lnTo>
                    <a:pt x="40555" y="68049"/>
                  </a:lnTo>
                  <a:lnTo>
                    <a:pt x="41850" y="67353"/>
                  </a:lnTo>
                  <a:lnTo>
                    <a:pt x="40854" y="65761"/>
                  </a:lnTo>
                  <a:lnTo>
                    <a:pt x="39359" y="65164"/>
                  </a:lnTo>
                  <a:lnTo>
                    <a:pt x="38861" y="62180"/>
                  </a:lnTo>
                  <a:lnTo>
                    <a:pt x="39459" y="59593"/>
                  </a:lnTo>
                  <a:lnTo>
                    <a:pt x="41053" y="57703"/>
                  </a:lnTo>
                  <a:lnTo>
                    <a:pt x="41651" y="54917"/>
                  </a:lnTo>
                  <a:lnTo>
                    <a:pt x="43744" y="52231"/>
                  </a:lnTo>
                  <a:lnTo>
                    <a:pt x="43046" y="50341"/>
                  </a:lnTo>
                  <a:lnTo>
                    <a:pt x="44939" y="48351"/>
                  </a:lnTo>
                  <a:lnTo>
                    <a:pt x="46633" y="4118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4" name="Freeform: Shape 1203">
              <a:extLst>
                <a:ext uri="{FF2B5EF4-FFF2-40B4-BE49-F238E27FC236}">
                  <a16:creationId xmlns:a16="http://schemas.microsoft.com/office/drawing/2014/main" id="{3408F7AD-9203-4409-9213-57B589B34DE8}"/>
                </a:ext>
              </a:extLst>
            </p:cNvPr>
            <p:cNvSpPr/>
            <p:nvPr/>
          </p:nvSpPr>
          <p:spPr>
            <a:xfrm>
              <a:off x="-694786" y="3744145"/>
              <a:ext cx="9067" cy="9252"/>
            </a:xfrm>
            <a:custGeom>
              <a:avLst/>
              <a:gdLst>
                <a:gd name="connsiteX0" fmla="*/ 8370 w 9067"/>
                <a:gd name="connsiteY0" fmla="*/ 2288 h 9252"/>
                <a:gd name="connsiteX1" fmla="*/ 8270 w 9067"/>
                <a:gd name="connsiteY1" fmla="*/ 796 h 9252"/>
                <a:gd name="connsiteX2" fmla="*/ 6975 w 9067"/>
                <a:gd name="connsiteY2" fmla="*/ 0 h 9252"/>
                <a:gd name="connsiteX3" fmla="*/ 5480 w 9067"/>
                <a:gd name="connsiteY3" fmla="*/ 796 h 9252"/>
                <a:gd name="connsiteX4" fmla="*/ 2392 w 9067"/>
                <a:gd name="connsiteY4" fmla="*/ 298 h 9252"/>
                <a:gd name="connsiteX5" fmla="*/ 1495 w 9067"/>
                <a:gd name="connsiteY5" fmla="*/ 895 h 9252"/>
                <a:gd name="connsiteX6" fmla="*/ 0 w 9067"/>
                <a:gd name="connsiteY6" fmla="*/ 1194 h 9252"/>
                <a:gd name="connsiteX7" fmla="*/ 100 w 9067"/>
                <a:gd name="connsiteY7" fmla="*/ 4079 h 9252"/>
                <a:gd name="connsiteX8" fmla="*/ 1495 w 9067"/>
                <a:gd name="connsiteY8" fmla="*/ 8058 h 9252"/>
                <a:gd name="connsiteX9" fmla="*/ 1096 w 9067"/>
                <a:gd name="connsiteY9" fmla="*/ 9053 h 9252"/>
                <a:gd name="connsiteX10" fmla="*/ 2292 w 9067"/>
                <a:gd name="connsiteY10" fmla="*/ 8556 h 9252"/>
                <a:gd name="connsiteX11" fmla="*/ 5182 w 9067"/>
                <a:gd name="connsiteY11" fmla="*/ 9252 h 9252"/>
                <a:gd name="connsiteX12" fmla="*/ 7473 w 9067"/>
                <a:gd name="connsiteY12" fmla="*/ 8755 h 9252"/>
                <a:gd name="connsiteX13" fmla="*/ 8470 w 9067"/>
                <a:gd name="connsiteY13" fmla="*/ 6665 h 9252"/>
                <a:gd name="connsiteX14" fmla="*/ 8470 w 9067"/>
                <a:gd name="connsiteY14" fmla="*/ 4576 h 9252"/>
                <a:gd name="connsiteX15" fmla="*/ 9068 w 9067"/>
                <a:gd name="connsiteY15" fmla="*/ 3084 h 9252"/>
                <a:gd name="connsiteX16" fmla="*/ 8370 w 9067"/>
                <a:gd name="connsiteY16" fmla="*/ 2288 h 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067" h="9252">
                  <a:moveTo>
                    <a:pt x="8370" y="2288"/>
                  </a:moveTo>
                  <a:lnTo>
                    <a:pt x="8270" y="796"/>
                  </a:lnTo>
                  <a:lnTo>
                    <a:pt x="6975" y="0"/>
                  </a:lnTo>
                  <a:lnTo>
                    <a:pt x="5480" y="796"/>
                  </a:lnTo>
                  <a:lnTo>
                    <a:pt x="2392" y="298"/>
                  </a:lnTo>
                  <a:lnTo>
                    <a:pt x="1495" y="895"/>
                  </a:lnTo>
                  <a:lnTo>
                    <a:pt x="0" y="1194"/>
                  </a:lnTo>
                  <a:lnTo>
                    <a:pt x="100" y="4079"/>
                  </a:lnTo>
                  <a:lnTo>
                    <a:pt x="1495" y="8058"/>
                  </a:lnTo>
                  <a:lnTo>
                    <a:pt x="1096" y="9053"/>
                  </a:lnTo>
                  <a:lnTo>
                    <a:pt x="2292" y="8556"/>
                  </a:lnTo>
                  <a:lnTo>
                    <a:pt x="5182" y="9252"/>
                  </a:lnTo>
                  <a:lnTo>
                    <a:pt x="7473" y="8755"/>
                  </a:lnTo>
                  <a:lnTo>
                    <a:pt x="8470" y="6665"/>
                  </a:lnTo>
                  <a:lnTo>
                    <a:pt x="8470" y="4576"/>
                  </a:lnTo>
                  <a:lnTo>
                    <a:pt x="9068" y="3084"/>
                  </a:lnTo>
                  <a:lnTo>
                    <a:pt x="8370" y="228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5" name="Freeform: Shape 1204">
              <a:extLst>
                <a:ext uri="{FF2B5EF4-FFF2-40B4-BE49-F238E27FC236}">
                  <a16:creationId xmlns:a16="http://schemas.microsoft.com/office/drawing/2014/main" id="{46CE3DC8-9ED4-476C-844F-117F894D0E7A}"/>
                </a:ext>
              </a:extLst>
            </p:cNvPr>
            <p:cNvSpPr/>
            <p:nvPr/>
          </p:nvSpPr>
          <p:spPr>
            <a:xfrm>
              <a:off x="-777391" y="4024103"/>
              <a:ext cx="16042" cy="9451"/>
            </a:xfrm>
            <a:custGeom>
              <a:avLst/>
              <a:gdLst>
                <a:gd name="connsiteX0" fmla="*/ 14847 w 16042"/>
                <a:gd name="connsiteY0" fmla="*/ 6765 h 9451"/>
                <a:gd name="connsiteX1" fmla="*/ 12854 w 16042"/>
                <a:gd name="connsiteY1" fmla="*/ 3980 h 9451"/>
                <a:gd name="connsiteX2" fmla="*/ 11359 w 16042"/>
                <a:gd name="connsiteY2" fmla="*/ 1791 h 9451"/>
                <a:gd name="connsiteX3" fmla="*/ 10662 w 16042"/>
                <a:gd name="connsiteY3" fmla="*/ 1393 h 9451"/>
                <a:gd name="connsiteX4" fmla="*/ 9865 w 16042"/>
                <a:gd name="connsiteY4" fmla="*/ 1691 h 9451"/>
                <a:gd name="connsiteX5" fmla="*/ 9167 w 16042"/>
                <a:gd name="connsiteY5" fmla="*/ 2189 h 9451"/>
                <a:gd name="connsiteX6" fmla="*/ 8769 w 16042"/>
                <a:gd name="connsiteY6" fmla="*/ 2686 h 9451"/>
                <a:gd name="connsiteX7" fmla="*/ 7772 w 16042"/>
                <a:gd name="connsiteY7" fmla="*/ 2189 h 9451"/>
                <a:gd name="connsiteX8" fmla="*/ 7872 w 16042"/>
                <a:gd name="connsiteY8" fmla="*/ 1393 h 9451"/>
                <a:gd name="connsiteX9" fmla="*/ 6776 w 16042"/>
                <a:gd name="connsiteY9" fmla="*/ 696 h 9451"/>
                <a:gd name="connsiteX10" fmla="*/ 5680 w 16042"/>
                <a:gd name="connsiteY10" fmla="*/ 298 h 9451"/>
                <a:gd name="connsiteX11" fmla="*/ 4484 w 16042"/>
                <a:gd name="connsiteY11" fmla="*/ 0 h 9451"/>
                <a:gd name="connsiteX12" fmla="*/ 2491 w 16042"/>
                <a:gd name="connsiteY12" fmla="*/ 1194 h 9451"/>
                <a:gd name="connsiteX13" fmla="*/ 797 w 16042"/>
                <a:gd name="connsiteY13" fmla="*/ 2089 h 9451"/>
                <a:gd name="connsiteX14" fmla="*/ 0 w 16042"/>
                <a:gd name="connsiteY14" fmla="*/ 3383 h 9451"/>
                <a:gd name="connsiteX15" fmla="*/ 797 w 16042"/>
                <a:gd name="connsiteY15" fmla="*/ 3980 h 9451"/>
                <a:gd name="connsiteX16" fmla="*/ 2292 w 16042"/>
                <a:gd name="connsiteY16" fmla="*/ 4377 h 9451"/>
                <a:gd name="connsiteX17" fmla="*/ 5480 w 16042"/>
                <a:gd name="connsiteY17" fmla="*/ 5174 h 9451"/>
                <a:gd name="connsiteX18" fmla="*/ 9167 w 16042"/>
                <a:gd name="connsiteY18" fmla="*/ 6367 h 9451"/>
                <a:gd name="connsiteX19" fmla="*/ 12555 w 16042"/>
                <a:gd name="connsiteY19" fmla="*/ 7760 h 9451"/>
                <a:gd name="connsiteX20" fmla="*/ 13950 w 16042"/>
                <a:gd name="connsiteY20" fmla="*/ 8656 h 9451"/>
                <a:gd name="connsiteX21" fmla="*/ 14947 w 16042"/>
                <a:gd name="connsiteY21" fmla="*/ 9451 h 9451"/>
                <a:gd name="connsiteX22" fmla="*/ 16043 w 16042"/>
                <a:gd name="connsiteY22" fmla="*/ 9451 h 9451"/>
                <a:gd name="connsiteX23" fmla="*/ 15943 w 16042"/>
                <a:gd name="connsiteY23" fmla="*/ 8456 h 9451"/>
                <a:gd name="connsiteX24" fmla="*/ 14847 w 16042"/>
                <a:gd name="connsiteY24" fmla="*/ 6765 h 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6042" h="9451">
                  <a:moveTo>
                    <a:pt x="14847" y="6765"/>
                  </a:moveTo>
                  <a:lnTo>
                    <a:pt x="12854" y="3980"/>
                  </a:lnTo>
                  <a:lnTo>
                    <a:pt x="11359" y="1791"/>
                  </a:lnTo>
                  <a:lnTo>
                    <a:pt x="10662" y="1393"/>
                  </a:lnTo>
                  <a:lnTo>
                    <a:pt x="9865" y="1691"/>
                  </a:lnTo>
                  <a:lnTo>
                    <a:pt x="9167" y="2189"/>
                  </a:lnTo>
                  <a:lnTo>
                    <a:pt x="8769" y="2686"/>
                  </a:lnTo>
                  <a:lnTo>
                    <a:pt x="7772" y="2189"/>
                  </a:lnTo>
                  <a:lnTo>
                    <a:pt x="7872" y="1393"/>
                  </a:lnTo>
                  <a:lnTo>
                    <a:pt x="6776" y="696"/>
                  </a:lnTo>
                  <a:lnTo>
                    <a:pt x="5680" y="298"/>
                  </a:lnTo>
                  <a:lnTo>
                    <a:pt x="4484" y="0"/>
                  </a:lnTo>
                  <a:lnTo>
                    <a:pt x="2491" y="1194"/>
                  </a:lnTo>
                  <a:lnTo>
                    <a:pt x="797" y="2089"/>
                  </a:lnTo>
                  <a:lnTo>
                    <a:pt x="0" y="3383"/>
                  </a:lnTo>
                  <a:lnTo>
                    <a:pt x="797" y="3980"/>
                  </a:lnTo>
                  <a:lnTo>
                    <a:pt x="2292" y="4377"/>
                  </a:lnTo>
                  <a:lnTo>
                    <a:pt x="5480" y="5174"/>
                  </a:lnTo>
                  <a:lnTo>
                    <a:pt x="9167" y="6367"/>
                  </a:lnTo>
                  <a:lnTo>
                    <a:pt x="12555" y="7760"/>
                  </a:lnTo>
                  <a:lnTo>
                    <a:pt x="13950" y="8656"/>
                  </a:lnTo>
                  <a:lnTo>
                    <a:pt x="14947" y="9451"/>
                  </a:lnTo>
                  <a:lnTo>
                    <a:pt x="16043" y="9451"/>
                  </a:lnTo>
                  <a:lnTo>
                    <a:pt x="15943" y="8456"/>
                  </a:lnTo>
                  <a:lnTo>
                    <a:pt x="14847" y="676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6" name="Freeform: Shape 1205">
              <a:extLst>
                <a:ext uri="{FF2B5EF4-FFF2-40B4-BE49-F238E27FC236}">
                  <a16:creationId xmlns:a16="http://schemas.microsoft.com/office/drawing/2014/main" id="{73E4A0E1-E9B0-435C-9325-5DCCE5A2A598}"/>
                </a:ext>
              </a:extLst>
            </p:cNvPr>
            <p:cNvSpPr/>
            <p:nvPr/>
          </p:nvSpPr>
          <p:spPr>
            <a:xfrm>
              <a:off x="-1025306" y="3861739"/>
              <a:ext cx="7772" cy="6665"/>
            </a:xfrm>
            <a:custGeom>
              <a:avLst/>
              <a:gdLst>
                <a:gd name="connsiteX0" fmla="*/ 6178 w 7772"/>
                <a:gd name="connsiteY0" fmla="*/ 3183 h 6665"/>
                <a:gd name="connsiteX1" fmla="*/ 4484 w 7772"/>
                <a:gd name="connsiteY1" fmla="*/ 1990 h 6665"/>
                <a:gd name="connsiteX2" fmla="*/ 2989 w 7772"/>
                <a:gd name="connsiteY2" fmla="*/ 696 h 6665"/>
                <a:gd name="connsiteX3" fmla="*/ 2093 w 7772"/>
                <a:gd name="connsiteY3" fmla="*/ 497 h 6665"/>
                <a:gd name="connsiteX4" fmla="*/ 299 w 7772"/>
                <a:gd name="connsiteY4" fmla="*/ 0 h 6665"/>
                <a:gd name="connsiteX5" fmla="*/ 0 w 7772"/>
                <a:gd name="connsiteY5" fmla="*/ 1094 h 6665"/>
                <a:gd name="connsiteX6" fmla="*/ 1395 w 7772"/>
                <a:gd name="connsiteY6" fmla="*/ 1691 h 6665"/>
                <a:gd name="connsiteX7" fmla="*/ 3388 w 7772"/>
                <a:gd name="connsiteY7" fmla="*/ 2089 h 6665"/>
                <a:gd name="connsiteX8" fmla="*/ 4883 w 7772"/>
                <a:gd name="connsiteY8" fmla="*/ 3880 h 6665"/>
                <a:gd name="connsiteX9" fmla="*/ 5281 w 7772"/>
                <a:gd name="connsiteY9" fmla="*/ 6367 h 6665"/>
                <a:gd name="connsiteX10" fmla="*/ 5979 w 7772"/>
                <a:gd name="connsiteY10" fmla="*/ 6665 h 6665"/>
                <a:gd name="connsiteX11" fmla="*/ 7075 w 7772"/>
                <a:gd name="connsiteY11" fmla="*/ 6367 h 6665"/>
                <a:gd name="connsiteX12" fmla="*/ 7772 w 7772"/>
                <a:gd name="connsiteY12" fmla="*/ 5074 h 6665"/>
                <a:gd name="connsiteX13" fmla="*/ 7374 w 7772"/>
                <a:gd name="connsiteY13" fmla="*/ 3880 h 6665"/>
                <a:gd name="connsiteX14" fmla="*/ 6178 w 7772"/>
                <a:gd name="connsiteY14" fmla="*/ 3183 h 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772" h="6665">
                  <a:moveTo>
                    <a:pt x="6178" y="3183"/>
                  </a:moveTo>
                  <a:lnTo>
                    <a:pt x="4484" y="1990"/>
                  </a:lnTo>
                  <a:lnTo>
                    <a:pt x="2989" y="696"/>
                  </a:lnTo>
                  <a:lnTo>
                    <a:pt x="2093" y="497"/>
                  </a:lnTo>
                  <a:lnTo>
                    <a:pt x="299" y="0"/>
                  </a:lnTo>
                  <a:lnTo>
                    <a:pt x="0" y="1094"/>
                  </a:lnTo>
                  <a:lnTo>
                    <a:pt x="1395" y="1691"/>
                  </a:lnTo>
                  <a:lnTo>
                    <a:pt x="3388" y="2089"/>
                  </a:lnTo>
                  <a:lnTo>
                    <a:pt x="4883" y="3880"/>
                  </a:lnTo>
                  <a:lnTo>
                    <a:pt x="5281" y="6367"/>
                  </a:lnTo>
                  <a:lnTo>
                    <a:pt x="5979" y="6665"/>
                  </a:lnTo>
                  <a:lnTo>
                    <a:pt x="7075" y="6367"/>
                  </a:lnTo>
                  <a:lnTo>
                    <a:pt x="7772" y="5074"/>
                  </a:lnTo>
                  <a:lnTo>
                    <a:pt x="7374" y="3880"/>
                  </a:lnTo>
                  <a:lnTo>
                    <a:pt x="6178" y="318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7" name="Freeform: Shape 1206">
              <a:extLst>
                <a:ext uri="{FF2B5EF4-FFF2-40B4-BE49-F238E27FC236}">
                  <a16:creationId xmlns:a16="http://schemas.microsoft.com/office/drawing/2014/main" id="{FEDCA0EE-C2C3-474F-9E26-E532EC8AA440}"/>
                </a:ext>
              </a:extLst>
            </p:cNvPr>
            <p:cNvSpPr/>
            <p:nvPr/>
          </p:nvSpPr>
          <p:spPr>
            <a:xfrm>
              <a:off x="-1073932" y="3802743"/>
              <a:ext cx="4982" cy="2785"/>
            </a:xfrm>
            <a:custGeom>
              <a:avLst/>
              <a:gdLst>
                <a:gd name="connsiteX0" fmla="*/ 3189 w 4982"/>
                <a:gd name="connsiteY0" fmla="*/ 398 h 2785"/>
                <a:gd name="connsiteX1" fmla="*/ 1993 w 4982"/>
                <a:gd name="connsiteY1" fmla="*/ 1095 h 2785"/>
                <a:gd name="connsiteX2" fmla="*/ 1295 w 4982"/>
                <a:gd name="connsiteY2" fmla="*/ 0 h 2785"/>
                <a:gd name="connsiteX3" fmla="*/ 399 w 4982"/>
                <a:gd name="connsiteY3" fmla="*/ 199 h 2785"/>
                <a:gd name="connsiteX4" fmla="*/ 0 w 4982"/>
                <a:gd name="connsiteY4" fmla="*/ 995 h 2785"/>
                <a:gd name="connsiteX5" fmla="*/ 199 w 4982"/>
                <a:gd name="connsiteY5" fmla="*/ 1791 h 2785"/>
                <a:gd name="connsiteX6" fmla="*/ 1495 w 4982"/>
                <a:gd name="connsiteY6" fmla="*/ 2786 h 2785"/>
                <a:gd name="connsiteX7" fmla="*/ 3189 w 4982"/>
                <a:gd name="connsiteY7" fmla="*/ 2288 h 2785"/>
                <a:gd name="connsiteX8" fmla="*/ 3587 w 4982"/>
                <a:gd name="connsiteY8" fmla="*/ 1393 h 2785"/>
                <a:gd name="connsiteX9" fmla="*/ 4982 w 4982"/>
                <a:gd name="connsiteY9" fmla="*/ 1393 h 2785"/>
                <a:gd name="connsiteX10" fmla="*/ 4584 w 4982"/>
                <a:gd name="connsiteY10" fmla="*/ 498 h 2785"/>
                <a:gd name="connsiteX11" fmla="*/ 3189 w 4982"/>
                <a:gd name="connsiteY11" fmla="*/ 398 h 2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82" h="2785">
                  <a:moveTo>
                    <a:pt x="3189" y="398"/>
                  </a:moveTo>
                  <a:lnTo>
                    <a:pt x="1993" y="1095"/>
                  </a:lnTo>
                  <a:lnTo>
                    <a:pt x="1295" y="0"/>
                  </a:lnTo>
                  <a:lnTo>
                    <a:pt x="399" y="199"/>
                  </a:lnTo>
                  <a:lnTo>
                    <a:pt x="0" y="995"/>
                  </a:lnTo>
                  <a:lnTo>
                    <a:pt x="199" y="1791"/>
                  </a:lnTo>
                  <a:lnTo>
                    <a:pt x="1495" y="2786"/>
                  </a:lnTo>
                  <a:lnTo>
                    <a:pt x="3189" y="2288"/>
                  </a:lnTo>
                  <a:lnTo>
                    <a:pt x="3587" y="1393"/>
                  </a:lnTo>
                  <a:lnTo>
                    <a:pt x="4982" y="1393"/>
                  </a:lnTo>
                  <a:lnTo>
                    <a:pt x="4584" y="498"/>
                  </a:lnTo>
                  <a:lnTo>
                    <a:pt x="3189" y="3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8" name="Freeform: Shape 1207">
              <a:extLst>
                <a:ext uri="{FF2B5EF4-FFF2-40B4-BE49-F238E27FC236}">
                  <a16:creationId xmlns:a16="http://schemas.microsoft.com/office/drawing/2014/main" id="{91FAC032-1817-4851-A38D-08BF40188325}"/>
                </a:ext>
              </a:extLst>
            </p:cNvPr>
            <p:cNvSpPr/>
            <p:nvPr/>
          </p:nvSpPr>
          <p:spPr>
            <a:xfrm>
              <a:off x="-810672" y="3693208"/>
              <a:ext cx="4484" cy="8456"/>
            </a:xfrm>
            <a:custGeom>
              <a:avLst/>
              <a:gdLst>
                <a:gd name="connsiteX0" fmla="*/ 797 w 4484"/>
                <a:gd name="connsiteY0" fmla="*/ 2288 h 8456"/>
                <a:gd name="connsiteX1" fmla="*/ 1495 w 4484"/>
                <a:gd name="connsiteY1" fmla="*/ 2786 h 8456"/>
                <a:gd name="connsiteX2" fmla="*/ 1495 w 4484"/>
                <a:gd name="connsiteY2" fmla="*/ 3581 h 8456"/>
                <a:gd name="connsiteX3" fmla="*/ 1794 w 4484"/>
                <a:gd name="connsiteY3" fmla="*/ 4576 h 8456"/>
                <a:gd name="connsiteX4" fmla="*/ 2192 w 4484"/>
                <a:gd name="connsiteY4" fmla="*/ 4875 h 8456"/>
                <a:gd name="connsiteX5" fmla="*/ 1893 w 4484"/>
                <a:gd name="connsiteY5" fmla="*/ 5273 h 8456"/>
                <a:gd name="connsiteX6" fmla="*/ 1594 w 4484"/>
                <a:gd name="connsiteY6" fmla="*/ 5969 h 8456"/>
                <a:gd name="connsiteX7" fmla="*/ 2292 w 4484"/>
                <a:gd name="connsiteY7" fmla="*/ 6665 h 8456"/>
                <a:gd name="connsiteX8" fmla="*/ 2790 w 4484"/>
                <a:gd name="connsiteY8" fmla="*/ 7262 h 8456"/>
                <a:gd name="connsiteX9" fmla="*/ 2591 w 4484"/>
                <a:gd name="connsiteY9" fmla="*/ 7859 h 8456"/>
                <a:gd name="connsiteX10" fmla="*/ 3288 w 4484"/>
                <a:gd name="connsiteY10" fmla="*/ 8357 h 8456"/>
                <a:gd name="connsiteX11" fmla="*/ 4384 w 4484"/>
                <a:gd name="connsiteY11" fmla="*/ 8456 h 8456"/>
                <a:gd name="connsiteX12" fmla="*/ 4484 w 4484"/>
                <a:gd name="connsiteY12" fmla="*/ 7959 h 8456"/>
                <a:gd name="connsiteX13" fmla="*/ 3886 w 4484"/>
                <a:gd name="connsiteY13" fmla="*/ 7561 h 8456"/>
                <a:gd name="connsiteX14" fmla="*/ 3886 w 4484"/>
                <a:gd name="connsiteY14" fmla="*/ 6665 h 8456"/>
                <a:gd name="connsiteX15" fmla="*/ 3288 w 4484"/>
                <a:gd name="connsiteY15" fmla="*/ 6367 h 8456"/>
                <a:gd name="connsiteX16" fmla="*/ 3388 w 4484"/>
                <a:gd name="connsiteY16" fmla="*/ 5571 h 8456"/>
                <a:gd name="connsiteX17" fmla="*/ 2690 w 4484"/>
                <a:gd name="connsiteY17" fmla="*/ 4676 h 8456"/>
                <a:gd name="connsiteX18" fmla="*/ 2690 w 4484"/>
                <a:gd name="connsiteY18" fmla="*/ 3482 h 8456"/>
                <a:gd name="connsiteX19" fmla="*/ 2890 w 4484"/>
                <a:gd name="connsiteY19" fmla="*/ 2885 h 8456"/>
                <a:gd name="connsiteX20" fmla="*/ 2292 w 4484"/>
                <a:gd name="connsiteY20" fmla="*/ 2388 h 8456"/>
                <a:gd name="connsiteX21" fmla="*/ 2491 w 4484"/>
                <a:gd name="connsiteY21" fmla="*/ 1791 h 8456"/>
                <a:gd name="connsiteX22" fmla="*/ 2890 w 4484"/>
                <a:gd name="connsiteY22" fmla="*/ 1094 h 8456"/>
                <a:gd name="connsiteX23" fmla="*/ 2790 w 4484"/>
                <a:gd name="connsiteY23" fmla="*/ 497 h 8456"/>
                <a:gd name="connsiteX24" fmla="*/ 1893 w 4484"/>
                <a:gd name="connsiteY24" fmla="*/ 99 h 8456"/>
                <a:gd name="connsiteX25" fmla="*/ 1096 w 4484"/>
                <a:gd name="connsiteY25" fmla="*/ 0 h 8456"/>
                <a:gd name="connsiteX26" fmla="*/ 0 w 4484"/>
                <a:gd name="connsiteY26" fmla="*/ 497 h 8456"/>
                <a:gd name="connsiteX27" fmla="*/ 598 w 4484"/>
                <a:gd name="connsiteY27" fmla="*/ 1393 h 8456"/>
                <a:gd name="connsiteX28" fmla="*/ 797 w 4484"/>
                <a:gd name="connsiteY28" fmla="*/ 2288 h 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484" h="8456">
                  <a:moveTo>
                    <a:pt x="797" y="2288"/>
                  </a:moveTo>
                  <a:lnTo>
                    <a:pt x="1495" y="2786"/>
                  </a:lnTo>
                  <a:lnTo>
                    <a:pt x="1495" y="3581"/>
                  </a:lnTo>
                  <a:lnTo>
                    <a:pt x="1794" y="4576"/>
                  </a:lnTo>
                  <a:lnTo>
                    <a:pt x="2192" y="4875"/>
                  </a:lnTo>
                  <a:lnTo>
                    <a:pt x="1893" y="5273"/>
                  </a:lnTo>
                  <a:lnTo>
                    <a:pt x="1594" y="5969"/>
                  </a:lnTo>
                  <a:lnTo>
                    <a:pt x="2292" y="6665"/>
                  </a:lnTo>
                  <a:lnTo>
                    <a:pt x="2790" y="7262"/>
                  </a:lnTo>
                  <a:lnTo>
                    <a:pt x="2591" y="7859"/>
                  </a:lnTo>
                  <a:lnTo>
                    <a:pt x="3288" y="8357"/>
                  </a:lnTo>
                  <a:lnTo>
                    <a:pt x="4384" y="8456"/>
                  </a:lnTo>
                  <a:lnTo>
                    <a:pt x="4484" y="7959"/>
                  </a:lnTo>
                  <a:lnTo>
                    <a:pt x="3886" y="7561"/>
                  </a:lnTo>
                  <a:lnTo>
                    <a:pt x="3886" y="6665"/>
                  </a:lnTo>
                  <a:lnTo>
                    <a:pt x="3288" y="6367"/>
                  </a:lnTo>
                  <a:lnTo>
                    <a:pt x="3388" y="5571"/>
                  </a:lnTo>
                  <a:lnTo>
                    <a:pt x="2690" y="4676"/>
                  </a:lnTo>
                  <a:lnTo>
                    <a:pt x="2690" y="3482"/>
                  </a:lnTo>
                  <a:lnTo>
                    <a:pt x="2890" y="2885"/>
                  </a:lnTo>
                  <a:lnTo>
                    <a:pt x="2292" y="2388"/>
                  </a:lnTo>
                  <a:lnTo>
                    <a:pt x="2491" y="1791"/>
                  </a:lnTo>
                  <a:lnTo>
                    <a:pt x="2890" y="1094"/>
                  </a:lnTo>
                  <a:lnTo>
                    <a:pt x="2790" y="497"/>
                  </a:lnTo>
                  <a:lnTo>
                    <a:pt x="1893" y="99"/>
                  </a:lnTo>
                  <a:lnTo>
                    <a:pt x="1096" y="0"/>
                  </a:lnTo>
                  <a:lnTo>
                    <a:pt x="0" y="497"/>
                  </a:lnTo>
                  <a:lnTo>
                    <a:pt x="598" y="1393"/>
                  </a:lnTo>
                  <a:lnTo>
                    <a:pt x="797" y="228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09" name="Freeform: Shape 1208">
              <a:extLst>
                <a:ext uri="{FF2B5EF4-FFF2-40B4-BE49-F238E27FC236}">
                  <a16:creationId xmlns:a16="http://schemas.microsoft.com/office/drawing/2014/main" id="{1D523B43-9647-4A8F-AF21-6AB03DBA1585}"/>
                </a:ext>
              </a:extLst>
            </p:cNvPr>
            <p:cNvSpPr/>
            <p:nvPr/>
          </p:nvSpPr>
          <p:spPr>
            <a:xfrm>
              <a:off x="-1092864" y="4270334"/>
              <a:ext cx="199" cy="298"/>
            </a:xfrm>
            <a:custGeom>
              <a:avLst/>
              <a:gdLst>
                <a:gd name="connsiteX0" fmla="*/ 0 w 199"/>
                <a:gd name="connsiteY0" fmla="*/ 100 h 298"/>
                <a:gd name="connsiteX1" fmla="*/ 0 w 199"/>
                <a:gd name="connsiteY1" fmla="*/ 199 h 298"/>
                <a:gd name="connsiteX2" fmla="*/ 0 w 199"/>
                <a:gd name="connsiteY2" fmla="*/ 298 h 298"/>
                <a:gd name="connsiteX3" fmla="*/ 199 w 199"/>
                <a:gd name="connsiteY3" fmla="*/ 199 h 298"/>
                <a:gd name="connsiteX4" fmla="*/ 199 w 199"/>
                <a:gd name="connsiteY4" fmla="*/ 100 h 298"/>
                <a:gd name="connsiteX5" fmla="*/ 100 w 199"/>
                <a:gd name="connsiteY5" fmla="*/ 0 h 298"/>
                <a:gd name="connsiteX6" fmla="*/ 0 w 199"/>
                <a:gd name="connsiteY6" fmla="*/ 100 h 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9" h="298">
                  <a:moveTo>
                    <a:pt x="0" y="100"/>
                  </a:moveTo>
                  <a:lnTo>
                    <a:pt x="0" y="199"/>
                  </a:lnTo>
                  <a:lnTo>
                    <a:pt x="0" y="298"/>
                  </a:lnTo>
                  <a:lnTo>
                    <a:pt x="199" y="199"/>
                  </a:lnTo>
                  <a:lnTo>
                    <a:pt x="199" y="100"/>
                  </a:lnTo>
                  <a:lnTo>
                    <a:pt x="10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0" name="Freeform: Shape 1209">
              <a:extLst>
                <a:ext uri="{FF2B5EF4-FFF2-40B4-BE49-F238E27FC236}">
                  <a16:creationId xmlns:a16="http://schemas.microsoft.com/office/drawing/2014/main" id="{210BF193-F3AC-4117-9D5C-05ACA73162CE}"/>
                </a:ext>
              </a:extLst>
            </p:cNvPr>
            <p:cNvSpPr/>
            <p:nvPr/>
          </p:nvSpPr>
          <p:spPr>
            <a:xfrm>
              <a:off x="-617961" y="4329131"/>
              <a:ext cx="39857" cy="31338"/>
            </a:xfrm>
            <a:custGeom>
              <a:avLst/>
              <a:gdLst>
                <a:gd name="connsiteX0" fmla="*/ 39559 w 39857"/>
                <a:gd name="connsiteY0" fmla="*/ 20196 h 31338"/>
                <a:gd name="connsiteX1" fmla="*/ 38064 w 39857"/>
                <a:gd name="connsiteY1" fmla="*/ 20395 h 31338"/>
                <a:gd name="connsiteX2" fmla="*/ 35772 w 39857"/>
                <a:gd name="connsiteY2" fmla="*/ 18107 h 31338"/>
                <a:gd name="connsiteX3" fmla="*/ 32085 w 39857"/>
                <a:gd name="connsiteY3" fmla="*/ 11143 h 31338"/>
                <a:gd name="connsiteX4" fmla="*/ 29295 w 39857"/>
                <a:gd name="connsiteY4" fmla="*/ 9053 h 31338"/>
                <a:gd name="connsiteX5" fmla="*/ 26406 w 39857"/>
                <a:gd name="connsiteY5" fmla="*/ 8755 h 31338"/>
                <a:gd name="connsiteX6" fmla="*/ 23915 w 39857"/>
                <a:gd name="connsiteY6" fmla="*/ 8258 h 31338"/>
                <a:gd name="connsiteX7" fmla="*/ 23516 w 39857"/>
                <a:gd name="connsiteY7" fmla="*/ 6467 h 31338"/>
                <a:gd name="connsiteX8" fmla="*/ 22221 w 39857"/>
                <a:gd name="connsiteY8" fmla="*/ 5770 h 31338"/>
                <a:gd name="connsiteX9" fmla="*/ 21324 w 39857"/>
                <a:gd name="connsiteY9" fmla="*/ 3880 h 31338"/>
                <a:gd name="connsiteX10" fmla="*/ 21423 w 39857"/>
                <a:gd name="connsiteY10" fmla="*/ 2089 h 31338"/>
                <a:gd name="connsiteX11" fmla="*/ 19829 w 39857"/>
                <a:gd name="connsiteY11" fmla="*/ 2487 h 31338"/>
                <a:gd name="connsiteX12" fmla="*/ 18036 w 39857"/>
                <a:gd name="connsiteY12" fmla="*/ 995 h 31338"/>
                <a:gd name="connsiteX13" fmla="*/ 15943 w 39857"/>
                <a:gd name="connsiteY13" fmla="*/ 1393 h 31338"/>
                <a:gd name="connsiteX14" fmla="*/ 12954 w 39857"/>
                <a:gd name="connsiteY14" fmla="*/ 1293 h 31338"/>
                <a:gd name="connsiteX15" fmla="*/ 5879 w 39857"/>
                <a:gd name="connsiteY15" fmla="*/ 1293 h 31338"/>
                <a:gd name="connsiteX16" fmla="*/ 4484 w 39857"/>
                <a:gd name="connsiteY16" fmla="*/ 1293 h 31338"/>
                <a:gd name="connsiteX17" fmla="*/ 2292 w 39857"/>
                <a:gd name="connsiteY17" fmla="*/ 0 h 31338"/>
                <a:gd name="connsiteX18" fmla="*/ 0 w 39857"/>
                <a:gd name="connsiteY18" fmla="*/ 1890 h 31338"/>
                <a:gd name="connsiteX19" fmla="*/ 598 w 39857"/>
                <a:gd name="connsiteY19" fmla="*/ 2985 h 31338"/>
                <a:gd name="connsiteX20" fmla="*/ 3986 w 39857"/>
                <a:gd name="connsiteY20" fmla="*/ 4079 h 31338"/>
                <a:gd name="connsiteX21" fmla="*/ 8370 w 39857"/>
                <a:gd name="connsiteY21" fmla="*/ 6069 h 31338"/>
                <a:gd name="connsiteX22" fmla="*/ 10164 w 39857"/>
                <a:gd name="connsiteY22" fmla="*/ 8158 h 31338"/>
                <a:gd name="connsiteX23" fmla="*/ 11658 w 39857"/>
                <a:gd name="connsiteY23" fmla="*/ 8655 h 31338"/>
                <a:gd name="connsiteX24" fmla="*/ 12456 w 39857"/>
                <a:gd name="connsiteY24" fmla="*/ 9650 h 31338"/>
                <a:gd name="connsiteX25" fmla="*/ 17139 w 39857"/>
                <a:gd name="connsiteY25" fmla="*/ 12237 h 31338"/>
                <a:gd name="connsiteX26" fmla="*/ 20427 w 39857"/>
                <a:gd name="connsiteY26" fmla="*/ 15122 h 31338"/>
                <a:gd name="connsiteX27" fmla="*/ 25210 w 39857"/>
                <a:gd name="connsiteY27" fmla="*/ 19102 h 31338"/>
                <a:gd name="connsiteX28" fmla="*/ 31487 w 39857"/>
                <a:gd name="connsiteY28" fmla="*/ 23578 h 31338"/>
                <a:gd name="connsiteX29" fmla="*/ 33979 w 39857"/>
                <a:gd name="connsiteY29" fmla="*/ 26066 h 31338"/>
                <a:gd name="connsiteX30" fmla="*/ 37865 w 39857"/>
                <a:gd name="connsiteY30" fmla="*/ 31339 h 31338"/>
                <a:gd name="connsiteX31" fmla="*/ 37566 w 39857"/>
                <a:gd name="connsiteY31" fmla="*/ 28752 h 31338"/>
                <a:gd name="connsiteX32" fmla="*/ 38762 w 39857"/>
                <a:gd name="connsiteY32" fmla="*/ 27061 h 31338"/>
                <a:gd name="connsiteX33" fmla="*/ 39658 w 39857"/>
                <a:gd name="connsiteY33" fmla="*/ 24773 h 31338"/>
                <a:gd name="connsiteX34" fmla="*/ 38861 w 39857"/>
                <a:gd name="connsiteY34" fmla="*/ 23181 h 31338"/>
                <a:gd name="connsiteX35" fmla="*/ 39858 w 39857"/>
                <a:gd name="connsiteY35" fmla="*/ 21191 h 31338"/>
                <a:gd name="connsiteX36" fmla="*/ 39559 w 39857"/>
                <a:gd name="connsiteY36" fmla="*/ 20196 h 3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9857" h="31338">
                  <a:moveTo>
                    <a:pt x="39559" y="20196"/>
                  </a:moveTo>
                  <a:lnTo>
                    <a:pt x="38064" y="20395"/>
                  </a:lnTo>
                  <a:lnTo>
                    <a:pt x="35772" y="18107"/>
                  </a:lnTo>
                  <a:lnTo>
                    <a:pt x="32085" y="11143"/>
                  </a:lnTo>
                  <a:lnTo>
                    <a:pt x="29295" y="9053"/>
                  </a:lnTo>
                  <a:lnTo>
                    <a:pt x="26406" y="8755"/>
                  </a:lnTo>
                  <a:lnTo>
                    <a:pt x="23915" y="8258"/>
                  </a:lnTo>
                  <a:lnTo>
                    <a:pt x="23516" y="6467"/>
                  </a:lnTo>
                  <a:lnTo>
                    <a:pt x="22221" y="5770"/>
                  </a:lnTo>
                  <a:lnTo>
                    <a:pt x="21324" y="3880"/>
                  </a:lnTo>
                  <a:lnTo>
                    <a:pt x="21423" y="2089"/>
                  </a:lnTo>
                  <a:lnTo>
                    <a:pt x="19829" y="2487"/>
                  </a:lnTo>
                  <a:lnTo>
                    <a:pt x="18036" y="995"/>
                  </a:lnTo>
                  <a:lnTo>
                    <a:pt x="15943" y="1393"/>
                  </a:lnTo>
                  <a:lnTo>
                    <a:pt x="12954" y="1293"/>
                  </a:lnTo>
                  <a:lnTo>
                    <a:pt x="5879" y="1293"/>
                  </a:lnTo>
                  <a:lnTo>
                    <a:pt x="4484" y="1293"/>
                  </a:lnTo>
                  <a:lnTo>
                    <a:pt x="2292" y="0"/>
                  </a:lnTo>
                  <a:lnTo>
                    <a:pt x="0" y="1890"/>
                  </a:lnTo>
                  <a:lnTo>
                    <a:pt x="598" y="2985"/>
                  </a:lnTo>
                  <a:lnTo>
                    <a:pt x="3986" y="4079"/>
                  </a:lnTo>
                  <a:lnTo>
                    <a:pt x="8370" y="6069"/>
                  </a:lnTo>
                  <a:lnTo>
                    <a:pt x="10164" y="8158"/>
                  </a:lnTo>
                  <a:lnTo>
                    <a:pt x="11658" y="8655"/>
                  </a:lnTo>
                  <a:lnTo>
                    <a:pt x="12456" y="9650"/>
                  </a:lnTo>
                  <a:lnTo>
                    <a:pt x="17139" y="12237"/>
                  </a:lnTo>
                  <a:lnTo>
                    <a:pt x="20427" y="15122"/>
                  </a:lnTo>
                  <a:lnTo>
                    <a:pt x="25210" y="19102"/>
                  </a:lnTo>
                  <a:lnTo>
                    <a:pt x="31487" y="23578"/>
                  </a:lnTo>
                  <a:lnTo>
                    <a:pt x="33979" y="26066"/>
                  </a:lnTo>
                  <a:lnTo>
                    <a:pt x="37865" y="31339"/>
                  </a:lnTo>
                  <a:lnTo>
                    <a:pt x="37566" y="28752"/>
                  </a:lnTo>
                  <a:lnTo>
                    <a:pt x="38762" y="27061"/>
                  </a:lnTo>
                  <a:lnTo>
                    <a:pt x="39658" y="24773"/>
                  </a:lnTo>
                  <a:lnTo>
                    <a:pt x="38861" y="23181"/>
                  </a:lnTo>
                  <a:lnTo>
                    <a:pt x="39858" y="21191"/>
                  </a:lnTo>
                  <a:lnTo>
                    <a:pt x="39559" y="201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1" name="Freeform: Shape 1210">
              <a:extLst>
                <a:ext uri="{FF2B5EF4-FFF2-40B4-BE49-F238E27FC236}">
                  <a16:creationId xmlns:a16="http://schemas.microsoft.com/office/drawing/2014/main" id="{382F12CD-70E6-4AF0-8A77-098D72BE6406}"/>
                </a:ext>
              </a:extLst>
            </p:cNvPr>
            <p:cNvSpPr/>
            <p:nvPr/>
          </p:nvSpPr>
          <p:spPr>
            <a:xfrm>
              <a:off x="-575712" y="4349725"/>
              <a:ext cx="26704" cy="6665"/>
            </a:xfrm>
            <a:custGeom>
              <a:avLst/>
              <a:gdLst>
                <a:gd name="connsiteX0" fmla="*/ 20726 w 26704"/>
                <a:gd name="connsiteY0" fmla="*/ 1890 h 6665"/>
                <a:gd name="connsiteX1" fmla="*/ 16940 w 26704"/>
                <a:gd name="connsiteY1" fmla="*/ 796 h 6665"/>
                <a:gd name="connsiteX2" fmla="*/ 14149 w 26704"/>
                <a:gd name="connsiteY2" fmla="*/ 0 h 6665"/>
                <a:gd name="connsiteX3" fmla="*/ 11459 w 26704"/>
                <a:gd name="connsiteY3" fmla="*/ 398 h 6665"/>
                <a:gd name="connsiteX4" fmla="*/ 9267 w 26704"/>
                <a:gd name="connsiteY4" fmla="*/ 199 h 6665"/>
                <a:gd name="connsiteX5" fmla="*/ 5680 w 26704"/>
                <a:gd name="connsiteY5" fmla="*/ 796 h 6665"/>
                <a:gd name="connsiteX6" fmla="*/ 3488 w 26704"/>
                <a:gd name="connsiteY6" fmla="*/ 995 h 6665"/>
                <a:gd name="connsiteX7" fmla="*/ 1993 w 26704"/>
                <a:gd name="connsiteY7" fmla="*/ 398 h 6665"/>
                <a:gd name="connsiteX8" fmla="*/ 997 w 26704"/>
                <a:gd name="connsiteY8" fmla="*/ 1194 h 6665"/>
                <a:gd name="connsiteX9" fmla="*/ 0 w 26704"/>
                <a:gd name="connsiteY9" fmla="*/ 2686 h 6665"/>
                <a:gd name="connsiteX10" fmla="*/ 1096 w 26704"/>
                <a:gd name="connsiteY10" fmla="*/ 3582 h 6665"/>
                <a:gd name="connsiteX11" fmla="*/ 4484 w 26704"/>
                <a:gd name="connsiteY11" fmla="*/ 3084 h 6665"/>
                <a:gd name="connsiteX12" fmla="*/ 9665 w 26704"/>
                <a:gd name="connsiteY12" fmla="*/ 1791 h 6665"/>
                <a:gd name="connsiteX13" fmla="*/ 14249 w 26704"/>
                <a:gd name="connsiteY13" fmla="*/ 2189 h 6665"/>
                <a:gd name="connsiteX14" fmla="*/ 17836 w 26704"/>
                <a:gd name="connsiteY14" fmla="*/ 2686 h 6665"/>
                <a:gd name="connsiteX15" fmla="*/ 26705 w 26704"/>
                <a:gd name="connsiteY15" fmla="*/ 6666 h 6665"/>
                <a:gd name="connsiteX16" fmla="*/ 26107 w 26704"/>
                <a:gd name="connsiteY16" fmla="*/ 5671 h 6665"/>
                <a:gd name="connsiteX17" fmla="*/ 20726 w 26704"/>
                <a:gd name="connsiteY17" fmla="*/ 1890 h 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6704" h="6665">
                  <a:moveTo>
                    <a:pt x="20726" y="1890"/>
                  </a:moveTo>
                  <a:lnTo>
                    <a:pt x="16940" y="796"/>
                  </a:lnTo>
                  <a:lnTo>
                    <a:pt x="14149" y="0"/>
                  </a:lnTo>
                  <a:lnTo>
                    <a:pt x="11459" y="398"/>
                  </a:lnTo>
                  <a:lnTo>
                    <a:pt x="9267" y="199"/>
                  </a:lnTo>
                  <a:lnTo>
                    <a:pt x="5680" y="796"/>
                  </a:lnTo>
                  <a:lnTo>
                    <a:pt x="3488" y="995"/>
                  </a:lnTo>
                  <a:lnTo>
                    <a:pt x="1993" y="398"/>
                  </a:lnTo>
                  <a:lnTo>
                    <a:pt x="997" y="1194"/>
                  </a:lnTo>
                  <a:lnTo>
                    <a:pt x="0" y="2686"/>
                  </a:lnTo>
                  <a:lnTo>
                    <a:pt x="1096" y="3582"/>
                  </a:lnTo>
                  <a:lnTo>
                    <a:pt x="4484" y="3084"/>
                  </a:lnTo>
                  <a:lnTo>
                    <a:pt x="9665" y="1791"/>
                  </a:lnTo>
                  <a:lnTo>
                    <a:pt x="14249" y="2189"/>
                  </a:lnTo>
                  <a:lnTo>
                    <a:pt x="17836" y="2686"/>
                  </a:lnTo>
                  <a:lnTo>
                    <a:pt x="26705" y="6666"/>
                  </a:lnTo>
                  <a:lnTo>
                    <a:pt x="26107" y="5671"/>
                  </a:lnTo>
                  <a:lnTo>
                    <a:pt x="20726" y="18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2" name="Freeform: Shape 1211">
              <a:extLst>
                <a:ext uri="{FF2B5EF4-FFF2-40B4-BE49-F238E27FC236}">
                  <a16:creationId xmlns:a16="http://schemas.microsoft.com/office/drawing/2014/main" id="{3CD47173-6366-4BE9-AFBE-379AE647F7C4}"/>
                </a:ext>
              </a:extLst>
            </p:cNvPr>
            <p:cNvSpPr/>
            <p:nvPr/>
          </p:nvSpPr>
          <p:spPr>
            <a:xfrm>
              <a:off x="-655726" y="4227455"/>
              <a:ext cx="31288" cy="99885"/>
            </a:xfrm>
            <a:custGeom>
              <a:avLst/>
              <a:gdLst>
                <a:gd name="connsiteX0" fmla="*/ 29594 w 31288"/>
                <a:gd name="connsiteY0" fmla="*/ 95309 h 99885"/>
                <a:gd name="connsiteX1" fmla="*/ 29594 w 31288"/>
                <a:gd name="connsiteY1" fmla="*/ 93817 h 99885"/>
                <a:gd name="connsiteX2" fmla="*/ 28698 w 31288"/>
                <a:gd name="connsiteY2" fmla="*/ 93817 h 99885"/>
                <a:gd name="connsiteX3" fmla="*/ 26406 w 31288"/>
                <a:gd name="connsiteY3" fmla="*/ 90733 h 99885"/>
                <a:gd name="connsiteX4" fmla="*/ 25509 w 31288"/>
                <a:gd name="connsiteY4" fmla="*/ 89439 h 99885"/>
                <a:gd name="connsiteX5" fmla="*/ 21324 w 31288"/>
                <a:gd name="connsiteY5" fmla="*/ 87251 h 99885"/>
                <a:gd name="connsiteX6" fmla="*/ 20826 w 31288"/>
                <a:gd name="connsiteY6" fmla="*/ 85758 h 99885"/>
                <a:gd name="connsiteX7" fmla="*/ 20527 w 31288"/>
                <a:gd name="connsiteY7" fmla="*/ 84863 h 99885"/>
                <a:gd name="connsiteX8" fmla="*/ 20826 w 31288"/>
                <a:gd name="connsiteY8" fmla="*/ 83570 h 99885"/>
                <a:gd name="connsiteX9" fmla="*/ 21922 w 31288"/>
                <a:gd name="connsiteY9" fmla="*/ 82575 h 99885"/>
                <a:gd name="connsiteX10" fmla="*/ 22619 w 31288"/>
                <a:gd name="connsiteY10" fmla="*/ 81580 h 99885"/>
                <a:gd name="connsiteX11" fmla="*/ 24014 w 31288"/>
                <a:gd name="connsiteY11" fmla="*/ 79491 h 99885"/>
                <a:gd name="connsiteX12" fmla="*/ 23018 w 31288"/>
                <a:gd name="connsiteY12" fmla="*/ 77003 h 99885"/>
                <a:gd name="connsiteX13" fmla="*/ 22520 w 31288"/>
                <a:gd name="connsiteY13" fmla="*/ 77103 h 99885"/>
                <a:gd name="connsiteX14" fmla="*/ 22021 w 31288"/>
                <a:gd name="connsiteY14" fmla="*/ 76605 h 99885"/>
                <a:gd name="connsiteX15" fmla="*/ 22121 w 31288"/>
                <a:gd name="connsiteY15" fmla="*/ 75810 h 99885"/>
                <a:gd name="connsiteX16" fmla="*/ 21922 w 31288"/>
                <a:gd name="connsiteY16" fmla="*/ 74019 h 99885"/>
                <a:gd name="connsiteX17" fmla="*/ 21025 w 31288"/>
                <a:gd name="connsiteY17" fmla="*/ 72725 h 99885"/>
                <a:gd name="connsiteX18" fmla="*/ 18135 w 31288"/>
                <a:gd name="connsiteY18" fmla="*/ 69741 h 99885"/>
                <a:gd name="connsiteX19" fmla="*/ 17637 w 31288"/>
                <a:gd name="connsiteY19" fmla="*/ 67552 h 99885"/>
                <a:gd name="connsiteX20" fmla="*/ 16342 w 31288"/>
                <a:gd name="connsiteY20" fmla="*/ 65861 h 99885"/>
                <a:gd name="connsiteX21" fmla="*/ 16142 w 31288"/>
                <a:gd name="connsiteY21" fmla="*/ 65463 h 99885"/>
                <a:gd name="connsiteX22" fmla="*/ 16641 w 31288"/>
                <a:gd name="connsiteY22" fmla="*/ 65264 h 99885"/>
                <a:gd name="connsiteX23" fmla="*/ 16939 w 31288"/>
                <a:gd name="connsiteY23" fmla="*/ 64965 h 99885"/>
                <a:gd name="connsiteX24" fmla="*/ 15943 w 31288"/>
                <a:gd name="connsiteY24" fmla="*/ 64866 h 99885"/>
                <a:gd name="connsiteX25" fmla="*/ 15544 w 31288"/>
                <a:gd name="connsiteY25" fmla="*/ 64269 h 99885"/>
                <a:gd name="connsiteX26" fmla="*/ 14747 w 31288"/>
                <a:gd name="connsiteY26" fmla="*/ 63374 h 99885"/>
                <a:gd name="connsiteX27" fmla="*/ 13851 w 31288"/>
                <a:gd name="connsiteY27" fmla="*/ 62578 h 99885"/>
                <a:gd name="connsiteX28" fmla="*/ 12456 w 31288"/>
                <a:gd name="connsiteY28" fmla="*/ 61881 h 99885"/>
                <a:gd name="connsiteX29" fmla="*/ 12157 w 31288"/>
                <a:gd name="connsiteY29" fmla="*/ 60986 h 99885"/>
                <a:gd name="connsiteX30" fmla="*/ 11858 w 31288"/>
                <a:gd name="connsiteY30" fmla="*/ 58897 h 99885"/>
                <a:gd name="connsiteX31" fmla="*/ 11559 w 31288"/>
                <a:gd name="connsiteY31" fmla="*/ 57703 h 99885"/>
                <a:gd name="connsiteX32" fmla="*/ 12057 w 31288"/>
                <a:gd name="connsiteY32" fmla="*/ 56608 h 99885"/>
                <a:gd name="connsiteX33" fmla="*/ 12356 w 31288"/>
                <a:gd name="connsiteY33" fmla="*/ 55813 h 99885"/>
                <a:gd name="connsiteX34" fmla="*/ 12754 w 31288"/>
                <a:gd name="connsiteY34" fmla="*/ 55017 h 99885"/>
                <a:gd name="connsiteX35" fmla="*/ 13851 w 31288"/>
                <a:gd name="connsiteY35" fmla="*/ 55017 h 99885"/>
                <a:gd name="connsiteX36" fmla="*/ 15445 w 31288"/>
                <a:gd name="connsiteY36" fmla="*/ 55116 h 99885"/>
                <a:gd name="connsiteX37" fmla="*/ 16242 w 31288"/>
                <a:gd name="connsiteY37" fmla="*/ 54221 h 99885"/>
                <a:gd name="connsiteX38" fmla="*/ 15345 w 31288"/>
                <a:gd name="connsiteY38" fmla="*/ 53226 h 99885"/>
                <a:gd name="connsiteX39" fmla="*/ 14448 w 31288"/>
                <a:gd name="connsiteY39" fmla="*/ 51833 h 99885"/>
                <a:gd name="connsiteX40" fmla="*/ 13751 w 31288"/>
                <a:gd name="connsiteY40" fmla="*/ 48351 h 99885"/>
                <a:gd name="connsiteX41" fmla="*/ 14847 w 31288"/>
                <a:gd name="connsiteY41" fmla="*/ 47456 h 99885"/>
                <a:gd name="connsiteX42" fmla="*/ 14648 w 31288"/>
                <a:gd name="connsiteY42" fmla="*/ 43277 h 99885"/>
                <a:gd name="connsiteX43" fmla="*/ 14947 w 31288"/>
                <a:gd name="connsiteY43" fmla="*/ 41984 h 99885"/>
                <a:gd name="connsiteX44" fmla="*/ 15943 w 31288"/>
                <a:gd name="connsiteY44" fmla="*/ 40193 h 99885"/>
                <a:gd name="connsiteX45" fmla="*/ 17039 w 31288"/>
                <a:gd name="connsiteY45" fmla="*/ 40790 h 99885"/>
                <a:gd name="connsiteX46" fmla="*/ 18135 w 31288"/>
                <a:gd name="connsiteY46" fmla="*/ 40193 h 99885"/>
                <a:gd name="connsiteX47" fmla="*/ 18135 w 31288"/>
                <a:gd name="connsiteY47" fmla="*/ 38303 h 99885"/>
                <a:gd name="connsiteX48" fmla="*/ 17836 w 31288"/>
                <a:gd name="connsiteY48" fmla="*/ 37109 h 99885"/>
                <a:gd name="connsiteX49" fmla="*/ 17139 w 31288"/>
                <a:gd name="connsiteY49" fmla="*/ 35816 h 99885"/>
                <a:gd name="connsiteX50" fmla="*/ 17438 w 31288"/>
                <a:gd name="connsiteY50" fmla="*/ 34025 h 99885"/>
                <a:gd name="connsiteX51" fmla="*/ 16939 w 31288"/>
                <a:gd name="connsiteY51" fmla="*/ 32632 h 99885"/>
                <a:gd name="connsiteX52" fmla="*/ 15943 w 31288"/>
                <a:gd name="connsiteY52" fmla="*/ 30443 h 99885"/>
                <a:gd name="connsiteX53" fmla="*/ 17139 w 31288"/>
                <a:gd name="connsiteY53" fmla="*/ 26563 h 99885"/>
                <a:gd name="connsiteX54" fmla="*/ 18833 w 31288"/>
                <a:gd name="connsiteY54" fmla="*/ 17211 h 99885"/>
                <a:gd name="connsiteX55" fmla="*/ 20427 w 31288"/>
                <a:gd name="connsiteY55" fmla="*/ 14227 h 99885"/>
                <a:gd name="connsiteX56" fmla="*/ 22520 w 31288"/>
                <a:gd name="connsiteY56" fmla="*/ 8855 h 99885"/>
                <a:gd name="connsiteX57" fmla="*/ 23416 w 31288"/>
                <a:gd name="connsiteY57" fmla="*/ 6268 h 99885"/>
                <a:gd name="connsiteX58" fmla="*/ 22719 w 31288"/>
                <a:gd name="connsiteY58" fmla="*/ 0 h 99885"/>
                <a:gd name="connsiteX59" fmla="*/ 21125 w 31288"/>
                <a:gd name="connsiteY59" fmla="*/ 100 h 99885"/>
                <a:gd name="connsiteX60" fmla="*/ 20527 w 31288"/>
                <a:gd name="connsiteY60" fmla="*/ 1493 h 99885"/>
                <a:gd name="connsiteX61" fmla="*/ 20327 w 31288"/>
                <a:gd name="connsiteY61" fmla="*/ 5273 h 99885"/>
                <a:gd name="connsiteX62" fmla="*/ 17936 w 31288"/>
                <a:gd name="connsiteY62" fmla="*/ 15122 h 99885"/>
                <a:gd name="connsiteX63" fmla="*/ 14448 w 31288"/>
                <a:gd name="connsiteY63" fmla="*/ 27956 h 99885"/>
                <a:gd name="connsiteX64" fmla="*/ 12456 w 31288"/>
                <a:gd name="connsiteY64" fmla="*/ 34224 h 99885"/>
                <a:gd name="connsiteX65" fmla="*/ 5979 w 31288"/>
                <a:gd name="connsiteY65" fmla="*/ 52629 h 99885"/>
                <a:gd name="connsiteX66" fmla="*/ 3787 w 31288"/>
                <a:gd name="connsiteY66" fmla="*/ 58797 h 99885"/>
                <a:gd name="connsiteX67" fmla="*/ 1893 w 31288"/>
                <a:gd name="connsiteY67" fmla="*/ 62478 h 99885"/>
                <a:gd name="connsiteX68" fmla="*/ 598 w 31288"/>
                <a:gd name="connsiteY68" fmla="*/ 62876 h 99885"/>
                <a:gd name="connsiteX69" fmla="*/ 299 w 31288"/>
                <a:gd name="connsiteY69" fmla="*/ 63175 h 99885"/>
                <a:gd name="connsiteX70" fmla="*/ 399 w 31288"/>
                <a:gd name="connsiteY70" fmla="*/ 63771 h 99885"/>
                <a:gd name="connsiteX71" fmla="*/ 0 w 31288"/>
                <a:gd name="connsiteY71" fmla="*/ 65264 h 99885"/>
                <a:gd name="connsiteX72" fmla="*/ 4085 w 31288"/>
                <a:gd name="connsiteY72" fmla="*/ 67950 h 99885"/>
                <a:gd name="connsiteX73" fmla="*/ 4584 w 31288"/>
                <a:gd name="connsiteY73" fmla="*/ 70039 h 99885"/>
                <a:gd name="connsiteX74" fmla="*/ 5779 w 31288"/>
                <a:gd name="connsiteY74" fmla="*/ 71233 h 99885"/>
                <a:gd name="connsiteX75" fmla="*/ 5979 w 31288"/>
                <a:gd name="connsiteY75" fmla="*/ 70935 h 99885"/>
                <a:gd name="connsiteX76" fmla="*/ 5580 w 31288"/>
                <a:gd name="connsiteY76" fmla="*/ 68348 h 99885"/>
                <a:gd name="connsiteX77" fmla="*/ 5580 w 31288"/>
                <a:gd name="connsiteY77" fmla="*/ 67452 h 99885"/>
                <a:gd name="connsiteX78" fmla="*/ 6078 w 31288"/>
                <a:gd name="connsiteY78" fmla="*/ 66458 h 99885"/>
                <a:gd name="connsiteX79" fmla="*/ 6875 w 31288"/>
                <a:gd name="connsiteY79" fmla="*/ 65861 h 99885"/>
                <a:gd name="connsiteX80" fmla="*/ 7473 w 31288"/>
                <a:gd name="connsiteY80" fmla="*/ 65761 h 99885"/>
                <a:gd name="connsiteX81" fmla="*/ 8470 w 31288"/>
                <a:gd name="connsiteY81" fmla="*/ 65761 h 99885"/>
                <a:gd name="connsiteX82" fmla="*/ 10164 w 31288"/>
                <a:gd name="connsiteY82" fmla="*/ 65861 h 99885"/>
                <a:gd name="connsiteX83" fmla="*/ 11559 w 31288"/>
                <a:gd name="connsiteY83" fmla="*/ 66259 h 99885"/>
                <a:gd name="connsiteX84" fmla="*/ 12356 w 31288"/>
                <a:gd name="connsiteY84" fmla="*/ 66657 h 99885"/>
                <a:gd name="connsiteX85" fmla="*/ 14648 w 31288"/>
                <a:gd name="connsiteY85" fmla="*/ 67851 h 99885"/>
                <a:gd name="connsiteX86" fmla="*/ 16342 w 31288"/>
                <a:gd name="connsiteY86" fmla="*/ 69243 h 99885"/>
                <a:gd name="connsiteX87" fmla="*/ 17338 w 31288"/>
                <a:gd name="connsiteY87" fmla="*/ 70338 h 99885"/>
                <a:gd name="connsiteX88" fmla="*/ 18932 w 31288"/>
                <a:gd name="connsiteY88" fmla="*/ 72029 h 99885"/>
                <a:gd name="connsiteX89" fmla="*/ 20128 w 31288"/>
                <a:gd name="connsiteY89" fmla="*/ 73521 h 99885"/>
                <a:gd name="connsiteX90" fmla="*/ 20925 w 31288"/>
                <a:gd name="connsiteY90" fmla="*/ 76009 h 99885"/>
                <a:gd name="connsiteX91" fmla="*/ 21424 w 31288"/>
                <a:gd name="connsiteY91" fmla="*/ 78297 h 99885"/>
                <a:gd name="connsiteX92" fmla="*/ 21125 w 31288"/>
                <a:gd name="connsiteY92" fmla="*/ 80684 h 99885"/>
                <a:gd name="connsiteX93" fmla="*/ 20228 w 31288"/>
                <a:gd name="connsiteY93" fmla="*/ 81978 h 99885"/>
                <a:gd name="connsiteX94" fmla="*/ 19331 w 31288"/>
                <a:gd name="connsiteY94" fmla="*/ 82077 h 99885"/>
                <a:gd name="connsiteX95" fmla="*/ 18334 w 31288"/>
                <a:gd name="connsiteY95" fmla="*/ 81779 h 99885"/>
                <a:gd name="connsiteX96" fmla="*/ 17537 w 31288"/>
                <a:gd name="connsiteY96" fmla="*/ 81978 h 99885"/>
                <a:gd name="connsiteX97" fmla="*/ 17239 w 31288"/>
                <a:gd name="connsiteY97" fmla="*/ 83371 h 99885"/>
                <a:gd name="connsiteX98" fmla="*/ 16242 w 31288"/>
                <a:gd name="connsiteY98" fmla="*/ 84365 h 99885"/>
                <a:gd name="connsiteX99" fmla="*/ 16840 w 31288"/>
                <a:gd name="connsiteY99" fmla="*/ 85360 h 99885"/>
                <a:gd name="connsiteX100" fmla="*/ 18434 w 31288"/>
                <a:gd name="connsiteY100" fmla="*/ 85758 h 99885"/>
                <a:gd name="connsiteX101" fmla="*/ 20029 w 31288"/>
                <a:gd name="connsiteY101" fmla="*/ 89141 h 99885"/>
                <a:gd name="connsiteX102" fmla="*/ 21224 w 31288"/>
                <a:gd name="connsiteY102" fmla="*/ 89141 h 99885"/>
                <a:gd name="connsiteX103" fmla="*/ 22520 w 31288"/>
                <a:gd name="connsiteY103" fmla="*/ 90136 h 99885"/>
                <a:gd name="connsiteX104" fmla="*/ 24214 w 31288"/>
                <a:gd name="connsiteY104" fmla="*/ 91827 h 99885"/>
                <a:gd name="connsiteX105" fmla="*/ 25210 w 31288"/>
                <a:gd name="connsiteY105" fmla="*/ 94016 h 99885"/>
                <a:gd name="connsiteX106" fmla="*/ 25908 w 31288"/>
                <a:gd name="connsiteY106" fmla="*/ 96702 h 99885"/>
                <a:gd name="connsiteX107" fmla="*/ 25609 w 31288"/>
                <a:gd name="connsiteY107" fmla="*/ 97398 h 99885"/>
                <a:gd name="connsiteX108" fmla="*/ 27004 w 31288"/>
                <a:gd name="connsiteY108" fmla="*/ 98393 h 99885"/>
                <a:gd name="connsiteX109" fmla="*/ 29993 w 31288"/>
                <a:gd name="connsiteY109" fmla="*/ 99687 h 99885"/>
                <a:gd name="connsiteX110" fmla="*/ 31089 w 31288"/>
                <a:gd name="connsiteY110" fmla="*/ 99885 h 99885"/>
                <a:gd name="connsiteX111" fmla="*/ 31288 w 31288"/>
                <a:gd name="connsiteY111" fmla="*/ 98095 h 99885"/>
                <a:gd name="connsiteX112" fmla="*/ 30491 w 31288"/>
                <a:gd name="connsiteY112" fmla="*/ 96105 h 99885"/>
                <a:gd name="connsiteX113" fmla="*/ 29594 w 31288"/>
                <a:gd name="connsiteY113" fmla="*/ 95309 h 9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31288" h="99885">
                  <a:moveTo>
                    <a:pt x="29594" y="95309"/>
                  </a:moveTo>
                  <a:lnTo>
                    <a:pt x="29594" y="93817"/>
                  </a:lnTo>
                  <a:lnTo>
                    <a:pt x="28698" y="93817"/>
                  </a:lnTo>
                  <a:lnTo>
                    <a:pt x="26406" y="90733"/>
                  </a:lnTo>
                  <a:lnTo>
                    <a:pt x="25509" y="89439"/>
                  </a:lnTo>
                  <a:lnTo>
                    <a:pt x="21324" y="87251"/>
                  </a:lnTo>
                  <a:lnTo>
                    <a:pt x="20826" y="85758"/>
                  </a:lnTo>
                  <a:lnTo>
                    <a:pt x="20527" y="84863"/>
                  </a:lnTo>
                  <a:lnTo>
                    <a:pt x="20826" y="83570"/>
                  </a:lnTo>
                  <a:lnTo>
                    <a:pt x="21922" y="82575"/>
                  </a:lnTo>
                  <a:lnTo>
                    <a:pt x="22619" y="81580"/>
                  </a:lnTo>
                  <a:lnTo>
                    <a:pt x="24014" y="79491"/>
                  </a:lnTo>
                  <a:lnTo>
                    <a:pt x="23018" y="77003"/>
                  </a:lnTo>
                  <a:lnTo>
                    <a:pt x="22520" y="77103"/>
                  </a:lnTo>
                  <a:lnTo>
                    <a:pt x="22021" y="76605"/>
                  </a:lnTo>
                  <a:lnTo>
                    <a:pt x="22121" y="75810"/>
                  </a:lnTo>
                  <a:lnTo>
                    <a:pt x="21922" y="74019"/>
                  </a:lnTo>
                  <a:lnTo>
                    <a:pt x="21025" y="72725"/>
                  </a:lnTo>
                  <a:lnTo>
                    <a:pt x="18135" y="69741"/>
                  </a:lnTo>
                  <a:lnTo>
                    <a:pt x="17637" y="67552"/>
                  </a:lnTo>
                  <a:lnTo>
                    <a:pt x="16342" y="65861"/>
                  </a:lnTo>
                  <a:lnTo>
                    <a:pt x="16142" y="65463"/>
                  </a:lnTo>
                  <a:lnTo>
                    <a:pt x="16641" y="65264"/>
                  </a:lnTo>
                  <a:lnTo>
                    <a:pt x="16939" y="64965"/>
                  </a:lnTo>
                  <a:lnTo>
                    <a:pt x="15943" y="64866"/>
                  </a:lnTo>
                  <a:lnTo>
                    <a:pt x="15544" y="64269"/>
                  </a:lnTo>
                  <a:lnTo>
                    <a:pt x="14747" y="63374"/>
                  </a:lnTo>
                  <a:lnTo>
                    <a:pt x="13851" y="62578"/>
                  </a:lnTo>
                  <a:lnTo>
                    <a:pt x="12456" y="61881"/>
                  </a:lnTo>
                  <a:lnTo>
                    <a:pt x="12157" y="60986"/>
                  </a:lnTo>
                  <a:lnTo>
                    <a:pt x="11858" y="58897"/>
                  </a:lnTo>
                  <a:lnTo>
                    <a:pt x="11559" y="57703"/>
                  </a:lnTo>
                  <a:lnTo>
                    <a:pt x="12057" y="56608"/>
                  </a:lnTo>
                  <a:lnTo>
                    <a:pt x="12356" y="55813"/>
                  </a:lnTo>
                  <a:lnTo>
                    <a:pt x="12754" y="55017"/>
                  </a:lnTo>
                  <a:lnTo>
                    <a:pt x="13851" y="55017"/>
                  </a:lnTo>
                  <a:lnTo>
                    <a:pt x="15445" y="55116"/>
                  </a:lnTo>
                  <a:lnTo>
                    <a:pt x="16242" y="54221"/>
                  </a:lnTo>
                  <a:lnTo>
                    <a:pt x="15345" y="53226"/>
                  </a:lnTo>
                  <a:lnTo>
                    <a:pt x="14448" y="51833"/>
                  </a:lnTo>
                  <a:lnTo>
                    <a:pt x="13751" y="48351"/>
                  </a:lnTo>
                  <a:lnTo>
                    <a:pt x="14847" y="47456"/>
                  </a:lnTo>
                  <a:lnTo>
                    <a:pt x="14648" y="43277"/>
                  </a:lnTo>
                  <a:lnTo>
                    <a:pt x="14947" y="41984"/>
                  </a:lnTo>
                  <a:lnTo>
                    <a:pt x="15943" y="40193"/>
                  </a:lnTo>
                  <a:lnTo>
                    <a:pt x="17039" y="40790"/>
                  </a:lnTo>
                  <a:lnTo>
                    <a:pt x="18135" y="40193"/>
                  </a:lnTo>
                  <a:lnTo>
                    <a:pt x="18135" y="38303"/>
                  </a:lnTo>
                  <a:lnTo>
                    <a:pt x="17836" y="37109"/>
                  </a:lnTo>
                  <a:lnTo>
                    <a:pt x="17139" y="35816"/>
                  </a:lnTo>
                  <a:lnTo>
                    <a:pt x="17438" y="34025"/>
                  </a:lnTo>
                  <a:lnTo>
                    <a:pt x="16939" y="32632"/>
                  </a:lnTo>
                  <a:lnTo>
                    <a:pt x="15943" y="30443"/>
                  </a:lnTo>
                  <a:lnTo>
                    <a:pt x="17139" y="26563"/>
                  </a:lnTo>
                  <a:lnTo>
                    <a:pt x="18833" y="17211"/>
                  </a:lnTo>
                  <a:lnTo>
                    <a:pt x="20427" y="14227"/>
                  </a:lnTo>
                  <a:lnTo>
                    <a:pt x="22520" y="8855"/>
                  </a:lnTo>
                  <a:lnTo>
                    <a:pt x="23416" y="6268"/>
                  </a:lnTo>
                  <a:lnTo>
                    <a:pt x="22719" y="0"/>
                  </a:lnTo>
                  <a:lnTo>
                    <a:pt x="21125" y="100"/>
                  </a:lnTo>
                  <a:lnTo>
                    <a:pt x="20527" y="1493"/>
                  </a:lnTo>
                  <a:lnTo>
                    <a:pt x="20327" y="5273"/>
                  </a:lnTo>
                  <a:lnTo>
                    <a:pt x="17936" y="15122"/>
                  </a:lnTo>
                  <a:lnTo>
                    <a:pt x="14448" y="27956"/>
                  </a:lnTo>
                  <a:lnTo>
                    <a:pt x="12456" y="34224"/>
                  </a:lnTo>
                  <a:lnTo>
                    <a:pt x="5979" y="52629"/>
                  </a:lnTo>
                  <a:lnTo>
                    <a:pt x="3787" y="58797"/>
                  </a:lnTo>
                  <a:lnTo>
                    <a:pt x="1893" y="62478"/>
                  </a:lnTo>
                  <a:lnTo>
                    <a:pt x="598" y="62876"/>
                  </a:lnTo>
                  <a:lnTo>
                    <a:pt x="299" y="63175"/>
                  </a:lnTo>
                  <a:lnTo>
                    <a:pt x="399" y="63771"/>
                  </a:lnTo>
                  <a:lnTo>
                    <a:pt x="0" y="65264"/>
                  </a:lnTo>
                  <a:lnTo>
                    <a:pt x="4085" y="67950"/>
                  </a:lnTo>
                  <a:lnTo>
                    <a:pt x="4584" y="70039"/>
                  </a:lnTo>
                  <a:lnTo>
                    <a:pt x="5779" y="71233"/>
                  </a:lnTo>
                  <a:lnTo>
                    <a:pt x="5979" y="70935"/>
                  </a:lnTo>
                  <a:lnTo>
                    <a:pt x="5580" y="68348"/>
                  </a:lnTo>
                  <a:lnTo>
                    <a:pt x="5580" y="67452"/>
                  </a:lnTo>
                  <a:lnTo>
                    <a:pt x="6078" y="66458"/>
                  </a:lnTo>
                  <a:lnTo>
                    <a:pt x="6875" y="65861"/>
                  </a:lnTo>
                  <a:lnTo>
                    <a:pt x="7473" y="65761"/>
                  </a:lnTo>
                  <a:lnTo>
                    <a:pt x="8470" y="65761"/>
                  </a:lnTo>
                  <a:lnTo>
                    <a:pt x="10164" y="65861"/>
                  </a:lnTo>
                  <a:lnTo>
                    <a:pt x="11559" y="66259"/>
                  </a:lnTo>
                  <a:lnTo>
                    <a:pt x="12356" y="66657"/>
                  </a:lnTo>
                  <a:lnTo>
                    <a:pt x="14648" y="67851"/>
                  </a:lnTo>
                  <a:lnTo>
                    <a:pt x="16342" y="69243"/>
                  </a:lnTo>
                  <a:lnTo>
                    <a:pt x="17338" y="70338"/>
                  </a:lnTo>
                  <a:lnTo>
                    <a:pt x="18932" y="72029"/>
                  </a:lnTo>
                  <a:lnTo>
                    <a:pt x="20128" y="73521"/>
                  </a:lnTo>
                  <a:lnTo>
                    <a:pt x="20925" y="76009"/>
                  </a:lnTo>
                  <a:lnTo>
                    <a:pt x="21424" y="78297"/>
                  </a:lnTo>
                  <a:lnTo>
                    <a:pt x="21125" y="80684"/>
                  </a:lnTo>
                  <a:lnTo>
                    <a:pt x="20228" y="81978"/>
                  </a:lnTo>
                  <a:lnTo>
                    <a:pt x="19331" y="82077"/>
                  </a:lnTo>
                  <a:lnTo>
                    <a:pt x="18334" y="81779"/>
                  </a:lnTo>
                  <a:lnTo>
                    <a:pt x="17537" y="81978"/>
                  </a:lnTo>
                  <a:lnTo>
                    <a:pt x="17239" y="83371"/>
                  </a:lnTo>
                  <a:lnTo>
                    <a:pt x="16242" y="84365"/>
                  </a:lnTo>
                  <a:lnTo>
                    <a:pt x="16840" y="85360"/>
                  </a:lnTo>
                  <a:lnTo>
                    <a:pt x="18434" y="85758"/>
                  </a:lnTo>
                  <a:lnTo>
                    <a:pt x="20029" y="89141"/>
                  </a:lnTo>
                  <a:lnTo>
                    <a:pt x="21224" y="89141"/>
                  </a:lnTo>
                  <a:lnTo>
                    <a:pt x="22520" y="90136"/>
                  </a:lnTo>
                  <a:lnTo>
                    <a:pt x="24214" y="91827"/>
                  </a:lnTo>
                  <a:lnTo>
                    <a:pt x="25210" y="94016"/>
                  </a:lnTo>
                  <a:lnTo>
                    <a:pt x="25908" y="96702"/>
                  </a:lnTo>
                  <a:lnTo>
                    <a:pt x="25609" y="97398"/>
                  </a:lnTo>
                  <a:lnTo>
                    <a:pt x="27004" y="98393"/>
                  </a:lnTo>
                  <a:lnTo>
                    <a:pt x="29993" y="99687"/>
                  </a:lnTo>
                  <a:lnTo>
                    <a:pt x="31089" y="99885"/>
                  </a:lnTo>
                  <a:lnTo>
                    <a:pt x="31288" y="98095"/>
                  </a:lnTo>
                  <a:lnTo>
                    <a:pt x="30491" y="96105"/>
                  </a:lnTo>
                  <a:lnTo>
                    <a:pt x="29594" y="9530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3" name="Freeform: Shape 1212">
              <a:extLst>
                <a:ext uri="{FF2B5EF4-FFF2-40B4-BE49-F238E27FC236}">
                  <a16:creationId xmlns:a16="http://schemas.microsoft.com/office/drawing/2014/main" id="{5D2FB551-23A9-45A3-89D4-792AC5AE91BD}"/>
                </a:ext>
              </a:extLst>
            </p:cNvPr>
            <p:cNvSpPr/>
            <p:nvPr/>
          </p:nvSpPr>
          <p:spPr>
            <a:xfrm>
              <a:off x="-454445" y="4249641"/>
              <a:ext cx="24313" cy="33228"/>
            </a:xfrm>
            <a:custGeom>
              <a:avLst/>
              <a:gdLst>
                <a:gd name="connsiteX0" fmla="*/ 23317 w 24313"/>
                <a:gd name="connsiteY0" fmla="*/ 31438 h 33228"/>
                <a:gd name="connsiteX1" fmla="*/ 24313 w 24313"/>
                <a:gd name="connsiteY1" fmla="*/ 31040 h 33228"/>
                <a:gd name="connsiteX2" fmla="*/ 23118 w 24313"/>
                <a:gd name="connsiteY2" fmla="*/ 29448 h 33228"/>
                <a:gd name="connsiteX3" fmla="*/ 21324 w 24313"/>
                <a:gd name="connsiteY3" fmla="*/ 26663 h 33228"/>
                <a:gd name="connsiteX4" fmla="*/ 20726 w 24313"/>
                <a:gd name="connsiteY4" fmla="*/ 24673 h 33228"/>
                <a:gd name="connsiteX5" fmla="*/ 19929 w 24313"/>
                <a:gd name="connsiteY5" fmla="*/ 23380 h 33228"/>
                <a:gd name="connsiteX6" fmla="*/ 18534 w 24313"/>
                <a:gd name="connsiteY6" fmla="*/ 20594 h 33228"/>
                <a:gd name="connsiteX7" fmla="*/ 19132 w 24313"/>
                <a:gd name="connsiteY7" fmla="*/ 17211 h 33228"/>
                <a:gd name="connsiteX8" fmla="*/ 18833 w 24313"/>
                <a:gd name="connsiteY8" fmla="*/ 14824 h 33228"/>
                <a:gd name="connsiteX9" fmla="*/ 17836 w 24313"/>
                <a:gd name="connsiteY9" fmla="*/ 13630 h 33228"/>
                <a:gd name="connsiteX10" fmla="*/ 17936 w 24313"/>
                <a:gd name="connsiteY10" fmla="*/ 12336 h 33228"/>
                <a:gd name="connsiteX11" fmla="*/ 16840 w 24313"/>
                <a:gd name="connsiteY11" fmla="*/ 11342 h 33228"/>
                <a:gd name="connsiteX12" fmla="*/ 16043 w 24313"/>
                <a:gd name="connsiteY12" fmla="*/ 10844 h 33228"/>
                <a:gd name="connsiteX13" fmla="*/ 15644 w 24313"/>
                <a:gd name="connsiteY13" fmla="*/ 9750 h 33228"/>
                <a:gd name="connsiteX14" fmla="*/ 12954 w 24313"/>
                <a:gd name="connsiteY14" fmla="*/ 8655 h 33228"/>
                <a:gd name="connsiteX15" fmla="*/ 9367 w 24313"/>
                <a:gd name="connsiteY15" fmla="*/ 7660 h 33228"/>
                <a:gd name="connsiteX16" fmla="*/ 6078 w 24313"/>
                <a:gd name="connsiteY16" fmla="*/ 7163 h 33228"/>
                <a:gd name="connsiteX17" fmla="*/ 4085 w 24313"/>
                <a:gd name="connsiteY17" fmla="*/ 5372 h 33228"/>
                <a:gd name="connsiteX18" fmla="*/ 2690 w 24313"/>
                <a:gd name="connsiteY18" fmla="*/ 1492 h 33228"/>
                <a:gd name="connsiteX19" fmla="*/ 1893 w 24313"/>
                <a:gd name="connsiteY19" fmla="*/ 199 h 33228"/>
                <a:gd name="connsiteX20" fmla="*/ 1196 w 24313"/>
                <a:gd name="connsiteY20" fmla="*/ 0 h 33228"/>
                <a:gd name="connsiteX21" fmla="*/ 997 w 24313"/>
                <a:gd name="connsiteY21" fmla="*/ 398 h 33228"/>
                <a:gd name="connsiteX22" fmla="*/ 698 w 24313"/>
                <a:gd name="connsiteY22" fmla="*/ 1393 h 33228"/>
                <a:gd name="connsiteX23" fmla="*/ 399 w 24313"/>
                <a:gd name="connsiteY23" fmla="*/ 4079 h 33228"/>
                <a:gd name="connsiteX24" fmla="*/ 498 w 24313"/>
                <a:gd name="connsiteY24" fmla="*/ 5969 h 33228"/>
                <a:gd name="connsiteX25" fmla="*/ 0 w 24313"/>
                <a:gd name="connsiteY25" fmla="*/ 6964 h 33228"/>
                <a:gd name="connsiteX26" fmla="*/ 0 w 24313"/>
                <a:gd name="connsiteY26" fmla="*/ 8954 h 33228"/>
                <a:gd name="connsiteX27" fmla="*/ 399 w 24313"/>
                <a:gd name="connsiteY27" fmla="*/ 10446 h 33228"/>
                <a:gd name="connsiteX28" fmla="*/ 1495 w 24313"/>
                <a:gd name="connsiteY28" fmla="*/ 10347 h 33228"/>
                <a:gd name="connsiteX29" fmla="*/ 2491 w 24313"/>
                <a:gd name="connsiteY29" fmla="*/ 11739 h 33228"/>
                <a:gd name="connsiteX30" fmla="*/ 4384 w 24313"/>
                <a:gd name="connsiteY30" fmla="*/ 11640 h 33228"/>
                <a:gd name="connsiteX31" fmla="*/ 5182 w 24313"/>
                <a:gd name="connsiteY31" fmla="*/ 12933 h 33228"/>
                <a:gd name="connsiteX32" fmla="*/ 5381 w 24313"/>
                <a:gd name="connsiteY32" fmla="*/ 14824 h 33228"/>
                <a:gd name="connsiteX33" fmla="*/ 5580 w 24313"/>
                <a:gd name="connsiteY33" fmla="*/ 16117 h 33228"/>
                <a:gd name="connsiteX34" fmla="*/ 6477 w 24313"/>
                <a:gd name="connsiteY34" fmla="*/ 17211 h 33228"/>
                <a:gd name="connsiteX35" fmla="*/ 7174 w 24313"/>
                <a:gd name="connsiteY35" fmla="*/ 18505 h 33228"/>
                <a:gd name="connsiteX36" fmla="*/ 7174 w 24313"/>
                <a:gd name="connsiteY36" fmla="*/ 19599 h 33228"/>
                <a:gd name="connsiteX37" fmla="*/ 7872 w 24313"/>
                <a:gd name="connsiteY37" fmla="*/ 21887 h 33228"/>
                <a:gd name="connsiteX38" fmla="*/ 9167 w 24313"/>
                <a:gd name="connsiteY38" fmla="*/ 22385 h 33228"/>
                <a:gd name="connsiteX39" fmla="*/ 10164 w 24313"/>
                <a:gd name="connsiteY39" fmla="*/ 24375 h 33228"/>
                <a:gd name="connsiteX40" fmla="*/ 9466 w 24313"/>
                <a:gd name="connsiteY40" fmla="*/ 25369 h 33228"/>
                <a:gd name="connsiteX41" fmla="*/ 9367 w 24313"/>
                <a:gd name="connsiteY41" fmla="*/ 26265 h 33228"/>
                <a:gd name="connsiteX42" fmla="*/ 10762 w 24313"/>
                <a:gd name="connsiteY42" fmla="*/ 26165 h 33228"/>
                <a:gd name="connsiteX43" fmla="*/ 12157 w 24313"/>
                <a:gd name="connsiteY43" fmla="*/ 25966 h 33228"/>
                <a:gd name="connsiteX44" fmla="*/ 13452 w 24313"/>
                <a:gd name="connsiteY44" fmla="*/ 26762 h 33228"/>
                <a:gd name="connsiteX45" fmla="*/ 13452 w 24313"/>
                <a:gd name="connsiteY45" fmla="*/ 27359 h 33228"/>
                <a:gd name="connsiteX46" fmla="*/ 15345 w 24313"/>
                <a:gd name="connsiteY46" fmla="*/ 28254 h 33228"/>
                <a:gd name="connsiteX47" fmla="*/ 16840 w 24313"/>
                <a:gd name="connsiteY47" fmla="*/ 29249 h 33228"/>
                <a:gd name="connsiteX48" fmla="*/ 18135 w 24313"/>
                <a:gd name="connsiteY48" fmla="*/ 29946 h 33228"/>
                <a:gd name="connsiteX49" fmla="*/ 18135 w 24313"/>
                <a:gd name="connsiteY49" fmla="*/ 31140 h 33228"/>
                <a:gd name="connsiteX50" fmla="*/ 17438 w 24313"/>
                <a:gd name="connsiteY50" fmla="*/ 32035 h 33228"/>
                <a:gd name="connsiteX51" fmla="*/ 16840 w 24313"/>
                <a:gd name="connsiteY51" fmla="*/ 32930 h 33228"/>
                <a:gd name="connsiteX52" fmla="*/ 17438 w 24313"/>
                <a:gd name="connsiteY52" fmla="*/ 33229 h 33228"/>
                <a:gd name="connsiteX53" fmla="*/ 18335 w 24313"/>
                <a:gd name="connsiteY53" fmla="*/ 32035 h 33228"/>
                <a:gd name="connsiteX54" fmla="*/ 19530 w 24313"/>
                <a:gd name="connsiteY54" fmla="*/ 31836 h 33228"/>
                <a:gd name="connsiteX55" fmla="*/ 20726 w 24313"/>
                <a:gd name="connsiteY55" fmla="*/ 32035 h 33228"/>
                <a:gd name="connsiteX56" fmla="*/ 23317 w 24313"/>
                <a:gd name="connsiteY56" fmla="*/ 31438 h 33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4313" h="33228">
                  <a:moveTo>
                    <a:pt x="23317" y="31438"/>
                  </a:moveTo>
                  <a:lnTo>
                    <a:pt x="24313" y="31040"/>
                  </a:lnTo>
                  <a:lnTo>
                    <a:pt x="23118" y="29448"/>
                  </a:lnTo>
                  <a:lnTo>
                    <a:pt x="21324" y="26663"/>
                  </a:lnTo>
                  <a:lnTo>
                    <a:pt x="20726" y="24673"/>
                  </a:lnTo>
                  <a:lnTo>
                    <a:pt x="19929" y="23380"/>
                  </a:lnTo>
                  <a:lnTo>
                    <a:pt x="18534" y="20594"/>
                  </a:lnTo>
                  <a:lnTo>
                    <a:pt x="19132" y="17211"/>
                  </a:lnTo>
                  <a:lnTo>
                    <a:pt x="18833" y="14824"/>
                  </a:lnTo>
                  <a:lnTo>
                    <a:pt x="17836" y="13630"/>
                  </a:lnTo>
                  <a:lnTo>
                    <a:pt x="17936" y="12336"/>
                  </a:lnTo>
                  <a:lnTo>
                    <a:pt x="16840" y="11342"/>
                  </a:lnTo>
                  <a:lnTo>
                    <a:pt x="16043" y="10844"/>
                  </a:lnTo>
                  <a:lnTo>
                    <a:pt x="15644" y="9750"/>
                  </a:lnTo>
                  <a:lnTo>
                    <a:pt x="12954" y="8655"/>
                  </a:lnTo>
                  <a:lnTo>
                    <a:pt x="9367" y="7660"/>
                  </a:lnTo>
                  <a:lnTo>
                    <a:pt x="6078" y="7163"/>
                  </a:lnTo>
                  <a:lnTo>
                    <a:pt x="4085" y="5372"/>
                  </a:lnTo>
                  <a:lnTo>
                    <a:pt x="2690" y="1492"/>
                  </a:lnTo>
                  <a:lnTo>
                    <a:pt x="1893" y="199"/>
                  </a:lnTo>
                  <a:lnTo>
                    <a:pt x="1196" y="0"/>
                  </a:lnTo>
                  <a:lnTo>
                    <a:pt x="997" y="398"/>
                  </a:lnTo>
                  <a:lnTo>
                    <a:pt x="698" y="1393"/>
                  </a:lnTo>
                  <a:lnTo>
                    <a:pt x="399" y="4079"/>
                  </a:lnTo>
                  <a:lnTo>
                    <a:pt x="498" y="5969"/>
                  </a:lnTo>
                  <a:lnTo>
                    <a:pt x="0" y="6964"/>
                  </a:lnTo>
                  <a:lnTo>
                    <a:pt x="0" y="8954"/>
                  </a:lnTo>
                  <a:lnTo>
                    <a:pt x="399" y="10446"/>
                  </a:lnTo>
                  <a:lnTo>
                    <a:pt x="1495" y="10347"/>
                  </a:lnTo>
                  <a:lnTo>
                    <a:pt x="2491" y="11739"/>
                  </a:lnTo>
                  <a:lnTo>
                    <a:pt x="4384" y="11640"/>
                  </a:lnTo>
                  <a:lnTo>
                    <a:pt x="5182" y="12933"/>
                  </a:lnTo>
                  <a:lnTo>
                    <a:pt x="5381" y="14824"/>
                  </a:lnTo>
                  <a:lnTo>
                    <a:pt x="5580" y="16117"/>
                  </a:lnTo>
                  <a:lnTo>
                    <a:pt x="6477" y="17211"/>
                  </a:lnTo>
                  <a:lnTo>
                    <a:pt x="7174" y="18505"/>
                  </a:lnTo>
                  <a:lnTo>
                    <a:pt x="7174" y="19599"/>
                  </a:lnTo>
                  <a:lnTo>
                    <a:pt x="7872" y="21887"/>
                  </a:lnTo>
                  <a:lnTo>
                    <a:pt x="9167" y="22385"/>
                  </a:lnTo>
                  <a:lnTo>
                    <a:pt x="10164" y="24375"/>
                  </a:lnTo>
                  <a:lnTo>
                    <a:pt x="9466" y="25369"/>
                  </a:lnTo>
                  <a:lnTo>
                    <a:pt x="9367" y="26265"/>
                  </a:lnTo>
                  <a:lnTo>
                    <a:pt x="10762" y="26165"/>
                  </a:lnTo>
                  <a:lnTo>
                    <a:pt x="12157" y="25966"/>
                  </a:lnTo>
                  <a:lnTo>
                    <a:pt x="13452" y="26762"/>
                  </a:lnTo>
                  <a:lnTo>
                    <a:pt x="13452" y="27359"/>
                  </a:lnTo>
                  <a:lnTo>
                    <a:pt x="15345" y="28254"/>
                  </a:lnTo>
                  <a:lnTo>
                    <a:pt x="16840" y="29249"/>
                  </a:lnTo>
                  <a:lnTo>
                    <a:pt x="18135" y="29946"/>
                  </a:lnTo>
                  <a:lnTo>
                    <a:pt x="18135" y="31140"/>
                  </a:lnTo>
                  <a:lnTo>
                    <a:pt x="17438" y="32035"/>
                  </a:lnTo>
                  <a:lnTo>
                    <a:pt x="16840" y="32930"/>
                  </a:lnTo>
                  <a:lnTo>
                    <a:pt x="17438" y="33229"/>
                  </a:lnTo>
                  <a:lnTo>
                    <a:pt x="18335" y="32035"/>
                  </a:lnTo>
                  <a:lnTo>
                    <a:pt x="19530" y="31836"/>
                  </a:lnTo>
                  <a:lnTo>
                    <a:pt x="20726" y="32035"/>
                  </a:lnTo>
                  <a:lnTo>
                    <a:pt x="23317" y="3143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4" name="Freeform: Shape 1213">
              <a:extLst>
                <a:ext uri="{FF2B5EF4-FFF2-40B4-BE49-F238E27FC236}">
                  <a16:creationId xmlns:a16="http://schemas.microsoft.com/office/drawing/2014/main" id="{1A0D4E32-76A5-49E9-B24C-143DD411860B}"/>
                </a:ext>
              </a:extLst>
            </p:cNvPr>
            <p:cNvSpPr/>
            <p:nvPr/>
          </p:nvSpPr>
          <p:spPr>
            <a:xfrm>
              <a:off x="-355697" y="4350222"/>
              <a:ext cx="17637" cy="32632"/>
            </a:xfrm>
            <a:custGeom>
              <a:avLst/>
              <a:gdLst>
                <a:gd name="connsiteX0" fmla="*/ 9566 w 17637"/>
                <a:gd name="connsiteY0" fmla="*/ 31239 h 32632"/>
                <a:gd name="connsiteX1" fmla="*/ 13552 w 17637"/>
                <a:gd name="connsiteY1" fmla="*/ 31737 h 32632"/>
                <a:gd name="connsiteX2" fmla="*/ 15544 w 17637"/>
                <a:gd name="connsiteY2" fmla="*/ 32135 h 32632"/>
                <a:gd name="connsiteX3" fmla="*/ 17039 w 17637"/>
                <a:gd name="connsiteY3" fmla="*/ 32632 h 32632"/>
                <a:gd name="connsiteX4" fmla="*/ 17637 w 17637"/>
                <a:gd name="connsiteY4" fmla="*/ 30145 h 32632"/>
                <a:gd name="connsiteX5" fmla="*/ 16541 w 17637"/>
                <a:gd name="connsiteY5" fmla="*/ 27857 h 32632"/>
                <a:gd name="connsiteX6" fmla="*/ 16342 w 17637"/>
                <a:gd name="connsiteY6" fmla="*/ 26364 h 32632"/>
                <a:gd name="connsiteX7" fmla="*/ 14548 w 17637"/>
                <a:gd name="connsiteY7" fmla="*/ 22683 h 32632"/>
                <a:gd name="connsiteX8" fmla="*/ 12854 w 17637"/>
                <a:gd name="connsiteY8" fmla="*/ 20594 h 32632"/>
                <a:gd name="connsiteX9" fmla="*/ 12057 w 17637"/>
                <a:gd name="connsiteY9" fmla="*/ 19798 h 32632"/>
                <a:gd name="connsiteX10" fmla="*/ 10064 w 17637"/>
                <a:gd name="connsiteY10" fmla="*/ 15918 h 32632"/>
                <a:gd name="connsiteX11" fmla="*/ 8470 w 17637"/>
                <a:gd name="connsiteY11" fmla="*/ 14028 h 32632"/>
                <a:gd name="connsiteX12" fmla="*/ 6975 w 17637"/>
                <a:gd name="connsiteY12" fmla="*/ 11043 h 32632"/>
                <a:gd name="connsiteX13" fmla="*/ 5779 w 17637"/>
                <a:gd name="connsiteY13" fmla="*/ 8059 h 32632"/>
                <a:gd name="connsiteX14" fmla="*/ 4783 w 17637"/>
                <a:gd name="connsiteY14" fmla="*/ 6765 h 32632"/>
                <a:gd name="connsiteX15" fmla="*/ 3986 w 17637"/>
                <a:gd name="connsiteY15" fmla="*/ 5372 h 32632"/>
                <a:gd name="connsiteX16" fmla="*/ 2591 w 17637"/>
                <a:gd name="connsiteY16" fmla="*/ 3582 h 32632"/>
                <a:gd name="connsiteX17" fmla="*/ 2292 w 17637"/>
                <a:gd name="connsiteY17" fmla="*/ 1691 h 32632"/>
                <a:gd name="connsiteX18" fmla="*/ 1395 w 17637"/>
                <a:gd name="connsiteY18" fmla="*/ 199 h 32632"/>
                <a:gd name="connsiteX19" fmla="*/ 598 w 17637"/>
                <a:gd name="connsiteY19" fmla="*/ 0 h 32632"/>
                <a:gd name="connsiteX20" fmla="*/ 399 w 17637"/>
                <a:gd name="connsiteY20" fmla="*/ 2089 h 32632"/>
                <a:gd name="connsiteX21" fmla="*/ 0 w 17637"/>
                <a:gd name="connsiteY21" fmla="*/ 6765 h 32632"/>
                <a:gd name="connsiteX22" fmla="*/ 2690 w 17637"/>
                <a:gd name="connsiteY22" fmla="*/ 12337 h 32632"/>
                <a:gd name="connsiteX23" fmla="*/ 2093 w 17637"/>
                <a:gd name="connsiteY23" fmla="*/ 13530 h 32632"/>
                <a:gd name="connsiteX24" fmla="*/ 1794 w 17637"/>
                <a:gd name="connsiteY24" fmla="*/ 14824 h 32632"/>
                <a:gd name="connsiteX25" fmla="*/ 3089 w 17637"/>
                <a:gd name="connsiteY25" fmla="*/ 19102 h 32632"/>
                <a:gd name="connsiteX26" fmla="*/ 4683 w 17637"/>
                <a:gd name="connsiteY26" fmla="*/ 24076 h 32632"/>
                <a:gd name="connsiteX27" fmla="*/ 6676 w 17637"/>
                <a:gd name="connsiteY27" fmla="*/ 27160 h 32632"/>
                <a:gd name="connsiteX28" fmla="*/ 8370 w 17637"/>
                <a:gd name="connsiteY28" fmla="*/ 29448 h 32632"/>
                <a:gd name="connsiteX29" fmla="*/ 8071 w 17637"/>
                <a:gd name="connsiteY29" fmla="*/ 30642 h 32632"/>
                <a:gd name="connsiteX30" fmla="*/ 9566 w 17637"/>
                <a:gd name="connsiteY30" fmla="*/ 31239 h 32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637" h="32632">
                  <a:moveTo>
                    <a:pt x="9566" y="31239"/>
                  </a:moveTo>
                  <a:lnTo>
                    <a:pt x="13552" y="31737"/>
                  </a:lnTo>
                  <a:lnTo>
                    <a:pt x="15544" y="32135"/>
                  </a:lnTo>
                  <a:lnTo>
                    <a:pt x="17039" y="32632"/>
                  </a:lnTo>
                  <a:lnTo>
                    <a:pt x="17637" y="30145"/>
                  </a:lnTo>
                  <a:lnTo>
                    <a:pt x="16541" y="27857"/>
                  </a:lnTo>
                  <a:lnTo>
                    <a:pt x="16342" y="26364"/>
                  </a:lnTo>
                  <a:lnTo>
                    <a:pt x="14548" y="22683"/>
                  </a:lnTo>
                  <a:lnTo>
                    <a:pt x="12854" y="20594"/>
                  </a:lnTo>
                  <a:lnTo>
                    <a:pt x="12057" y="19798"/>
                  </a:lnTo>
                  <a:lnTo>
                    <a:pt x="10064" y="15918"/>
                  </a:lnTo>
                  <a:lnTo>
                    <a:pt x="8470" y="14028"/>
                  </a:lnTo>
                  <a:lnTo>
                    <a:pt x="6975" y="11043"/>
                  </a:lnTo>
                  <a:lnTo>
                    <a:pt x="5779" y="8059"/>
                  </a:lnTo>
                  <a:lnTo>
                    <a:pt x="4783" y="6765"/>
                  </a:lnTo>
                  <a:lnTo>
                    <a:pt x="3986" y="5372"/>
                  </a:lnTo>
                  <a:lnTo>
                    <a:pt x="2591" y="3582"/>
                  </a:lnTo>
                  <a:lnTo>
                    <a:pt x="2292" y="1691"/>
                  </a:lnTo>
                  <a:lnTo>
                    <a:pt x="1395" y="199"/>
                  </a:lnTo>
                  <a:lnTo>
                    <a:pt x="598" y="0"/>
                  </a:lnTo>
                  <a:lnTo>
                    <a:pt x="399" y="2089"/>
                  </a:lnTo>
                  <a:lnTo>
                    <a:pt x="0" y="6765"/>
                  </a:lnTo>
                  <a:lnTo>
                    <a:pt x="2690" y="12337"/>
                  </a:lnTo>
                  <a:lnTo>
                    <a:pt x="2093" y="13530"/>
                  </a:lnTo>
                  <a:lnTo>
                    <a:pt x="1794" y="14824"/>
                  </a:lnTo>
                  <a:lnTo>
                    <a:pt x="3089" y="19102"/>
                  </a:lnTo>
                  <a:lnTo>
                    <a:pt x="4683" y="24076"/>
                  </a:lnTo>
                  <a:lnTo>
                    <a:pt x="6676" y="27160"/>
                  </a:lnTo>
                  <a:lnTo>
                    <a:pt x="8370" y="29448"/>
                  </a:lnTo>
                  <a:lnTo>
                    <a:pt x="8071" y="30642"/>
                  </a:lnTo>
                  <a:lnTo>
                    <a:pt x="9566" y="3123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5" name="Freeform: Shape 1214">
              <a:extLst>
                <a:ext uri="{FF2B5EF4-FFF2-40B4-BE49-F238E27FC236}">
                  <a16:creationId xmlns:a16="http://schemas.microsoft.com/office/drawing/2014/main" id="{18728F91-993A-4A47-9BBF-F35F185EEE68}"/>
                </a:ext>
              </a:extLst>
            </p:cNvPr>
            <p:cNvSpPr/>
            <p:nvPr/>
          </p:nvSpPr>
          <p:spPr>
            <a:xfrm>
              <a:off x="-456637" y="4220988"/>
              <a:ext cx="5679" cy="7361"/>
            </a:xfrm>
            <a:custGeom>
              <a:avLst/>
              <a:gdLst>
                <a:gd name="connsiteX0" fmla="*/ 3388 w 5679"/>
                <a:gd name="connsiteY0" fmla="*/ 5671 h 7361"/>
                <a:gd name="connsiteX1" fmla="*/ 3786 w 5679"/>
                <a:gd name="connsiteY1" fmla="*/ 3283 h 7361"/>
                <a:gd name="connsiteX2" fmla="*/ 4982 w 5679"/>
                <a:gd name="connsiteY2" fmla="*/ 1293 h 7361"/>
                <a:gd name="connsiteX3" fmla="*/ 5680 w 5679"/>
                <a:gd name="connsiteY3" fmla="*/ 597 h 7361"/>
                <a:gd name="connsiteX4" fmla="*/ 5480 w 5679"/>
                <a:gd name="connsiteY4" fmla="*/ 0 h 7361"/>
                <a:gd name="connsiteX5" fmla="*/ 4783 w 5679"/>
                <a:gd name="connsiteY5" fmla="*/ 796 h 7361"/>
                <a:gd name="connsiteX6" fmla="*/ 3687 w 5679"/>
                <a:gd name="connsiteY6" fmla="*/ 895 h 7361"/>
                <a:gd name="connsiteX7" fmla="*/ 2391 w 5679"/>
                <a:gd name="connsiteY7" fmla="*/ 895 h 7361"/>
                <a:gd name="connsiteX8" fmla="*/ 199 w 5679"/>
                <a:gd name="connsiteY8" fmla="*/ 3383 h 7361"/>
                <a:gd name="connsiteX9" fmla="*/ 0 w 5679"/>
                <a:gd name="connsiteY9" fmla="*/ 4776 h 7361"/>
                <a:gd name="connsiteX10" fmla="*/ 498 w 5679"/>
                <a:gd name="connsiteY10" fmla="*/ 6367 h 7361"/>
                <a:gd name="connsiteX11" fmla="*/ 598 w 5679"/>
                <a:gd name="connsiteY11" fmla="*/ 7263 h 7361"/>
                <a:gd name="connsiteX12" fmla="*/ 1794 w 5679"/>
                <a:gd name="connsiteY12" fmla="*/ 7362 h 7361"/>
                <a:gd name="connsiteX13" fmla="*/ 2591 w 5679"/>
                <a:gd name="connsiteY13" fmla="*/ 6666 h 7361"/>
                <a:gd name="connsiteX14" fmla="*/ 3388 w 5679"/>
                <a:gd name="connsiteY14" fmla="*/ 5671 h 7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679" h="7361">
                  <a:moveTo>
                    <a:pt x="3388" y="5671"/>
                  </a:moveTo>
                  <a:lnTo>
                    <a:pt x="3786" y="3283"/>
                  </a:lnTo>
                  <a:lnTo>
                    <a:pt x="4982" y="1293"/>
                  </a:lnTo>
                  <a:lnTo>
                    <a:pt x="5680" y="597"/>
                  </a:lnTo>
                  <a:lnTo>
                    <a:pt x="5480" y="0"/>
                  </a:lnTo>
                  <a:lnTo>
                    <a:pt x="4783" y="796"/>
                  </a:lnTo>
                  <a:lnTo>
                    <a:pt x="3687" y="895"/>
                  </a:lnTo>
                  <a:lnTo>
                    <a:pt x="2391" y="895"/>
                  </a:lnTo>
                  <a:lnTo>
                    <a:pt x="199" y="3383"/>
                  </a:lnTo>
                  <a:lnTo>
                    <a:pt x="0" y="4776"/>
                  </a:lnTo>
                  <a:lnTo>
                    <a:pt x="498" y="6367"/>
                  </a:lnTo>
                  <a:lnTo>
                    <a:pt x="598" y="7263"/>
                  </a:lnTo>
                  <a:lnTo>
                    <a:pt x="1794" y="7362"/>
                  </a:lnTo>
                  <a:lnTo>
                    <a:pt x="2591" y="6666"/>
                  </a:lnTo>
                  <a:lnTo>
                    <a:pt x="3388" y="567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6" name="Freeform: Shape 1215">
              <a:extLst>
                <a:ext uri="{FF2B5EF4-FFF2-40B4-BE49-F238E27FC236}">
                  <a16:creationId xmlns:a16="http://schemas.microsoft.com/office/drawing/2014/main" id="{264653BB-40A3-461F-AF72-9B944BD434A2}"/>
                </a:ext>
              </a:extLst>
            </p:cNvPr>
            <p:cNvSpPr/>
            <p:nvPr/>
          </p:nvSpPr>
          <p:spPr>
            <a:xfrm>
              <a:off x="-438003" y="4285655"/>
              <a:ext cx="3288" cy="3979"/>
            </a:xfrm>
            <a:custGeom>
              <a:avLst/>
              <a:gdLst>
                <a:gd name="connsiteX0" fmla="*/ 2192 w 3288"/>
                <a:gd name="connsiteY0" fmla="*/ 0 h 3979"/>
                <a:gd name="connsiteX1" fmla="*/ 1594 w 3288"/>
                <a:gd name="connsiteY1" fmla="*/ 498 h 3979"/>
                <a:gd name="connsiteX2" fmla="*/ 100 w 3288"/>
                <a:gd name="connsiteY2" fmla="*/ 1592 h 3979"/>
                <a:gd name="connsiteX3" fmla="*/ 0 w 3288"/>
                <a:gd name="connsiteY3" fmla="*/ 1990 h 3979"/>
                <a:gd name="connsiteX4" fmla="*/ 797 w 3288"/>
                <a:gd name="connsiteY4" fmla="*/ 3084 h 3979"/>
                <a:gd name="connsiteX5" fmla="*/ 1594 w 3288"/>
                <a:gd name="connsiteY5" fmla="*/ 2985 h 3979"/>
                <a:gd name="connsiteX6" fmla="*/ 2391 w 3288"/>
                <a:gd name="connsiteY6" fmla="*/ 2985 h 3979"/>
                <a:gd name="connsiteX7" fmla="*/ 2391 w 3288"/>
                <a:gd name="connsiteY7" fmla="*/ 3880 h 3979"/>
                <a:gd name="connsiteX8" fmla="*/ 3189 w 3288"/>
                <a:gd name="connsiteY8" fmla="*/ 3979 h 3979"/>
                <a:gd name="connsiteX9" fmla="*/ 3288 w 3288"/>
                <a:gd name="connsiteY9" fmla="*/ 3283 h 3979"/>
                <a:gd name="connsiteX10" fmla="*/ 2790 w 3288"/>
                <a:gd name="connsiteY10" fmla="*/ 2388 h 3979"/>
                <a:gd name="connsiteX11" fmla="*/ 2491 w 3288"/>
                <a:gd name="connsiteY11" fmla="*/ 1890 h 3979"/>
                <a:gd name="connsiteX12" fmla="*/ 2790 w 3288"/>
                <a:gd name="connsiteY12" fmla="*/ 398 h 3979"/>
                <a:gd name="connsiteX13" fmla="*/ 2192 w 3288"/>
                <a:gd name="connsiteY13" fmla="*/ 0 h 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88" h="3979">
                  <a:moveTo>
                    <a:pt x="2192" y="0"/>
                  </a:moveTo>
                  <a:lnTo>
                    <a:pt x="1594" y="498"/>
                  </a:lnTo>
                  <a:lnTo>
                    <a:pt x="100" y="1592"/>
                  </a:lnTo>
                  <a:lnTo>
                    <a:pt x="0" y="1990"/>
                  </a:lnTo>
                  <a:lnTo>
                    <a:pt x="797" y="3084"/>
                  </a:lnTo>
                  <a:lnTo>
                    <a:pt x="1594" y="2985"/>
                  </a:lnTo>
                  <a:lnTo>
                    <a:pt x="2391" y="2985"/>
                  </a:lnTo>
                  <a:lnTo>
                    <a:pt x="2391" y="3880"/>
                  </a:lnTo>
                  <a:lnTo>
                    <a:pt x="3189" y="3979"/>
                  </a:lnTo>
                  <a:lnTo>
                    <a:pt x="3288" y="3283"/>
                  </a:lnTo>
                  <a:lnTo>
                    <a:pt x="2790" y="2388"/>
                  </a:lnTo>
                  <a:lnTo>
                    <a:pt x="2491" y="1890"/>
                  </a:lnTo>
                  <a:lnTo>
                    <a:pt x="2790" y="398"/>
                  </a:lnTo>
                  <a:lnTo>
                    <a:pt x="2192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7" name="Freeform: Shape 1216">
              <a:extLst>
                <a:ext uri="{FF2B5EF4-FFF2-40B4-BE49-F238E27FC236}">
                  <a16:creationId xmlns:a16="http://schemas.microsoft.com/office/drawing/2014/main" id="{85405D03-5EAA-4066-A783-745BE1FF7B4F}"/>
                </a:ext>
              </a:extLst>
            </p:cNvPr>
            <p:cNvSpPr/>
            <p:nvPr/>
          </p:nvSpPr>
          <p:spPr>
            <a:xfrm>
              <a:off x="-416281" y="4320476"/>
              <a:ext cx="16242" cy="26165"/>
            </a:xfrm>
            <a:custGeom>
              <a:avLst/>
              <a:gdLst>
                <a:gd name="connsiteX0" fmla="*/ 15644 w 16242"/>
                <a:gd name="connsiteY0" fmla="*/ 18206 h 26165"/>
                <a:gd name="connsiteX1" fmla="*/ 16242 w 16242"/>
                <a:gd name="connsiteY1" fmla="*/ 16615 h 26165"/>
                <a:gd name="connsiteX2" fmla="*/ 15146 w 16242"/>
                <a:gd name="connsiteY2" fmla="*/ 15620 h 26165"/>
                <a:gd name="connsiteX3" fmla="*/ 14349 w 16242"/>
                <a:gd name="connsiteY3" fmla="*/ 14028 h 26165"/>
                <a:gd name="connsiteX4" fmla="*/ 13950 w 16242"/>
                <a:gd name="connsiteY4" fmla="*/ 12038 h 26165"/>
                <a:gd name="connsiteX5" fmla="*/ 12754 w 16242"/>
                <a:gd name="connsiteY5" fmla="*/ 11839 h 26165"/>
                <a:gd name="connsiteX6" fmla="*/ 11459 w 16242"/>
                <a:gd name="connsiteY6" fmla="*/ 10247 h 26165"/>
                <a:gd name="connsiteX7" fmla="*/ 8868 w 16242"/>
                <a:gd name="connsiteY7" fmla="*/ 8258 h 26165"/>
                <a:gd name="connsiteX8" fmla="*/ 6577 w 16242"/>
                <a:gd name="connsiteY8" fmla="*/ 8058 h 26165"/>
                <a:gd name="connsiteX9" fmla="*/ 6975 w 16242"/>
                <a:gd name="connsiteY9" fmla="*/ 6069 h 26165"/>
                <a:gd name="connsiteX10" fmla="*/ 6577 w 16242"/>
                <a:gd name="connsiteY10" fmla="*/ 4676 h 26165"/>
                <a:gd name="connsiteX11" fmla="*/ 5182 w 16242"/>
                <a:gd name="connsiteY11" fmla="*/ 3283 h 26165"/>
                <a:gd name="connsiteX12" fmla="*/ 4484 w 16242"/>
                <a:gd name="connsiteY12" fmla="*/ 2189 h 26165"/>
                <a:gd name="connsiteX13" fmla="*/ 3687 w 16242"/>
                <a:gd name="connsiteY13" fmla="*/ 498 h 26165"/>
                <a:gd name="connsiteX14" fmla="*/ 2292 w 16242"/>
                <a:gd name="connsiteY14" fmla="*/ 0 h 26165"/>
                <a:gd name="connsiteX15" fmla="*/ 1893 w 16242"/>
                <a:gd name="connsiteY15" fmla="*/ 1293 h 26165"/>
                <a:gd name="connsiteX16" fmla="*/ 0 w 16242"/>
                <a:gd name="connsiteY16" fmla="*/ 2885 h 26165"/>
                <a:gd name="connsiteX17" fmla="*/ 399 w 16242"/>
                <a:gd name="connsiteY17" fmla="*/ 3880 h 26165"/>
                <a:gd name="connsiteX18" fmla="*/ 1594 w 16242"/>
                <a:gd name="connsiteY18" fmla="*/ 4377 h 26165"/>
                <a:gd name="connsiteX19" fmla="*/ 997 w 16242"/>
                <a:gd name="connsiteY19" fmla="*/ 5472 h 26165"/>
                <a:gd name="connsiteX20" fmla="*/ 1295 w 16242"/>
                <a:gd name="connsiteY20" fmla="*/ 6467 h 26165"/>
                <a:gd name="connsiteX21" fmla="*/ 2690 w 16242"/>
                <a:gd name="connsiteY21" fmla="*/ 6168 h 26165"/>
                <a:gd name="connsiteX22" fmla="*/ 2491 w 16242"/>
                <a:gd name="connsiteY22" fmla="*/ 7661 h 26165"/>
                <a:gd name="connsiteX23" fmla="*/ 3886 w 16242"/>
                <a:gd name="connsiteY23" fmla="*/ 8456 h 26165"/>
                <a:gd name="connsiteX24" fmla="*/ 4982 w 16242"/>
                <a:gd name="connsiteY24" fmla="*/ 8258 h 26165"/>
                <a:gd name="connsiteX25" fmla="*/ 4185 w 16242"/>
                <a:gd name="connsiteY25" fmla="*/ 9153 h 26165"/>
                <a:gd name="connsiteX26" fmla="*/ 2491 w 16242"/>
                <a:gd name="connsiteY26" fmla="*/ 9849 h 26165"/>
                <a:gd name="connsiteX27" fmla="*/ 2392 w 16242"/>
                <a:gd name="connsiteY27" fmla="*/ 10944 h 26165"/>
                <a:gd name="connsiteX28" fmla="*/ 3488 w 16242"/>
                <a:gd name="connsiteY28" fmla="*/ 11739 h 26165"/>
                <a:gd name="connsiteX29" fmla="*/ 2989 w 16242"/>
                <a:gd name="connsiteY29" fmla="*/ 12834 h 26165"/>
                <a:gd name="connsiteX30" fmla="*/ 3388 w 16242"/>
                <a:gd name="connsiteY30" fmla="*/ 14923 h 26165"/>
                <a:gd name="connsiteX31" fmla="*/ 3886 w 16242"/>
                <a:gd name="connsiteY31" fmla="*/ 16117 h 26165"/>
                <a:gd name="connsiteX32" fmla="*/ 4883 w 16242"/>
                <a:gd name="connsiteY32" fmla="*/ 16813 h 26165"/>
                <a:gd name="connsiteX33" fmla="*/ 5979 w 16242"/>
                <a:gd name="connsiteY33" fmla="*/ 17410 h 26165"/>
                <a:gd name="connsiteX34" fmla="*/ 6178 w 16242"/>
                <a:gd name="connsiteY34" fmla="*/ 18206 h 26165"/>
                <a:gd name="connsiteX35" fmla="*/ 6975 w 16242"/>
                <a:gd name="connsiteY35" fmla="*/ 18306 h 26165"/>
                <a:gd name="connsiteX36" fmla="*/ 7174 w 16242"/>
                <a:gd name="connsiteY36" fmla="*/ 19002 h 26165"/>
                <a:gd name="connsiteX37" fmla="*/ 5082 w 16242"/>
                <a:gd name="connsiteY37" fmla="*/ 19798 h 26165"/>
                <a:gd name="connsiteX38" fmla="*/ 5480 w 16242"/>
                <a:gd name="connsiteY38" fmla="*/ 20892 h 26165"/>
                <a:gd name="connsiteX39" fmla="*/ 5680 w 16242"/>
                <a:gd name="connsiteY39" fmla="*/ 22186 h 26165"/>
                <a:gd name="connsiteX40" fmla="*/ 6676 w 16242"/>
                <a:gd name="connsiteY40" fmla="*/ 21191 h 26165"/>
                <a:gd name="connsiteX41" fmla="*/ 7673 w 16242"/>
                <a:gd name="connsiteY41" fmla="*/ 21390 h 26165"/>
                <a:gd name="connsiteX42" fmla="*/ 8470 w 16242"/>
                <a:gd name="connsiteY42" fmla="*/ 22186 h 26165"/>
                <a:gd name="connsiteX43" fmla="*/ 7972 w 16242"/>
                <a:gd name="connsiteY43" fmla="*/ 23778 h 26165"/>
                <a:gd name="connsiteX44" fmla="*/ 8470 w 16242"/>
                <a:gd name="connsiteY44" fmla="*/ 24673 h 26165"/>
                <a:gd name="connsiteX45" fmla="*/ 8569 w 16242"/>
                <a:gd name="connsiteY45" fmla="*/ 25966 h 26165"/>
                <a:gd name="connsiteX46" fmla="*/ 11260 w 16242"/>
                <a:gd name="connsiteY46" fmla="*/ 26165 h 26165"/>
                <a:gd name="connsiteX47" fmla="*/ 11758 w 16242"/>
                <a:gd name="connsiteY47" fmla="*/ 23877 h 26165"/>
                <a:gd name="connsiteX48" fmla="*/ 12456 w 16242"/>
                <a:gd name="connsiteY48" fmla="*/ 22584 h 26165"/>
                <a:gd name="connsiteX49" fmla="*/ 13651 w 16242"/>
                <a:gd name="connsiteY49" fmla="*/ 21788 h 26165"/>
                <a:gd name="connsiteX50" fmla="*/ 13053 w 16242"/>
                <a:gd name="connsiteY50" fmla="*/ 19798 h 26165"/>
                <a:gd name="connsiteX51" fmla="*/ 13851 w 16242"/>
                <a:gd name="connsiteY51" fmla="*/ 18505 h 26165"/>
                <a:gd name="connsiteX52" fmla="*/ 15644 w 16242"/>
                <a:gd name="connsiteY52" fmla="*/ 18206 h 2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6242" h="26165">
                  <a:moveTo>
                    <a:pt x="15644" y="18206"/>
                  </a:moveTo>
                  <a:lnTo>
                    <a:pt x="16242" y="16615"/>
                  </a:lnTo>
                  <a:lnTo>
                    <a:pt x="15146" y="15620"/>
                  </a:lnTo>
                  <a:lnTo>
                    <a:pt x="14349" y="14028"/>
                  </a:lnTo>
                  <a:lnTo>
                    <a:pt x="13950" y="12038"/>
                  </a:lnTo>
                  <a:lnTo>
                    <a:pt x="12754" y="11839"/>
                  </a:lnTo>
                  <a:lnTo>
                    <a:pt x="11459" y="10247"/>
                  </a:lnTo>
                  <a:lnTo>
                    <a:pt x="8868" y="8258"/>
                  </a:lnTo>
                  <a:lnTo>
                    <a:pt x="6577" y="8058"/>
                  </a:lnTo>
                  <a:lnTo>
                    <a:pt x="6975" y="6069"/>
                  </a:lnTo>
                  <a:lnTo>
                    <a:pt x="6577" y="4676"/>
                  </a:lnTo>
                  <a:lnTo>
                    <a:pt x="5182" y="3283"/>
                  </a:lnTo>
                  <a:lnTo>
                    <a:pt x="4484" y="2189"/>
                  </a:lnTo>
                  <a:lnTo>
                    <a:pt x="3687" y="498"/>
                  </a:lnTo>
                  <a:lnTo>
                    <a:pt x="2292" y="0"/>
                  </a:lnTo>
                  <a:lnTo>
                    <a:pt x="1893" y="1293"/>
                  </a:lnTo>
                  <a:lnTo>
                    <a:pt x="0" y="2885"/>
                  </a:lnTo>
                  <a:lnTo>
                    <a:pt x="399" y="3880"/>
                  </a:lnTo>
                  <a:lnTo>
                    <a:pt x="1594" y="4377"/>
                  </a:lnTo>
                  <a:lnTo>
                    <a:pt x="997" y="5472"/>
                  </a:lnTo>
                  <a:lnTo>
                    <a:pt x="1295" y="6467"/>
                  </a:lnTo>
                  <a:lnTo>
                    <a:pt x="2690" y="6168"/>
                  </a:lnTo>
                  <a:lnTo>
                    <a:pt x="2491" y="7661"/>
                  </a:lnTo>
                  <a:lnTo>
                    <a:pt x="3886" y="8456"/>
                  </a:lnTo>
                  <a:lnTo>
                    <a:pt x="4982" y="8258"/>
                  </a:lnTo>
                  <a:lnTo>
                    <a:pt x="4185" y="9153"/>
                  </a:lnTo>
                  <a:lnTo>
                    <a:pt x="2491" y="9849"/>
                  </a:lnTo>
                  <a:lnTo>
                    <a:pt x="2392" y="10944"/>
                  </a:lnTo>
                  <a:lnTo>
                    <a:pt x="3488" y="11739"/>
                  </a:lnTo>
                  <a:lnTo>
                    <a:pt x="2989" y="12834"/>
                  </a:lnTo>
                  <a:lnTo>
                    <a:pt x="3388" y="14923"/>
                  </a:lnTo>
                  <a:lnTo>
                    <a:pt x="3886" y="16117"/>
                  </a:lnTo>
                  <a:lnTo>
                    <a:pt x="4883" y="16813"/>
                  </a:lnTo>
                  <a:lnTo>
                    <a:pt x="5979" y="17410"/>
                  </a:lnTo>
                  <a:lnTo>
                    <a:pt x="6178" y="18206"/>
                  </a:lnTo>
                  <a:lnTo>
                    <a:pt x="6975" y="18306"/>
                  </a:lnTo>
                  <a:lnTo>
                    <a:pt x="7174" y="19002"/>
                  </a:lnTo>
                  <a:lnTo>
                    <a:pt x="5082" y="19798"/>
                  </a:lnTo>
                  <a:lnTo>
                    <a:pt x="5480" y="20892"/>
                  </a:lnTo>
                  <a:lnTo>
                    <a:pt x="5680" y="22186"/>
                  </a:lnTo>
                  <a:lnTo>
                    <a:pt x="6676" y="21191"/>
                  </a:lnTo>
                  <a:lnTo>
                    <a:pt x="7673" y="21390"/>
                  </a:lnTo>
                  <a:lnTo>
                    <a:pt x="8470" y="22186"/>
                  </a:lnTo>
                  <a:lnTo>
                    <a:pt x="7972" y="23778"/>
                  </a:lnTo>
                  <a:lnTo>
                    <a:pt x="8470" y="24673"/>
                  </a:lnTo>
                  <a:lnTo>
                    <a:pt x="8569" y="25966"/>
                  </a:lnTo>
                  <a:lnTo>
                    <a:pt x="11260" y="26165"/>
                  </a:lnTo>
                  <a:lnTo>
                    <a:pt x="11758" y="23877"/>
                  </a:lnTo>
                  <a:lnTo>
                    <a:pt x="12456" y="22584"/>
                  </a:lnTo>
                  <a:lnTo>
                    <a:pt x="13651" y="21788"/>
                  </a:lnTo>
                  <a:lnTo>
                    <a:pt x="13053" y="19798"/>
                  </a:lnTo>
                  <a:lnTo>
                    <a:pt x="13851" y="18505"/>
                  </a:lnTo>
                  <a:lnTo>
                    <a:pt x="15644" y="1820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8" name="Freeform: Shape 1217">
              <a:extLst>
                <a:ext uri="{FF2B5EF4-FFF2-40B4-BE49-F238E27FC236}">
                  <a16:creationId xmlns:a16="http://schemas.microsoft.com/office/drawing/2014/main" id="{44D5CC23-12F6-4926-9FB4-2664AA7C6736}"/>
                </a:ext>
              </a:extLst>
            </p:cNvPr>
            <p:cNvSpPr/>
            <p:nvPr/>
          </p:nvSpPr>
          <p:spPr>
            <a:xfrm>
              <a:off x="-519911" y="4115930"/>
              <a:ext cx="22419" cy="37208"/>
            </a:xfrm>
            <a:custGeom>
              <a:avLst/>
              <a:gdLst>
                <a:gd name="connsiteX0" fmla="*/ 22420 w 22419"/>
                <a:gd name="connsiteY0" fmla="*/ 0 h 37208"/>
                <a:gd name="connsiteX1" fmla="*/ 20128 w 22419"/>
                <a:gd name="connsiteY1" fmla="*/ 398 h 37208"/>
                <a:gd name="connsiteX2" fmla="*/ 19530 w 22419"/>
                <a:gd name="connsiteY2" fmla="*/ 1592 h 37208"/>
                <a:gd name="connsiteX3" fmla="*/ 16441 w 22419"/>
                <a:gd name="connsiteY3" fmla="*/ 2487 h 37208"/>
                <a:gd name="connsiteX4" fmla="*/ 14349 w 22419"/>
                <a:gd name="connsiteY4" fmla="*/ 1492 h 37208"/>
                <a:gd name="connsiteX5" fmla="*/ 13352 w 22419"/>
                <a:gd name="connsiteY5" fmla="*/ 497 h 37208"/>
                <a:gd name="connsiteX6" fmla="*/ 12256 w 22419"/>
                <a:gd name="connsiteY6" fmla="*/ 1194 h 37208"/>
                <a:gd name="connsiteX7" fmla="*/ 12555 w 22419"/>
                <a:gd name="connsiteY7" fmla="*/ 2686 h 37208"/>
                <a:gd name="connsiteX8" fmla="*/ 9068 w 22419"/>
                <a:gd name="connsiteY8" fmla="*/ 3681 h 37208"/>
                <a:gd name="connsiteX9" fmla="*/ 7274 w 22419"/>
                <a:gd name="connsiteY9" fmla="*/ 3979 h 37208"/>
                <a:gd name="connsiteX10" fmla="*/ 7274 w 22419"/>
                <a:gd name="connsiteY10" fmla="*/ 5074 h 37208"/>
                <a:gd name="connsiteX11" fmla="*/ 8171 w 22419"/>
                <a:gd name="connsiteY11" fmla="*/ 6765 h 37208"/>
                <a:gd name="connsiteX12" fmla="*/ 7772 w 22419"/>
                <a:gd name="connsiteY12" fmla="*/ 9650 h 37208"/>
                <a:gd name="connsiteX13" fmla="*/ 8071 w 22419"/>
                <a:gd name="connsiteY13" fmla="*/ 11739 h 37208"/>
                <a:gd name="connsiteX14" fmla="*/ 7374 w 22419"/>
                <a:gd name="connsiteY14" fmla="*/ 12933 h 37208"/>
                <a:gd name="connsiteX15" fmla="*/ 5680 w 22419"/>
                <a:gd name="connsiteY15" fmla="*/ 14127 h 37208"/>
                <a:gd name="connsiteX16" fmla="*/ 4584 w 22419"/>
                <a:gd name="connsiteY16" fmla="*/ 16216 h 37208"/>
                <a:gd name="connsiteX17" fmla="*/ 4085 w 22419"/>
                <a:gd name="connsiteY17" fmla="*/ 18007 h 37208"/>
                <a:gd name="connsiteX18" fmla="*/ 2790 w 22419"/>
                <a:gd name="connsiteY18" fmla="*/ 19798 h 37208"/>
                <a:gd name="connsiteX19" fmla="*/ 2989 w 22419"/>
                <a:gd name="connsiteY19" fmla="*/ 21489 h 37208"/>
                <a:gd name="connsiteX20" fmla="*/ 1794 w 22419"/>
                <a:gd name="connsiteY20" fmla="*/ 25966 h 37208"/>
                <a:gd name="connsiteX21" fmla="*/ 1893 w 22419"/>
                <a:gd name="connsiteY21" fmla="*/ 27757 h 37208"/>
                <a:gd name="connsiteX22" fmla="*/ 199 w 22419"/>
                <a:gd name="connsiteY22" fmla="*/ 30543 h 37208"/>
                <a:gd name="connsiteX23" fmla="*/ 0 w 22419"/>
                <a:gd name="connsiteY23" fmla="*/ 31737 h 37208"/>
                <a:gd name="connsiteX24" fmla="*/ 399 w 22419"/>
                <a:gd name="connsiteY24" fmla="*/ 33428 h 37208"/>
                <a:gd name="connsiteX25" fmla="*/ 299 w 22419"/>
                <a:gd name="connsiteY25" fmla="*/ 34423 h 37208"/>
                <a:gd name="connsiteX26" fmla="*/ 1694 w 22419"/>
                <a:gd name="connsiteY26" fmla="*/ 35318 h 37208"/>
                <a:gd name="connsiteX27" fmla="*/ 2491 w 22419"/>
                <a:gd name="connsiteY27" fmla="*/ 35517 h 37208"/>
                <a:gd name="connsiteX28" fmla="*/ 3587 w 22419"/>
                <a:gd name="connsiteY28" fmla="*/ 37208 h 37208"/>
                <a:gd name="connsiteX29" fmla="*/ 4085 w 22419"/>
                <a:gd name="connsiteY29" fmla="*/ 36214 h 37208"/>
                <a:gd name="connsiteX30" fmla="*/ 3886 w 22419"/>
                <a:gd name="connsiteY30" fmla="*/ 34224 h 37208"/>
                <a:gd name="connsiteX31" fmla="*/ 3687 w 22419"/>
                <a:gd name="connsiteY31" fmla="*/ 31438 h 37208"/>
                <a:gd name="connsiteX32" fmla="*/ 4484 w 22419"/>
                <a:gd name="connsiteY32" fmla="*/ 29846 h 37208"/>
                <a:gd name="connsiteX33" fmla="*/ 5680 w 22419"/>
                <a:gd name="connsiteY33" fmla="*/ 29846 h 37208"/>
                <a:gd name="connsiteX34" fmla="*/ 6577 w 22419"/>
                <a:gd name="connsiteY34" fmla="*/ 28354 h 37208"/>
                <a:gd name="connsiteX35" fmla="*/ 6278 w 22419"/>
                <a:gd name="connsiteY35" fmla="*/ 26364 h 37208"/>
                <a:gd name="connsiteX36" fmla="*/ 6975 w 22419"/>
                <a:gd name="connsiteY36" fmla="*/ 24175 h 37208"/>
                <a:gd name="connsiteX37" fmla="*/ 6676 w 22419"/>
                <a:gd name="connsiteY37" fmla="*/ 23479 h 37208"/>
                <a:gd name="connsiteX38" fmla="*/ 7673 w 22419"/>
                <a:gd name="connsiteY38" fmla="*/ 21987 h 37208"/>
                <a:gd name="connsiteX39" fmla="*/ 10064 w 22419"/>
                <a:gd name="connsiteY39" fmla="*/ 19201 h 37208"/>
                <a:gd name="connsiteX40" fmla="*/ 11658 w 22419"/>
                <a:gd name="connsiteY40" fmla="*/ 16515 h 37208"/>
                <a:gd name="connsiteX41" fmla="*/ 12954 w 22419"/>
                <a:gd name="connsiteY41" fmla="*/ 15222 h 37208"/>
                <a:gd name="connsiteX42" fmla="*/ 14249 w 22419"/>
                <a:gd name="connsiteY42" fmla="*/ 13232 h 37208"/>
                <a:gd name="connsiteX43" fmla="*/ 14448 w 22419"/>
                <a:gd name="connsiteY43" fmla="*/ 11839 h 37208"/>
                <a:gd name="connsiteX44" fmla="*/ 14349 w 22419"/>
                <a:gd name="connsiteY44" fmla="*/ 11043 h 37208"/>
                <a:gd name="connsiteX45" fmla="*/ 15345 w 22419"/>
                <a:gd name="connsiteY45" fmla="*/ 10446 h 37208"/>
                <a:gd name="connsiteX46" fmla="*/ 16740 w 22419"/>
                <a:gd name="connsiteY46" fmla="*/ 10446 h 37208"/>
                <a:gd name="connsiteX47" fmla="*/ 17637 w 22419"/>
                <a:gd name="connsiteY47" fmla="*/ 12038 h 37208"/>
                <a:gd name="connsiteX48" fmla="*/ 18534 w 22419"/>
                <a:gd name="connsiteY48" fmla="*/ 12436 h 37208"/>
                <a:gd name="connsiteX49" fmla="*/ 19530 w 22419"/>
                <a:gd name="connsiteY49" fmla="*/ 13829 h 37208"/>
                <a:gd name="connsiteX50" fmla="*/ 20427 w 22419"/>
                <a:gd name="connsiteY50" fmla="*/ 13928 h 37208"/>
                <a:gd name="connsiteX51" fmla="*/ 21025 w 22419"/>
                <a:gd name="connsiteY51" fmla="*/ 14724 h 37208"/>
                <a:gd name="connsiteX52" fmla="*/ 21224 w 22419"/>
                <a:gd name="connsiteY52" fmla="*/ 13829 h 37208"/>
                <a:gd name="connsiteX53" fmla="*/ 21324 w 22419"/>
                <a:gd name="connsiteY53" fmla="*/ 12336 h 37208"/>
                <a:gd name="connsiteX54" fmla="*/ 20527 w 22419"/>
                <a:gd name="connsiteY54" fmla="*/ 11839 h 37208"/>
                <a:gd name="connsiteX55" fmla="*/ 20626 w 22419"/>
                <a:gd name="connsiteY55" fmla="*/ 10347 h 37208"/>
                <a:gd name="connsiteX56" fmla="*/ 19231 w 22419"/>
                <a:gd name="connsiteY56" fmla="*/ 10148 h 37208"/>
                <a:gd name="connsiteX57" fmla="*/ 19132 w 22419"/>
                <a:gd name="connsiteY57" fmla="*/ 5969 h 37208"/>
                <a:gd name="connsiteX58" fmla="*/ 20527 w 22419"/>
                <a:gd name="connsiteY58" fmla="*/ 2487 h 37208"/>
                <a:gd name="connsiteX59" fmla="*/ 22420 w 22419"/>
                <a:gd name="connsiteY59" fmla="*/ 0 h 37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22419" h="37208">
                  <a:moveTo>
                    <a:pt x="22420" y="0"/>
                  </a:moveTo>
                  <a:lnTo>
                    <a:pt x="20128" y="398"/>
                  </a:lnTo>
                  <a:lnTo>
                    <a:pt x="19530" y="1592"/>
                  </a:lnTo>
                  <a:lnTo>
                    <a:pt x="16441" y="2487"/>
                  </a:lnTo>
                  <a:lnTo>
                    <a:pt x="14349" y="1492"/>
                  </a:lnTo>
                  <a:lnTo>
                    <a:pt x="13352" y="497"/>
                  </a:lnTo>
                  <a:lnTo>
                    <a:pt x="12256" y="1194"/>
                  </a:lnTo>
                  <a:lnTo>
                    <a:pt x="12555" y="2686"/>
                  </a:lnTo>
                  <a:lnTo>
                    <a:pt x="9068" y="3681"/>
                  </a:lnTo>
                  <a:lnTo>
                    <a:pt x="7274" y="3979"/>
                  </a:lnTo>
                  <a:lnTo>
                    <a:pt x="7274" y="5074"/>
                  </a:lnTo>
                  <a:lnTo>
                    <a:pt x="8171" y="6765"/>
                  </a:lnTo>
                  <a:lnTo>
                    <a:pt x="7772" y="9650"/>
                  </a:lnTo>
                  <a:lnTo>
                    <a:pt x="8071" y="11739"/>
                  </a:lnTo>
                  <a:lnTo>
                    <a:pt x="7374" y="12933"/>
                  </a:lnTo>
                  <a:lnTo>
                    <a:pt x="5680" y="14127"/>
                  </a:lnTo>
                  <a:lnTo>
                    <a:pt x="4584" y="16216"/>
                  </a:lnTo>
                  <a:lnTo>
                    <a:pt x="4085" y="18007"/>
                  </a:lnTo>
                  <a:lnTo>
                    <a:pt x="2790" y="19798"/>
                  </a:lnTo>
                  <a:lnTo>
                    <a:pt x="2989" y="21489"/>
                  </a:lnTo>
                  <a:lnTo>
                    <a:pt x="1794" y="25966"/>
                  </a:lnTo>
                  <a:lnTo>
                    <a:pt x="1893" y="27757"/>
                  </a:lnTo>
                  <a:lnTo>
                    <a:pt x="199" y="30543"/>
                  </a:lnTo>
                  <a:lnTo>
                    <a:pt x="0" y="31737"/>
                  </a:lnTo>
                  <a:lnTo>
                    <a:pt x="399" y="33428"/>
                  </a:lnTo>
                  <a:lnTo>
                    <a:pt x="299" y="34423"/>
                  </a:lnTo>
                  <a:lnTo>
                    <a:pt x="1694" y="35318"/>
                  </a:lnTo>
                  <a:lnTo>
                    <a:pt x="2491" y="35517"/>
                  </a:lnTo>
                  <a:lnTo>
                    <a:pt x="3587" y="37208"/>
                  </a:lnTo>
                  <a:lnTo>
                    <a:pt x="4085" y="36214"/>
                  </a:lnTo>
                  <a:lnTo>
                    <a:pt x="3886" y="34224"/>
                  </a:lnTo>
                  <a:lnTo>
                    <a:pt x="3687" y="31438"/>
                  </a:lnTo>
                  <a:lnTo>
                    <a:pt x="4484" y="29846"/>
                  </a:lnTo>
                  <a:lnTo>
                    <a:pt x="5680" y="29846"/>
                  </a:lnTo>
                  <a:lnTo>
                    <a:pt x="6577" y="28354"/>
                  </a:lnTo>
                  <a:lnTo>
                    <a:pt x="6278" y="26364"/>
                  </a:lnTo>
                  <a:lnTo>
                    <a:pt x="6975" y="24175"/>
                  </a:lnTo>
                  <a:lnTo>
                    <a:pt x="6676" y="23479"/>
                  </a:lnTo>
                  <a:lnTo>
                    <a:pt x="7673" y="21987"/>
                  </a:lnTo>
                  <a:lnTo>
                    <a:pt x="10064" y="19201"/>
                  </a:lnTo>
                  <a:lnTo>
                    <a:pt x="11658" y="16515"/>
                  </a:lnTo>
                  <a:lnTo>
                    <a:pt x="12954" y="15222"/>
                  </a:lnTo>
                  <a:lnTo>
                    <a:pt x="14249" y="13232"/>
                  </a:lnTo>
                  <a:lnTo>
                    <a:pt x="14448" y="11839"/>
                  </a:lnTo>
                  <a:lnTo>
                    <a:pt x="14349" y="11043"/>
                  </a:lnTo>
                  <a:lnTo>
                    <a:pt x="15345" y="10446"/>
                  </a:lnTo>
                  <a:lnTo>
                    <a:pt x="16740" y="10446"/>
                  </a:lnTo>
                  <a:lnTo>
                    <a:pt x="17637" y="12038"/>
                  </a:lnTo>
                  <a:lnTo>
                    <a:pt x="18534" y="12436"/>
                  </a:lnTo>
                  <a:lnTo>
                    <a:pt x="19530" y="13829"/>
                  </a:lnTo>
                  <a:lnTo>
                    <a:pt x="20427" y="13928"/>
                  </a:lnTo>
                  <a:lnTo>
                    <a:pt x="21025" y="14724"/>
                  </a:lnTo>
                  <a:lnTo>
                    <a:pt x="21224" y="13829"/>
                  </a:lnTo>
                  <a:lnTo>
                    <a:pt x="21324" y="12336"/>
                  </a:lnTo>
                  <a:lnTo>
                    <a:pt x="20527" y="11839"/>
                  </a:lnTo>
                  <a:lnTo>
                    <a:pt x="20626" y="10347"/>
                  </a:lnTo>
                  <a:lnTo>
                    <a:pt x="19231" y="10148"/>
                  </a:lnTo>
                  <a:lnTo>
                    <a:pt x="19132" y="5969"/>
                  </a:lnTo>
                  <a:lnTo>
                    <a:pt x="20527" y="2487"/>
                  </a:lnTo>
                  <a:lnTo>
                    <a:pt x="22420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19" name="Freeform: Shape 1218">
              <a:extLst>
                <a:ext uri="{FF2B5EF4-FFF2-40B4-BE49-F238E27FC236}">
                  <a16:creationId xmlns:a16="http://schemas.microsoft.com/office/drawing/2014/main" id="{016B6EE1-9CED-4180-9CEF-D1D354856BE2}"/>
                </a:ext>
              </a:extLst>
            </p:cNvPr>
            <p:cNvSpPr/>
            <p:nvPr/>
          </p:nvSpPr>
          <p:spPr>
            <a:xfrm>
              <a:off x="-465704" y="4165673"/>
              <a:ext cx="6576" cy="16415"/>
            </a:xfrm>
            <a:custGeom>
              <a:avLst/>
              <a:gdLst>
                <a:gd name="connsiteX0" fmla="*/ 4484 w 6576"/>
                <a:gd name="connsiteY0" fmla="*/ 2388 h 16415"/>
                <a:gd name="connsiteX1" fmla="*/ 4085 w 6576"/>
                <a:gd name="connsiteY1" fmla="*/ 0 h 16415"/>
                <a:gd name="connsiteX2" fmla="*/ 2890 w 6576"/>
                <a:gd name="connsiteY2" fmla="*/ 298 h 16415"/>
                <a:gd name="connsiteX3" fmla="*/ 1694 w 6576"/>
                <a:gd name="connsiteY3" fmla="*/ 2388 h 16415"/>
                <a:gd name="connsiteX4" fmla="*/ 299 w 6576"/>
                <a:gd name="connsiteY4" fmla="*/ 5273 h 16415"/>
                <a:gd name="connsiteX5" fmla="*/ 0 w 6576"/>
                <a:gd name="connsiteY5" fmla="*/ 9451 h 16415"/>
                <a:gd name="connsiteX6" fmla="*/ 2491 w 6576"/>
                <a:gd name="connsiteY6" fmla="*/ 15023 h 16415"/>
                <a:gd name="connsiteX7" fmla="*/ 5082 w 6576"/>
                <a:gd name="connsiteY7" fmla="*/ 16415 h 16415"/>
                <a:gd name="connsiteX8" fmla="*/ 6577 w 6576"/>
                <a:gd name="connsiteY8" fmla="*/ 15818 h 16415"/>
                <a:gd name="connsiteX9" fmla="*/ 5779 w 6576"/>
                <a:gd name="connsiteY9" fmla="*/ 8954 h 16415"/>
                <a:gd name="connsiteX10" fmla="*/ 4982 w 6576"/>
                <a:gd name="connsiteY10" fmla="*/ 5074 h 16415"/>
                <a:gd name="connsiteX11" fmla="*/ 5480 w 6576"/>
                <a:gd name="connsiteY11" fmla="*/ 2587 h 16415"/>
                <a:gd name="connsiteX12" fmla="*/ 4484 w 6576"/>
                <a:gd name="connsiteY12" fmla="*/ 2388 h 1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76" h="16415">
                  <a:moveTo>
                    <a:pt x="4484" y="2388"/>
                  </a:moveTo>
                  <a:lnTo>
                    <a:pt x="4085" y="0"/>
                  </a:lnTo>
                  <a:lnTo>
                    <a:pt x="2890" y="298"/>
                  </a:lnTo>
                  <a:lnTo>
                    <a:pt x="1694" y="2388"/>
                  </a:lnTo>
                  <a:lnTo>
                    <a:pt x="299" y="5273"/>
                  </a:lnTo>
                  <a:lnTo>
                    <a:pt x="0" y="9451"/>
                  </a:lnTo>
                  <a:lnTo>
                    <a:pt x="2491" y="15023"/>
                  </a:lnTo>
                  <a:lnTo>
                    <a:pt x="5082" y="16415"/>
                  </a:lnTo>
                  <a:lnTo>
                    <a:pt x="6577" y="15818"/>
                  </a:lnTo>
                  <a:lnTo>
                    <a:pt x="5779" y="8954"/>
                  </a:lnTo>
                  <a:lnTo>
                    <a:pt x="4982" y="5074"/>
                  </a:lnTo>
                  <a:lnTo>
                    <a:pt x="5480" y="2587"/>
                  </a:lnTo>
                  <a:lnTo>
                    <a:pt x="4484" y="238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0" name="Freeform: Shape 1219">
              <a:extLst>
                <a:ext uri="{FF2B5EF4-FFF2-40B4-BE49-F238E27FC236}">
                  <a16:creationId xmlns:a16="http://schemas.microsoft.com/office/drawing/2014/main" id="{AB70E015-C211-4DD5-8C4F-DAFC84DF2C72}"/>
                </a:ext>
              </a:extLst>
            </p:cNvPr>
            <p:cNvSpPr/>
            <p:nvPr/>
          </p:nvSpPr>
          <p:spPr>
            <a:xfrm>
              <a:off x="-497890" y="4165574"/>
              <a:ext cx="5879" cy="8556"/>
            </a:xfrm>
            <a:custGeom>
              <a:avLst/>
              <a:gdLst>
                <a:gd name="connsiteX0" fmla="*/ 1893 w 5879"/>
                <a:gd name="connsiteY0" fmla="*/ 6765 h 8556"/>
                <a:gd name="connsiteX1" fmla="*/ 3089 w 5879"/>
                <a:gd name="connsiteY1" fmla="*/ 8357 h 8556"/>
                <a:gd name="connsiteX2" fmla="*/ 3886 w 5879"/>
                <a:gd name="connsiteY2" fmla="*/ 8556 h 8556"/>
                <a:gd name="connsiteX3" fmla="*/ 4683 w 5879"/>
                <a:gd name="connsiteY3" fmla="*/ 7462 h 8556"/>
                <a:gd name="connsiteX4" fmla="*/ 5480 w 5879"/>
                <a:gd name="connsiteY4" fmla="*/ 6069 h 8556"/>
                <a:gd name="connsiteX5" fmla="*/ 5879 w 5879"/>
                <a:gd name="connsiteY5" fmla="*/ 4875 h 8556"/>
                <a:gd name="connsiteX6" fmla="*/ 5082 w 5879"/>
                <a:gd name="connsiteY6" fmla="*/ 2686 h 8556"/>
                <a:gd name="connsiteX7" fmla="*/ 4584 w 5879"/>
                <a:gd name="connsiteY7" fmla="*/ 2288 h 8556"/>
                <a:gd name="connsiteX8" fmla="*/ 3587 w 5879"/>
                <a:gd name="connsiteY8" fmla="*/ 1393 h 8556"/>
                <a:gd name="connsiteX9" fmla="*/ 2790 w 5879"/>
                <a:gd name="connsiteY9" fmla="*/ 0 h 8556"/>
                <a:gd name="connsiteX10" fmla="*/ 1993 w 5879"/>
                <a:gd name="connsiteY10" fmla="*/ 199 h 8556"/>
                <a:gd name="connsiteX11" fmla="*/ 1993 w 5879"/>
                <a:gd name="connsiteY11" fmla="*/ 896 h 8556"/>
                <a:gd name="connsiteX12" fmla="*/ 0 w 5879"/>
                <a:gd name="connsiteY12" fmla="*/ 796 h 8556"/>
                <a:gd name="connsiteX13" fmla="*/ 100 w 5879"/>
                <a:gd name="connsiteY13" fmla="*/ 1691 h 8556"/>
                <a:gd name="connsiteX14" fmla="*/ 698 w 5879"/>
                <a:gd name="connsiteY14" fmla="*/ 2686 h 8556"/>
                <a:gd name="connsiteX15" fmla="*/ 1694 w 5879"/>
                <a:gd name="connsiteY15" fmla="*/ 4676 h 8556"/>
                <a:gd name="connsiteX16" fmla="*/ 1495 w 5879"/>
                <a:gd name="connsiteY16" fmla="*/ 5969 h 8556"/>
                <a:gd name="connsiteX17" fmla="*/ 1893 w 5879"/>
                <a:gd name="connsiteY17" fmla="*/ 6765 h 8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879" h="8556">
                  <a:moveTo>
                    <a:pt x="1893" y="6765"/>
                  </a:moveTo>
                  <a:lnTo>
                    <a:pt x="3089" y="8357"/>
                  </a:lnTo>
                  <a:lnTo>
                    <a:pt x="3886" y="8556"/>
                  </a:lnTo>
                  <a:lnTo>
                    <a:pt x="4683" y="7462"/>
                  </a:lnTo>
                  <a:lnTo>
                    <a:pt x="5480" y="6069"/>
                  </a:lnTo>
                  <a:lnTo>
                    <a:pt x="5879" y="4875"/>
                  </a:lnTo>
                  <a:lnTo>
                    <a:pt x="5082" y="2686"/>
                  </a:lnTo>
                  <a:lnTo>
                    <a:pt x="4584" y="2288"/>
                  </a:lnTo>
                  <a:lnTo>
                    <a:pt x="3587" y="1393"/>
                  </a:lnTo>
                  <a:lnTo>
                    <a:pt x="2790" y="0"/>
                  </a:lnTo>
                  <a:lnTo>
                    <a:pt x="1993" y="199"/>
                  </a:lnTo>
                  <a:lnTo>
                    <a:pt x="1993" y="896"/>
                  </a:lnTo>
                  <a:lnTo>
                    <a:pt x="0" y="796"/>
                  </a:lnTo>
                  <a:lnTo>
                    <a:pt x="100" y="1691"/>
                  </a:lnTo>
                  <a:lnTo>
                    <a:pt x="698" y="2686"/>
                  </a:lnTo>
                  <a:lnTo>
                    <a:pt x="1694" y="4676"/>
                  </a:lnTo>
                  <a:lnTo>
                    <a:pt x="1495" y="5969"/>
                  </a:lnTo>
                  <a:lnTo>
                    <a:pt x="1893" y="676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1" name="Freeform: Shape 1220">
              <a:extLst>
                <a:ext uri="{FF2B5EF4-FFF2-40B4-BE49-F238E27FC236}">
                  <a16:creationId xmlns:a16="http://schemas.microsoft.com/office/drawing/2014/main" id="{D484F851-0DD3-4CD9-A842-296B1B05F974}"/>
                </a:ext>
              </a:extLst>
            </p:cNvPr>
            <p:cNvSpPr/>
            <p:nvPr/>
          </p:nvSpPr>
          <p:spPr>
            <a:xfrm>
              <a:off x="-238516" y="4202484"/>
              <a:ext cx="28697" cy="9948"/>
            </a:xfrm>
            <a:custGeom>
              <a:avLst/>
              <a:gdLst>
                <a:gd name="connsiteX0" fmla="*/ 24612 w 28697"/>
                <a:gd name="connsiteY0" fmla="*/ 3581 h 9948"/>
                <a:gd name="connsiteX1" fmla="*/ 23018 w 28697"/>
                <a:gd name="connsiteY1" fmla="*/ 2786 h 9948"/>
                <a:gd name="connsiteX2" fmla="*/ 16541 w 28697"/>
                <a:gd name="connsiteY2" fmla="*/ 497 h 9948"/>
                <a:gd name="connsiteX3" fmla="*/ 14150 w 28697"/>
                <a:gd name="connsiteY3" fmla="*/ 0 h 9948"/>
                <a:gd name="connsiteX4" fmla="*/ 0 w 28697"/>
                <a:gd name="connsiteY4" fmla="*/ 0 h 9948"/>
                <a:gd name="connsiteX5" fmla="*/ 698 w 28697"/>
                <a:gd name="connsiteY5" fmla="*/ 1890 h 9948"/>
                <a:gd name="connsiteX6" fmla="*/ 2392 w 28697"/>
                <a:gd name="connsiteY6" fmla="*/ 2786 h 9948"/>
                <a:gd name="connsiteX7" fmla="*/ 10263 w 28697"/>
                <a:gd name="connsiteY7" fmla="*/ 2686 h 9948"/>
                <a:gd name="connsiteX8" fmla="*/ 11360 w 28697"/>
                <a:gd name="connsiteY8" fmla="*/ 2786 h 9948"/>
                <a:gd name="connsiteX9" fmla="*/ 12256 w 28697"/>
                <a:gd name="connsiteY9" fmla="*/ 3084 h 9948"/>
                <a:gd name="connsiteX10" fmla="*/ 13452 w 28697"/>
                <a:gd name="connsiteY10" fmla="*/ 3681 h 9948"/>
                <a:gd name="connsiteX11" fmla="*/ 14349 w 28697"/>
                <a:gd name="connsiteY11" fmla="*/ 3681 h 9948"/>
                <a:gd name="connsiteX12" fmla="*/ 17836 w 28697"/>
                <a:gd name="connsiteY12" fmla="*/ 5273 h 9948"/>
                <a:gd name="connsiteX13" fmla="*/ 22320 w 28697"/>
                <a:gd name="connsiteY13" fmla="*/ 8058 h 9948"/>
                <a:gd name="connsiteX14" fmla="*/ 26505 w 28697"/>
                <a:gd name="connsiteY14" fmla="*/ 9949 h 9948"/>
                <a:gd name="connsiteX15" fmla="*/ 28698 w 28697"/>
                <a:gd name="connsiteY15" fmla="*/ 8456 h 9948"/>
                <a:gd name="connsiteX16" fmla="*/ 27103 w 28697"/>
                <a:gd name="connsiteY16" fmla="*/ 7262 h 9948"/>
                <a:gd name="connsiteX17" fmla="*/ 24612 w 28697"/>
                <a:gd name="connsiteY17" fmla="*/ 3581 h 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8697" h="9948">
                  <a:moveTo>
                    <a:pt x="24612" y="3581"/>
                  </a:moveTo>
                  <a:lnTo>
                    <a:pt x="23018" y="2786"/>
                  </a:lnTo>
                  <a:lnTo>
                    <a:pt x="16541" y="497"/>
                  </a:lnTo>
                  <a:lnTo>
                    <a:pt x="14150" y="0"/>
                  </a:lnTo>
                  <a:lnTo>
                    <a:pt x="0" y="0"/>
                  </a:lnTo>
                  <a:lnTo>
                    <a:pt x="698" y="1890"/>
                  </a:lnTo>
                  <a:lnTo>
                    <a:pt x="2392" y="2786"/>
                  </a:lnTo>
                  <a:lnTo>
                    <a:pt x="10263" y="2686"/>
                  </a:lnTo>
                  <a:lnTo>
                    <a:pt x="11360" y="2786"/>
                  </a:lnTo>
                  <a:lnTo>
                    <a:pt x="12256" y="3084"/>
                  </a:lnTo>
                  <a:lnTo>
                    <a:pt x="13452" y="3681"/>
                  </a:lnTo>
                  <a:lnTo>
                    <a:pt x="14349" y="3681"/>
                  </a:lnTo>
                  <a:lnTo>
                    <a:pt x="17836" y="5273"/>
                  </a:lnTo>
                  <a:lnTo>
                    <a:pt x="22320" y="8058"/>
                  </a:lnTo>
                  <a:lnTo>
                    <a:pt x="26505" y="9949"/>
                  </a:lnTo>
                  <a:lnTo>
                    <a:pt x="28698" y="8456"/>
                  </a:lnTo>
                  <a:lnTo>
                    <a:pt x="27103" y="7262"/>
                  </a:lnTo>
                  <a:lnTo>
                    <a:pt x="24612" y="358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2" name="Freeform: Shape 1221">
              <a:extLst>
                <a:ext uri="{FF2B5EF4-FFF2-40B4-BE49-F238E27FC236}">
                  <a16:creationId xmlns:a16="http://schemas.microsoft.com/office/drawing/2014/main" id="{F8401AEC-947F-4C3E-A174-9E7858C1F559}"/>
                </a:ext>
              </a:extLst>
            </p:cNvPr>
            <p:cNvSpPr/>
            <p:nvPr/>
          </p:nvSpPr>
          <p:spPr>
            <a:xfrm>
              <a:off x="-634601" y="4196614"/>
              <a:ext cx="5081" cy="28552"/>
            </a:xfrm>
            <a:custGeom>
              <a:avLst/>
              <a:gdLst>
                <a:gd name="connsiteX0" fmla="*/ 3189 w 5081"/>
                <a:gd name="connsiteY0" fmla="*/ 11739 h 28552"/>
                <a:gd name="connsiteX1" fmla="*/ 2591 w 5081"/>
                <a:gd name="connsiteY1" fmla="*/ 17709 h 28552"/>
                <a:gd name="connsiteX2" fmla="*/ 1594 w 5081"/>
                <a:gd name="connsiteY2" fmla="*/ 22285 h 28552"/>
                <a:gd name="connsiteX3" fmla="*/ 498 w 5081"/>
                <a:gd name="connsiteY3" fmla="*/ 24275 h 28552"/>
                <a:gd name="connsiteX4" fmla="*/ 0 w 5081"/>
                <a:gd name="connsiteY4" fmla="*/ 26463 h 28552"/>
                <a:gd name="connsiteX5" fmla="*/ 897 w 5081"/>
                <a:gd name="connsiteY5" fmla="*/ 27657 h 28552"/>
                <a:gd name="connsiteX6" fmla="*/ 1893 w 5081"/>
                <a:gd name="connsiteY6" fmla="*/ 28553 h 28552"/>
                <a:gd name="connsiteX7" fmla="*/ 2591 w 5081"/>
                <a:gd name="connsiteY7" fmla="*/ 28354 h 28552"/>
                <a:gd name="connsiteX8" fmla="*/ 2391 w 5081"/>
                <a:gd name="connsiteY8" fmla="*/ 25966 h 28552"/>
                <a:gd name="connsiteX9" fmla="*/ 3189 w 5081"/>
                <a:gd name="connsiteY9" fmla="*/ 24175 h 28552"/>
                <a:gd name="connsiteX10" fmla="*/ 4085 w 5081"/>
                <a:gd name="connsiteY10" fmla="*/ 22584 h 28552"/>
                <a:gd name="connsiteX11" fmla="*/ 4285 w 5081"/>
                <a:gd name="connsiteY11" fmla="*/ 20295 h 28552"/>
                <a:gd name="connsiteX12" fmla="*/ 3587 w 5081"/>
                <a:gd name="connsiteY12" fmla="*/ 17410 h 28552"/>
                <a:gd name="connsiteX13" fmla="*/ 3986 w 5081"/>
                <a:gd name="connsiteY13" fmla="*/ 13431 h 28552"/>
                <a:gd name="connsiteX14" fmla="*/ 4683 w 5081"/>
                <a:gd name="connsiteY14" fmla="*/ 10645 h 28552"/>
                <a:gd name="connsiteX15" fmla="*/ 4882 w 5081"/>
                <a:gd name="connsiteY15" fmla="*/ 7959 h 28552"/>
                <a:gd name="connsiteX16" fmla="*/ 5082 w 5081"/>
                <a:gd name="connsiteY16" fmla="*/ 4676 h 28552"/>
                <a:gd name="connsiteX17" fmla="*/ 4882 w 5081"/>
                <a:gd name="connsiteY17" fmla="*/ 2388 h 28552"/>
                <a:gd name="connsiteX18" fmla="*/ 5082 w 5081"/>
                <a:gd name="connsiteY18" fmla="*/ 398 h 28552"/>
                <a:gd name="connsiteX19" fmla="*/ 4484 w 5081"/>
                <a:gd name="connsiteY19" fmla="*/ 0 h 28552"/>
                <a:gd name="connsiteX20" fmla="*/ 3986 w 5081"/>
                <a:gd name="connsiteY20" fmla="*/ 696 h 28552"/>
                <a:gd name="connsiteX21" fmla="*/ 4484 w 5081"/>
                <a:gd name="connsiteY21" fmla="*/ 3780 h 28552"/>
                <a:gd name="connsiteX22" fmla="*/ 4085 w 5081"/>
                <a:gd name="connsiteY22" fmla="*/ 6367 h 28552"/>
                <a:gd name="connsiteX23" fmla="*/ 3189 w 5081"/>
                <a:gd name="connsiteY23" fmla="*/ 11739 h 2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081" h="28552">
                  <a:moveTo>
                    <a:pt x="3189" y="11739"/>
                  </a:moveTo>
                  <a:lnTo>
                    <a:pt x="2591" y="17709"/>
                  </a:lnTo>
                  <a:lnTo>
                    <a:pt x="1594" y="22285"/>
                  </a:lnTo>
                  <a:lnTo>
                    <a:pt x="498" y="24275"/>
                  </a:lnTo>
                  <a:lnTo>
                    <a:pt x="0" y="26463"/>
                  </a:lnTo>
                  <a:lnTo>
                    <a:pt x="897" y="27657"/>
                  </a:lnTo>
                  <a:lnTo>
                    <a:pt x="1893" y="28553"/>
                  </a:lnTo>
                  <a:lnTo>
                    <a:pt x="2591" y="28354"/>
                  </a:lnTo>
                  <a:lnTo>
                    <a:pt x="2391" y="25966"/>
                  </a:lnTo>
                  <a:lnTo>
                    <a:pt x="3189" y="24175"/>
                  </a:lnTo>
                  <a:lnTo>
                    <a:pt x="4085" y="22584"/>
                  </a:lnTo>
                  <a:lnTo>
                    <a:pt x="4285" y="20295"/>
                  </a:lnTo>
                  <a:lnTo>
                    <a:pt x="3587" y="17410"/>
                  </a:lnTo>
                  <a:lnTo>
                    <a:pt x="3986" y="13431"/>
                  </a:lnTo>
                  <a:lnTo>
                    <a:pt x="4683" y="10645"/>
                  </a:lnTo>
                  <a:lnTo>
                    <a:pt x="4882" y="7959"/>
                  </a:lnTo>
                  <a:lnTo>
                    <a:pt x="5082" y="4676"/>
                  </a:lnTo>
                  <a:lnTo>
                    <a:pt x="4882" y="2388"/>
                  </a:lnTo>
                  <a:lnTo>
                    <a:pt x="5082" y="398"/>
                  </a:lnTo>
                  <a:lnTo>
                    <a:pt x="4484" y="0"/>
                  </a:lnTo>
                  <a:lnTo>
                    <a:pt x="3986" y="696"/>
                  </a:lnTo>
                  <a:lnTo>
                    <a:pt x="4484" y="3780"/>
                  </a:lnTo>
                  <a:lnTo>
                    <a:pt x="4085" y="6367"/>
                  </a:lnTo>
                  <a:lnTo>
                    <a:pt x="3189" y="1173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3" name="Freeform: Shape 1222">
              <a:extLst>
                <a:ext uri="{FF2B5EF4-FFF2-40B4-BE49-F238E27FC236}">
                  <a16:creationId xmlns:a16="http://schemas.microsoft.com/office/drawing/2014/main" id="{9A5DADBA-4862-48B4-951A-0E4E693E8BDE}"/>
                </a:ext>
              </a:extLst>
            </p:cNvPr>
            <p:cNvSpPr/>
            <p:nvPr/>
          </p:nvSpPr>
          <p:spPr>
            <a:xfrm>
              <a:off x="1177226" y="4569194"/>
              <a:ext cx="7473" cy="12237"/>
            </a:xfrm>
            <a:custGeom>
              <a:avLst/>
              <a:gdLst>
                <a:gd name="connsiteX0" fmla="*/ 3587 w 7473"/>
                <a:gd name="connsiteY0" fmla="*/ 7462 h 12237"/>
                <a:gd name="connsiteX1" fmla="*/ 2790 w 7473"/>
                <a:gd name="connsiteY1" fmla="*/ 8655 h 12237"/>
                <a:gd name="connsiteX2" fmla="*/ 797 w 7473"/>
                <a:gd name="connsiteY2" fmla="*/ 10745 h 12237"/>
                <a:gd name="connsiteX3" fmla="*/ 0 w 7473"/>
                <a:gd name="connsiteY3" fmla="*/ 12237 h 12237"/>
                <a:gd name="connsiteX4" fmla="*/ 3288 w 7473"/>
                <a:gd name="connsiteY4" fmla="*/ 10944 h 12237"/>
                <a:gd name="connsiteX5" fmla="*/ 5979 w 7473"/>
                <a:gd name="connsiteY5" fmla="*/ 6964 h 12237"/>
                <a:gd name="connsiteX6" fmla="*/ 7473 w 7473"/>
                <a:gd name="connsiteY6" fmla="*/ 2587 h 12237"/>
                <a:gd name="connsiteX7" fmla="*/ 6975 w 7473"/>
                <a:gd name="connsiteY7" fmla="*/ 0 h 12237"/>
                <a:gd name="connsiteX8" fmla="*/ 5779 w 7473"/>
                <a:gd name="connsiteY8" fmla="*/ 1691 h 12237"/>
                <a:gd name="connsiteX9" fmla="*/ 3587 w 7473"/>
                <a:gd name="connsiteY9" fmla="*/ 7462 h 1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73" h="12237">
                  <a:moveTo>
                    <a:pt x="3587" y="7462"/>
                  </a:moveTo>
                  <a:lnTo>
                    <a:pt x="2790" y="8655"/>
                  </a:lnTo>
                  <a:lnTo>
                    <a:pt x="797" y="10745"/>
                  </a:lnTo>
                  <a:lnTo>
                    <a:pt x="0" y="12237"/>
                  </a:lnTo>
                  <a:lnTo>
                    <a:pt x="3288" y="10944"/>
                  </a:lnTo>
                  <a:lnTo>
                    <a:pt x="5979" y="6964"/>
                  </a:lnTo>
                  <a:lnTo>
                    <a:pt x="7473" y="2587"/>
                  </a:lnTo>
                  <a:lnTo>
                    <a:pt x="6975" y="0"/>
                  </a:lnTo>
                  <a:lnTo>
                    <a:pt x="5779" y="1691"/>
                  </a:lnTo>
                  <a:lnTo>
                    <a:pt x="3587" y="746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4" name="Freeform: Shape 1223">
              <a:extLst>
                <a:ext uri="{FF2B5EF4-FFF2-40B4-BE49-F238E27FC236}">
                  <a16:creationId xmlns:a16="http://schemas.microsoft.com/office/drawing/2014/main" id="{8B81D4DF-4E80-4021-89BA-2BDBCB29E51A}"/>
                </a:ext>
              </a:extLst>
            </p:cNvPr>
            <p:cNvSpPr/>
            <p:nvPr/>
          </p:nvSpPr>
          <p:spPr>
            <a:xfrm>
              <a:off x="-526687" y="4106976"/>
              <a:ext cx="3089" cy="4377"/>
            </a:xfrm>
            <a:custGeom>
              <a:avLst/>
              <a:gdLst>
                <a:gd name="connsiteX0" fmla="*/ 897 w 3089"/>
                <a:gd name="connsiteY0" fmla="*/ 3084 h 4377"/>
                <a:gd name="connsiteX1" fmla="*/ 797 w 3089"/>
                <a:gd name="connsiteY1" fmla="*/ 3283 h 4377"/>
                <a:gd name="connsiteX2" fmla="*/ 897 w 3089"/>
                <a:gd name="connsiteY2" fmla="*/ 3383 h 4377"/>
                <a:gd name="connsiteX3" fmla="*/ 1395 w 3089"/>
                <a:gd name="connsiteY3" fmla="*/ 4377 h 4377"/>
                <a:gd name="connsiteX4" fmla="*/ 1594 w 3089"/>
                <a:gd name="connsiteY4" fmla="*/ 4377 h 4377"/>
                <a:gd name="connsiteX5" fmla="*/ 2790 w 3089"/>
                <a:gd name="connsiteY5" fmla="*/ 4377 h 4377"/>
                <a:gd name="connsiteX6" fmla="*/ 3089 w 3089"/>
                <a:gd name="connsiteY6" fmla="*/ 3482 h 4377"/>
                <a:gd name="connsiteX7" fmla="*/ 2491 w 3089"/>
                <a:gd name="connsiteY7" fmla="*/ 2985 h 4377"/>
                <a:gd name="connsiteX8" fmla="*/ 2790 w 3089"/>
                <a:gd name="connsiteY8" fmla="*/ 2487 h 4377"/>
                <a:gd name="connsiteX9" fmla="*/ 3089 w 3089"/>
                <a:gd name="connsiteY9" fmla="*/ 1492 h 4377"/>
                <a:gd name="connsiteX10" fmla="*/ 2890 w 3089"/>
                <a:gd name="connsiteY10" fmla="*/ 199 h 4377"/>
                <a:gd name="connsiteX11" fmla="*/ 2292 w 3089"/>
                <a:gd name="connsiteY11" fmla="*/ 0 h 4377"/>
                <a:gd name="connsiteX12" fmla="*/ 1495 w 3089"/>
                <a:gd name="connsiteY12" fmla="*/ 0 h 4377"/>
                <a:gd name="connsiteX13" fmla="*/ 0 w 3089"/>
                <a:gd name="connsiteY13" fmla="*/ 1492 h 4377"/>
                <a:gd name="connsiteX14" fmla="*/ 698 w 3089"/>
                <a:gd name="connsiteY14" fmla="*/ 2985 h 4377"/>
                <a:gd name="connsiteX15" fmla="*/ 897 w 3089"/>
                <a:gd name="connsiteY15" fmla="*/ 3084 h 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89" h="4377">
                  <a:moveTo>
                    <a:pt x="897" y="3084"/>
                  </a:moveTo>
                  <a:lnTo>
                    <a:pt x="797" y="3283"/>
                  </a:lnTo>
                  <a:lnTo>
                    <a:pt x="897" y="3383"/>
                  </a:lnTo>
                  <a:lnTo>
                    <a:pt x="1395" y="4377"/>
                  </a:lnTo>
                  <a:lnTo>
                    <a:pt x="1594" y="4377"/>
                  </a:lnTo>
                  <a:lnTo>
                    <a:pt x="2790" y="4377"/>
                  </a:lnTo>
                  <a:lnTo>
                    <a:pt x="3089" y="3482"/>
                  </a:lnTo>
                  <a:lnTo>
                    <a:pt x="2491" y="2985"/>
                  </a:lnTo>
                  <a:lnTo>
                    <a:pt x="2790" y="2487"/>
                  </a:lnTo>
                  <a:lnTo>
                    <a:pt x="3089" y="1492"/>
                  </a:lnTo>
                  <a:lnTo>
                    <a:pt x="2890" y="199"/>
                  </a:lnTo>
                  <a:lnTo>
                    <a:pt x="2292" y="0"/>
                  </a:lnTo>
                  <a:lnTo>
                    <a:pt x="1495" y="0"/>
                  </a:lnTo>
                  <a:lnTo>
                    <a:pt x="0" y="1492"/>
                  </a:lnTo>
                  <a:lnTo>
                    <a:pt x="698" y="2985"/>
                  </a:lnTo>
                  <a:lnTo>
                    <a:pt x="897" y="308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5" name="Freeform: Shape 1224">
              <a:extLst>
                <a:ext uri="{FF2B5EF4-FFF2-40B4-BE49-F238E27FC236}">
                  <a16:creationId xmlns:a16="http://schemas.microsoft.com/office/drawing/2014/main" id="{2D5AE33D-D923-4306-B623-0A6ABF85BCBC}"/>
                </a:ext>
              </a:extLst>
            </p:cNvPr>
            <p:cNvSpPr/>
            <p:nvPr/>
          </p:nvSpPr>
          <p:spPr>
            <a:xfrm>
              <a:off x="-526687" y="4108468"/>
              <a:ext cx="697" cy="1492"/>
            </a:xfrm>
            <a:custGeom>
              <a:avLst/>
              <a:gdLst>
                <a:gd name="connsiteX0" fmla="*/ 0 w 697"/>
                <a:gd name="connsiteY0" fmla="*/ 895 h 1492"/>
                <a:gd name="connsiteX1" fmla="*/ 698 w 697"/>
                <a:gd name="connsiteY1" fmla="*/ 1492 h 1492"/>
                <a:gd name="connsiteX2" fmla="*/ 0 w 697"/>
                <a:gd name="connsiteY2" fmla="*/ 0 h 1492"/>
                <a:gd name="connsiteX3" fmla="*/ 0 w 697"/>
                <a:gd name="connsiteY3" fmla="*/ 0 h 1492"/>
                <a:gd name="connsiteX4" fmla="*/ 0 w 697"/>
                <a:gd name="connsiteY4" fmla="*/ 895 h 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7" h="1492">
                  <a:moveTo>
                    <a:pt x="0" y="895"/>
                  </a:moveTo>
                  <a:lnTo>
                    <a:pt x="698" y="149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8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6" name="Freeform: Shape 1225">
              <a:extLst>
                <a:ext uri="{FF2B5EF4-FFF2-40B4-BE49-F238E27FC236}">
                  <a16:creationId xmlns:a16="http://schemas.microsoft.com/office/drawing/2014/main" id="{267A1465-0620-4D6F-9AB8-F32CF992AA22}"/>
                </a:ext>
              </a:extLst>
            </p:cNvPr>
            <p:cNvSpPr/>
            <p:nvPr/>
          </p:nvSpPr>
          <p:spPr>
            <a:xfrm>
              <a:off x="-526587" y="4110259"/>
              <a:ext cx="1295" cy="1392"/>
            </a:xfrm>
            <a:custGeom>
              <a:avLst/>
              <a:gdLst>
                <a:gd name="connsiteX0" fmla="*/ 697 w 1295"/>
                <a:gd name="connsiteY0" fmla="*/ 0 h 1392"/>
                <a:gd name="connsiteX1" fmla="*/ 697 w 1295"/>
                <a:gd name="connsiteY1" fmla="*/ 298 h 1392"/>
                <a:gd name="connsiteX2" fmla="*/ 299 w 1295"/>
                <a:gd name="connsiteY2" fmla="*/ 895 h 1392"/>
                <a:gd name="connsiteX3" fmla="*/ 0 w 1295"/>
                <a:gd name="connsiteY3" fmla="*/ 1393 h 1392"/>
                <a:gd name="connsiteX4" fmla="*/ 598 w 1295"/>
                <a:gd name="connsiteY4" fmla="*/ 1095 h 1392"/>
                <a:gd name="connsiteX5" fmla="*/ 1295 w 1295"/>
                <a:gd name="connsiteY5" fmla="*/ 1095 h 1392"/>
                <a:gd name="connsiteX6" fmla="*/ 797 w 1295"/>
                <a:gd name="connsiteY6" fmla="*/ 100 h 1392"/>
                <a:gd name="connsiteX7" fmla="*/ 697 w 1295"/>
                <a:gd name="connsiteY7" fmla="*/ 0 h 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5" h="1392">
                  <a:moveTo>
                    <a:pt x="697" y="0"/>
                  </a:moveTo>
                  <a:lnTo>
                    <a:pt x="697" y="298"/>
                  </a:lnTo>
                  <a:lnTo>
                    <a:pt x="299" y="895"/>
                  </a:lnTo>
                  <a:lnTo>
                    <a:pt x="0" y="1393"/>
                  </a:lnTo>
                  <a:lnTo>
                    <a:pt x="598" y="1095"/>
                  </a:lnTo>
                  <a:lnTo>
                    <a:pt x="1295" y="1095"/>
                  </a:lnTo>
                  <a:lnTo>
                    <a:pt x="797" y="100"/>
                  </a:lnTo>
                  <a:lnTo>
                    <a:pt x="697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7" name="Freeform: Shape 1226">
              <a:extLst>
                <a:ext uri="{FF2B5EF4-FFF2-40B4-BE49-F238E27FC236}">
                  <a16:creationId xmlns:a16="http://schemas.microsoft.com/office/drawing/2014/main" id="{3C3A2C17-E336-4234-85EE-44410F4BDDA8}"/>
                </a:ext>
              </a:extLst>
            </p:cNvPr>
            <p:cNvSpPr/>
            <p:nvPr/>
          </p:nvSpPr>
          <p:spPr>
            <a:xfrm>
              <a:off x="-523299" y="4151845"/>
              <a:ext cx="2092" cy="6466"/>
            </a:xfrm>
            <a:custGeom>
              <a:avLst/>
              <a:gdLst>
                <a:gd name="connsiteX0" fmla="*/ 299 w 2092"/>
                <a:gd name="connsiteY0" fmla="*/ 2985 h 6466"/>
                <a:gd name="connsiteX1" fmla="*/ 199 w 2092"/>
                <a:gd name="connsiteY1" fmla="*/ 4278 h 6466"/>
                <a:gd name="connsiteX2" fmla="*/ 897 w 2092"/>
                <a:gd name="connsiteY2" fmla="*/ 5372 h 6466"/>
                <a:gd name="connsiteX3" fmla="*/ 1794 w 2092"/>
                <a:gd name="connsiteY3" fmla="*/ 6467 h 6466"/>
                <a:gd name="connsiteX4" fmla="*/ 2092 w 2092"/>
                <a:gd name="connsiteY4" fmla="*/ 6367 h 6466"/>
                <a:gd name="connsiteX5" fmla="*/ 2092 w 2092"/>
                <a:gd name="connsiteY5" fmla="*/ 5671 h 6466"/>
                <a:gd name="connsiteX6" fmla="*/ 1594 w 2092"/>
                <a:gd name="connsiteY6" fmla="*/ 5074 h 6466"/>
                <a:gd name="connsiteX7" fmla="*/ 1495 w 2092"/>
                <a:gd name="connsiteY7" fmla="*/ 3979 h 6466"/>
                <a:gd name="connsiteX8" fmla="*/ 1893 w 2092"/>
                <a:gd name="connsiteY8" fmla="*/ 3581 h 6466"/>
                <a:gd name="connsiteX9" fmla="*/ 1794 w 2092"/>
                <a:gd name="connsiteY9" fmla="*/ 3283 h 6466"/>
                <a:gd name="connsiteX10" fmla="*/ 1295 w 2092"/>
                <a:gd name="connsiteY10" fmla="*/ 2487 h 6466"/>
                <a:gd name="connsiteX11" fmla="*/ 1594 w 2092"/>
                <a:gd name="connsiteY11" fmla="*/ 1890 h 6466"/>
                <a:gd name="connsiteX12" fmla="*/ 797 w 2092"/>
                <a:gd name="connsiteY12" fmla="*/ 1592 h 6466"/>
                <a:gd name="connsiteX13" fmla="*/ 697 w 2092"/>
                <a:gd name="connsiteY13" fmla="*/ 199 h 6466"/>
                <a:gd name="connsiteX14" fmla="*/ 199 w 2092"/>
                <a:gd name="connsiteY14" fmla="*/ 0 h 6466"/>
                <a:gd name="connsiteX15" fmla="*/ 0 w 2092"/>
                <a:gd name="connsiteY15" fmla="*/ 398 h 6466"/>
                <a:gd name="connsiteX16" fmla="*/ 399 w 2092"/>
                <a:gd name="connsiteY16" fmla="*/ 1592 h 6466"/>
                <a:gd name="connsiteX17" fmla="*/ 299 w 2092"/>
                <a:gd name="connsiteY17" fmla="*/ 2985 h 6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092" h="6466">
                  <a:moveTo>
                    <a:pt x="299" y="2985"/>
                  </a:moveTo>
                  <a:lnTo>
                    <a:pt x="199" y="4278"/>
                  </a:lnTo>
                  <a:lnTo>
                    <a:pt x="897" y="5372"/>
                  </a:lnTo>
                  <a:lnTo>
                    <a:pt x="1794" y="6467"/>
                  </a:lnTo>
                  <a:lnTo>
                    <a:pt x="2092" y="6367"/>
                  </a:lnTo>
                  <a:lnTo>
                    <a:pt x="2092" y="5671"/>
                  </a:lnTo>
                  <a:lnTo>
                    <a:pt x="1594" y="5074"/>
                  </a:lnTo>
                  <a:lnTo>
                    <a:pt x="1495" y="3979"/>
                  </a:lnTo>
                  <a:lnTo>
                    <a:pt x="1893" y="3581"/>
                  </a:lnTo>
                  <a:lnTo>
                    <a:pt x="1794" y="3283"/>
                  </a:lnTo>
                  <a:lnTo>
                    <a:pt x="1295" y="2487"/>
                  </a:lnTo>
                  <a:lnTo>
                    <a:pt x="1594" y="1890"/>
                  </a:lnTo>
                  <a:lnTo>
                    <a:pt x="797" y="1592"/>
                  </a:lnTo>
                  <a:lnTo>
                    <a:pt x="697" y="199"/>
                  </a:lnTo>
                  <a:lnTo>
                    <a:pt x="199" y="0"/>
                  </a:lnTo>
                  <a:lnTo>
                    <a:pt x="0" y="398"/>
                  </a:lnTo>
                  <a:lnTo>
                    <a:pt x="399" y="1592"/>
                  </a:lnTo>
                  <a:lnTo>
                    <a:pt x="299" y="298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8" name="Freeform: Shape 1227">
              <a:extLst>
                <a:ext uri="{FF2B5EF4-FFF2-40B4-BE49-F238E27FC236}">
                  <a16:creationId xmlns:a16="http://schemas.microsoft.com/office/drawing/2014/main" id="{313C31B6-571D-43B8-90C3-7F52FE072D72}"/>
                </a:ext>
              </a:extLst>
            </p:cNvPr>
            <p:cNvSpPr/>
            <p:nvPr/>
          </p:nvSpPr>
          <p:spPr>
            <a:xfrm>
              <a:off x="-1139697" y="3494830"/>
              <a:ext cx="2391" cy="1989"/>
            </a:xfrm>
            <a:custGeom>
              <a:avLst/>
              <a:gdLst>
                <a:gd name="connsiteX0" fmla="*/ 1096 w 2391"/>
                <a:gd name="connsiteY0" fmla="*/ 0 h 1989"/>
                <a:gd name="connsiteX1" fmla="*/ 0 w 2391"/>
                <a:gd name="connsiteY1" fmla="*/ 696 h 1989"/>
                <a:gd name="connsiteX2" fmla="*/ 0 w 2391"/>
                <a:gd name="connsiteY2" fmla="*/ 1592 h 1989"/>
                <a:gd name="connsiteX3" fmla="*/ 996 w 2391"/>
                <a:gd name="connsiteY3" fmla="*/ 1990 h 1989"/>
                <a:gd name="connsiteX4" fmla="*/ 2391 w 2391"/>
                <a:gd name="connsiteY4" fmla="*/ 1890 h 1989"/>
                <a:gd name="connsiteX5" fmla="*/ 2391 w 2391"/>
                <a:gd name="connsiteY5" fmla="*/ 1194 h 1989"/>
                <a:gd name="connsiteX6" fmla="*/ 1694 w 2391"/>
                <a:gd name="connsiteY6" fmla="*/ 199 h 1989"/>
                <a:gd name="connsiteX7" fmla="*/ 1096 w 2391"/>
                <a:gd name="connsiteY7" fmla="*/ 0 h 1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1" h="1989">
                  <a:moveTo>
                    <a:pt x="1096" y="0"/>
                  </a:moveTo>
                  <a:lnTo>
                    <a:pt x="0" y="696"/>
                  </a:lnTo>
                  <a:lnTo>
                    <a:pt x="0" y="1592"/>
                  </a:lnTo>
                  <a:lnTo>
                    <a:pt x="996" y="1990"/>
                  </a:lnTo>
                  <a:lnTo>
                    <a:pt x="2391" y="1890"/>
                  </a:lnTo>
                  <a:lnTo>
                    <a:pt x="2391" y="1194"/>
                  </a:lnTo>
                  <a:lnTo>
                    <a:pt x="1694" y="199"/>
                  </a:lnTo>
                  <a:lnTo>
                    <a:pt x="1096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29" name="Freeform: Shape 1228">
              <a:extLst>
                <a:ext uri="{FF2B5EF4-FFF2-40B4-BE49-F238E27FC236}">
                  <a16:creationId xmlns:a16="http://schemas.microsoft.com/office/drawing/2014/main" id="{007B5DE8-4763-4FE9-AC27-0A7EC7F7301C}"/>
                </a:ext>
              </a:extLst>
            </p:cNvPr>
            <p:cNvSpPr/>
            <p:nvPr/>
          </p:nvSpPr>
          <p:spPr>
            <a:xfrm>
              <a:off x="-1282985" y="3219349"/>
              <a:ext cx="1793" cy="4675"/>
            </a:xfrm>
            <a:custGeom>
              <a:avLst/>
              <a:gdLst>
                <a:gd name="connsiteX0" fmla="*/ 1096 w 1793"/>
                <a:gd name="connsiteY0" fmla="*/ 895 h 4675"/>
                <a:gd name="connsiteX1" fmla="*/ 698 w 1793"/>
                <a:gd name="connsiteY1" fmla="*/ 298 h 4675"/>
                <a:gd name="connsiteX2" fmla="*/ 0 w 1793"/>
                <a:gd name="connsiteY2" fmla="*/ 0 h 4675"/>
                <a:gd name="connsiteX3" fmla="*/ 299 w 1793"/>
                <a:gd name="connsiteY3" fmla="*/ 1492 h 4675"/>
                <a:gd name="connsiteX4" fmla="*/ 698 w 1793"/>
                <a:gd name="connsiteY4" fmla="*/ 1990 h 4675"/>
                <a:gd name="connsiteX5" fmla="*/ 897 w 1793"/>
                <a:gd name="connsiteY5" fmla="*/ 2985 h 4675"/>
                <a:gd name="connsiteX6" fmla="*/ 1295 w 1793"/>
                <a:gd name="connsiteY6" fmla="*/ 4676 h 4675"/>
                <a:gd name="connsiteX7" fmla="*/ 1794 w 1793"/>
                <a:gd name="connsiteY7" fmla="*/ 4576 h 4675"/>
                <a:gd name="connsiteX8" fmla="*/ 1794 w 1793"/>
                <a:gd name="connsiteY8" fmla="*/ 3482 h 4675"/>
                <a:gd name="connsiteX9" fmla="*/ 1395 w 1793"/>
                <a:gd name="connsiteY9" fmla="*/ 2388 h 4675"/>
                <a:gd name="connsiteX10" fmla="*/ 1096 w 1793"/>
                <a:gd name="connsiteY10" fmla="*/ 895 h 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93" h="4675">
                  <a:moveTo>
                    <a:pt x="1096" y="895"/>
                  </a:moveTo>
                  <a:lnTo>
                    <a:pt x="698" y="298"/>
                  </a:lnTo>
                  <a:lnTo>
                    <a:pt x="0" y="0"/>
                  </a:lnTo>
                  <a:lnTo>
                    <a:pt x="299" y="1492"/>
                  </a:lnTo>
                  <a:lnTo>
                    <a:pt x="698" y="1990"/>
                  </a:lnTo>
                  <a:lnTo>
                    <a:pt x="897" y="2985"/>
                  </a:lnTo>
                  <a:lnTo>
                    <a:pt x="1295" y="4676"/>
                  </a:lnTo>
                  <a:lnTo>
                    <a:pt x="1794" y="4576"/>
                  </a:lnTo>
                  <a:lnTo>
                    <a:pt x="1794" y="3482"/>
                  </a:lnTo>
                  <a:lnTo>
                    <a:pt x="1395" y="2388"/>
                  </a:lnTo>
                  <a:lnTo>
                    <a:pt x="1096" y="8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id="{EAAE8883-F9CE-4371-A849-B5D6DBEA61E1}"/>
                </a:ext>
              </a:extLst>
            </p:cNvPr>
            <p:cNvSpPr/>
            <p:nvPr/>
          </p:nvSpPr>
          <p:spPr>
            <a:xfrm>
              <a:off x="-970302" y="3308191"/>
              <a:ext cx="16939" cy="16216"/>
            </a:xfrm>
            <a:custGeom>
              <a:avLst/>
              <a:gdLst>
                <a:gd name="connsiteX0" fmla="*/ 2890 w 16939"/>
                <a:gd name="connsiteY0" fmla="*/ 4079 h 16216"/>
                <a:gd name="connsiteX1" fmla="*/ 3786 w 16939"/>
                <a:gd name="connsiteY1" fmla="*/ 6367 h 16216"/>
                <a:gd name="connsiteX2" fmla="*/ 5580 w 16939"/>
                <a:gd name="connsiteY2" fmla="*/ 6964 h 16216"/>
                <a:gd name="connsiteX3" fmla="*/ 6377 w 16939"/>
                <a:gd name="connsiteY3" fmla="*/ 8655 h 16216"/>
                <a:gd name="connsiteX4" fmla="*/ 7374 w 16939"/>
                <a:gd name="connsiteY4" fmla="*/ 14625 h 16216"/>
                <a:gd name="connsiteX5" fmla="*/ 8968 w 16939"/>
                <a:gd name="connsiteY5" fmla="*/ 15421 h 16216"/>
                <a:gd name="connsiteX6" fmla="*/ 11758 w 16939"/>
                <a:gd name="connsiteY6" fmla="*/ 13331 h 16216"/>
                <a:gd name="connsiteX7" fmla="*/ 12555 w 16939"/>
                <a:gd name="connsiteY7" fmla="*/ 14525 h 16216"/>
                <a:gd name="connsiteX8" fmla="*/ 13751 w 16939"/>
                <a:gd name="connsiteY8" fmla="*/ 15520 h 16216"/>
                <a:gd name="connsiteX9" fmla="*/ 15246 w 16939"/>
                <a:gd name="connsiteY9" fmla="*/ 16216 h 16216"/>
                <a:gd name="connsiteX10" fmla="*/ 16939 w 16939"/>
                <a:gd name="connsiteY10" fmla="*/ 16216 h 16216"/>
                <a:gd name="connsiteX11" fmla="*/ 14847 w 16939"/>
                <a:gd name="connsiteY11" fmla="*/ 11739 h 16216"/>
                <a:gd name="connsiteX12" fmla="*/ 9665 w 16939"/>
                <a:gd name="connsiteY12" fmla="*/ 5571 h 16216"/>
                <a:gd name="connsiteX13" fmla="*/ 3986 w 16939"/>
                <a:gd name="connsiteY13" fmla="*/ 696 h 16216"/>
                <a:gd name="connsiteX14" fmla="*/ 100 w 16939"/>
                <a:gd name="connsiteY14" fmla="*/ 0 h 16216"/>
                <a:gd name="connsiteX15" fmla="*/ 0 w 16939"/>
                <a:gd name="connsiteY15" fmla="*/ 298 h 16216"/>
                <a:gd name="connsiteX16" fmla="*/ 1196 w 16939"/>
                <a:gd name="connsiteY16" fmla="*/ 1492 h 16216"/>
                <a:gd name="connsiteX17" fmla="*/ 2890 w 16939"/>
                <a:gd name="connsiteY17" fmla="*/ 4079 h 1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939" h="16216">
                  <a:moveTo>
                    <a:pt x="2890" y="4079"/>
                  </a:moveTo>
                  <a:lnTo>
                    <a:pt x="3786" y="6367"/>
                  </a:lnTo>
                  <a:lnTo>
                    <a:pt x="5580" y="6964"/>
                  </a:lnTo>
                  <a:lnTo>
                    <a:pt x="6377" y="8655"/>
                  </a:lnTo>
                  <a:lnTo>
                    <a:pt x="7374" y="14625"/>
                  </a:lnTo>
                  <a:lnTo>
                    <a:pt x="8968" y="15421"/>
                  </a:lnTo>
                  <a:lnTo>
                    <a:pt x="11758" y="13331"/>
                  </a:lnTo>
                  <a:lnTo>
                    <a:pt x="12555" y="14525"/>
                  </a:lnTo>
                  <a:lnTo>
                    <a:pt x="13751" y="15520"/>
                  </a:lnTo>
                  <a:lnTo>
                    <a:pt x="15246" y="16216"/>
                  </a:lnTo>
                  <a:lnTo>
                    <a:pt x="16939" y="16216"/>
                  </a:lnTo>
                  <a:lnTo>
                    <a:pt x="14847" y="11739"/>
                  </a:lnTo>
                  <a:lnTo>
                    <a:pt x="9665" y="5571"/>
                  </a:lnTo>
                  <a:lnTo>
                    <a:pt x="3986" y="696"/>
                  </a:lnTo>
                  <a:lnTo>
                    <a:pt x="100" y="0"/>
                  </a:lnTo>
                  <a:lnTo>
                    <a:pt x="0" y="298"/>
                  </a:lnTo>
                  <a:lnTo>
                    <a:pt x="1196" y="1492"/>
                  </a:lnTo>
                  <a:lnTo>
                    <a:pt x="2890" y="407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1" name="Freeform: Shape 1230">
              <a:extLst>
                <a:ext uri="{FF2B5EF4-FFF2-40B4-BE49-F238E27FC236}">
                  <a16:creationId xmlns:a16="http://schemas.microsoft.com/office/drawing/2014/main" id="{63648642-5658-4A99-96A3-6074DA63957D}"/>
                </a:ext>
              </a:extLst>
            </p:cNvPr>
            <p:cNvSpPr/>
            <p:nvPr/>
          </p:nvSpPr>
          <p:spPr>
            <a:xfrm>
              <a:off x="-971797" y="3308490"/>
              <a:ext cx="8868" cy="14326"/>
            </a:xfrm>
            <a:custGeom>
              <a:avLst/>
              <a:gdLst>
                <a:gd name="connsiteX0" fmla="*/ 4484 w 8868"/>
                <a:gd name="connsiteY0" fmla="*/ 12237 h 14326"/>
                <a:gd name="connsiteX1" fmla="*/ 8868 w 8868"/>
                <a:gd name="connsiteY1" fmla="*/ 14326 h 14326"/>
                <a:gd name="connsiteX2" fmla="*/ 7872 w 8868"/>
                <a:gd name="connsiteY2" fmla="*/ 8357 h 14326"/>
                <a:gd name="connsiteX3" fmla="*/ 7075 w 8868"/>
                <a:gd name="connsiteY3" fmla="*/ 6666 h 14326"/>
                <a:gd name="connsiteX4" fmla="*/ 5281 w 8868"/>
                <a:gd name="connsiteY4" fmla="*/ 6069 h 14326"/>
                <a:gd name="connsiteX5" fmla="*/ 4384 w 8868"/>
                <a:gd name="connsiteY5" fmla="*/ 3781 h 14326"/>
                <a:gd name="connsiteX6" fmla="*/ 2690 w 8868"/>
                <a:gd name="connsiteY6" fmla="*/ 1194 h 14326"/>
                <a:gd name="connsiteX7" fmla="*/ 1495 w 8868"/>
                <a:gd name="connsiteY7" fmla="*/ 0 h 14326"/>
                <a:gd name="connsiteX8" fmla="*/ 0 w 8868"/>
                <a:gd name="connsiteY8" fmla="*/ 6367 h 14326"/>
                <a:gd name="connsiteX9" fmla="*/ 4484 w 8868"/>
                <a:gd name="connsiteY9" fmla="*/ 12237 h 14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68" h="14326">
                  <a:moveTo>
                    <a:pt x="4484" y="12237"/>
                  </a:moveTo>
                  <a:lnTo>
                    <a:pt x="8868" y="14326"/>
                  </a:lnTo>
                  <a:lnTo>
                    <a:pt x="7872" y="8357"/>
                  </a:lnTo>
                  <a:lnTo>
                    <a:pt x="7075" y="6666"/>
                  </a:lnTo>
                  <a:lnTo>
                    <a:pt x="5281" y="6069"/>
                  </a:lnTo>
                  <a:lnTo>
                    <a:pt x="4384" y="3781"/>
                  </a:lnTo>
                  <a:lnTo>
                    <a:pt x="2690" y="1194"/>
                  </a:lnTo>
                  <a:lnTo>
                    <a:pt x="1495" y="0"/>
                  </a:lnTo>
                  <a:lnTo>
                    <a:pt x="0" y="6367"/>
                  </a:lnTo>
                  <a:lnTo>
                    <a:pt x="4484" y="1223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2" name="Freeform: Shape 1231">
              <a:extLst>
                <a:ext uri="{FF2B5EF4-FFF2-40B4-BE49-F238E27FC236}">
                  <a16:creationId xmlns:a16="http://schemas.microsoft.com/office/drawing/2014/main" id="{5B890382-DD0A-45B2-9124-491A8A865E8B}"/>
                </a:ext>
              </a:extLst>
            </p:cNvPr>
            <p:cNvSpPr/>
            <p:nvPr/>
          </p:nvSpPr>
          <p:spPr>
            <a:xfrm>
              <a:off x="-924067" y="3567157"/>
              <a:ext cx="3387" cy="4079"/>
            </a:xfrm>
            <a:custGeom>
              <a:avLst/>
              <a:gdLst>
                <a:gd name="connsiteX0" fmla="*/ 1794 w 3387"/>
                <a:gd name="connsiteY0" fmla="*/ 4079 h 4079"/>
                <a:gd name="connsiteX1" fmla="*/ 3388 w 3387"/>
                <a:gd name="connsiteY1" fmla="*/ 3781 h 4079"/>
                <a:gd name="connsiteX2" fmla="*/ 2790 w 3387"/>
                <a:gd name="connsiteY2" fmla="*/ 2487 h 4079"/>
                <a:gd name="connsiteX3" fmla="*/ 2491 w 3387"/>
                <a:gd name="connsiteY3" fmla="*/ 199 h 4079"/>
                <a:gd name="connsiteX4" fmla="*/ 399 w 3387"/>
                <a:gd name="connsiteY4" fmla="*/ 0 h 4079"/>
                <a:gd name="connsiteX5" fmla="*/ 697 w 3387"/>
                <a:gd name="connsiteY5" fmla="*/ 1592 h 4079"/>
                <a:gd name="connsiteX6" fmla="*/ 0 w 3387"/>
                <a:gd name="connsiteY6" fmla="*/ 2885 h 4079"/>
                <a:gd name="connsiteX7" fmla="*/ 1794 w 3387"/>
                <a:gd name="connsiteY7" fmla="*/ 4079 h 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87" h="4079">
                  <a:moveTo>
                    <a:pt x="1794" y="4079"/>
                  </a:moveTo>
                  <a:lnTo>
                    <a:pt x="3388" y="3781"/>
                  </a:lnTo>
                  <a:lnTo>
                    <a:pt x="2790" y="2487"/>
                  </a:lnTo>
                  <a:lnTo>
                    <a:pt x="2491" y="199"/>
                  </a:lnTo>
                  <a:lnTo>
                    <a:pt x="399" y="0"/>
                  </a:lnTo>
                  <a:lnTo>
                    <a:pt x="697" y="1592"/>
                  </a:lnTo>
                  <a:lnTo>
                    <a:pt x="0" y="2885"/>
                  </a:lnTo>
                  <a:lnTo>
                    <a:pt x="1794" y="407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3" name="Freeform: Shape 1232">
              <a:extLst>
                <a:ext uri="{FF2B5EF4-FFF2-40B4-BE49-F238E27FC236}">
                  <a16:creationId xmlns:a16="http://schemas.microsoft.com/office/drawing/2014/main" id="{08C070C5-B73D-4BD9-A1BE-13ABB294A700}"/>
                </a:ext>
              </a:extLst>
            </p:cNvPr>
            <p:cNvSpPr/>
            <p:nvPr/>
          </p:nvSpPr>
          <p:spPr>
            <a:xfrm>
              <a:off x="-440494" y="3928794"/>
              <a:ext cx="9665" cy="18504"/>
            </a:xfrm>
            <a:custGeom>
              <a:avLst/>
              <a:gdLst>
                <a:gd name="connsiteX0" fmla="*/ 1096 w 9665"/>
                <a:gd name="connsiteY0" fmla="*/ 1592 h 18504"/>
                <a:gd name="connsiteX1" fmla="*/ 299 w 9665"/>
                <a:gd name="connsiteY1" fmla="*/ 4776 h 18504"/>
                <a:gd name="connsiteX2" fmla="*/ 0 w 9665"/>
                <a:gd name="connsiteY2" fmla="*/ 8158 h 18504"/>
                <a:gd name="connsiteX3" fmla="*/ 299 w 9665"/>
                <a:gd name="connsiteY3" fmla="*/ 13729 h 18504"/>
                <a:gd name="connsiteX4" fmla="*/ 2292 w 9665"/>
                <a:gd name="connsiteY4" fmla="*/ 15918 h 18504"/>
                <a:gd name="connsiteX5" fmla="*/ 9167 w 9665"/>
                <a:gd name="connsiteY5" fmla="*/ 18505 h 18504"/>
                <a:gd name="connsiteX6" fmla="*/ 9665 w 9665"/>
                <a:gd name="connsiteY6" fmla="*/ 16216 h 18504"/>
                <a:gd name="connsiteX7" fmla="*/ 3986 w 9665"/>
                <a:gd name="connsiteY7" fmla="*/ 14426 h 18504"/>
                <a:gd name="connsiteX8" fmla="*/ 1594 w 9665"/>
                <a:gd name="connsiteY8" fmla="*/ 11839 h 18504"/>
                <a:gd name="connsiteX9" fmla="*/ 1096 w 9665"/>
                <a:gd name="connsiteY9" fmla="*/ 5472 h 18504"/>
                <a:gd name="connsiteX10" fmla="*/ 1694 w 9665"/>
                <a:gd name="connsiteY10" fmla="*/ 0 h 18504"/>
                <a:gd name="connsiteX11" fmla="*/ 1096 w 9665"/>
                <a:gd name="connsiteY11" fmla="*/ 1592 h 18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65" h="18504">
                  <a:moveTo>
                    <a:pt x="1096" y="1592"/>
                  </a:moveTo>
                  <a:lnTo>
                    <a:pt x="299" y="4776"/>
                  </a:lnTo>
                  <a:lnTo>
                    <a:pt x="0" y="8158"/>
                  </a:lnTo>
                  <a:lnTo>
                    <a:pt x="299" y="13729"/>
                  </a:lnTo>
                  <a:lnTo>
                    <a:pt x="2292" y="15918"/>
                  </a:lnTo>
                  <a:lnTo>
                    <a:pt x="9167" y="18505"/>
                  </a:lnTo>
                  <a:lnTo>
                    <a:pt x="9665" y="16216"/>
                  </a:lnTo>
                  <a:lnTo>
                    <a:pt x="3986" y="14426"/>
                  </a:lnTo>
                  <a:lnTo>
                    <a:pt x="1594" y="11839"/>
                  </a:lnTo>
                  <a:lnTo>
                    <a:pt x="1096" y="5472"/>
                  </a:lnTo>
                  <a:lnTo>
                    <a:pt x="1694" y="0"/>
                  </a:lnTo>
                  <a:lnTo>
                    <a:pt x="1096" y="15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4" name="Freeform: Shape 1233">
              <a:extLst>
                <a:ext uri="{FF2B5EF4-FFF2-40B4-BE49-F238E27FC236}">
                  <a16:creationId xmlns:a16="http://schemas.microsoft.com/office/drawing/2014/main" id="{BD2FFDB1-046F-4AEC-BB70-926011F7B0D0}"/>
                </a:ext>
              </a:extLst>
            </p:cNvPr>
            <p:cNvSpPr/>
            <p:nvPr/>
          </p:nvSpPr>
          <p:spPr>
            <a:xfrm>
              <a:off x="-362971" y="3977045"/>
              <a:ext cx="7174" cy="6963"/>
            </a:xfrm>
            <a:custGeom>
              <a:avLst/>
              <a:gdLst>
                <a:gd name="connsiteX0" fmla="*/ 0 w 7174"/>
                <a:gd name="connsiteY0" fmla="*/ 796 h 6963"/>
                <a:gd name="connsiteX1" fmla="*/ 399 w 7174"/>
                <a:gd name="connsiteY1" fmla="*/ 895 h 6963"/>
                <a:gd name="connsiteX2" fmla="*/ 3388 w 7174"/>
                <a:gd name="connsiteY2" fmla="*/ 3084 h 6963"/>
                <a:gd name="connsiteX3" fmla="*/ 6178 w 7174"/>
                <a:gd name="connsiteY3" fmla="*/ 6964 h 6963"/>
                <a:gd name="connsiteX4" fmla="*/ 7174 w 7174"/>
                <a:gd name="connsiteY4" fmla="*/ 6964 h 6963"/>
                <a:gd name="connsiteX5" fmla="*/ 4783 w 7174"/>
                <a:gd name="connsiteY5" fmla="*/ 2686 h 6963"/>
                <a:gd name="connsiteX6" fmla="*/ 1196 w 7174"/>
                <a:gd name="connsiteY6" fmla="*/ 199 h 6963"/>
                <a:gd name="connsiteX7" fmla="*/ 797 w 7174"/>
                <a:gd name="connsiteY7" fmla="*/ 0 h 6963"/>
                <a:gd name="connsiteX8" fmla="*/ 797 w 7174"/>
                <a:gd name="connsiteY8" fmla="*/ 99 h 6963"/>
                <a:gd name="connsiteX9" fmla="*/ 0 w 7174"/>
                <a:gd name="connsiteY9" fmla="*/ 796 h 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74" h="6963">
                  <a:moveTo>
                    <a:pt x="0" y="796"/>
                  </a:moveTo>
                  <a:lnTo>
                    <a:pt x="399" y="895"/>
                  </a:lnTo>
                  <a:lnTo>
                    <a:pt x="3388" y="3084"/>
                  </a:lnTo>
                  <a:lnTo>
                    <a:pt x="6178" y="6964"/>
                  </a:lnTo>
                  <a:lnTo>
                    <a:pt x="7174" y="6964"/>
                  </a:lnTo>
                  <a:lnTo>
                    <a:pt x="4783" y="2686"/>
                  </a:lnTo>
                  <a:lnTo>
                    <a:pt x="1196" y="199"/>
                  </a:lnTo>
                  <a:lnTo>
                    <a:pt x="797" y="0"/>
                  </a:lnTo>
                  <a:lnTo>
                    <a:pt x="797" y="99"/>
                  </a:lnTo>
                  <a:lnTo>
                    <a:pt x="0" y="7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5" name="Freeform: Shape 1234">
              <a:extLst>
                <a:ext uri="{FF2B5EF4-FFF2-40B4-BE49-F238E27FC236}">
                  <a16:creationId xmlns:a16="http://schemas.microsoft.com/office/drawing/2014/main" id="{E7103395-66E3-462A-B206-56635A55CBEA}"/>
                </a:ext>
              </a:extLst>
            </p:cNvPr>
            <p:cNvSpPr/>
            <p:nvPr/>
          </p:nvSpPr>
          <p:spPr>
            <a:xfrm>
              <a:off x="-369249" y="3974757"/>
              <a:ext cx="3288" cy="1492"/>
            </a:xfrm>
            <a:custGeom>
              <a:avLst/>
              <a:gdLst>
                <a:gd name="connsiteX0" fmla="*/ 100 w 3288"/>
                <a:gd name="connsiteY0" fmla="*/ 0 h 1492"/>
                <a:gd name="connsiteX1" fmla="*/ 0 w 3288"/>
                <a:gd name="connsiteY1" fmla="*/ 100 h 1492"/>
                <a:gd name="connsiteX2" fmla="*/ 1196 w 3288"/>
                <a:gd name="connsiteY2" fmla="*/ 1095 h 1492"/>
                <a:gd name="connsiteX3" fmla="*/ 3288 w 3288"/>
                <a:gd name="connsiteY3" fmla="*/ 1492 h 1492"/>
                <a:gd name="connsiteX4" fmla="*/ 2192 w 3288"/>
                <a:gd name="connsiteY4" fmla="*/ 597 h 1492"/>
                <a:gd name="connsiteX5" fmla="*/ 100 w 3288"/>
                <a:gd name="connsiteY5" fmla="*/ 0 h 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88" h="1492">
                  <a:moveTo>
                    <a:pt x="100" y="0"/>
                  </a:moveTo>
                  <a:lnTo>
                    <a:pt x="0" y="100"/>
                  </a:lnTo>
                  <a:lnTo>
                    <a:pt x="1196" y="1095"/>
                  </a:lnTo>
                  <a:lnTo>
                    <a:pt x="3288" y="1492"/>
                  </a:lnTo>
                  <a:lnTo>
                    <a:pt x="2192" y="597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6" name="Freeform: Shape 1235">
              <a:extLst>
                <a:ext uri="{FF2B5EF4-FFF2-40B4-BE49-F238E27FC236}">
                  <a16:creationId xmlns:a16="http://schemas.microsoft.com/office/drawing/2014/main" id="{313962C5-6E01-4464-805B-A00B1E0B6FCC}"/>
                </a:ext>
              </a:extLst>
            </p:cNvPr>
            <p:cNvSpPr/>
            <p:nvPr/>
          </p:nvSpPr>
          <p:spPr>
            <a:xfrm>
              <a:off x="-369149" y="3974458"/>
              <a:ext cx="6975" cy="3382"/>
            </a:xfrm>
            <a:custGeom>
              <a:avLst/>
              <a:gdLst>
                <a:gd name="connsiteX0" fmla="*/ 897 w 6975"/>
                <a:gd name="connsiteY0" fmla="*/ 0 h 3382"/>
                <a:gd name="connsiteX1" fmla="*/ 0 w 6975"/>
                <a:gd name="connsiteY1" fmla="*/ 298 h 3382"/>
                <a:gd name="connsiteX2" fmla="*/ 2092 w 6975"/>
                <a:gd name="connsiteY2" fmla="*/ 895 h 3382"/>
                <a:gd name="connsiteX3" fmla="*/ 3189 w 6975"/>
                <a:gd name="connsiteY3" fmla="*/ 1791 h 3382"/>
                <a:gd name="connsiteX4" fmla="*/ 3189 w 6975"/>
                <a:gd name="connsiteY4" fmla="*/ 1791 h 3382"/>
                <a:gd name="connsiteX5" fmla="*/ 6178 w 6975"/>
                <a:gd name="connsiteY5" fmla="*/ 3383 h 3382"/>
                <a:gd name="connsiteX6" fmla="*/ 6975 w 6975"/>
                <a:gd name="connsiteY6" fmla="*/ 2686 h 3382"/>
                <a:gd name="connsiteX7" fmla="*/ 6975 w 6975"/>
                <a:gd name="connsiteY7" fmla="*/ 2587 h 3382"/>
                <a:gd name="connsiteX8" fmla="*/ 3288 w 6975"/>
                <a:gd name="connsiteY8" fmla="*/ 796 h 3382"/>
                <a:gd name="connsiteX9" fmla="*/ 897 w 6975"/>
                <a:gd name="connsiteY9" fmla="*/ 0 h 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75" h="3382">
                  <a:moveTo>
                    <a:pt x="897" y="0"/>
                  </a:moveTo>
                  <a:lnTo>
                    <a:pt x="0" y="298"/>
                  </a:lnTo>
                  <a:lnTo>
                    <a:pt x="2092" y="895"/>
                  </a:lnTo>
                  <a:lnTo>
                    <a:pt x="3189" y="1791"/>
                  </a:lnTo>
                  <a:lnTo>
                    <a:pt x="3189" y="1791"/>
                  </a:lnTo>
                  <a:lnTo>
                    <a:pt x="6178" y="3383"/>
                  </a:lnTo>
                  <a:lnTo>
                    <a:pt x="6975" y="2686"/>
                  </a:lnTo>
                  <a:lnTo>
                    <a:pt x="6975" y="2587"/>
                  </a:lnTo>
                  <a:lnTo>
                    <a:pt x="3288" y="796"/>
                  </a:lnTo>
                  <a:lnTo>
                    <a:pt x="897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7" name="Freeform: Shape 1236">
              <a:extLst>
                <a:ext uri="{FF2B5EF4-FFF2-40B4-BE49-F238E27FC236}">
                  <a16:creationId xmlns:a16="http://schemas.microsoft.com/office/drawing/2014/main" id="{F41BA51F-AFDB-4053-9900-D0E01CCDA79A}"/>
                </a:ext>
              </a:extLst>
            </p:cNvPr>
            <p:cNvSpPr/>
            <p:nvPr/>
          </p:nvSpPr>
          <p:spPr>
            <a:xfrm>
              <a:off x="6264953" y="-422089"/>
              <a:ext cx="35273" cy="4178"/>
            </a:xfrm>
            <a:custGeom>
              <a:avLst/>
              <a:gdLst>
                <a:gd name="connsiteX0" fmla="*/ 6078 w 35273"/>
                <a:gd name="connsiteY0" fmla="*/ 99 h 4178"/>
                <a:gd name="connsiteX1" fmla="*/ 0 w 35273"/>
                <a:gd name="connsiteY1" fmla="*/ 2487 h 4178"/>
                <a:gd name="connsiteX2" fmla="*/ 2591 w 35273"/>
                <a:gd name="connsiteY2" fmla="*/ 4178 h 4178"/>
                <a:gd name="connsiteX3" fmla="*/ 28398 w 35273"/>
                <a:gd name="connsiteY3" fmla="*/ 3880 h 4178"/>
                <a:gd name="connsiteX4" fmla="*/ 32285 w 35273"/>
                <a:gd name="connsiteY4" fmla="*/ 3781 h 4178"/>
                <a:gd name="connsiteX5" fmla="*/ 32384 w 35273"/>
                <a:gd name="connsiteY5" fmla="*/ 3781 h 4178"/>
                <a:gd name="connsiteX6" fmla="*/ 32085 w 35273"/>
                <a:gd name="connsiteY6" fmla="*/ 3681 h 4178"/>
                <a:gd name="connsiteX7" fmla="*/ 32982 w 35273"/>
                <a:gd name="connsiteY7" fmla="*/ 1094 h 4178"/>
                <a:gd name="connsiteX8" fmla="*/ 35274 w 35273"/>
                <a:gd name="connsiteY8" fmla="*/ 995 h 4178"/>
                <a:gd name="connsiteX9" fmla="*/ 35274 w 35273"/>
                <a:gd name="connsiteY9" fmla="*/ 0 h 4178"/>
                <a:gd name="connsiteX10" fmla="*/ 33978 w 35273"/>
                <a:gd name="connsiteY10" fmla="*/ 298 h 4178"/>
                <a:gd name="connsiteX11" fmla="*/ 6078 w 35273"/>
                <a:gd name="connsiteY11" fmla="*/ 99 h 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273" h="4178">
                  <a:moveTo>
                    <a:pt x="6078" y="99"/>
                  </a:moveTo>
                  <a:lnTo>
                    <a:pt x="0" y="2487"/>
                  </a:lnTo>
                  <a:lnTo>
                    <a:pt x="2591" y="4178"/>
                  </a:lnTo>
                  <a:lnTo>
                    <a:pt x="28398" y="3880"/>
                  </a:lnTo>
                  <a:lnTo>
                    <a:pt x="32285" y="3781"/>
                  </a:lnTo>
                  <a:lnTo>
                    <a:pt x="32384" y="3781"/>
                  </a:lnTo>
                  <a:lnTo>
                    <a:pt x="32085" y="3681"/>
                  </a:lnTo>
                  <a:lnTo>
                    <a:pt x="32982" y="1094"/>
                  </a:lnTo>
                  <a:lnTo>
                    <a:pt x="35274" y="995"/>
                  </a:lnTo>
                  <a:lnTo>
                    <a:pt x="35274" y="0"/>
                  </a:lnTo>
                  <a:lnTo>
                    <a:pt x="33978" y="298"/>
                  </a:lnTo>
                  <a:lnTo>
                    <a:pt x="6078" y="99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8" name="Freeform: Shape 1237">
              <a:extLst>
                <a:ext uri="{FF2B5EF4-FFF2-40B4-BE49-F238E27FC236}">
                  <a16:creationId xmlns:a16="http://schemas.microsoft.com/office/drawing/2014/main" id="{B655A32D-EC53-4235-A2B8-DF26B3F596EA}"/>
                </a:ext>
              </a:extLst>
            </p:cNvPr>
            <p:cNvSpPr/>
            <p:nvPr/>
          </p:nvSpPr>
          <p:spPr>
            <a:xfrm>
              <a:off x="6299829" y="-434326"/>
              <a:ext cx="398" cy="1293"/>
            </a:xfrm>
            <a:custGeom>
              <a:avLst/>
              <a:gdLst>
                <a:gd name="connsiteX0" fmla="*/ 0 w 398"/>
                <a:gd name="connsiteY0" fmla="*/ 1293 h 1293"/>
                <a:gd name="connsiteX1" fmla="*/ 398 w 398"/>
                <a:gd name="connsiteY1" fmla="*/ 1293 h 1293"/>
                <a:gd name="connsiteX2" fmla="*/ 398 w 398"/>
                <a:gd name="connsiteY2" fmla="*/ 0 h 1293"/>
                <a:gd name="connsiteX3" fmla="*/ 0 w 398"/>
                <a:gd name="connsiteY3" fmla="*/ 99 h 1293"/>
                <a:gd name="connsiteX4" fmla="*/ 0 w 398"/>
                <a:gd name="connsiteY4" fmla="*/ 1293 h 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8" h="1293">
                  <a:moveTo>
                    <a:pt x="0" y="1293"/>
                  </a:moveTo>
                  <a:lnTo>
                    <a:pt x="398" y="1293"/>
                  </a:lnTo>
                  <a:lnTo>
                    <a:pt x="398" y="0"/>
                  </a:lnTo>
                  <a:lnTo>
                    <a:pt x="0" y="99"/>
                  </a:lnTo>
                  <a:lnTo>
                    <a:pt x="0" y="1293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39" name="Freeform: Shape 1238">
              <a:extLst>
                <a:ext uri="{FF2B5EF4-FFF2-40B4-BE49-F238E27FC236}">
                  <a16:creationId xmlns:a16="http://schemas.microsoft.com/office/drawing/2014/main" id="{D5043A6A-1484-4021-851C-6B19E6A0910B}"/>
                </a:ext>
              </a:extLst>
            </p:cNvPr>
            <p:cNvSpPr/>
            <p:nvPr/>
          </p:nvSpPr>
          <p:spPr>
            <a:xfrm>
              <a:off x="6284982" y="-273654"/>
              <a:ext cx="15245" cy="11341"/>
            </a:xfrm>
            <a:custGeom>
              <a:avLst/>
              <a:gdLst>
                <a:gd name="connsiteX0" fmla="*/ 3985 w 15245"/>
                <a:gd name="connsiteY0" fmla="*/ 5074 h 11341"/>
                <a:gd name="connsiteX1" fmla="*/ 0 w 15245"/>
                <a:gd name="connsiteY1" fmla="*/ 11342 h 11341"/>
                <a:gd name="connsiteX2" fmla="*/ 6576 w 15245"/>
                <a:gd name="connsiteY2" fmla="*/ 9053 h 11341"/>
                <a:gd name="connsiteX3" fmla="*/ 13053 w 15245"/>
                <a:gd name="connsiteY3" fmla="*/ 5173 h 11341"/>
                <a:gd name="connsiteX4" fmla="*/ 13551 w 15245"/>
                <a:gd name="connsiteY4" fmla="*/ 6566 h 11341"/>
                <a:gd name="connsiteX5" fmla="*/ 13551 w 15245"/>
                <a:gd name="connsiteY5" fmla="*/ 7760 h 11341"/>
                <a:gd name="connsiteX6" fmla="*/ 13053 w 15245"/>
                <a:gd name="connsiteY6" fmla="*/ 8954 h 11341"/>
                <a:gd name="connsiteX7" fmla="*/ 12057 w 15245"/>
                <a:gd name="connsiteY7" fmla="*/ 9949 h 11341"/>
                <a:gd name="connsiteX8" fmla="*/ 15245 w 15245"/>
                <a:gd name="connsiteY8" fmla="*/ 9849 h 11341"/>
                <a:gd name="connsiteX9" fmla="*/ 15245 w 15245"/>
                <a:gd name="connsiteY9" fmla="*/ 0 h 11341"/>
                <a:gd name="connsiteX10" fmla="*/ 11658 w 15245"/>
                <a:gd name="connsiteY10" fmla="*/ 1094 h 11341"/>
                <a:gd name="connsiteX11" fmla="*/ 3985 w 15245"/>
                <a:gd name="connsiteY11" fmla="*/ 5074 h 11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45" h="11341">
                  <a:moveTo>
                    <a:pt x="3985" y="5074"/>
                  </a:moveTo>
                  <a:lnTo>
                    <a:pt x="0" y="11342"/>
                  </a:lnTo>
                  <a:lnTo>
                    <a:pt x="6576" y="9053"/>
                  </a:lnTo>
                  <a:lnTo>
                    <a:pt x="13053" y="5173"/>
                  </a:lnTo>
                  <a:lnTo>
                    <a:pt x="13551" y="6566"/>
                  </a:lnTo>
                  <a:lnTo>
                    <a:pt x="13551" y="7760"/>
                  </a:lnTo>
                  <a:lnTo>
                    <a:pt x="13053" y="8954"/>
                  </a:lnTo>
                  <a:lnTo>
                    <a:pt x="12057" y="9949"/>
                  </a:lnTo>
                  <a:lnTo>
                    <a:pt x="15245" y="9849"/>
                  </a:lnTo>
                  <a:lnTo>
                    <a:pt x="15245" y="0"/>
                  </a:lnTo>
                  <a:lnTo>
                    <a:pt x="11658" y="1094"/>
                  </a:lnTo>
                  <a:lnTo>
                    <a:pt x="3985" y="5074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0" name="Freeform: Shape 1239">
              <a:extLst>
                <a:ext uri="{FF2B5EF4-FFF2-40B4-BE49-F238E27FC236}">
                  <a16:creationId xmlns:a16="http://schemas.microsoft.com/office/drawing/2014/main" id="{62563484-D86F-48DA-A542-5042A282640C}"/>
                </a:ext>
              </a:extLst>
            </p:cNvPr>
            <p:cNvSpPr/>
            <p:nvPr/>
          </p:nvSpPr>
          <p:spPr>
            <a:xfrm>
              <a:off x="5855515" y="-417413"/>
              <a:ext cx="445110" cy="212505"/>
            </a:xfrm>
            <a:custGeom>
              <a:avLst/>
              <a:gdLst>
                <a:gd name="connsiteX0" fmla="*/ 442022 w 445110"/>
                <a:gd name="connsiteY0" fmla="*/ 1691 h 212505"/>
                <a:gd name="connsiteX1" fmla="*/ 440527 w 445110"/>
                <a:gd name="connsiteY1" fmla="*/ 0 h 212505"/>
                <a:gd name="connsiteX2" fmla="*/ 438036 w 445110"/>
                <a:gd name="connsiteY2" fmla="*/ 0 h 212505"/>
                <a:gd name="connsiteX3" fmla="*/ 435943 w 445110"/>
                <a:gd name="connsiteY3" fmla="*/ 0 h 212505"/>
                <a:gd name="connsiteX4" fmla="*/ 432156 w 445110"/>
                <a:gd name="connsiteY4" fmla="*/ 1890 h 212505"/>
                <a:gd name="connsiteX5" fmla="*/ 430662 w 445110"/>
                <a:gd name="connsiteY5" fmla="*/ 2985 h 212505"/>
                <a:gd name="connsiteX6" fmla="*/ 433552 w 445110"/>
                <a:gd name="connsiteY6" fmla="*/ 5273 h 212505"/>
                <a:gd name="connsiteX7" fmla="*/ 432057 w 445110"/>
                <a:gd name="connsiteY7" fmla="*/ 7064 h 212505"/>
                <a:gd name="connsiteX8" fmla="*/ 426776 w 445110"/>
                <a:gd name="connsiteY8" fmla="*/ 9650 h 212505"/>
                <a:gd name="connsiteX9" fmla="*/ 424982 w 445110"/>
                <a:gd name="connsiteY9" fmla="*/ 11342 h 212505"/>
                <a:gd name="connsiteX10" fmla="*/ 419004 w 445110"/>
                <a:gd name="connsiteY10" fmla="*/ 14426 h 212505"/>
                <a:gd name="connsiteX11" fmla="*/ 416712 w 445110"/>
                <a:gd name="connsiteY11" fmla="*/ 15122 h 212505"/>
                <a:gd name="connsiteX12" fmla="*/ 413424 w 445110"/>
                <a:gd name="connsiteY12" fmla="*/ 15122 h 212505"/>
                <a:gd name="connsiteX13" fmla="*/ 402064 w 445110"/>
                <a:gd name="connsiteY13" fmla="*/ 13530 h 212505"/>
                <a:gd name="connsiteX14" fmla="*/ 399673 w 445110"/>
                <a:gd name="connsiteY14" fmla="*/ 12734 h 212505"/>
                <a:gd name="connsiteX15" fmla="*/ 398178 w 445110"/>
                <a:gd name="connsiteY15" fmla="*/ 12734 h 212505"/>
                <a:gd name="connsiteX16" fmla="*/ 396783 w 445110"/>
                <a:gd name="connsiteY16" fmla="*/ 12734 h 212505"/>
                <a:gd name="connsiteX17" fmla="*/ 394491 w 445110"/>
                <a:gd name="connsiteY17" fmla="*/ 14227 h 212505"/>
                <a:gd name="connsiteX18" fmla="*/ 392897 w 445110"/>
                <a:gd name="connsiteY18" fmla="*/ 14227 h 212505"/>
                <a:gd name="connsiteX19" fmla="*/ 391602 w 445110"/>
                <a:gd name="connsiteY19" fmla="*/ 14227 h 212505"/>
                <a:gd name="connsiteX20" fmla="*/ 390705 w 445110"/>
                <a:gd name="connsiteY20" fmla="*/ 14227 h 212505"/>
                <a:gd name="connsiteX21" fmla="*/ 389907 w 445110"/>
                <a:gd name="connsiteY21" fmla="*/ 13630 h 212505"/>
                <a:gd name="connsiteX22" fmla="*/ 389111 w 445110"/>
                <a:gd name="connsiteY22" fmla="*/ 13530 h 212505"/>
                <a:gd name="connsiteX23" fmla="*/ 387616 w 445110"/>
                <a:gd name="connsiteY23" fmla="*/ 12734 h 212505"/>
                <a:gd name="connsiteX24" fmla="*/ 386022 w 445110"/>
                <a:gd name="connsiteY24" fmla="*/ 12734 h 212505"/>
                <a:gd name="connsiteX25" fmla="*/ 384427 w 445110"/>
                <a:gd name="connsiteY25" fmla="*/ 13431 h 212505"/>
                <a:gd name="connsiteX26" fmla="*/ 348356 w 445110"/>
                <a:gd name="connsiteY26" fmla="*/ 18604 h 212505"/>
                <a:gd name="connsiteX27" fmla="*/ 348356 w 445110"/>
                <a:gd name="connsiteY27" fmla="*/ 21191 h 212505"/>
                <a:gd name="connsiteX28" fmla="*/ 341381 w 445110"/>
                <a:gd name="connsiteY28" fmla="*/ 24673 h 212505"/>
                <a:gd name="connsiteX29" fmla="*/ 338989 w 445110"/>
                <a:gd name="connsiteY29" fmla="*/ 27260 h 212505"/>
                <a:gd name="connsiteX30" fmla="*/ 344171 w 445110"/>
                <a:gd name="connsiteY30" fmla="*/ 27260 h 212505"/>
                <a:gd name="connsiteX31" fmla="*/ 354932 w 445110"/>
                <a:gd name="connsiteY31" fmla="*/ 23479 h 212505"/>
                <a:gd name="connsiteX32" fmla="*/ 360014 w 445110"/>
                <a:gd name="connsiteY32" fmla="*/ 23479 h 212505"/>
                <a:gd name="connsiteX33" fmla="*/ 357723 w 445110"/>
                <a:gd name="connsiteY33" fmla="*/ 25668 h 212505"/>
                <a:gd name="connsiteX34" fmla="*/ 352242 w 445110"/>
                <a:gd name="connsiteY34" fmla="*/ 28055 h 212505"/>
                <a:gd name="connsiteX35" fmla="*/ 349651 w 445110"/>
                <a:gd name="connsiteY35" fmla="*/ 29647 h 212505"/>
                <a:gd name="connsiteX36" fmla="*/ 347658 w 445110"/>
                <a:gd name="connsiteY36" fmla="*/ 28453 h 212505"/>
                <a:gd name="connsiteX37" fmla="*/ 345367 w 445110"/>
                <a:gd name="connsiteY37" fmla="*/ 28453 h 212505"/>
                <a:gd name="connsiteX38" fmla="*/ 340982 w 445110"/>
                <a:gd name="connsiteY38" fmla="*/ 30443 h 212505"/>
                <a:gd name="connsiteX39" fmla="*/ 341580 w 445110"/>
                <a:gd name="connsiteY39" fmla="*/ 31736 h 212505"/>
                <a:gd name="connsiteX40" fmla="*/ 343274 w 445110"/>
                <a:gd name="connsiteY40" fmla="*/ 34522 h 212505"/>
                <a:gd name="connsiteX41" fmla="*/ 343274 w 445110"/>
                <a:gd name="connsiteY41" fmla="*/ 35318 h 212505"/>
                <a:gd name="connsiteX42" fmla="*/ 342178 w 445110"/>
                <a:gd name="connsiteY42" fmla="*/ 36512 h 212505"/>
                <a:gd name="connsiteX43" fmla="*/ 340385 w 445110"/>
                <a:gd name="connsiteY43" fmla="*/ 36512 h 212505"/>
                <a:gd name="connsiteX44" fmla="*/ 330420 w 445110"/>
                <a:gd name="connsiteY44" fmla="*/ 36512 h 212505"/>
                <a:gd name="connsiteX45" fmla="*/ 312285 w 445110"/>
                <a:gd name="connsiteY45" fmla="*/ 39994 h 212505"/>
                <a:gd name="connsiteX46" fmla="*/ 300327 w 445110"/>
                <a:gd name="connsiteY46" fmla="*/ 44570 h 212505"/>
                <a:gd name="connsiteX47" fmla="*/ 285281 w 445110"/>
                <a:gd name="connsiteY47" fmla="*/ 53624 h 212505"/>
                <a:gd name="connsiteX48" fmla="*/ 279402 w 445110"/>
                <a:gd name="connsiteY48" fmla="*/ 55613 h 212505"/>
                <a:gd name="connsiteX49" fmla="*/ 260270 w 445110"/>
                <a:gd name="connsiteY49" fmla="*/ 55613 h 212505"/>
                <a:gd name="connsiteX50" fmla="*/ 244726 w 445110"/>
                <a:gd name="connsiteY50" fmla="*/ 60389 h 212505"/>
                <a:gd name="connsiteX51" fmla="*/ 228783 w 445110"/>
                <a:gd name="connsiteY51" fmla="*/ 63274 h 212505"/>
                <a:gd name="connsiteX52" fmla="*/ 225794 w 445110"/>
                <a:gd name="connsiteY52" fmla="*/ 64269 h 212505"/>
                <a:gd name="connsiteX53" fmla="*/ 221708 w 445110"/>
                <a:gd name="connsiteY53" fmla="*/ 66856 h 212505"/>
                <a:gd name="connsiteX54" fmla="*/ 215730 w 445110"/>
                <a:gd name="connsiteY54" fmla="*/ 67651 h 212505"/>
                <a:gd name="connsiteX55" fmla="*/ 211445 w 445110"/>
                <a:gd name="connsiteY55" fmla="*/ 70437 h 212505"/>
                <a:gd name="connsiteX56" fmla="*/ 194904 w 445110"/>
                <a:gd name="connsiteY56" fmla="*/ 73521 h 212505"/>
                <a:gd name="connsiteX57" fmla="*/ 192214 w 445110"/>
                <a:gd name="connsiteY57" fmla="*/ 73521 h 212505"/>
                <a:gd name="connsiteX58" fmla="*/ 180057 w 445110"/>
                <a:gd name="connsiteY58" fmla="*/ 71034 h 212505"/>
                <a:gd name="connsiteX59" fmla="*/ 174377 w 445110"/>
                <a:gd name="connsiteY59" fmla="*/ 72327 h 212505"/>
                <a:gd name="connsiteX60" fmla="*/ 171886 w 445110"/>
                <a:gd name="connsiteY60" fmla="*/ 73422 h 212505"/>
                <a:gd name="connsiteX61" fmla="*/ 171288 w 445110"/>
                <a:gd name="connsiteY61" fmla="*/ 74616 h 212505"/>
                <a:gd name="connsiteX62" fmla="*/ 170392 w 445110"/>
                <a:gd name="connsiteY62" fmla="*/ 74616 h 212505"/>
                <a:gd name="connsiteX63" fmla="*/ 171488 w 445110"/>
                <a:gd name="connsiteY63" fmla="*/ 75610 h 212505"/>
                <a:gd name="connsiteX64" fmla="*/ 177865 w 445110"/>
                <a:gd name="connsiteY64" fmla="*/ 77700 h 212505"/>
                <a:gd name="connsiteX65" fmla="*/ 178961 w 445110"/>
                <a:gd name="connsiteY65" fmla="*/ 77700 h 212505"/>
                <a:gd name="connsiteX66" fmla="*/ 178961 w 445110"/>
                <a:gd name="connsiteY66" fmla="*/ 78595 h 212505"/>
                <a:gd name="connsiteX67" fmla="*/ 178961 w 445110"/>
                <a:gd name="connsiteY67" fmla="*/ 81480 h 212505"/>
                <a:gd name="connsiteX68" fmla="*/ 180456 w 445110"/>
                <a:gd name="connsiteY68" fmla="*/ 82177 h 212505"/>
                <a:gd name="connsiteX69" fmla="*/ 189225 w 445110"/>
                <a:gd name="connsiteY69" fmla="*/ 79590 h 212505"/>
                <a:gd name="connsiteX70" fmla="*/ 206761 w 445110"/>
                <a:gd name="connsiteY70" fmla="*/ 79590 h 212505"/>
                <a:gd name="connsiteX71" fmla="*/ 229879 w 445110"/>
                <a:gd name="connsiteY71" fmla="*/ 73024 h 212505"/>
                <a:gd name="connsiteX72" fmla="*/ 249808 w 445110"/>
                <a:gd name="connsiteY72" fmla="*/ 69641 h 212505"/>
                <a:gd name="connsiteX73" fmla="*/ 268641 w 445110"/>
                <a:gd name="connsiteY73" fmla="*/ 62080 h 212505"/>
                <a:gd name="connsiteX74" fmla="*/ 275018 w 445110"/>
                <a:gd name="connsiteY74" fmla="*/ 60289 h 212505"/>
                <a:gd name="connsiteX75" fmla="*/ 277509 w 445110"/>
                <a:gd name="connsiteY75" fmla="*/ 60289 h 212505"/>
                <a:gd name="connsiteX76" fmla="*/ 283986 w 445110"/>
                <a:gd name="connsiteY76" fmla="*/ 60289 h 212505"/>
                <a:gd name="connsiteX77" fmla="*/ 285879 w 445110"/>
                <a:gd name="connsiteY77" fmla="*/ 59493 h 212505"/>
                <a:gd name="connsiteX78" fmla="*/ 289665 w 445110"/>
                <a:gd name="connsiteY78" fmla="*/ 55912 h 212505"/>
                <a:gd name="connsiteX79" fmla="*/ 299630 w 445110"/>
                <a:gd name="connsiteY79" fmla="*/ 51236 h 212505"/>
                <a:gd name="connsiteX80" fmla="*/ 303616 w 445110"/>
                <a:gd name="connsiteY80" fmla="*/ 47853 h 212505"/>
                <a:gd name="connsiteX81" fmla="*/ 304712 w 445110"/>
                <a:gd name="connsiteY81" fmla="*/ 47853 h 212505"/>
                <a:gd name="connsiteX82" fmla="*/ 306805 w 445110"/>
                <a:gd name="connsiteY82" fmla="*/ 47853 h 212505"/>
                <a:gd name="connsiteX83" fmla="*/ 307900 w 445110"/>
                <a:gd name="connsiteY83" fmla="*/ 47853 h 212505"/>
                <a:gd name="connsiteX84" fmla="*/ 309594 w 445110"/>
                <a:gd name="connsiteY84" fmla="*/ 47853 h 212505"/>
                <a:gd name="connsiteX85" fmla="*/ 312185 w 445110"/>
                <a:gd name="connsiteY85" fmla="*/ 47853 h 212505"/>
                <a:gd name="connsiteX86" fmla="*/ 314576 w 445110"/>
                <a:gd name="connsiteY86" fmla="*/ 47058 h 212505"/>
                <a:gd name="connsiteX87" fmla="*/ 316769 w 445110"/>
                <a:gd name="connsiteY87" fmla="*/ 45764 h 212505"/>
                <a:gd name="connsiteX88" fmla="*/ 320156 w 445110"/>
                <a:gd name="connsiteY88" fmla="*/ 41685 h 212505"/>
                <a:gd name="connsiteX89" fmla="*/ 322349 w 445110"/>
                <a:gd name="connsiteY89" fmla="*/ 40591 h 212505"/>
                <a:gd name="connsiteX90" fmla="*/ 325338 w 445110"/>
                <a:gd name="connsiteY90" fmla="*/ 42083 h 212505"/>
                <a:gd name="connsiteX91" fmla="*/ 322747 w 445110"/>
                <a:gd name="connsiteY91" fmla="*/ 43675 h 212505"/>
                <a:gd name="connsiteX92" fmla="*/ 320356 w 445110"/>
                <a:gd name="connsiteY92" fmla="*/ 45565 h 212505"/>
                <a:gd name="connsiteX93" fmla="*/ 318363 w 445110"/>
                <a:gd name="connsiteY93" fmla="*/ 47853 h 212505"/>
                <a:gd name="connsiteX94" fmla="*/ 315075 w 445110"/>
                <a:gd name="connsiteY94" fmla="*/ 53723 h 212505"/>
                <a:gd name="connsiteX95" fmla="*/ 313580 w 445110"/>
                <a:gd name="connsiteY95" fmla="*/ 55414 h 212505"/>
                <a:gd name="connsiteX96" fmla="*/ 308798 w 445110"/>
                <a:gd name="connsiteY96" fmla="*/ 57902 h 212505"/>
                <a:gd name="connsiteX97" fmla="*/ 306107 w 445110"/>
                <a:gd name="connsiteY97" fmla="*/ 59891 h 212505"/>
                <a:gd name="connsiteX98" fmla="*/ 304512 w 445110"/>
                <a:gd name="connsiteY98" fmla="*/ 62180 h 212505"/>
                <a:gd name="connsiteX99" fmla="*/ 303118 w 445110"/>
                <a:gd name="connsiteY99" fmla="*/ 64866 h 212505"/>
                <a:gd name="connsiteX100" fmla="*/ 301125 w 445110"/>
                <a:gd name="connsiteY100" fmla="*/ 67651 h 212505"/>
                <a:gd name="connsiteX101" fmla="*/ 295943 w 445110"/>
                <a:gd name="connsiteY101" fmla="*/ 72825 h 212505"/>
                <a:gd name="connsiteX102" fmla="*/ 293054 w 445110"/>
                <a:gd name="connsiteY102" fmla="*/ 74815 h 212505"/>
                <a:gd name="connsiteX103" fmla="*/ 289665 w 445110"/>
                <a:gd name="connsiteY103" fmla="*/ 76207 h 212505"/>
                <a:gd name="connsiteX104" fmla="*/ 282989 w 445110"/>
                <a:gd name="connsiteY104" fmla="*/ 76904 h 212505"/>
                <a:gd name="connsiteX105" fmla="*/ 263559 w 445110"/>
                <a:gd name="connsiteY105" fmla="*/ 73223 h 212505"/>
                <a:gd name="connsiteX106" fmla="*/ 240143 w 445110"/>
                <a:gd name="connsiteY106" fmla="*/ 76804 h 212505"/>
                <a:gd name="connsiteX107" fmla="*/ 240143 w 445110"/>
                <a:gd name="connsiteY107" fmla="*/ 78098 h 212505"/>
                <a:gd name="connsiteX108" fmla="*/ 255787 w 445110"/>
                <a:gd name="connsiteY108" fmla="*/ 79291 h 212505"/>
                <a:gd name="connsiteX109" fmla="*/ 250207 w 445110"/>
                <a:gd name="connsiteY109" fmla="*/ 85957 h 212505"/>
                <a:gd name="connsiteX110" fmla="*/ 248812 w 445110"/>
                <a:gd name="connsiteY110" fmla="*/ 87151 h 212505"/>
                <a:gd name="connsiteX111" fmla="*/ 245423 w 445110"/>
                <a:gd name="connsiteY111" fmla="*/ 88544 h 212505"/>
                <a:gd name="connsiteX112" fmla="*/ 244128 w 445110"/>
                <a:gd name="connsiteY112" fmla="*/ 89638 h 212505"/>
                <a:gd name="connsiteX113" fmla="*/ 241239 w 445110"/>
                <a:gd name="connsiteY113" fmla="*/ 90633 h 212505"/>
                <a:gd name="connsiteX114" fmla="*/ 232570 w 445110"/>
                <a:gd name="connsiteY114" fmla="*/ 90633 h 212505"/>
                <a:gd name="connsiteX115" fmla="*/ 231374 w 445110"/>
                <a:gd name="connsiteY115" fmla="*/ 91628 h 212505"/>
                <a:gd name="connsiteX116" fmla="*/ 228783 w 445110"/>
                <a:gd name="connsiteY116" fmla="*/ 91628 h 212505"/>
                <a:gd name="connsiteX117" fmla="*/ 218321 w 445110"/>
                <a:gd name="connsiteY117" fmla="*/ 94414 h 212505"/>
                <a:gd name="connsiteX118" fmla="*/ 211645 w 445110"/>
                <a:gd name="connsiteY118" fmla="*/ 97697 h 212505"/>
                <a:gd name="connsiteX119" fmla="*/ 207459 w 445110"/>
                <a:gd name="connsiteY119" fmla="*/ 100880 h 212505"/>
                <a:gd name="connsiteX120" fmla="*/ 201879 w 445110"/>
                <a:gd name="connsiteY120" fmla="*/ 102472 h 212505"/>
                <a:gd name="connsiteX121" fmla="*/ 199488 w 445110"/>
                <a:gd name="connsiteY121" fmla="*/ 103566 h 212505"/>
                <a:gd name="connsiteX122" fmla="*/ 191616 w 445110"/>
                <a:gd name="connsiteY122" fmla="*/ 109735 h 212505"/>
                <a:gd name="connsiteX123" fmla="*/ 189822 w 445110"/>
                <a:gd name="connsiteY123" fmla="*/ 109735 h 212505"/>
                <a:gd name="connsiteX124" fmla="*/ 185637 w 445110"/>
                <a:gd name="connsiteY124" fmla="*/ 112620 h 212505"/>
                <a:gd name="connsiteX125" fmla="*/ 178363 w 445110"/>
                <a:gd name="connsiteY125" fmla="*/ 113814 h 212505"/>
                <a:gd name="connsiteX126" fmla="*/ 164812 w 445110"/>
                <a:gd name="connsiteY126" fmla="*/ 113814 h 212505"/>
                <a:gd name="connsiteX127" fmla="*/ 145481 w 445110"/>
                <a:gd name="connsiteY127" fmla="*/ 109635 h 212505"/>
                <a:gd name="connsiteX128" fmla="*/ 138804 w 445110"/>
                <a:gd name="connsiteY128" fmla="*/ 110232 h 212505"/>
                <a:gd name="connsiteX129" fmla="*/ 136014 w 445110"/>
                <a:gd name="connsiteY129" fmla="*/ 111227 h 212505"/>
                <a:gd name="connsiteX130" fmla="*/ 134719 w 445110"/>
                <a:gd name="connsiteY130" fmla="*/ 112222 h 212505"/>
                <a:gd name="connsiteX131" fmla="*/ 134719 w 445110"/>
                <a:gd name="connsiteY131" fmla="*/ 113814 h 212505"/>
                <a:gd name="connsiteX132" fmla="*/ 136014 w 445110"/>
                <a:gd name="connsiteY132" fmla="*/ 115007 h 212505"/>
                <a:gd name="connsiteX133" fmla="*/ 141196 w 445110"/>
                <a:gd name="connsiteY133" fmla="*/ 115007 h 212505"/>
                <a:gd name="connsiteX134" fmla="*/ 142890 w 445110"/>
                <a:gd name="connsiteY134" fmla="*/ 115704 h 212505"/>
                <a:gd name="connsiteX135" fmla="*/ 143786 w 445110"/>
                <a:gd name="connsiteY135" fmla="*/ 118390 h 212505"/>
                <a:gd name="connsiteX136" fmla="*/ 141794 w 445110"/>
                <a:gd name="connsiteY136" fmla="*/ 119385 h 212505"/>
                <a:gd name="connsiteX137" fmla="*/ 131830 w 445110"/>
                <a:gd name="connsiteY137" fmla="*/ 118887 h 212505"/>
                <a:gd name="connsiteX138" fmla="*/ 118875 w 445110"/>
                <a:gd name="connsiteY138" fmla="*/ 121673 h 212505"/>
                <a:gd name="connsiteX139" fmla="*/ 113794 w 445110"/>
                <a:gd name="connsiteY139" fmla="*/ 124160 h 212505"/>
                <a:gd name="connsiteX140" fmla="*/ 111103 w 445110"/>
                <a:gd name="connsiteY140" fmla="*/ 124857 h 212505"/>
                <a:gd name="connsiteX141" fmla="*/ 108612 w 445110"/>
                <a:gd name="connsiteY141" fmla="*/ 124857 h 212505"/>
                <a:gd name="connsiteX142" fmla="*/ 102335 w 445110"/>
                <a:gd name="connsiteY142" fmla="*/ 121474 h 212505"/>
                <a:gd name="connsiteX143" fmla="*/ 102335 w 445110"/>
                <a:gd name="connsiteY143" fmla="*/ 122867 h 212505"/>
                <a:gd name="connsiteX144" fmla="*/ 102335 w 445110"/>
                <a:gd name="connsiteY144" fmla="*/ 122867 h 212505"/>
                <a:gd name="connsiteX145" fmla="*/ 102335 w 445110"/>
                <a:gd name="connsiteY145" fmla="*/ 122867 h 212505"/>
                <a:gd name="connsiteX146" fmla="*/ 102335 w 445110"/>
                <a:gd name="connsiteY146" fmla="*/ 122867 h 212505"/>
                <a:gd name="connsiteX147" fmla="*/ 104527 w 445110"/>
                <a:gd name="connsiteY147" fmla="*/ 126250 h 212505"/>
                <a:gd name="connsiteX148" fmla="*/ 108313 w 445110"/>
                <a:gd name="connsiteY148" fmla="*/ 129831 h 212505"/>
                <a:gd name="connsiteX149" fmla="*/ 112598 w 445110"/>
                <a:gd name="connsiteY149" fmla="*/ 132716 h 212505"/>
                <a:gd name="connsiteX150" fmla="*/ 116185 w 445110"/>
                <a:gd name="connsiteY150" fmla="*/ 133910 h 212505"/>
                <a:gd name="connsiteX151" fmla="*/ 116185 w 445110"/>
                <a:gd name="connsiteY151" fmla="*/ 135004 h 212505"/>
                <a:gd name="connsiteX152" fmla="*/ 109509 w 445110"/>
                <a:gd name="connsiteY152" fmla="*/ 135004 h 212505"/>
                <a:gd name="connsiteX153" fmla="*/ 106321 w 445110"/>
                <a:gd name="connsiteY153" fmla="*/ 136596 h 212505"/>
                <a:gd name="connsiteX154" fmla="*/ 104926 w 445110"/>
                <a:gd name="connsiteY154" fmla="*/ 140775 h 212505"/>
                <a:gd name="connsiteX155" fmla="*/ 104926 w 445110"/>
                <a:gd name="connsiteY155" fmla="*/ 145053 h 212505"/>
                <a:gd name="connsiteX156" fmla="*/ 104328 w 445110"/>
                <a:gd name="connsiteY156" fmla="*/ 148336 h 212505"/>
                <a:gd name="connsiteX157" fmla="*/ 104328 w 445110"/>
                <a:gd name="connsiteY157" fmla="*/ 151221 h 212505"/>
                <a:gd name="connsiteX158" fmla="*/ 106021 w 445110"/>
                <a:gd name="connsiteY158" fmla="*/ 154703 h 212505"/>
                <a:gd name="connsiteX159" fmla="*/ 108114 w 445110"/>
                <a:gd name="connsiteY159" fmla="*/ 157489 h 212505"/>
                <a:gd name="connsiteX160" fmla="*/ 109509 w 445110"/>
                <a:gd name="connsiteY160" fmla="*/ 160274 h 212505"/>
                <a:gd name="connsiteX161" fmla="*/ 109509 w 445110"/>
                <a:gd name="connsiteY161" fmla="*/ 162363 h 212505"/>
                <a:gd name="connsiteX162" fmla="*/ 106021 w 445110"/>
                <a:gd name="connsiteY162" fmla="*/ 163159 h 212505"/>
                <a:gd name="connsiteX163" fmla="*/ 104726 w 445110"/>
                <a:gd name="connsiteY163" fmla="*/ 163756 h 212505"/>
                <a:gd name="connsiteX164" fmla="*/ 102434 w 445110"/>
                <a:gd name="connsiteY164" fmla="*/ 166244 h 212505"/>
                <a:gd name="connsiteX165" fmla="*/ 101637 w 445110"/>
                <a:gd name="connsiteY165" fmla="*/ 166840 h 212505"/>
                <a:gd name="connsiteX166" fmla="*/ 100940 w 445110"/>
                <a:gd name="connsiteY166" fmla="*/ 166840 h 212505"/>
                <a:gd name="connsiteX167" fmla="*/ 100940 w 445110"/>
                <a:gd name="connsiteY167" fmla="*/ 166144 h 212505"/>
                <a:gd name="connsiteX168" fmla="*/ 100940 w 445110"/>
                <a:gd name="connsiteY168" fmla="*/ 165149 h 212505"/>
                <a:gd name="connsiteX169" fmla="*/ 100940 w 445110"/>
                <a:gd name="connsiteY169" fmla="*/ 162761 h 212505"/>
                <a:gd name="connsiteX170" fmla="*/ 100940 w 445110"/>
                <a:gd name="connsiteY170" fmla="*/ 162761 h 212505"/>
                <a:gd name="connsiteX171" fmla="*/ 99246 w 445110"/>
                <a:gd name="connsiteY171" fmla="*/ 162761 h 212505"/>
                <a:gd name="connsiteX172" fmla="*/ 98448 w 445110"/>
                <a:gd name="connsiteY172" fmla="*/ 162761 h 212505"/>
                <a:gd name="connsiteX173" fmla="*/ 95559 w 445110"/>
                <a:gd name="connsiteY173" fmla="*/ 161269 h 212505"/>
                <a:gd name="connsiteX174" fmla="*/ 89581 w 445110"/>
                <a:gd name="connsiteY174" fmla="*/ 159578 h 212505"/>
                <a:gd name="connsiteX175" fmla="*/ 84199 w 445110"/>
                <a:gd name="connsiteY175" fmla="*/ 155101 h 212505"/>
                <a:gd name="connsiteX176" fmla="*/ 75830 w 445110"/>
                <a:gd name="connsiteY176" fmla="*/ 150624 h 212505"/>
                <a:gd name="connsiteX177" fmla="*/ 73438 w 445110"/>
                <a:gd name="connsiteY177" fmla="*/ 147938 h 212505"/>
                <a:gd name="connsiteX178" fmla="*/ 71644 w 445110"/>
                <a:gd name="connsiteY178" fmla="*/ 145252 h 212505"/>
                <a:gd name="connsiteX179" fmla="*/ 69452 w 445110"/>
                <a:gd name="connsiteY179" fmla="*/ 143162 h 212505"/>
                <a:gd name="connsiteX180" fmla="*/ 63175 w 445110"/>
                <a:gd name="connsiteY180" fmla="*/ 141471 h 212505"/>
                <a:gd name="connsiteX181" fmla="*/ 55004 w 445110"/>
                <a:gd name="connsiteY181" fmla="*/ 135999 h 212505"/>
                <a:gd name="connsiteX182" fmla="*/ 31089 w 445110"/>
                <a:gd name="connsiteY182" fmla="*/ 130627 h 212505"/>
                <a:gd name="connsiteX183" fmla="*/ 25410 w 445110"/>
                <a:gd name="connsiteY183" fmla="*/ 127145 h 212505"/>
                <a:gd name="connsiteX184" fmla="*/ 17139 w 445110"/>
                <a:gd name="connsiteY184" fmla="*/ 124658 h 212505"/>
                <a:gd name="connsiteX185" fmla="*/ 14648 w 445110"/>
                <a:gd name="connsiteY185" fmla="*/ 123265 h 212505"/>
                <a:gd name="connsiteX186" fmla="*/ 11559 w 445110"/>
                <a:gd name="connsiteY186" fmla="*/ 116002 h 212505"/>
                <a:gd name="connsiteX187" fmla="*/ 9766 w 445110"/>
                <a:gd name="connsiteY187" fmla="*/ 113515 h 212505"/>
                <a:gd name="connsiteX188" fmla="*/ 7274 w 445110"/>
                <a:gd name="connsiteY188" fmla="*/ 114212 h 212505"/>
                <a:gd name="connsiteX189" fmla="*/ 9267 w 445110"/>
                <a:gd name="connsiteY189" fmla="*/ 116997 h 212505"/>
                <a:gd name="connsiteX190" fmla="*/ 9267 w 445110"/>
                <a:gd name="connsiteY190" fmla="*/ 120479 h 212505"/>
                <a:gd name="connsiteX191" fmla="*/ 8271 w 445110"/>
                <a:gd name="connsiteY191" fmla="*/ 124061 h 212505"/>
                <a:gd name="connsiteX192" fmla="*/ 6477 w 445110"/>
                <a:gd name="connsiteY192" fmla="*/ 127045 h 212505"/>
                <a:gd name="connsiteX193" fmla="*/ 1395 w 445110"/>
                <a:gd name="connsiteY193" fmla="*/ 130528 h 212505"/>
                <a:gd name="connsiteX194" fmla="*/ 0 w 445110"/>
                <a:gd name="connsiteY194" fmla="*/ 132418 h 212505"/>
                <a:gd name="connsiteX195" fmla="*/ 1794 w 445110"/>
                <a:gd name="connsiteY195" fmla="*/ 134905 h 212505"/>
                <a:gd name="connsiteX196" fmla="*/ 4384 w 445110"/>
                <a:gd name="connsiteY196" fmla="*/ 135502 h 212505"/>
                <a:gd name="connsiteX197" fmla="*/ 12555 w 445110"/>
                <a:gd name="connsiteY197" fmla="*/ 132418 h 212505"/>
                <a:gd name="connsiteX198" fmla="*/ 16342 w 445110"/>
                <a:gd name="connsiteY198" fmla="*/ 132418 h 212505"/>
                <a:gd name="connsiteX199" fmla="*/ 26904 w 445110"/>
                <a:gd name="connsiteY199" fmla="*/ 135601 h 212505"/>
                <a:gd name="connsiteX200" fmla="*/ 37765 w 445110"/>
                <a:gd name="connsiteY200" fmla="*/ 136298 h 212505"/>
                <a:gd name="connsiteX201" fmla="*/ 62477 w 445110"/>
                <a:gd name="connsiteY201" fmla="*/ 146247 h 212505"/>
                <a:gd name="connsiteX202" fmla="*/ 66363 w 445110"/>
                <a:gd name="connsiteY202" fmla="*/ 150524 h 212505"/>
                <a:gd name="connsiteX203" fmla="*/ 67359 w 445110"/>
                <a:gd name="connsiteY203" fmla="*/ 151221 h 212505"/>
                <a:gd name="connsiteX204" fmla="*/ 70548 w 445110"/>
                <a:gd name="connsiteY204" fmla="*/ 151718 h 212505"/>
                <a:gd name="connsiteX205" fmla="*/ 73239 w 445110"/>
                <a:gd name="connsiteY205" fmla="*/ 153111 h 212505"/>
                <a:gd name="connsiteX206" fmla="*/ 83203 w 445110"/>
                <a:gd name="connsiteY206" fmla="*/ 161170 h 212505"/>
                <a:gd name="connsiteX207" fmla="*/ 85993 w 445110"/>
                <a:gd name="connsiteY207" fmla="*/ 162463 h 212505"/>
                <a:gd name="connsiteX208" fmla="*/ 95061 w 445110"/>
                <a:gd name="connsiteY208" fmla="*/ 164851 h 212505"/>
                <a:gd name="connsiteX209" fmla="*/ 105025 w 445110"/>
                <a:gd name="connsiteY209" fmla="*/ 171715 h 212505"/>
                <a:gd name="connsiteX210" fmla="*/ 109011 w 445110"/>
                <a:gd name="connsiteY210" fmla="*/ 170521 h 212505"/>
                <a:gd name="connsiteX211" fmla="*/ 109908 w 445110"/>
                <a:gd name="connsiteY211" fmla="*/ 170521 h 212505"/>
                <a:gd name="connsiteX212" fmla="*/ 111601 w 445110"/>
                <a:gd name="connsiteY212" fmla="*/ 172511 h 212505"/>
                <a:gd name="connsiteX213" fmla="*/ 112697 w 445110"/>
                <a:gd name="connsiteY213" fmla="*/ 175595 h 212505"/>
                <a:gd name="connsiteX214" fmla="*/ 112697 w 445110"/>
                <a:gd name="connsiteY214" fmla="*/ 179177 h 212505"/>
                <a:gd name="connsiteX215" fmla="*/ 112697 w 445110"/>
                <a:gd name="connsiteY215" fmla="*/ 182659 h 212505"/>
                <a:gd name="connsiteX216" fmla="*/ 110007 w 445110"/>
                <a:gd name="connsiteY216" fmla="*/ 180669 h 212505"/>
                <a:gd name="connsiteX217" fmla="*/ 107117 w 445110"/>
                <a:gd name="connsiteY217" fmla="*/ 179177 h 212505"/>
                <a:gd name="connsiteX218" fmla="*/ 104028 w 445110"/>
                <a:gd name="connsiteY218" fmla="*/ 178580 h 212505"/>
                <a:gd name="connsiteX219" fmla="*/ 100641 w 445110"/>
                <a:gd name="connsiteY219" fmla="*/ 178580 h 212505"/>
                <a:gd name="connsiteX220" fmla="*/ 91872 w 445110"/>
                <a:gd name="connsiteY220" fmla="*/ 182261 h 212505"/>
                <a:gd name="connsiteX221" fmla="*/ 87786 w 445110"/>
                <a:gd name="connsiteY221" fmla="*/ 185843 h 212505"/>
                <a:gd name="connsiteX222" fmla="*/ 81210 w 445110"/>
                <a:gd name="connsiteY222" fmla="*/ 189822 h 212505"/>
                <a:gd name="connsiteX223" fmla="*/ 78919 w 445110"/>
                <a:gd name="connsiteY223" fmla="*/ 190618 h 212505"/>
                <a:gd name="connsiteX224" fmla="*/ 75830 w 445110"/>
                <a:gd name="connsiteY224" fmla="*/ 191115 h 212505"/>
                <a:gd name="connsiteX225" fmla="*/ 73637 w 445110"/>
                <a:gd name="connsiteY225" fmla="*/ 192409 h 212505"/>
                <a:gd name="connsiteX226" fmla="*/ 72143 w 445110"/>
                <a:gd name="connsiteY226" fmla="*/ 194697 h 212505"/>
                <a:gd name="connsiteX227" fmla="*/ 71146 w 445110"/>
                <a:gd name="connsiteY227" fmla="*/ 197781 h 212505"/>
                <a:gd name="connsiteX228" fmla="*/ 68057 w 445110"/>
                <a:gd name="connsiteY228" fmla="*/ 195592 h 212505"/>
                <a:gd name="connsiteX229" fmla="*/ 68057 w 445110"/>
                <a:gd name="connsiteY229" fmla="*/ 194995 h 212505"/>
                <a:gd name="connsiteX230" fmla="*/ 67459 w 445110"/>
                <a:gd name="connsiteY230" fmla="*/ 194995 h 212505"/>
                <a:gd name="connsiteX231" fmla="*/ 66363 w 445110"/>
                <a:gd name="connsiteY231" fmla="*/ 195692 h 212505"/>
                <a:gd name="connsiteX232" fmla="*/ 65566 w 445110"/>
                <a:gd name="connsiteY232" fmla="*/ 197085 h 212505"/>
                <a:gd name="connsiteX233" fmla="*/ 65566 w 445110"/>
                <a:gd name="connsiteY233" fmla="*/ 198875 h 212505"/>
                <a:gd name="connsiteX234" fmla="*/ 67161 w 445110"/>
                <a:gd name="connsiteY234" fmla="*/ 200368 h 212505"/>
                <a:gd name="connsiteX235" fmla="*/ 69153 w 445110"/>
                <a:gd name="connsiteY235" fmla="*/ 200865 h 212505"/>
                <a:gd name="connsiteX236" fmla="*/ 84598 w 445110"/>
                <a:gd name="connsiteY236" fmla="*/ 199572 h 212505"/>
                <a:gd name="connsiteX237" fmla="*/ 91573 w 445110"/>
                <a:gd name="connsiteY237" fmla="*/ 197781 h 212505"/>
                <a:gd name="connsiteX238" fmla="*/ 93666 w 445110"/>
                <a:gd name="connsiteY238" fmla="*/ 197781 h 212505"/>
                <a:gd name="connsiteX239" fmla="*/ 94563 w 445110"/>
                <a:gd name="connsiteY239" fmla="*/ 200567 h 212505"/>
                <a:gd name="connsiteX240" fmla="*/ 91175 w 445110"/>
                <a:gd name="connsiteY240" fmla="*/ 203452 h 212505"/>
                <a:gd name="connsiteX241" fmla="*/ 82506 w 445110"/>
                <a:gd name="connsiteY241" fmla="*/ 207630 h 212505"/>
                <a:gd name="connsiteX242" fmla="*/ 73537 w 445110"/>
                <a:gd name="connsiteY242" fmla="*/ 210217 h 212505"/>
                <a:gd name="connsiteX243" fmla="*/ 64171 w 445110"/>
                <a:gd name="connsiteY243" fmla="*/ 211212 h 212505"/>
                <a:gd name="connsiteX244" fmla="*/ 64171 w 445110"/>
                <a:gd name="connsiteY244" fmla="*/ 212505 h 212505"/>
                <a:gd name="connsiteX245" fmla="*/ 79217 w 445110"/>
                <a:gd name="connsiteY245" fmla="*/ 211908 h 212505"/>
                <a:gd name="connsiteX246" fmla="*/ 86093 w 445110"/>
                <a:gd name="connsiteY246" fmla="*/ 210515 h 212505"/>
                <a:gd name="connsiteX247" fmla="*/ 92968 w 445110"/>
                <a:gd name="connsiteY247" fmla="*/ 207630 h 212505"/>
                <a:gd name="connsiteX248" fmla="*/ 95260 w 445110"/>
                <a:gd name="connsiteY248" fmla="*/ 206038 h 212505"/>
                <a:gd name="connsiteX249" fmla="*/ 95957 w 445110"/>
                <a:gd name="connsiteY249" fmla="*/ 206038 h 212505"/>
                <a:gd name="connsiteX250" fmla="*/ 97253 w 445110"/>
                <a:gd name="connsiteY250" fmla="*/ 206038 h 212505"/>
                <a:gd name="connsiteX251" fmla="*/ 98548 w 445110"/>
                <a:gd name="connsiteY251" fmla="*/ 207133 h 212505"/>
                <a:gd name="connsiteX252" fmla="*/ 100840 w 445110"/>
                <a:gd name="connsiteY252" fmla="*/ 210217 h 212505"/>
                <a:gd name="connsiteX253" fmla="*/ 100840 w 445110"/>
                <a:gd name="connsiteY253" fmla="*/ 210814 h 212505"/>
                <a:gd name="connsiteX254" fmla="*/ 102634 w 445110"/>
                <a:gd name="connsiteY254" fmla="*/ 210814 h 212505"/>
                <a:gd name="connsiteX255" fmla="*/ 104128 w 445110"/>
                <a:gd name="connsiteY255" fmla="*/ 209819 h 212505"/>
                <a:gd name="connsiteX256" fmla="*/ 105224 w 445110"/>
                <a:gd name="connsiteY256" fmla="*/ 208128 h 212505"/>
                <a:gd name="connsiteX257" fmla="*/ 105224 w 445110"/>
                <a:gd name="connsiteY257" fmla="*/ 205740 h 212505"/>
                <a:gd name="connsiteX258" fmla="*/ 99046 w 445110"/>
                <a:gd name="connsiteY258" fmla="*/ 204049 h 212505"/>
                <a:gd name="connsiteX259" fmla="*/ 99246 w 445110"/>
                <a:gd name="connsiteY259" fmla="*/ 202556 h 212505"/>
                <a:gd name="connsiteX260" fmla="*/ 100541 w 445110"/>
                <a:gd name="connsiteY260" fmla="*/ 200865 h 212505"/>
                <a:gd name="connsiteX261" fmla="*/ 101936 w 445110"/>
                <a:gd name="connsiteY261" fmla="*/ 200268 h 212505"/>
                <a:gd name="connsiteX262" fmla="*/ 105324 w 445110"/>
                <a:gd name="connsiteY262" fmla="*/ 200268 h 212505"/>
                <a:gd name="connsiteX263" fmla="*/ 111004 w 445110"/>
                <a:gd name="connsiteY263" fmla="*/ 198079 h 212505"/>
                <a:gd name="connsiteX264" fmla="*/ 112697 w 445110"/>
                <a:gd name="connsiteY264" fmla="*/ 198079 h 212505"/>
                <a:gd name="connsiteX265" fmla="*/ 114990 w 445110"/>
                <a:gd name="connsiteY265" fmla="*/ 196985 h 212505"/>
                <a:gd name="connsiteX266" fmla="*/ 120370 w 445110"/>
                <a:gd name="connsiteY266" fmla="*/ 191414 h 212505"/>
                <a:gd name="connsiteX267" fmla="*/ 122164 w 445110"/>
                <a:gd name="connsiteY267" fmla="*/ 189126 h 212505"/>
                <a:gd name="connsiteX268" fmla="*/ 126249 w 445110"/>
                <a:gd name="connsiteY268" fmla="*/ 185544 h 212505"/>
                <a:gd name="connsiteX269" fmla="*/ 126249 w 445110"/>
                <a:gd name="connsiteY269" fmla="*/ 184848 h 212505"/>
                <a:gd name="connsiteX270" fmla="*/ 127246 w 445110"/>
                <a:gd name="connsiteY270" fmla="*/ 184052 h 212505"/>
                <a:gd name="connsiteX271" fmla="*/ 129637 w 445110"/>
                <a:gd name="connsiteY271" fmla="*/ 180072 h 212505"/>
                <a:gd name="connsiteX272" fmla="*/ 131032 w 445110"/>
                <a:gd name="connsiteY272" fmla="*/ 178878 h 212505"/>
                <a:gd name="connsiteX273" fmla="*/ 132028 w 445110"/>
                <a:gd name="connsiteY273" fmla="*/ 179475 h 212505"/>
                <a:gd name="connsiteX274" fmla="*/ 133125 w 445110"/>
                <a:gd name="connsiteY274" fmla="*/ 180868 h 212505"/>
                <a:gd name="connsiteX275" fmla="*/ 134121 w 445110"/>
                <a:gd name="connsiteY275" fmla="*/ 181366 h 212505"/>
                <a:gd name="connsiteX276" fmla="*/ 134121 w 445110"/>
                <a:gd name="connsiteY276" fmla="*/ 179575 h 212505"/>
                <a:gd name="connsiteX277" fmla="*/ 133623 w 445110"/>
                <a:gd name="connsiteY277" fmla="*/ 177585 h 212505"/>
                <a:gd name="connsiteX278" fmla="*/ 132826 w 445110"/>
                <a:gd name="connsiteY278" fmla="*/ 176292 h 212505"/>
                <a:gd name="connsiteX279" fmla="*/ 132826 w 445110"/>
                <a:gd name="connsiteY279" fmla="*/ 175197 h 212505"/>
                <a:gd name="connsiteX280" fmla="*/ 134221 w 445110"/>
                <a:gd name="connsiteY280" fmla="*/ 174103 h 212505"/>
                <a:gd name="connsiteX281" fmla="*/ 136513 w 445110"/>
                <a:gd name="connsiteY281" fmla="*/ 174103 h 212505"/>
                <a:gd name="connsiteX282" fmla="*/ 139403 w 445110"/>
                <a:gd name="connsiteY282" fmla="*/ 175396 h 212505"/>
                <a:gd name="connsiteX283" fmla="*/ 142292 w 445110"/>
                <a:gd name="connsiteY283" fmla="*/ 176093 h 212505"/>
                <a:gd name="connsiteX284" fmla="*/ 145580 w 445110"/>
                <a:gd name="connsiteY284" fmla="*/ 174899 h 212505"/>
                <a:gd name="connsiteX285" fmla="*/ 145580 w 445110"/>
                <a:gd name="connsiteY285" fmla="*/ 172710 h 212505"/>
                <a:gd name="connsiteX286" fmla="*/ 142392 w 445110"/>
                <a:gd name="connsiteY286" fmla="*/ 171616 h 212505"/>
                <a:gd name="connsiteX287" fmla="*/ 135815 w 445110"/>
                <a:gd name="connsiteY287" fmla="*/ 170720 h 212505"/>
                <a:gd name="connsiteX288" fmla="*/ 133025 w 445110"/>
                <a:gd name="connsiteY288" fmla="*/ 168532 h 212505"/>
                <a:gd name="connsiteX289" fmla="*/ 131929 w 445110"/>
                <a:gd name="connsiteY289" fmla="*/ 165249 h 212505"/>
                <a:gd name="connsiteX290" fmla="*/ 133424 w 445110"/>
                <a:gd name="connsiteY290" fmla="*/ 163955 h 212505"/>
                <a:gd name="connsiteX291" fmla="*/ 136413 w 445110"/>
                <a:gd name="connsiteY291" fmla="*/ 163955 h 212505"/>
                <a:gd name="connsiteX292" fmla="*/ 149168 w 445110"/>
                <a:gd name="connsiteY292" fmla="*/ 166542 h 212505"/>
                <a:gd name="connsiteX293" fmla="*/ 167901 w 445110"/>
                <a:gd name="connsiteY293" fmla="*/ 164851 h 212505"/>
                <a:gd name="connsiteX294" fmla="*/ 174079 w 445110"/>
                <a:gd name="connsiteY294" fmla="*/ 162463 h 212505"/>
                <a:gd name="connsiteX295" fmla="*/ 177367 w 445110"/>
                <a:gd name="connsiteY295" fmla="*/ 161966 h 212505"/>
                <a:gd name="connsiteX296" fmla="*/ 180157 w 445110"/>
                <a:gd name="connsiteY296" fmla="*/ 160971 h 212505"/>
                <a:gd name="connsiteX297" fmla="*/ 182847 w 445110"/>
                <a:gd name="connsiteY297" fmla="*/ 158682 h 212505"/>
                <a:gd name="connsiteX298" fmla="*/ 187331 w 445110"/>
                <a:gd name="connsiteY298" fmla="*/ 153509 h 212505"/>
                <a:gd name="connsiteX299" fmla="*/ 195502 w 445110"/>
                <a:gd name="connsiteY299" fmla="*/ 148336 h 212505"/>
                <a:gd name="connsiteX300" fmla="*/ 196897 w 445110"/>
                <a:gd name="connsiteY300" fmla="*/ 146843 h 212505"/>
                <a:gd name="connsiteX301" fmla="*/ 196897 w 445110"/>
                <a:gd name="connsiteY301" fmla="*/ 144754 h 212505"/>
                <a:gd name="connsiteX302" fmla="*/ 197894 w 445110"/>
                <a:gd name="connsiteY302" fmla="*/ 143859 h 212505"/>
                <a:gd name="connsiteX303" fmla="*/ 200883 w 445110"/>
                <a:gd name="connsiteY303" fmla="*/ 143859 h 212505"/>
                <a:gd name="connsiteX304" fmla="*/ 202676 w 445110"/>
                <a:gd name="connsiteY304" fmla="*/ 143063 h 212505"/>
                <a:gd name="connsiteX305" fmla="*/ 202676 w 445110"/>
                <a:gd name="connsiteY305" fmla="*/ 141372 h 212505"/>
                <a:gd name="connsiteX306" fmla="*/ 202676 w 445110"/>
                <a:gd name="connsiteY306" fmla="*/ 139282 h 212505"/>
                <a:gd name="connsiteX307" fmla="*/ 203474 w 445110"/>
                <a:gd name="connsiteY307" fmla="*/ 137890 h 212505"/>
                <a:gd name="connsiteX308" fmla="*/ 206263 w 445110"/>
                <a:gd name="connsiteY308" fmla="*/ 137890 h 212505"/>
                <a:gd name="connsiteX309" fmla="*/ 209552 w 445110"/>
                <a:gd name="connsiteY309" fmla="*/ 141770 h 212505"/>
                <a:gd name="connsiteX310" fmla="*/ 211744 w 445110"/>
                <a:gd name="connsiteY310" fmla="*/ 139780 h 212505"/>
                <a:gd name="connsiteX311" fmla="*/ 212840 w 445110"/>
                <a:gd name="connsiteY311" fmla="*/ 138685 h 212505"/>
                <a:gd name="connsiteX312" fmla="*/ 214335 w 445110"/>
                <a:gd name="connsiteY312" fmla="*/ 137591 h 212505"/>
                <a:gd name="connsiteX313" fmla="*/ 216028 w 445110"/>
                <a:gd name="connsiteY313" fmla="*/ 136795 h 212505"/>
                <a:gd name="connsiteX314" fmla="*/ 217423 w 445110"/>
                <a:gd name="connsiteY314" fmla="*/ 136795 h 212505"/>
                <a:gd name="connsiteX315" fmla="*/ 218121 w 445110"/>
                <a:gd name="connsiteY315" fmla="*/ 137492 h 212505"/>
                <a:gd name="connsiteX316" fmla="*/ 218918 w 445110"/>
                <a:gd name="connsiteY316" fmla="*/ 138785 h 212505"/>
                <a:gd name="connsiteX317" fmla="*/ 219815 w 445110"/>
                <a:gd name="connsiteY317" fmla="*/ 140078 h 212505"/>
                <a:gd name="connsiteX318" fmla="*/ 221310 w 445110"/>
                <a:gd name="connsiteY318" fmla="*/ 140675 h 212505"/>
                <a:gd name="connsiteX319" fmla="*/ 224498 w 445110"/>
                <a:gd name="connsiteY319" fmla="*/ 140675 h 212505"/>
                <a:gd name="connsiteX320" fmla="*/ 226192 w 445110"/>
                <a:gd name="connsiteY320" fmla="*/ 140078 h 212505"/>
                <a:gd name="connsiteX321" fmla="*/ 227388 w 445110"/>
                <a:gd name="connsiteY321" fmla="*/ 139083 h 212505"/>
                <a:gd name="connsiteX322" fmla="*/ 228783 w 445110"/>
                <a:gd name="connsiteY322" fmla="*/ 138288 h 212505"/>
                <a:gd name="connsiteX323" fmla="*/ 232470 w 445110"/>
                <a:gd name="connsiteY323" fmla="*/ 138884 h 212505"/>
                <a:gd name="connsiteX324" fmla="*/ 233965 w 445110"/>
                <a:gd name="connsiteY324" fmla="*/ 138884 h 212505"/>
                <a:gd name="connsiteX325" fmla="*/ 233965 w 445110"/>
                <a:gd name="connsiteY325" fmla="*/ 137691 h 212505"/>
                <a:gd name="connsiteX326" fmla="*/ 233965 w 445110"/>
                <a:gd name="connsiteY326" fmla="*/ 133612 h 212505"/>
                <a:gd name="connsiteX327" fmla="*/ 233965 w 445110"/>
                <a:gd name="connsiteY327" fmla="*/ 132816 h 212505"/>
                <a:gd name="connsiteX328" fmla="*/ 235559 w 445110"/>
                <a:gd name="connsiteY328" fmla="*/ 132816 h 212505"/>
                <a:gd name="connsiteX329" fmla="*/ 238150 w 445110"/>
                <a:gd name="connsiteY329" fmla="*/ 133612 h 212505"/>
                <a:gd name="connsiteX330" fmla="*/ 239645 w 445110"/>
                <a:gd name="connsiteY330" fmla="*/ 133612 h 212505"/>
                <a:gd name="connsiteX331" fmla="*/ 239645 w 445110"/>
                <a:gd name="connsiteY331" fmla="*/ 131423 h 212505"/>
                <a:gd name="connsiteX332" fmla="*/ 239645 w 445110"/>
                <a:gd name="connsiteY332" fmla="*/ 129632 h 212505"/>
                <a:gd name="connsiteX333" fmla="*/ 240143 w 445110"/>
                <a:gd name="connsiteY333" fmla="*/ 128239 h 212505"/>
                <a:gd name="connsiteX334" fmla="*/ 240143 w 445110"/>
                <a:gd name="connsiteY334" fmla="*/ 127443 h 212505"/>
                <a:gd name="connsiteX335" fmla="*/ 241039 w 445110"/>
                <a:gd name="connsiteY335" fmla="*/ 127443 h 212505"/>
                <a:gd name="connsiteX336" fmla="*/ 238448 w 445110"/>
                <a:gd name="connsiteY336" fmla="*/ 127443 h 212505"/>
                <a:gd name="connsiteX337" fmla="*/ 235758 w 445110"/>
                <a:gd name="connsiteY337" fmla="*/ 126648 h 212505"/>
                <a:gd name="connsiteX338" fmla="*/ 236456 w 445110"/>
                <a:gd name="connsiteY338" fmla="*/ 124061 h 212505"/>
                <a:gd name="connsiteX339" fmla="*/ 235858 w 445110"/>
                <a:gd name="connsiteY339" fmla="*/ 121972 h 212505"/>
                <a:gd name="connsiteX340" fmla="*/ 234662 w 445110"/>
                <a:gd name="connsiteY340" fmla="*/ 120280 h 212505"/>
                <a:gd name="connsiteX341" fmla="*/ 233167 w 445110"/>
                <a:gd name="connsiteY341" fmla="*/ 119385 h 212505"/>
                <a:gd name="connsiteX342" fmla="*/ 235758 w 445110"/>
                <a:gd name="connsiteY342" fmla="*/ 116400 h 212505"/>
                <a:gd name="connsiteX343" fmla="*/ 241637 w 445110"/>
                <a:gd name="connsiteY343" fmla="*/ 113515 h 212505"/>
                <a:gd name="connsiteX344" fmla="*/ 244029 w 445110"/>
                <a:gd name="connsiteY344" fmla="*/ 111426 h 212505"/>
                <a:gd name="connsiteX345" fmla="*/ 246121 w 445110"/>
                <a:gd name="connsiteY345" fmla="*/ 109138 h 212505"/>
                <a:gd name="connsiteX346" fmla="*/ 256085 w 445110"/>
                <a:gd name="connsiteY346" fmla="*/ 102174 h 212505"/>
                <a:gd name="connsiteX347" fmla="*/ 256883 w 445110"/>
                <a:gd name="connsiteY347" fmla="*/ 101477 h 212505"/>
                <a:gd name="connsiteX348" fmla="*/ 257979 w 445110"/>
                <a:gd name="connsiteY348" fmla="*/ 99885 h 212505"/>
                <a:gd name="connsiteX349" fmla="*/ 258676 w 445110"/>
                <a:gd name="connsiteY349" fmla="*/ 98095 h 212505"/>
                <a:gd name="connsiteX350" fmla="*/ 259374 w 445110"/>
                <a:gd name="connsiteY350" fmla="*/ 95607 h 212505"/>
                <a:gd name="connsiteX351" fmla="*/ 260270 w 445110"/>
                <a:gd name="connsiteY351" fmla="*/ 93518 h 212505"/>
                <a:gd name="connsiteX352" fmla="*/ 261865 w 445110"/>
                <a:gd name="connsiteY352" fmla="*/ 92623 h 212505"/>
                <a:gd name="connsiteX353" fmla="*/ 273523 w 445110"/>
                <a:gd name="connsiteY353" fmla="*/ 91429 h 212505"/>
                <a:gd name="connsiteX354" fmla="*/ 285082 w 445110"/>
                <a:gd name="connsiteY354" fmla="*/ 88046 h 212505"/>
                <a:gd name="connsiteX355" fmla="*/ 301623 w 445110"/>
                <a:gd name="connsiteY355" fmla="*/ 80585 h 212505"/>
                <a:gd name="connsiteX356" fmla="*/ 327530 w 445110"/>
                <a:gd name="connsiteY356" fmla="*/ 73919 h 212505"/>
                <a:gd name="connsiteX357" fmla="*/ 329523 w 445110"/>
                <a:gd name="connsiteY357" fmla="*/ 72526 h 212505"/>
                <a:gd name="connsiteX358" fmla="*/ 331815 w 445110"/>
                <a:gd name="connsiteY358" fmla="*/ 71432 h 212505"/>
                <a:gd name="connsiteX359" fmla="*/ 337893 w 445110"/>
                <a:gd name="connsiteY359" fmla="*/ 72029 h 212505"/>
                <a:gd name="connsiteX360" fmla="*/ 340484 w 445110"/>
                <a:gd name="connsiteY360" fmla="*/ 72029 h 212505"/>
                <a:gd name="connsiteX361" fmla="*/ 348655 w 445110"/>
                <a:gd name="connsiteY361" fmla="*/ 66756 h 212505"/>
                <a:gd name="connsiteX362" fmla="*/ 352242 w 445110"/>
                <a:gd name="connsiteY362" fmla="*/ 65960 h 212505"/>
                <a:gd name="connsiteX363" fmla="*/ 391402 w 445110"/>
                <a:gd name="connsiteY363" fmla="*/ 71631 h 212505"/>
                <a:gd name="connsiteX364" fmla="*/ 394391 w 445110"/>
                <a:gd name="connsiteY364" fmla="*/ 70736 h 212505"/>
                <a:gd name="connsiteX365" fmla="*/ 394391 w 445110"/>
                <a:gd name="connsiteY365" fmla="*/ 68547 h 212505"/>
                <a:gd name="connsiteX366" fmla="*/ 391303 w 445110"/>
                <a:gd name="connsiteY366" fmla="*/ 66657 h 212505"/>
                <a:gd name="connsiteX367" fmla="*/ 387317 w 445110"/>
                <a:gd name="connsiteY367" fmla="*/ 65363 h 212505"/>
                <a:gd name="connsiteX368" fmla="*/ 384327 w 445110"/>
                <a:gd name="connsiteY368" fmla="*/ 64766 h 212505"/>
                <a:gd name="connsiteX369" fmla="*/ 374363 w 445110"/>
                <a:gd name="connsiteY369" fmla="*/ 65363 h 212505"/>
                <a:gd name="connsiteX370" fmla="*/ 371473 w 445110"/>
                <a:gd name="connsiteY370" fmla="*/ 64766 h 212505"/>
                <a:gd name="connsiteX371" fmla="*/ 363303 w 445110"/>
                <a:gd name="connsiteY371" fmla="*/ 60389 h 212505"/>
                <a:gd name="connsiteX372" fmla="*/ 349054 w 445110"/>
                <a:gd name="connsiteY372" fmla="*/ 58399 h 212505"/>
                <a:gd name="connsiteX373" fmla="*/ 345466 w 445110"/>
                <a:gd name="connsiteY373" fmla="*/ 58399 h 212505"/>
                <a:gd name="connsiteX374" fmla="*/ 339487 w 445110"/>
                <a:gd name="connsiteY374" fmla="*/ 60389 h 212505"/>
                <a:gd name="connsiteX375" fmla="*/ 336598 w 445110"/>
                <a:gd name="connsiteY375" fmla="*/ 61981 h 212505"/>
                <a:gd name="connsiteX376" fmla="*/ 334605 w 445110"/>
                <a:gd name="connsiteY376" fmla="*/ 63970 h 212505"/>
                <a:gd name="connsiteX377" fmla="*/ 333409 w 445110"/>
                <a:gd name="connsiteY377" fmla="*/ 65363 h 212505"/>
                <a:gd name="connsiteX378" fmla="*/ 332413 w 445110"/>
                <a:gd name="connsiteY378" fmla="*/ 66358 h 212505"/>
                <a:gd name="connsiteX379" fmla="*/ 331118 w 445110"/>
                <a:gd name="connsiteY379" fmla="*/ 66358 h 212505"/>
                <a:gd name="connsiteX380" fmla="*/ 329224 w 445110"/>
                <a:gd name="connsiteY380" fmla="*/ 66358 h 212505"/>
                <a:gd name="connsiteX381" fmla="*/ 327431 w 445110"/>
                <a:gd name="connsiteY381" fmla="*/ 66358 h 212505"/>
                <a:gd name="connsiteX382" fmla="*/ 326434 w 445110"/>
                <a:gd name="connsiteY382" fmla="*/ 65463 h 212505"/>
                <a:gd name="connsiteX383" fmla="*/ 325737 w 445110"/>
                <a:gd name="connsiteY383" fmla="*/ 64269 h 212505"/>
                <a:gd name="connsiteX384" fmla="*/ 328427 w 445110"/>
                <a:gd name="connsiteY384" fmla="*/ 62578 h 212505"/>
                <a:gd name="connsiteX385" fmla="*/ 321851 w 445110"/>
                <a:gd name="connsiteY385" fmla="*/ 59792 h 212505"/>
                <a:gd name="connsiteX386" fmla="*/ 319459 w 445110"/>
                <a:gd name="connsiteY386" fmla="*/ 57504 h 212505"/>
                <a:gd name="connsiteX387" fmla="*/ 320256 w 445110"/>
                <a:gd name="connsiteY387" fmla="*/ 53524 h 212505"/>
                <a:gd name="connsiteX388" fmla="*/ 322548 w 445110"/>
                <a:gd name="connsiteY388" fmla="*/ 49744 h 212505"/>
                <a:gd name="connsiteX389" fmla="*/ 324641 w 445110"/>
                <a:gd name="connsiteY389" fmla="*/ 47058 h 212505"/>
                <a:gd name="connsiteX390" fmla="*/ 327032 w 445110"/>
                <a:gd name="connsiteY390" fmla="*/ 45267 h 212505"/>
                <a:gd name="connsiteX391" fmla="*/ 330320 w 445110"/>
                <a:gd name="connsiteY391" fmla="*/ 44371 h 212505"/>
                <a:gd name="connsiteX392" fmla="*/ 340285 w 445110"/>
                <a:gd name="connsiteY392" fmla="*/ 45267 h 212505"/>
                <a:gd name="connsiteX393" fmla="*/ 341580 w 445110"/>
                <a:gd name="connsiteY393" fmla="*/ 43675 h 212505"/>
                <a:gd name="connsiteX394" fmla="*/ 343274 w 445110"/>
                <a:gd name="connsiteY394" fmla="*/ 40591 h 212505"/>
                <a:gd name="connsiteX395" fmla="*/ 347061 w 445110"/>
                <a:gd name="connsiteY395" fmla="*/ 39795 h 212505"/>
                <a:gd name="connsiteX396" fmla="*/ 358420 w 445110"/>
                <a:gd name="connsiteY396" fmla="*/ 40989 h 212505"/>
                <a:gd name="connsiteX397" fmla="*/ 359914 w 445110"/>
                <a:gd name="connsiteY397" fmla="*/ 41884 h 212505"/>
                <a:gd name="connsiteX398" fmla="*/ 362804 w 445110"/>
                <a:gd name="connsiteY398" fmla="*/ 40392 h 212505"/>
                <a:gd name="connsiteX399" fmla="*/ 366790 w 445110"/>
                <a:gd name="connsiteY399" fmla="*/ 39596 h 212505"/>
                <a:gd name="connsiteX400" fmla="*/ 370776 w 445110"/>
                <a:gd name="connsiteY400" fmla="*/ 39596 h 212505"/>
                <a:gd name="connsiteX401" fmla="*/ 373367 w 445110"/>
                <a:gd name="connsiteY401" fmla="*/ 41088 h 212505"/>
                <a:gd name="connsiteX402" fmla="*/ 376156 w 445110"/>
                <a:gd name="connsiteY402" fmla="*/ 43178 h 212505"/>
                <a:gd name="connsiteX403" fmla="*/ 380441 w 445110"/>
                <a:gd name="connsiteY403" fmla="*/ 44570 h 212505"/>
                <a:gd name="connsiteX404" fmla="*/ 384825 w 445110"/>
                <a:gd name="connsiteY404" fmla="*/ 44570 h 212505"/>
                <a:gd name="connsiteX405" fmla="*/ 388214 w 445110"/>
                <a:gd name="connsiteY405" fmla="*/ 44371 h 212505"/>
                <a:gd name="connsiteX406" fmla="*/ 390306 w 445110"/>
                <a:gd name="connsiteY406" fmla="*/ 46361 h 212505"/>
                <a:gd name="connsiteX407" fmla="*/ 394192 w 445110"/>
                <a:gd name="connsiteY407" fmla="*/ 46361 h 212505"/>
                <a:gd name="connsiteX408" fmla="*/ 402164 w 445110"/>
                <a:gd name="connsiteY408" fmla="*/ 44570 h 212505"/>
                <a:gd name="connsiteX409" fmla="*/ 400370 w 445110"/>
                <a:gd name="connsiteY409" fmla="*/ 45764 h 212505"/>
                <a:gd name="connsiteX410" fmla="*/ 401865 w 445110"/>
                <a:gd name="connsiteY410" fmla="*/ 47654 h 212505"/>
                <a:gd name="connsiteX411" fmla="*/ 404655 w 445110"/>
                <a:gd name="connsiteY411" fmla="*/ 47654 h 212505"/>
                <a:gd name="connsiteX412" fmla="*/ 410733 w 445110"/>
                <a:gd name="connsiteY412" fmla="*/ 46958 h 212505"/>
                <a:gd name="connsiteX413" fmla="*/ 422989 w 445110"/>
                <a:gd name="connsiteY413" fmla="*/ 49246 h 212505"/>
                <a:gd name="connsiteX414" fmla="*/ 422391 w 445110"/>
                <a:gd name="connsiteY414" fmla="*/ 50142 h 212505"/>
                <a:gd name="connsiteX415" fmla="*/ 421295 w 445110"/>
                <a:gd name="connsiteY415" fmla="*/ 52927 h 212505"/>
                <a:gd name="connsiteX416" fmla="*/ 424285 w 445110"/>
                <a:gd name="connsiteY416" fmla="*/ 52231 h 212505"/>
                <a:gd name="connsiteX417" fmla="*/ 427174 w 445110"/>
                <a:gd name="connsiteY417" fmla="*/ 50341 h 212505"/>
                <a:gd name="connsiteX418" fmla="*/ 429964 w 445110"/>
                <a:gd name="connsiteY418" fmla="*/ 49246 h 212505"/>
                <a:gd name="connsiteX419" fmla="*/ 432456 w 445110"/>
                <a:gd name="connsiteY419" fmla="*/ 51634 h 212505"/>
                <a:gd name="connsiteX420" fmla="*/ 440427 w 445110"/>
                <a:gd name="connsiteY420" fmla="*/ 46958 h 212505"/>
                <a:gd name="connsiteX421" fmla="*/ 441424 w 445110"/>
                <a:gd name="connsiteY421" fmla="*/ 48649 h 212505"/>
                <a:gd name="connsiteX422" fmla="*/ 445111 w 445110"/>
                <a:gd name="connsiteY422" fmla="*/ 50739 h 212505"/>
                <a:gd name="connsiteX423" fmla="*/ 445111 w 445110"/>
                <a:gd name="connsiteY423" fmla="*/ 50739 h 212505"/>
                <a:gd name="connsiteX424" fmla="*/ 445111 w 445110"/>
                <a:gd name="connsiteY424" fmla="*/ 1492 h 212505"/>
                <a:gd name="connsiteX425" fmla="*/ 444114 w 445110"/>
                <a:gd name="connsiteY425" fmla="*/ 2388 h 212505"/>
                <a:gd name="connsiteX426" fmla="*/ 440029 w 445110"/>
                <a:gd name="connsiteY426" fmla="*/ 33428 h 212505"/>
                <a:gd name="connsiteX427" fmla="*/ 438036 w 445110"/>
                <a:gd name="connsiteY427" fmla="*/ 34622 h 212505"/>
                <a:gd name="connsiteX428" fmla="*/ 439132 w 445110"/>
                <a:gd name="connsiteY428" fmla="*/ 36313 h 212505"/>
                <a:gd name="connsiteX429" fmla="*/ 440826 w 445110"/>
                <a:gd name="connsiteY429" fmla="*/ 38303 h 212505"/>
                <a:gd name="connsiteX430" fmla="*/ 438833 w 445110"/>
                <a:gd name="connsiteY430" fmla="*/ 39894 h 212505"/>
                <a:gd name="connsiteX431" fmla="*/ 435545 w 445110"/>
                <a:gd name="connsiteY431" fmla="*/ 38601 h 212505"/>
                <a:gd name="connsiteX432" fmla="*/ 432156 w 445110"/>
                <a:gd name="connsiteY432" fmla="*/ 36512 h 212505"/>
                <a:gd name="connsiteX433" fmla="*/ 432156 w 445110"/>
                <a:gd name="connsiteY433" fmla="*/ 34522 h 212505"/>
                <a:gd name="connsiteX434" fmla="*/ 434349 w 445110"/>
                <a:gd name="connsiteY434" fmla="*/ 33229 h 212505"/>
                <a:gd name="connsiteX435" fmla="*/ 437238 w 445110"/>
                <a:gd name="connsiteY435" fmla="*/ 31339 h 212505"/>
                <a:gd name="connsiteX436" fmla="*/ 441623 w 445110"/>
                <a:gd name="connsiteY436" fmla="*/ 32035 h 21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445110" h="212505">
                  <a:moveTo>
                    <a:pt x="442022" y="1691"/>
                  </a:moveTo>
                  <a:lnTo>
                    <a:pt x="440527" y="0"/>
                  </a:lnTo>
                  <a:lnTo>
                    <a:pt x="438036" y="0"/>
                  </a:lnTo>
                  <a:lnTo>
                    <a:pt x="435943" y="0"/>
                  </a:lnTo>
                  <a:lnTo>
                    <a:pt x="432156" y="1890"/>
                  </a:lnTo>
                  <a:lnTo>
                    <a:pt x="430662" y="2985"/>
                  </a:lnTo>
                  <a:lnTo>
                    <a:pt x="433552" y="5273"/>
                  </a:lnTo>
                  <a:lnTo>
                    <a:pt x="432057" y="7064"/>
                  </a:lnTo>
                  <a:lnTo>
                    <a:pt x="426776" y="9650"/>
                  </a:lnTo>
                  <a:lnTo>
                    <a:pt x="424982" y="11342"/>
                  </a:lnTo>
                  <a:lnTo>
                    <a:pt x="419004" y="14426"/>
                  </a:lnTo>
                  <a:lnTo>
                    <a:pt x="416712" y="15122"/>
                  </a:lnTo>
                  <a:lnTo>
                    <a:pt x="413424" y="15122"/>
                  </a:lnTo>
                  <a:lnTo>
                    <a:pt x="402064" y="13530"/>
                  </a:lnTo>
                  <a:lnTo>
                    <a:pt x="399673" y="12734"/>
                  </a:lnTo>
                  <a:lnTo>
                    <a:pt x="398178" y="12734"/>
                  </a:lnTo>
                  <a:lnTo>
                    <a:pt x="396783" y="12734"/>
                  </a:lnTo>
                  <a:lnTo>
                    <a:pt x="394491" y="14227"/>
                  </a:lnTo>
                  <a:lnTo>
                    <a:pt x="392897" y="14227"/>
                  </a:lnTo>
                  <a:lnTo>
                    <a:pt x="391602" y="14227"/>
                  </a:lnTo>
                  <a:lnTo>
                    <a:pt x="390705" y="14227"/>
                  </a:lnTo>
                  <a:lnTo>
                    <a:pt x="389907" y="13630"/>
                  </a:lnTo>
                  <a:lnTo>
                    <a:pt x="389111" y="13530"/>
                  </a:lnTo>
                  <a:lnTo>
                    <a:pt x="387616" y="12734"/>
                  </a:lnTo>
                  <a:lnTo>
                    <a:pt x="386022" y="12734"/>
                  </a:lnTo>
                  <a:lnTo>
                    <a:pt x="384427" y="13431"/>
                  </a:lnTo>
                  <a:lnTo>
                    <a:pt x="348356" y="18604"/>
                  </a:lnTo>
                  <a:lnTo>
                    <a:pt x="348356" y="21191"/>
                  </a:lnTo>
                  <a:lnTo>
                    <a:pt x="341381" y="24673"/>
                  </a:lnTo>
                  <a:lnTo>
                    <a:pt x="338989" y="27260"/>
                  </a:lnTo>
                  <a:lnTo>
                    <a:pt x="344171" y="27260"/>
                  </a:lnTo>
                  <a:lnTo>
                    <a:pt x="354932" y="23479"/>
                  </a:lnTo>
                  <a:lnTo>
                    <a:pt x="360014" y="23479"/>
                  </a:lnTo>
                  <a:lnTo>
                    <a:pt x="357723" y="25668"/>
                  </a:lnTo>
                  <a:lnTo>
                    <a:pt x="352242" y="28055"/>
                  </a:lnTo>
                  <a:lnTo>
                    <a:pt x="349651" y="29647"/>
                  </a:lnTo>
                  <a:lnTo>
                    <a:pt x="347658" y="28453"/>
                  </a:lnTo>
                  <a:lnTo>
                    <a:pt x="345367" y="28453"/>
                  </a:lnTo>
                  <a:lnTo>
                    <a:pt x="340982" y="30443"/>
                  </a:lnTo>
                  <a:lnTo>
                    <a:pt x="341580" y="31736"/>
                  </a:lnTo>
                  <a:lnTo>
                    <a:pt x="343274" y="34522"/>
                  </a:lnTo>
                  <a:lnTo>
                    <a:pt x="343274" y="35318"/>
                  </a:lnTo>
                  <a:lnTo>
                    <a:pt x="342178" y="36512"/>
                  </a:lnTo>
                  <a:lnTo>
                    <a:pt x="340385" y="36512"/>
                  </a:lnTo>
                  <a:lnTo>
                    <a:pt x="330420" y="36512"/>
                  </a:lnTo>
                  <a:lnTo>
                    <a:pt x="312285" y="39994"/>
                  </a:lnTo>
                  <a:lnTo>
                    <a:pt x="300327" y="44570"/>
                  </a:lnTo>
                  <a:lnTo>
                    <a:pt x="285281" y="53624"/>
                  </a:lnTo>
                  <a:lnTo>
                    <a:pt x="279402" y="55613"/>
                  </a:lnTo>
                  <a:lnTo>
                    <a:pt x="260270" y="55613"/>
                  </a:lnTo>
                  <a:lnTo>
                    <a:pt x="244726" y="60389"/>
                  </a:lnTo>
                  <a:lnTo>
                    <a:pt x="228783" y="63274"/>
                  </a:lnTo>
                  <a:lnTo>
                    <a:pt x="225794" y="64269"/>
                  </a:lnTo>
                  <a:lnTo>
                    <a:pt x="221708" y="66856"/>
                  </a:lnTo>
                  <a:lnTo>
                    <a:pt x="215730" y="67651"/>
                  </a:lnTo>
                  <a:lnTo>
                    <a:pt x="211445" y="70437"/>
                  </a:lnTo>
                  <a:lnTo>
                    <a:pt x="194904" y="73521"/>
                  </a:lnTo>
                  <a:lnTo>
                    <a:pt x="192214" y="73521"/>
                  </a:lnTo>
                  <a:lnTo>
                    <a:pt x="180057" y="71034"/>
                  </a:lnTo>
                  <a:lnTo>
                    <a:pt x="174377" y="72327"/>
                  </a:lnTo>
                  <a:lnTo>
                    <a:pt x="171886" y="73422"/>
                  </a:lnTo>
                  <a:lnTo>
                    <a:pt x="171288" y="74616"/>
                  </a:lnTo>
                  <a:lnTo>
                    <a:pt x="170392" y="74616"/>
                  </a:lnTo>
                  <a:lnTo>
                    <a:pt x="171488" y="75610"/>
                  </a:lnTo>
                  <a:lnTo>
                    <a:pt x="177865" y="77700"/>
                  </a:lnTo>
                  <a:lnTo>
                    <a:pt x="178961" y="77700"/>
                  </a:lnTo>
                  <a:lnTo>
                    <a:pt x="178961" y="78595"/>
                  </a:lnTo>
                  <a:lnTo>
                    <a:pt x="178961" y="81480"/>
                  </a:lnTo>
                  <a:lnTo>
                    <a:pt x="180456" y="82177"/>
                  </a:lnTo>
                  <a:lnTo>
                    <a:pt x="189225" y="79590"/>
                  </a:lnTo>
                  <a:lnTo>
                    <a:pt x="206761" y="79590"/>
                  </a:lnTo>
                  <a:lnTo>
                    <a:pt x="229879" y="73024"/>
                  </a:lnTo>
                  <a:lnTo>
                    <a:pt x="249808" y="69641"/>
                  </a:lnTo>
                  <a:lnTo>
                    <a:pt x="268641" y="62080"/>
                  </a:lnTo>
                  <a:lnTo>
                    <a:pt x="275018" y="60289"/>
                  </a:lnTo>
                  <a:lnTo>
                    <a:pt x="277509" y="60289"/>
                  </a:lnTo>
                  <a:lnTo>
                    <a:pt x="283986" y="60289"/>
                  </a:lnTo>
                  <a:lnTo>
                    <a:pt x="285879" y="59493"/>
                  </a:lnTo>
                  <a:lnTo>
                    <a:pt x="289665" y="55912"/>
                  </a:lnTo>
                  <a:lnTo>
                    <a:pt x="299630" y="51236"/>
                  </a:lnTo>
                  <a:lnTo>
                    <a:pt x="303616" y="47853"/>
                  </a:lnTo>
                  <a:lnTo>
                    <a:pt x="304712" y="47853"/>
                  </a:lnTo>
                  <a:lnTo>
                    <a:pt x="306805" y="47853"/>
                  </a:lnTo>
                  <a:lnTo>
                    <a:pt x="307900" y="47853"/>
                  </a:lnTo>
                  <a:lnTo>
                    <a:pt x="309594" y="47853"/>
                  </a:lnTo>
                  <a:lnTo>
                    <a:pt x="312185" y="47853"/>
                  </a:lnTo>
                  <a:lnTo>
                    <a:pt x="314576" y="47058"/>
                  </a:lnTo>
                  <a:lnTo>
                    <a:pt x="316769" y="45764"/>
                  </a:lnTo>
                  <a:lnTo>
                    <a:pt x="320156" y="41685"/>
                  </a:lnTo>
                  <a:lnTo>
                    <a:pt x="322349" y="40591"/>
                  </a:lnTo>
                  <a:lnTo>
                    <a:pt x="325338" y="42083"/>
                  </a:lnTo>
                  <a:lnTo>
                    <a:pt x="322747" y="43675"/>
                  </a:lnTo>
                  <a:lnTo>
                    <a:pt x="320356" y="45565"/>
                  </a:lnTo>
                  <a:lnTo>
                    <a:pt x="318363" y="47853"/>
                  </a:lnTo>
                  <a:lnTo>
                    <a:pt x="315075" y="53723"/>
                  </a:lnTo>
                  <a:lnTo>
                    <a:pt x="313580" y="55414"/>
                  </a:lnTo>
                  <a:lnTo>
                    <a:pt x="308798" y="57902"/>
                  </a:lnTo>
                  <a:lnTo>
                    <a:pt x="306107" y="59891"/>
                  </a:lnTo>
                  <a:lnTo>
                    <a:pt x="304512" y="62180"/>
                  </a:lnTo>
                  <a:lnTo>
                    <a:pt x="303118" y="64866"/>
                  </a:lnTo>
                  <a:lnTo>
                    <a:pt x="301125" y="67651"/>
                  </a:lnTo>
                  <a:lnTo>
                    <a:pt x="295943" y="72825"/>
                  </a:lnTo>
                  <a:lnTo>
                    <a:pt x="293054" y="74815"/>
                  </a:lnTo>
                  <a:lnTo>
                    <a:pt x="289665" y="76207"/>
                  </a:lnTo>
                  <a:lnTo>
                    <a:pt x="282989" y="76904"/>
                  </a:lnTo>
                  <a:lnTo>
                    <a:pt x="263559" y="73223"/>
                  </a:lnTo>
                  <a:lnTo>
                    <a:pt x="240143" y="76804"/>
                  </a:lnTo>
                  <a:lnTo>
                    <a:pt x="240143" y="78098"/>
                  </a:lnTo>
                  <a:lnTo>
                    <a:pt x="255787" y="79291"/>
                  </a:lnTo>
                  <a:lnTo>
                    <a:pt x="250207" y="85957"/>
                  </a:lnTo>
                  <a:lnTo>
                    <a:pt x="248812" y="87151"/>
                  </a:lnTo>
                  <a:lnTo>
                    <a:pt x="245423" y="88544"/>
                  </a:lnTo>
                  <a:lnTo>
                    <a:pt x="244128" y="89638"/>
                  </a:lnTo>
                  <a:lnTo>
                    <a:pt x="241239" y="90633"/>
                  </a:lnTo>
                  <a:lnTo>
                    <a:pt x="232570" y="90633"/>
                  </a:lnTo>
                  <a:lnTo>
                    <a:pt x="231374" y="91628"/>
                  </a:lnTo>
                  <a:lnTo>
                    <a:pt x="228783" y="91628"/>
                  </a:lnTo>
                  <a:lnTo>
                    <a:pt x="218321" y="94414"/>
                  </a:lnTo>
                  <a:lnTo>
                    <a:pt x="211645" y="97697"/>
                  </a:lnTo>
                  <a:lnTo>
                    <a:pt x="207459" y="100880"/>
                  </a:lnTo>
                  <a:lnTo>
                    <a:pt x="201879" y="102472"/>
                  </a:lnTo>
                  <a:lnTo>
                    <a:pt x="199488" y="103566"/>
                  </a:lnTo>
                  <a:lnTo>
                    <a:pt x="191616" y="109735"/>
                  </a:lnTo>
                  <a:lnTo>
                    <a:pt x="189822" y="109735"/>
                  </a:lnTo>
                  <a:lnTo>
                    <a:pt x="185637" y="112620"/>
                  </a:lnTo>
                  <a:lnTo>
                    <a:pt x="178363" y="113814"/>
                  </a:lnTo>
                  <a:lnTo>
                    <a:pt x="164812" y="113814"/>
                  </a:lnTo>
                  <a:lnTo>
                    <a:pt x="145481" y="109635"/>
                  </a:lnTo>
                  <a:lnTo>
                    <a:pt x="138804" y="110232"/>
                  </a:lnTo>
                  <a:lnTo>
                    <a:pt x="136014" y="111227"/>
                  </a:lnTo>
                  <a:lnTo>
                    <a:pt x="134719" y="112222"/>
                  </a:lnTo>
                  <a:lnTo>
                    <a:pt x="134719" y="113814"/>
                  </a:lnTo>
                  <a:lnTo>
                    <a:pt x="136014" y="115007"/>
                  </a:lnTo>
                  <a:lnTo>
                    <a:pt x="141196" y="115007"/>
                  </a:lnTo>
                  <a:lnTo>
                    <a:pt x="142890" y="115704"/>
                  </a:lnTo>
                  <a:lnTo>
                    <a:pt x="143786" y="118390"/>
                  </a:lnTo>
                  <a:lnTo>
                    <a:pt x="141794" y="119385"/>
                  </a:lnTo>
                  <a:lnTo>
                    <a:pt x="131830" y="118887"/>
                  </a:lnTo>
                  <a:lnTo>
                    <a:pt x="118875" y="121673"/>
                  </a:lnTo>
                  <a:lnTo>
                    <a:pt x="113794" y="124160"/>
                  </a:lnTo>
                  <a:lnTo>
                    <a:pt x="111103" y="124857"/>
                  </a:lnTo>
                  <a:lnTo>
                    <a:pt x="108612" y="124857"/>
                  </a:lnTo>
                  <a:lnTo>
                    <a:pt x="102335" y="121474"/>
                  </a:lnTo>
                  <a:lnTo>
                    <a:pt x="102335" y="122867"/>
                  </a:lnTo>
                  <a:lnTo>
                    <a:pt x="102335" y="122867"/>
                  </a:lnTo>
                  <a:lnTo>
                    <a:pt x="102335" y="122867"/>
                  </a:lnTo>
                  <a:lnTo>
                    <a:pt x="102335" y="122867"/>
                  </a:lnTo>
                  <a:lnTo>
                    <a:pt x="104527" y="126250"/>
                  </a:lnTo>
                  <a:lnTo>
                    <a:pt x="108313" y="129831"/>
                  </a:lnTo>
                  <a:lnTo>
                    <a:pt x="112598" y="132716"/>
                  </a:lnTo>
                  <a:lnTo>
                    <a:pt x="116185" y="133910"/>
                  </a:lnTo>
                  <a:lnTo>
                    <a:pt x="116185" y="135004"/>
                  </a:lnTo>
                  <a:lnTo>
                    <a:pt x="109509" y="135004"/>
                  </a:lnTo>
                  <a:lnTo>
                    <a:pt x="106321" y="136596"/>
                  </a:lnTo>
                  <a:lnTo>
                    <a:pt x="104926" y="140775"/>
                  </a:lnTo>
                  <a:lnTo>
                    <a:pt x="104926" y="145053"/>
                  </a:lnTo>
                  <a:lnTo>
                    <a:pt x="104328" y="148336"/>
                  </a:lnTo>
                  <a:lnTo>
                    <a:pt x="104328" y="151221"/>
                  </a:lnTo>
                  <a:lnTo>
                    <a:pt x="106021" y="154703"/>
                  </a:lnTo>
                  <a:lnTo>
                    <a:pt x="108114" y="157489"/>
                  </a:lnTo>
                  <a:lnTo>
                    <a:pt x="109509" y="160274"/>
                  </a:lnTo>
                  <a:lnTo>
                    <a:pt x="109509" y="162363"/>
                  </a:lnTo>
                  <a:lnTo>
                    <a:pt x="106021" y="163159"/>
                  </a:lnTo>
                  <a:lnTo>
                    <a:pt x="104726" y="163756"/>
                  </a:lnTo>
                  <a:lnTo>
                    <a:pt x="102434" y="166244"/>
                  </a:lnTo>
                  <a:lnTo>
                    <a:pt x="101637" y="166840"/>
                  </a:lnTo>
                  <a:lnTo>
                    <a:pt x="100940" y="166840"/>
                  </a:lnTo>
                  <a:lnTo>
                    <a:pt x="100940" y="166144"/>
                  </a:lnTo>
                  <a:lnTo>
                    <a:pt x="100940" y="165149"/>
                  </a:lnTo>
                  <a:lnTo>
                    <a:pt x="100940" y="162761"/>
                  </a:lnTo>
                  <a:lnTo>
                    <a:pt x="100940" y="162761"/>
                  </a:lnTo>
                  <a:lnTo>
                    <a:pt x="99246" y="162761"/>
                  </a:lnTo>
                  <a:lnTo>
                    <a:pt x="98448" y="162761"/>
                  </a:lnTo>
                  <a:lnTo>
                    <a:pt x="95559" y="161269"/>
                  </a:lnTo>
                  <a:lnTo>
                    <a:pt x="89581" y="159578"/>
                  </a:lnTo>
                  <a:lnTo>
                    <a:pt x="84199" y="155101"/>
                  </a:lnTo>
                  <a:lnTo>
                    <a:pt x="75830" y="150624"/>
                  </a:lnTo>
                  <a:lnTo>
                    <a:pt x="73438" y="147938"/>
                  </a:lnTo>
                  <a:lnTo>
                    <a:pt x="71644" y="145252"/>
                  </a:lnTo>
                  <a:lnTo>
                    <a:pt x="69452" y="143162"/>
                  </a:lnTo>
                  <a:lnTo>
                    <a:pt x="63175" y="141471"/>
                  </a:lnTo>
                  <a:lnTo>
                    <a:pt x="55004" y="135999"/>
                  </a:lnTo>
                  <a:lnTo>
                    <a:pt x="31089" y="130627"/>
                  </a:lnTo>
                  <a:lnTo>
                    <a:pt x="25410" y="127145"/>
                  </a:lnTo>
                  <a:lnTo>
                    <a:pt x="17139" y="124658"/>
                  </a:lnTo>
                  <a:lnTo>
                    <a:pt x="14648" y="123265"/>
                  </a:lnTo>
                  <a:lnTo>
                    <a:pt x="11559" y="116002"/>
                  </a:lnTo>
                  <a:lnTo>
                    <a:pt x="9766" y="113515"/>
                  </a:lnTo>
                  <a:lnTo>
                    <a:pt x="7274" y="114212"/>
                  </a:lnTo>
                  <a:lnTo>
                    <a:pt x="9267" y="116997"/>
                  </a:lnTo>
                  <a:lnTo>
                    <a:pt x="9267" y="120479"/>
                  </a:lnTo>
                  <a:lnTo>
                    <a:pt x="8271" y="124061"/>
                  </a:lnTo>
                  <a:lnTo>
                    <a:pt x="6477" y="127045"/>
                  </a:lnTo>
                  <a:lnTo>
                    <a:pt x="1395" y="130528"/>
                  </a:lnTo>
                  <a:lnTo>
                    <a:pt x="0" y="132418"/>
                  </a:lnTo>
                  <a:lnTo>
                    <a:pt x="1794" y="134905"/>
                  </a:lnTo>
                  <a:lnTo>
                    <a:pt x="4384" y="135502"/>
                  </a:lnTo>
                  <a:lnTo>
                    <a:pt x="12555" y="132418"/>
                  </a:lnTo>
                  <a:lnTo>
                    <a:pt x="16342" y="132418"/>
                  </a:lnTo>
                  <a:lnTo>
                    <a:pt x="26904" y="135601"/>
                  </a:lnTo>
                  <a:lnTo>
                    <a:pt x="37765" y="136298"/>
                  </a:lnTo>
                  <a:lnTo>
                    <a:pt x="62477" y="146247"/>
                  </a:lnTo>
                  <a:lnTo>
                    <a:pt x="66363" y="150524"/>
                  </a:lnTo>
                  <a:lnTo>
                    <a:pt x="67359" y="151221"/>
                  </a:lnTo>
                  <a:lnTo>
                    <a:pt x="70548" y="151718"/>
                  </a:lnTo>
                  <a:lnTo>
                    <a:pt x="73239" y="153111"/>
                  </a:lnTo>
                  <a:lnTo>
                    <a:pt x="83203" y="161170"/>
                  </a:lnTo>
                  <a:lnTo>
                    <a:pt x="85993" y="162463"/>
                  </a:lnTo>
                  <a:lnTo>
                    <a:pt x="95061" y="164851"/>
                  </a:lnTo>
                  <a:lnTo>
                    <a:pt x="105025" y="171715"/>
                  </a:lnTo>
                  <a:lnTo>
                    <a:pt x="109011" y="170521"/>
                  </a:lnTo>
                  <a:lnTo>
                    <a:pt x="109908" y="170521"/>
                  </a:lnTo>
                  <a:lnTo>
                    <a:pt x="111601" y="172511"/>
                  </a:lnTo>
                  <a:lnTo>
                    <a:pt x="112697" y="175595"/>
                  </a:lnTo>
                  <a:lnTo>
                    <a:pt x="112697" y="179177"/>
                  </a:lnTo>
                  <a:lnTo>
                    <a:pt x="112697" y="182659"/>
                  </a:lnTo>
                  <a:lnTo>
                    <a:pt x="110007" y="180669"/>
                  </a:lnTo>
                  <a:lnTo>
                    <a:pt x="107117" y="179177"/>
                  </a:lnTo>
                  <a:lnTo>
                    <a:pt x="104028" y="178580"/>
                  </a:lnTo>
                  <a:lnTo>
                    <a:pt x="100641" y="178580"/>
                  </a:lnTo>
                  <a:lnTo>
                    <a:pt x="91872" y="182261"/>
                  </a:lnTo>
                  <a:lnTo>
                    <a:pt x="87786" y="185843"/>
                  </a:lnTo>
                  <a:lnTo>
                    <a:pt x="81210" y="189822"/>
                  </a:lnTo>
                  <a:lnTo>
                    <a:pt x="78919" y="190618"/>
                  </a:lnTo>
                  <a:lnTo>
                    <a:pt x="75830" y="191115"/>
                  </a:lnTo>
                  <a:lnTo>
                    <a:pt x="73637" y="192409"/>
                  </a:lnTo>
                  <a:lnTo>
                    <a:pt x="72143" y="194697"/>
                  </a:lnTo>
                  <a:lnTo>
                    <a:pt x="71146" y="197781"/>
                  </a:lnTo>
                  <a:lnTo>
                    <a:pt x="68057" y="195592"/>
                  </a:lnTo>
                  <a:lnTo>
                    <a:pt x="68057" y="194995"/>
                  </a:lnTo>
                  <a:lnTo>
                    <a:pt x="67459" y="194995"/>
                  </a:lnTo>
                  <a:lnTo>
                    <a:pt x="66363" y="195692"/>
                  </a:lnTo>
                  <a:lnTo>
                    <a:pt x="65566" y="197085"/>
                  </a:lnTo>
                  <a:lnTo>
                    <a:pt x="65566" y="198875"/>
                  </a:lnTo>
                  <a:lnTo>
                    <a:pt x="67161" y="200368"/>
                  </a:lnTo>
                  <a:lnTo>
                    <a:pt x="69153" y="200865"/>
                  </a:lnTo>
                  <a:lnTo>
                    <a:pt x="84598" y="199572"/>
                  </a:lnTo>
                  <a:lnTo>
                    <a:pt x="91573" y="197781"/>
                  </a:lnTo>
                  <a:lnTo>
                    <a:pt x="93666" y="197781"/>
                  </a:lnTo>
                  <a:lnTo>
                    <a:pt x="94563" y="200567"/>
                  </a:lnTo>
                  <a:lnTo>
                    <a:pt x="91175" y="203452"/>
                  </a:lnTo>
                  <a:lnTo>
                    <a:pt x="82506" y="207630"/>
                  </a:lnTo>
                  <a:lnTo>
                    <a:pt x="73537" y="210217"/>
                  </a:lnTo>
                  <a:lnTo>
                    <a:pt x="64171" y="211212"/>
                  </a:lnTo>
                  <a:lnTo>
                    <a:pt x="64171" y="212505"/>
                  </a:lnTo>
                  <a:lnTo>
                    <a:pt x="79217" y="211908"/>
                  </a:lnTo>
                  <a:lnTo>
                    <a:pt x="86093" y="210515"/>
                  </a:lnTo>
                  <a:lnTo>
                    <a:pt x="92968" y="207630"/>
                  </a:lnTo>
                  <a:lnTo>
                    <a:pt x="95260" y="206038"/>
                  </a:lnTo>
                  <a:lnTo>
                    <a:pt x="95957" y="206038"/>
                  </a:lnTo>
                  <a:lnTo>
                    <a:pt x="97253" y="206038"/>
                  </a:lnTo>
                  <a:lnTo>
                    <a:pt x="98548" y="207133"/>
                  </a:lnTo>
                  <a:lnTo>
                    <a:pt x="100840" y="210217"/>
                  </a:lnTo>
                  <a:lnTo>
                    <a:pt x="100840" y="210814"/>
                  </a:lnTo>
                  <a:lnTo>
                    <a:pt x="102634" y="210814"/>
                  </a:lnTo>
                  <a:lnTo>
                    <a:pt x="104128" y="209819"/>
                  </a:lnTo>
                  <a:lnTo>
                    <a:pt x="105224" y="208128"/>
                  </a:lnTo>
                  <a:lnTo>
                    <a:pt x="105224" y="205740"/>
                  </a:lnTo>
                  <a:lnTo>
                    <a:pt x="99046" y="204049"/>
                  </a:lnTo>
                  <a:lnTo>
                    <a:pt x="99246" y="202556"/>
                  </a:lnTo>
                  <a:lnTo>
                    <a:pt x="100541" y="200865"/>
                  </a:lnTo>
                  <a:lnTo>
                    <a:pt x="101936" y="200268"/>
                  </a:lnTo>
                  <a:lnTo>
                    <a:pt x="105324" y="200268"/>
                  </a:lnTo>
                  <a:lnTo>
                    <a:pt x="111004" y="198079"/>
                  </a:lnTo>
                  <a:lnTo>
                    <a:pt x="112697" y="198079"/>
                  </a:lnTo>
                  <a:lnTo>
                    <a:pt x="114990" y="196985"/>
                  </a:lnTo>
                  <a:lnTo>
                    <a:pt x="120370" y="191414"/>
                  </a:lnTo>
                  <a:lnTo>
                    <a:pt x="122164" y="189126"/>
                  </a:lnTo>
                  <a:lnTo>
                    <a:pt x="126249" y="185544"/>
                  </a:lnTo>
                  <a:lnTo>
                    <a:pt x="126249" y="184848"/>
                  </a:lnTo>
                  <a:lnTo>
                    <a:pt x="127246" y="184052"/>
                  </a:lnTo>
                  <a:lnTo>
                    <a:pt x="129637" y="180072"/>
                  </a:lnTo>
                  <a:lnTo>
                    <a:pt x="131032" y="178878"/>
                  </a:lnTo>
                  <a:lnTo>
                    <a:pt x="132028" y="179475"/>
                  </a:lnTo>
                  <a:lnTo>
                    <a:pt x="133125" y="180868"/>
                  </a:lnTo>
                  <a:lnTo>
                    <a:pt x="134121" y="181366"/>
                  </a:lnTo>
                  <a:lnTo>
                    <a:pt x="134121" y="179575"/>
                  </a:lnTo>
                  <a:lnTo>
                    <a:pt x="133623" y="177585"/>
                  </a:lnTo>
                  <a:lnTo>
                    <a:pt x="132826" y="176292"/>
                  </a:lnTo>
                  <a:lnTo>
                    <a:pt x="132826" y="175197"/>
                  </a:lnTo>
                  <a:lnTo>
                    <a:pt x="134221" y="174103"/>
                  </a:lnTo>
                  <a:lnTo>
                    <a:pt x="136513" y="174103"/>
                  </a:lnTo>
                  <a:lnTo>
                    <a:pt x="139403" y="175396"/>
                  </a:lnTo>
                  <a:lnTo>
                    <a:pt x="142292" y="176093"/>
                  </a:lnTo>
                  <a:lnTo>
                    <a:pt x="145580" y="174899"/>
                  </a:lnTo>
                  <a:lnTo>
                    <a:pt x="145580" y="172710"/>
                  </a:lnTo>
                  <a:lnTo>
                    <a:pt x="142392" y="171616"/>
                  </a:lnTo>
                  <a:lnTo>
                    <a:pt x="135815" y="170720"/>
                  </a:lnTo>
                  <a:lnTo>
                    <a:pt x="133025" y="168532"/>
                  </a:lnTo>
                  <a:lnTo>
                    <a:pt x="131929" y="165249"/>
                  </a:lnTo>
                  <a:lnTo>
                    <a:pt x="133424" y="163955"/>
                  </a:lnTo>
                  <a:lnTo>
                    <a:pt x="136413" y="163955"/>
                  </a:lnTo>
                  <a:lnTo>
                    <a:pt x="149168" y="166542"/>
                  </a:lnTo>
                  <a:lnTo>
                    <a:pt x="167901" y="164851"/>
                  </a:lnTo>
                  <a:lnTo>
                    <a:pt x="174079" y="162463"/>
                  </a:lnTo>
                  <a:lnTo>
                    <a:pt x="177367" y="161966"/>
                  </a:lnTo>
                  <a:lnTo>
                    <a:pt x="180157" y="160971"/>
                  </a:lnTo>
                  <a:lnTo>
                    <a:pt x="182847" y="158682"/>
                  </a:lnTo>
                  <a:lnTo>
                    <a:pt x="187331" y="153509"/>
                  </a:lnTo>
                  <a:lnTo>
                    <a:pt x="195502" y="148336"/>
                  </a:lnTo>
                  <a:lnTo>
                    <a:pt x="196897" y="146843"/>
                  </a:lnTo>
                  <a:lnTo>
                    <a:pt x="196897" y="144754"/>
                  </a:lnTo>
                  <a:lnTo>
                    <a:pt x="197894" y="143859"/>
                  </a:lnTo>
                  <a:lnTo>
                    <a:pt x="200883" y="143859"/>
                  </a:lnTo>
                  <a:lnTo>
                    <a:pt x="202676" y="143063"/>
                  </a:lnTo>
                  <a:lnTo>
                    <a:pt x="202676" y="141372"/>
                  </a:lnTo>
                  <a:lnTo>
                    <a:pt x="202676" y="139282"/>
                  </a:lnTo>
                  <a:lnTo>
                    <a:pt x="203474" y="137890"/>
                  </a:lnTo>
                  <a:lnTo>
                    <a:pt x="206263" y="137890"/>
                  </a:lnTo>
                  <a:lnTo>
                    <a:pt x="209552" y="141770"/>
                  </a:lnTo>
                  <a:lnTo>
                    <a:pt x="211744" y="139780"/>
                  </a:lnTo>
                  <a:lnTo>
                    <a:pt x="212840" y="138685"/>
                  </a:lnTo>
                  <a:lnTo>
                    <a:pt x="214335" y="137591"/>
                  </a:lnTo>
                  <a:lnTo>
                    <a:pt x="216028" y="136795"/>
                  </a:lnTo>
                  <a:lnTo>
                    <a:pt x="217423" y="136795"/>
                  </a:lnTo>
                  <a:lnTo>
                    <a:pt x="218121" y="137492"/>
                  </a:lnTo>
                  <a:lnTo>
                    <a:pt x="218918" y="138785"/>
                  </a:lnTo>
                  <a:lnTo>
                    <a:pt x="219815" y="140078"/>
                  </a:lnTo>
                  <a:lnTo>
                    <a:pt x="221310" y="140675"/>
                  </a:lnTo>
                  <a:lnTo>
                    <a:pt x="224498" y="140675"/>
                  </a:lnTo>
                  <a:lnTo>
                    <a:pt x="226192" y="140078"/>
                  </a:lnTo>
                  <a:lnTo>
                    <a:pt x="227388" y="139083"/>
                  </a:lnTo>
                  <a:lnTo>
                    <a:pt x="228783" y="138288"/>
                  </a:lnTo>
                  <a:lnTo>
                    <a:pt x="232470" y="138884"/>
                  </a:lnTo>
                  <a:lnTo>
                    <a:pt x="233965" y="138884"/>
                  </a:lnTo>
                  <a:lnTo>
                    <a:pt x="233965" y="137691"/>
                  </a:lnTo>
                  <a:lnTo>
                    <a:pt x="233965" y="133612"/>
                  </a:lnTo>
                  <a:lnTo>
                    <a:pt x="233965" y="132816"/>
                  </a:lnTo>
                  <a:lnTo>
                    <a:pt x="235559" y="132816"/>
                  </a:lnTo>
                  <a:lnTo>
                    <a:pt x="238150" y="133612"/>
                  </a:lnTo>
                  <a:lnTo>
                    <a:pt x="239645" y="133612"/>
                  </a:lnTo>
                  <a:lnTo>
                    <a:pt x="239645" y="131423"/>
                  </a:lnTo>
                  <a:lnTo>
                    <a:pt x="239645" y="129632"/>
                  </a:lnTo>
                  <a:lnTo>
                    <a:pt x="240143" y="128239"/>
                  </a:lnTo>
                  <a:lnTo>
                    <a:pt x="240143" y="127443"/>
                  </a:lnTo>
                  <a:lnTo>
                    <a:pt x="241039" y="127443"/>
                  </a:lnTo>
                  <a:lnTo>
                    <a:pt x="238448" y="127443"/>
                  </a:lnTo>
                  <a:lnTo>
                    <a:pt x="235758" y="126648"/>
                  </a:lnTo>
                  <a:lnTo>
                    <a:pt x="236456" y="124061"/>
                  </a:lnTo>
                  <a:lnTo>
                    <a:pt x="235858" y="121972"/>
                  </a:lnTo>
                  <a:lnTo>
                    <a:pt x="234662" y="120280"/>
                  </a:lnTo>
                  <a:lnTo>
                    <a:pt x="233167" y="119385"/>
                  </a:lnTo>
                  <a:lnTo>
                    <a:pt x="235758" y="116400"/>
                  </a:lnTo>
                  <a:lnTo>
                    <a:pt x="241637" y="113515"/>
                  </a:lnTo>
                  <a:lnTo>
                    <a:pt x="244029" y="111426"/>
                  </a:lnTo>
                  <a:lnTo>
                    <a:pt x="246121" y="109138"/>
                  </a:lnTo>
                  <a:lnTo>
                    <a:pt x="256085" y="102174"/>
                  </a:lnTo>
                  <a:lnTo>
                    <a:pt x="256883" y="101477"/>
                  </a:lnTo>
                  <a:lnTo>
                    <a:pt x="257979" y="99885"/>
                  </a:lnTo>
                  <a:lnTo>
                    <a:pt x="258676" y="98095"/>
                  </a:lnTo>
                  <a:lnTo>
                    <a:pt x="259374" y="95607"/>
                  </a:lnTo>
                  <a:lnTo>
                    <a:pt x="260270" y="93518"/>
                  </a:lnTo>
                  <a:lnTo>
                    <a:pt x="261865" y="92623"/>
                  </a:lnTo>
                  <a:lnTo>
                    <a:pt x="273523" y="91429"/>
                  </a:lnTo>
                  <a:lnTo>
                    <a:pt x="285082" y="88046"/>
                  </a:lnTo>
                  <a:lnTo>
                    <a:pt x="301623" y="80585"/>
                  </a:lnTo>
                  <a:lnTo>
                    <a:pt x="327530" y="73919"/>
                  </a:lnTo>
                  <a:lnTo>
                    <a:pt x="329523" y="72526"/>
                  </a:lnTo>
                  <a:lnTo>
                    <a:pt x="331815" y="71432"/>
                  </a:lnTo>
                  <a:lnTo>
                    <a:pt x="337893" y="72029"/>
                  </a:lnTo>
                  <a:lnTo>
                    <a:pt x="340484" y="72029"/>
                  </a:lnTo>
                  <a:lnTo>
                    <a:pt x="348655" y="66756"/>
                  </a:lnTo>
                  <a:lnTo>
                    <a:pt x="352242" y="65960"/>
                  </a:lnTo>
                  <a:lnTo>
                    <a:pt x="391402" y="71631"/>
                  </a:lnTo>
                  <a:lnTo>
                    <a:pt x="394391" y="70736"/>
                  </a:lnTo>
                  <a:lnTo>
                    <a:pt x="394391" y="68547"/>
                  </a:lnTo>
                  <a:lnTo>
                    <a:pt x="391303" y="66657"/>
                  </a:lnTo>
                  <a:lnTo>
                    <a:pt x="387317" y="65363"/>
                  </a:lnTo>
                  <a:lnTo>
                    <a:pt x="384327" y="64766"/>
                  </a:lnTo>
                  <a:lnTo>
                    <a:pt x="374363" y="65363"/>
                  </a:lnTo>
                  <a:lnTo>
                    <a:pt x="371473" y="64766"/>
                  </a:lnTo>
                  <a:lnTo>
                    <a:pt x="363303" y="60389"/>
                  </a:lnTo>
                  <a:lnTo>
                    <a:pt x="349054" y="58399"/>
                  </a:lnTo>
                  <a:lnTo>
                    <a:pt x="345466" y="58399"/>
                  </a:lnTo>
                  <a:lnTo>
                    <a:pt x="339487" y="60389"/>
                  </a:lnTo>
                  <a:lnTo>
                    <a:pt x="336598" y="61981"/>
                  </a:lnTo>
                  <a:lnTo>
                    <a:pt x="334605" y="63970"/>
                  </a:lnTo>
                  <a:lnTo>
                    <a:pt x="333409" y="65363"/>
                  </a:lnTo>
                  <a:lnTo>
                    <a:pt x="332413" y="66358"/>
                  </a:lnTo>
                  <a:lnTo>
                    <a:pt x="331118" y="66358"/>
                  </a:lnTo>
                  <a:lnTo>
                    <a:pt x="329224" y="66358"/>
                  </a:lnTo>
                  <a:lnTo>
                    <a:pt x="327431" y="66358"/>
                  </a:lnTo>
                  <a:lnTo>
                    <a:pt x="326434" y="65463"/>
                  </a:lnTo>
                  <a:lnTo>
                    <a:pt x="325737" y="64269"/>
                  </a:lnTo>
                  <a:lnTo>
                    <a:pt x="328427" y="62578"/>
                  </a:lnTo>
                  <a:lnTo>
                    <a:pt x="321851" y="59792"/>
                  </a:lnTo>
                  <a:lnTo>
                    <a:pt x="319459" y="57504"/>
                  </a:lnTo>
                  <a:lnTo>
                    <a:pt x="320256" y="53524"/>
                  </a:lnTo>
                  <a:lnTo>
                    <a:pt x="322548" y="49744"/>
                  </a:lnTo>
                  <a:lnTo>
                    <a:pt x="324641" y="47058"/>
                  </a:lnTo>
                  <a:lnTo>
                    <a:pt x="327032" y="45267"/>
                  </a:lnTo>
                  <a:lnTo>
                    <a:pt x="330320" y="44371"/>
                  </a:lnTo>
                  <a:lnTo>
                    <a:pt x="340285" y="45267"/>
                  </a:lnTo>
                  <a:lnTo>
                    <a:pt x="341580" y="43675"/>
                  </a:lnTo>
                  <a:lnTo>
                    <a:pt x="343274" y="40591"/>
                  </a:lnTo>
                  <a:lnTo>
                    <a:pt x="347061" y="39795"/>
                  </a:lnTo>
                  <a:lnTo>
                    <a:pt x="358420" y="40989"/>
                  </a:lnTo>
                  <a:lnTo>
                    <a:pt x="359914" y="41884"/>
                  </a:lnTo>
                  <a:lnTo>
                    <a:pt x="362804" y="40392"/>
                  </a:lnTo>
                  <a:lnTo>
                    <a:pt x="366790" y="39596"/>
                  </a:lnTo>
                  <a:lnTo>
                    <a:pt x="370776" y="39596"/>
                  </a:lnTo>
                  <a:lnTo>
                    <a:pt x="373367" y="41088"/>
                  </a:lnTo>
                  <a:lnTo>
                    <a:pt x="376156" y="43178"/>
                  </a:lnTo>
                  <a:lnTo>
                    <a:pt x="380441" y="44570"/>
                  </a:lnTo>
                  <a:lnTo>
                    <a:pt x="384825" y="44570"/>
                  </a:lnTo>
                  <a:lnTo>
                    <a:pt x="388214" y="44371"/>
                  </a:lnTo>
                  <a:lnTo>
                    <a:pt x="390306" y="46361"/>
                  </a:lnTo>
                  <a:lnTo>
                    <a:pt x="394192" y="46361"/>
                  </a:lnTo>
                  <a:lnTo>
                    <a:pt x="402164" y="44570"/>
                  </a:lnTo>
                  <a:lnTo>
                    <a:pt x="400370" y="45764"/>
                  </a:lnTo>
                  <a:lnTo>
                    <a:pt x="401865" y="47654"/>
                  </a:lnTo>
                  <a:lnTo>
                    <a:pt x="404655" y="47654"/>
                  </a:lnTo>
                  <a:lnTo>
                    <a:pt x="410733" y="46958"/>
                  </a:lnTo>
                  <a:lnTo>
                    <a:pt x="422989" y="49246"/>
                  </a:lnTo>
                  <a:lnTo>
                    <a:pt x="422391" y="50142"/>
                  </a:lnTo>
                  <a:lnTo>
                    <a:pt x="421295" y="52927"/>
                  </a:lnTo>
                  <a:lnTo>
                    <a:pt x="424285" y="52231"/>
                  </a:lnTo>
                  <a:lnTo>
                    <a:pt x="427174" y="50341"/>
                  </a:lnTo>
                  <a:lnTo>
                    <a:pt x="429964" y="49246"/>
                  </a:lnTo>
                  <a:lnTo>
                    <a:pt x="432456" y="51634"/>
                  </a:lnTo>
                  <a:lnTo>
                    <a:pt x="440427" y="46958"/>
                  </a:lnTo>
                  <a:lnTo>
                    <a:pt x="441424" y="48649"/>
                  </a:lnTo>
                  <a:lnTo>
                    <a:pt x="445111" y="50739"/>
                  </a:lnTo>
                  <a:lnTo>
                    <a:pt x="445111" y="50739"/>
                  </a:lnTo>
                  <a:lnTo>
                    <a:pt x="445111" y="1492"/>
                  </a:lnTo>
                  <a:lnTo>
                    <a:pt x="444114" y="2388"/>
                  </a:lnTo>
                  <a:close/>
                  <a:moveTo>
                    <a:pt x="440029" y="33428"/>
                  </a:moveTo>
                  <a:lnTo>
                    <a:pt x="438036" y="34622"/>
                  </a:lnTo>
                  <a:lnTo>
                    <a:pt x="439132" y="36313"/>
                  </a:lnTo>
                  <a:lnTo>
                    <a:pt x="440826" y="38303"/>
                  </a:lnTo>
                  <a:lnTo>
                    <a:pt x="438833" y="39894"/>
                  </a:lnTo>
                  <a:lnTo>
                    <a:pt x="435545" y="38601"/>
                  </a:lnTo>
                  <a:lnTo>
                    <a:pt x="432156" y="36512"/>
                  </a:lnTo>
                  <a:lnTo>
                    <a:pt x="432156" y="34522"/>
                  </a:lnTo>
                  <a:lnTo>
                    <a:pt x="434349" y="33229"/>
                  </a:lnTo>
                  <a:lnTo>
                    <a:pt x="437238" y="31339"/>
                  </a:lnTo>
                  <a:lnTo>
                    <a:pt x="441623" y="32035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1" name="Freeform: Shape 1240">
              <a:extLst>
                <a:ext uri="{FF2B5EF4-FFF2-40B4-BE49-F238E27FC236}">
                  <a16:creationId xmlns:a16="http://schemas.microsoft.com/office/drawing/2014/main" id="{BDC2775B-BD1B-49D7-B5C0-9BEDF027EF5B}"/>
                </a:ext>
              </a:extLst>
            </p:cNvPr>
            <p:cNvSpPr/>
            <p:nvPr/>
          </p:nvSpPr>
          <p:spPr>
            <a:xfrm>
              <a:off x="-2854273" y="-379608"/>
              <a:ext cx="22519" cy="12535"/>
            </a:xfrm>
            <a:custGeom>
              <a:avLst/>
              <a:gdLst>
                <a:gd name="connsiteX0" fmla="*/ 5281 w 22519"/>
                <a:gd name="connsiteY0" fmla="*/ 11938 h 12535"/>
                <a:gd name="connsiteX1" fmla="*/ 8868 w 22519"/>
                <a:gd name="connsiteY1" fmla="*/ 9650 h 12535"/>
                <a:gd name="connsiteX2" fmla="*/ 11359 w 22519"/>
                <a:gd name="connsiteY2" fmla="*/ 6865 h 12535"/>
                <a:gd name="connsiteX3" fmla="*/ 12655 w 22519"/>
                <a:gd name="connsiteY3" fmla="*/ 6168 h 12535"/>
                <a:gd name="connsiteX4" fmla="*/ 15644 w 22519"/>
                <a:gd name="connsiteY4" fmla="*/ 5173 h 12535"/>
                <a:gd name="connsiteX5" fmla="*/ 18932 w 22519"/>
                <a:gd name="connsiteY5" fmla="*/ 3383 h 12535"/>
                <a:gd name="connsiteX6" fmla="*/ 20626 w 22519"/>
                <a:gd name="connsiteY6" fmla="*/ 2786 h 12535"/>
                <a:gd name="connsiteX7" fmla="*/ 22520 w 22519"/>
                <a:gd name="connsiteY7" fmla="*/ 2885 h 12535"/>
                <a:gd name="connsiteX8" fmla="*/ 20427 w 22519"/>
                <a:gd name="connsiteY8" fmla="*/ 0 h 12535"/>
                <a:gd name="connsiteX9" fmla="*/ 17139 w 22519"/>
                <a:gd name="connsiteY9" fmla="*/ 696 h 12535"/>
                <a:gd name="connsiteX10" fmla="*/ 10861 w 22519"/>
                <a:gd name="connsiteY10" fmla="*/ 4079 h 12535"/>
                <a:gd name="connsiteX11" fmla="*/ 9865 w 22519"/>
                <a:gd name="connsiteY11" fmla="*/ 4875 h 12535"/>
                <a:gd name="connsiteX12" fmla="*/ 8071 w 22519"/>
                <a:gd name="connsiteY12" fmla="*/ 8357 h 12535"/>
                <a:gd name="connsiteX13" fmla="*/ 7374 w 22519"/>
                <a:gd name="connsiteY13" fmla="*/ 9053 h 12535"/>
                <a:gd name="connsiteX14" fmla="*/ 3488 w 22519"/>
                <a:gd name="connsiteY14" fmla="*/ 8755 h 12535"/>
                <a:gd name="connsiteX15" fmla="*/ 0 w 22519"/>
                <a:gd name="connsiteY15" fmla="*/ 7561 h 12535"/>
                <a:gd name="connsiteX16" fmla="*/ 0 w 22519"/>
                <a:gd name="connsiteY16" fmla="*/ 11640 h 12535"/>
                <a:gd name="connsiteX17" fmla="*/ 2093 w 22519"/>
                <a:gd name="connsiteY17" fmla="*/ 12535 h 12535"/>
                <a:gd name="connsiteX18" fmla="*/ 5281 w 22519"/>
                <a:gd name="connsiteY18" fmla="*/ 11938 h 1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519" h="12535">
                  <a:moveTo>
                    <a:pt x="5281" y="11938"/>
                  </a:moveTo>
                  <a:lnTo>
                    <a:pt x="8868" y="9650"/>
                  </a:lnTo>
                  <a:lnTo>
                    <a:pt x="11359" y="6865"/>
                  </a:lnTo>
                  <a:lnTo>
                    <a:pt x="12655" y="6168"/>
                  </a:lnTo>
                  <a:lnTo>
                    <a:pt x="15644" y="5173"/>
                  </a:lnTo>
                  <a:lnTo>
                    <a:pt x="18932" y="3383"/>
                  </a:lnTo>
                  <a:lnTo>
                    <a:pt x="20626" y="2786"/>
                  </a:lnTo>
                  <a:lnTo>
                    <a:pt x="22520" y="2885"/>
                  </a:lnTo>
                  <a:lnTo>
                    <a:pt x="20427" y="0"/>
                  </a:lnTo>
                  <a:lnTo>
                    <a:pt x="17139" y="696"/>
                  </a:lnTo>
                  <a:lnTo>
                    <a:pt x="10861" y="4079"/>
                  </a:lnTo>
                  <a:lnTo>
                    <a:pt x="9865" y="4875"/>
                  </a:lnTo>
                  <a:lnTo>
                    <a:pt x="8071" y="8357"/>
                  </a:lnTo>
                  <a:lnTo>
                    <a:pt x="7374" y="9053"/>
                  </a:lnTo>
                  <a:lnTo>
                    <a:pt x="3488" y="8755"/>
                  </a:lnTo>
                  <a:lnTo>
                    <a:pt x="0" y="7561"/>
                  </a:lnTo>
                  <a:lnTo>
                    <a:pt x="0" y="11640"/>
                  </a:lnTo>
                  <a:lnTo>
                    <a:pt x="2093" y="12535"/>
                  </a:lnTo>
                  <a:lnTo>
                    <a:pt x="5281" y="11938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2" name="Freeform: Shape 1241">
              <a:extLst>
                <a:ext uri="{FF2B5EF4-FFF2-40B4-BE49-F238E27FC236}">
                  <a16:creationId xmlns:a16="http://schemas.microsoft.com/office/drawing/2014/main" id="{75CB314B-F430-460F-8223-C49DE319BF0C}"/>
                </a:ext>
              </a:extLst>
            </p:cNvPr>
            <p:cNvSpPr/>
            <p:nvPr/>
          </p:nvSpPr>
          <p:spPr>
            <a:xfrm>
              <a:off x="3130250" y="-448254"/>
              <a:ext cx="507786" cy="683379"/>
            </a:xfrm>
            <a:custGeom>
              <a:avLst/>
              <a:gdLst>
                <a:gd name="connsiteX0" fmla="*/ 15544 w 507786"/>
                <a:gd name="connsiteY0" fmla="*/ 10347 h 683379"/>
                <a:gd name="connsiteX1" fmla="*/ 7673 w 507786"/>
                <a:gd name="connsiteY1" fmla="*/ 27956 h 683379"/>
                <a:gd name="connsiteX2" fmla="*/ 5281 w 507786"/>
                <a:gd name="connsiteY2" fmla="*/ 37308 h 683379"/>
                <a:gd name="connsiteX3" fmla="*/ 2990 w 507786"/>
                <a:gd name="connsiteY3" fmla="*/ 42083 h 683379"/>
                <a:gd name="connsiteX4" fmla="*/ 2990 w 507786"/>
                <a:gd name="connsiteY4" fmla="*/ 44073 h 683379"/>
                <a:gd name="connsiteX5" fmla="*/ 2990 w 507786"/>
                <a:gd name="connsiteY5" fmla="*/ 44968 h 683379"/>
                <a:gd name="connsiteX6" fmla="*/ 797 w 507786"/>
                <a:gd name="connsiteY6" fmla="*/ 47257 h 683379"/>
                <a:gd name="connsiteX7" fmla="*/ 0 w 507786"/>
                <a:gd name="connsiteY7" fmla="*/ 48251 h 683379"/>
                <a:gd name="connsiteX8" fmla="*/ 698 w 507786"/>
                <a:gd name="connsiteY8" fmla="*/ 53325 h 683379"/>
                <a:gd name="connsiteX9" fmla="*/ 698 w 507786"/>
                <a:gd name="connsiteY9" fmla="*/ 54320 h 683379"/>
                <a:gd name="connsiteX10" fmla="*/ 2192 w 507786"/>
                <a:gd name="connsiteY10" fmla="*/ 55017 h 683379"/>
                <a:gd name="connsiteX11" fmla="*/ 2192 w 507786"/>
                <a:gd name="connsiteY11" fmla="*/ 56807 h 683379"/>
                <a:gd name="connsiteX12" fmla="*/ 2192 w 507786"/>
                <a:gd name="connsiteY12" fmla="*/ 60488 h 683379"/>
                <a:gd name="connsiteX13" fmla="*/ 2192 w 507786"/>
                <a:gd name="connsiteY13" fmla="*/ 72725 h 683379"/>
                <a:gd name="connsiteX14" fmla="*/ 2192 w 507786"/>
                <a:gd name="connsiteY14" fmla="*/ 75610 h 683379"/>
                <a:gd name="connsiteX15" fmla="*/ 3089 w 507786"/>
                <a:gd name="connsiteY15" fmla="*/ 77998 h 683379"/>
                <a:gd name="connsiteX16" fmla="*/ 4384 w 507786"/>
                <a:gd name="connsiteY16" fmla="*/ 80187 h 683379"/>
                <a:gd name="connsiteX17" fmla="*/ 9267 w 507786"/>
                <a:gd name="connsiteY17" fmla="*/ 86554 h 683379"/>
                <a:gd name="connsiteX18" fmla="*/ 9267 w 507786"/>
                <a:gd name="connsiteY18" fmla="*/ 88842 h 683379"/>
                <a:gd name="connsiteX19" fmla="*/ 7573 w 507786"/>
                <a:gd name="connsiteY19" fmla="*/ 91130 h 683379"/>
                <a:gd name="connsiteX20" fmla="*/ 8968 w 507786"/>
                <a:gd name="connsiteY20" fmla="*/ 92026 h 683379"/>
                <a:gd name="connsiteX21" fmla="*/ 10363 w 507786"/>
                <a:gd name="connsiteY21" fmla="*/ 92026 h 683379"/>
                <a:gd name="connsiteX22" fmla="*/ 11858 w 507786"/>
                <a:gd name="connsiteY22" fmla="*/ 92026 h 683379"/>
                <a:gd name="connsiteX23" fmla="*/ 13552 w 507786"/>
                <a:gd name="connsiteY23" fmla="*/ 92026 h 683379"/>
                <a:gd name="connsiteX24" fmla="*/ 15046 w 507786"/>
                <a:gd name="connsiteY24" fmla="*/ 92523 h 683379"/>
                <a:gd name="connsiteX25" fmla="*/ 16342 w 507786"/>
                <a:gd name="connsiteY25" fmla="*/ 93419 h 683379"/>
                <a:gd name="connsiteX26" fmla="*/ 23616 w 507786"/>
                <a:gd name="connsiteY26" fmla="*/ 100084 h 683379"/>
                <a:gd name="connsiteX27" fmla="*/ 25310 w 507786"/>
                <a:gd name="connsiteY27" fmla="*/ 102671 h 683379"/>
                <a:gd name="connsiteX28" fmla="*/ 33481 w 507786"/>
                <a:gd name="connsiteY28" fmla="*/ 128637 h 683379"/>
                <a:gd name="connsiteX29" fmla="*/ 35772 w 507786"/>
                <a:gd name="connsiteY29" fmla="*/ 132219 h 683379"/>
                <a:gd name="connsiteX30" fmla="*/ 36470 w 507786"/>
                <a:gd name="connsiteY30" fmla="*/ 134209 h 683379"/>
                <a:gd name="connsiteX31" fmla="*/ 38064 w 507786"/>
                <a:gd name="connsiteY31" fmla="*/ 143361 h 683379"/>
                <a:gd name="connsiteX32" fmla="*/ 39260 w 507786"/>
                <a:gd name="connsiteY32" fmla="*/ 145451 h 683379"/>
                <a:gd name="connsiteX33" fmla="*/ 40057 w 507786"/>
                <a:gd name="connsiteY33" fmla="*/ 147540 h 683379"/>
                <a:gd name="connsiteX34" fmla="*/ 40057 w 507786"/>
                <a:gd name="connsiteY34" fmla="*/ 152315 h 683379"/>
                <a:gd name="connsiteX35" fmla="*/ 38363 w 507786"/>
                <a:gd name="connsiteY35" fmla="*/ 159478 h 683379"/>
                <a:gd name="connsiteX36" fmla="*/ 37566 w 507786"/>
                <a:gd name="connsiteY36" fmla="*/ 161866 h 683379"/>
                <a:gd name="connsiteX37" fmla="*/ 32783 w 507786"/>
                <a:gd name="connsiteY37" fmla="*/ 171019 h 683379"/>
                <a:gd name="connsiteX38" fmla="*/ 31089 w 507786"/>
                <a:gd name="connsiteY38" fmla="*/ 172710 h 683379"/>
                <a:gd name="connsiteX39" fmla="*/ 30292 w 507786"/>
                <a:gd name="connsiteY39" fmla="*/ 176690 h 683379"/>
                <a:gd name="connsiteX40" fmla="*/ 29595 w 507786"/>
                <a:gd name="connsiteY40" fmla="*/ 181167 h 683379"/>
                <a:gd name="connsiteX41" fmla="*/ 28797 w 507786"/>
                <a:gd name="connsiteY41" fmla="*/ 184350 h 683379"/>
                <a:gd name="connsiteX42" fmla="*/ 30392 w 507786"/>
                <a:gd name="connsiteY42" fmla="*/ 186937 h 683379"/>
                <a:gd name="connsiteX43" fmla="*/ 30392 w 507786"/>
                <a:gd name="connsiteY43" fmla="*/ 189623 h 683379"/>
                <a:gd name="connsiteX44" fmla="*/ 30392 w 507786"/>
                <a:gd name="connsiteY44" fmla="*/ 192409 h 683379"/>
                <a:gd name="connsiteX45" fmla="*/ 30392 w 507786"/>
                <a:gd name="connsiteY45" fmla="*/ 195095 h 683379"/>
                <a:gd name="connsiteX46" fmla="*/ 30890 w 507786"/>
                <a:gd name="connsiteY46" fmla="*/ 198179 h 683379"/>
                <a:gd name="connsiteX47" fmla="*/ 31786 w 507786"/>
                <a:gd name="connsiteY47" fmla="*/ 201363 h 683379"/>
                <a:gd name="connsiteX48" fmla="*/ 32982 w 507786"/>
                <a:gd name="connsiteY48" fmla="*/ 204248 h 683379"/>
                <a:gd name="connsiteX49" fmla="*/ 36669 w 507786"/>
                <a:gd name="connsiteY49" fmla="*/ 210913 h 683379"/>
                <a:gd name="connsiteX50" fmla="*/ 38463 w 507786"/>
                <a:gd name="connsiteY50" fmla="*/ 215888 h 683379"/>
                <a:gd name="connsiteX51" fmla="*/ 42648 w 507786"/>
                <a:gd name="connsiteY51" fmla="*/ 236382 h 683379"/>
                <a:gd name="connsiteX52" fmla="*/ 42648 w 507786"/>
                <a:gd name="connsiteY52" fmla="*/ 240063 h 683379"/>
                <a:gd name="connsiteX53" fmla="*/ 42648 w 507786"/>
                <a:gd name="connsiteY53" fmla="*/ 242152 h 683379"/>
                <a:gd name="connsiteX54" fmla="*/ 39957 w 507786"/>
                <a:gd name="connsiteY54" fmla="*/ 245336 h 683379"/>
                <a:gd name="connsiteX55" fmla="*/ 33779 w 507786"/>
                <a:gd name="connsiteY55" fmla="*/ 250111 h 683379"/>
                <a:gd name="connsiteX56" fmla="*/ 32086 w 507786"/>
                <a:gd name="connsiteY56" fmla="*/ 250708 h 683379"/>
                <a:gd name="connsiteX57" fmla="*/ 29993 w 507786"/>
                <a:gd name="connsiteY57" fmla="*/ 250708 h 683379"/>
                <a:gd name="connsiteX58" fmla="*/ 27502 w 507786"/>
                <a:gd name="connsiteY58" fmla="*/ 251604 h 683379"/>
                <a:gd name="connsiteX59" fmla="*/ 25908 w 507786"/>
                <a:gd name="connsiteY59" fmla="*/ 253096 h 683379"/>
                <a:gd name="connsiteX60" fmla="*/ 26506 w 507786"/>
                <a:gd name="connsiteY60" fmla="*/ 255185 h 683379"/>
                <a:gd name="connsiteX61" fmla="*/ 22420 w 507786"/>
                <a:gd name="connsiteY61" fmla="*/ 265731 h 683379"/>
                <a:gd name="connsiteX62" fmla="*/ 20926 w 507786"/>
                <a:gd name="connsiteY62" fmla="*/ 271203 h 683379"/>
                <a:gd name="connsiteX63" fmla="*/ 19231 w 507786"/>
                <a:gd name="connsiteY63" fmla="*/ 284733 h 683379"/>
                <a:gd name="connsiteX64" fmla="*/ 19929 w 507786"/>
                <a:gd name="connsiteY64" fmla="*/ 287220 h 683379"/>
                <a:gd name="connsiteX65" fmla="*/ 21124 w 507786"/>
                <a:gd name="connsiteY65" fmla="*/ 289409 h 683379"/>
                <a:gd name="connsiteX66" fmla="*/ 21722 w 507786"/>
                <a:gd name="connsiteY66" fmla="*/ 291996 h 683379"/>
                <a:gd name="connsiteX67" fmla="*/ 21722 w 507786"/>
                <a:gd name="connsiteY67" fmla="*/ 294383 h 683379"/>
                <a:gd name="connsiteX68" fmla="*/ 19830 w 507786"/>
                <a:gd name="connsiteY68" fmla="*/ 296274 h 683379"/>
                <a:gd name="connsiteX69" fmla="*/ 23118 w 507786"/>
                <a:gd name="connsiteY69" fmla="*/ 297965 h 683379"/>
                <a:gd name="connsiteX70" fmla="*/ 28000 w 507786"/>
                <a:gd name="connsiteY70" fmla="*/ 303536 h 683379"/>
                <a:gd name="connsiteX71" fmla="*/ 33082 w 507786"/>
                <a:gd name="connsiteY71" fmla="*/ 305128 h 683379"/>
                <a:gd name="connsiteX72" fmla="*/ 34377 w 507786"/>
                <a:gd name="connsiteY72" fmla="*/ 306222 h 683379"/>
                <a:gd name="connsiteX73" fmla="*/ 35473 w 507786"/>
                <a:gd name="connsiteY73" fmla="*/ 307416 h 683379"/>
                <a:gd name="connsiteX74" fmla="*/ 36271 w 507786"/>
                <a:gd name="connsiteY74" fmla="*/ 308212 h 683379"/>
                <a:gd name="connsiteX75" fmla="*/ 42150 w 507786"/>
                <a:gd name="connsiteY75" fmla="*/ 309505 h 683379"/>
                <a:gd name="connsiteX76" fmla="*/ 44043 w 507786"/>
                <a:gd name="connsiteY76" fmla="*/ 310699 h 683379"/>
                <a:gd name="connsiteX77" fmla="*/ 52712 w 507786"/>
                <a:gd name="connsiteY77" fmla="*/ 318061 h 683379"/>
                <a:gd name="connsiteX78" fmla="*/ 59488 w 507786"/>
                <a:gd name="connsiteY78" fmla="*/ 325821 h 683379"/>
                <a:gd name="connsiteX79" fmla="*/ 60883 w 507786"/>
                <a:gd name="connsiteY79" fmla="*/ 328706 h 683379"/>
                <a:gd name="connsiteX80" fmla="*/ 59786 w 507786"/>
                <a:gd name="connsiteY80" fmla="*/ 331094 h 683379"/>
                <a:gd name="connsiteX81" fmla="*/ 63075 w 507786"/>
                <a:gd name="connsiteY81" fmla="*/ 334676 h 683379"/>
                <a:gd name="connsiteX82" fmla="*/ 68356 w 507786"/>
                <a:gd name="connsiteY82" fmla="*/ 346515 h 683379"/>
                <a:gd name="connsiteX83" fmla="*/ 72441 w 507786"/>
                <a:gd name="connsiteY83" fmla="*/ 349002 h 683379"/>
                <a:gd name="connsiteX84" fmla="*/ 76726 w 507786"/>
                <a:gd name="connsiteY84" fmla="*/ 350693 h 683379"/>
                <a:gd name="connsiteX85" fmla="*/ 81310 w 507786"/>
                <a:gd name="connsiteY85" fmla="*/ 354673 h 683379"/>
                <a:gd name="connsiteX86" fmla="*/ 94662 w 507786"/>
                <a:gd name="connsiteY86" fmla="*/ 372083 h 683379"/>
                <a:gd name="connsiteX87" fmla="*/ 98548 w 507786"/>
                <a:gd name="connsiteY87" fmla="*/ 376062 h 683379"/>
                <a:gd name="connsiteX88" fmla="*/ 102733 w 507786"/>
                <a:gd name="connsiteY88" fmla="*/ 377754 h 683379"/>
                <a:gd name="connsiteX89" fmla="*/ 112697 w 507786"/>
                <a:gd name="connsiteY89" fmla="*/ 385613 h 683379"/>
                <a:gd name="connsiteX90" fmla="*/ 113594 w 507786"/>
                <a:gd name="connsiteY90" fmla="*/ 387603 h 683379"/>
                <a:gd name="connsiteX91" fmla="*/ 113594 w 507786"/>
                <a:gd name="connsiteY91" fmla="*/ 390090 h 683379"/>
                <a:gd name="connsiteX92" fmla="*/ 111701 w 507786"/>
                <a:gd name="connsiteY92" fmla="*/ 393274 h 683379"/>
                <a:gd name="connsiteX93" fmla="*/ 112797 w 507786"/>
                <a:gd name="connsiteY93" fmla="*/ 396159 h 683379"/>
                <a:gd name="connsiteX94" fmla="*/ 114292 w 507786"/>
                <a:gd name="connsiteY94" fmla="*/ 403521 h 683379"/>
                <a:gd name="connsiteX95" fmla="*/ 115687 w 507786"/>
                <a:gd name="connsiteY95" fmla="*/ 405013 h 683379"/>
                <a:gd name="connsiteX96" fmla="*/ 117281 w 507786"/>
                <a:gd name="connsiteY96" fmla="*/ 405909 h 683379"/>
                <a:gd name="connsiteX97" fmla="*/ 122463 w 507786"/>
                <a:gd name="connsiteY97" fmla="*/ 410286 h 683379"/>
                <a:gd name="connsiteX98" fmla="*/ 123957 w 507786"/>
                <a:gd name="connsiteY98" fmla="*/ 412176 h 683379"/>
                <a:gd name="connsiteX99" fmla="*/ 110904 w 507786"/>
                <a:gd name="connsiteY99" fmla="*/ 409888 h 683379"/>
                <a:gd name="connsiteX100" fmla="*/ 107715 w 507786"/>
                <a:gd name="connsiteY100" fmla="*/ 409888 h 683379"/>
                <a:gd name="connsiteX101" fmla="*/ 93168 w 507786"/>
                <a:gd name="connsiteY101" fmla="*/ 416355 h 683379"/>
                <a:gd name="connsiteX102" fmla="*/ 91374 w 507786"/>
                <a:gd name="connsiteY102" fmla="*/ 416355 h 683379"/>
                <a:gd name="connsiteX103" fmla="*/ 90278 w 507786"/>
                <a:gd name="connsiteY103" fmla="*/ 419340 h 683379"/>
                <a:gd name="connsiteX104" fmla="*/ 89082 w 507786"/>
                <a:gd name="connsiteY104" fmla="*/ 420533 h 683379"/>
                <a:gd name="connsiteX105" fmla="*/ 84299 w 507786"/>
                <a:gd name="connsiteY105" fmla="*/ 419439 h 683379"/>
                <a:gd name="connsiteX106" fmla="*/ 81609 w 507786"/>
                <a:gd name="connsiteY106" fmla="*/ 418444 h 683379"/>
                <a:gd name="connsiteX107" fmla="*/ 78021 w 507786"/>
                <a:gd name="connsiteY107" fmla="*/ 419240 h 683379"/>
                <a:gd name="connsiteX108" fmla="*/ 74335 w 507786"/>
                <a:gd name="connsiteY108" fmla="*/ 421230 h 683379"/>
                <a:gd name="connsiteX109" fmla="*/ 71744 w 507786"/>
                <a:gd name="connsiteY109" fmla="*/ 423518 h 683379"/>
                <a:gd name="connsiteX110" fmla="*/ 74534 w 507786"/>
                <a:gd name="connsiteY110" fmla="*/ 422822 h 683379"/>
                <a:gd name="connsiteX111" fmla="*/ 75830 w 507786"/>
                <a:gd name="connsiteY111" fmla="*/ 422125 h 683379"/>
                <a:gd name="connsiteX112" fmla="*/ 77025 w 507786"/>
                <a:gd name="connsiteY112" fmla="*/ 421230 h 683379"/>
                <a:gd name="connsiteX113" fmla="*/ 77822 w 507786"/>
                <a:gd name="connsiteY113" fmla="*/ 422424 h 683379"/>
                <a:gd name="connsiteX114" fmla="*/ 74035 w 507786"/>
                <a:gd name="connsiteY114" fmla="*/ 426005 h 683379"/>
                <a:gd name="connsiteX115" fmla="*/ 70050 w 507786"/>
                <a:gd name="connsiteY115" fmla="*/ 430681 h 683379"/>
                <a:gd name="connsiteX116" fmla="*/ 73139 w 507786"/>
                <a:gd name="connsiteY116" fmla="*/ 430681 h 683379"/>
                <a:gd name="connsiteX117" fmla="*/ 76427 w 507786"/>
                <a:gd name="connsiteY117" fmla="*/ 429786 h 683379"/>
                <a:gd name="connsiteX118" fmla="*/ 79417 w 507786"/>
                <a:gd name="connsiteY118" fmla="*/ 428094 h 683379"/>
                <a:gd name="connsiteX119" fmla="*/ 84199 w 507786"/>
                <a:gd name="connsiteY119" fmla="*/ 423319 h 683379"/>
                <a:gd name="connsiteX120" fmla="*/ 87288 w 507786"/>
                <a:gd name="connsiteY120" fmla="*/ 422424 h 683379"/>
                <a:gd name="connsiteX121" fmla="*/ 117182 w 507786"/>
                <a:gd name="connsiteY121" fmla="*/ 422424 h 683379"/>
                <a:gd name="connsiteX122" fmla="*/ 123161 w 507786"/>
                <a:gd name="connsiteY122" fmla="*/ 425707 h 683379"/>
                <a:gd name="connsiteX123" fmla="*/ 126648 w 507786"/>
                <a:gd name="connsiteY123" fmla="*/ 430880 h 683379"/>
                <a:gd name="connsiteX124" fmla="*/ 132626 w 507786"/>
                <a:gd name="connsiteY124" fmla="*/ 441824 h 683379"/>
                <a:gd name="connsiteX125" fmla="*/ 137110 w 507786"/>
                <a:gd name="connsiteY125" fmla="*/ 445903 h 683379"/>
                <a:gd name="connsiteX126" fmla="*/ 147772 w 507786"/>
                <a:gd name="connsiteY126" fmla="*/ 448191 h 683379"/>
                <a:gd name="connsiteX127" fmla="*/ 152555 w 507786"/>
                <a:gd name="connsiteY127" fmla="*/ 451673 h 683379"/>
                <a:gd name="connsiteX128" fmla="*/ 162519 w 507786"/>
                <a:gd name="connsiteY128" fmla="*/ 456548 h 683379"/>
                <a:gd name="connsiteX129" fmla="*/ 165908 w 507786"/>
                <a:gd name="connsiteY129" fmla="*/ 456548 h 683379"/>
                <a:gd name="connsiteX130" fmla="*/ 168000 w 507786"/>
                <a:gd name="connsiteY130" fmla="*/ 455155 h 683379"/>
                <a:gd name="connsiteX131" fmla="*/ 169794 w 507786"/>
                <a:gd name="connsiteY131" fmla="*/ 455155 h 683379"/>
                <a:gd name="connsiteX132" fmla="*/ 172385 w 507786"/>
                <a:gd name="connsiteY132" fmla="*/ 457742 h 683379"/>
                <a:gd name="connsiteX133" fmla="*/ 175075 w 507786"/>
                <a:gd name="connsiteY133" fmla="*/ 459930 h 683379"/>
                <a:gd name="connsiteX134" fmla="*/ 182050 w 507786"/>
                <a:gd name="connsiteY134" fmla="*/ 462020 h 683379"/>
                <a:gd name="connsiteX135" fmla="*/ 184939 w 507786"/>
                <a:gd name="connsiteY135" fmla="*/ 464208 h 683379"/>
                <a:gd name="connsiteX136" fmla="*/ 185737 w 507786"/>
                <a:gd name="connsiteY136" fmla="*/ 465601 h 683379"/>
                <a:gd name="connsiteX137" fmla="*/ 187630 w 507786"/>
                <a:gd name="connsiteY137" fmla="*/ 470277 h 683379"/>
                <a:gd name="connsiteX138" fmla="*/ 190619 w 507786"/>
                <a:gd name="connsiteY138" fmla="*/ 475152 h 683379"/>
                <a:gd name="connsiteX139" fmla="*/ 191117 w 507786"/>
                <a:gd name="connsiteY139" fmla="*/ 476843 h 683379"/>
                <a:gd name="connsiteX140" fmla="*/ 192314 w 507786"/>
                <a:gd name="connsiteY140" fmla="*/ 480226 h 683379"/>
                <a:gd name="connsiteX141" fmla="*/ 195303 w 507786"/>
                <a:gd name="connsiteY141" fmla="*/ 482415 h 683379"/>
                <a:gd name="connsiteX142" fmla="*/ 201580 w 507786"/>
                <a:gd name="connsiteY142" fmla="*/ 484504 h 683379"/>
                <a:gd name="connsiteX143" fmla="*/ 202377 w 507786"/>
                <a:gd name="connsiteY143" fmla="*/ 484504 h 683379"/>
                <a:gd name="connsiteX144" fmla="*/ 204270 w 507786"/>
                <a:gd name="connsiteY144" fmla="*/ 484504 h 683379"/>
                <a:gd name="connsiteX145" fmla="*/ 205068 w 507786"/>
                <a:gd name="connsiteY145" fmla="*/ 484504 h 683379"/>
                <a:gd name="connsiteX146" fmla="*/ 205068 w 507786"/>
                <a:gd name="connsiteY146" fmla="*/ 485200 h 683379"/>
                <a:gd name="connsiteX147" fmla="*/ 205068 w 507786"/>
                <a:gd name="connsiteY147" fmla="*/ 486494 h 683379"/>
                <a:gd name="connsiteX148" fmla="*/ 205068 w 507786"/>
                <a:gd name="connsiteY148" fmla="*/ 486991 h 683379"/>
                <a:gd name="connsiteX149" fmla="*/ 209652 w 507786"/>
                <a:gd name="connsiteY149" fmla="*/ 489976 h 683379"/>
                <a:gd name="connsiteX150" fmla="*/ 210747 w 507786"/>
                <a:gd name="connsiteY150" fmla="*/ 490970 h 683379"/>
                <a:gd name="connsiteX151" fmla="*/ 214335 w 507786"/>
                <a:gd name="connsiteY151" fmla="*/ 495049 h 683379"/>
                <a:gd name="connsiteX152" fmla="*/ 218918 w 507786"/>
                <a:gd name="connsiteY152" fmla="*/ 498730 h 683379"/>
                <a:gd name="connsiteX153" fmla="*/ 220812 w 507786"/>
                <a:gd name="connsiteY153" fmla="*/ 500820 h 683379"/>
                <a:gd name="connsiteX154" fmla="*/ 224997 w 507786"/>
                <a:gd name="connsiteY154" fmla="*/ 506988 h 683379"/>
                <a:gd name="connsiteX155" fmla="*/ 226392 w 507786"/>
                <a:gd name="connsiteY155" fmla="*/ 508281 h 683379"/>
                <a:gd name="connsiteX156" fmla="*/ 227787 w 507786"/>
                <a:gd name="connsiteY156" fmla="*/ 508281 h 683379"/>
                <a:gd name="connsiteX157" fmla="*/ 229181 w 507786"/>
                <a:gd name="connsiteY157" fmla="*/ 509177 h 683379"/>
                <a:gd name="connsiteX158" fmla="*/ 231573 w 507786"/>
                <a:gd name="connsiteY158" fmla="*/ 511962 h 683379"/>
                <a:gd name="connsiteX159" fmla="*/ 232868 w 507786"/>
                <a:gd name="connsiteY159" fmla="*/ 514052 h 683379"/>
                <a:gd name="connsiteX160" fmla="*/ 232868 w 507786"/>
                <a:gd name="connsiteY160" fmla="*/ 515245 h 683379"/>
                <a:gd name="connsiteX161" fmla="*/ 232868 w 507786"/>
                <a:gd name="connsiteY161" fmla="*/ 516340 h 683379"/>
                <a:gd name="connsiteX162" fmla="*/ 232868 w 507786"/>
                <a:gd name="connsiteY162" fmla="*/ 518429 h 683379"/>
                <a:gd name="connsiteX163" fmla="*/ 233965 w 507786"/>
                <a:gd name="connsiteY163" fmla="*/ 521911 h 683379"/>
                <a:gd name="connsiteX164" fmla="*/ 237352 w 507786"/>
                <a:gd name="connsiteY164" fmla="*/ 529273 h 683379"/>
                <a:gd name="connsiteX165" fmla="*/ 238548 w 507786"/>
                <a:gd name="connsiteY165" fmla="*/ 534844 h 683379"/>
                <a:gd name="connsiteX166" fmla="*/ 242334 w 507786"/>
                <a:gd name="connsiteY166" fmla="*/ 544793 h 683379"/>
                <a:gd name="connsiteX167" fmla="*/ 243730 w 507786"/>
                <a:gd name="connsiteY167" fmla="*/ 547081 h 683379"/>
                <a:gd name="connsiteX168" fmla="*/ 245822 w 507786"/>
                <a:gd name="connsiteY168" fmla="*/ 549768 h 683379"/>
                <a:gd name="connsiteX169" fmla="*/ 248214 w 507786"/>
                <a:gd name="connsiteY169" fmla="*/ 552056 h 683379"/>
                <a:gd name="connsiteX170" fmla="*/ 250605 w 507786"/>
                <a:gd name="connsiteY170" fmla="*/ 552951 h 683379"/>
                <a:gd name="connsiteX171" fmla="*/ 252399 w 507786"/>
                <a:gd name="connsiteY171" fmla="*/ 554742 h 683379"/>
                <a:gd name="connsiteX172" fmla="*/ 252399 w 507786"/>
                <a:gd name="connsiteY172" fmla="*/ 558622 h 683379"/>
                <a:gd name="connsiteX173" fmla="*/ 252399 w 507786"/>
                <a:gd name="connsiteY173" fmla="*/ 565984 h 683379"/>
                <a:gd name="connsiteX174" fmla="*/ 253594 w 507786"/>
                <a:gd name="connsiteY174" fmla="*/ 572451 h 683379"/>
                <a:gd name="connsiteX175" fmla="*/ 253594 w 507786"/>
                <a:gd name="connsiteY175" fmla="*/ 575336 h 683379"/>
                <a:gd name="connsiteX176" fmla="*/ 251402 w 507786"/>
                <a:gd name="connsiteY176" fmla="*/ 576629 h 683379"/>
                <a:gd name="connsiteX177" fmla="*/ 248612 w 507786"/>
                <a:gd name="connsiteY177" fmla="*/ 576629 h 683379"/>
                <a:gd name="connsiteX178" fmla="*/ 233965 w 507786"/>
                <a:gd name="connsiteY178" fmla="*/ 582300 h 683379"/>
                <a:gd name="connsiteX179" fmla="*/ 228484 w 507786"/>
                <a:gd name="connsiteY179" fmla="*/ 585683 h 683379"/>
                <a:gd name="connsiteX180" fmla="*/ 223303 w 507786"/>
                <a:gd name="connsiteY180" fmla="*/ 589861 h 683379"/>
                <a:gd name="connsiteX181" fmla="*/ 218719 w 507786"/>
                <a:gd name="connsiteY181" fmla="*/ 595034 h 683379"/>
                <a:gd name="connsiteX182" fmla="*/ 218121 w 507786"/>
                <a:gd name="connsiteY182" fmla="*/ 596328 h 683379"/>
                <a:gd name="connsiteX183" fmla="*/ 216627 w 507786"/>
                <a:gd name="connsiteY183" fmla="*/ 600009 h 683379"/>
                <a:gd name="connsiteX184" fmla="*/ 215829 w 507786"/>
                <a:gd name="connsiteY184" fmla="*/ 601501 h 683379"/>
                <a:gd name="connsiteX185" fmla="*/ 214534 w 507786"/>
                <a:gd name="connsiteY185" fmla="*/ 603192 h 683379"/>
                <a:gd name="connsiteX186" fmla="*/ 213537 w 507786"/>
                <a:gd name="connsiteY186" fmla="*/ 604088 h 683379"/>
                <a:gd name="connsiteX187" fmla="*/ 211046 w 507786"/>
                <a:gd name="connsiteY187" fmla="*/ 605679 h 683379"/>
                <a:gd name="connsiteX188" fmla="*/ 201779 w 507786"/>
                <a:gd name="connsiteY188" fmla="*/ 609560 h 683379"/>
                <a:gd name="connsiteX189" fmla="*/ 198790 w 507786"/>
                <a:gd name="connsiteY189" fmla="*/ 611549 h 683379"/>
                <a:gd name="connsiteX190" fmla="*/ 197395 w 507786"/>
                <a:gd name="connsiteY190" fmla="*/ 613340 h 683379"/>
                <a:gd name="connsiteX191" fmla="*/ 194007 w 507786"/>
                <a:gd name="connsiteY191" fmla="*/ 619210 h 683379"/>
                <a:gd name="connsiteX192" fmla="*/ 192812 w 507786"/>
                <a:gd name="connsiteY192" fmla="*/ 620404 h 683379"/>
                <a:gd name="connsiteX193" fmla="*/ 185537 w 507786"/>
                <a:gd name="connsiteY193" fmla="*/ 623587 h 683379"/>
                <a:gd name="connsiteX194" fmla="*/ 183246 w 507786"/>
                <a:gd name="connsiteY194" fmla="*/ 625279 h 683379"/>
                <a:gd name="connsiteX195" fmla="*/ 181352 w 507786"/>
                <a:gd name="connsiteY195" fmla="*/ 627467 h 683379"/>
                <a:gd name="connsiteX196" fmla="*/ 179758 w 507786"/>
                <a:gd name="connsiteY196" fmla="*/ 630253 h 683379"/>
                <a:gd name="connsiteX197" fmla="*/ 184143 w 507786"/>
                <a:gd name="connsiteY197" fmla="*/ 629556 h 683379"/>
                <a:gd name="connsiteX198" fmla="*/ 186335 w 507786"/>
                <a:gd name="connsiteY198" fmla="*/ 628661 h 683379"/>
                <a:gd name="connsiteX199" fmla="*/ 188925 w 507786"/>
                <a:gd name="connsiteY199" fmla="*/ 626870 h 683379"/>
                <a:gd name="connsiteX200" fmla="*/ 189623 w 507786"/>
                <a:gd name="connsiteY200" fmla="*/ 627467 h 683379"/>
                <a:gd name="connsiteX201" fmla="*/ 190121 w 507786"/>
                <a:gd name="connsiteY201" fmla="*/ 628761 h 683379"/>
                <a:gd name="connsiteX202" fmla="*/ 190121 w 507786"/>
                <a:gd name="connsiteY202" fmla="*/ 630253 h 683379"/>
                <a:gd name="connsiteX203" fmla="*/ 189623 w 507786"/>
                <a:gd name="connsiteY203" fmla="*/ 630949 h 683379"/>
                <a:gd name="connsiteX204" fmla="*/ 186634 w 507786"/>
                <a:gd name="connsiteY204" fmla="*/ 633834 h 683379"/>
                <a:gd name="connsiteX205" fmla="*/ 187530 w 507786"/>
                <a:gd name="connsiteY205" fmla="*/ 634929 h 683379"/>
                <a:gd name="connsiteX206" fmla="*/ 191815 w 507786"/>
                <a:gd name="connsiteY206" fmla="*/ 631148 h 683379"/>
                <a:gd name="connsiteX207" fmla="*/ 196797 w 507786"/>
                <a:gd name="connsiteY207" fmla="*/ 620006 h 683379"/>
                <a:gd name="connsiteX208" fmla="*/ 200584 w 507786"/>
                <a:gd name="connsiteY208" fmla="*/ 615131 h 683379"/>
                <a:gd name="connsiteX209" fmla="*/ 203673 w 507786"/>
                <a:gd name="connsiteY209" fmla="*/ 613837 h 683379"/>
                <a:gd name="connsiteX210" fmla="*/ 210448 w 507786"/>
                <a:gd name="connsiteY210" fmla="*/ 613837 h 683379"/>
                <a:gd name="connsiteX211" fmla="*/ 213637 w 507786"/>
                <a:gd name="connsiteY211" fmla="*/ 612644 h 683379"/>
                <a:gd name="connsiteX212" fmla="*/ 217822 w 507786"/>
                <a:gd name="connsiteY212" fmla="*/ 610057 h 683379"/>
                <a:gd name="connsiteX213" fmla="*/ 219217 w 507786"/>
                <a:gd name="connsiteY213" fmla="*/ 610057 h 683379"/>
                <a:gd name="connsiteX214" fmla="*/ 220712 w 507786"/>
                <a:gd name="connsiteY214" fmla="*/ 609560 h 683379"/>
                <a:gd name="connsiteX215" fmla="*/ 221609 w 507786"/>
                <a:gd name="connsiteY215" fmla="*/ 608266 h 683379"/>
                <a:gd name="connsiteX216" fmla="*/ 222306 w 507786"/>
                <a:gd name="connsiteY216" fmla="*/ 606674 h 683379"/>
                <a:gd name="connsiteX217" fmla="*/ 223203 w 507786"/>
                <a:gd name="connsiteY217" fmla="*/ 605381 h 683379"/>
                <a:gd name="connsiteX218" fmla="*/ 231374 w 507786"/>
                <a:gd name="connsiteY218" fmla="*/ 599710 h 683379"/>
                <a:gd name="connsiteX219" fmla="*/ 232769 w 507786"/>
                <a:gd name="connsiteY219" fmla="*/ 597820 h 683379"/>
                <a:gd name="connsiteX220" fmla="*/ 233765 w 507786"/>
                <a:gd name="connsiteY220" fmla="*/ 594736 h 683379"/>
                <a:gd name="connsiteX221" fmla="*/ 236157 w 507786"/>
                <a:gd name="connsiteY221" fmla="*/ 591751 h 683379"/>
                <a:gd name="connsiteX222" fmla="*/ 241438 w 507786"/>
                <a:gd name="connsiteY222" fmla="*/ 587672 h 683379"/>
                <a:gd name="connsiteX223" fmla="*/ 250705 w 507786"/>
                <a:gd name="connsiteY223" fmla="*/ 583195 h 683379"/>
                <a:gd name="connsiteX224" fmla="*/ 256085 w 507786"/>
                <a:gd name="connsiteY224" fmla="*/ 579017 h 683379"/>
                <a:gd name="connsiteX225" fmla="*/ 259274 w 507786"/>
                <a:gd name="connsiteY225" fmla="*/ 579017 h 683379"/>
                <a:gd name="connsiteX226" fmla="*/ 276214 w 507786"/>
                <a:gd name="connsiteY226" fmla="*/ 583593 h 683379"/>
                <a:gd name="connsiteX227" fmla="*/ 279601 w 507786"/>
                <a:gd name="connsiteY227" fmla="*/ 585185 h 683379"/>
                <a:gd name="connsiteX228" fmla="*/ 283089 w 507786"/>
                <a:gd name="connsiteY228" fmla="*/ 586279 h 683379"/>
                <a:gd name="connsiteX229" fmla="*/ 290761 w 507786"/>
                <a:gd name="connsiteY229" fmla="*/ 586279 h 683379"/>
                <a:gd name="connsiteX230" fmla="*/ 294349 w 507786"/>
                <a:gd name="connsiteY230" fmla="*/ 587175 h 683379"/>
                <a:gd name="connsiteX231" fmla="*/ 295843 w 507786"/>
                <a:gd name="connsiteY231" fmla="*/ 588369 h 683379"/>
                <a:gd name="connsiteX232" fmla="*/ 297836 w 507786"/>
                <a:gd name="connsiteY232" fmla="*/ 591154 h 683379"/>
                <a:gd name="connsiteX233" fmla="*/ 299530 w 507786"/>
                <a:gd name="connsiteY233" fmla="*/ 592050 h 683379"/>
                <a:gd name="connsiteX234" fmla="*/ 307003 w 507786"/>
                <a:gd name="connsiteY234" fmla="*/ 593144 h 683379"/>
                <a:gd name="connsiteX235" fmla="*/ 309794 w 507786"/>
                <a:gd name="connsiteY235" fmla="*/ 594238 h 683379"/>
                <a:gd name="connsiteX236" fmla="*/ 317765 w 507786"/>
                <a:gd name="connsiteY236" fmla="*/ 602496 h 683379"/>
                <a:gd name="connsiteX237" fmla="*/ 323545 w 507786"/>
                <a:gd name="connsiteY237" fmla="*/ 606575 h 683379"/>
                <a:gd name="connsiteX238" fmla="*/ 335402 w 507786"/>
                <a:gd name="connsiteY238" fmla="*/ 612644 h 683379"/>
                <a:gd name="connsiteX239" fmla="*/ 340484 w 507786"/>
                <a:gd name="connsiteY239" fmla="*/ 616723 h 683379"/>
                <a:gd name="connsiteX240" fmla="*/ 345367 w 507786"/>
                <a:gd name="connsiteY240" fmla="*/ 626671 h 683379"/>
                <a:gd name="connsiteX241" fmla="*/ 346861 w 507786"/>
                <a:gd name="connsiteY241" fmla="*/ 628263 h 683379"/>
                <a:gd name="connsiteX242" fmla="*/ 349153 w 507786"/>
                <a:gd name="connsiteY242" fmla="*/ 629159 h 683379"/>
                <a:gd name="connsiteX243" fmla="*/ 363303 w 507786"/>
                <a:gd name="connsiteY243" fmla="*/ 638908 h 683379"/>
                <a:gd name="connsiteX244" fmla="*/ 369480 w 507786"/>
                <a:gd name="connsiteY244" fmla="*/ 646171 h 683379"/>
                <a:gd name="connsiteX245" fmla="*/ 382235 w 507786"/>
                <a:gd name="connsiteY245" fmla="*/ 661193 h 683379"/>
                <a:gd name="connsiteX246" fmla="*/ 383231 w 507786"/>
                <a:gd name="connsiteY246" fmla="*/ 663482 h 683379"/>
                <a:gd name="connsiteX247" fmla="*/ 385025 w 507786"/>
                <a:gd name="connsiteY247" fmla="*/ 668058 h 683379"/>
                <a:gd name="connsiteX248" fmla="*/ 386121 w 507786"/>
                <a:gd name="connsiteY248" fmla="*/ 670048 h 683379"/>
                <a:gd name="connsiteX249" fmla="*/ 390405 w 507786"/>
                <a:gd name="connsiteY249" fmla="*/ 674226 h 683379"/>
                <a:gd name="connsiteX250" fmla="*/ 390405 w 507786"/>
                <a:gd name="connsiteY250" fmla="*/ 675918 h 683379"/>
                <a:gd name="connsiteX251" fmla="*/ 390405 w 507786"/>
                <a:gd name="connsiteY251" fmla="*/ 678305 h 683379"/>
                <a:gd name="connsiteX252" fmla="*/ 390405 w 507786"/>
                <a:gd name="connsiteY252" fmla="*/ 680593 h 683379"/>
                <a:gd name="connsiteX253" fmla="*/ 391103 w 507786"/>
                <a:gd name="connsiteY253" fmla="*/ 682285 h 683379"/>
                <a:gd name="connsiteX254" fmla="*/ 392797 w 507786"/>
                <a:gd name="connsiteY254" fmla="*/ 683379 h 683379"/>
                <a:gd name="connsiteX255" fmla="*/ 392797 w 507786"/>
                <a:gd name="connsiteY255" fmla="*/ 676316 h 683379"/>
                <a:gd name="connsiteX256" fmla="*/ 392200 w 507786"/>
                <a:gd name="connsiteY256" fmla="*/ 672336 h 683379"/>
                <a:gd name="connsiteX257" fmla="*/ 389907 w 507786"/>
                <a:gd name="connsiteY257" fmla="*/ 670545 h 683379"/>
                <a:gd name="connsiteX258" fmla="*/ 388413 w 507786"/>
                <a:gd name="connsiteY258" fmla="*/ 668953 h 683379"/>
                <a:gd name="connsiteX259" fmla="*/ 383331 w 507786"/>
                <a:gd name="connsiteY259" fmla="*/ 659005 h 683379"/>
                <a:gd name="connsiteX260" fmla="*/ 379046 w 507786"/>
                <a:gd name="connsiteY260" fmla="*/ 653234 h 683379"/>
                <a:gd name="connsiteX261" fmla="*/ 376456 w 507786"/>
                <a:gd name="connsiteY261" fmla="*/ 650648 h 683379"/>
                <a:gd name="connsiteX262" fmla="*/ 374263 w 507786"/>
                <a:gd name="connsiteY262" fmla="*/ 649553 h 683379"/>
                <a:gd name="connsiteX263" fmla="*/ 372071 w 507786"/>
                <a:gd name="connsiteY263" fmla="*/ 648161 h 683379"/>
                <a:gd name="connsiteX264" fmla="*/ 369281 w 507786"/>
                <a:gd name="connsiteY264" fmla="*/ 642689 h 683379"/>
                <a:gd name="connsiteX265" fmla="*/ 368185 w 507786"/>
                <a:gd name="connsiteY265" fmla="*/ 640799 h 683379"/>
                <a:gd name="connsiteX266" fmla="*/ 366093 w 507786"/>
                <a:gd name="connsiteY266" fmla="*/ 637814 h 683379"/>
                <a:gd name="connsiteX267" fmla="*/ 350349 w 507786"/>
                <a:gd name="connsiteY267" fmla="*/ 626870 h 683379"/>
                <a:gd name="connsiteX268" fmla="*/ 346064 w 507786"/>
                <a:gd name="connsiteY268" fmla="*/ 621399 h 683379"/>
                <a:gd name="connsiteX269" fmla="*/ 343274 w 507786"/>
                <a:gd name="connsiteY269" fmla="*/ 616026 h 683379"/>
                <a:gd name="connsiteX270" fmla="*/ 341082 w 507786"/>
                <a:gd name="connsiteY270" fmla="*/ 609858 h 683379"/>
                <a:gd name="connsiteX271" fmla="*/ 340583 w 507786"/>
                <a:gd name="connsiteY271" fmla="*/ 603292 h 683379"/>
                <a:gd name="connsiteX272" fmla="*/ 342477 w 507786"/>
                <a:gd name="connsiteY272" fmla="*/ 596825 h 683379"/>
                <a:gd name="connsiteX273" fmla="*/ 347260 w 507786"/>
                <a:gd name="connsiteY273" fmla="*/ 588667 h 683379"/>
                <a:gd name="connsiteX274" fmla="*/ 349054 w 507786"/>
                <a:gd name="connsiteY274" fmla="*/ 583096 h 683379"/>
                <a:gd name="connsiteX275" fmla="*/ 348156 w 507786"/>
                <a:gd name="connsiteY275" fmla="*/ 578519 h 683379"/>
                <a:gd name="connsiteX276" fmla="*/ 347160 w 507786"/>
                <a:gd name="connsiteY276" fmla="*/ 576530 h 683379"/>
                <a:gd name="connsiteX277" fmla="*/ 346562 w 507786"/>
                <a:gd name="connsiteY277" fmla="*/ 573645 h 683379"/>
                <a:gd name="connsiteX278" fmla="*/ 346562 w 507786"/>
                <a:gd name="connsiteY278" fmla="*/ 570759 h 683379"/>
                <a:gd name="connsiteX279" fmla="*/ 347160 w 507786"/>
                <a:gd name="connsiteY279" fmla="*/ 568471 h 683379"/>
                <a:gd name="connsiteX280" fmla="*/ 347958 w 507786"/>
                <a:gd name="connsiteY280" fmla="*/ 568471 h 683379"/>
                <a:gd name="connsiteX281" fmla="*/ 353637 w 507786"/>
                <a:gd name="connsiteY281" fmla="*/ 565188 h 683379"/>
                <a:gd name="connsiteX282" fmla="*/ 355829 w 507786"/>
                <a:gd name="connsiteY282" fmla="*/ 564193 h 683379"/>
                <a:gd name="connsiteX283" fmla="*/ 358719 w 507786"/>
                <a:gd name="connsiteY283" fmla="*/ 560214 h 683379"/>
                <a:gd name="connsiteX284" fmla="*/ 360512 w 507786"/>
                <a:gd name="connsiteY284" fmla="*/ 559318 h 683379"/>
                <a:gd name="connsiteX285" fmla="*/ 367986 w 507786"/>
                <a:gd name="connsiteY285" fmla="*/ 557826 h 683379"/>
                <a:gd name="connsiteX286" fmla="*/ 369480 w 507786"/>
                <a:gd name="connsiteY286" fmla="*/ 556931 h 683379"/>
                <a:gd name="connsiteX287" fmla="*/ 369480 w 507786"/>
                <a:gd name="connsiteY287" fmla="*/ 556931 h 683379"/>
                <a:gd name="connsiteX288" fmla="*/ 369480 w 507786"/>
                <a:gd name="connsiteY288" fmla="*/ 554145 h 683379"/>
                <a:gd name="connsiteX289" fmla="*/ 368185 w 507786"/>
                <a:gd name="connsiteY289" fmla="*/ 549668 h 683379"/>
                <a:gd name="connsiteX290" fmla="*/ 366192 w 507786"/>
                <a:gd name="connsiteY290" fmla="*/ 544992 h 683379"/>
                <a:gd name="connsiteX291" fmla="*/ 364299 w 507786"/>
                <a:gd name="connsiteY291" fmla="*/ 541709 h 683379"/>
                <a:gd name="connsiteX292" fmla="*/ 369879 w 507786"/>
                <a:gd name="connsiteY292" fmla="*/ 540913 h 683379"/>
                <a:gd name="connsiteX293" fmla="*/ 375958 w 507786"/>
                <a:gd name="connsiteY293" fmla="*/ 537531 h 683379"/>
                <a:gd name="connsiteX294" fmla="*/ 391502 w 507786"/>
                <a:gd name="connsiteY294" fmla="*/ 523403 h 683379"/>
                <a:gd name="connsiteX295" fmla="*/ 394391 w 507786"/>
                <a:gd name="connsiteY295" fmla="*/ 522508 h 683379"/>
                <a:gd name="connsiteX296" fmla="*/ 399972 w 507786"/>
                <a:gd name="connsiteY296" fmla="*/ 526786 h 683379"/>
                <a:gd name="connsiteX297" fmla="*/ 402961 w 507786"/>
                <a:gd name="connsiteY297" fmla="*/ 527383 h 683379"/>
                <a:gd name="connsiteX298" fmla="*/ 404356 w 507786"/>
                <a:gd name="connsiteY298" fmla="*/ 528776 h 683379"/>
                <a:gd name="connsiteX299" fmla="*/ 402562 w 507786"/>
                <a:gd name="connsiteY299" fmla="*/ 533352 h 683379"/>
                <a:gd name="connsiteX300" fmla="*/ 399673 w 507786"/>
                <a:gd name="connsiteY300" fmla="*/ 538923 h 683379"/>
                <a:gd name="connsiteX301" fmla="*/ 399075 w 507786"/>
                <a:gd name="connsiteY301" fmla="*/ 542405 h 683379"/>
                <a:gd name="connsiteX302" fmla="*/ 400370 w 507786"/>
                <a:gd name="connsiteY302" fmla="*/ 545788 h 683379"/>
                <a:gd name="connsiteX303" fmla="*/ 401665 w 507786"/>
                <a:gd name="connsiteY303" fmla="*/ 546584 h 683379"/>
                <a:gd name="connsiteX304" fmla="*/ 411630 w 507786"/>
                <a:gd name="connsiteY304" fmla="*/ 546584 h 683379"/>
                <a:gd name="connsiteX305" fmla="*/ 413523 w 507786"/>
                <a:gd name="connsiteY305" fmla="*/ 546584 h 683379"/>
                <a:gd name="connsiteX306" fmla="*/ 414918 w 507786"/>
                <a:gd name="connsiteY306" fmla="*/ 545788 h 683379"/>
                <a:gd name="connsiteX307" fmla="*/ 415915 w 507786"/>
                <a:gd name="connsiteY307" fmla="*/ 544893 h 683379"/>
                <a:gd name="connsiteX308" fmla="*/ 417011 w 507786"/>
                <a:gd name="connsiteY308" fmla="*/ 544196 h 683379"/>
                <a:gd name="connsiteX309" fmla="*/ 418705 w 507786"/>
                <a:gd name="connsiteY309" fmla="*/ 544196 h 683379"/>
                <a:gd name="connsiteX310" fmla="*/ 420996 w 507786"/>
                <a:gd name="connsiteY310" fmla="*/ 546186 h 683379"/>
                <a:gd name="connsiteX311" fmla="*/ 422989 w 507786"/>
                <a:gd name="connsiteY311" fmla="*/ 548375 h 683379"/>
                <a:gd name="connsiteX312" fmla="*/ 424484 w 507786"/>
                <a:gd name="connsiteY312" fmla="*/ 550364 h 683379"/>
                <a:gd name="connsiteX313" fmla="*/ 431260 w 507786"/>
                <a:gd name="connsiteY313" fmla="*/ 554941 h 683379"/>
                <a:gd name="connsiteX314" fmla="*/ 433452 w 507786"/>
                <a:gd name="connsiteY314" fmla="*/ 557130 h 683379"/>
                <a:gd name="connsiteX315" fmla="*/ 434050 w 507786"/>
                <a:gd name="connsiteY315" fmla="*/ 559119 h 683379"/>
                <a:gd name="connsiteX316" fmla="*/ 434050 w 507786"/>
                <a:gd name="connsiteY316" fmla="*/ 563298 h 683379"/>
                <a:gd name="connsiteX317" fmla="*/ 434050 w 507786"/>
                <a:gd name="connsiteY317" fmla="*/ 565487 h 683379"/>
                <a:gd name="connsiteX318" fmla="*/ 434947 w 507786"/>
                <a:gd name="connsiteY318" fmla="*/ 567576 h 683379"/>
                <a:gd name="connsiteX319" fmla="*/ 437438 w 507786"/>
                <a:gd name="connsiteY319" fmla="*/ 570560 h 683379"/>
                <a:gd name="connsiteX320" fmla="*/ 438434 w 507786"/>
                <a:gd name="connsiteY320" fmla="*/ 572550 h 683379"/>
                <a:gd name="connsiteX321" fmla="*/ 440726 w 507786"/>
                <a:gd name="connsiteY321" fmla="*/ 583892 h 683379"/>
                <a:gd name="connsiteX322" fmla="*/ 442320 w 507786"/>
                <a:gd name="connsiteY322" fmla="*/ 587175 h 683379"/>
                <a:gd name="connsiteX323" fmla="*/ 442918 w 507786"/>
                <a:gd name="connsiteY323" fmla="*/ 589065 h 683379"/>
                <a:gd name="connsiteX324" fmla="*/ 442220 w 507786"/>
                <a:gd name="connsiteY324" fmla="*/ 590657 h 683379"/>
                <a:gd name="connsiteX325" fmla="*/ 439729 w 507786"/>
                <a:gd name="connsiteY325" fmla="*/ 593144 h 683379"/>
                <a:gd name="connsiteX326" fmla="*/ 439729 w 507786"/>
                <a:gd name="connsiteY326" fmla="*/ 594935 h 683379"/>
                <a:gd name="connsiteX327" fmla="*/ 439729 w 507786"/>
                <a:gd name="connsiteY327" fmla="*/ 597422 h 683379"/>
                <a:gd name="connsiteX328" fmla="*/ 440527 w 507786"/>
                <a:gd name="connsiteY328" fmla="*/ 599810 h 683379"/>
                <a:gd name="connsiteX329" fmla="*/ 445708 w 507786"/>
                <a:gd name="connsiteY329" fmla="*/ 606077 h 683379"/>
                <a:gd name="connsiteX330" fmla="*/ 447203 w 507786"/>
                <a:gd name="connsiteY330" fmla="*/ 606973 h 683379"/>
                <a:gd name="connsiteX331" fmla="*/ 454078 w 507786"/>
                <a:gd name="connsiteY331" fmla="*/ 609162 h 683379"/>
                <a:gd name="connsiteX332" fmla="*/ 452584 w 507786"/>
                <a:gd name="connsiteY332" fmla="*/ 607072 h 683379"/>
                <a:gd name="connsiteX333" fmla="*/ 451089 w 507786"/>
                <a:gd name="connsiteY333" fmla="*/ 604287 h 683379"/>
                <a:gd name="connsiteX334" fmla="*/ 449495 w 507786"/>
                <a:gd name="connsiteY334" fmla="*/ 601799 h 683379"/>
                <a:gd name="connsiteX335" fmla="*/ 445509 w 507786"/>
                <a:gd name="connsiteY335" fmla="*/ 599810 h 683379"/>
                <a:gd name="connsiteX336" fmla="*/ 444811 w 507786"/>
                <a:gd name="connsiteY336" fmla="*/ 597422 h 683379"/>
                <a:gd name="connsiteX337" fmla="*/ 444811 w 507786"/>
                <a:gd name="connsiteY337" fmla="*/ 594338 h 683379"/>
                <a:gd name="connsiteX338" fmla="*/ 445708 w 507786"/>
                <a:gd name="connsiteY338" fmla="*/ 587772 h 683379"/>
                <a:gd name="connsiteX339" fmla="*/ 445708 w 507786"/>
                <a:gd name="connsiteY339" fmla="*/ 586578 h 683379"/>
                <a:gd name="connsiteX340" fmla="*/ 446505 w 507786"/>
                <a:gd name="connsiteY340" fmla="*/ 585185 h 683379"/>
                <a:gd name="connsiteX341" fmla="*/ 448797 w 507786"/>
                <a:gd name="connsiteY341" fmla="*/ 582499 h 683379"/>
                <a:gd name="connsiteX342" fmla="*/ 451687 w 507786"/>
                <a:gd name="connsiteY342" fmla="*/ 578320 h 683379"/>
                <a:gd name="connsiteX343" fmla="*/ 453480 w 507786"/>
                <a:gd name="connsiteY343" fmla="*/ 577127 h 683379"/>
                <a:gd name="connsiteX344" fmla="*/ 456271 w 507786"/>
                <a:gd name="connsiteY344" fmla="*/ 577127 h 683379"/>
                <a:gd name="connsiteX345" fmla="*/ 454477 w 507786"/>
                <a:gd name="connsiteY345" fmla="*/ 574938 h 683379"/>
                <a:gd name="connsiteX346" fmla="*/ 449495 w 507786"/>
                <a:gd name="connsiteY346" fmla="*/ 572849 h 683379"/>
                <a:gd name="connsiteX347" fmla="*/ 448398 w 507786"/>
                <a:gd name="connsiteY347" fmla="*/ 570660 h 683379"/>
                <a:gd name="connsiteX348" fmla="*/ 449196 w 507786"/>
                <a:gd name="connsiteY348" fmla="*/ 567974 h 683379"/>
                <a:gd name="connsiteX349" fmla="*/ 450989 w 507786"/>
                <a:gd name="connsiteY349" fmla="*/ 566183 h 683379"/>
                <a:gd name="connsiteX350" fmla="*/ 453281 w 507786"/>
                <a:gd name="connsiteY350" fmla="*/ 564691 h 683379"/>
                <a:gd name="connsiteX351" fmla="*/ 455374 w 507786"/>
                <a:gd name="connsiteY351" fmla="*/ 562900 h 683379"/>
                <a:gd name="connsiteX352" fmla="*/ 458363 w 507786"/>
                <a:gd name="connsiteY352" fmla="*/ 558124 h 683379"/>
                <a:gd name="connsiteX353" fmla="*/ 460356 w 507786"/>
                <a:gd name="connsiteY353" fmla="*/ 555737 h 683379"/>
                <a:gd name="connsiteX354" fmla="*/ 465438 w 507786"/>
                <a:gd name="connsiteY354" fmla="*/ 553648 h 683379"/>
                <a:gd name="connsiteX355" fmla="*/ 466633 w 507786"/>
                <a:gd name="connsiteY355" fmla="*/ 553648 h 683379"/>
                <a:gd name="connsiteX356" fmla="*/ 473509 w 507786"/>
                <a:gd name="connsiteY356" fmla="*/ 553648 h 683379"/>
                <a:gd name="connsiteX357" fmla="*/ 470619 w 507786"/>
                <a:gd name="connsiteY357" fmla="*/ 550364 h 683379"/>
                <a:gd name="connsiteX358" fmla="*/ 461851 w 507786"/>
                <a:gd name="connsiteY358" fmla="*/ 550364 h 683379"/>
                <a:gd name="connsiteX359" fmla="*/ 457964 w 507786"/>
                <a:gd name="connsiteY359" fmla="*/ 548474 h 683379"/>
                <a:gd name="connsiteX360" fmla="*/ 456669 w 507786"/>
                <a:gd name="connsiteY360" fmla="*/ 544495 h 683379"/>
                <a:gd name="connsiteX361" fmla="*/ 456669 w 507786"/>
                <a:gd name="connsiteY361" fmla="*/ 539321 h 683379"/>
                <a:gd name="connsiteX362" fmla="*/ 458164 w 507786"/>
                <a:gd name="connsiteY362" fmla="*/ 534546 h 683379"/>
                <a:gd name="connsiteX363" fmla="*/ 460156 w 507786"/>
                <a:gd name="connsiteY363" fmla="*/ 531860 h 683379"/>
                <a:gd name="connsiteX364" fmla="*/ 458662 w 507786"/>
                <a:gd name="connsiteY364" fmla="*/ 531860 h 683379"/>
                <a:gd name="connsiteX365" fmla="*/ 455473 w 507786"/>
                <a:gd name="connsiteY365" fmla="*/ 531860 h 683379"/>
                <a:gd name="connsiteX366" fmla="*/ 453978 w 507786"/>
                <a:gd name="connsiteY366" fmla="*/ 531860 h 683379"/>
                <a:gd name="connsiteX367" fmla="*/ 453082 w 507786"/>
                <a:gd name="connsiteY367" fmla="*/ 530666 h 683379"/>
                <a:gd name="connsiteX368" fmla="*/ 450591 w 507786"/>
                <a:gd name="connsiteY368" fmla="*/ 526686 h 683379"/>
                <a:gd name="connsiteX369" fmla="*/ 449295 w 507786"/>
                <a:gd name="connsiteY369" fmla="*/ 525891 h 683379"/>
                <a:gd name="connsiteX370" fmla="*/ 445907 w 507786"/>
                <a:gd name="connsiteY370" fmla="*/ 525891 h 683379"/>
                <a:gd name="connsiteX371" fmla="*/ 442818 w 507786"/>
                <a:gd name="connsiteY371" fmla="*/ 524597 h 683379"/>
                <a:gd name="connsiteX372" fmla="*/ 441125 w 507786"/>
                <a:gd name="connsiteY372" fmla="*/ 522110 h 683379"/>
                <a:gd name="connsiteX373" fmla="*/ 441922 w 507786"/>
                <a:gd name="connsiteY373" fmla="*/ 517832 h 683379"/>
                <a:gd name="connsiteX374" fmla="*/ 438135 w 507786"/>
                <a:gd name="connsiteY374" fmla="*/ 515942 h 683379"/>
                <a:gd name="connsiteX375" fmla="*/ 436242 w 507786"/>
                <a:gd name="connsiteY375" fmla="*/ 514648 h 683379"/>
                <a:gd name="connsiteX376" fmla="*/ 434847 w 507786"/>
                <a:gd name="connsiteY376" fmla="*/ 513156 h 683379"/>
                <a:gd name="connsiteX377" fmla="*/ 432655 w 507786"/>
                <a:gd name="connsiteY377" fmla="*/ 508580 h 683379"/>
                <a:gd name="connsiteX378" fmla="*/ 431360 w 507786"/>
                <a:gd name="connsiteY378" fmla="*/ 506888 h 683379"/>
                <a:gd name="connsiteX379" fmla="*/ 428869 w 507786"/>
                <a:gd name="connsiteY379" fmla="*/ 505993 h 683379"/>
                <a:gd name="connsiteX380" fmla="*/ 430164 w 507786"/>
                <a:gd name="connsiteY380" fmla="*/ 503008 h 683379"/>
                <a:gd name="connsiteX381" fmla="*/ 431957 w 507786"/>
                <a:gd name="connsiteY381" fmla="*/ 501218 h 683379"/>
                <a:gd name="connsiteX382" fmla="*/ 434149 w 507786"/>
                <a:gd name="connsiteY382" fmla="*/ 500322 h 683379"/>
                <a:gd name="connsiteX383" fmla="*/ 436740 w 507786"/>
                <a:gd name="connsiteY383" fmla="*/ 500322 h 683379"/>
                <a:gd name="connsiteX384" fmla="*/ 437936 w 507786"/>
                <a:gd name="connsiteY384" fmla="*/ 500322 h 683379"/>
                <a:gd name="connsiteX385" fmla="*/ 440427 w 507786"/>
                <a:gd name="connsiteY385" fmla="*/ 501118 h 683379"/>
                <a:gd name="connsiteX386" fmla="*/ 441922 w 507786"/>
                <a:gd name="connsiteY386" fmla="*/ 501118 h 683379"/>
                <a:gd name="connsiteX387" fmla="*/ 443516 w 507786"/>
                <a:gd name="connsiteY387" fmla="*/ 501118 h 683379"/>
                <a:gd name="connsiteX388" fmla="*/ 446306 w 507786"/>
                <a:gd name="connsiteY388" fmla="*/ 499526 h 683379"/>
                <a:gd name="connsiteX389" fmla="*/ 449495 w 507786"/>
                <a:gd name="connsiteY389" fmla="*/ 498233 h 683379"/>
                <a:gd name="connsiteX390" fmla="*/ 451986 w 507786"/>
                <a:gd name="connsiteY390" fmla="*/ 496243 h 683379"/>
                <a:gd name="connsiteX391" fmla="*/ 454078 w 507786"/>
                <a:gd name="connsiteY391" fmla="*/ 493557 h 683379"/>
                <a:gd name="connsiteX392" fmla="*/ 454975 w 507786"/>
                <a:gd name="connsiteY392" fmla="*/ 490970 h 683379"/>
                <a:gd name="connsiteX393" fmla="*/ 454178 w 507786"/>
                <a:gd name="connsiteY393" fmla="*/ 489080 h 683379"/>
                <a:gd name="connsiteX394" fmla="*/ 450491 w 507786"/>
                <a:gd name="connsiteY394" fmla="*/ 485200 h 683379"/>
                <a:gd name="connsiteX395" fmla="*/ 449694 w 507786"/>
                <a:gd name="connsiteY395" fmla="*/ 482017 h 683379"/>
                <a:gd name="connsiteX396" fmla="*/ 447602 w 507786"/>
                <a:gd name="connsiteY396" fmla="*/ 478037 h 683379"/>
                <a:gd name="connsiteX397" fmla="*/ 447602 w 507786"/>
                <a:gd name="connsiteY397" fmla="*/ 475450 h 683379"/>
                <a:gd name="connsiteX398" fmla="*/ 450391 w 507786"/>
                <a:gd name="connsiteY398" fmla="*/ 474356 h 683379"/>
                <a:gd name="connsiteX399" fmla="*/ 455971 w 507786"/>
                <a:gd name="connsiteY399" fmla="*/ 473560 h 683379"/>
                <a:gd name="connsiteX400" fmla="*/ 465936 w 507786"/>
                <a:gd name="connsiteY400" fmla="*/ 470277 h 683379"/>
                <a:gd name="connsiteX401" fmla="*/ 468029 w 507786"/>
                <a:gd name="connsiteY401" fmla="*/ 468387 h 683379"/>
                <a:gd name="connsiteX402" fmla="*/ 469424 w 507786"/>
                <a:gd name="connsiteY402" fmla="*/ 463810 h 683379"/>
                <a:gd name="connsiteX403" fmla="*/ 470719 w 507786"/>
                <a:gd name="connsiteY403" fmla="*/ 463810 h 683379"/>
                <a:gd name="connsiteX404" fmla="*/ 471915 w 507786"/>
                <a:gd name="connsiteY404" fmla="*/ 463810 h 683379"/>
                <a:gd name="connsiteX405" fmla="*/ 471915 w 507786"/>
                <a:gd name="connsiteY405" fmla="*/ 463213 h 683379"/>
                <a:gd name="connsiteX406" fmla="*/ 471915 w 507786"/>
                <a:gd name="connsiteY406" fmla="*/ 459532 h 683379"/>
                <a:gd name="connsiteX407" fmla="*/ 471317 w 507786"/>
                <a:gd name="connsiteY407" fmla="*/ 458040 h 683379"/>
                <a:gd name="connsiteX408" fmla="*/ 470320 w 507786"/>
                <a:gd name="connsiteY408" fmla="*/ 456548 h 683379"/>
                <a:gd name="connsiteX409" fmla="*/ 475402 w 507786"/>
                <a:gd name="connsiteY409" fmla="*/ 456548 h 683379"/>
                <a:gd name="connsiteX410" fmla="*/ 477893 w 507786"/>
                <a:gd name="connsiteY410" fmla="*/ 455851 h 683379"/>
                <a:gd name="connsiteX411" fmla="*/ 479787 w 507786"/>
                <a:gd name="connsiteY411" fmla="*/ 454061 h 683379"/>
                <a:gd name="connsiteX412" fmla="*/ 479089 w 507786"/>
                <a:gd name="connsiteY412" fmla="*/ 454061 h 683379"/>
                <a:gd name="connsiteX413" fmla="*/ 477893 w 507786"/>
                <a:gd name="connsiteY413" fmla="*/ 452668 h 683379"/>
                <a:gd name="connsiteX414" fmla="*/ 477196 w 507786"/>
                <a:gd name="connsiteY414" fmla="*/ 452071 h 683379"/>
                <a:gd name="connsiteX415" fmla="*/ 479986 w 507786"/>
                <a:gd name="connsiteY415" fmla="*/ 450380 h 683379"/>
                <a:gd name="connsiteX416" fmla="*/ 482776 w 507786"/>
                <a:gd name="connsiteY416" fmla="*/ 449484 h 683379"/>
                <a:gd name="connsiteX417" fmla="*/ 485367 w 507786"/>
                <a:gd name="connsiteY417" fmla="*/ 448191 h 683379"/>
                <a:gd name="connsiteX418" fmla="*/ 487658 w 507786"/>
                <a:gd name="connsiteY418" fmla="*/ 444908 h 683379"/>
                <a:gd name="connsiteX419" fmla="*/ 487658 w 507786"/>
                <a:gd name="connsiteY419" fmla="*/ 443415 h 683379"/>
                <a:gd name="connsiteX420" fmla="*/ 488455 w 507786"/>
                <a:gd name="connsiteY420" fmla="*/ 439535 h 683379"/>
                <a:gd name="connsiteX421" fmla="*/ 489053 w 507786"/>
                <a:gd name="connsiteY421" fmla="*/ 437844 h 683379"/>
                <a:gd name="connsiteX422" fmla="*/ 489851 w 507786"/>
                <a:gd name="connsiteY422" fmla="*/ 436352 h 683379"/>
                <a:gd name="connsiteX423" fmla="*/ 491844 w 507786"/>
                <a:gd name="connsiteY423" fmla="*/ 433765 h 683379"/>
                <a:gd name="connsiteX424" fmla="*/ 492441 w 507786"/>
                <a:gd name="connsiteY424" fmla="*/ 431875 h 683379"/>
                <a:gd name="connsiteX425" fmla="*/ 489851 w 507786"/>
                <a:gd name="connsiteY425" fmla="*/ 425508 h 683379"/>
                <a:gd name="connsiteX426" fmla="*/ 490548 w 507786"/>
                <a:gd name="connsiteY426" fmla="*/ 423717 h 683379"/>
                <a:gd name="connsiteX427" fmla="*/ 494235 w 507786"/>
                <a:gd name="connsiteY427" fmla="*/ 422324 h 683379"/>
                <a:gd name="connsiteX428" fmla="*/ 497822 w 507786"/>
                <a:gd name="connsiteY428" fmla="*/ 422324 h 683379"/>
                <a:gd name="connsiteX429" fmla="*/ 507786 w 507786"/>
                <a:gd name="connsiteY429" fmla="*/ 425010 h 683379"/>
                <a:gd name="connsiteX430" fmla="*/ 507786 w 507786"/>
                <a:gd name="connsiteY430" fmla="*/ 423816 h 683379"/>
                <a:gd name="connsiteX431" fmla="*/ 505694 w 507786"/>
                <a:gd name="connsiteY431" fmla="*/ 422424 h 683379"/>
                <a:gd name="connsiteX432" fmla="*/ 504199 w 507786"/>
                <a:gd name="connsiteY432" fmla="*/ 420931 h 683379"/>
                <a:gd name="connsiteX433" fmla="*/ 502605 w 507786"/>
                <a:gd name="connsiteY433" fmla="*/ 419538 h 683379"/>
                <a:gd name="connsiteX434" fmla="*/ 500213 w 507786"/>
                <a:gd name="connsiteY434" fmla="*/ 419041 h 683379"/>
                <a:gd name="connsiteX435" fmla="*/ 494534 w 507786"/>
                <a:gd name="connsiteY435" fmla="*/ 419041 h 683379"/>
                <a:gd name="connsiteX436" fmla="*/ 491644 w 507786"/>
                <a:gd name="connsiteY436" fmla="*/ 419041 h 683379"/>
                <a:gd name="connsiteX437" fmla="*/ 489452 w 507786"/>
                <a:gd name="connsiteY437" fmla="*/ 420434 h 683379"/>
                <a:gd name="connsiteX438" fmla="*/ 488655 w 507786"/>
                <a:gd name="connsiteY438" fmla="*/ 416852 h 683379"/>
                <a:gd name="connsiteX439" fmla="*/ 490149 w 507786"/>
                <a:gd name="connsiteY439" fmla="*/ 414067 h 683379"/>
                <a:gd name="connsiteX440" fmla="*/ 494633 w 507786"/>
                <a:gd name="connsiteY440" fmla="*/ 409590 h 683379"/>
                <a:gd name="connsiteX441" fmla="*/ 496128 w 507786"/>
                <a:gd name="connsiteY441" fmla="*/ 405212 h 683379"/>
                <a:gd name="connsiteX442" fmla="*/ 495131 w 507786"/>
                <a:gd name="connsiteY442" fmla="*/ 403123 h 683379"/>
                <a:gd name="connsiteX443" fmla="*/ 493139 w 507786"/>
                <a:gd name="connsiteY443" fmla="*/ 401531 h 683379"/>
                <a:gd name="connsiteX444" fmla="*/ 492043 w 507786"/>
                <a:gd name="connsiteY444" fmla="*/ 398348 h 683379"/>
                <a:gd name="connsiteX445" fmla="*/ 492840 w 507786"/>
                <a:gd name="connsiteY445" fmla="*/ 397552 h 683379"/>
                <a:gd name="connsiteX446" fmla="*/ 494135 w 507786"/>
                <a:gd name="connsiteY446" fmla="*/ 395662 h 683379"/>
                <a:gd name="connsiteX447" fmla="*/ 494833 w 507786"/>
                <a:gd name="connsiteY447" fmla="*/ 393771 h 683379"/>
                <a:gd name="connsiteX448" fmla="*/ 493836 w 507786"/>
                <a:gd name="connsiteY448" fmla="*/ 392876 h 683379"/>
                <a:gd name="connsiteX449" fmla="*/ 491644 w 507786"/>
                <a:gd name="connsiteY449" fmla="*/ 392179 h 683379"/>
                <a:gd name="connsiteX450" fmla="*/ 490648 w 507786"/>
                <a:gd name="connsiteY450" fmla="*/ 390488 h 683379"/>
                <a:gd name="connsiteX451" fmla="*/ 490648 w 507786"/>
                <a:gd name="connsiteY451" fmla="*/ 388896 h 683379"/>
                <a:gd name="connsiteX452" fmla="*/ 494036 w 507786"/>
                <a:gd name="connsiteY452" fmla="*/ 387404 h 683379"/>
                <a:gd name="connsiteX453" fmla="*/ 494036 w 507786"/>
                <a:gd name="connsiteY453" fmla="*/ 382629 h 683379"/>
                <a:gd name="connsiteX454" fmla="*/ 494036 w 507786"/>
                <a:gd name="connsiteY454" fmla="*/ 381037 h 683379"/>
                <a:gd name="connsiteX455" fmla="*/ 493338 w 507786"/>
                <a:gd name="connsiteY455" fmla="*/ 380340 h 683379"/>
                <a:gd name="connsiteX456" fmla="*/ 487558 w 507786"/>
                <a:gd name="connsiteY456" fmla="*/ 379047 h 683379"/>
                <a:gd name="connsiteX457" fmla="*/ 488555 w 507786"/>
                <a:gd name="connsiteY457" fmla="*/ 377356 h 683379"/>
                <a:gd name="connsiteX458" fmla="*/ 489551 w 507786"/>
                <a:gd name="connsiteY458" fmla="*/ 376759 h 683379"/>
                <a:gd name="connsiteX459" fmla="*/ 490249 w 507786"/>
                <a:gd name="connsiteY459" fmla="*/ 376062 h 683379"/>
                <a:gd name="connsiteX460" fmla="*/ 490249 w 507786"/>
                <a:gd name="connsiteY460" fmla="*/ 374371 h 683379"/>
                <a:gd name="connsiteX461" fmla="*/ 492840 w 507786"/>
                <a:gd name="connsiteY461" fmla="*/ 372680 h 683379"/>
                <a:gd name="connsiteX462" fmla="*/ 491345 w 507786"/>
                <a:gd name="connsiteY462" fmla="*/ 371188 h 683379"/>
                <a:gd name="connsiteX463" fmla="*/ 489851 w 507786"/>
                <a:gd name="connsiteY463" fmla="*/ 370093 h 683379"/>
                <a:gd name="connsiteX464" fmla="*/ 488455 w 507786"/>
                <a:gd name="connsiteY464" fmla="*/ 369596 h 683379"/>
                <a:gd name="connsiteX465" fmla="*/ 482576 w 507786"/>
                <a:gd name="connsiteY465" fmla="*/ 371486 h 683379"/>
                <a:gd name="connsiteX466" fmla="*/ 479986 w 507786"/>
                <a:gd name="connsiteY466" fmla="*/ 371486 h 683379"/>
                <a:gd name="connsiteX467" fmla="*/ 479986 w 507786"/>
                <a:gd name="connsiteY467" fmla="*/ 368501 h 683379"/>
                <a:gd name="connsiteX468" fmla="*/ 477694 w 507786"/>
                <a:gd name="connsiteY468" fmla="*/ 367308 h 683379"/>
                <a:gd name="connsiteX469" fmla="*/ 475701 w 507786"/>
                <a:gd name="connsiteY469" fmla="*/ 367905 h 683379"/>
                <a:gd name="connsiteX470" fmla="*/ 473708 w 507786"/>
                <a:gd name="connsiteY470" fmla="*/ 369098 h 683379"/>
                <a:gd name="connsiteX471" fmla="*/ 471317 w 507786"/>
                <a:gd name="connsiteY471" fmla="*/ 369695 h 683379"/>
                <a:gd name="connsiteX472" fmla="*/ 471317 w 507786"/>
                <a:gd name="connsiteY472" fmla="*/ 368899 h 683379"/>
                <a:gd name="connsiteX473" fmla="*/ 471317 w 507786"/>
                <a:gd name="connsiteY473" fmla="*/ 366910 h 683379"/>
                <a:gd name="connsiteX474" fmla="*/ 471317 w 507786"/>
                <a:gd name="connsiteY474" fmla="*/ 366114 h 683379"/>
                <a:gd name="connsiteX475" fmla="*/ 469424 w 507786"/>
                <a:gd name="connsiteY475" fmla="*/ 366114 h 683379"/>
                <a:gd name="connsiteX476" fmla="*/ 466135 w 507786"/>
                <a:gd name="connsiteY476" fmla="*/ 365019 h 683379"/>
                <a:gd name="connsiteX477" fmla="*/ 464342 w 507786"/>
                <a:gd name="connsiteY477" fmla="*/ 365019 h 683379"/>
                <a:gd name="connsiteX478" fmla="*/ 464342 w 507786"/>
                <a:gd name="connsiteY478" fmla="*/ 363826 h 683379"/>
                <a:gd name="connsiteX479" fmla="*/ 466933 w 507786"/>
                <a:gd name="connsiteY479" fmla="*/ 363826 h 683379"/>
                <a:gd name="connsiteX480" fmla="*/ 471217 w 507786"/>
                <a:gd name="connsiteY480" fmla="*/ 360841 h 683379"/>
                <a:gd name="connsiteX481" fmla="*/ 473808 w 507786"/>
                <a:gd name="connsiteY481" fmla="*/ 360343 h 683379"/>
                <a:gd name="connsiteX482" fmla="*/ 472612 w 507786"/>
                <a:gd name="connsiteY482" fmla="*/ 358951 h 683379"/>
                <a:gd name="connsiteX483" fmla="*/ 471416 w 507786"/>
                <a:gd name="connsiteY483" fmla="*/ 357956 h 683379"/>
                <a:gd name="connsiteX484" fmla="*/ 470121 w 507786"/>
                <a:gd name="connsiteY484" fmla="*/ 357259 h 683379"/>
                <a:gd name="connsiteX485" fmla="*/ 468626 w 507786"/>
                <a:gd name="connsiteY485" fmla="*/ 357259 h 683379"/>
                <a:gd name="connsiteX486" fmla="*/ 468626 w 507786"/>
                <a:gd name="connsiteY486" fmla="*/ 355966 h 683379"/>
                <a:gd name="connsiteX487" fmla="*/ 472911 w 507786"/>
                <a:gd name="connsiteY487" fmla="*/ 355966 h 683379"/>
                <a:gd name="connsiteX488" fmla="*/ 471815 w 507786"/>
                <a:gd name="connsiteY488" fmla="*/ 353678 h 683379"/>
                <a:gd name="connsiteX489" fmla="*/ 471118 w 507786"/>
                <a:gd name="connsiteY489" fmla="*/ 351191 h 683379"/>
                <a:gd name="connsiteX490" fmla="*/ 469025 w 507786"/>
                <a:gd name="connsiteY490" fmla="*/ 352185 h 683379"/>
                <a:gd name="connsiteX491" fmla="*/ 467032 w 507786"/>
                <a:gd name="connsiteY491" fmla="*/ 352185 h 683379"/>
                <a:gd name="connsiteX492" fmla="*/ 465139 w 507786"/>
                <a:gd name="connsiteY492" fmla="*/ 351489 h 683379"/>
                <a:gd name="connsiteX493" fmla="*/ 463246 w 507786"/>
                <a:gd name="connsiteY493" fmla="*/ 349997 h 683379"/>
                <a:gd name="connsiteX494" fmla="*/ 466335 w 507786"/>
                <a:gd name="connsiteY494" fmla="*/ 345719 h 683379"/>
                <a:gd name="connsiteX495" fmla="*/ 466335 w 507786"/>
                <a:gd name="connsiteY495" fmla="*/ 342834 h 683379"/>
                <a:gd name="connsiteX496" fmla="*/ 462947 w 507786"/>
                <a:gd name="connsiteY496" fmla="*/ 342834 h 683379"/>
                <a:gd name="connsiteX497" fmla="*/ 458363 w 507786"/>
                <a:gd name="connsiteY497" fmla="*/ 342834 h 683379"/>
                <a:gd name="connsiteX498" fmla="*/ 458363 w 507786"/>
                <a:gd name="connsiteY498" fmla="*/ 341739 h 683379"/>
                <a:gd name="connsiteX499" fmla="*/ 461253 w 507786"/>
                <a:gd name="connsiteY499" fmla="*/ 341739 h 683379"/>
                <a:gd name="connsiteX500" fmla="*/ 463644 w 507786"/>
                <a:gd name="connsiteY500" fmla="*/ 340844 h 683379"/>
                <a:gd name="connsiteX501" fmla="*/ 464442 w 507786"/>
                <a:gd name="connsiteY501" fmla="*/ 339053 h 683379"/>
                <a:gd name="connsiteX502" fmla="*/ 462647 w 507786"/>
                <a:gd name="connsiteY502" fmla="*/ 336069 h 683379"/>
                <a:gd name="connsiteX503" fmla="*/ 460356 w 507786"/>
                <a:gd name="connsiteY503" fmla="*/ 335273 h 683379"/>
                <a:gd name="connsiteX504" fmla="*/ 456968 w 507786"/>
                <a:gd name="connsiteY504" fmla="*/ 334676 h 683379"/>
                <a:gd name="connsiteX505" fmla="*/ 454477 w 507786"/>
                <a:gd name="connsiteY505" fmla="*/ 333183 h 683379"/>
                <a:gd name="connsiteX506" fmla="*/ 454975 w 507786"/>
                <a:gd name="connsiteY506" fmla="*/ 330099 h 683379"/>
                <a:gd name="connsiteX507" fmla="*/ 456968 w 507786"/>
                <a:gd name="connsiteY507" fmla="*/ 328806 h 683379"/>
                <a:gd name="connsiteX508" fmla="*/ 466235 w 507786"/>
                <a:gd name="connsiteY508" fmla="*/ 328806 h 683379"/>
                <a:gd name="connsiteX509" fmla="*/ 469125 w 507786"/>
                <a:gd name="connsiteY509" fmla="*/ 327712 h 683379"/>
                <a:gd name="connsiteX510" fmla="*/ 470220 w 507786"/>
                <a:gd name="connsiteY510" fmla="*/ 326120 h 683379"/>
                <a:gd name="connsiteX511" fmla="*/ 470220 w 507786"/>
                <a:gd name="connsiteY511" fmla="*/ 322936 h 683379"/>
                <a:gd name="connsiteX512" fmla="*/ 470220 w 507786"/>
                <a:gd name="connsiteY512" fmla="*/ 319554 h 683379"/>
                <a:gd name="connsiteX513" fmla="*/ 467829 w 507786"/>
                <a:gd name="connsiteY513" fmla="*/ 321245 h 683379"/>
                <a:gd name="connsiteX514" fmla="*/ 466434 w 507786"/>
                <a:gd name="connsiteY514" fmla="*/ 321245 h 683379"/>
                <a:gd name="connsiteX515" fmla="*/ 465039 w 507786"/>
                <a:gd name="connsiteY515" fmla="*/ 321245 h 683379"/>
                <a:gd name="connsiteX516" fmla="*/ 463943 w 507786"/>
                <a:gd name="connsiteY516" fmla="*/ 321245 h 683379"/>
                <a:gd name="connsiteX517" fmla="*/ 464640 w 507786"/>
                <a:gd name="connsiteY517" fmla="*/ 320051 h 683379"/>
                <a:gd name="connsiteX518" fmla="*/ 475402 w 507786"/>
                <a:gd name="connsiteY518" fmla="*/ 310102 h 683379"/>
                <a:gd name="connsiteX519" fmla="*/ 472911 w 507786"/>
                <a:gd name="connsiteY519" fmla="*/ 310102 h 683379"/>
                <a:gd name="connsiteX520" fmla="*/ 462947 w 507786"/>
                <a:gd name="connsiteY520" fmla="*/ 312490 h 683379"/>
                <a:gd name="connsiteX521" fmla="*/ 461253 w 507786"/>
                <a:gd name="connsiteY521" fmla="*/ 312490 h 683379"/>
                <a:gd name="connsiteX522" fmla="*/ 457167 w 507786"/>
                <a:gd name="connsiteY522" fmla="*/ 311993 h 683379"/>
                <a:gd name="connsiteX523" fmla="*/ 455374 w 507786"/>
                <a:gd name="connsiteY523" fmla="*/ 311296 h 683379"/>
                <a:gd name="connsiteX524" fmla="*/ 453780 w 507786"/>
                <a:gd name="connsiteY524" fmla="*/ 310301 h 683379"/>
                <a:gd name="connsiteX525" fmla="*/ 452185 w 507786"/>
                <a:gd name="connsiteY525" fmla="*/ 308709 h 683379"/>
                <a:gd name="connsiteX526" fmla="*/ 450491 w 507786"/>
                <a:gd name="connsiteY526" fmla="*/ 305327 h 683379"/>
                <a:gd name="connsiteX527" fmla="*/ 449395 w 507786"/>
                <a:gd name="connsiteY527" fmla="*/ 303636 h 683379"/>
                <a:gd name="connsiteX528" fmla="*/ 447900 w 507786"/>
                <a:gd name="connsiteY528" fmla="*/ 302740 h 683379"/>
                <a:gd name="connsiteX529" fmla="*/ 451288 w 507786"/>
                <a:gd name="connsiteY529" fmla="*/ 300552 h 683379"/>
                <a:gd name="connsiteX530" fmla="*/ 452285 w 507786"/>
                <a:gd name="connsiteY530" fmla="*/ 298761 h 683379"/>
                <a:gd name="connsiteX531" fmla="*/ 452285 w 507786"/>
                <a:gd name="connsiteY531" fmla="*/ 295677 h 683379"/>
                <a:gd name="connsiteX532" fmla="*/ 454278 w 507786"/>
                <a:gd name="connsiteY532" fmla="*/ 296870 h 683379"/>
                <a:gd name="connsiteX533" fmla="*/ 458064 w 507786"/>
                <a:gd name="connsiteY533" fmla="*/ 295677 h 683379"/>
                <a:gd name="connsiteX534" fmla="*/ 460057 w 507786"/>
                <a:gd name="connsiteY534" fmla="*/ 296970 h 683379"/>
                <a:gd name="connsiteX535" fmla="*/ 461053 w 507786"/>
                <a:gd name="connsiteY535" fmla="*/ 296174 h 683379"/>
                <a:gd name="connsiteX536" fmla="*/ 461751 w 507786"/>
                <a:gd name="connsiteY536" fmla="*/ 295378 h 683379"/>
                <a:gd name="connsiteX537" fmla="*/ 462349 w 507786"/>
                <a:gd name="connsiteY537" fmla="*/ 294383 h 683379"/>
                <a:gd name="connsiteX538" fmla="*/ 462349 w 507786"/>
                <a:gd name="connsiteY538" fmla="*/ 293090 h 683379"/>
                <a:gd name="connsiteX539" fmla="*/ 458861 w 507786"/>
                <a:gd name="connsiteY539" fmla="*/ 293090 h 683379"/>
                <a:gd name="connsiteX540" fmla="*/ 457267 w 507786"/>
                <a:gd name="connsiteY540" fmla="*/ 293090 h 683379"/>
                <a:gd name="connsiteX541" fmla="*/ 455872 w 507786"/>
                <a:gd name="connsiteY541" fmla="*/ 291797 h 683379"/>
                <a:gd name="connsiteX542" fmla="*/ 454975 w 507786"/>
                <a:gd name="connsiteY542" fmla="*/ 289906 h 683379"/>
                <a:gd name="connsiteX543" fmla="*/ 454377 w 507786"/>
                <a:gd name="connsiteY543" fmla="*/ 288215 h 683379"/>
                <a:gd name="connsiteX544" fmla="*/ 453381 w 507786"/>
                <a:gd name="connsiteY544" fmla="*/ 287220 h 683379"/>
                <a:gd name="connsiteX545" fmla="*/ 451089 w 507786"/>
                <a:gd name="connsiteY545" fmla="*/ 287220 h 683379"/>
                <a:gd name="connsiteX546" fmla="*/ 451089 w 507786"/>
                <a:gd name="connsiteY546" fmla="*/ 287817 h 683379"/>
                <a:gd name="connsiteX547" fmla="*/ 451089 w 507786"/>
                <a:gd name="connsiteY547" fmla="*/ 287817 h 683379"/>
                <a:gd name="connsiteX548" fmla="*/ 451587 w 507786"/>
                <a:gd name="connsiteY548" fmla="*/ 287817 h 683379"/>
                <a:gd name="connsiteX549" fmla="*/ 448398 w 507786"/>
                <a:gd name="connsiteY549" fmla="*/ 289011 h 683379"/>
                <a:gd name="connsiteX550" fmla="*/ 444014 w 507786"/>
                <a:gd name="connsiteY550" fmla="*/ 288414 h 683379"/>
                <a:gd name="connsiteX551" fmla="*/ 439829 w 507786"/>
                <a:gd name="connsiteY551" fmla="*/ 286623 h 683379"/>
                <a:gd name="connsiteX552" fmla="*/ 436840 w 507786"/>
                <a:gd name="connsiteY552" fmla="*/ 284335 h 683379"/>
                <a:gd name="connsiteX553" fmla="*/ 439032 w 507786"/>
                <a:gd name="connsiteY553" fmla="*/ 283838 h 683379"/>
                <a:gd name="connsiteX554" fmla="*/ 443018 w 507786"/>
                <a:gd name="connsiteY554" fmla="*/ 283141 h 683379"/>
                <a:gd name="connsiteX555" fmla="*/ 445409 w 507786"/>
                <a:gd name="connsiteY555" fmla="*/ 281251 h 683379"/>
                <a:gd name="connsiteX556" fmla="*/ 446804 w 507786"/>
                <a:gd name="connsiteY556" fmla="*/ 278764 h 683379"/>
                <a:gd name="connsiteX557" fmla="*/ 445111 w 507786"/>
                <a:gd name="connsiteY557" fmla="*/ 277271 h 683379"/>
                <a:gd name="connsiteX558" fmla="*/ 443018 w 507786"/>
                <a:gd name="connsiteY558" fmla="*/ 277271 h 683379"/>
                <a:gd name="connsiteX559" fmla="*/ 441025 w 507786"/>
                <a:gd name="connsiteY559" fmla="*/ 277271 h 683379"/>
                <a:gd name="connsiteX560" fmla="*/ 438833 w 507786"/>
                <a:gd name="connsiteY560" fmla="*/ 277271 h 683379"/>
                <a:gd name="connsiteX561" fmla="*/ 446605 w 507786"/>
                <a:gd name="connsiteY561" fmla="*/ 260359 h 683379"/>
                <a:gd name="connsiteX562" fmla="*/ 443616 w 507786"/>
                <a:gd name="connsiteY562" fmla="*/ 257871 h 683379"/>
                <a:gd name="connsiteX563" fmla="*/ 443616 w 507786"/>
                <a:gd name="connsiteY563" fmla="*/ 256777 h 683379"/>
                <a:gd name="connsiteX564" fmla="*/ 445609 w 507786"/>
                <a:gd name="connsiteY564" fmla="*/ 255981 h 683379"/>
                <a:gd name="connsiteX565" fmla="*/ 448100 w 507786"/>
                <a:gd name="connsiteY565" fmla="*/ 254190 h 683379"/>
                <a:gd name="connsiteX566" fmla="*/ 447502 w 507786"/>
                <a:gd name="connsiteY566" fmla="*/ 252897 h 683379"/>
                <a:gd name="connsiteX567" fmla="*/ 446705 w 507786"/>
                <a:gd name="connsiteY567" fmla="*/ 251902 h 683379"/>
                <a:gd name="connsiteX568" fmla="*/ 445808 w 507786"/>
                <a:gd name="connsiteY568" fmla="*/ 251206 h 683379"/>
                <a:gd name="connsiteX569" fmla="*/ 444612 w 507786"/>
                <a:gd name="connsiteY569" fmla="*/ 251206 h 683379"/>
                <a:gd name="connsiteX570" fmla="*/ 445808 w 507786"/>
                <a:gd name="connsiteY570" fmla="*/ 250509 h 683379"/>
                <a:gd name="connsiteX571" fmla="*/ 449096 w 507786"/>
                <a:gd name="connsiteY571" fmla="*/ 249614 h 683379"/>
                <a:gd name="connsiteX572" fmla="*/ 449794 w 507786"/>
                <a:gd name="connsiteY572" fmla="*/ 249614 h 683379"/>
                <a:gd name="connsiteX573" fmla="*/ 449794 w 507786"/>
                <a:gd name="connsiteY573" fmla="*/ 247724 h 683379"/>
                <a:gd name="connsiteX574" fmla="*/ 448797 w 507786"/>
                <a:gd name="connsiteY574" fmla="*/ 246729 h 683379"/>
                <a:gd name="connsiteX575" fmla="*/ 447402 w 507786"/>
                <a:gd name="connsiteY575" fmla="*/ 246729 h 683379"/>
                <a:gd name="connsiteX576" fmla="*/ 445808 w 507786"/>
                <a:gd name="connsiteY576" fmla="*/ 246729 h 683379"/>
                <a:gd name="connsiteX577" fmla="*/ 448299 w 507786"/>
                <a:gd name="connsiteY577" fmla="*/ 244739 h 683379"/>
                <a:gd name="connsiteX578" fmla="*/ 449295 w 507786"/>
                <a:gd name="connsiteY578" fmla="*/ 244739 h 683379"/>
                <a:gd name="connsiteX579" fmla="*/ 449295 w 507786"/>
                <a:gd name="connsiteY579" fmla="*/ 243545 h 683379"/>
                <a:gd name="connsiteX580" fmla="*/ 448000 w 507786"/>
                <a:gd name="connsiteY580" fmla="*/ 243545 h 683379"/>
                <a:gd name="connsiteX581" fmla="*/ 446107 w 507786"/>
                <a:gd name="connsiteY581" fmla="*/ 242948 h 683379"/>
                <a:gd name="connsiteX582" fmla="*/ 444413 w 507786"/>
                <a:gd name="connsiteY582" fmla="*/ 242152 h 683379"/>
                <a:gd name="connsiteX583" fmla="*/ 443217 w 507786"/>
                <a:gd name="connsiteY583" fmla="*/ 241257 h 683379"/>
                <a:gd name="connsiteX584" fmla="*/ 442121 w 507786"/>
                <a:gd name="connsiteY584" fmla="*/ 239665 h 683379"/>
                <a:gd name="connsiteX585" fmla="*/ 442121 w 507786"/>
                <a:gd name="connsiteY585" fmla="*/ 239068 h 683379"/>
                <a:gd name="connsiteX586" fmla="*/ 443815 w 507786"/>
                <a:gd name="connsiteY586" fmla="*/ 237079 h 683379"/>
                <a:gd name="connsiteX587" fmla="*/ 443815 w 507786"/>
                <a:gd name="connsiteY587" fmla="*/ 235188 h 683379"/>
                <a:gd name="connsiteX588" fmla="*/ 443018 w 507786"/>
                <a:gd name="connsiteY588" fmla="*/ 232403 h 683379"/>
                <a:gd name="connsiteX589" fmla="*/ 441523 w 507786"/>
                <a:gd name="connsiteY589" fmla="*/ 230711 h 683379"/>
                <a:gd name="connsiteX590" fmla="*/ 440726 w 507786"/>
                <a:gd name="connsiteY590" fmla="*/ 229418 h 683379"/>
                <a:gd name="connsiteX591" fmla="*/ 440726 w 507786"/>
                <a:gd name="connsiteY591" fmla="*/ 227130 h 683379"/>
                <a:gd name="connsiteX592" fmla="*/ 442619 w 507786"/>
                <a:gd name="connsiteY592" fmla="*/ 224742 h 683379"/>
                <a:gd name="connsiteX593" fmla="*/ 442619 w 507786"/>
                <a:gd name="connsiteY593" fmla="*/ 222752 h 683379"/>
                <a:gd name="connsiteX594" fmla="*/ 442619 w 507786"/>
                <a:gd name="connsiteY594" fmla="*/ 220962 h 683379"/>
                <a:gd name="connsiteX595" fmla="*/ 442022 w 507786"/>
                <a:gd name="connsiteY595" fmla="*/ 219171 h 683379"/>
                <a:gd name="connsiteX596" fmla="*/ 441025 w 507786"/>
                <a:gd name="connsiteY596" fmla="*/ 217877 h 683379"/>
                <a:gd name="connsiteX597" fmla="*/ 439729 w 507786"/>
                <a:gd name="connsiteY597" fmla="*/ 217281 h 683379"/>
                <a:gd name="connsiteX598" fmla="*/ 439032 w 507786"/>
                <a:gd name="connsiteY598" fmla="*/ 216286 h 683379"/>
                <a:gd name="connsiteX599" fmla="*/ 437438 w 507786"/>
                <a:gd name="connsiteY599" fmla="*/ 211510 h 683379"/>
                <a:gd name="connsiteX600" fmla="*/ 436640 w 507786"/>
                <a:gd name="connsiteY600" fmla="*/ 210117 h 683379"/>
                <a:gd name="connsiteX601" fmla="*/ 435146 w 507786"/>
                <a:gd name="connsiteY601" fmla="*/ 210117 h 683379"/>
                <a:gd name="connsiteX602" fmla="*/ 433253 w 507786"/>
                <a:gd name="connsiteY602" fmla="*/ 210117 h 683379"/>
                <a:gd name="connsiteX603" fmla="*/ 431459 w 507786"/>
                <a:gd name="connsiteY603" fmla="*/ 210913 h 683379"/>
                <a:gd name="connsiteX604" fmla="*/ 430263 w 507786"/>
                <a:gd name="connsiteY604" fmla="*/ 212008 h 683379"/>
                <a:gd name="connsiteX605" fmla="*/ 428869 w 507786"/>
                <a:gd name="connsiteY605" fmla="*/ 212704 h 683379"/>
                <a:gd name="connsiteX606" fmla="*/ 427573 w 507786"/>
                <a:gd name="connsiteY606" fmla="*/ 212704 h 683379"/>
                <a:gd name="connsiteX607" fmla="*/ 427573 w 507786"/>
                <a:gd name="connsiteY607" fmla="*/ 211610 h 683379"/>
                <a:gd name="connsiteX608" fmla="*/ 429167 w 507786"/>
                <a:gd name="connsiteY608" fmla="*/ 210615 h 683379"/>
                <a:gd name="connsiteX609" fmla="*/ 429167 w 507786"/>
                <a:gd name="connsiteY609" fmla="*/ 209322 h 683379"/>
                <a:gd name="connsiteX610" fmla="*/ 426178 w 507786"/>
                <a:gd name="connsiteY610" fmla="*/ 207829 h 683379"/>
                <a:gd name="connsiteX611" fmla="*/ 424683 w 507786"/>
                <a:gd name="connsiteY611" fmla="*/ 205839 h 683379"/>
                <a:gd name="connsiteX612" fmla="*/ 423089 w 507786"/>
                <a:gd name="connsiteY612" fmla="*/ 203551 h 683379"/>
                <a:gd name="connsiteX613" fmla="*/ 420897 w 507786"/>
                <a:gd name="connsiteY613" fmla="*/ 200865 h 683379"/>
                <a:gd name="connsiteX614" fmla="*/ 423388 w 507786"/>
                <a:gd name="connsiteY614" fmla="*/ 198477 h 683379"/>
                <a:gd name="connsiteX615" fmla="*/ 426576 w 507786"/>
                <a:gd name="connsiteY615" fmla="*/ 196985 h 683379"/>
                <a:gd name="connsiteX616" fmla="*/ 430064 w 507786"/>
                <a:gd name="connsiteY616" fmla="*/ 196289 h 683379"/>
                <a:gd name="connsiteX617" fmla="*/ 431658 w 507786"/>
                <a:gd name="connsiteY617" fmla="*/ 196289 h 683379"/>
                <a:gd name="connsiteX618" fmla="*/ 430562 w 507786"/>
                <a:gd name="connsiteY618" fmla="*/ 196786 h 683379"/>
                <a:gd name="connsiteX619" fmla="*/ 429566 w 507786"/>
                <a:gd name="connsiteY619" fmla="*/ 197383 h 683379"/>
                <a:gd name="connsiteX620" fmla="*/ 430463 w 507786"/>
                <a:gd name="connsiteY620" fmla="*/ 198577 h 683379"/>
                <a:gd name="connsiteX621" fmla="*/ 429566 w 507786"/>
                <a:gd name="connsiteY621" fmla="*/ 199671 h 683379"/>
                <a:gd name="connsiteX622" fmla="*/ 431858 w 507786"/>
                <a:gd name="connsiteY622" fmla="*/ 202656 h 683379"/>
                <a:gd name="connsiteX623" fmla="*/ 434947 w 507786"/>
                <a:gd name="connsiteY623" fmla="*/ 202656 h 683379"/>
                <a:gd name="connsiteX624" fmla="*/ 438135 w 507786"/>
                <a:gd name="connsiteY624" fmla="*/ 201263 h 683379"/>
                <a:gd name="connsiteX625" fmla="*/ 440925 w 507786"/>
                <a:gd name="connsiteY625" fmla="*/ 199373 h 683379"/>
                <a:gd name="connsiteX626" fmla="*/ 439531 w 507786"/>
                <a:gd name="connsiteY626" fmla="*/ 198477 h 683379"/>
                <a:gd name="connsiteX627" fmla="*/ 436442 w 507786"/>
                <a:gd name="connsiteY627" fmla="*/ 197383 h 683379"/>
                <a:gd name="connsiteX628" fmla="*/ 435245 w 507786"/>
                <a:gd name="connsiteY628" fmla="*/ 196488 h 683379"/>
                <a:gd name="connsiteX629" fmla="*/ 434050 w 507786"/>
                <a:gd name="connsiteY629" fmla="*/ 193603 h 683379"/>
                <a:gd name="connsiteX630" fmla="*/ 433153 w 507786"/>
                <a:gd name="connsiteY630" fmla="*/ 192508 h 683379"/>
                <a:gd name="connsiteX631" fmla="*/ 431658 w 507786"/>
                <a:gd name="connsiteY631" fmla="*/ 192011 h 683379"/>
                <a:gd name="connsiteX632" fmla="*/ 433353 w 507786"/>
                <a:gd name="connsiteY632" fmla="*/ 189524 h 683379"/>
                <a:gd name="connsiteX633" fmla="*/ 435844 w 507786"/>
                <a:gd name="connsiteY633" fmla="*/ 190220 h 683379"/>
                <a:gd name="connsiteX634" fmla="*/ 438534 w 507786"/>
                <a:gd name="connsiteY634" fmla="*/ 192110 h 683379"/>
                <a:gd name="connsiteX635" fmla="*/ 440826 w 507786"/>
                <a:gd name="connsiteY635" fmla="*/ 193205 h 683379"/>
                <a:gd name="connsiteX636" fmla="*/ 444313 w 507786"/>
                <a:gd name="connsiteY636" fmla="*/ 192309 h 683379"/>
                <a:gd name="connsiteX637" fmla="*/ 445609 w 507786"/>
                <a:gd name="connsiteY637" fmla="*/ 190220 h 683379"/>
                <a:gd name="connsiteX638" fmla="*/ 444513 w 507786"/>
                <a:gd name="connsiteY638" fmla="*/ 188131 h 683379"/>
                <a:gd name="connsiteX639" fmla="*/ 441324 w 507786"/>
                <a:gd name="connsiteY639" fmla="*/ 187136 h 683379"/>
                <a:gd name="connsiteX640" fmla="*/ 441324 w 507786"/>
                <a:gd name="connsiteY640" fmla="*/ 186041 h 683379"/>
                <a:gd name="connsiteX641" fmla="*/ 441324 w 507786"/>
                <a:gd name="connsiteY641" fmla="*/ 184350 h 683379"/>
                <a:gd name="connsiteX642" fmla="*/ 440029 w 507786"/>
                <a:gd name="connsiteY642" fmla="*/ 182758 h 683379"/>
                <a:gd name="connsiteX643" fmla="*/ 437936 w 507786"/>
                <a:gd name="connsiteY643" fmla="*/ 181664 h 683379"/>
                <a:gd name="connsiteX644" fmla="*/ 435943 w 507786"/>
                <a:gd name="connsiteY644" fmla="*/ 181167 h 683379"/>
                <a:gd name="connsiteX645" fmla="*/ 433053 w 507786"/>
                <a:gd name="connsiteY645" fmla="*/ 183654 h 683379"/>
                <a:gd name="connsiteX646" fmla="*/ 431658 w 507786"/>
                <a:gd name="connsiteY646" fmla="*/ 183654 h 683379"/>
                <a:gd name="connsiteX647" fmla="*/ 429267 w 507786"/>
                <a:gd name="connsiteY647" fmla="*/ 183654 h 683379"/>
                <a:gd name="connsiteX648" fmla="*/ 427872 w 507786"/>
                <a:gd name="connsiteY648" fmla="*/ 184350 h 683379"/>
                <a:gd name="connsiteX649" fmla="*/ 427872 w 507786"/>
                <a:gd name="connsiteY649" fmla="*/ 182261 h 683379"/>
                <a:gd name="connsiteX650" fmla="*/ 428569 w 507786"/>
                <a:gd name="connsiteY650" fmla="*/ 180371 h 683379"/>
                <a:gd name="connsiteX651" fmla="*/ 429566 w 507786"/>
                <a:gd name="connsiteY651" fmla="*/ 178679 h 683379"/>
                <a:gd name="connsiteX652" fmla="*/ 430762 w 507786"/>
                <a:gd name="connsiteY652" fmla="*/ 176988 h 683379"/>
                <a:gd name="connsiteX653" fmla="*/ 432754 w 507786"/>
                <a:gd name="connsiteY653" fmla="*/ 178281 h 683379"/>
                <a:gd name="connsiteX654" fmla="*/ 434149 w 507786"/>
                <a:gd name="connsiteY654" fmla="*/ 177287 h 683379"/>
                <a:gd name="connsiteX655" fmla="*/ 434747 w 507786"/>
                <a:gd name="connsiteY655" fmla="*/ 175595 h 683379"/>
                <a:gd name="connsiteX656" fmla="*/ 434747 w 507786"/>
                <a:gd name="connsiteY656" fmla="*/ 174600 h 683379"/>
                <a:gd name="connsiteX657" fmla="*/ 433053 w 507786"/>
                <a:gd name="connsiteY657" fmla="*/ 174600 h 683379"/>
                <a:gd name="connsiteX658" fmla="*/ 431658 w 507786"/>
                <a:gd name="connsiteY658" fmla="*/ 174600 h 683379"/>
                <a:gd name="connsiteX659" fmla="*/ 430662 w 507786"/>
                <a:gd name="connsiteY659" fmla="*/ 173506 h 683379"/>
                <a:gd name="connsiteX660" fmla="*/ 430064 w 507786"/>
                <a:gd name="connsiteY660" fmla="*/ 171417 h 683379"/>
                <a:gd name="connsiteX661" fmla="*/ 431360 w 507786"/>
                <a:gd name="connsiteY661" fmla="*/ 171417 h 683379"/>
                <a:gd name="connsiteX662" fmla="*/ 432954 w 507786"/>
                <a:gd name="connsiteY662" fmla="*/ 171417 h 683379"/>
                <a:gd name="connsiteX663" fmla="*/ 434249 w 507786"/>
                <a:gd name="connsiteY663" fmla="*/ 170621 h 683379"/>
                <a:gd name="connsiteX664" fmla="*/ 434249 w 507786"/>
                <a:gd name="connsiteY664" fmla="*/ 168930 h 683379"/>
                <a:gd name="connsiteX665" fmla="*/ 433253 w 507786"/>
                <a:gd name="connsiteY665" fmla="*/ 167636 h 683379"/>
                <a:gd name="connsiteX666" fmla="*/ 431559 w 507786"/>
                <a:gd name="connsiteY666" fmla="*/ 167636 h 683379"/>
                <a:gd name="connsiteX667" fmla="*/ 428271 w 507786"/>
                <a:gd name="connsiteY667" fmla="*/ 167636 h 683379"/>
                <a:gd name="connsiteX668" fmla="*/ 424982 w 507786"/>
                <a:gd name="connsiteY668" fmla="*/ 167636 h 683379"/>
                <a:gd name="connsiteX669" fmla="*/ 419203 w 507786"/>
                <a:gd name="connsiteY669" fmla="*/ 166045 h 683379"/>
                <a:gd name="connsiteX670" fmla="*/ 415915 w 507786"/>
                <a:gd name="connsiteY670" fmla="*/ 166045 h 683379"/>
                <a:gd name="connsiteX671" fmla="*/ 417309 w 507786"/>
                <a:gd name="connsiteY671" fmla="*/ 164055 h 683379"/>
                <a:gd name="connsiteX672" fmla="*/ 419602 w 507786"/>
                <a:gd name="connsiteY672" fmla="*/ 163458 h 683379"/>
                <a:gd name="connsiteX673" fmla="*/ 428470 w 507786"/>
                <a:gd name="connsiteY673" fmla="*/ 163955 h 683379"/>
                <a:gd name="connsiteX674" fmla="*/ 429566 w 507786"/>
                <a:gd name="connsiteY674" fmla="*/ 162960 h 683379"/>
                <a:gd name="connsiteX675" fmla="*/ 430762 w 507786"/>
                <a:gd name="connsiteY675" fmla="*/ 160075 h 683379"/>
                <a:gd name="connsiteX676" fmla="*/ 427772 w 507786"/>
                <a:gd name="connsiteY676" fmla="*/ 160075 h 683379"/>
                <a:gd name="connsiteX677" fmla="*/ 427772 w 507786"/>
                <a:gd name="connsiteY677" fmla="*/ 157787 h 683379"/>
                <a:gd name="connsiteX678" fmla="*/ 429964 w 507786"/>
                <a:gd name="connsiteY678" fmla="*/ 151917 h 683379"/>
                <a:gd name="connsiteX679" fmla="*/ 428869 w 507786"/>
                <a:gd name="connsiteY679" fmla="*/ 151917 h 683379"/>
                <a:gd name="connsiteX680" fmla="*/ 428071 w 507786"/>
                <a:gd name="connsiteY680" fmla="*/ 151917 h 683379"/>
                <a:gd name="connsiteX681" fmla="*/ 426477 w 507786"/>
                <a:gd name="connsiteY681" fmla="*/ 150226 h 683379"/>
                <a:gd name="connsiteX682" fmla="*/ 433452 w 507786"/>
                <a:gd name="connsiteY682" fmla="*/ 146545 h 683379"/>
                <a:gd name="connsiteX683" fmla="*/ 431360 w 507786"/>
                <a:gd name="connsiteY683" fmla="*/ 145550 h 683379"/>
                <a:gd name="connsiteX684" fmla="*/ 430363 w 507786"/>
                <a:gd name="connsiteY684" fmla="*/ 145550 h 683379"/>
                <a:gd name="connsiteX685" fmla="*/ 429167 w 507786"/>
                <a:gd name="connsiteY685" fmla="*/ 145550 h 683379"/>
                <a:gd name="connsiteX686" fmla="*/ 429167 w 507786"/>
                <a:gd name="connsiteY686" fmla="*/ 144356 h 683379"/>
                <a:gd name="connsiteX687" fmla="*/ 434050 w 507786"/>
                <a:gd name="connsiteY687" fmla="*/ 142864 h 683379"/>
                <a:gd name="connsiteX688" fmla="*/ 438733 w 507786"/>
                <a:gd name="connsiteY688" fmla="*/ 144655 h 683379"/>
                <a:gd name="connsiteX689" fmla="*/ 443416 w 507786"/>
                <a:gd name="connsiteY689" fmla="*/ 147142 h 683379"/>
                <a:gd name="connsiteX690" fmla="*/ 448299 w 507786"/>
                <a:gd name="connsiteY690" fmla="*/ 148037 h 683379"/>
                <a:gd name="connsiteX691" fmla="*/ 444811 w 507786"/>
                <a:gd name="connsiteY691" fmla="*/ 143361 h 683379"/>
                <a:gd name="connsiteX692" fmla="*/ 439431 w 507786"/>
                <a:gd name="connsiteY692" fmla="*/ 141272 h 683379"/>
                <a:gd name="connsiteX693" fmla="*/ 427473 w 507786"/>
                <a:gd name="connsiteY693" fmla="*/ 141272 h 683379"/>
                <a:gd name="connsiteX694" fmla="*/ 428370 w 507786"/>
                <a:gd name="connsiteY694" fmla="*/ 137293 h 683379"/>
                <a:gd name="connsiteX695" fmla="*/ 427374 w 507786"/>
                <a:gd name="connsiteY695" fmla="*/ 134805 h 683379"/>
                <a:gd name="connsiteX696" fmla="*/ 425082 w 507786"/>
                <a:gd name="connsiteY696" fmla="*/ 133413 h 683379"/>
                <a:gd name="connsiteX697" fmla="*/ 422192 w 507786"/>
                <a:gd name="connsiteY697" fmla="*/ 132716 h 683379"/>
                <a:gd name="connsiteX698" fmla="*/ 425680 w 507786"/>
                <a:gd name="connsiteY698" fmla="*/ 130925 h 683379"/>
                <a:gd name="connsiteX699" fmla="*/ 429367 w 507786"/>
                <a:gd name="connsiteY699" fmla="*/ 130925 h 683379"/>
                <a:gd name="connsiteX700" fmla="*/ 433153 w 507786"/>
                <a:gd name="connsiteY700" fmla="*/ 131622 h 683379"/>
                <a:gd name="connsiteX701" fmla="*/ 436840 w 507786"/>
                <a:gd name="connsiteY701" fmla="*/ 131622 h 683379"/>
                <a:gd name="connsiteX702" fmla="*/ 432954 w 507786"/>
                <a:gd name="connsiteY702" fmla="*/ 127543 h 683379"/>
                <a:gd name="connsiteX703" fmla="*/ 422989 w 507786"/>
                <a:gd name="connsiteY703" fmla="*/ 125155 h 683379"/>
                <a:gd name="connsiteX704" fmla="*/ 418406 w 507786"/>
                <a:gd name="connsiteY704" fmla="*/ 123066 h 683379"/>
                <a:gd name="connsiteX705" fmla="*/ 426178 w 507786"/>
                <a:gd name="connsiteY705" fmla="*/ 125255 h 683379"/>
                <a:gd name="connsiteX706" fmla="*/ 430164 w 507786"/>
                <a:gd name="connsiteY706" fmla="*/ 125255 h 683379"/>
                <a:gd name="connsiteX707" fmla="*/ 432356 w 507786"/>
                <a:gd name="connsiteY707" fmla="*/ 122767 h 683379"/>
                <a:gd name="connsiteX708" fmla="*/ 430064 w 507786"/>
                <a:gd name="connsiteY708" fmla="*/ 122767 h 683379"/>
                <a:gd name="connsiteX709" fmla="*/ 425879 w 507786"/>
                <a:gd name="connsiteY709" fmla="*/ 121574 h 683379"/>
                <a:gd name="connsiteX710" fmla="*/ 430562 w 507786"/>
                <a:gd name="connsiteY710" fmla="*/ 121574 h 683379"/>
                <a:gd name="connsiteX711" fmla="*/ 429466 w 507786"/>
                <a:gd name="connsiteY711" fmla="*/ 119484 h 683379"/>
                <a:gd name="connsiteX712" fmla="*/ 427374 w 507786"/>
                <a:gd name="connsiteY712" fmla="*/ 118788 h 683379"/>
                <a:gd name="connsiteX713" fmla="*/ 422691 w 507786"/>
                <a:gd name="connsiteY713" fmla="*/ 118788 h 683379"/>
                <a:gd name="connsiteX714" fmla="*/ 423886 w 507786"/>
                <a:gd name="connsiteY714" fmla="*/ 117893 h 683379"/>
                <a:gd name="connsiteX715" fmla="*/ 425182 w 507786"/>
                <a:gd name="connsiteY715" fmla="*/ 117395 h 683379"/>
                <a:gd name="connsiteX716" fmla="*/ 428071 w 507786"/>
                <a:gd name="connsiteY716" fmla="*/ 117395 h 683379"/>
                <a:gd name="connsiteX717" fmla="*/ 428071 w 507786"/>
                <a:gd name="connsiteY717" fmla="*/ 116699 h 683379"/>
                <a:gd name="connsiteX718" fmla="*/ 428071 w 507786"/>
                <a:gd name="connsiteY718" fmla="*/ 116102 h 683379"/>
                <a:gd name="connsiteX719" fmla="*/ 428071 w 507786"/>
                <a:gd name="connsiteY719" fmla="*/ 115604 h 683379"/>
                <a:gd name="connsiteX720" fmla="*/ 427374 w 507786"/>
                <a:gd name="connsiteY720" fmla="*/ 115604 h 683379"/>
                <a:gd name="connsiteX721" fmla="*/ 430562 w 507786"/>
                <a:gd name="connsiteY721" fmla="*/ 114212 h 683379"/>
                <a:gd name="connsiteX722" fmla="*/ 441224 w 507786"/>
                <a:gd name="connsiteY722" fmla="*/ 115604 h 683379"/>
                <a:gd name="connsiteX723" fmla="*/ 439331 w 507786"/>
                <a:gd name="connsiteY723" fmla="*/ 112520 h 683379"/>
                <a:gd name="connsiteX724" fmla="*/ 433751 w 507786"/>
                <a:gd name="connsiteY724" fmla="*/ 109934 h 683379"/>
                <a:gd name="connsiteX725" fmla="*/ 432555 w 507786"/>
                <a:gd name="connsiteY725" fmla="*/ 107645 h 683379"/>
                <a:gd name="connsiteX726" fmla="*/ 431160 w 507786"/>
                <a:gd name="connsiteY726" fmla="*/ 108342 h 683379"/>
                <a:gd name="connsiteX727" fmla="*/ 423089 w 507786"/>
                <a:gd name="connsiteY727" fmla="*/ 104561 h 683379"/>
                <a:gd name="connsiteX728" fmla="*/ 423587 w 507786"/>
                <a:gd name="connsiteY728" fmla="*/ 104561 h 683379"/>
                <a:gd name="connsiteX729" fmla="*/ 423587 w 507786"/>
                <a:gd name="connsiteY729" fmla="*/ 104561 h 683379"/>
                <a:gd name="connsiteX730" fmla="*/ 424384 w 507786"/>
                <a:gd name="connsiteY730" fmla="*/ 103765 h 683379"/>
                <a:gd name="connsiteX731" fmla="*/ 419004 w 507786"/>
                <a:gd name="connsiteY731" fmla="*/ 101676 h 683379"/>
                <a:gd name="connsiteX732" fmla="*/ 402164 w 507786"/>
                <a:gd name="connsiteY732" fmla="*/ 101676 h 683379"/>
                <a:gd name="connsiteX733" fmla="*/ 399274 w 507786"/>
                <a:gd name="connsiteY733" fmla="*/ 100383 h 683379"/>
                <a:gd name="connsiteX734" fmla="*/ 402562 w 507786"/>
                <a:gd name="connsiteY734" fmla="*/ 98891 h 683379"/>
                <a:gd name="connsiteX735" fmla="*/ 414918 w 507786"/>
                <a:gd name="connsiteY735" fmla="*/ 100383 h 683379"/>
                <a:gd name="connsiteX736" fmla="*/ 414121 w 507786"/>
                <a:gd name="connsiteY736" fmla="*/ 96702 h 683379"/>
                <a:gd name="connsiteX737" fmla="*/ 416413 w 507786"/>
                <a:gd name="connsiteY737" fmla="*/ 96702 h 683379"/>
                <a:gd name="connsiteX738" fmla="*/ 419900 w 507786"/>
                <a:gd name="connsiteY738" fmla="*/ 97597 h 683379"/>
                <a:gd name="connsiteX739" fmla="*/ 422691 w 507786"/>
                <a:gd name="connsiteY739" fmla="*/ 96702 h 683379"/>
                <a:gd name="connsiteX740" fmla="*/ 420598 w 507786"/>
                <a:gd name="connsiteY740" fmla="*/ 95309 h 683379"/>
                <a:gd name="connsiteX741" fmla="*/ 420000 w 507786"/>
                <a:gd name="connsiteY741" fmla="*/ 93817 h 683379"/>
                <a:gd name="connsiteX742" fmla="*/ 420797 w 507786"/>
                <a:gd name="connsiteY742" fmla="*/ 93021 h 683379"/>
                <a:gd name="connsiteX743" fmla="*/ 422691 w 507786"/>
                <a:gd name="connsiteY743" fmla="*/ 94414 h 683379"/>
                <a:gd name="connsiteX744" fmla="*/ 422691 w 507786"/>
                <a:gd name="connsiteY744" fmla="*/ 93717 h 683379"/>
                <a:gd name="connsiteX745" fmla="*/ 422691 w 507786"/>
                <a:gd name="connsiteY745" fmla="*/ 93220 h 683379"/>
                <a:gd name="connsiteX746" fmla="*/ 422691 w 507786"/>
                <a:gd name="connsiteY746" fmla="*/ 88544 h 683379"/>
                <a:gd name="connsiteX747" fmla="*/ 421495 w 507786"/>
                <a:gd name="connsiteY747" fmla="*/ 87847 h 683379"/>
                <a:gd name="connsiteX748" fmla="*/ 420200 w 507786"/>
                <a:gd name="connsiteY748" fmla="*/ 87847 h 683379"/>
                <a:gd name="connsiteX749" fmla="*/ 417509 w 507786"/>
                <a:gd name="connsiteY749" fmla="*/ 87847 h 683379"/>
                <a:gd name="connsiteX750" fmla="*/ 419103 w 507786"/>
                <a:gd name="connsiteY750" fmla="*/ 86256 h 683379"/>
                <a:gd name="connsiteX751" fmla="*/ 420897 w 507786"/>
                <a:gd name="connsiteY751" fmla="*/ 85559 h 683379"/>
                <a:gd name="connsiteX752" fmla="*/ 424982 w 507786"/>
                <a:gd name="connsiteY752" fmla="*/ 85559 h 683379"/>
                <a:gd name="connsiteX753" fmla="*/ 426377 w 507786"/>
                <a:gd name="connsiteY753" fmla="*/ 85062 h 683379"/>
                <a:gd name="connsiteX754" fmla="*/ 428271 w 507786"/>
                <a:gd name="connsiteY754" fmla="*/ 82674 h 683379"/>
                <a:gd name="connsiteX755" fmla="*/ 429665 w 507786"/>
                <a:gd name="connsiteY755" fmla="*/ 81779 h 683379"/>
                <a:gd name="connsiteX756" fmla="*/ 426776 w 507786"/>
                <a:gd name="connsiteY756" fmla="*/ 80485 h 683379"/>
                <a:gd name="connsiteX757" fmla="*/ 423089 w 507786"/>
                <a:gd name="connsiteY757" fmla="*/ 80485 h 683379"/>
                <a:gd name="connsiteX758" fmla="*/ 415316 w 507786"/>
                <a:gd name="connsiteY758" fmla="*/ 81779 h 683379"/>
                <a:gd name="connsiteX759" fmla="*/ 408740 w 507786"/>
                <a:gd name="connsiteY759" fmla="*/ 84763 h 683379"/>
                <a:gd name="connsiteX760" fmla="*/ 405751 w 507786"/>
                <a:gd name="connsiteY760" fmla="*/ 84763 h 683379"/>
                <a:gd name="connsiteX761" fmla="*/ 405751 w 507786"/>
                <a:gd name="connsiteY761" fmla="*/ 81281 h 683379"/>
                <a:gd name="connsiteX762" fmla="*/ 402861 w 507786"/>
                <a:gd name="connsiteY762" fmla="*/ 82276 h 683379"/>
                <a:gd name="connsiteX763" fmla="*/ 401367 w 507786"/>
                <a:gd name="connsiteY763" fmla="*/ 82276 h 683379"/>
                <a:gd name="connsiteX764" fmla="*/ 399673 w 507786"/>
                <a:gd name="connsiteY764" fmla="*/ 82276 h 683379"/>
                <a:gd name="connsiteX765" fmla="*/ 398975 w 507786"/>
                <a:gd name="connsiteY765" fmla="*/ 79590 h 683379"/>
                <a:gd name="connsiteX766" fmla="*/ 395289 w 507786"/>
                <a:gd name="connsiteY766" fmla="*/ 78197 h 683379"/>
                <a:gd name="connsiteX767" fmla="*/ 390804 w 507786"/>
                <a:gd name="connsiteY767" fmla="*/ 78197 h 683379"/>
                <a:gd name="connsiteX768" fmla="*/ 387516 w 507786"/>
                <a:gd name="connsiteY768" fmla="*/ 78993 h 683379"/>
                <a:gd name="connsiteX769" fmla="*/ 388811 w 507786"/>
                <a:gd name="connsiteY769" fmla="*/ 76904 h 683379"/>
                <a:gd name="connsiteX770" fmla="*/ 390605 w 507786"/>
                <a:gd name="connsiteY770" fmla="*/ 75213 h 683379"/>
                <a:gd name="connsiteX771" fmla="*/ 394491 w 507786"/>
                <a:gd name="connsiteY771" fmla="*/ 72924 h 683379"/>
                <a:gd name="connsiteX772" fmla="*/ 394491 w 507786"/>
                <a:gd name="connsiteY772" fmla="*/ 71531 h 683379"/>
                <a:gd name="connsiteX773" fmla="*/ 393196 w 507786"/>
                <a:gd name="connsiteY773" fmla="*/ 70238 h 683379"/>
                <a:gd name="connsiteX774" fmla="*/ 393993 w 507786"/>
                <a:gd name="connsiteY774" fmla="*/ 69044 h 683379"/>
                <a:gd name="connsiteX775" fmla="*/ 395487 w 507786"/>
                <a:gd name="connsiteY775" fmla="*/ 69840 h 683379"/>
                <a:gd name="connsiteX776" fmla="*/ 397580 w 507786"/>
                <a:gd name="connsiteY776" fmla="*/ 70338 h 683379"/>
                <a:gd name="connsiteX777" fmla="*/ 399473 w 507786"/>
                <a:gd name="connsiteY777" fmla="*/ 70338 h 683379"/>
                <a:gd name="connsiteX778" fmla="*/ 400071 w 507786"/>
                <a:gd name="connsiteY778" fmla="*/ 68248 h 683379"/>
                <a:gd name="connsiteX779" fmla="*/ 399174 w 507786"/>
                <a:gd name="connsiteY779" fmla="*/ 67254 h 683379"/>
                <a:gd name="connsiteX780" fmla="*/ 384627 w 507786"/>
                <a:gd name="connsiteY780" fmla="*/ 65562 h 683379"/>
                <a:gd name="connsiteX781" fmla="*/ 380142 w 507786"/>
                <a:gd name="connsiteY781" fmla="*/ 63274 h 683379"/>
                <a:gd name="connsiteX782" fmla="*/ 381736 w 507786"/>
                <a:gd name="connsiteY782" fmla="*/ 61483 h 683379"/>
                <a:gd name="connsiteX783" fmla="*/ 382534 w 507786"/>
                <a:gd name="connsiteY783" fmla="*/ 61483 h 683379"/>
                <a:gd name="connsiteX784" fmla="*/ 383630 w 507786"/>
                <a:gd name="connsiteY784" fmla="*/ 61483 h 683379"/>
                <a:gd name="connsiteX785" fmla="*/ 382534 w 507786"/>
                <a:gd name="connsiteY785" fmla="*/ 59692 h 683379"/>
                <a:gd name="connsiteX786" fmla="*/ 381139 w 507786"/>
                <a:gd name="connsiteY786" fmla="*/ 59096 h 683379"/>
                <a:gd name="connsiteX787" fmla="*/ 377552 w 507786"/>
                <a:gd name="connsiteY787" fmla="*/ 59096 h 683379"/>
                <a:gd name="connsiteX788" fmla="*/ 378349 w 507786"/>
                <a:gd name="connsiteY788" fmla="*/ 55415 h 683379"/>
                <a:gd name="connsiteX789" fmla="*/ 377651 w 507786"/>
                <a:gd name="connsiteY789" fmla="*/ 51435 h 683379"/>
                <a:gd name="connsiteX790" fmla="*/ 375459 w 507786"/>
                <a:gd name="connsiteY790" fmla="*/ 48550 h 683379"/>
                <a:gd name="connsiteX791" fmla="*/ 372271 w 507786"/>
                <a:gd name="connsiteY791" fmla="*/ 48052 h 683379"/>
                <a:gd name="connsiteX792" fmla="*/ 372271 w 507786"/>
                <a:gd name="connsiteY792" fmla="*/ 47456 h 683379"/>
                <a:gd name="connsiteX793" fmla="*/ 372271 w 507786"/>
                <a:gd name="connsiteY793" fmla="*/ 46759 h 683379"/>
                <a:gd name="connsiteX794" fmla="*/ 372271 w 507786"/>
                <a:gd name="connsiteY794" fmla="*/ 46162 h 683379"/>
                <a:gd name="connsiteX795" fmla="*/ 373267 w 507786"/>
                <a:gd name="connsiteY795" fmla="*/ 44371 h 683379"/>
                <a:gd name="connsiteX796" fmla="*/ 373267 w 507786"/>
                <a:gd name="connsiteY796" fmla="*/ 43476 h 683379"/>
                <a:gd name="connsiteX797" fmla="*/ 373267 w 507786"/>
                <a:gd name="connsiteY797" fmla="*/ 41486 h 683379"/>
                <a:gd name="connsiteX798" fmla="*/ 373267 w 507786"/>
                <a:gd name="connsiteY798" fmla="*/ 40690 h 683379"/>
                <a:gd name="connsiteX799" fmla="*/ 374861 w 507786"/>
                <a:gd name="connsiteY799" fmla="*/ 40690 h 683379"/>
                <a:gd name="connsiteX800" fmla="*/ 376456 w 507786"/>
                <a:gd name="connsiteY800" fmla="*/ 40690 h 683379"/>
                <a:gd name="connsiteX801" fmla="*/ 379345 w 507786"/>
                <a:gd name="connsiteY801" fmla="*/ 39497 h 683379"/>
                <a:gd name="connsiteX802" fmla="*/ 379345 w 507786"/>
                <a:gd name="connsiteY802" fmla="*/ 38502 h 683379"/>
                <a:gd name="connsiteX803" fmla="*/ 373267 w 507786"/>
                <a:gd name="connsiteY803" fmla="*/ 37308 h 683379"/>
                <a:gd name="connsiteX804" fmla="*/ 371374 w 507786"/>
                <a:gd name="connsiteY804" fmla="*/ 37308 h 683379"/>
                <a:gd name="connsiteX805" fmla="*/ 372769 w 507786"/>
                <a:gd name="connsiteY805" fmla="*/ 33229 h 683379"/>
                <a:gd name="connsiteX806" fmla="*/ 372769 w 507786"/>
                <a:gd name="connsiteY806" fmla="*/ 30941 h 683379"/>
                <a:gd name="connsiteX807" fmla="*/ 372769 w 507786"/>
                <a:gd name="connsiteY807" fmla="*/ 29846 h 683379"/>
                <a:gd name="connsiteX808" fmla="*/ 371473 w 507786"/>
                <a:gd name="connsiteY808" fmla="*/ 29050 h 683379"/>
                <a:gd name="connsiteX809" fmla="*/ 370278 w 507786"/>
                <a:gd name="connsiteY809" fmla="*/ 27160 h 683379"/>
                <a:gd name="connsiteX810" fmla="*/ 369580 w 507786"/>
                <a:gd name="connsiteY810" fmla="*/ 25170 h 683379"/>
                <a:gd name="connsiteX811" fmla="*/ 369580 w 507786"/>
                <a:gd name="connsiteY811" fmla="*/ 23877 h 683379"/>
                <a:gd name="connsiteX812" fmla="*/ 367388 w 507786"/>
                <a:gd name="connsiteY812" fmla="*/ 23877 h 683379"/>
                <a:gd name="connsiteX813" fmla="*/ 366292 w 507786"/>
                <a:gd name="connsiteY813" fmla="*/ 23877 h 683379"/>
                <a:gd name="connsiteX814" fmla="*/ 365296 w 507786"/>
                <a:gd name="connsiteY814" fmla="*/ 22982 h 683379"/>
                <a:gd name="connsiteX815" fmla="*/ 368384 w 507786"/>
                <a:gd name="connsiteY815" fmla="*/ 21688 h 683379"/>
                <a:gd name="connsiteX816" fmla="*/ 366989 w 507786"/>
                <a:gd name="connsiteY816" fmla="*/ 18505 h 683379"/>
                <a:gd name="connsiteX817" fmla="*/ 363303 w 507786"/>
                <a:gd name="connsiteY817" fmla="*/ 14525 h 683379"/>
                <a:gd name="connsiteX818" fmla="*/ 359217 w 507786"/>
                <a:gd name="connsiteY818" fmla="*/ 13530 h 683379"/>
                <a:gd name="connsiteX819" fmla="*/ 359217 w 507786"/>
                <a:gd name="connsiteY819" fmla="*/ 12635 h 683379"/>
                <a:gd name="connsiteX820" fmla="*/ 365694 w 507786"/>
                <a:gd name="connsiteY820" fmla="*/ 11740 h 683379"/>
                <a:gd name="connsiteX821" fmla="*/ 368384 w 507786"/>
                <a:gd name="connsiteY821" fmla="*/ 10347 h 683379"/>
                <a:gd name="connsiteX822" fmla="*/ 368384 w 507786"/>
                <a:gd name="connsiteY822" fmla="*/ 7860 h 683379"/>
                <a:gd name="connsiteX823" fmla="*/ 366691 w 507786"/>
                <a:gd name="connsiteY823" fmla="*/ 5571 h 683379"/>
                <a:gd name="connsiteX824" fmla="*/ 364897 w 507786"/>
                <a:gd name="connsiteY824" fmla="*/ 4576 h 683379"/>
                <a:gd name="connsiteX825" fmla="*/ 362007 w 507786"/>
                <a:gd name="connsiteY825" fmla="*/ 4576 h 683379"/>
                <a:gd name="connsiteX826" fmla="*/ 359616 w 507786"/>
                <a:gd name="connsiteY826" fmla="*/ 6069 h 683379"/>
                <a:gd name="connsiteX827" fmla="*/ 360214 w 507786"/>
                <a:gd name="connsiteY827" fmla="*/ 6765 h 683379"/>
                <a:gd name="connsiteX828" fmla="*/ 360811 w 507786"/>
                <a:gd name="connsiteY828" fmla="*/ 6765 h 683379"/>
                <a:gd name="connsiteX829" fmla="*/ 362207 w 507786"/>
                <a:gd name="connsiteY829" fmla="*/ 6765 h 683379"/>
                <a:gd name="connsiteX830" fmla="*/ 358918 w 507786"/>
                <a:gd name="connsiteY830" fmla="*/ 8655 h 683379"/>
                <a:gd name="connsiteX831" fmla="*/ 357224 w 507786"/>
                <a:gd name="connsiteY831" fmla="*/ 9252 h 683379"/>
                <a:gd name="connsiteX832" fmla="*/ 355331 w 507786"/>
                <a:gd name="connsiteY832" fmla="*/ 9252 h 683379"/>
                <a:gd name="connsiteX833" fmla="*/ 356925 w 507786"/>
                <a:gd name="connsiteY833" fmla="*/ 6467 h 683379"/>
                <a:gd name="connsiteX834" fmla="*/ 359217 w 507786"/>
                <a:gd name="connsiteY834" fmla="*/ 3880 h 683379"/>
                <a:gd name="connsiteX835" fmla="*/ 360811 w 507786"/>
                <a:gd name="connsiteY835" fmla="*/ 1393 h 683379"/>
                <a:gd name="connsiteX836" fmla="*/ 360811 w 507786"/>
                <a:gd name="connsiteY836" fmla="*/ 0 h 683379"/>
                <a:gd name="connsiteX837" fmla="*/ 18235 w 507786"/>
                <a:gd name="connsiteY837" fmla="*/ 0 h 683379"/>
                <a:gd name="connsiteX838" fmla="*/ 439032 w 507786"/>
                <a:gd name="connsiteY838" fmla="*/ 388399 h 683379"/>
                <a:gd name="connsiteX839" fmla="*/ 441324 w 507786"/>
                <a:gd name="connsiteY839" fmla="*/ 387703 h 683379"/>
                <a:gd name="connsiteX840" fmla="*/ 444811 w 507786"/>
                <a:gd name="connsiteY840" fmla="*/ 386210 h 683379"/>
                <a:gd name="connsiteX841" fmla="*/ 446804 w 507786"/>
                <a:gd name="connsiteY841" fmla="*/ 386210 h 683379"/>
                <a:gd name="connsiteX842" fmla="*/ 449196 w 507786"/>
                <a:gd name="connsiteY842" fmla="*/ 386210 h 683379"/>
                <a:gd name="connsiteX843" fmla="*/ 451089 w 507786"/>
                <a:gd name="connsiteY843" fmla="*/ 386210 h 683379"/>
                <a:gd name="connsiteX844" fmla="*/ 452584 w 507786"/>
                <a:gd name="connsiteY844" fmla="*/ 386210 h 683379"/>
                <a:gd name="connsiteX845" fmla="*/ 452584 w 507786"/>
                <a:gd name="connsiteY845" fmla="*/ 386807 h 683379"/>
                <a:gd name="connsiteX846" fmla="*/ 450591 w 507786"/>
                <a:gd name="connsiteY846" fmla="*/ 388399 h 683379"/>
                <a:gd name="connsiteX847" fmla="*/ 448498 w 507786"/>
                <a:gd name="connsiteY847" fmla="*/ 389692 h 683379"/>
                <a:gd name="connsiteX848" fmla="*/ 446605 w 507786"/>
                <a:gd name="connsiteY848" fmla="*/ 390687 h 683379"/>
                <a:gd name="connsiteX849" fmla="*/ 446605 w 507786"/>
                <a:gd name="connsiteY849" fmla="*/ 390687 h 683379"/>
                <a:gd name="connsiteX850" fmla="*/ 449594 w 507786"/>
                <a:gd name="connsiteY850" fmla="*/ 390687 h 683379"/>
                <a:gd name="connsiteX851" fmla="*/ 449594 w 507786"/>
                <a:gd name="connsiteY851" fmla="*/ 392577 h 683379"/>
                <a:gd name="connsiteX852" fmla="*/ 446705 w 507786"/>
                <a:gd name="connsiteY852" fmla="*/ 393672 h 683379"/>
                <a:gd name="connsiteX853" fmla="*/ 445309 w 507786"/>
                <a:gd name="connsiteY853" fmla="*/ 393672 h 683379"/>
                <a:gd name="connsiteX854" fmla="*/ 445309 w 507786"/>
                <a:gd name="connsiteY854" fmla="*/ 392577 h 683379"/>
                <a:gd name="connsiteX855" fmla="*/ 445309 w 507786"/>
                <a:gd name="connsiteY855" fmla="*/ 392577 h 683379"/>
                <a:gd name="connsiteX856" fmla="*/ 445309 w 507786"/>
                <a:gd name="connsiteY856" fmla="*/ 392577 h 683379"/>
                <a:gd name="connsiteX857" fmla="*/ 444313 w 507786"/>
                <a:gd name="connsiteY857" fmla="*/ 392577 h 683379"/>
                <a:gd name="connsiteX858" fmla="*/ 443018 w 507786"/>
                <a:gd name="connsiteY858" fmla="*/ 392577 h 683379"/>
                <a:gd name="connsiteX859" fmla="*/ 443018 w 507786"/>
                <a:gd name="connsiteY859" fmla="*/ 392577 h 683379"/>
                <a:gd name="connsiteX860" fmla="*/ 443018 w 507786"/>
                <a:gd name="connsiteY860" fmla="*/ 392577 h 683379"/>
                <a:gd name="connsiteX861" fmla="*/ 442220 w 507786"/>
                <a:gd name="connsiteY861" fmla="*/ 392577 h 683379"/>
                <a:gd name="connsiteX862" fmla="*/ 442220 w 507786"/>
                <a:gd name="connsiteY862" fmla="*/ 392577 h 683379"/>
                <a:gd name="connsiteX863" fmla="*/ 442220 w 507786"/>
                <a:gd name="connsiteY863" fmla="*/ 392577 h 683379"/>
                <a:gd name="connsiteX864" fmla="*/ 441324 w 507786"/>
                <a:gd name="connsiteY864" fmla="*/ 392577 h 683379"/>
                <a:gd name="connsiteX865" fmla="*/ 441324 w 507786"/>
                <a:gd name="connsiteY865" fmla="*/ 391682 h 683379"/>
                <a:gd name="connsiteX866" fmla="*/ 441324 w 507786"/>
                <a:gd name="connsiteY866" fmla="*/ 389692 h 683379"/>
                <a:gd name="connsiteX867" fmla="*/ 441324 w 507786"/>
                <a:gd name="connsiteY867" fmla="*/ 388896 h 683379"/>
                <a:gd name="connsiteX868" fmla="*/ 440527 w 507786"/>
                <a:gd name="connsiteY868" fmla="*/ 389692 h 683379"/>
                <a:gd name="connsiteX869" fmla="*/ 438933 w 507786"/>
                <a:gd name="connsiteY869" fmla="*/ 390687 h 683379"/>
                <a:gd name="connsiteX870" fmla="*/ 438135 w 507786"/>
                <a:gd name="connsiteY870" fmla="*/ 389991 h 683379"/>
                <a:gd name="connsiteX871" fmla="*/ 405352 w 507786"/>
                <a:gd name="connsiteY871" fmla="*/ 445505 h 683379"/>
                <a:gd name="connsiteX872" fmla="*/ 409736 w 507786"/>
                <a:gd name="connsiteY872" fmla="*/ 444410 h 683379"/>
                <a:gd name="connsiteX873" fmla="*/ 412029 w 507786"/>
                <a:gd name="connsiteY873" fmla="*/ 444410 h 683379"/>
                <a:gd name="connsiteX874" fmla="*/ 413224 w 507786"/>
                <a:gd name="connsiteY874" fmla="*/ 444410 h 683379"/>
                <a:gd name="connsiteX875" fmla="*/ 415316 w 507786"/>
                <a:gd name="connsiteY875" fmla="*/ 445206 h 683379"/>
                <a:gd name="connsiteX876" fmla="*/ 414619 w 507786"/>
                <a:gd name="connsiteY876" fmla="*/ 446898 h 683379"/>
                <a:gd name="connsiteX877" fmla="*/ 411531 w 507786"/>
                <a:gd name="connsiteY877" fmla="*/ 447693 h 683379"/>
                <a:gd name="connsiteX878" fmla="*/ 404555 w 507786"/>
                <a:gd name="connsiteY878" fmla="*/ 446997 h 683379"/>
                <a:gd name="connsiteX879" fmla="*/ 353338 w 507786"/>
                <a:gd name="connsiteY879" fmla="*/ 421628 h 683379"/>
                <a:gd name="connsiteX880" fmla="*/ 354534 w 507786"/>
                <a:gd name="connsiteY880" fmla="*/ 420235 h 683379"/>
                <a:gd name="connsiteX881" fmla="*/ 359516 w 507786"/>
                <a:gd name="connsiteY881" fmla="*/ 418743 h 683379"/>
                <a:gd name="connsiteX882" fmla="*/ 364598 w 507786"/>
                <a:gd name="connsiteY882" fmla="*/ 418743 h 683379"/>
                <a:gd name="connsiteX883" fmla="*/ 367189 w 507786"/>
                <a:gd name="connsiteY883" fmla="*/ 419737 h 683379"/>
                <a:gd name="connsiteX884" fmla="*/ 367886 w 507786"/>
                <a:gd name="connsiteY884" fmla="*/ 420334 h 683379"/>
                <a:gd name="connsiteX885" fmla="*/ 367886 w 507786"/>
                <a:gd name="connsiteY885" fmla="*/ 421528 h 683379"/>
                <a:gd name="connsiteX886" fmla="*/ 365395 w 507786"/>
                <a:gd name="connsiteY886" fmla="*/ 422225 h 683379"/>
                <a:gd name="connsiteX887" fmla="*/ 356029 w 507786"/>
                <a:gd name="connsiteY887" fmla="*/ 422822 h 683379"/>
                <a:gd name="connsiteX888" fmla="*/ 352641 w 507786"/>
                <a:gd name="connsiteY888" fmla="*/ 423617 h 683379"/>
                <a:gd name="connsiteX889" fmla="*/ 352641 w 507786"/>
                <a:gd name="connsiteY889" fmla="*/ 423021 h 683379"/>
                <a:gd name="connsiteX890" fmla="*/ 335103 w 507786"/>
                <a:gd name="connsiteY890" fmla="*/ 370790 h 683379"/>
                <a:gd name="connsiteX891" fmla="*/ 337196 w 507786"/>
                <a:gd name="connsiteY891" fmla="*/ 367606 h 683379"/>
                <a:gd name="connsiteX892" fmla="*/ 337893 w 507786"/>
                <a:gd name="connsiteY892" fmla="*/ 364721 h 683379"/>
                <a:gd name="connsiteX893" fmla="*/ 338392 w 507786"/>
                <a:gd name="connsiteY893" fmla="*/ 363925 h 683379"/>
                <a:gd name="connsiteX894" fmla="*/ 339687 w 507786"/>
                <a:gd name="connsiteY894" fmla="*/ 363925 h 683379"/>
                <a:gd name="connsiteX895" fmla="*/ 341082 w 507786"/>
                <a:gd name="connsiteY895" fmla="*/ 363925 h 683379"/>
                <a:gd name="connsiteX896" fmla="*/ 341082 w 507786"/>
                <a:gd name="connsiteY896" fmla="*/ 364820 h 683379"/>
                <a:gd name="connsiteX897" fmla="*/ 341082 w 507786"/>
                <a:gd name="connsiteY897" fmla="*/ 366114 h 683379"/>
                <a:gd name="connsiteX898" fmla="*/ 341082 w 507786"/>
                <a:gd name="connsiteY898" fmla="*/ 367706 h 683379"/>
                <a:gd name="connsiteX899" fmla="*/ 342676 w 507786"/>
                <a:gd name="connsiteY899" fmla="*/ 368899 h 683379"/>
                <a:gd name="connsiteX900" fmla="*/ 343573 w 507786"/>
                <a:gd name="connsiteY900" fmla="*/ 368899 h 683379"/>
                <a:gd name="connsiteX901" fmla="*/ 342676 w 507786"/>
                <a:gd name="connsiteY901" fmla="*/ 369496 h 683379"/>
                <a:gd name="connsiteX902" fmla="*/ 341480 w 507786"/>
                <a:gd name="connsiteY902" fmla="*/ 369496 h 683379"/>
                <a:gd name="connsiteX903" fmla="*/ 337993 w 507786"/>
                <a:gd name="connsiteY903" fmla="*/ 370292 h 683379"/>
                <a:gd name="connsiteX904" fmla="*/ 334207 w 507786"/>
                <a:gd name="connsiteY904" fmla="*/ 370292 h 683379"/>
                <a:gd name="connsiteX905" fmla="*/ 335103 w 507786"/>
                <a:gd name="connsiteY905" fmla="*/ 461423 h 683379"/>
                <a:gd name="connsiteX906" fmla="*/ 335701 w 507786"/>
                <a:gd name="connsiteY906" fmla="*/ 460527 h 683379"/>
                <a:gd name="connsiteX907" fmla="*/ 337494 w 507786"/>
                <a:gd name="connsiteY907" fmla="*/ 459831 h 683379"/>
                <a:gd name="connsiteX908" fmla="*/ 338790 w 507786"/>
                <a:gd name="connsiteY908" fmla="*/ 459831 h 683379"/>
                <a:gd name="connsiteX909" fmla="*/ 340185 w 507786"/>
                <a:gd name="connsiteY909" fmla="*/ 460826 h 683379"/>
                <a:gd name="connsiteX910" fmla="*/ 342178 w 507786"/>
                <a:gd name="connsiteY910" fmla="*/ 461323 h 683379"/>
                <a:gd name="connsiteX911" fmla="*/ 345566 w 507786"/>
                <a:gd name="connsiteY911" fmla="*/ 460627 h 683379"/>
                <a:gd name="connsiteX912" fmla="*/ 348555 w 507786"/>
                <a:gd name="connsiteY912" fmla="*/ 458737 h 683379"/>
                <a:gd name="connsiteX913" fmla="*/ 351146 w 507786"/>
                <a:gd name="connsiteY913" fmla="*/ 456249 h 683379"/>
                <a:gd name="connsiteX914" fmla="*/ 353538 w 507786"/>
                <a:gd name="connsiteY914" fmla="*/ 453563 h 683379"/>
                <a:gd name="connsiteX915" fmla="*/ 354833 w 507786"/>
                <a:gd name="connsiteY915" fmla="*/ 452767 h 683379"/>
                <a:gd name="connsiteX916" fmla="*/ 358420 w 507786"/>
                <a:gd name="connsiteY916" fmla="*/ 452767 h 683379"/>
                <a:gd name="connsiteX917" fmla="*/ 359914 w 507786"/>
                <a:gd name="connsiteY917" fmla="*/ 452270 h 683379"/>
                <a:gd name="connsiteX918" fmla="*/ 366093 w 507786"/>
                <a:gd name="connsiteY918" fmla="*/ 449285 h 683379"/>
                <a:gd name="connsiteX919" fmla="*/ 369580 w 507786"/>
                <a:gd name="connsiteY919" fmla="*/ 446798 h 683379"/>
                <a:gd name="connsiteX920" fmla="*/ 371972 w 507786"/>
                <a:gd name="connsiteY920" fmla="*/ 445505 h 683379"/>
                <a:gd name="connsiteX921" fmla="*/ 374463 w 507786"/>
                <a:gd name="connsiteY921" fmla="*/ 445505 h 683379"/>
                <a:gd name="connsiteX922" fmla="*/ 378249 w 507786"/>
                <a:gd name="connsiteY922" fmla="*/ 446798 h 683379"/>
                <a:gd name="connsiteX923" fmla="*/ 380242 w 507786"/>
                <a:gd name="connsiteY923" fmla="*/ 446798 h 683379"/>
                <a:gd name="connsiteX924" fmla="*/ 381637 w 507786"/>
                <a:gd name="connsiteY924" fmla="*/ 447693 h 683379"/>
                <a:gd name="connsiteX925" fmla="*/ 384228 w 507786"/>
                <a:gd name="connsiteY925" fmla="*/ 450280 h 683379"/>
                <a:gd name="connsiteX926" fmla="*/ 378747 w 507786"/>
                <a:gd name="connsiteY926" fmla="*/ 453961 h 683379"/>
                <a:gd name="connsiteX927" fmla="*/ 376954 w 507786"/>
                <a:gd name="connsiteY927" fmla="*/ 455652 h 683379"/>
                <a:gd name="connsiteX928" fmla="*/ 375559 w 507786"/>
                <a:gd name="connsiteY928" fmla="*/ 457742 h 683379"/>
                <a:gd name="connsiteX929" fmla="*/ 374961 w 507786"/>
                <a:gd name="connsiteY929" fmla="*/ 459930 h 683379"/>
                <a:gd name="connsiteX930" fmla="*/ 374961 w 507786"/>
                <a:gd name="connsiteY930" fmla="*/ 461920 h 683379"/>
                <a:gd name="connsiteX931" fmla="*/ 374961 w 507786"/>
                <a:gd name="connsiteY931" fmla="*/ 466696 h 683379"/>
                <a:gd name="connsiteX932" fmla="*/ 374961 w 507786"/>
                <a:gd name="connsiteY932" fmla="*/ 468486 h 683379"/>
                <a:gd name="connsiteX933" fmla="*/ 373965 w 507786"/>
                <a:gd name="connsiteY933" fmla="*/ 469879 h 683379"/>
                <a:gd name="connsiteX934" fmla="*/ 371673 w 507786"/>
                <a:gd name="connsiteY934" fmla="*/ 471670 h 683379"/>
                <a:gd name="connsiteX935" fmla="*/ 369281 w 507786"/>
                <a:gd name="connsiteY935" fmla="*/ 473063 h 683379"/>
                <a:gd name="connsiteX936" fmla="*/ 366790 w 507786"/>
                <a:gd name="connsiteY936" fmla="*/ 473958 h 683379"/>
                <a:gd name="connsiteX937" fmla="*/ 364100 w 507786"/>
                <a:gd name="connsiteY937" fmla="*/ 473958 h 683379"/>
                <a:gd name="connsiteX938" fmla="*/ 351245 w 507786"/>
                <a:gd name="connsiteY938" fmla="*/ 472565 h 683379"/>
                <a:gd name="connsiteX939" fmla="*/ 342576 w 507786"/>
                <a:gd name="connsiteY939" fmla="*/ 474854 h 683379"/>
                <a:gd name="connsiteX940" fmla="*/ 341680 w 507786"/>
                <a:gd name="connsiteY940" fmla="*/ 474854 h 683379"/>
                <a:gd name="connsiteX941" fmla="*/ 339986 w 507786"/>
                <a:gd name="connsiteY941" fmla="*/ 476545 h 683379"/>
                <a:gd name="connsiteX942" fmla="*/ 339189 w 507786"/>
                <a:gd name="connsiteY942" fmla="*/ 476545 h 683379"/>
                <a:gd name="connsiteX943" fmla="*/ 337993 w 507786"/>
                <a:gd name="connsiteY943" fmla="*/ 476545 h 683379"/>
                <a:gd name="connsiteX944" fmla="*/ 337993 w 507786"/>
                <a:gd name="connsiteY944" fmla="*/ 475749 h 683379"/>
                <a:gd name="connsiteX945" fmla="*/ 337993 w 507786"/>
                <a:gd name="connsiteY945" fmla="*/ 474555 h 683379"/>
                <a:gd name="connsiteX946" fmla="*/ 337993 w 507786"/>
                <a:gd name="connsiteY946" fmla="*/ 473262 h 683379"/>
                <a:gd name="connsiteX947" fmla="*/ 333609 w 507786"/>
                <a:gd name="connsiteY947" fmla="*/ 464905 h 683379"/>
                <a:gd name="connsiteX948" fmla="*/ 318961 w 507786"/>
                <a:gd name="connsiteY948" fmla="*/ 194995 h 683379"/>
                <a:gd name="connsiteX949" fmla="*/ 318961 w 507786"/>
                <a:gd name="connsiteY949" fmla="*/ 193702 h 683379"/>
                <a:gd name="connsiteX950" fmla="*/ 326833 w 507786"/>
                <a:gd name="connsiteY950" fmla="*/ 199074 h 683379"/>
                <a:gd name="connsiteX951" fmla="*/ 326235 w 507786"/>
                <a:gd name="connsiteY951" fmla="*/ 199870 h 683379"/>
                <a:gd name="connsiteX952" fmla="*/ 325637 w 507786"/>
                <a:gd name="connsiteY952" fmla="*/ 199870 h 683379"/>
                <a:gd name="connsiteX953" fmla="*/ 323445 w 507786"/>
                <a:gd name="connsiteY953" fmla="*/ 199870 h 683379"/>
                <a:gd name="connsiteX954" fmla="*/ 322449 w 507786"/>
                <a:gd name="connsiteY954" fmla="*/ 199174 h 683379"/>
                <a:gd name="connsiteX955" fmla="*/ 320156 w 507786"/>
                <a:gd name="connsiteY955" fmla="*/ 198179 h 683379"/>
                <a:gd name="connsiteX956" fmla="*/ 319160 w 507786"/>
                <a:gd name="connsiteY956" fmla="*/ 197483 h 683379"/>
                <a:gd name="connsiteX957" fmla="*/ 317965 w 507786"/>
                <a:gd name="connsiteY957" fmla="*/ 195891 h 683379"/>
                <a:gd name="connsiteX958" fmla="*/ 317965 w 507786"/>
                <a:gd name="connsiteY958" fmla="*/ 195194 h 683379"/>
                <a:gd name="connsiteX959" fmla="*/ 308498 w 507786"/>
                <a:gd name="connsiteY959" fmla="*/ 261453 h 683379"/>
                <a:gd name="connsiteX960" fmla="*/ 308498 w 507786"/>
                <a:gd name="connsiteY960" fmla="*/ 262945 h 683379"/>
                <a:gd name="connsiteX961" fmla="*/ 309096 w 507786"/>
                <a:gd name="connsiteY961" fmla="*/ 264338 h 683379"/>
                <a:gd name="connsiteX962" fmla="*/ 313680 w 507786"/>
                <a:gd name="connsiteY962" fmla="*/ 267820 h 683379"/>
                <a:gd name="connsiteX963" fmla="*/ 314477 w 507786"/>
                <a:gd name="connsiteY963" fmla="*/ 268517 h 683379"/>
                <a:gd name="connsiteX964" fmla="*/ 314477 w 507786"/>
                <a:gd name="connsiteY964" fmla="*/ 270407 h 683379"/>
                <a:gd name="connsiteX965" fmla="*/ 314477 w 507786"/>
                <a:gd name="connsiteY965" fmla="*/ 271004 h 683379"/>
                <a:gd name="connsiteX966" fmla="*/ 314477 w 507786"/>
                <a:gd name="connsiteY966" fmla="*/ 271004 h 683379"/>
                <a:gd name="connsiteX967" fmla="*/ 313481 w 507786"/>
                <a:gd name="connsiteY967" fmla="*/ 273192 h 683379"/>
                <a:gd name="connsiteX968" fmla="*/ 311986 w 507786"/>
                <a:gd name="connsiteY968" fmla="*/ 274287 h 683379"/>
                <a:gd name="connsiteX969" fmla="*/ 309993 w 507786"/>
                <a:gd name="connsiteY969" fmla="*/ 274983 h 683379"/>
                <a:gd name="connsiteX970" fmla="*/ 308000 w 507786"/>
                <a:gd name="connsiteY970" fmla="*/ 274983 h 683379"/>
                <a:gd name="connsiteX971" fmla="*/ 303118 w 507786"/>
                <a:gd name="connsiteY971" fmla="*/ 273789 h 683379"/>
                <a:gd name="connsiteX972" fmla="*/ 300128 w 507786"/>
                <a:gd name="connsiteY972" fmla="*/ 274386 h 683379"/>
                <a:gd name="connsiteX973" fmla="*/ 297836 w 507786"/>
                <a:gd name="connsiteY973" fmla="*/ 273391 h 683379"/>
                <a:gd name="connsiteX974" fmla="*/ 297039 w 507786"/>
                <a:gd name="connsiteY974" fmla="*/ 267920 h 683379"/>
                <a:gd name="connsiteX975" fmla="*/ 297737 w 507786"/>
                <a:gd name="connsiteY975" fmla="*/ 263642 h 683379"/>
                <a:gd name="connsiteX976" fmla="*/ 299530 w 507786"/>
                <a:gd name="connsiteY976" fmla="*/ 260060 h 683379"/>
                <a:gd name="connsiteX977" fmla="*/ 302221 w 507786"/>
                <a:gd name="connsiteY977" fmla="*/ 258170 h 683379"/>
                <a:gd name="connsiteX978" fmla="*/ 307303 w 507786"/>
                <a:gd name="connsiteY978" fmla="*/ 260160 h 683379"/>
                <a:gd name="connsiteX979" fmla="*/ 299730 w 507786"/>
                <a:gd name="connsiteY979" fmla="*/ 123961 h 683379"/>
                <a:gd name="connsiteX980" fmla="*/ 306207 w 507786"/>
                <a:gd name="connsiteY980" fmla="*/ 127145 h 683379"/>
                <a:gd name="connsiteX981" fmla="*/ 306207 w 507786"/>
                <a:gd name="connsiteY981" fmla="*/ 128438 h 683379"/>
                <a:gd name="connsiteX982" fmla="*/ 306207 w 507786"/>
                <a:gd name="connsiteY982" fmla="*/ 128438 h 683379"/>
                <a:gd name="connsiteX983" fmla="*/ 306207 w 507786"/>
                <a:gd name="connsiteY983" fmla="*/ 128438 h 683379"/>
                <a:gd name="connsiteX984" fmla="*/ 306207 w 507786"/>
                <a:gd name="connsiteY984" fmla="*/ 128438 h 683379"/>
                <a:gd name="connsiteX985" fmla="*/ 306207 w 507786"/>
                <a:gd name="connsiteY985" fmla="*/ 128438 h 683379"/>
                <a:gd name="connsiteX986" fmla="*/ 302121 w 507786"/>
                <a:gd name="connsiteY986" fmla="*/ 126449 h 683379"/>
                <a:gd name="connsiteX987" fmla="*/ 300427 w 507786"/>
                <a:gd name="connsiteY987" fmla="*/ 124857 h 683379"/>
                <a:gd name="connsiteX988" fmla="*/ 299231 w 507786"/>
                <a:gd name="connsiteY988" fmla="*/ 122270 h 683379"/>
                <a:gd name="connsiteX989" fmla="*/ 279801 w 507786"/>
                <a:gd name="connsiteY989" fmla="*/ 227130 h 683379"/>
                <a:gd name="connsiteX990" fmla="*/ 283288 w 507786"/>
                <a:gd name="connsiteY990" fmla="*/ 225140 h 683379"/>
                <a:gd name="connsiteX991" fmla="*/ 292356 w 507786"/>
                <a:gd name="connsiteY991" fmla="*/ 225140 h 683379"/>
                <a:gd name="connsiteX992" fmla="*/ 295843 w 507786"/>
                <a:gd name="connsiteY992" fmla="*/ 224046 h 683379"/>
                <a:gd name="connsiteX993" fmla="*/ 295345 w 507786"/>
                <a:gd name="connsiteY993" fmla="*/ 224941 h 683379"/>
                <a:gd name="connsiteX994" fmla="*/ 295345 w 507786"/>
                <a:gd name="connsiteY994" fmla="*/ 226632 h 683379"/>
                <a:gd name="connsiteX995" fmla="*/ 295345 w 507786"/>
                <a:gd name="connsiteY995" fmla="*/ 227528 h 683379"/>
                <a:gd name="connsiteX996" fmla="*/ 294548 w 507786"/>
                <a:gd name="connsiteY996" fmla="*/ 232602 h 683379"/>
                <a:gd name="connsiteX997" fmla="*/ 299530 w 507786"/>
                <a:gd name="connsiteY997" fmla="*/ 237178 h 683379"/>
                <a:gd name="connsiteX998" fmla="*/ 298733 w 507786"/>
                <a:gd name="connsiteY998" fmla="*/ 240959 h 683379"/>
                <a:gd name="connsiteX999" fmla="*/ 295744 w 507786"/>
                <a:gd name="connsiteY999" fmla="*/ 242749 h 683379"/>
                <a:gd name="connsiteX1000" fmla="*/ 291061 w 507786"/>
                <a:gd name="connsiteY1000" fmla="*/ 242749 h 683379"/>
                <a:gd name="connsiteX1001" fmla="*/ 286676 w 507786"/>
                <a:gd name="connsiteY1001" fmla="*/ 241257 h 683379"/>
                <a:gd name="connsiteX1002" fmla="*/ 283189 w 507786"/>
                <a:gd name="connsiteY1002" fmla="*/ 234989 h 683379"/>
                <a:gd name="connsiteX1003" fmla="*/ 280000 w 507786"/>
                <a:gd name="connsiteY1003" fmla="*/ 233398 h 683379"/>
                <a:gd name="connsiteX1004" fmla="*/ 278107 w 507786"/>
                <a:gd name="connsiteY1004" fmla="*/ 231308 h 683379"/>
                <a:gd name="connsiteX1005" fmla="*/ 148270 w 507786"/>
                <a:gd name="connsiteY1005" fmla="*/ 48052 h 683379"/>
                <a:gd name="connsiteX1006" fmla="*/ 149068 w 507786"/>
                <a:gd name="connsiteY1006" fmla="*/ 46660 h 683379"/>
                <a:gd name="connsiteX1007" fmla="*/ 150164 w 507786"/>
                <a:gd name="connsiteY1007" fmla="*/ 47356 h 683379"/>
                <a:gd name="connsiteX1008" fmla="*/ 150762 w 507786"/>
                <a:gd name="connsiteY1008" fmla="*/ 49346 h 683379"/>
                <a:gd name="connsiteX1009" fmla="*/ 150762 w 507786"/>
                <a:gd name="connsiteY1009" fmla="*/ 51236 h 683379"/>
                <a:gd name="connsiteX1010" fmla="*/ 150263 w 507786"/>
                <a:gd name="connsiteY1010" fmla="*/ 53126 h 683379"/>
                <a:gd name="connsiteX1011" fmla="*/ 149666 w 507786"/>
                <a:gd name="connsiteY1011" fmla="*/ 54121 h 683379"/>
                <a:gd name="connsiteX1012" fmla="*/ 149168 w 507786"/>
                <a:gd name="connsiteY1012" fmla="*/ 54121 h 683379"/>
                <a:gd name="connsiteX1013" fmla="*/ 148370 w 507786"/>
                <a:gd name="connsiteY1013" fmla="*/ 54121 h 683379"/>
                <a:gd name="connsiteX1014" fmla="*/ 148370 w 507786"/>
                <a:gd name="connsiteY1014" fmla="*/ 52330 h 683379"/>
                <a:gd name="connsiteX1015" fmla="*/ 148370 w 507786"/>
                <a:gd name="connsiteY1015" fmla="*/ 48152 h 683379"/>
                <a:gd name="connsiteX1016" fmla="*/ 50121 w 507786"/>
                <a:gd name="connsiteY1016" fmla="*/ 258269 h 683379"/>
                <a:gd name="connsiteX1017" fmla="*/ 53310 w 507786"/>
                <a:gd name="connsiteY1017" fmla="*/ 257274 h 683379"/>
                <a:gd name="connsiteX1018" fmla="*/ 63274 w 507786"/>
                <a:gd name="connsiteY1018" fmla="*/ 258269 h 683379"/>
                <a:gd name="connsiteX1019" fmla="*/ 66264 w 507786"/>
                <a:gd name="connsiteY1019" fmla="*/ 257772 h 683379"/>
                <a:gd name="connsiteX1020" fmla="*/ 77723 w 507786"/>
                <a:gd name="connsiteY1020" fmla="*/ 253494 h 683379"/>
                <a:gd name="connsiteX1021" fmla="*/ 84299 w 507786"/>
                <a:gd name="connsiteY1021" fmla="*/ 252300 h 683379"/>
                <a:gd name="connsiteX1022" fmla="*/ 99445 w 507786"/>
                <a:gd name="connsiteY1022" fmla="*/ 252300 h 683379"/>
                <a:gd name="connsiteX1023" fmla="*/ 108413 w 507786"/>
                <a:gd name="connsiteY1023" fmla="*/ 249514 h 683379"/>
                <a:gd name="connsiteX1024" fmla="*/ 140100 w 507786"/>
                <a:gd name="connsiteY1024" fmla="*/ 252400 h 683379"/>
                <a:gd name="connsiteX1025" fmla="*/ 146676 w 507786"/>
                <a:gd name="connsiteY1025" fmla="*/ 254190 h 683379"/>
                <a:gd name="connsiteX1026" fmla="*/ 161424 w 507786"/>
                <a:gd name="connsiteY1026" fmla="*/ 267721 h 683379"/>
                <a:gd name="connsiteX1027" fmla="*/ 164114 w 507786"/>
                <a:gd name="connsiteY1027" fmla="*/ 269511 h 683379"/>
                <a:gd name="connsiteX1028" fmla="*/ 165011 w 507786"/>
                <a:gd name="connsiteY1028" fmla="*/ 270407 h 683379"/>
                <a:gd name="connsiteX1029" fmla="*/ 166206 w 507786"/>
                <a:gd name="connsiteY1029" fmla="*/ 271999 h 683379"/>
                <a:gd name="connsiteX1030" fmla="*/ 168797 w 507786"/>
                <a:gd name="connsiteY1030" fmla="*/ 277470 h 683379"/>
                <a:gd name="connsiteX1031" fmla="*/ 170491 w 507786"/>
                <a:gd name="connsiteY1031" fmla="*/ 279062 h 683379"/>
                <a:gd name="connsiteX1032" fmla="*/ 177566 w 507786"/>
                <a:gd name="connsiteY1032" fmla="*/ 284136 h 683379"/>
                <a:gd name="connsiteX1033" fmla="*/ 190121 w 507786"/>
                <a:gd name="connsiteY1033" fmla="*/ 298761 h 683379"/>
                <a:gd name="connsiteX1034" fmla="*/ 191516 w 507786"/>
                <a:gd name="connsiteY1034" fmla="*/ 301148 h 683379"/>
                <a:gd name="connsiteX1035" fmla="*/ 192712 w 507786"/>
                <a:gd name="connsiteY1035" fmla="*/ 303934 h 683379"/>
                <a:gd name="connsiteX1036" fmla="*/ 197196 w 507786"/>
                <a:gd name="connsiteY1036" fmla="*/ 313883 h 683379"/>
                <a:gd name="connsiteX1037" fmla="*/ 197894 w 507786"/>
                <a:gd name="connsiteY1037" fmla="*/ 316569 h 683379"/>
                <a:gd name="connsiteX1038" fmla="*/ 202975 w 507786"/>
                <a:gd name="connsiteY1038" fmla="*/ 328309 h 683379"/>
                <a:gd name="connsiteX1039" fmla="*/ 204071 w 507786"/>
                <a:gd name="connsiteY1039" fmla="*/ 334974 h 683379"/>
                <a:gd name="connsiteX1040" fmla="*/ 199587 w 507786"/>
                <a:gd name="connsiteY1040" fmla="*/ 338655 h 683379"/>
                <a:gd name="connsiteX1041" fmla="*/ 200285 w 507786"/>
                <a:gd name="connsiteY1041" fmla="*/ 342336 h 683379"/>
                <a:gd name="connsiteX1042" fmla="*/ 197993 w 507786"/>
                <a:gd name="connsiteY1042" fmla="*/ 343232 h 683379"/>
                <a:gd name="connsiteX1043" fmla="*/ 194705 w 507786"/>
                <a:gd name="connsiteY1043" fmla="*/ 342336 h 683379"/>
                <a:gd name="connsiteX1044" fmla="*/ 189523 w 507786"/>
                <a:gd name="connsiteY1044" fmla="*/ 338357 h 683379"/>
                <a:gd name="connsiteX1045" fmla="*/ 158634 w 507786"/>
                <a:gd name="connsiteY1045" fmla="*/ 332885 h 683379"/>
                <a:gd name="connsiteX1046" fmla="*/ 142790 w 507786"/>
                <a:gd name="connsiteY1046" fmla="*/ 324031 h 683379"/>
                <a:gd name="connsiteX1047" fmla="*/ 125751 w 507786"/>
                <a:gd name="connsiteY1047" fmla="*/ 316867 h 683379"/>
                <a:gd name="connsiteX1048" fmla="*/ 102534 w 507786"/>
                <a:gd name="connsiteY1048" fmla="*/ 313783 h 683379"/>
                <a:gd name="connsiteX1049" fmla="*/ 79715 w 507786"/>
                <a:gd name="connsiteY1049" fmla="*/ 306421 h 683379"/>
                <a:gd name="connsiteX1050" fmla="*/ 61580 w 507786"/>
                <a:gd name="connsiteY1050" fmla="*/ 299656 h 683379"/>
                <a:gd name="connsiteX1051" fmla="*/ 41651 w 507786"/>
                <a:gd name="connsiteY1051" fmla="*/ 293985 h 683379"/>
                <a:gd name="connsiteX1052" fmla="*/ 33481 w 507786"/>
                <a:gd name="connsiteY1052" fmla="*/ 287718 h 683379"/>
                <a:gd name="connsiteX1053" fmla="*/ 27602 w 507786"/>
                <a:gd name="connsiteY1053" fmla="*/ 285529 h 683379"/>
                <a:gd name="connsiteX1054" fmla="*/ 28698 w 507786"/>
                <a:gd name="connsiteY1054" fmla="*/ 282544 h 683379"/>
                <a:gd name="connsiteX1055" fmla="*/ 33879 w 507786"/>
                <a:gd name="connsiteY1055" fmla="*/ 277271 h 683379"/>
                <a:gd name="connsiteX1056" fmla="*/ 34577 w 507786"/>
                <a:gd name="connsiteY1056" fmla="*/ 276277 h 683379"/>
                <a:gd name="connsiteX1057" fmla="*/ 37466 w 507786"/>
                <a:gd name="connsiteY1057" fmla="*/ 270705 h 683379"/>
                <a:gd name="connsiteX1058" fmla="*/ 42648 w 507786"/>
                <a:gd name="connsiteY1058" fmla="*/ 264338 h 683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</a:cxnLst>
              <a:rect l="l" t="t" r="r" b="b"/>
              <a:pathLst>
                <a:path w="507786" h="683379">
                  <a:moveTo>
                    <a:pt x="15544" y="10347"/>
                  </a:moveTo>
                  <a:lnTo>
                    <a:pt x="7673" y="27956"/>
                  </a:lnTo>
                  <a:lnTo>
                    <a:pt x="5281" y="37308"/>
                  </a:lnTo>
                  <a:lnTo>
                    <a:pt x="2990" y="42083"/>
                  </a:lnTo>
                  <a:lnTo>
                    <a:pt x="2990" y="44073"/>
                  </a:lnTo>
                  <a:lnTo>
                    <a:pt x="2990" y="44968"/>
                  </a:lnTo>
                  <a:lnTo>
                    <a:pt x="797" y="47257"/>
                  </a:lnTo>
                  <a:lnTo>
                    <a:pt x="0" y="48251"/>
                  </a:lnTo>
                  <a:lnTo>
                    <a:pt x="698" y="53325"/>
                  </a:lnTo>
                  <a:lnTo>
                    <a:pt x="698" y="54320"/>
                  </a:lnTo>
                  <a:lnTo>
                    <a:pt x="2192" y="55017"/>
                  </a:lnTo>
                  <a:lnTo>
                    <a:pt x="2192" y="56807"/>
                  </a:lnTo>
                  <a:lnTo>
                    <a:pt x="2192" y="60488"/>
                  </a:lnTo>
                  <a:lnTo>
                    <a:pt x="2192" y="72725"/>
                  </a:lnTo>
                  <a:lnTo>
                    <a:pt x="2192" y="75610"/>
                  </a:lnTo>
                  <a:lnTo>
                    <a:pt x="3089" y="77998"/>
                  </a:lnTo>
                  <a:lnTo>
                    <a:pt x="4384" y="80187"/>
                  </a:lnTo>
                  <a:lnTo>
                    <a:pt x="9267" y="86554"/>
                  </a:lnTo>
                  <a:lnTo>
                    <a:pt x="9267" y="88842"/>
                  </a:lnTo>
                  <a:lnTo>
                    <a:pt x="7573" y="91130"/>
                  </a:lnTo>
                  <a:lnTo>
                    <a:pt x="8968" y="92026"/>
                  </a:lnTo>
                  <a:lnTo>
                    <a:pt x="10363" y="92026"/>
                  </a:lnTo>
                  <a:lnTo>
                    <a:pt x="11858" y="92026"/>
                  </a:lnTo>
                  <a:lnTo>
                    <a:pt x="13552" y="92026"/>
                  </a:lnTo>
                  <a:lnTo>
                    <a:pt x="15046" y="92523"/>
                  </a:lnTo>
                  <a:lnTo>
                    <a:pt x="16342" y="93419"/>
                  </a:lnTo>
                  <a:lnTo>
                    <a:pt x="23616" y="100084"/>
                  </a:lnTo>
                  <a:lnTo>
                    <a:pt x="25310" y="102671"/>
                  </a:lnTo>
                  <a:lnTo>
                    <a:pt x="33481" y="128637"/>
                  </a:lnTo>
                  <a:lnTo>
                    <a:pt x="35772" y="132219"/>
                  </a:lnTo>
                  <a:lnTo>
                    <a:pt x="36470" y="134209"/>
                  </a:lnTo>
                  <a:lnTo>
                    <a:pt x="38064" y="143361"/>
                  </a:lnTo>
                  <a:lnTo>
                    <a:pt x="39260" y="145451"/>
                  </a:lnTo>
                  <a:lnTo>
                    <a:pt x="40057" y="147540"/>
                  </a:lnTo>
                  <a:lnTo>
                    <a:pt x="40057" y="152315"/>
                  </a:lnTo>
                  <a:lnTo>
                    <a:pt x="38363" y="159478"/>
                  </a:lnTo>
                  <a:lnTo>
                    <a:pt x="37566" y="161866"/>
                  </a:lnTo>
                  <a:lnTo>
                    <a:pt x="32783" y="171019"/>
                  </a:lnTo>
                  <a:lnTo>
                    <a:pt x="31089" y="172710"/>
                  </a:lnTo>
                  <a:lnTo>
                    <a:pt x="30292" y="176690"/>
                  </a:lnTo>
                  <a:lnTo>
                    <a:pt x="29595" y="181167"/>
                  </a:lnTo>
                  <a:lnTo>
                    <a:pt x="28797" y="184350"/>
                  </a:lnTo>
                  <a:lnTo>
                    <a:pt x="30392" y="186937"/>
                  </a:lnTo>
                  <a:lnTo>
                    <a:pt x="30392" y="189623"/>
                  </a:lnTo>
                  <a:lnTo>
                    <a:pt x="30392" y="192409"/>
                  </a:lnTo>
                  <a:lnTo>
                    <a:pt x="30392" y="195095"/>
                  </a:lnTo>
                  <a:lnTo>
                    <a:pt x="30890" y="198179"/>
                  </a:lnTo>
                  <a:lnTo>
                    <a:pt x="31786" y="201363"/>
                  </a:lnTo>
                  <a:lnTo>
                    <a:pt x="32982" y="204248"/>
                  </a:lnTo>
                  <a:lnTo>
                    <a:pt x="36669" y="210913"/>
                  </a:lnTo>
                  <a:lnTo>
                    <a:pt x="38463" y="215888"/>
                  </a:lnTo>
                  <a:lnTo>
                    <a:pt x="42648" y="236382"/>
                  </a:lnTo>
                  <a:lnTo>
                    <a:pt x="42648" y="240063"/>
                  </a:lnTo>
                  <a:lnTo>
                    <a:pt x="42648" y="242152"/>
                  </a:lnTo>
                  <a:lnTo>
                    <a:pt x="39957" y="245336"/>
                  </a:lnTo>
                  <a:lnTo>
                    <a:pt x="33779" y="250111"/>
                  </a:lnTo>
                  <a:lnTo>
                    <a:pt x="32086" y="250708"/>
                  </a:lnTo>
                  <a:lnTo>
                    <a:pt x="29993" y="250708"/>
                  </a:lnTo>
                  <a:lnTo>
                    <a:pt x="27502" y="251604"/>
                  </a:lnTo>
                  <a:lnTo>
                    <a:pt x="25908" y="253096"/>
                  </a:lnTo>
                  <a:lnTo>
                    <a:pt x="26506" y="255185"/>
                  </a:lnTo>
                  <a:lnTo>
                    <a:pt x="22420" y="265731"/>
                  </a:lnTo>
                  <a:lnTo>
                    <a:pt x="20926" y="271203"/>
                  </a:lnTo>
                  <a:lnTo>
                    <a:pt x="19231" y="284733"/>
                  </a:lnTo>
                  <a:lnTo>
                    <a:pt x="19929" y="287220"/>
                  </a:lnTo>
                  <a:lnTo>
                    <a:pt x="21124" y="289409"/>
                  </a:lnTo>
                  <a:lnTo>
                    <a:pt x="21722" y="291996"/>
                  </a:lnTo>
                  <a:lnTo>
                    <a:pt x="21722" y="294383"/>
                  </a:lnTo>
                  <a:lnTo>
                    <a:pt x="19830" y="296274"/>
                  </a:lnTo>
                  <a:lnTo>
                    <a:pt x="23118" y="297965"/>
                  </a:lnTo>
                  <a:lnTo>
                    <a:pt x="28000" y="303536"/>
                  </a:lnTo>
                  <a:lnTo>
                    <a:pt x="33082" y="305128"/>
                  </a:lnTo>
                  <a:lnTo>
                    <a:pt x="34377" y="306222"/>
                  </a:lnTo>
                  <a:lnTo>
                    <a:pt x="35473" y="307416"/>
                  </a:lnTo>
                  <a:lnTo>
                    <a:pt x="36271" y="308212"/>
                  </a:lnTo>
                  <a:lnTo>
                    <a:pt x="42150" y="309505"/>
                  </a:lnTo>
                  <a:lnTo>
                    <a:pt x="44043" y="310699"/>
                  </a:lnTo>
                  <a:lnTo>
                    <a:pt x="52712" y="318061"/>
                  </a:lnTo>
                  <a:lnTo>
                    <a:pt x="59488" y="325821"/>
                  </a:lnTo>
                  <a:lnTo>
                    <a:pt x="60883" y="328706"/>
                  </a:lnTo>
                  <a:lnTo>
                    <a:pt x="59786" y="331094"/>
                  </a:lnTo>
                  <a:lnTo>
                    <a:pt x="63075" y="334676"/>
                  </a:lnTo>
                  <a:lnTo>
                    <a:pt x="68356" y="346515"/>
                  </a:lnTo>
                  <a:lnTo>
                    <a:pt x="72441" y="349002"/>
                  </a:lnTo>
                  <a:lnTo>
                    <a:pt x="76726" y="350693"/>
                  </a:lnTo>
                  <a:lnTo>
                    <a:pt x="81310" y="354673"/>
                  </a:lnTo>
                  <a:lnTo>
                    <a:pt x="94662" y="372083"/>
                  </a:lnTo>
                  <a:lnTo>
                    <a:pt x="98548" y="376062"/>
                  </a:lnTo>
                  <a:lnTo>
                    <a:pt x="102733" y="377754"/>
                  </a:lnTo>
                  <a:lnTo>
                    <a:pt x="112697" y="385613"/>
                  </a:lnTo>
                  <a:lnTo>
                    <a:pt x="113594" y="387603"/>
                  </a:lnTo>
                  <a:lnTo>
                    <a:pt x="113594" y="390090"/>
                  </a:lnTo>
                  <a:lnTo>
                    <a:pt x="111701" y="393274"/>
                  </a:lnTo>
                  <a:lnTo>
                    <a:pt x="112797" y="396159"/>
                  </a:lnTo>
                  <a:lnTo>
                    <a:pt x="114292" y="403521"/>
                  </a:lnTo>
                  <a:lnTo>
                    <a:pt x="115687" y="405013"/>
                  </a:lnTo>
                  <a:lnTo>
                    <a:pt x="117281" y="405909"/>
                  </a:lnTo>
                  <a:lnTo>
                    <a:pt x="122463" y="410286"/>
                  </a:lnTo>
                  <a:lnTo>
                    <a:pt x="123957" y="412176"/>
                  </a:lnTo>
                  <a:lnTo>
                    <a:pt x="110904" y="409888"/>
                  </a:lnTo>
                  <a:lnTo>
                    <a:pt x="107715" y="409888"/>
                  </a:lnTo>
                  <a:lnTo>
                    <a:pt x="93168" y="416355"/>
                  </a:lnTo>
                  <a:lnTo>
                    <a:pt x="91374" y="416355"/>
                  </a:lnTo>
                  <a:lnTo>
                    <a:pt x="90278" y="419340"/>
                  </a:lnTo>
                  <a:lnTo>
                    <a:pt x="89082" y="420533"/>
                  </a:lnTo>
                  <a:lnTo>
                    <a:pt x="84299" y="419439"/>
                  </a:lnTo>
                  <a:lnTo>
                    <a:pt x="81609" y="418444"/>
                  </a:lnTo>
                  <a:lnTo>
                    <a:pt x="78021" y="419240"/>
                  </a:lnTo>
                  <a:lnTo>
                    <a:pt x="74335" y="421230"/>
                  </a:lnTo>
                  <a:lnTo>
                    <a:pt x="71744" y="423518"/>
                  </a:lnTo>
                  <a:lnTo>
                    <a:pt x="74534" y="422822"/>
                  </a:lnTo>
                  <a:lnTo>
                    <a:pt x="75830" y="422125"/>
                  </a:lnTo>
                  <a:lnTo>
                    <a:pt x="77025" y="421230"/>
                  </a:lnTo>
                  <a:lnTo>
                    <a:pt x="77822" y="422424"/>
                  </a:lnTo>
                  <a:lnTo>
                    <a:pt x="74035" y="426005"/>
                  </a:lnTo>
                  <a:lnTo>
                    <a:pt x="70050" y="430681"/>
                  </a:lnTo>
                  <a:lnTo>
                    <a:pt x="73139" y="430681"/>
                  </a:lnTo>
                  <a:lnTo>
                    <a:pt x="76427" y="429786"/>
                  </a:lnTo>
                  <a:lnTo>
                    <a:pt x="79417" y="428094"/>
                  </a:lnTo>
                  <a:lnTo>
                    <a:pt x="84199" y="423319"/>
                  </a:lnTo>
                  <a:lnTo>
                    <a:pt x="87288" y="422424"/>
                  </a:lnTo>
                  <a:lnTo>
                    <a:pt x="117182" y="422424"/>
                  </a:lnTo>
                  <a:lnTo>
                    <a:pt x="123161" y="425707"/>
                  </a:lnTo>
                  <a:lnTo>
                    <a:pt x="126648" y="430880"/>
                  </a:lnTo>
                  <a:lnTo>
                    <a:pt x="132626" y="441824"/>
                  </a:lnTo>
                  <a:lnTo>
                    <a:pt x="137110" y="445903"/>
                  </a:lnTo>
                  <a:lnTo>
                    <a:pt x="147772" y="448191"/>
                  </a:lnTo>
                  <a:lnTo>
                    <a:pt x="152555" y="451673"/>
                  </a:lnTo>
                  <a:lnTo>
                    <a:pt x="162519" y="456548"/>
                  </a:lnTo>
                  <a:lnTo>
                    <a:pt x="165908" y="456548"/>
                  </a:lnTo>
                  <a:lnTo>
                    <a:pt x="168000" y="455155"/>
                  </a:lnTo>
                  <a:lnTo>
                    <a:pt x="169794" y="455155"/>
                  </a:lnTo>
                  <a:lnTo>
                    <a:pt x="172385" y="457742"/>
                  </a:lnTo>
                  <a:lnTo>
                    <a:pt x="175075" y="459930"/>
                  </a:lnTo>
                  <a:lnTo>
                    <a:pt x="182050" y="462020"/>
                  </a:lnTo>
                  <a:lnTo>
                    <a:pt x="184939" y="464208"/>
                  </a:lnTo>
                  <a:lnTo>
                    <a:pt x="185737" y="465601"/>
                  </a:lnTo>
                  <a:lnTo>
                    <a:pt x="187630" y="470277"/>
                  </a:lnTo>
                  <a:lnTo>
                    <a:pt x="190619" y="475152"/>
                  </a:lnTo>
                  <a:lnTo>
                    <a:pt x="191117" y="476843"/>
                  </a:lnTo>
                  <a:lnTo>
                    <a:pt x="192314" y="480226"/>
                  </a:lnTo>
                  <a:lnTo>
                    <a:pt x="195303" y="482415"/>
                  </a:lnTo>
                  <a:lnTo>
                    <a:pt x="201580" y="484504"/>
                  </a:lnTo>
                  <a:lnTo>
                    <a:pt x="202377" y="484504"/>
                  </a:lnTo>
                  <a:lnTo>
                    <a:pt x="204270" y="484504"/>
                  </a:lnTo>
                  <a:lnTo>
                    <a:pt x="205068" y="484504"/>
                  </a:lnTo>
                  <a:lnTo>
                    <a:pt x="205068" y="485200"/>
                  </a:lnTo>
                  <a:lnTo>
                    <a:pt x="205068" y="486494"/>
                  </a:lnTo>
                  <a:lnTo>
                    <a:pt x="205068" y="486991"/>
                  </a:lnTo>
                  <a:lnTo>
                    <a:pt x="209652" y="489976"/>
                  </a:lnTo>
                  <a:lnTo>
                    <a:pt x="210747" y="490970"/>
                  </a:lnTo>
                  <a:lnTo>
                    <a:pt x="214335" y="495049"/>
                  </a:lnTo>
                  <a:lnTo>
                    <a:pt x="218918" y="498730"/>
                  </a:lnTo>
                  <a:lnTo>
                    <a:pt x="220812" y="500820"/>
                  </a:lnTo>
                  <a:lnTo>
                    <a:pt x="224997" y="506988"/>
                  </a:lnTo>
                  <a:lnTo>
                    <a:pt x="226392" y="508281"/>
                  </a:lnTo>
                  <a:lnTo>
                    <a:pt x="227787" y="508281"/>
                  </a:lnTo>
                  <a:lnTo>
                    <a:pt x="229181" y="509177"/>
                  </a:lnTo>
                  <a:lnTo>
                    <a:pt x="231573" y="511962"/>
                  </a:lnTo>
                  <a:lnTo>
                    <a:pt x="232868" y="514052"/>
                  </a:lnTo>
                  <a:lnTo>
                    <a:pt x="232868" y="515245"/>
                  </a:lnTo>
                  <a:lnTo>
                    <a:pt x="232868" y="516340"/>
                  </a:lnTo>
                  <a:lnTo>
                    <a:pt x="232868" y="518429"/>
                  </a:lnTo>
                  <a:lnTo>
                    <a:pt x="233965" y="521911"/>
                  </a:lnTo>
                  <a:lnTo>
                    <a:pt x="237352" y="529273"/>
                  </a:lnTo>
                  <a:lnTo>
                    <a:pt x="238548" y="534844"/>
                  </a:lnTo>
                  <a:lnTo>
                    <a:pt x="242334" y="544793"/>
                  </a:lnTo>
                  <a:lnTo>
                    <a:pt x="243730" y="547081"/>
                  </a:lnTo>
                  <a:lnTo>
                    <a:pt x="245822" y="549768"/>
                  </a:lnTo>
                  <a:lnTo>
                    <a:pt x="248214" y="552056"/>
                  </a:lnTo>
                  <a:lnTo>
                    <a:pt x="250605" y="552951"/>
                  </a:lnTo>
                  <a:lnTo>
                    <a:pt x="252399" y="554742"/>
                  </a:lnTo>
                  <a:lnTo>
                    <a:pt x="252399" y="558622"/>
                  </a:lnTo>
                  <a:lnTo>
                    <a:pt x="252399" y="565984"/>
                  </a:lnTo>
                  <a:lnTo>
                    <a:pt x="253594" y="572451"/>
                  </a:lnTo>
                  <a:lnTo>
                    <a:pt x="253594" y="575336"/>
                  </a:lnTo>
                  <a:lnTo>
                    <a:pt x="251402" y="576629"/>
                  </a:lnTo>
                  <a:lnTo>
                    <a:pt x="248612" y="576629"/>
                  </a:lnTo>
                  <a:lnTo>
                    <a:pt x="233965" y="582300"/>
                  </a:lnTo>
                  <a:lnTo>
                    <a:pt x="228484" y="585683"/>
                  </a:lnTo>
                  <a:lnTo>
                    <a:pt x="223303" y="589861"/>
                  </a:lnTo>
                  <a:lnTo>
                    <a:pt x="218719" y="595034"/>
                  </a:lnTo>
                  <a:lnTo>
                    <a:pt x="218121" y="596328"/>
                  </a:lnTo>
                  <a:lnTo>
                    <a:pt x="216627" y="600009"/>
                  </a:lnTo>
                  <a:lnTo>
                    <a:pt x="215829" y="601501"/>
                  </a:lnTo>
                  <a:lnTo>
                    <a:pt x="214534" y="603192"/>
                  </a:lnTo>
                  <a:lnTo>
                    <a:pt x="213537" y="604088"/>
                  </a:lnTo>
                  <a:lnTo>
                    <a:pt x="211046" y="605679"/>
                  </a:lnTo>
                  <a:lnTo>
                    <a:pt x="201779" y="609560"/>
                  </a:lnTo>
                  <a:lnTo>
                    <a:pt x="198790" y="611549"/>
                  </a:lnTo>
                  <a:lnTo>
                    <a:pt x="197395" y="613340"/>
                  </a:lnTo>
                  <a:lnTo>
                    <a:pt x="194007" y="619210"/>
                  </a:lnTo>
                  <a:lnTo>
                    <a:pt x="192812" y="620404"/>
                  </a:lnTo>
                  <a:lnTo>
                    <a:pt x="185537" y="623587"/>
                  </a:lnTo>
                  <a:lnTo>
                    <a:pt x="183246" y="625279"/>
                  </a:lnTo>
                  <a:lnTo>
                    <a:pt x="181352" y="627467"/>
                  </a:lnTo>
                  <a:lnTo>
                    <a:pt x="179758" y="630253"/>
                  </a:lnTo>
                  <a:lnTo>
                    <a:pt x="184143" y="629556"/>
                  </a:lnTo>
                  <a:lnTo>
                    <a:pt x="186335" y="628661"/>
                  </a:lnTo>
                  <a:lnTo>
                    <a:pt x="188925" y="626870"/>
                  </a:lnTo>
                  <a:lnTo>
                    <a:pt x="189623" y="627467"/>
                  </a:lnTo>
                  <a:lnTo>
                    <a:pt x="190121" y="628761"/>
                  </a:lnTo>
                  <a:lnTo>
                    <a:pt x="190121" y="630253"/>
                  </a:lnTo>
                  <a:lnTo>
                    <a:pt x="189623" y="630949"/>
                  </a:lnTo>
                  <a:lnTo>
                    <a:pt x="186634" y="633834"/>
                  </a:lnTo>
                  <a:lnTo>
                    <a:pt x="187530" y="634929"/>
                  </a:lnTo>
                  <a:lnTo>
                    <a:pt x="191815" y="631148"/>
                  </a:lnTo>
                  <a:lnTo>
                    <a:pt x="196797" y="620006"/>
                  </a:lnTo>
                  <a:lnTo>
                    <a:pt x="200584" y="615131"/>
                  </a:lnTo>
                  <a:lnTo>
                    <a:pt x="203673" y="613837"/>
                  </a:lnTo>
                  <a:lnTo>
                    <a:pt x="210448" y="613837"/>
                  </a:lnTo>
                  <a:lnTo>
                    <a:pt x="213637" y="612644"/>
                  </a:lnTo>
                  <a:lnTo>
                    <a:pt x="217822" y="610057"/>
                  </a:lnTo>
                  <a:lnTo>
                    <a:pt x="219217" y="610057"/>
                  </a:lnTo>
                  <a:lnTo>
                    <a:pt x="220712" y="609560"/>
                  </a:lnTo>
                  <a:lnTo>
                    <a:pt x="221609" y="608266"/>
                  </a:lnTo>
                  <a:lnTo>
                    <a:pt x="222306" y="606674"/>
                  </a:lnTo>
                  <a:lnTo>
                    <a:pt x="223203" y="605381"/>
                  </a:lnTo>
                  <a:lnTo>
                    <a:pt x="231374" y="599710"/>
                  </a:lnTo>
                  <a:lnTo>
                    <a:pt x="232769" y="597820"/>
                  </a:lnTo>
                  <a:lnTo>
                    <a:pt x="233765" y="594736"/>
                  </a:lnTo>
                  <a:lnTo>
                    <a:pt x="236157" y="591751"/>
                  </a:lnTo>
                  <a:lnTo>
                    <a:pt x="241438" y="587672"/>
                  </a:lnTo>
                  <a:lnTo>
                    <a:pt x="250705" y="583195"/>
                  </a:lnTo>
                  <a:lnTo>
                    <a:pt x="256085" y="579017"/>
                  </a:lnTo>
                  <a:lnTo>
                    <a:pt x="259274" y="579017"/>
                  </a:lnTo>
                  <a:lnTo>
                    <a:pt x="276214" y="583593"/>
                  </a:lnTo>
                  <a:lnTo>
                    <a:pt x="279601" y="585185"/>
                  </a:lnTo>
                  <a:lnTo>
                    <a:pt x="283089" y="586279"/>
                  </a:lnTo>
                  <a:lnTo>
                    <a:pt x="290761" y="586279"/>
                  </a:lnTo>
                  <a:lnTo>
                    <a:pt x="294349" y="587175"/>
                  </a:lnTo>
                  <a:lnTo>
                    <a:pt x="295843" y="588369"/>
                  </a:lnTo>
                  <a:lnTo>
                    <a:pt x="297836" y="591154"/>
                  </a:lnTo>
                  <a:lnTo>
                    <a:pt x="299530" y="592050"/>
                  </a:lnTo>
                  <a:lnTo>
                    <a:pt x="307003" y="593144"/>
                  </a:lnTo>
                  <a:lnTo>
                    <a:pt x="309794" y="594238"/>
                  </a:lnTo>
                  <a:lnTo>
                    <a:pt x="317765" y="602496"/>
                  </a:lnTo>
                  <a:lnTo>
                    <a:pt x="323545" y="606575"/>
                  </a:lnTo>
                  <a:lnTo>
                    <a:pt x="335402" y="612644"/>
                  </a:lnTo>
                  <a:lnTo>
                    <a:pt x="340484" y="616723"/>
                  </a:lnTo>
                  <a:lnTo>
                    <a:pt x="345367" y="626671"/>
                  </a:lnTo>
                  <a:lnTo>
                    <a:pt x="346861" y="628263"/>
                  </a:lnTo>
                  <a:lnTo>
                    <a:pt x="349153" y="629159"/>
                  </a:lnTo>
                  <a:lnTo>
                    <a:pt x="363303" y="638908"/>
                  </a:lnTo>
                  <a:lnTo>
                    <a:pt x="369480" y="646171"/>
                  </a:lnTo>
                  <a:lnTo>
                    <a:pt x="382235" y="661193"/>
                  </a:lnTo>
                  <a:lnTo>
                    <a:pt x="383231" y="663482"/>
                  </a:lnTo>
                  <a:lnTo>
                    <a:pt x="385025" y="668058"/>
                  </a:lnTo>
                  <a:lnTo>
                    <a:pt x="386121" y="670048"/>
                  </a:lnTo>
                  <a:lnTo>
                    <a:pt x="390405" y="674226"/>
                  </a:lnTo>
                  <a:lnTo>
                    <a:pt x="390405" y="675918"/>
                  </a:lnTo>
                  <a:lnTo>
                    <a:pt x="390405" y="678305"/>
                  </a:lnTo>
                  <a:lnTo>
                    <a:pt x="390405" y="680593"/>
                  </a:lnTo>
                  <a:lnTo>
                    <a:pt x="391103" y="682285"/>
                  </a:lnTo>
                  <a:lnTo>
                    <a:pt x="392797" y="683379"/>
                  </a:lnTo>
                  <a:lnTo>
                    <a:pt x="392797" y="676316"/>
                  </a:lnTo>
                  <a:lnTo>
                    <a:pt x="392200" y="672336"/>
                  </a:lnTo>
                  <a:lnTo>
                    <a:pt x="389907" y="670545"/>
                  </a:lnTo>
                  <a:lnTo>
                    <a:pt x="388413" y="668953"/>
                  </a:lnTo>
                  <a:lnTo>
                    <a:pt x="383331" y="659005"/>
                  </a:lnTo>
                  <a:lnTo>
                    <a:pt x="379046" y="653234"/>
                  </a:lnTo>
                  <a:lnTo>
                    <a:pt x="376456" y="650648"/>
                  </a:lnTo>
                  <a:lnTo>
                    <a:pt x="374263" y="649553"/>
                  </a:lnTo>
                  <a:lnTo>
                    <a:pt x="372071" y="648161"/>
                  </a:lnTo>
                  <a:lnTo>
                    <a:pt x="369281" y="642689"/>
                  </a:lnTo>
                  <a:lnTo>
                    <a:pt x="368185" y="640799"/>
                  </a:lnTo>
                  <a:lnTo>
                    <a:pt x="366093" y="637814"/>
                  </a:lnTo>
                  <a:lnTo>
                    <a:pt x="350349" y="626870"/>
                  </a:lnTo>
                  <a:lnTo>
                    <a:pt x="346064" y="621399"/>
                  </a:lnTo>
                  <a:lnTo>
                    <a:pt x="343274" y="616026"/>
                  </a:lnTo>
                  <a:lnTo>
                    <a:pt x="341082" y="609858"/>
                  </a:lnTo>
                  <a:lnTo>
                    <a:pt x="340583" y="603292"/>
                  </a:lnTo>
                  <a:lnTo>
                    <a:pt x="342477" y="596825"/>
                  </a:lnTo>
                  <a:lnTo>
                    <a:pt x="347260" y="588667"/>
                  </a:lnTo>
                  <a:lnTo>
                    <a:pt x="349054" y="583096"/>
                  </a:lnTo>
                  <a:lnTo>
                    <a:pt x="348156" y="578519"/>
                  </a:lnTo>
                  <a:lnTo>
                    <a:pt x="347160" y="576530"/>
                  </a:lnTo>
                  <a:lnTo>
                    <a:pt x="346562" y="573645"/>
                  </a:lnTo>
                  <a:lnTo>
                    <a:pt x="346562" y="570759"/>
                  </a:lnTo>
                  <a:lnTo>
                    <a:pt x="347160" y="568471"/>
                  </a:lnTo>
                  <a:lnTo>
                    <a:pt x="347958" y="568471"/>
                  </a:lnTo>
                  <a:lnTo>
                    <a:pt x="353637" y="565188"/>
                  </a:lnTo>
                  <a:lnTo>
                    <a:pt x="355829" y="564193"/>
                  </a:lnTo>
                  <a:lnTo>
                    <a:pt x="358719" y="560214"/>
                  </a:lnTo>
                  <a:lnTo>
                    <a:pt x="360512" y="559318"/>
                  </a:lnTo>
                  <a:lnTo>
                    <a:pt x="367986" y="557826"/>
                  </a:lnTo>
                  <a:lnTo>
                    <a:pt x="369480" y="556931"/>
                  </a:lnTo>
                  <a:lnTo>
                    <a:pt x="369480" y="556931"/>
                  </a:lnTo>
                  <a:lnTo>
                    <a:pt x="369480" y="554145"/>
                  </a:lnTo>
                  <a:lnTo>
                    <a:pt x="368185" y="549668"/>
                  </a:lnTo>
                  <a:lnTo>
                    <a:pt x="366192" y="544992"/>
                  </a:lnTo>
                  <a:lnTo>
                    <a:pt x="364299" y="541709"/>
                  </a:lnTo>
                  <a:lnTo>
                    <a:pt x="369879" y="540913"/>
                  </a:lnTo>
                  <a:lnTo>
                    <a:pt x="375958" y="537531"/>
                  </a:lnTo>
                  <a:lnTo>
                    <a:pt x="391502" y="523403"/>
                  </a:lnTo>
                  <a:lnTo>
                    <a:pt x="394391" y="522508"/>
                  </a:lnTo>
                  <a:lnTo>
                    <a:pt x="399972" y="526786"/>
                  </a:lnTo>
                  <a:lnTo>
                    <a:pt x="402961" y="527383"/>
                  </a:lnTo>
                  <a:lnTo>
                    <a:pt x="404356" y="528776"/>
                  </a:lnTo>
                  <a:lnTo>
                    <a:pt x="402562" y="533352"/>
                  </a:lnTo>
                  <a:lnTo>
                    <a:pt x="399673" y="538923"/>
                  </a:lnTo>
                  <a:lnTo>
                    <a:pt x="399075" y="542405"/>
                  </a:lnTo>
                  <a:lnTo>
                    <a:pt x="400370" y="545788"/>
                  </a:lnTo>
                  <a:lnTo>
                    <a:pt x="401665" y="546584"/>
                  </a:lnTo>
                  <a:lnTo>
                    <a:pt x="411630" y="546584"/>
                  </a:lnTo>
                  <a:lnTo>
                    <a:pt x="413523" y="546584"/>
                  </a:lnTo>
                  <a:lnTo>
                    <a:pt x="414918" y="545788"/>
                  </a:lnTo>
                  <a:lnTo>
                    <a:pt x="415915" y="544893"/>
                  </a:lnTo>
                  <a:lnTo>
                    <a:pt x="417011" y="544196"/>
                  </a:lnTo>
                  <a:lnTo>
                    <a:pt x="418705" y="544196"/>
                  </a:lnTo>
                  <a:lnTo>
                    <a:pt x="420996" y="546186"/>
                  </a:lnTo>
                  <a:lnTo>
                    <a:pt x="422989" y="548375"/>
                  </a:lnTo>
                  <a:lnTo>
                    <a:pt x="424484" y="550364"/>
                  </a:lnTo>
                  <a:lnTo>
                    <a:pt x="431260" y="554941"/>
                  </a:lnTo>
                  <a:lnTo>
                    <a:pt x="433452" y="557130"/>
                  </a:lnTo>
                  <a:lnTo>
                    <a:pt x="434050" y="559119"/>
                  </a:lnTo>
                  <a:lnTo>
                    <a:pt x="434050" y="563298"/>
                  </a:lnTo>
                  <a:lnTo>
                    <a:pt x="434050" y="565487"/>
                  </a:lnTo>
                  <a:lnTo>
                    <a:pt x="434947" y="567576"/>
                  </a:lnTo>
                  <a:lnTo>
                    <a:pt x="437438" y="570560"/>
                  </a:lnTo>
                  <a:lnTo>
                    <a:pt x="438434" y="572550"/>
                  </a:lnTo>
                  <a:lnTo>
                    <a:pt x="440726" y="583892"/>
                  </a:lnTo>
                  <a:lnTo>
                    <a:pt x="442320" y="587175"/>
                  </a:lnTo>
                  <a:lnTo>
                    <a:pt x="442918" y="589065"/>
                  </a:lnTo>
                  <a:lnTo>
                    <a:pt x="442220" y="590657"/>
                  </a:lnTo>
                  <a:lnTo>
                    <a:pt x="439729" y="593144"/>
                  </a:lnTo>
                  <a:lnTo>
                    <a:pt x="439729" y="594935"/>
                  </a:lnTo>
                  <a:lnTo>
                    <a:pt x="439729" y="597422"/>
                  </a:lnTo>
                  <a:lnTo>
                    <a:pt x="440527" y="599810"/>
                  </a:lnTo>
                  <a:lnTo>
                    <a:pt x="445708" y="606077"/>
                  </a:lnTo>
                  <a:lnTo>
                    <a:pt x="447203" y="606973"/>
                  </a:lnTo>
                  <a:lnTo>
                    <a:pt x="454078" y="609162"/>
                  </a:lnTo>
                  <a:lnTo>
                    <a:pt x="452584" y="607072"/>
                  </a:lnTo>
                  <a:lnTo>
                    <a:pt x="451089" y="604287"/>
                  </a:lnTo>
                  <a:lnTo>
                    <a:pt x="449495" y="601799"/>
                  </a:lnTo>
                  <a:lnTo>
                    <a:pt x="445509" y="599810"/>
                  </a:lnTo>
                  <a:lnTo>
                    <a:pt x="444811" y="597422"/>
                  </a:lnTo>
                  <a:lnTo>
                    <a:pt x="444811" y="594338"/>
                  </a:lnTo>
                  <a:lnTo>
                    <a:pt x="445708" y="587772"/>
                  </a:lnTo>
                  <a:lnTo>
                    <a:pt x="445708" y="586578"/>
                  </a:lnTo>
                  <a:lnTo>
                    <a:pt x="446505" y="585185"/>
                  </a:lnTo>
                  <a:lnTo>
                    <a:pt x="448797" y="582499"/>
                  </a:lnTo>
                  <a:lnTo>
                    <a:pt x="451687" y="578320"/>
                  </a:lnTo>
                  <a:lnTo>
                    <a:pt x="453480" y="577127"/>
                  </a:lnTo>
                  <a:lnTo>
                    <a:pt x="456271" y="577127"/>
                  </a:lnTo>
                  <a:lnTo>
                    <a:pt x="454477" y="574938"/>
                  </a:lnTo>
                  <a:lnTo>
                    <a:pt x="449495" y="572849"/>
                  </a:lnTo>
                  <a:lnTo>
                    <a:pt x="448398" y="570660"/>
                  </a:lnTo>
                  <a:lnTo>
                    <a:pt x="449196" y="567974"/>
                  </a:lnTo>
                  <a:lnTo>
                    <a:pt x="450989" y="566183"/>
                  </a:lnTo>
                  <a:lnTo>
                    <a:pt x="453281" y="564691"/>
                  </a:lnTo>
                  <a:lnTo>
                    <a:pt x="455374" y="562900"/>
                  </a:lnTo>
                  <a:lnTo>
                    <a:pt x="458363" y="558124"/>
                  </a:lnTo>
                  <a:lnTo>
                    <a:pt x="460356" y="555737"/>
                  </a:lnTo>
                  <a:lnTo>
                    <a:pt x="465438" y="553648"/>
                  </a:lnTo>
                  <a:lnTo>
                    <a:pt x="466633" y="553648"/>
                  </a:lnTo>
                  <a:lnTo>
                    <a:pt x="473509" y="553648"/>
                  </a:lnTo>
                  <a:lnTo>
                    <a:pt x="470619" y="550364"/>
                  </a:lnTo>
                  <a:lnTo>
                    <a:pt x="461851" y="550364"/>
                  </a:lnTo>
                  <a:lnTo>
                    <a:pt x="457964" y="548474"/>
                  </a:lnTo>
                  <a:lnTo>
                    <a:pt x="456669" y="544495"/>
                  </a:lnTo>
                  <a:lnTo>
                    <a:pt x="456669" y="539321"/>
                  </a:lnTo>
                  <a:lnTo>
                    <a:pt x="458164" y="534546"/>
                  </a:lnTo>
                  <a:lnTo>
                    <a:pt x="460156" y="531860"/>
                  </a:lnTo>
                  <a:lnTo>
                    <a:pt x="458662" y="531860"/>
                  </a:lnTo>
                  <a:lnTo>
                    <a:pt x="455473" y="531860"/>
                  </a:lnTo>
                  <a:lnTo>
                    <a:pt x="453978" y="531860"/>
                  </a:lnTo>
                  <a:lnTo>
                    <a:pt x="453082" y="530666"/>
                  </a:lnTo>
                  <a:lnTo>
                    <a:pt x="450591" y="526686"/>
                  </a:lnTo>
                  <a:lnTo>
                    <a:pt x="449295" y="525891"/>
                  </a:lnTo>
                  <a:lnTo>
                    <a:pt x="445907" y="525891"/>
                  </a:lnTo>
                  <a:lnTo>
                    <a:pt x="442818" y="524597"/>
                  </a:lnTo>
                  <a:lnTo>
                    <a:pt x="441125" y="522110"/>
                  </a:lnTo>
                  <a:lnTo>
                    <a:pt x="441922" y="517832"/>
                  </a:lnTo>
                  <a:lnTo>
                    <a:pt x="438135" y="515942"/>
                  </a:lnTo>
                  <a:lnTo>
                    <a:pt x="436242" y="514648"/>
                  </a:lnTo>
                  <a:lnTo>
                    <a:pt x="434847" y="513156"/>
                  </a:lnTo>
                  <a:lnTo>
                    <a:pt x="432655" y="508580"/>
                  </a:lnTo>
                  <a:lnTo>
                    <a:pt x="431360" y="506888"/>
                  </a:lnTo>
                  <a:lnTo>
                    <a:pt x="428869" y="505993"/>
                  </a:lnTo>
                  <a:lnTo>
                    <a:pt x="430164" y="503008"/>
                  </a:lnTo>
                  <a:lnTo>
                    <a:pt x="431957" y="501218"/>
                  </a:lnTo>
                  <a:lnTo>
                    <a:pt x="434149" y="500322"/>
                  </a:lnTo>
                  <a:lnTo>
                    <a:pt x="436740" y="500322"/>
                  </a:lnTo>
                  <a:lnTo>
                    <a:pt x="437936" y="500322"/>
                  </a:lnTo>
                  <a:lnTo>
                    <a:pt x="440427" y="501118"/>
                  </a:lnTo>
                  <a:lnTo>
                    <a:pt x="441922" y="501118"/>
                  </a:lnTo>
                  <a:lnTo>
                    <a:pt x="443516" y="501118"/>
                  </a:lnTo>
                  <a:lnTo>
                    <a:pt x="446306" y="499526"/>
                  </a:lnTo>
                  <a:lnTo>
                    <a:pt x="449495" y="498233"/>
                  </a:lnTo>
                  <a:lnTo>
                    <a:pt x="451986" y="496243"/>
                  </a:lnTo>
                  <a:lnTo>
                    <a:pt x="454078" y="493557"/>
                  </a:lnTo>
                  <a:lnTo>
                    <a:pt x="454975" y="490970"/>
                  </a:lnTo>
                  <a:lnTo>
                    <a:pt x="454178" y="489080"/>
                  </a:lnTo>
                  <a:lnTo>
                    <a:pt x="450491" y="485200"/>
                  </a:lnTo>
                  <a:lnTo>
                    <a:pt x="449694" y="482017"/>
                  </a:lnTo>
                  <a:lnTo>
                    <a:pt x="447602" y="478037"/>
                  </a:lnTo>
                  <a:lnTo>
                    <a:pt x="447602" y="475450"/>
                  </a:lnTo>
                  <a:lnTo>
                    <a:pt x="450391" y="474356"/>
                  </a:lnTo>
                  <a:lnTo>
                    <a:pt x="455971" y="473560"/>
                  </a:lnTo>
                  <a:lnTo>
                    <a:pt x="465936" y="470277"/>
                  </a:lnTo>
                  <a:lnTo>
                    <a:pt x="468029" y="468387"/>
                  </a:lnTo>
                  <a:lnTo>
                    <a:pt x="469424" y="463810"/>
                  </a:lnTo>
                  <a:lnTo>
                    <a:pt x="470719" y="463810"/>
                  </a:lnTo>
                  <a:lnTo>
                    <a:pt x="471915" y="463810"/>
                  </a:lnTo>
                  <a:lnTo>
                    <a:pt x="471915" y="463213"/>
                  </a:lnTo>
                  <a:lnTo>
                    <a:pt x="471915" y="459532"/>
                  </a:lnTo>
                  <a:lnTo>
                    <a:pt x="471317" y="458040"/>
                  </a:lnTo>
                  <a:lnTo>
                    <a:pt x="470320" y="456548"/>
                  </a:lnTo>
                  <a:lnTo>
                    <a:pt x="475402" y="456548"/>
                  </a:lnTo>
                  <a:lnTo>
                    <a:pt x="477893" y="455851"/>
                  </a:lnTo>
                  <a:lnTo>
                    <a:pt x="479787" y="454061"/>
                  </a:lnTo>
                  <a:lnTo>
                    <a:pt x="479089" y="454061"/>
                  </a:lnTo>
                  <a:lnTo>
                    <a:pt x="477893" y="452668"/>
                  </a:lnTo>
                  <a:lnTo>
                    <a:pt x="477196" y="452071"/>
                  </a:lnTo>
                  <a:lnTo>
                    <a:pt x="479986" y="450380"/>
                  </a:lnTo>
                  <a:lnTo>
                    <a:pt x="482776" y="449484"/>
                  </a:lnTo>
                  <a:lnTo>
                    <a:pt x="485367" y="448191"/>
                  </a:lnTo>
                  <a:lnTo>
                    <a:pt x="487658" y="444908"/>
                  </a:lnTo>
                  <a:lnTo>
                    <a:pt x="487658" y="443415"/>
                  </a:lnTo>
                  <a:lnTo>
                    <a:pt x="488455" y="439535"/>
                  </a:lnTo>
                  <a:lnTo>
                    <a:pt x="489053" y="437844"/>
                  </a:lnTo>
                  <a:lnTo>
                    <a:pt x="489851" y="436352"/>
                  </a:lnTo>
                  <a:lnTo>
                    <a:pt x="491844" y="433765"/>
                  </a:lnTo>
                  <a:lnTo>
                    <a:pt x="492441" y="431875"/>
                  </a:lnTo>
                  <a:lnTo>
                    <a:pt x="489851" y="425508"/>
                  </a:lnTo>
                  <a:lnTo>
                    <a:pt x="490548" y="423717"/>
                  </a:lnTo>
                  <a:lnTo>
                    <a:pt x="494235" y="422324"/>
                  </a:lnTo>
                  <a:lnTo>
                    <a:pt x="497822" y="422324"/>
                  </a:lnTo>
                  <a:lnTo>
                    <a:pt x="507786" y="425010"/>
                  </a:lnTo>
                  <a:lnTo>
                    <a:pt x="507786" y="423816"/>
                  </a:lnTo>
                  <a:lnTo>
                    <a:pt x="505694" y="422424"/>
                  </a:lnTo>
                  <a:lnTo>
                    <a:pt x="504199" y="420931"/>
                  </a:lnTo>
                  <a:lnTo>
                    <a:pt x="502605" y="419538"/>
                  </a:lnTo>
                  <a:lnTo>
                    <a:pt x="500213" y="419041"/>
                  </a:lnTo>
                  <a:lnTo>
                    <a:pt x="494534" y="419041"/>
                  </a:lnTo>
                  <a:lnTo>
                    <a:pt x="491644" y="419041"/>
                  </a:lnTo>
                  <a:lnTo>
                    <a:pt x="489452" y="420434"/>
                  </a:lnTo>
                  <a:lnTo>
                    <a:pt x="488655" y="416852"/>
                  </a:lnTo>
                  <a:lnTo>
                    <a:pt x="490149" y="414067"/>
                  </a:lnTo>
                  <a:lnTo>
                    <a:pt x="494633" y="409590"/>
                  </a:lnTo>
                  <a:lnTo>
                    <a:pt x="496128" y="405212"/>
                  </a:lnTo>
                  <a:lnTo>
                    <a:pt x="495131" y="403123"/>
                  </a:lnTo>
                  <a:lnTo>
                    <a:pt x="493139" y="401531"/>
                  </a:lnTo>
                  <a:lnTo>
                    <a:pt x="492043" y="398348"/>
                  </a:lnTo>
                  <a:lnTo>
                    <a:pt x="492840" y="397552"/>
                  </a:lnTo>
                  <a:lnTo>
                    <a:pt x="494135" y="395662"/>
                  </a:lnTo>
                  <a:lnTo>
                    <a:pt x="494833" y="393771"/>
                  </a:lnTo>
                  <a:lnTo>
                    <a:pt x="493836" y="392876"/>
                  </a:lnTo>
                  <a:lnTo>
                    <a:pt x="491644" y="392179"/>
                  </a:lnTo>
                  <a:lnTo>
                    <a:pt x="490648" y="390488"/>
                  </a:lnTo>
                  <a:lnTo>
                    <a:pt x="490648" y="388896"/>
                  </a:lnTo>
                  <a:lnTo>
                    <a:pt x="494036" y="387404"/>
                  </a:lnTo>
                  <a:lnTo>
                    <a:pt x="494036" y="382629"/>
                  </a:lnTo>
                  <a:lnTo>
                    <a:pt x="494036" y="381037"/>
                  </a:lnTo>
                  <a:lnTo>
                    <a:pt x="493338" y="380340"/>
                  </a:lnTo>
                  <a:lnTo>
                    <a:pt x="487558" y="379047"/>
                  </a:lnTo>
                  <a:lnTo>
                    <a:pt x="488555" y="377356"/>
                  </a:lnTo>
                  <a:lnTo>
                    <a:pt x="489551" y="376759"/>
                  </a:lnTo>
                  <a:lnTo>
                    <a:pt x="490249" y="376062"/>
                  </a:lnTo>
                  <a:lnTo>
                    <a:pt x="490249" y="374371"/>
                  </a:lnTo>
                  <a:lnTo>
                    <a:pt x="492840" y="372680"/>
                  </a:lnTo>
                  <a:lnTo>
                    <a:pt x="491345" y="371188"/>
                  </a:lnTo>
                  <a:lnTo>
                    <a:pt x="489851" y="370093"/>
                  </a:lnTo>
                  <a:lnTo>
                    <a:pt x="488455" y="369596"/>
                  </a:lnTo>
                  <a:lnTo>
                    <a:pt x="482576" y="371486"/>
                  </a:lnTo>
                  <a:lnTo>
                    <a:pt x="479986" y="371486"/>
                  </a:lnTo>
                  <a:lnTo>
                    <a:pt x="479986" y="368501"/>
                  </a:lnTo>
                  <a:lnTo>
                    <a:pt x="477694" y="367308"/>
                  </a:lnTo>
                  <a:lnTo>
                    <a:pt x="475701" y="367905"/>
                  </a:lnTo>
                  <a:lnTo>
                    <a:pt x="473708" y="369098"/>
                  </a:lnTo>
                  <a:lnTo>
                    <a:pt x="471317" y="369695"/>
                  </a:lnTo>
                  <a:lnTo>
                    <a:pt x="471317" y="368899"/>
                  </a:lnTo>
                  <a:lnTo>
                    <a:pt x="471317" y="366910"/>
                  </a:lnTo>
                  <a:lnTo>
                    <a:pt x="471317" y="366114"/>
                  </a:lnTo>
                  <a:lnTo>
                    <a:pt x="469424" y="366114"/>
                  </a:lnTo>
                  <a:lnTo>
                    <a:pt x="466135" y="365019"/>
                  </a:lnTo>
                  <a:lnTo>
                    <a:pt x="464342" y="365019"/>
                  </a:lnTo>
                  <a:lnTo>
                    <a:pt x="464342" y="363826"/>
                  </a:lnTo>
                  <a:lnTo>
                    <a:pt x="466933" y="363826"/>
                  </a:lnTo>
                  <a:lnTo>
                    <a:pt x="471217" y="360841"/>
                  </a:lnTo>
                  <a:lnTo>
                    <a:pt x="473808" y="360343"/>
                  </a:lnTo>
                  <a:lnTo>
                    <a:pt x="472612" y="358951"/>
                  </a:lnTo>
                  <a:lnTo>
                    <a:pt x="471416" y="357956"/>
                  </a:lnTo>
                  <a:lnTo>
                    <a:pt x="470121" y="357259"/>
                  </a:lnTo>
                  <a:lnTo>
                    <a:pt x="468626" y="357259"/>
                  </a:lnTo>
                  <a:lnTo>
                    <a:pt x="468626" y="355966"/>
                  </a:lnTo>
                  <a:lnTo>
                    <a:pt x="472911" y="355966"/>
                  </a:lnTo>
                  <a:lnTo>
                    <a:pt x="471815" y="353678"/>
                  </a:lnTo>
                  <a:lnTo>
                    <a:pt x="471118" y="351191"/>
                  </a:lnTo>
                  <a:lnTo>
                    <a:pt x="469025" y="352185"/>
                  </a:lnTo>
                  <a:lnTo>
                    <a:pt x="467032" y="352185"/>
                  </a:lnTo>
                  <a:lnTo>
                    <a:pt x="465139" y="351489"/>
                  </a:lnTo>
                  <a:lnTo>
                    <a:pt x="463246" y="349997"/>
                  </a:lnTo>
                  <a:lnTo>
                    <a:pt x="466335" y="345719"/>
                  </a:lnTo>
                  <a:lnTo>
                    <a:pt x="466335" y="342834"/>
                  </a:lnTo>
                  <a:lnTo>
                    <a:pt x="462947" y="342834"/>
                  </a:lnTo>
                  <a:lnTo>
                    <a:pt x="458363" y="342834"/>
                  </a:lnTo>
                  <a:lnTo>
                    <a:pt x="458363" y="341739"/>
                  </a:lnTo>
                  <a:lnTo>
                    <a:pt x="461253" y="341739"/>
                  </a:lnTo>
                  <a:lnTo>
                    <a:pt x="463644" y="340844"/>
                  </a:lnTo>
                  <a:lnTo>
                    <a:pt x="464442" y="339053"/>
                  </a:lnTo>
                  <a:lnTo>
                    <a:pt x="462647" y="336069"/>
                  </a:lnTo>
                  <a:lnTo>
                    <a:pt x="460356" y="335273"/>
                  </a:lnTo>
                  <a:lnTo>
                    <a:pt x="456968" y="334676"/>
                  </a:lnTo>
                  <a:lnTo>
                    <a:pt x="454477" y="333183"/>
                  </a:lnTo>
                  <a:lnTo>
                    <a:pt x="454975" y="330099"/>
                  </a:lnTo>
                  <a:lnTo>
                    <a:pt x="456968" y="328806"/>
                  </a:lnTo>
                  <a:lnTo>
                    <a:pt x="466235" y="328806"/>
                  </a:lnTo>
                  <a:lnTo>
                    <a:pt x="469125" y="327712"/>
                  </a:lnTo>
                  <a:lnTo>
                    <a:pt x="470220" y="326120"/>
                  </a:lnTo>
                  <a:lnTo>
                    <a:pt x="470220" y="322936"/>
                  </a:lnTo>
                  <a:lnTo>
                    <a:pt x="470220" y="319554"/>
                  </a:lnTo>
                  <a:lnTo>
                    <a:pt x="467829" y="321245"/>
                  </a:lnTo>
                  <a:lnTo>
                    <a:pt x="466434" y="321245"/>
                  </a:lnTo>
                  <a:lnTo>
                    <a:pt x="465039" y="321245"/>
                  </a:lnTo>
                  <a:lnTo>
                    <a:pt x="463943" y="321245"/>
                  </a:lnTo>
                  <a:lnTo>
                    <a:pt x="464640" y="320051"/>
                  </a:lnTo>
                  <a:lnTo>
                    <a:pt x="475402" y="310102"/>
                  </a:lnTo>
                  <a:lnTo>
                    <a:pt x="472911" y="310102"/>
                  </a:lnTo>
                  <a:lnTo>
                    <a:pt x="462947" y="312490"/>
                  </a:lnTo>
                  <a:lnTo>
                    <a:pt x="461253" y="312490"/>
                  </a:lnTo>
                  <a:lnTo>
                    <a:pt x="457167" y="311993"/>
                  </a:lnTo>
                  <a:lnTo>
                    <a:pt x="455374" y="311296"/>
                  </a:lnTo>
                  <a:lnTo>
                    <a:pt x="453780" y="310301"/>
                  </a:lnTo>
                  <a:lnTo>
                    <a:pt x="452185" y="308709"/>
                  </a:lnTo>
                  <a:lnTo>
                    <a:pt x="450491" y="305327"/>
                  </a:lnTo>
                  <a:lnTo>
                    <a:pt x="449395" y="303636"/>
                  </a:lnTo>
                  <a:lnTo>
                    <a:pt x="447900" y="302740"/>
                  </a:lnTo>
                  <a:lnTo>
                    <a:pt x="451288" y="300552"/>
                  </a:lnTo>
                  <a:lnTo>
                    <a:pt x="452285" y="298761"/>
                  </a:lnTo>
                  <a:lnTo>
                    <a:pt x="452285" y="295677"/>
                  </a:lnTo>
                  <a:lnTo>
                    <a:pt x="454278" y="296870"/>
                  </a:lnTo>
                  <a:lnTo>
                    <a:pt x="458064" y="295677"/>
                  </a:lnTo>
                  <a:lnTo>
                    <a:pt x="460057" y="296970"/>
                  </a:lnTo>
                  <a:lnTo>
                    <a:pt x="461053" y="296174"/>
                  </a:lnTo>
                  <a:lnTo>
                    <a:pt x="461751" y="295378"/>
                  </a:lnTo>
                  <a:lnTo>
                    <a:pt x="462349" y="294383"/>
                  </a:lnTo>
                  <a:lnTo>
                    <a:pt x="462349" y="293090"/>
                  </a:lnTo>
                  <a:lnTo>
                    <a:pt x="458861" y="293090"/>
                  </a:lnTo>
                  <a:lnTo>
                    <a:pt x="457267" y="293090"/>
                  </a:lnTo>
                  <a:lnTo>
                    <a:pt x="455872" y="291797"/>
                  </a:lnTo>
                  <a:lnTo>
                    <a:pt x="454975" y="289906"/>
                  </a:lnTo>
                  <a:lnTo>
                    <a:pt x="454377" y="288215"/>
                  </a:lnTo>
                  <a:lnTo>
                    <a:pt x="453381" y="287220"/>
                  </a:lnTo>
                  <a:lnTo>
                    <a:pt x="451089" y="287220"/>
                  </a:lnTo>
                  <a:lnTo>
                    <a:pt x="451089" y="287817"/>
                  </a:lnTo>
                  <a:lnTo>
                    <a:pt x="451089" y="287817"/>
                  </a:lnTo>
                  <a:lnTo>
                    <a:pt x="451587" y="287817"/>
                  </a:lnTo>
                  <a:lnTo>
                    <a:pt x="448398" y="289011"/>
                  </a:lnTo>
                  <a:lnTo>
                    <a:pt x="444014" y="288414"/>
                  </a:lnTo>
                  <a:lnTo>
                    <a:pt x="439829" y="286623"/>
                  </a:lnTo>
                  <a:lnTo>
                    <a:pt x="436840" y="284335"/>
                  </a:lnTo>
                  <a:lnTo>
                    <a:pt x="439032" y="283838"/>
                  </a:lnTo>
                  <a:lnTo>
                    <a:pt x="443018" y="283141"/>
                  </a:lnTo>
                  <a:lnTo>
                    <a:pt x="445409" y="281251"/>
                  </a:lnTo>
                  <a:lnTo>
                    <a:pt x="446804" y="278764"/>
                  </a:lnTo>
                  <a:lnTo>
                    <a:pt x="445111" y="277271"/>
                  </a:lnTo>
                  <a:lnTo>
                    <a:pt x="443018" y="277271"/>
                  </a:lnTo>
                  <a:lnTo>
                    <a:pt x="441025" y="277271"/>
                  </a:lnTo>
                  <a:lnTo>
                    <a:pt x="438833" y="277271"/>
                  </a:lnTo>
                  <a:lnTo>
                    <a:pt x="446605" y="260359"/>
                  </a:lnTo>
                  <a:lnTo>
                    <a:pt x="443616" y="257871"/>
                  </a:lnTo>
                  <a:lnTo>
                    <a:pt x="443616" y="256777"/>
                  </a:lnTo>
                  <a:lnTo>
                    <a:pt x="445609" y="255981"/>
                  </a:lnTo>
                  <a:lnTo>
                    <a:pt x="448100" y="254190"/>
                  </a:lnTo>
                  <a:lnTo>
                    <a:pt x="447502" y="252897"/>
                  </a:lnTo>
                  <a:lnTo>
                    <a:pt x="446705" y="251902"/>
                  </a:lnTo>
                  <a:lnTo>
                    <a:pt x="445808" y="251206"/>
                  </a:lnTo>
                  <a:lnTo>
                    <a:pt x="444612" y="251206"/>
                  </a:lnTo>
                  <a:lnTo>
                    <a:pt x="445808" y="250509"/>
                  </a:lnTo>
                  <a:lnTo>
                    <a:pt x="449096" y="249614"/>
                  </a:lnTo>
                  <a:lnTo>
                    <a:pt x="449794" y="249614"/>
                  </a:lnTo>
                  <a:lnTo>
                    <a:pt x="449794" y="247724"/>
                  </a:lnTo>
                  <a:lnTo>
                    <a:pt x="448797" y="246729"/>
                  </a:lnTo>
                  <a:lnTo>
                    <a:pt x="447402" y="246729"/>
                  </a:lnTo>
                  <a:lnTo>
                    <a:pt x="445808" y="246729"/>
                  </a:lnTo>
                  <a:lnTo>
                    <a:pt x="448299" y="244739"/>
                  </a:lnTo>
                  <a:lnTo>
                    <a:pt x="449295" y="244739"/>
                  </a:lnTo>
                  <a:lnTo>
                    <a:pt x="449295" y="243545"/>
                  </a:lnTo>
                  <a:lnTo>
                    <a:pt x="448000" y="243545"/>
                  </a:lnTo>
                  <a:lnTo>
                    <a:pt x="446107" y="242948"/>
                  </a:lnTo>
                  <a:lnTo>
                    <a:pt x="444413" y="242152"/>
                  </a:lnTo>
                  <a:lnTo>
                    <a:pt x="443217" y="241257"/>
                  </a:lnTo>
                  <a:lnTo>
                    <a:pt x="442121" y="239665"/>
                  </a:lnTo>
                  <a:lnTo>
                    <a:pt x="442121" y="239068"/>
                  </a:lnTo>
                  <a:lnTo>
                    <a:pt x="443815" y="237079"/>
                  </a:lnTo>
                  <a:lnTo>
                    <a:pt x="443815" y="235188"/>
                  </a:lnTo>
                  <a:lnTo>
                    <a:pt x="443018" y="232403"/>
                  </a:lnTo>
                  <a:lnTo>
                    <a:pt x="441523" y="230711"/>
                  </a:lnTo>
                  <a:lnTo>
                    <a:pt x="440726" y="229418"/>
                  </a:lnTo>
                  <a:lnTo>
                    <a:pt x="440726" y="227130"/>
                  </a:lnTo>
                  <a:lnTo>
                    <a:pt x="442619" y="224742"/>
                  </a:lnTo>
                  <a:lnTo>
                    <a:pt x="442619" y="222752"/>
                  </a:lnTo>
                  <a:lnTo>
                    <a:pt x="442619" y="220962"/>
                  </a:lnTo>
                  <a:lnTo>
                    <a:pt x="442022" y="219171"/>
                  </a:lnTo>
                  <a:lnTo>
                    <a:pt x="441025" y="217877"/>
                  </a:lnTo>
                  <a:lnTo>
                    <a:pt x="439729" y="217281"/>
                  </a:lnTo>
                  <a:lnTo>
                    <a:pt x="439032" y="216286"/>
                  </a:lnTo>
                  <a:lnTo>
                    <a:pt x="437438" y="211510"/>
                  </a:lnTo>
                  <a:lnTo>
                    <a:pt x="436640" y="210117"/>
                  </a:lnTo>
                  <a:lnTo>
                    <a:pt x="435146" y="210117"/>
                  </a:lnTo>
                  <a:lnTo>
                    <a:pt x="433253" y="210117"/>
                  </a:lnTo>
                  <a:lnTo>
                    <a:pt x="431459" y="210913"/>
                  </a:lnTo>
                  <a:lnTo>
                    <a:pt x="430263" y="212008"/>
                  </a:lnTo>
                  <a:lnTo>
                    <a:pt x="428869" y="212704"/>
                  </a:lnTo>
                  <a:lnTo>
                    <a:pt x="427573" y="212704"/>
                  </a:lnTo>
                  <a:lnTo>
                    <a:pt x="427573" y="211610"/>
                  </a:lnTo>
                  <a:lnTo>
                    <a:pt x="429167" y="210615"/>
                  </a:lnTo>
                  <a:lnTo>
                    <a:pt x="429167" y="209322"/>
                  </a:lnTo>
                  <a:lnTo>
                    <a:pt x="426178" y="207829"/>
                  </a:lnTo>
                  <a:lnTo>
                    <a:pt x="424683" y="205839"/>
                  </a:lnTo>
                  <a:lnTo>
                    <a:pt x="423089" y="203551"/>
                  </a:lnTo>
                  <a:lnTo>
                    <a:pt x="420897" y="200865"/>
                  </a:lnTo>
                  <a:lnTo>
                    <a:pt x="423388" y="198477"/>
                  </a:lnTo>
                  <a:lnTo>
                    <a:pt x="426576" y="196985"/>
                  </a:lnTo>
                  <a:lnTo>
                    <a:pt x="430064" y="196289"/>
                  </a:lnTo>
                  <a:lnTo>
                    <a:pt x="431658" y="196289"/>
                  </a:lnTo>
                  <a:lnTo>
                    <a:pt x="430562" y="196786"/>
                  </a:lnTo>
                  <a:lnTo>
                    <a:pt x="429566" y="197383"/>
                  </a:lnTo>
                  <a:lnTo>
                    <a:pt x="430463" y="198577"/>
                  </a:lnTo>
                  <a:lnTo>
                    <a:pt x="429566" y="199671"/>
                  </a:lnTo>
                  <a:lnTo>
                    <a:pt x="431858" y="202656"/>
                  </a:lnTo>
                  <a:lnTo>
                    <a:pt x="434947" y="202656"/>
                  </a:lnTo>
                  <a:lnTo>
                    <a:pt x="438135" y="201263"/>
                  </a:lnTo>
                  <a:lnTo>
                    <a:pt x="440925" y="199373"/>
                  </a:lnTo>
                  <a:lnTo>
                    <a:pt x="439531" y="198477"/>
                  </a:lnTo>
                  <a:lnTo>
                    <a:pt x="436442" y="197383"/>
                  </a:lnTo>
                  <a:lnTo>
                    <a:pt x="435245" y="196488"/>
                  </a:lnTo>
                  <a:lnTo>
                    <a:pt x="434050" y="193603"/>
                  </a:lnTo>
                  <a:lnTo>
                    <a:pt x="433153" y="192508"/>
                  </a:lnTo>
                  <a:lnTo>
                    <a:pt x="431658" y="192011"/>
                  </a:lnTo>
                  <a:lnTo>
                    <a:pt x="433353" y="189524"/>
                  </a:lnTo>
                  <a:lnTo>
                    <a:pt x="435844" y="190220"/>
                  </a:lnTo>
                  <a:lnTo>
                    <a:pt x="438534" y="192110"/>
                  </a:lnTo>
                  <a:lnTo>
                    <a:pt x="440826" y="193205"/>
                  </a:lnTo>
                  <a:lnTo>
                    <a:pt x="444313" y="192309"/>
                  </a:lnTo>
                  <a:lnTo>
                    <a:pt x="445609" y="190220"/>
                  </a:lnTo>
                  <a:lnTo>
                    <a:pt x="444513" y="188131"/>
                  </a:lnTo>
                  <a:lnTo>
                    <a:pt x="441324" y="187136"/>
                  </a:lnTo>
                  <a:lnTo>
                    <a:pt x="441324" y="186041"/>
                  </a:lnTo>
                  <a:lnTo>
                    <a:pt x="441324" y="184350"/>
                  </a:lnTo>
                  <a:lnTo>
                    <a:pt x="440029" y="182758"/>
                  </a:lnTo>
                  <a:lnTo>
                    <a:pt x="437936" y="181664"/>
                  </a:lnTo>
                  <a:lnTo>
                    <a:pt x="435943" y="181167"/>
                  </a:lnTo>
                  <a:lnTo>
                    <a:pt x="433053" y="183654"/>
                  </a:lnTo>
                  <a:lnTo>
                    <a:pt x="431658" y="183654"/>
                  </a:lnTo>
                  <a:lnTo>
                    <a:pt x="429267" y="183654"/>
                  </a:lnTo>
                  <a:lnTo>
                    <a:pt x="427872" y="184350"/>
                  </a:lnTo>
                  <a:lnTo>
                    <a:pt x="427872" y="182261"/>
                  </a:lnTo>
                  <a:lnTo>
                    <a:pt x="428569" y="180371"/>
                  </a:lnTo>
                  <a:lnTo>
                    <a:pt x="429566" y="178679"/>
                  </a:lnTo>
                  <a:lnTo>
                    <a:pt x="430762" y="176988"/>
                  </a:lnTo>
                  <a:lnTo>
                    <a:pt x="432754" y="178281"/>
                  </a:lnTo>
                  <a:lnTo>
                    <a:pt x="434149" y="177287"/>
                  </a:lnTo>
                  <a:lnTo>
                    <a:pt x="434747" y="175595"/>
                  </a:lnTo>
                  <a:lnTo>
                    <a:pt x="434747" y="174600"/>
                  </a:lnTo>
                  <a:lnTo>
                    <a:pt x="433053" y="174600"/>
                  </a:lnTo>
                  <a:lnTo>
                    <a:pt x="431658" y="174600"/>
                  </a:lnTo>
                  <a:lnTo>
                    <a:pt x="430662" y="173506"/>
                  </a:lnTo>
                  <a:lnTo>
                    <a:pt x="430064" y="171417"/>
                  </a:lnTo>
                  <a:lnTo>
                    <a:pt x="431360" y="171417"/>
                  </a:lnTo>
                  <a:lnTo>
                    <a:pt x="432954" y="171417"/>
                  </a:lnTo>
                  <a:lnTo>
                    <a:pt x="434249" y="170621"/>
                  </a:lnTo>
                  <a:lnTo>
                    <a:pt x="434249" y="168930"/>
                  </a:lnTo>
                  <a:lnTo>
                    <a:pt x="433253" y="167636"/>
                  </a:lnTo>
                  <a:lnTo>
                    <a:pt x="431559" y="167636"/>
                  </a:lnTo>
                  <a:lnTo>
                    <a:pt x="428271" y="167636"/>
                  </a:lnTo>
                  <a:lnTo>
                    <a:pt x="424982" y="167636"/>
                  </a:lnTo>
                  <a:lnTo>
                    <a:pt x="419203" y="166045"/>
                  </a:lnTo>
                  <a:lnTo>
                    <a:pt x="415915" y="166045"/>
                  </a:lnTo>
                  <a:lnTo>
                    <a:pt x="417309" y="164055"/>
                  </a:lnTo>
                  <a:lnTo>
                    <a:pt x="419602" y="163458"/>
                  </a:lnTo>
                  <a:lnTo>
                    <a:pt x="428470" y="163955"/>
                  </a:lnTo>
                  <a:lnTo>
                    <a:pt x="429566" y="162960"/>
                  </a:lnTo>
                  <a:lnTo>
                    <a:pt x="430762" y="160075"/>
                  </a:lnTo>
                  <a:lnTo>
                    <a:pt x="427772" y="160075"/>
                  </a:lnTo>
                  <a:lnTo>
                    <a:pt x="427772" y="157787"/>
                  </a:lnTo>
                  <a:lnTo>
                    <a:pt x="429964" y="151917"/>
                  </a:lnTo>
                  <a:lnTo>
                    <a:pt x="428869" y="151917"/>
                  </a:lnTo>
                  <a:lnTo>
                    <a:pt x="428071" y="151917"/>
                  </a:lnTo>
                  <a:lnTo>
                    <a:pt x="426477" y="150226"/>
                  </a:lnTo>
                  <a:lnTo>
                    <a:pt x="433452" y="146545"/>
                  </a:lnTo>
                  <a:lnTo>
                    <a:pt x="431360" y="145550"/>
                  </a:lnTo>
                  <a:lnTo>
                    <a:pt x="430363" y="145550"/>
                  </a:lnTo>
                  <a:lnTo>
                    <a:pt x="429167" y="145550"/>
                  </a:lnTo>
                  <a:lnTo>
                    <a:pt x="429167" y="144356"/>
                  </a:lnTo>
                  <a:lnTo>
                    <a:pt x="434050" y="142864"/>
                  </a:lnTo>
                  <a:lnTo>
                    <a:pt x="438733" y="144655"/>
                  </a:lnTo>
                  <a:lnTo>
                    <a:pt x="443416" y="147142"/>
                  </a:lnTo>
                  <a:lnTo>
                    <a:pt x="448299" y="148037"/>
                  </a:lnTo>
                  <a:lnTo>
                    <a:pt x="444811" y="143361"/>
                  </a:lnTo>
                  <a:lnTo>
                    <a:pt x="439431" y="141272"/>
                  </a:lnTo>
                  <a:lnTo>
                    <a:pt x="427473" y="141272"/>
                  </a:lnTo>
                  <a:lnTo>
                    <a:pt x="428370" y="137293"/>
                  </a:lnTo>
                  <a:lnTo>
                    <a:pt x="427374" y="134805"/>
                  </a:lnTo>
                  <a:lnTo>
                    <a:pt x="425082" y="133413"/>
                  </a:lnTo>
                  <a:lnTo>
                    <a:pt x="422192" y="132716"/>
                  </a:lnTo>
                  <a:lnTo>
                    <a:pt x="425680" y="130925"/>
                  </a:lnTo>
                  <a:lnTo>
                    <a:pt x="429367" y="130925"/>
                  </a:lnTo>
                  <a:lnTo>
                    <a:pt x="433153" y="131622"/>
                  </a:lnTo>
                  <a:lnTo>
                    <a:pt x="436840" y="131622"/>
                  </a:lnTo>
                  <a:lnTo>
                    <a:pt x="432954" y="127543"/>
                  </a:lnTo>
                  <a:lnTo>
                    <a:pt x="422989" y="125155"/>
                  </a:lnTo>
                  <a:lnTo>
                    <a:pt x="418406" y="123066"/>
                  </a:lnTo>
                  <a:lnTo>
                    <a:pt x="426178" y="125255"/>
                  </a:lnTo>
                  <a:lnTo>
                    <a:pt x="430164" y="125255"/>
                  </a:lnTo>
                  <a:lnTo>
                    <a:pt x="432356" y="122767"/>
                  </a:lnTo>
                  <a:lnTo>
                    <a:pt x="430064" y="122767"/>
                  </a:lnTo>
                  <a:lnTo>
                    <a:pt x="425879" y="121574"/>
                  </a:lnTo>
                  <a:lnTo>
                    <a:pt x="430562" y="121574"/>
                  </a:lnTo>
                  <a:lnTo>
                    <a:pt x="429466" y="119484"/>
                  </a:lnTo>
                  <a:lnTo>
                    <a:pt x="427374" y="118788"/>
                  </a:lnTo>
                  <a:lnTo>
                    <a:pt x="422691" y="118788"/>
                  </a:lnTo>
                  <a:lnTo>
                    <a:pt x="423886" y="117893"/>
                  </a:lnTo>
                  <a:lnTo>
                    <a:pt x="425182" y="117395"/>
                  </a:lnTo>
                  <a:lnTo>
                    <a:pt x="428071" y="117395"/>
                  </a:lnTo>
                  <a:lnTo>
                    <a:pt x="428071" y="116699"/>
                  </a:lnTo>
                  <a:lnTo>
                    <a:pt x="428071" y="116102"/>
                  </a:lnTo>
                  <a:lnTo>
                    <a:pt x="428071" y="115604"/>
                  </a:lnTo>
                  <a:lnTo>
                    <a:pt x="427374" y="115604"/>
                  </a:lnTo>
                  <a:lnTo>
                    <a:pt x="430562" y="114212"/>
                  </a:lnTo>
                  <a:lnTo>
                    <a:pt x="441224" y="115604"/>
                  </a:lnTo>
                  <a:lnTo>
                    <a:pt x="439331" y="112520"/>
                  </a:lnTo>
                  <a:lnTo>
                    <a:pt x="433751" y="109934"/>
                  </a:lnTo>
                  <a:lnTo>
                    <a:pt x="432555" y="107645"/>
                  </a:lnTo>
                  <a:lnTo>
                    <a:pt x="431160" y="108342"/>
                  </a:lnTo>
                  <a:lnTo>
                    <a:pt x="423089" y="104561"/>
                  </a:lnTo>
                  <a:lnTo>
                    <a:pt x="423587" y="104561"/>
                  </a:lnTo>
                  <a:lnTo>
                    <a:pt x="423587" y="104561"/>
                  </a:lnTo>
                  <a:lnTo>
                    <a:pt x="424384" y="103765"/>
                  </a:lnTo>
                  <a:lnTo>
                    <a:pt x="419004" y="101676"/>
                  </a:lnTo>
                  <a:lnTo>
                    <a:pt x="402164" y="101676"/>
                  </a:lnTo>
                  <a:lnTo>
                    <a:pt x="399274" y="100383"/>
                  </a:lnTo>
                  <a:lnTo>
                    <a:pt x="402562" y="98891"/>
                  </a:lnTo>
                  <a:lnTo>
                    <a:pt x="414918" y="100383"/>
                  </a:lnTo>
                  <a:lnTo>
                    <a:pt x="414121" y="96702"/>
                  </a:lnTo>
                  <a:lnTo>
                    <a:pt x="416413" y="96702"/>
                  </a:lnTo>
                  <a:lnTo>
                    <a:pt x="419900" y="97597"/>
                  </a:lnTo>
                  <a:lnTo>
                    <a:pt x="422691" y="96702"/>
                  </a:lnTo>
                  <a:lnTo>
                    <a:pt x="420598" y="95309"/>
                  </a:lnTo>
                  <a:lnTo>
                    <a:pt x="420000" y="93817"/>
                  </a:lnTo>
                  <a:lnTo>
                    <a:pt x="420797" y="93021"/>
                  </a:lnTo>
                  <a:lnTo>
                    <a:pt x="422691" y="94414"/>
                  </a:lnTo>
                  <a:lnTo>
                    <a:pt x="422691" y="93717"/>
                  </a:lnTo>
                  <a:lnTo>
                    <a:pt x="422691" y="93220"/>
                  </a:lnTo>
                  <a:lnTo>
                    <a:pt x="422691" y="88544"/>
                  </a:lnTo>
                  <a:lnTo>
                    <a:pt x="421495" y="87847"/>
                  </a:lnTo>
                  <a:lnTo>
                    <a:pt x="420200" y="87847"/>
                  </a:lnTo>
                  <a:lnTo>
                    <a:pt x="417509" y="87847"/>
                  </a:lnTo>
                  <a:lnTo>
                    <a:pt x="419103" y="86256"/>
                  </a:lnTo>
                  <a:lnTo>
                    <a:pt x="420897" y="85559"/>
                  </a:lnTo>
                  <a:lnTo>
                    <a:pt x="424982" y="85559"/>
                  </a:lnTo>
                  <a:lnTo>
                    <a:pt x="426377" y="85062"/>
                  </a:lnTo>
                  <a:lnTo>
                    <a:pt x="428271" y="82674"/>
                  </a:lnTo>
                  <a:lnTo>
                    <a:pt x="429665" y="81779"/>
                  </a:lnTo>
                  <a:lnTo>
                    <a:pt x="426776" y="80485"/>
                  </a:lnTo>
                  <a:lnTo>
                    <a:pt x="423089" y="80485"/>
                  </a:lnTo>
                  <a:lnTo>
                    <a:pt x="415316" y="81779"/>
                  </a:lnTo>
                  <a:lnTo>
                    <a:pt x="408740" y="84763"/>
                  </a:lnTo>
                  <a:lnTo>
                    <a:pt x="405751" y="84763"/>
                  </a:lnTo>
                  <a:lnTo>
                    <a:pt x="405751" y="81281"/>
                  </a:lnTo>
                  <a:lnTo>
                    <a:pt x="402861" y="82276"/>
                  </a:lnTo>
                  <a:lnTo>
                    <a:pt x="401367" y="82276"/>
                  </a:lnTo>
                  <a:lnTo>
                    <a:pt x="399673" y="82276"/>
                  </a:lnTo>
                  <a:lnTo>
                    <a:pt x="398975" y="79590"/>
                  </a:lnTo>
                  <a:lnTo>
                    <a:pt x="395289" y="78197"/>
                  </a:lnTo>
                  <a:lnTo>
                    <a:pt x="390804" y="78197"/>
                  </a:lnTo>
                  <a:lnTo>
                    <a:pt x="387516" y="78993"/>
                  </a:lnTo>
                  <a:lnTo>
                    <a:pt x="388811" y="76904"/>
                  </a:lnTo>
                  <a:lnTo>
                    <a:pt x="390605" y="75213"/>
                  </a:lnTo>
                  <a:lnTo>
                    <a:pt x="394491" y="72924"/>
                  </a:lnTo>
                  <a:lnTo>
                    <a:pt x="394491" y="71531"/>
                  </a:lnTo>
                  <a:lnTo>
                    <a:pt x="393196" y="70238"/>
                  </a:lnTo>
                  <a:lnTo>
                    <a:pt x="393993" y="69044"/>
                  </a:lnTo>
                  <a:lnTo>
                    <a:pt x="395487" y="69840"/>
                  </a:lnTo>
                  <a:lnTo>
                    <a:pt x="397580" y="70338"/>
                  </a:lnTo>
                  <a:lnTo>
                    <a:pt x="399473" y="70338"/>
                  </a:lnTo>
                  <a:lnTo>
                    <a:pt x="400071" y="68248"/>
                  </a:lnTo>
                  <a:lnTo>
                    <a:pt x="399174" y="67254"/>
                  </a:lnTo>
                  <a:lnTo>
                    <a:pt x="384627" y="65562"/>
                  </a:lnTo>
                  <a:lnTo>
                    <a:pt x="380142" y="63274"/>
                  </a:lnTo>
                  <a:lnTo>
                    <a:pt x="381736" y="61483"/>
                  </a:lnTo>
                  <a:lnTo>
                    <a:pt x="382534" y="61483"/>
                  </a:lnTo>
                  <a:lnTo>
                    <a:pt x="383630" y="61483"/>
                  </a:lnTo>
                  <a:lnTo>
                    <a:pt x="382534" y="59692"/>
                  </a:lnTo>
                  <a:lnTo>
                    <a:pt x="381139" y="59096"/>
                  </a:lnTo>
                  <a:lnTo>
                    <a:pt x="377552" y="59096"/>
                  </a:lnTo>
                  <a:lnTo>
                    <a:pt x="378349" y="55415"/>
                  </a:lnTo>
                  <a:lnTo>
                    <a:pt x="377651" y="51435"/>
                  </a:lnTo>
                  <a:lnTo>
                    <a:pt x="375459" y="48550"/>
                  </a:lnTo>
                  <a:lnTo>
                    <a:pt x="372271" y="48052"/>
                  </a:lnTo>
                  <a:lnTo>
                    <a:pt x="372271" y="47456"/>
                  </a:lnTo>
                  <a:lnTo>
                    <a:pt x="372271" y="46759"/>
                  </a:lnTo>
                  <a:lnTo>
                    <a:pt x="372271" y="46162"/>
                  </a:lnTo>
                  <a:lnTo>
                    <a:pt x="373267" y="44371"/>
                  </a:lnTo>
                  <a:lnTo>
                    <a:pt x="373267" y="43476"/>
                  </a:lnTo>
                  <a:lnTo>
                    <a:pt x="373267" y="41486"/>
                  </a:lnTo>
                  <a:lnTo>
                    <a:pt x="373267" y="40690"/>
                  </a:lnTo>
                  <a:lnTo>
                    <a:pt x="374861" y="40690"/>
                  </a:lnTo>
                  <a:lnTo>
                    <a:pt x="376456" y="40690"/>
                  </a:lnTo>
                  <a:lnTo>
                    <a:pt x="379345" y="39497"/>
                  </a:lnTo>
                  <a:lnTo>
                    <a:pt x="379345" y="38502"/>
                  </a:lnTo>
                  <a:lnTo>
                    <a:pt x="373267" y="37308"/>
                  </a:lnTo>
                  <a:lnTo>
                    <a:pt x="371374" y="37308"/>
                  </a:lnTo>
                  <a:lnTo>
                    <a:pt x="372769" y="33229"/>
                  </a:lnTo>
                  <a:lnTo>
                    <a:pt x="372769" y="30941"/>
                  </a:lnTo>
                  <a:lnTo>
                    <a:pt x="372769" y="29846"/>
                  </a:lnTo>
                  <a:lnTo>
                    <a:pt x="371473" y="29050"/>
                  </a:lnTo>
                  <a:lnTo>
                    <a:pt x="370278" y="27160"/>
                  </a:lnTo>
                  <a:lnTo>
                    <a:pt x="369580" y="25170"/>
                  </a:lnTo>
                  <a:lnTo>
                    <a:pt x="369580" y="23877"/>
                  </a:lnTo>
                  <a:lnTo>
                    <a:pt x="367388" y="23877"/>
                  </a:lnTo>
                  <a:lnTo>
                    <a:pt x="366292" y="23877"/>
                  </a:lnTo>
                  <a:lnTo>
                    <a:pt x="365296" y="22982"/>
                  </a:lnTo>
                  <a:lnTo>
                    <a:pt x="368384" y="21688"/>
                  </a:lnTo>
                  <a:lnTo>
                    <a:pt x="366989" y="18505"/>
                  </a:lnTo>
                  <a:lnTo>
                    <a:pt x="363303" y="14525"/>
                  </a:lnTo>
                  <a:lnTo>
                    <a:pt x="359217" y="13530"/>
                  </a:lnTo>
                  <a:lnTo>
                    <a:pt x="359217" y="12635"/>
                  </a:lnTo>
                  <a:lnTo>
                    <a:pt x="365694" y="11740"/>
                  </a:lnTo>
                  <a:lnTo>
                    <a:pt x="368384" y="10347"/>
                  </a:lnTo>
                  <a:lnTo>
                    <a:pt x="368384" y="7860"/>
                  </a:lnTo>
                  <a:lnTo>
                    <a:pt x="366691" y="5571"/>
                  </a:lnTo>
                  <a:lnTo>
                    <a:pt x="364897" y="4576"/>
                  </a:lnTo>
                  <a:lnTo>
                    <a:pt x="362007" y="4576"/>
                  </a:lnTo>
                  <a:lnTo>
                    <a:pt x="359616" y="6069"/>
                  </a:lnTo>
                  <a:lnTo>
                    <a:pt x="360214" y="6765"/>
                  </a:lnTo>
                  <a:lnTo>
                    <a:pt x="360811" y="6765"/>
                  </a:lnTo>
                  <a:lnTo>
                    <a:pt x="362207" y="6765"/>
                  </a:lnTo>
                  <a:lnTo>
                    <a:pt x="358918" y="8655"/>
                  </a:lnTo>
                  <a:lnTo>
                    <a:pt x="357224" y="9252"/>
                  </a:lnTo>
                  <a:lnTo>
                    <a:pt x="355331" y="9252"/>
                  </a:lnTo>
                  <a:lnTo>
                    <a:pt x="356925" y="6467"/>
                  </a:lnTo>
                  <a:lnTo>
                    <a:pt x="359217" y="3880"/>
                  </a:lnTo>
                  <a:lnTo>
                    <a:pt x="360811" y="1393"/>
                  </a:lnTo>
                  <a:lnTo>
                    <a:pt x="360811" y="0"/>
                  </a:lnTo>
                  <a:lnTo>
                    <a:pt x="18235" y="0"/>
                  </a:lnTo>
                  <a:close/>
                  <a:moveTo>
                    <a:pt x="439032" y="388399"/>
                  </a:moveTo>
                  <a:lnTo>
                    <a:pt x="441324" y="387703"/>
                  </a:lnTo>
                  <a:lnTo>
                    <a:pt x="444811" y="386210"/>
                  </a:lnTo>
                  <a:lnTo>
                    <a:pt x="446804" y="386210"/>
                  </a:lnTo>
                  <a:lnTo>
                    <a:pt x="449196" y="386210"/>
                  </a:lnTo>
                  <a:lnTo>
                    <a:pt x="451089" y="386210"/>
                  </a:lnTo>
                  <a:lnTo>
                    <a:pt x="452584" y="386210"/>
                  </a:lnTo>
                  <a:lnTo>
                    <a:pt x="452584" y="386807"/>
                  </a:lnTo>
                  <a:lnTo>
                    <a:pt x="450591" y="388399"/>
                  </a:lnTo>
                  <a:lnTo>
                    <a:pt x="448498" y="389692"/>
                  </a:lnTo>
                  <a:lnTo>
                    <a:pt x="446605" y="390687"/>
                  </a:lnTo>
                  <a:lnTo>
                    <a:pt x="446605" y="390687"/>
                  </a:lnTo>
                  <a:lnTo>
                    <a:pt x="449594" y="390687"/>
                  </a:lnTo>
                  <a:lnTo>
                    <a:pt x="449594" y="392577"/>
                  </a:lnTo>
                  <a:lnTo>
                    <a:pt x="446705" y="393672"/>
                  </a:lnTo>
                  <a:lnTo>
                    <a:pt x="445309" y="393672"/>
                  </a:lnTo>
                  <a:lnTo>
                    <a:pt x="445309" y="392577"/>
                  </a:lnTo>
                  <a:lnTo>
                    <a:pt x="445309" y="392577"/>
                  </a:lnTo>
                  <a:lnTo>
                    <a:pt x="445309" y="392577"/>
                  </a:lnTo>
                  <a:lnTo>
                    <a:pt x="444313" y="392577"/>
                  </a:lnTo>
                  <a:lnTo>
                    <a:pt x="443018" y="392577"/>
                  </a:lnTo>
                  <a:lnTo>
                    <a:pt x="443018" y="392577"/>
                  </a:lnTo>
                  <a:lnTo>
                    <a:pt x="443018" y="392577"/>
                  </a:lnTo>
                  <a:lnTo>
                    <a:pt x="442220" y="392577"/>
                  </a:lnTo>
                  <a:lnTo>
                    <a:pt x="442220" y="392577"/>
                  </a:lnTo>
                  <a:lnTo>
                    <a:pt x="442220" y="392577"/>
                  </a:lnTo>
                  <a:lnTo>
                    <a:pt x="441324" y="392577"/>
                  </a:lnTo>
                  <a:lnTo>
                    <a:pt x="441324" y="391682"/>
                  </a:lnTo>
                  <a:lnTo>
                    <a:pt x="441324" y="389692"/>
                  </a:lnTo>
                  <a:lnTo>
                    <a:pt x="441324" y="388896"/>
                  </a:lnTo>
                  <a:lnTo>
                    <a:pt x="440527" y="389692"/>
                  </a:lnTo>
                  <a:lnTo>
                    <a:pt x="438933" y="390687"/>
                  </a:lnTo>
                  <a:lnTo>
                    <a:pt x="438135" y="389991"/>
                  </a:lnTo>
                  <a:close/>
                  <a:moveTo>
                    <a:pt x="405352" y="445505"/>
                  </a:moveTo>
                  <a:lnTo>
                    <a:pt x="409736" y="444410"/>
                  </a:lnTo>
                  <a:lnTo>
                    <a:pt x="412029" y="444410"/>
                  </a:lnTo>
                  <a:lnTo>
                    <a:pt x="413224" y="444410"/>
                  </a:lnTo>
                  <a:lnTo>
                    <a:pt x="415316" y="445206"/>
                  </a:lnTo>
                  <a:lnTo>
                    <a:pt x="414619" y="446898"/>
                  </a:lnTo>
                  <a:lnTo>
                    <a:pt x="411531" y="447693"/>
                  </a:lnTo>
                  <a:lnTo>
                    <a:pt x="404555" y="446997"/>
                  </a:lnTo>
                  <a:close/>
                  <a:moveTo>
                    <a:pt x="353338" y="421628"/>
                  </a:moveTo>
                  <a:lnTo>
                    <a:pt x="354534" y="420235"/>
                  </a:lnTo>
                  <a:lnTo>
                    <a:pt x="359516" y="418743"/>
                  </a:lnTo>
                  <a:lnTo>
                    <a:pt x="364598" y="418743"/>
                  </a:lnTo>
                  <a:lnTo>
                    <a:pt x="367189" y="419737"/>
                  </a:lnTo>
                  <a:lnTo>
                    <a:pt x="367886" y="420334"/>
                  </a:lnTo>
                  <a:lnTo>
                    <a:pt x="367886" y="421528"/>
                  </a:lnTo>
                  <a:lnTo>
                    <a:pt x="365395" y="422225"/>
                  </a:lnTo>
                  <a:lnTo>
                    <a:pt x="356029" y="422822"/>
                  </a:lnTo>
                  <a:lnTo>
                    <a:pt x="352641" y="423617"/>
                  </a:lnTo>
                  <a:lnTo>
                    <a:pt x="352641" y="423021"/>
                  </a:lnTo>
                  <a:close/>
                  <a:moveTo>
                    <a:pt x="335103" y="370790"/>
                  </a:moveTo>
                  <a:lnTo>
                    <a:pt x="337196" y="367606"/>
                  </a:lnTo>
                  <a:lnTo>
                    <a:pt x="337893" y="364721"/>
                  </a:lnTo>
                  <a:lnTo>
                    <a:pt x="338392" y="363925"/>
                  </a:lnTo>
                  <a:lnTo>
                    <a:pt x="339687" y="363925"/>
                  </a:lnTo>
                  <a:lnTo>
                    <a:pt x="341082" y="363925"/>
                  </a:lnTo>
                  <a:lnTo>
                    <a:pt x="341082" y="364820"/>
                  </a:lnTo>
                  <a:lnTo>
                    <a:pt x="341082" y="366114"/>
                  </a:lnTo>
                  <a:lnTo>
                    <a:pt x="341082" y="367706"/>
                  </a:lnTo>
                  <a:lnTo>
                    <a:pt x="342676" y="368899"/>
                  </a:lnTo>
                  <a:lnTo>
                    <a:pt x="343573" y="368899"/>
                  </a:lnTo>
                  <a:lnTo>
                    <a:pt x="342676" y="369496"/>
                  </a:lnTo>
                  <a:lnTo>
                    <a:pt x="341480" y="369496"/>
                  </a:lnTo>
                  <a:lnTo>
                    <a:pt x="337993" y="370292"/>
                  </a:lnTo>
                  <a:lnTo>
                    <a:pt x="334207" y="370292"/>
                  </a:lnTo>
                  <a:close/>
                  <a:moveTo>
                    <a:pt x="335103" y="461423"/>
                  </a:moveTo>
                  <a:lnTo>
                    <a:pt x="335701" y="460527"/>
                  </a:lnTo>
                  <a:lnTo>
                    <a:pt x="337494" y="459831"/>
                  </a:lnTo>
                  <a:lnTo>
                    <a:pt x="338790" y="459831"/>
                  </a:lnTo>
                  <a:lnTo>
                    <a:pt x="340185" y="460826"/>
                  </a:lnTo>
                  <a:lnTo>
                    <a:pt x="342178" y="461323"/>
                  </a:lnTo>
                  <a:lnTo>
                    <a:pt x="345566" y="460627"/>
                  </a:lnTo>
                  <a:lnTo>
                    <a:pt x="348555" y="458737"/>
                  </a:lnTo>
                  <a:lnTo>
                    <a:pt x="351146" y="456249"/>
                  </a:lnTo>
                  <a:lnTo>
                    <a:pt x="353538" y="453563"/>
                  </a:lnTo>
                  <a:lnTo>
                    <a:pt x="354833" y="452767"/>
                  </a:lnTo>
                  <a:lnTo>
                    <a:pt x="358420" y="452767"/>
                  </a:lnTo>
                  <a:lnTo>
                    <a:pt x="359914" y="452270"/>
                  </a:lnTo>
                  <a:lnTo>
                    <a:pt x="366093" y="449285"/>
                  </a:lnTo>
                  <a:lnTo>
                    <a:pt x="369580" y="446798"/>
                  </a:lnTo>
                  <a:lnTo>
                    <a:pt x="371972" y="445505"/>
                  </a:lnTo>
                  <a:lnTo>
                    <a:pt x="374463" y="445505"/>
                  </a:lnTo>
                  <a:lnTo>
                    <a:pt x="378249" y="446798"/>
                  </a:lnTo>
                  <a:lnTo>
                    <a:pt x="380242" y="446798"/>
                  </a:lnTo>
                  <a:lnTo>
                    <a:pt x="381637" y="447693"/>
                  </a:lnTo>
                  <a:lnTo>
                    <a:pt x="384228" y="450280"/>
                  </a:lnTo>
                  <a:lnTo>
                    <a:pt x="378747" y="453961"/>
                  </a:lnTo>
                  <a:lnTo>
                    <a:pt x="376954" y="455652"/>
                  </a:lnTo>
                  <a:lnTo>
                    <a:pt x="375559" y="457742"/>
                  </a:lnTo>
                  <a:lnTo>
                    <a:pt x="374961" y="459930"/>
                  </a:lnTo>
                  <a:lnTo>
                    <a:pt x="374961" y="461920"/>
                  </a:lnTo>
                  <a:lnTo>
                    <a:pt x="374961" y="466696"/>
                  </a:lnTo>
                  <a:lnTo>
                    <a:pt x="374961" y="468486"/>
                  </a:lnTo>
                  <a:lnTo>
                    <a:pt x="373965" y="469879"/>
                  </a:lnTo>
                  <a:lnTo>
                    <a:pt x="371673" y="471670"/>
                  </a:lnTo>
                  <a:lnTo>
                    <a:pt x="369281" y="473063"/>
                  </a:lnTo>
                  <a:lnTo>
                    <a:pt x="366790" y="473958"/>
                  </a:lnTo>
                  <a:lnTo>
                    <a:pt x="364100" y="473958"/>
                  </a:lnTo>
                  <a:lnTo>
                    <a:pt x="351245" y="472565"/>
                  </a:lnTo>
                  <a:lnTo>
                    <a:pt x="342576" y="474854"/>
                  </a:lnTo>
                  <a:lnTo>
                    <a:pt x="341680" y="474854"/>
                  </a:lnTo>
                  <a:lnTo>
                    <a:pt x="339986" y="476545"/>
                  </a:lnTo>
                  <a:lnTo>
                    <a:pt x="339189" y="476545"/>
                  </a:lnTo>
                  <a:lnTo>
                    <a:pt x="337993" y="476545"/>
                  </a:lnTo>
                  <a:lnTo>
                    <a:pt x="337993" y="475749"/>
                  </a:lnTo>
                  <a:lnTo>
                    <a:pt x="337993" y="474555"/>
                  </a:lnTo>
                  <a:lnTo>
                    <a:pt x="337993" y="473262"/>
                  </a:lnTo>
                  <a:lnTo>
                    <a:pt x="333609" y="464905"/>
                  </a:lnTo>
                  <a:close/>
                  <a:moveTo>
                    <a:pt x="318961" y="194995"/>
                  </a:moveTo>
                  <a:lnTo>
                    <a:pt x="318961" y="193702"/>
                  </a:lnTo>
                  <a:lnTo>
                    <a:pt x="326833" y="199074"/>
                  </a:lnTo>
                  <a:lnTo>
                    <a:pt x="326235" y="199870"/>
                  </a:lnTo>
                  <a:lnTo>
                    <a:pt x="325637" y="199870"/>
                  </a:lnTo>
                  <a:lnTo>
                    <a:pt x="323445" y="199870"/>
                  </a:lnTo>
                  <a:lnTo>
                    <a:pt x="322449" y="199174"/>
                  </a:lnTo>
                  <a:lnTo>
                    <a:pt x="320156" y="198179"/>
                  </a:lnTo>
                  <a:lnTo>
                    <a:pt x="319160" y="197483"/>
                  </a:lnTo>
                  <a:lnTo>
                    <a:pt x="317965" y="195891"/>
                  </a:lnTo>
                  <a:lnTo>
                    <a:pt x="317965" y="195194"/>
                  </a:lnTo>
                  <a:close/>
                  <a:moveTo>
                    <a:pt x="308498" y="261453"/>
                  </a:moveTo>
                  <a:lnTo>
                    <a:pt x="308498" y="262945"/>
                  </a:lnTo>
                  <a:lnTo>
                    <a:pt x="309096" y="264338"/>
                  </a:lnTo>
                  <a:lnTo>
                    <a:pt x="313680" y="267820"/>
                  </a:lnTo>
                  <a:lnTo>
                    <a:pt x="314477" y="268517"/>
                  </a:lnTo>
                  <a:lnTo>
                    <a:pt x="314477" y="270407"/>
                  </a:lnTo>
                  <a:lnTo>
                    <a:pt x="314477" y="271004"/>
                  </a:lnTo>
                  <a:lnTo>
                    <a:pt x="314477" y="271004"/>
                  </a:lnTo>
                  <a:lnTo>
                    <a:pt x="313481" y="273192"/>
                  </a:lnTo>
                  <a:lnTo>
                    <a:pt x="311986" y="274287"/>
                  </a:lnTo>
                  <a:lnTo>
                    <a:pt x="309993" y="274983"/>
                  </a:lnTo>
                  <a:lnTo>
                    <a:pt x="308000" y="274983"/>
                  </a:lnTo>
                  <a:lnTo>
                    <a:pt x="303118" y="273789"/>
                  </a:lnTo>
                  <a:lnTo>
                    <a:pt x="300128" y="274386"/>
                  </a:lnTo>
                  <a:lnTo>
                    <a:pt x="297836" y="273391"/>
                  </a:lnTo>
                  <a:lnTo>
                    <a:pt x="297039" y="267920"/>
                  </a:lnTo>
                  <a:lnTo>
                    <a:pt x="297737" y="263642"/>
                  </a:lnTo>
                  <a:lnTo>
                    <a:pt x="299530" y="260060"/>
                  </a:lnTo>
                  <a:lnTo>
                    <a:pt x="302221" y="258170"/>
                  </a:lnTo>
                  <a:lnTo>
                    <a:pt x="307303" y="260160"/>
                  </a:lnTo>
                  <a:close/>
                  <a:moveTo>
                    <a:pt x="299730" y="123961"/>
                  </a:moveTo>
                  <a:lnTo>
                    <a:pt x="306207" y="127145"/>
                  </a:lnTo>
                  <a:lnTo>
                    <a:pt x="306207" y="128438"/>
                  </a:lnTo>
                  <a:lnTo>
                    <a:pt x="306207" y="128438"/>
                  </a:lnTo>
                  <a:lnTo>
                    <a:pt x="306207" y="128438"/>
                  </a:lnTo>
                  <a:lnTo>
                    <a:pt x="306207" y="128438"/>
                  </a:lnTo>
                  <a:lnTo>
                    <a:pt x="306207" y="128438"/>
                  </a:lnTo>
                  <a:lnTo>
                    <a:pt x="302121" y="126449"/>
                  </a:lnTo>
                  <a:lnTo>
                    <a:pt x="300427" y="124857"/>
                  </a:lnTo>
                  <a:lnTo>
                    <a:pt x="299231" y="122270"/>
                  </a:lnTo>
                  <a:close/>
                  <a:moveTo>
                    <a:pt x="279801" y="227130"/>
                  </a:moveTo>
                  <a:lnTo>
                    <a:pt x="283288" y="225140"/>
                  </a:lnTo>
                  <a:lnTo>
                    <a:pt x="292356" y="225140"/>
                  </a:lnTo>
                  <a:lnTo>
                    <a:pt x="295843" y="224046"/>
                  </a:lnTo>
                  <a:lnTo>
                    <a:pt x="295345" y="224941"/>
                  </a:lnTo>
                  <a:lnTo>
                    <a:pt x="295345" y="226632"/>
                  </a:lnTo>
                  <a:lnTo>
                    <a:pt x="295345" y="227528"/>
                  </a:lnTo>
                  <a:lnTo>
                    <a:pt x="294548" y="232602"/>
                  </a:lnTo>
                  <a:lnTo>
                    <a:pt x="299530" y="237178"/>
                  </a:lnTo>
                  <a:lnTo>
                    <a:pt x="298733" y="240959"/>
                  </a:lnTo>
                  <a:lnTo>
                    <a:pt x="295744" y="242749"/>
                  </a:lnTo>
                  <a:lnTo>
                    <a:pt x="291061" y="242749"/>
                  </a:lnTo>
                  <a:lnTo>
                    <a:pt x="286676" y="241257"/>
                  </a:lnTo>
                  <a:lnTo>
                    <a:pt x="283189" y="234989"/>
                  </a:lnTo>
                  <a:lnTo>
                    <a:pt x="280000" y="233398"/>
                  </a:lnTo>
                  <a:lnTo>
                    <a:pt x="278107" y="231308"/>
                  </a:lnTo>
                  <a:close/>
                  <a:moveTo>
                    <a:pt x="148270" y="48052"/>
                  </a:moveTo>
                  <a:lnTo>
                    <a:pt x="149068" y="46660"/>
                  </a:lnTo>
                  <a:lnTo>
                    <a:pt x="150164" y="47356"/>
                  </a:lnTo>
                  <a:lnTo>
                    <a:pt x="150762" y="49346"/>
                  </a:lnTo>
                  <a:lnTo>
                    <a:pt x="150762" y="51236"/>
                  </a:lnTo>
                  <a:lnTo>
                    <a:pt x="150263" y="53126"/>
                  </a:lnTo>
                  <a:lnTo>
                    <a:pt x="149666" y="54121"/>
                  </a:lnTo>
                  <a:lnTo>
                    <a:pt x="149168" y="54121"/>
                  </a:lnTo>
                  <a:lnTo>
                    <a:pt x="148370" y="54121"/>
                  </a:lnTo>
                  <a:lnTo>
                    <a:pt x="148370" y="52330"/>
                  </a:lnTo>
                  <a:lnTo>
                    <a:pt x="148370" y="48152"/>
                  </a:lnTo>
                  <a:close/>
                  <a:moveTo>
                    <a:pt x="50121" y="258269"/>
                  </a:moveTo>
                  <a:lnTo>
                    <a:pt x="53310" y="257274"/>
                  </a:lnTo>
                  <a:lnTo>
                    <a:pt x="63274" y="258269"/>
                  </a:lnTo>
                  <a:lnTo>
                    <a:pt x="66264" y="257772"/>
                  </a:lnTo>
                  <a:lnTo>
                    <a:pt x="77723" y="253494"/>
                  </a:lnTo>
                  <a:lnTo>
                    <a:pt x="84299" y="252300"/>
                  </a:lnTo>
                  <a:lnTo>
                    <a:pt x="99445" y="252300"/>
                  </a:lnTo>
                  <a:lnTo>
                    <a:pt x="108413" y="249514"/>
                  </a:lnTo>
                  <a:lnTo>
                    <a:pt x="140100" y="252400"/>
                  </a:lnTo>
                  <a:lnTo>
                    <a:pt x="146676" y="254190"/>
                  </a:lnTo>
                  <a:lnTo>
                    <a:pt x="161424" y="267721"/>
                  </a:lnTo>
                  <a:lnTo>
                    <a:pt x="164114" y="269511"/>
                  </a:lnTo>
                  <a:lnTo>
                    <a:pt x="165011" y="270407"/>
                  </a:lnTo>
                  <a:lnTo>
                    <a:pt x="166206" y="271999"/>
                  </a:lnTo>
                  <a:lnTo>
                    <a:pt x="168797" y="277470"/>
                  </a:lnTo>
                  <a:lnTo>
                    <a:pt x="170491" y="279062"/>
                  </a:lnTo>
                  <a:lnTo>
                    <a:pt x="177566" y="284136"/>
                  </a:lnTo>
                  <a:lnTo>
                    <a:pt x="190121" y="298761"/>
                  </a:lnTo>
                  <a:lnTo>
                    <a:pt x="191516" y="301148"/>
                  </a:lnTo>
                  <a:lnTo>
                    <a:pt x="192712" y="303934"/>
                  </a:lnTo>
                  <a:lnTo>
                    <a:pt x="197196" y="313883"/>
                  </a:lnTo>
                  <a:lnTo>
                    <a:pt x="197894" y="316569"/>
                  </a:lnTo>
                  <a:lnTo>
                    <a:pt x="202975" y="328309"/>
                  </a:lnTo>
                  <a:lnTo>
                    <a:pt x="204071" y="334974"/>
                  </a:lnTo>
                  <a:lnTo>
                    <a:pt x="199587" y="338655"/>
                  </a:lnTo>
                  <a:lnTo>
                    <a:pt x="200285" y="342336"/>
                  </a:lnTo>
                  <a:lnTo>
                    <a:pt x="197993" y="343232"/>
                  </a:lnTo>
                  <a:lnTo>
                    <a:pt x="194705" y="342336"/>
                  </a:lnTo>
                  <a:lnTo>
                    <a:pt x="189523" y="338357"/>
                  </a:lnTo>
                  <a:lnTo>
                    <a:pt x="158634" y="332885"/>
                  </a:lnTo>
                  <a:lnTo>
                    <a:pt x="142790" y="324031"/>
                  </a:lnTo>
                  <a:lnTo>
                    <a:pt x="125751" y="316867"/>
                  </a:lnTo>
                  <a:lnTo>
                    <a:pt x="102534" y="313783"/>
                  </a:lnTo>
                  <a:lnTo>
                    <a:pt x="79715" y="306421"/>
                  </a:lnTo>
                  <a:lnTo>
                    <a:pt x="61580" y="299656"/>
                  </a:lnTo>
                  <a:lnTo>
                    <a:pt x="41651" y="293985"/>
                  </a:lnTo>
                  <a:lnTo>
                    <a:pt x="33481" y="287718"/>
                  </a:lnTo>
                  <a:lnTo>
                    <a:pt x="27602" y="285529"/>
                  </a:lnTo>
                  <a:lnTo>
                    <a:pt x="28698" y="282544"/>
                  </a:lnTo>
                  <a:lnTo>
                    <a:pt x="33879" y="277271"/>
                  </a:lnTo>
                  <a:lnTo>
                    <a:pt x="34577" y="276277"/>
                  </a:lnTo>
                  <a:lnTo>
                    <a:pt x="37466" y="270705"/>
                  </a:lnTo>
                  <a:lnTo>
                    <a:pt x="42648" y="264338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3" name="Freeform: Shape 1242">
              <a:extLst>
                <a:ext uri="{FF2B5EF4-FFF2-40B4-BE49-F238E27FC236}">
                  <a16:creationId xmlns:a16="http://schemas.microsoft.com/office/drawing/2014/main" id="{2A17FB5A-C251-4C2D-A92F-4FA9BA480A1C}"/>
                </a:ext>
              </a:extLst>
            </p:cNvPr>
            <p:cNvSpPr/>
            <p:nvPr/>
          </p:nvSpPr>
          <p:spPr>
            <a:xfrm>
              <a:off x="2287461" y="306456"/>
              <a:ext cx="136013" cy="159577"/>
            </a:xfrm>
            <a:custGeom>
              <a:avLst/>
              <a:gdLst>
                <a:gd name="connsiteX0" fmla="*/ 133622 w 136013"/>
                <a:gd name="connsiteY0" fmla="*/ 53524 h 159577"/>
                <a:gd name="connsiteX1" fmla="*/ 130135 w 136013"/>
                <a:gd name="connsiteY1" fmla="*/ 52430 h 159577"/>
                <a:gd name="connsiteX2" fmla="*/ 126847 w 136013"/>
                <a:gd name="connsiteY2" fmla="*/ 52430 h 159577"/>
                <a:gd name="connsiteX3" fmla="*/ 125352 w 136013"/>
                <a:gd name="connsiteY3" fmla="*/ 52430 h 159577"/>
                <a:gd name="connsiteX4" fmla="*/ 124754 w 136013"/>
                <a:gd name="connsiteY4" fmla="*/ 50739 h 159577"/>
                <a:gd name="connsiteX5" fmla="*/ 121865 w 136013"/>
                <a:gd name="connsiteY5" fmla="*/ 46958 h 159577"/>
                <a:gd name="connsiteX6" fmla="*/ 121067 w 136013"/>
                <a:gd name="connsiteY6" fmla="*/ 46063 h 159577"/>
                <a:gd name="connsiteX7" fmla="*/ 119174 w 136013"/>
                <a:gd name="connsiteY7" fmla="*/ 44968 h 159577"/>
                <a:gd name="connsiteX8" fmla="*/ 118277 w 136013"/>
                <a:gd name="connsiteY8" fmla="*/ 44968 h 159577"/>
                <a:gd name="connsiteX9" fmla="*/ 117580 w 136013"/>
                <a:gd name="connsiteY9" fmla="*/ 45665 h 159577"/>
                <a:gd name="connsiteX10" fmla="*/ 116284 w 136013"/>
                <a:gd name="connsiteY10" fmla="*/ 45665 h 159577"/>
                <a:gd name="connsiteX11" fmla="*/ 114591 w 136013"/>
                <a:gd name="connsiteY11" fmla="*/ 47058 h 159577"/>
                <a:gd name="connsiteX12" fmla="*/ 113395 w 136013"/>
                <a:gd name="connsiteY12" fmla="*/ 50042 h 159577"/>
                <a:gd name="connsiteX13" fmla="*/ 111502 w 136013"/>
                <a:gd name="connsiteY13" fmla="*/ 52927 h 159577"/>
                <a:gd name="connsiteX14" fmla="*/ 108114 w 136013"/>
                <a:gd name="connsiteY14" fmla="*/ 53723 h 159577"/>
                <a:gd name="connsiteX15" fmla="*/ 111103 w 136013"/>
                <a:gd name="connsiteY15" fmla="*/ 45267 h 159577"/>
                <a:gd name="connsiteX16" fmla="*/ 111103 w 136013"/>
                <a:gd name="connsiteY16" fmla="*/ 41486 h 159577"/>
                <a:gd name="connsiteX17" fmla="*/ 110505 w 136013"/>
                <a:gd name="connsiteY17" fmla="*/ 38303 h 159577"/>
                <a:gd name="connsiteX18" fmla="*/ 106718 w 136013"/>
                <a:gd name="connsiteY18" fmla="*/ 29349 h 159577"/>
                <a:gd name="connsiteX19" fmla="*/ 109011 w 136013"/>
                <a:gd name="connsiteY19" fmla="*/ 29349 h 159577"/>
                <a:gd name="connsiteX20" fmla="*/ 110505 w 136013"/>
                <a:gd name="connsiteY20" fmla="*/ 29349 h 159577"/>
                <a:gd name="connsiteX21" fmla="*/ 111601 w 136013"/>
                <a:gd name="connsiteY21" fmla="*/ 30045 h 159577"/>
                <a:gd name="connsiteX22" fmla="*/ 112797 w 136013"/>
                <a:gd name="connsiteY22" fmla="*/ 31140 h 159577"/>
                <a:gd name="connsiteX23" fmla="*/ 114790 w 136013"/>
                <a:gd name="connsiteY23" fmla="*/ 35318 h 159577"/>
                <a:gd name="connsiteX24" fmla="*/ 116185 w 136013"/>
                <a:gd name="connsiteY24" fmla="*/ 36412 h 159577"/>
                <a:gd name="connsiteX25" fmla="*/ 118078 w 136013"/>
                <a:gd name="connsiteY25" fmla="*/ 34721 h 159577"/>
                <a:gd name="connsiteX26" fmla="*/ 118078 w 136013"/>
                <a:gd name="connsiteY26" fmla="*/ 31438 h 159577"/>
                <a:gd name="connsiteX27" fmla="*/ 116783 w 136013"/>
                <a:gd name="connsiteY27" fmla="*/ 27061 h 159577"/>
                <a:gd name="connsiteX28" fmla="*/ 114690 w 136013"/>
                <a:gd name="connsiteY28" fmla="*/ 22982 h 159577"/>
                <a:gd name="connsiteX29" fmla="*/ 112896 w 136013"/>
                <a:gd name="connsiteY29" fmla="*/ 20295 h 159577"/>
                <a:gd name="connsiteX30" fmla="*/ 111900 w 136013"/>
                <a:gd name="connsiteY30" fmla="*/ 18306 h 159577"/>
                <a:gd name="connsiteX31" fmla="*/ 111003 w 136013"/>
                <a:gd name="connsiteY31" fmla="*/ 15818 h 159577"/>
                <a:gd name="connsiteX32" fmla="*/ 109907 w 136013"/>
                <a:gd name="connsiteY32" fmla="*/ 13630 h 159577"/>
                <a:gd name="connsiteX33" fmla="*/ 108114 w 136013"/>
                <a:gd name="connsiteY33" fmla="*/ 12734 h 159577"/>
                <a:gd name="connsiteX34" fmla="*/ 99843 w 136013"/>
                <a:gd name="connsiteY34" fmla="*/ 11640 h 159577"/>
                <a:gd name="connsiteX35" fmla="*/ 98847 w 136013"/>
                <a:gd name="connsiteY35" fmla="*/ 10546 h 159577"/>
                <a:gd name="connsiteX36" fmla="*/ 96953 w 136013"/>
                <a:gd name="connsiteY36" fmla="*/ 5671 h 159577"/>
                <a:gd name="connsiteX37" fmla="*/ 86989 w 136013"/>
                <a:gd name="connsiteY37" fmla="*/ 0 h 159577"/>
                <a:gd name="connsiteX38" fmla="*/ 84996 w 136013"/>
                <a:gd name="connsiteY38" fmla="*/ 0 h 159577"/>
                <a:gd name="connsiteX39" fmla="*/ 83103 w 136013"/>
                <a:gd name="connsiteY39" fmla="*/ 1194 h 159577"/>
                <a:gd name="connsiteX40" fmla="*/ 81409 w 136013"/>
                <a:gd name="connsiteY40" fmla="*/ 3184 h 159577"/>
                <a:gd name="connsiteX41" fmla="*/ 82605 w 136013"/>
                <a:gd name="connsiteY41" fmla="*/ 5173 h 159577"/>
                <a:gd name="connsiteX42" fmla="*/ 90476 w 136013"/>
                <a:gd name="connsiteY42" fmla="*/ 12038 h 159577"/>
                <a:gd name="connsiteX43" fmla="*/ 91672 w 136013"/>
                <a:gd name="connsiteY43" fmla="*/ 12038 h 159577"/>
                <a:gd name="connsiteX44" fmla="*/ 93067 w 136013"/>
                <a:gd name="connsiteY44" fmla="*/ 10745 h 159577"/>
                <a:gd name="connsiteX45" fmla="*/ 94363 w 136013"/>
                <a:gd name="connsiteY45" fmla="*/ 10148 h 159577"/>
                <a:gd name="connsiteX46" fmla="*/ 95060 w 136013"/>
                <a:gd name="connsiteY46" fmla="*/ 11640 h 159577"/>
                <a:gd name="connsiteX47" fmla="*/ 95658 w 136013"/>
                <a:gd name="connsiteY47" fmla="*/ 13829 h 159577"/>
                <a:gd name="connsiteX48" fmla="*/ 96555 w 136013"/>
                <a:gd name="connsiteY48" fmla="*/ 14824 h 159577"/>
                <a:gd name="connsiteX49" fmla="*/ 96555 w 136013"/>
                <a:gd name="connsiteY49" fmla="*/ 15321 h 159577"/>
                <a:gd name="connsiteX50" fmla="*/ 96555 w 136013"/>
                <a:gd name="connsiteY50" fmla="*/ 16316 h 159577"/>
                <a:gd name="connsiteX51" fmla="*/ 96555 w 136013"/>
                <a:gd name="connsiteY51" fmla="*/ 17510 h 159577"/>
                <a:gd name="connsiteX52" fmla="*/ 96555 w 136013"/>
                <a:gd name="connsiteY52" fmla="*/ 18306 h 159577"/>
                <a:gd name="connsiteX53" fmla="*/ 96555 w 136013"/>
                <a:gd name="connsiteY53" fmla="*/ 18306 h 159577"/>
                <a:gd name="connsiteX54" fmla="*/ 98049 w 136013"/>
                <a:gd name="connsiteY54" fmla="*/ 18306 h 159577"/>
                <a:gd name="connsiteX55" fmla="*/ 98647 w 136013"/>
                <a:gd name="connsiteY55" fmla="*/ 18306 h 159577"/>
                <a:gd name="connsiteX56" fmla="*/ 100640 w 136013"/>
                <a:gd name="connsiteY56" fmla="*/ 19997 h 159577"/>
                <a:gd name="connsiteX57" fmla="*/ 101338 w 136013"/>
                <a:gd name="connsiteY57" fmla="*/ 20892 h 159577"/>
                <a:gd name="connsiteX58" fmla="*/ 102135 w 136013"/>
                <a:gd name="connsiteY58" fmla="*/ 22982 h 159577"/>
                <a:gd name="connsiteX59" fmla="*/ 102135 w 136013"/>
                <a:gd name="connsiteY59" fmla="*/ 27160 h 159577"/>
                <a:gd name="connsiteX60" fmla="*/ 100840 w 136013"/>
                <a:gd name="connsiteY60" fmla="*/ 28354 h 159577"/>
                <a:gd name="connsiteX61" fmla="*/ 95160 w 136013"/>
                <a:gd name="connsiteY61" fmla="*/ 27657 h 159577"/>
                <a:gd name="connsiteX62" fmla="*/ 93865 w 136013"/>
                <a:gd name="connsiteY62" fmla="*/ 26961 h 159577"/>
                <a:gd name="connsiteX63" fmla="*/ 91573 w 136013"/>
                <a:gd name="connsiteY63" fmla="*/ 23976 h 159577"/>
                <a:gd name="connsiteX64" fmla="*/ 90476 w 136013"/>
                <a:gd name="connsiteY64" fmla="*/ 22982 h 159577"/>
                <a:gd name="connsiteX65" fmla="*/ 89380 w 136013"/>
                <a:gd name="connsiteY65" fmla="*/ 22982 h 159577"/>
                <a:gd name="connsiteX66" fmla="*/ 88683 w 136013"/>
                <a:gd name="connsiteY66" fmla="*/ 22982 h 159577"/>
                <a:gd name="connsiteX67" fmla="*/ 87886 w 136013"/>
                <a:gd name="connsiteY67" fmla="*/ 22982 h 159577"/>
                <a:gd name="connsiteX68" fmla="*/ 86889 w 136013"/>
                <a:gd name="connsiteY68" fmla="*/ 22982 h 159577"/>
                <a:gd name="connsiteX69" fmla="*/ 86889 w 136013"/>
                <a:gd name="connsiteY69" fmla="*/ 22385 h 159577"/>
                <a:gd name="connsiteX70" fmla="*/ 86889 w 136013"/>
                <a:gd name="connsiteY70" fmla="*/ 21390 h 159577"/>
                <a:gd name="connsiteX71" fmla="*/ 84299 w 136013"/>
                <a:gd name="connsiteY71" fmla="*/ 15122 h 159577"/>
                <a:gd name="connsiteX72" fmla="*/ 82605 w 136013"/>
                <a:gd name="connsiteY72" fmla="*/ 13232 h 159577"/>
                <a:gd name="connsiteX73" fmla="*/ 79217 w 136013"/>
                <a:gd name="connsiteY73" fmla="*/ 12535 h 159577"/>
                <a:gd name="connsiteX74" fmla="*/ 77822 w 136013"/>
                <a:gd name="connsiteY74" fmla="*/ 11938 h 159577"/>
                <a:gd name="connsiteX75" fmla="*/ 77025 w 136013"/>
                <a:gd name="connsiteY75" fmla="*/ 10446 h 159577"/>
                <a:gd name="connsiteX76" fmla="*/ 76327 w 136013"/>
                <a:gd name="connsiteY76" fmla="*/ 8755 h 159577"/>
                <a:gd name="connsiteX77" fmla="*/ 75331 w 136013"/>
                <a:gd name="connsiteY77" fmla="*/ 7860 h 159577"/>
                <a:gd name="connsiteX78" fmla="*/ 73836 w 136013"/>
                <a:gd name="connsiteY78" fmla="*/ 7860 h 159577"/>
                <a:gd name="connsiteX79" fmla="*/ 72541 w 136013"/>
                <a:gd name="connsiteY79" fmla="*/ 7860 h 159577"/>
                <a:gd name="connsiteX80" fmla="*/ 67260 w 136013"/>
                <a:gd name="connsiteY80" fmla="*/ 12336 h 159577"/>
                <a:gd name="connsiteX81" fmla="*/ 65665 w 136013"/>
                <a:gd name="connsiteY81" fmla="*/ 13132 h 159577"/>
                <a:gd name="connsiteX82" fmla="*/ 64868 w 136013"/>
                <a:gd name="connsiteY82" fmla="*/ 11640 h 159577"/>
                <a:gd name="connsiteX83" fmla="*/ 64868 w 136013"/>
                <a:gd name="connsiteY83" fmla="*/ 10148 h 159577"/>
                <a:gd name="connsiteX84" fmla="*/ 64270 w 136013"/>
                <a:gd name="connsiteY84" fmla="*/ 8357 h 159577"/>
                <a:gd name="connsiteX85" fmla="*/ 63573 w 136013"/>
                <a:gd name="connsiteY85" fmla="*/ 6865 h 159577"/>
                <a:gd name="connsiteX86" fmla="*/ 62975 w 136013"/>
                <a:gd name="connsiteY86" fmla="*/ 6268 h 159577"/>
                <a:gd name="connsiteX87" fmla="*/ 58192 w 136013"/>
                <a:gd name="connsiteY87" fmla="*/ 2786 h 159577"/>
                <a:gd name="connsiteX88" fmla="*/ 56398 w 136013"/>
                <a:gd name="connsiteY88" fmla="*/ 2189 h 159577"/>
                <a:gd name="connsiteX89" fmla="*/ 54804 w 136013"/>
                <a:gd name="connsiteY89" fmla="*/ 2189 h 159577"/>
                <a:gd name="connsiteX90" fmla="*/ 53210 w 136013"/>
                <a:gd name="connsiteY90" fmla="*/ 2189 h 159577"/>
                <a:gd name="connsiteX91" fmla="*/ 51217 w 136013"/>
                <a:gd name="connsiteY91" fmla="*/ 2885 h 159577"/>
                <a:gd name="connsiteX92" fmla="*/ 50220 w 136013"/>
                <a:gd name="connsiteY92" fmla="*/ 5969 h 159577"/>
                <a:gd name="connsiteX93" fmla="*/ 43245 w 136013"/>
                <a:gd name="connsiteY93" fmla="*/ 13431 h 159577"/>
                <a:gd name="connsiteX94" fmla="*/ 40854 w 136013"/>
                <a:gd name="connsiteY94" fmla="*/ 15122 h 159577"/>
                <a:gd name="connsiteX95" fmla="*/ 35872 w 136013"/>
                <a:gd name="connsiteY95" fmla="*/ 17211 h 159577"/>
                <a:gd name="connsiteX96" fmla="*/ 34078 w 136013"/>
                <a:gd name="connsiteY96" fmla="*/ 19698 h 159577"/>
                <a:gd name="connsiteX97" fmla="*/ 34078 w 136013"/>
                <a:gd name="connsiteY97" fmla="*/ 21489 h 159577"/>
                <a:gd name="connsiteX98" fmla="*/ 34078 w 136013"/>
                <a:gd name="connsiteY98" fmla="*/ 23280 h 159577"/>
                <a:gd name="connsiteX99" fmla="*/ 34078 w 136013"/>
                <a:gd name="connsiteY99" fmla="*/ 27260 h 159577"/>
                <a:gd name="connsiteX100" fmla="*/ 34078 w 136013"/>
                <a:gd name="connsiteY100" fmla="*/ 29050 h 159577"/>
                <a:gd name="connsiteX101" fmla="*/ 32882 w 136013"/>
                <a:gd name="connsiteY101" fmla="*/ 32234 h 159577"/>
                <a:gd name="connsiteX102" fmla="*/ 31886 w 136013"/>
                <a:gd name="connsiteY102" fmla="*/ 38104 h 159577"/>
                <a:gd name="connsiteX103" fmla="*/ 29992 w 136013"/>
                <a:gd name="connsiteY103" fmla="*/ 41088 h 159577"/>
                <a:gd name="connsiteX104" fmla="*/ 27501 w 136013"/>
                <a:gd name="connsiteY104" fmla="*/ 43078 h 159577"/>
                <a:gd name="connsiteX105" fmla="*/ 24712 w 136013"/>
                <a:gd name="connsiteY105" fmla="*/ 44073 h 159577"/>
                <a:gd name="connsiteX106" fmla="*/ 21323 w 136013"/>
                <a:gd name="connsiteY106" fmla="*/ 44073 h 159577"/>
                <a:gd name="connsiteX107" fmla="*/ 19430 w 136013"/>
                <a:gd name="connsiteY107" fmla="*/ 44073 h 159577"/>
                <a:gd name="connsiteX108" fmla="*/ 18633 w 136013"/>
                <a:gd name="connsiteY108" fmla="*/ 44968 h 159577"/>
                <a:gd name="connsiteX109" fmla="*/ 18633 w 136013"/>
                <a:gd name="connsiteY109" fmla="*/ 46958 h 159577"/>
                <a:gd name="connsiteX110" fmla="*/ 18633 w 136013"/>
                <a:gd name="connsiteY110" fmla="*/ 48649 h 159577"/>
                <a:gd name="connsiteX111" fmla="*/ 19630 w 136013"/>
                <a:gd name="connsiteY111" fmla="*/ 49744 h 159577"/>
                <a:gd name="connsiteX112" fmla="*/ 22220 w 136013"/>
                <a:gd name="connsiteY112" fmla="*/ 50540 h 159577"/>
                <a:gd name="connsiteX113" fmla="*/ 25807 w 136013"/>
                <a:gd name="connsiteY113" fmla="*/ 52728 h 159577"/>
                <a:gd name="connsiteX114" fmla="*/ 26804 w 136013"/>
                <a:gd name="connsiteY114" fmla="*/ 53723 h 159577"/>
                <a:gd name="connsiteX115" fmla="*/ 26804 w 136013"/>
                <a:gd name="connsiteY115" fmla="*/ 55514 h 159577"/>
                <a:gd name="connsiteX116" fmla="*/ 26107 w 136013"/>
                <a:gd name="connsiteY116" fmla="*/ 56111 h 159577"/>
                <a:gd name="connsiteX117" fmla="*/ 25010 w 136013"/>
                <a:gd name="connsiteY117" fmla="*/ 56111 h 159577"/>
                <a:gd name="connsiteX118" fmla="*/ 25010 w 136013"/>
                <a:gd name="connsiteY118" fmla="*/ 56807 h 159577"/>
                <a:gd name="connsiteX119" fmla="*/ 25708 w 136013"/>
                <a:gd name="connsiteY119" fmla="*/ 59095 h 159577"/>
                <a:gd name="connsiteX120" fmla="*/ 26804 w 136013"/>
                <a:gd name="connsiteY120" fmla="*/ 59692 h 159577"/>
                <a:gd name="connsiteX121" fmla="*/ 28199 w 136013"/>
                <a:gd name="connsiteY121" fmla="*/ 59692 h 159577"/>
                <a:gd name="connsiteX122" fmla="*/ 29694 w 136013"/>
                <a:gd name="connsiteY122" fmla="*/ 60886 h 159577"/>
                <a:gd name="connsiteX123" fmla="*/ 30391 w 136013"/>
                <a:gd name="connsiteY123" fmla="*/ 62578 h 159577"/>
                <a:gd name="connsiteX124" fmla="*/ 29594 w 136013"/>
                <a:gd name="connsiteY124" fmla="*/ 63473 h 159577"/>
                <a:gd name="connsiteX125" fmla="*/ 28299 w 136013"/>
                <a:gd name="connsiteY125" fmla="*/ 64169 h 159577"/>
                <a:gd name="connsiteX126" fmla="*/ 26306 w 136013"/>
                <a:gd name="connsiteY126" fmla="*/ 67950 h 159577"/>
                <a:gd name="connsiteX127" fmla="*/ 20028 w 136013"/>
                <a:gd name="connsiteY127" fmla="*/ 67950 h 159577"/>
                <a:gd name="connsiteX128" fmla="*/ 17936 w 136013"/>
                <a:gd name="connsiteY128" fmla="*/ 70139 h 159577"/>
                <a:gd name="connsiteX129" fmla="*/ 16043 w 136013"/>
                <a:gd name="connsiteY129" fmla="*/ 69144 h 159577"/>
                <a:gd name="connsiteX130" fmla="*/ 14548 w 136013"/>
                <a:gd name="connsiteY130" fmla="*/ 69741 h 159577"/>
                <a:gd name="connsiteX131" fmla="*/ 13352 w 136013"/>
                <a:gd name="connsiteY131" fmla="*/ 71332 h 159577"/>
                <a:gd name="connsiteX132" fmla="*/ 12754 w 136013"/>
                <a:gd name="connsiteY132" fmla="*/ 73621 h 159577"/>
                <a:gd name="connsiteX133" fmla="*/ 17537 w 136013"/>
                <a:gd name="connsiteY133" fmla="*/ 75610 h 159577"/>
                <a:gd name="connsiteX134" fmla="*/ 19131 w 136013"/>
                <a:gd name="connsiteY134" fmla="*/ 77600 h 159577"/>
                <a:gd name="connsiteX135" fmla="*/ 19829 w 136013"/>
                <a:gd name="connsiteY135" fmla="*/ 81082 h 159577"/>
                <a:gd name="connsiteX136" fmla="*/ 19829 w 136013"/>
                <a:gd name="connsiteY136" fmla="*/ 83569 h 159577"/>
                <a:gd name="connsiteX137" fmla="*/ 19032 w 136013"/>
                <a:gd name="connsiteY137" fmla="*/ 83569 h 159577"/>
                <a:gd name="connsiteX138" fmla="*/ 17936 w 136013"/>
                <a:gd name="connsiteY138" fmla="*/ 83569 h 159577"/>
                <a:gd name="connsiteX139" fmla="*/ 16541 w 136013"/>
                <a:gd name="connsiteY139" fmla="*/ 84365 h 159577"/>
                <a:gd name="connsiteX140" fmla="*/ 15245 w 136013"/>
                <a:gd name="connsiteY140" fmla="*/ 88046 h 159577"/>
                <a:gd name="connsiteX141" fmla="*/ 15245 w 136013"/>
                <a:gd name="connsiteY141" fmla="*/ 88942 h 159577"/>
                <a:gd name="connsiteX142" fmla="*/ 13850 w 136013"/>
                <a:gd name="connsiteY142" fmla="*/ 89937 h 159577"/>
                <a:gd name="connsiteX143" fmla="*/ 13850 w 136013"/>
                <a:gd name="connsiteY143" fmla="*/ 89937 h 159577"/>
                <a:gd name="connsiteX144" fmla="*/ 13850 w 136013"/>
                <a:gd name="connsiteY144" fmla="*/ 89340 h 159577"/>
                <a:gd name="connsiteX145" fmla="*/ 11658 w 136013"/>
                <a:gd name="connsiteY145" fmla="*/ 88643 h 159577"/>
                <a:gd name="connsiteX146" fmla="*/ 9466 w 136013"/>
                <a:gd name="connsiteY146" fmla="*/ 87052 h 159577"/>
                <a:gd name="connsiteX147" fmla="*/ 5779 w 136013"/>
                <a:gd name="connsiteY147" fmla="*/ 85460 h 159577"/>
                <a:gd name="connsiteX148" fmla="*/ 5779 w 136013"/>
                <a:gd name="connsiteY148" fmla="*/ 82575 h 159577"/>
                <a:gd name="connsiteX149" fmla="*/ 6377 w 136013"/>
                <a:gd name="connsiteY149" fmla="*/ 79092 h 159577"/>
                <a:gd name="connsiteX150" fmla="*/ 6377 w 136013"/>
                <a:gd name="connsiteY150" fmla="*/ 76307 h 159577"/>
                <a:gd name="connsiteX151" fmla="*/ 4085 w 136013"/>
                <a:gd name="connsiteY151" fmla="*/ 74616 h 159577"/>
                <a:gd name="connsiteX152" fmla="*/ 1694 w 136013"/>
                <a:gd name="connsiteY152" fmla="*/ 79192 h 159577"/>
                <a:gd name="connsiteX153" fmla="*/ 0 w 136013"/>
                <a:gd name="connsiteY153" fmla="*/ 85858 h 159577"/>
                <a:gd name="connsiteX154" fmla="*/ 0 w 136013"/>
                <a:gd name="connsiteY154" fmla="*/ 90235 h 159577"/>
                <a:gd name="connsiteX155" fmla="*/ 1196 w 136013"/>
                <a:gd name="connsiteY155" fmla="*/ 93419 h 159577"/>
                <a:gd name="connsiteX156" fmla="*/ 2391 w 136013"/>
                <a:gd name="connsiteY156" fmla="*/ 93419 h 159577"/>
                <a:gd name="connsiteX157" fmla="*/ 3687 w 136013"/>
                <a:gd name="connsiteY157" fmla="*/ 91528 h 159577"/>
                <a:gd name="connsiteX158" fmla="*/ 5281 w 136013"/>
                <a:gd name="connsiteY158" fmla="*/ 90534 h 159577"/>
                <a:gd name="connsiteX159" fmla="*/ 5281 w 136013"/>
                <a:gd name="connsiteY159" fmla="*/ 92026 h 159577"/>
                <a:gd name="connsiteX160" fmla="*/ 5281 w 136013"/>
                <a:gd name="connsiteY160" fmla="*/ 99288 h 159577"/>
                <a:gd name="connsiteX161" fmla="*/ 6377 w 136013"/>
                <a:gd name="connsiteY161" fmla="*/ 102074 h 159577"/>
                <a:gd name="connsiteX162" fmla="*/ 7374 w 136013"/>
                <a:gd name="connsiteY162" fmla="*/ 98692 h 159577"/>
                <a:gd name="connsiteX163" fmla="*/ 7971 w 136013"/>
                <a:gd name="connsiteY163" fmla="*/ 97398 h 159577"/>
                <a:gd name="connsiteX164" fmla="*/ 8968 w 136013"/>
                <a:gd name="connsiteY164" fmla="*/ 96304 h 159577"/>
                <a:gd name="connsiteX165" fmla="*/ 9665 w 136013"/>
                <a:gd name="connsiteY165" fmla="*/ 99487 h 159577"/>
                <a:gd name="connsiteX166" fmla="*/ 9665 w 136013"/>
                <a:gd name="connsiteY166" fmla="*/ 101179 h 159577"/>
                <a:gd name="connsiteX167" fmla="*/ 10263 w 136013"/>
                <a:gd name="connsiteY167" fmla="*/ 102074 h 159577"/>
                <a:gd name="connsiteX168" fmla="*/ 11758 w 136013"/>
                <a:gd name="connsiteY168" fmla="*/ 102074 h 159577"/>
                <a:gd name="connsiteX169" fmla="*/ 12754 w 136013"/>
                <a:gd name="connsiteY169" fmla="*/ 101278 h 159577"/>
                <a:gd name="connsiteX170" fmla="*/ 13751 w 136013"/>
                <a:gd name="connsiteY170" fmla="*/ 99388 h 159577"/>
                <a:gd name="connsiteX171" fmla="*/ 16441 w 136013"/>
                <a:gd name="connsiteY171" fmla="*/ 96901 h 159577"/>
                <a:gd name="connsiteX172" fmla="*/ 17238 w 136013"/>
                <a:gd name="connsiteY172" fmla="*/ 95806 h 159577"/>
                <a:gd name="connsiteX173" fmla="*/ 17238 w 136013"/>
                <a:gd name="connsiteY173" fmla="*/ 94712 h 159577"/>
                <a:gd name="connsiteX174" fmla="*/ 17836 w 136013"/>
                <a:gd name="connsiteY174" fmla="*/ 91727 h 159577"/>
                <a:gd name="connsiteX175" fmla="*/ 17836 w 136013"/>
                <a:gd name="connsiteY175" fmla="*/ 91130 h 159577"/>
                <a:gd name="connsiteX176" fmla="*/ 22121 w 136013"/>
                <a:gd name="connsiteY176" fmla="*/ 92822 h 159577"/>
                <a:gd name="connsiteX177" fmla="*/ 21124 w 136013"/>
                <a:gd name="connsiteY177" fmla="*/ 96901 h 159577"/>
                <a:gd name="connsiteX178" fmla="*/ 19032 w 136013"/>
                <a:gd name="connsiteY178" fmla="*/ 101477 h 159577"/>
                <a:gd name="connsiteX179" fmla="*/ 20128 w 136013"/>
                <a:gd name="connsiteY179" fmla="*/ 104959 h 159577"/>
                <a:gd name="connsiteX180" fmla="*/ 19131 w 136013"/>
                <a:gd name="connsiteY180" fmla="*/ 106253 h 159577"/>
                <a:gd name="connsiteX181" fmla="*/ 21224 w 136013"/>
                <a:gd name="connsiteY181" fmla="*/ 107048 h 159577"/>
                <a:gd name="connsiteX182" fmla="*/ 23516 w 136013"/>
                <a:gd name="connsiteY182" fmla="*/ 107048 h 159577"/>
                <a:gd name="connsiteX183" fmla="*/ 22021 w 136013"/>
                <a:gd name="connsiteY183" fmla="*/ 110033 h 159577"/>
                <a:gd name="connsiteX184" fmla="*/ 22021 w 136013"/>
                <a:gd name="connsiteY184" fmla="*/ 111426 h 159577"/>
                <a:gd name="connsiteX185" fmla="*/ 24412 w 136013"/>
                <a:gd name="connsiteY185" fmla="*/ 115206 h 159577"/>
                <a:gd name="connsiteX186" fmla="*/ 25010 w 136013"/>
                <a:gd name="connsiteY186" fmla="*/ 116699 h 159577"/>
                <a:gd name="connsiteX187" fmla="*/ 25509 w 136013"/>
                <a:gd name="connsiteY187" fmla="*/ 119086 h 159577"/>
                <a:gd name="connsiteX188" fmla="*/ 25509 w 136013"/>
                <a:gd name="connsiteY188" fmla="*/ 121673 h 159577"/>
                <a:gd name="connsiteX189" fmla="*/ 24811 w 136013"/>
                <a:gd name="connsiteY189" fmla="*/ 123862 h 159577"/>
                <a:gd name="connsiteX190" fmla="*/ 24811 w 136013"/>
                <a:gd name="connsiteY190" fmla="*/ 124956 h 159577"/>
                <a:gd name="connsiteX191" fmla="*/ 24811 w 136013"/>
                <a:gd name="connsiteY191" fmla="*/ 126946 h 159577"/>
                <a:gd name="connsiteX192" fmla="*/ 24811 w 136013"/>
                <a:gd name="connsiteY192" fmla="*/ 127841 h 159577"/>
                <a:gd name="connsiteX193" fmla="*/ 23715 w 136013"/>
                <a:gd name="connsiteY193" fmla="*/ 128836 h 159577"/>
                <a:gd name="connsiteX194" fmla="*/ 23715 w 136013"/>
                <a:gd name="connsiteY194" fmla="*/ 128836 h 159577"/>
                <a:gd name="connsiteX195" fmla="*/ 23715 w 136013"/>
                <a:gd name="connsiteY195" fmla="*/ 128836 h 159577"/>
                <a:gd name="connsiteX196" fmla="*/ 22320 w 136013"/>
                <a:gd name="connsiteY196" fmla="*/ 128836 h 159577"/>
                <a:gd name="connsiteX197" fmla="*/ 20128 w 136013"/>
                <a:gd name="connsiteY197" fmla="*/ 128836 h 159577"/>
                <a:gd name="connsiteX198" fmla="*/ 18334 w 136013"/>
                <a:gd name="connsiteY198" fmla="*/ 128836 h 159577"/>
                <a:gd name="connsiteX199" fmla="*/ 16740 w 136013"/>
                <a:gd name="connsiteY199" fmla="*/ 127742 h 159577"/>
                <a:gd name="connsiteX200" fmla="*/ 14947 w 136013"/>
                <a:gd name="connsiteY200" fmla="*/ 125951 h 159577"/>
                <a:gd name="connsiteX201" fmla="*/ 12654 w 136013"/>
                <a:gd name="connsiteY201" fmla="*/ 122071 h 159577"/>
                <a:gd name="connsiteX202" fmla="*/ 10961 w 136013"/>
                <a:gd name="connsiteY202" fmla="*/ 120181 h 159577"/>
                <a:gd name="connsiteX203" fmla="*/ 8868 w 136013"/>
                <a:gd name="connsiteY203" fmla="*/ 120181 h 159577"/>
                <a:gd name="connsiteX204" fmla="*/ 7374 w 136013"/>
                <a:gd name="connsiteY204" fmla="*/ 121673 h 159577"/>
                <a:gd name="connsiteX205" fmla="*/ 7374 w 136013"/>
                <a:gd name="connsiteY205" fmla="*/ 123862 h 159577"/>
                <a:gd name="connsiteX206" fmla="*/ 8171 w 136013"/>
                <a:gd name="connsiteY206" fmla="*/ 125951 h 159577"/>
                <a:gd name="connsiteX207" fmla="*/ 9267 w 136013"/>
                <a:gd name="connsiteY207" fmla="*/ 127742 h 159577"/>
                <a:gd name="connsiteX208" fmla="*/ 10463 w 136013"/>
                <a:gd name="connsiteY208" fmla="*/ 129035 h 159577"/>
                <a:gd name="connsiteX209" fmla="*/ 11160 w 136013"/>
                <a:gd name="connsiteY209" fmla="*/ 129632 h 159577"/>
                <a:gd name="connsiteX210" fmla="*/ 11957 w 136013"/>
                <a:gd name="connsiteY210" fmla="*/ 129632 h 159577"/>
                <a:gd name="connsiteX211" fmla="*/ 13252 w 136013"/>
                <a:gd name="connsiteY211" fmla="*/ 130428 h 159577"/>
                <a:gd name="connsiteX212" fmla="*/ 14249 w 136013"/>
                <a:gd name="connsiteY212" fmla="*/ 130428 h 159577"/>
                <a:gd name="connsiteX213" fmla="*/ 15046 w 136013"/>
                <a:gd name="connsiteY213" fmla="*/ 130428 h 159577"/>
                <a:gd name="connsiteX214" fmla="*/ 15644 w 136013"/>
                <a:gd name="connsiteY214" fmla="*/ 130428 h 159577"/>
                <a:gd name="connsiteX215" fmla="*/ 15644 w 136013"/>
                <a:gd name="connsiteY215" fmla="*/ 131821 h 159577"/>
                <a:gd name="connsiteX216" fmla="*/ 15644 w 136013"/>
                <a:gd name="connsiteY216" fmla="*/ 133512 h 159577"/>
                <a:gd name="connsiteX217" fmla="*/ 18633 w 136013"/>
                <a:gd name="connsiteY217" fmla="*/ 140377 h 159577"/>
                <a:gd name="connsiteX218" fmla="*/ 20028 w 136013"/>
                <a:gd name="connsiteY218" fmla="*/ 137691 h 159577"/>
                <a:gd name="connsiteX219" fmla="*/ 20327 w 136013"/>
                <a:gd name="connsiteY219" fmla="*/ 135303 h 159577"/>
                <a:gd name="connsiteX220" fmla="*/ 22220 w 136013"/>
                <a:gd name="connsiteY220" fmla="*/ 134507 h 159577"/>
                <a:gd name="connsiteX221" fmla="*/ 23814 w 136013"/>
                <a:gd name="connsiteY221" fmla="*/ 133114 h 159577"/>
                <a:gd name="connsiteX222" fmla="*/ 30092 w 136013"/>
                <a:gd name="connsiteY222" fmla="*/ 130627 h 159577"/>
                <a:gd name="connsiteX223" fmla="*/ 30790 w 136013"/>
                <a:gd name="connsiteY223" fmla="*/ 130627 h 159577"/>
                <a:gd name="connsiteX224" fmla="*/ 31687 w 136013"/>
                <a:gd name="connsiteY224" fmla="*/ 130627 h 159577"/>
                <a:gd name="connsiteX225" fmla="*/ 34676 w 136013"/>
                <a:gd name="connsiteY225" fmla="*/ 128637 h 159577"/>
                <a:gd name="connsiteX226" fmla="*/ 35374 w 136013"/>
                <a:gd name="connsiteY226" fmla="*/ 128637 h 159577"/>
                <a:gd name="connsiteX227" fmla="*/ 36071 w 136013"/>
                <a:gd name="connsiteY227" fmla="*/ 128637 h 159577"/>
                <a:gd name="connsiteX228" fmla="*/ 36968 w 136013"/>
                <a:gd name="connsiteY228" fmla="*/ 128637 h 159577"/>
                <a:gd name="connsiteX229" fmla="*/ 38163 w 136013"/>
                <a:gd name="connsiteY229" fmla="*/ 128637 h 159577"/>
                <a:gd name="connsiteX230" fmla="*/ 39060 w 136013"/>
                <a:gd name="connsiteY230" fmla="*/ 127045 h 159577"/>
                <a:gd name="connsiteX231" fmla="*/ 39060 w 136013"/>
                <a:gd name="connsiteY231" fmla="*/ 125155 h 159577"/>
                <a:gd name="connsiteX232" fmla="*/ 39858 w 136013"/>
                <a:gd name="connsiteY232" fmla="*/ 123563 h 159577"/>
                <a:gd name="connsiteX233" fmla="*/ 42050 w 136013"/>
                <a:gd name="connsiteY233" fmla="*/ 123066 h 159577"/>
                <a:gd name="connsiteX234" fmla="*/ 42050 w 136013"/>
                <a:gd name="connsiteY234" fmla="*/ 120181 h 159577"/>
                <a:gd name="connsiteX235" fmla="*/ 42050 w 136013"/>
                <a:gd name="connsiteY235" fmla="*/ 114809 h 159577"/>
                <a:gd name="connsiteX236" fmla="*/ 42050 w 136013"/>
                <a:gd name="connsiteY236" fmla="*/ 112520 h 159577"/>
                <a:gd name="connsiteX237" fmla="*/ 43843 w 136013"/>
                <a:gd name="connsiteY237" fmla="*/ 111426 h 159577"/>
                <a:gd name="connsiteX238" fmla="*/ 44840 w 136013"/>
                <a:gd name="connsiteY238" fmla="*/ 112819 h 159577"/>
                <a:gd name="connsiteX239" fmla="*/ 45736 w 136013"/>
                <a:gd name="connsiteY239" fmla="*/ 115306 h 159577"/>
                <a:gd name="connsiteX240" fmla="*/ 46832 w 136013"/>
                <a:gd name="connsiteY240" fmla="*/ 117694 h 159577"/>
                <a:gd name="connsiteX241" fmla="*/ 48227 w 136013"/>
                <a:gd name="connsiteY241" fmla="*/ 117694 h 159577"/>
                <a:gd name="connsiteX242" fmla="*/ 54306 w 136013"/>
                <a:gd name="connsiteY242" fmla="*/ 112719 h 159577"/>
                <a:gd name="connsiteX243" fmla="*/ 56498 w 136013"/>
                <a:gd name="connsiteY243" fmla="*/ 112023 h 159577"/>
                <a:gd name="connsiteX244" fmla="*/ 57295 w 136013"/>
                <a:gd name="connsiteY244" fmla="*/ 112023 h 159577"/>
                <a:gd name="connsiteX245" fmla="*/ 57295 w 136013"/>
                <a:gd name="connsiteY245" fmla="*/ 112023 h 159577"/>
                <a:gd name="connsiteX246" fmla="*/ 58391 w 136013"/>
                <a:gd name="connsiteY246" fmla="*/ 109436 h 159577"/>
                <a:gd name="connsiteX247" fmla="*/ 59288 w 136013"/>
                <a:gd name="connsiteY247" fmla="*/ 108441 h 159577"/>
                <a:gd name="connsiteX248" fmla="*/ 60384 w 136013"/>
                <a:gd name="connsiteY248" fmla="*/ 108441 h 159577"/>
                <a:gd name="connsiteX249" fmla="*/ 61181 w 136013"/>
                <a:gd name="connsiteY249" fmla="*/ 109635 h 159577"/>
                <a:gd name="connsiteX250" fmla="*/ 61181 w 136013"/>
                <a:gd name="connsiteY250" fmla="*/ 110729 h 159577"/>
                <a:gd name="connsiteX251" fmla="*/ 61181 w 136013"/>
                <a:gd name="connsiteY251" fmla="*/ 111525 h 159577"/>
                <a:gd name="connsiteX252" fmla="*/ 61181 w 136013"/>
                <a:gd name="connsiteY252" fmla="*/ 111525 h 159577"/>
                <a:gd name="connsiteX253" fmla="*/ 63971 w 136013"/>
                <a:gd name="connsiteY253" fmla="*/ 106153 h 159577"/>
                <a:gd name="connsiteX254" fmla="*/ 67060 w 136013"/>
                <a:gd name="connsiteY254" fmla="*/ 102969 h 159577"/>
                <a:gd name="connsiteX255" fmla="*/ 70149 w 136013"/>
                <a:gd name="connsiteY255" fmla="*/ 105457 h 159577"/>
                <a:gd name="connsiteX256" fmla="*/ 70149 w 136013"/>
                <a:gd name="connsiteY256" fmla="*/ 108541 h 159577"/>
                <a:gd name="connsiteX257" fmla="*/ 68256 w 136013"/>
                <a:gd name="connsiteY257" fmla="*/ 114609 h 159577"/>
                <a:gd name="connsiteX258" fmla="*/ 68256 w 136013"/>
                <a:gd name="connsiteY258" fmla="*/ 116500 h 159577"/>
                <a:gd name="connsiteX259" fmla="*/ 64669 w 136013"/>
                <a:gd name="connsiteY259" fmla="*/ 117196 h 159577"/>
                <a:gd name="connsiteX260" fmla="*/ 64669 w 136013"/>
                <a:gd name="connsiteY260" fmla="*/ 118191 h 159577"/>
                <a:gd name="connsiteX261" fmla="*/ 64171 w 136013"/>
                <a:gd name="connsiteY261" fmla="*/ 120579 h 159577"/>
                <a:gd name="connsiteX262" fmla="*/ 62476 w 136013"/>
                <a:gd name="connsiteY262" fmla="*/ 121673 h 159577"/>
                <a:gd name="connsiteX263" fmla="*/ 60085 w 136013"/>
                <a:gd name="connsiteY263" fmla="*/ 121076 h 159577"/>
                <a:gd name="connsiteX264" fmla="*/ 56000 w 136013"/>
                <a:gd name="connsiteY264" fmla="*/ 118589 h 159577"/>
                <a:gd name="connsiteX265" fmla="*/ 54206 w 136013"/>
                <a:gd name="connsiteY265" fmla="*/ 118589 h 159577"/>
                <a:gd name="connsiteX266" fmla="*/ 52911 w 136013"/>
                <a:gd name="connsiteY266" fmla="*/ 119186 h 159577"/>
                <a:gd name="connsiteX267" fmla="*/ 52911 w 136013"/>
                <a:gd name="connsiteY267" fmla="*/ 120181 h 159577"/>
                <a:gd name="connsiteX268" fmla="*/ 52911 w 136013"/>
                <a:gd name="connsiteY268" fmla="*/ 121176 h 159577"/>
                <a:gd name="connsiteX269" fmla="*/ 52014 w 136013"/>
                <a:gd name="connsiteY269" fmla="*/ 122071 h 159577"/>
                <a:gd name="connsiteX270" fmla="*/ 50818 w 136013"/>
                <a:gd name="connsiteY270" fmla="*/ 122071 h 159577"/>
                <a:gd name="connsiteX271" fmla="*/ 47131 w 136013"/>
                <a:gd name="connsiteY271" fmla="*/ 122071 h 159577"/>
                <a:gd name="connsiteX272" fmla="*/ 45537 w 136013"/>
                <a:gd name="connsiteY272" fmla="*/ 123165 h 159577"/>
                <a:gd name="connsiteX273" fmla="*/ 44640 w 136013"/>
                <a:gd name="connsiteY273" fmla="*/ 125653 h 159577"/>
                <a:gd name="connsiteX274" fmla="*/ 44043 w 136013"/>
                <a:gd name="connsiteY274" fmla="*/ 128737 h 159577"/>
                <a:gd name="connsiteX275" fmla="*/ 43245 w 136013"/>
                <a:gd name="connsiteY275" fmla="*/ 131224 h 159577"/>
                <a:gd name="connsiteX276" fmla="*/ 41950 w 136013"/>
                <a:gd name="connsiteY276" fmla="*/ 133512 h 159577"/>
                <a:gd name="connsiteX277" fmla="*/ 40356 w 136013"/>
                <a:gd name="connsiteY277" fmla="*/ 135601 h 159577"/>
                <a:gd name="connsiteX278" fmla="*/ 38363 w 136013"/>
                <a:gd name="connsiteY278" fmla="*/ 137193 h 159577"/>
                <a:gd name="connsiteX279" fmla="*/ 36270 w 136013"/>
                <a:gd name="connsiteY279" fmla="*/ 138089 h 159577"/>
                <a:gd name="connsiteX280" fmla="*/ 37167 w 136013"/>
                <a:gd name="connsiteY280" fmla="*/ 140874 h 159577"/>
                <a:gd name="connsiteX281" fmla="*/ 39060 w 136013"/>
                <a:gd name="connsiteY281" fmla="*/ 143958 h 159577"/>
                <a:gd name="connsiteX282" fmla="*/ 41452 w 136013"/>
                <a:gd name="connsiteY282" fmla="*/ 146346 h 159577"/>
                <a:gd name="connsiteX283" fmla="*/ 43743 w 136013"/>
                <a:gd name="connsiteY283" fmla="*/ 147440 h 159577"/>
                <a:gd name="connsiteX284" fmla="*/ 48427 w 136013"/>
                <a:gd name="connsiteY284" fmla="*/ 147440 h 159577"/>
                <a:gd name="connsiteX285" fmla="*/ 49822 w 136013"/>
                <a:gd name="connsiteY285" fmla="*/ 148037 h 159577"/>
                <a:gd name="connsiteX286" fmla="*/ 50718 w 136013"/>
                <a:gd name="connsiteY286" fmla="*/ 148833 h 159577"/>
                <a:gd name="connsiteX287" fmla="*/ 51616 w 136013"/>
                <a:gd name="connsiteY287" fmla="*/ 149430 h 159577"/>
                <a:gd name="connsiteX288" fmla="*/ 53210 w 136013"/>
                <a:gd name="connsiteY288" fmla="*/ 149430 h 159577"/>
                <a:gd name="connsiteX289" fmla="*/ 54705 w 136013"/>
                <a:gd name="connsiteY289" fmla="*/ 150027 h 159577"/>
                <a:gd name="connsiteX290" fmla="*/ 56199 w 136013"/>
                <a:gd name="connsiteY290" fmla="*/ 151022 h 159577"/>
                <a:gd name="connsiteX291" fmla="*/ 57893 w 136013"/>
                <a:gd name="connsiteY291" fmla="*/ 151818 h 159577"/>
                <a:gd name="connsiteX292" fmla="*/ 59387 w 136013"/>
                <a:gd name="connsiteY292" fmla="*/ 151221 h 159577"/>
                <a:gd name="connsiteX293" fmla="*/ 63274 w 136013"/>
                <a:gd name="connsiteY293" fmla="*/ 147142 h 159577"/>
                <a:gd name="connsiteX294" fmla="*/ 67658 w 136013"/>
                <a:gd name="connsiteY294" fmla="*/ 144456 h 159577"/>
                <a:gd name="connsiteX295" fmla="*/ 69950 w 136013"/>
                <a:gd name="connsiteY295" fmla="*/ 142466 h 159577"/>
                <a:gd name="connsiteX296" fmla="*/ 71145 w 136013"/>
                <a:gd name="connsiteY296" fmla="*/ 140078 h 159577"/>
                <a:gd name="connsiteX297" fmla="*/ 69452 w 136013"/>
                <a:gd name="connsiteY297" fmla="*/ 140078 h 159577"/>
                <a:gd name="connsiteX298" fmla="*/ 69452 w 136013"/>
                <a:gd name="connsiteY298" fmla="*/ 138685 h 159577"/>
                <a:gd name="connsiteX299" fmla="*/ 69452 w 136013"/>
                <a:gd name="connsiteY299" fmla="*/ 136895 h 159577"/>
                <a:gd name="connsiteX300" fmla="*/ 69452 w 136013"/>
                <a:gd name="connsiteY300" fmla="*/ 134805 h 159577"/>
                <a:gd name="connsiteX301" fmla="*/ 68056 w 136013"/>
                <a:gd name="connsiteY301" fmla="*/ 133313 h 159577"/>
                <a:gd name="connsiteX302" fmla="*/ 66961 w 136013"/>
                <a:gd name="connsiteY302" fmla="*/ 133313 h 159577"/>
                <a:gd name="connsiteX303" fmla="*/ 66163 w 136013"/>
                <a:gd name="connsiteY303" fmla="*/ 132716 h 159577"/>
                <a:gd name="connsiteX304" fmla="*/ 66163 w 136013"/>
                <a:gd name="connsiteY304" fmla="*/ 129831 h 159577"/>
                <a:gd name="connsiteX305" fmla="*/ 67160 w 136013"/>
                <a:gd name="connsiteY305" fmla="*/ 125255 h 159577"/>
                <a:gd name="connsiteX306" fmla="*/ 69153 w 136013"/>
                <a:gd name="connsiteY306" fmla="*/ 125255 h 159577"/>
                <a:gd name="connsiteX307" fmla="*/ 70847 w 136013"/>
                <a:gd name="connsiteY307" fmla="*/ 127443 h 159577"/>
                <a:gd name="connsiteX308" fmla="*/ 70847 w 136013"/>
                <a:gd name="connsiteY308" fmla="*/ 130925 h 159577"/>
                <a:gd name="connsiteX309" fmla="*/ 74932 w 136013"/>
                <a:gd name="connsiteY309" fmla="*/ 134109 h 159577"/>
                <a:gd name="connsiteX310" fmla="*/ 74932 w 136013"/>
                <a:gd name="connsiteY310" fmla="*/ 137989 h 159577"/>
                <a:gd name="connsiteX311" fmla="*/ 74035 w 136013"/>
                <a:gd name="connsiteY311" fmla="*/ 142665 h 159577"/>
                <a:gd name="connsiteX312" fmla="*/ 75131 w 136013"/>
                <a:gd name="connsiteY312" fmla="*/ 148137 h 159577"/>
                <a:gd name="connsiteX313" fmla="*/ 78220 w 136013"/>
                <a:gd name="connsiteY313" fmla="*/ 144257 h 159577"/>
                <a:gd name="connsiteX314" fmla="*/ 79914 w 136013"/>
                <a:gd name="connsiteY314" fmla="*/ 143361 h 159577"/>
                <a:gd name="connsiteX315" fmla="*/ 81210 w 136013"/>
                <a:gd name="connsiteY315" fmla="*/ 144655 h 159577"/>
                <a:gd name="connsiteX316" fmla="*/ 81210 w 136013"/>
                <a:gd name="connsiteY316" fmla="*/ 145849 h 159577"/>
                <a:gd name="connsiteX317" fmla="*/ 79914 w 136013"/>
                <a:gd name="connsiteY317" fmla="*/ 148037 h 159577"/>
                <a:gd name="connsiteX318" fmla="*/ 79914 w 136013"/>
                <a:gd name="connsiteY318" fmla="*/ 149331 h 159577"/>
                <a:gd name="connsiteX319" fmla="*/ 79914 w 136013"/>
                <a:gd name="connsiteY319" fmla="*/ 150425 h 159577"/>
                <a:gd name="connsiteX320" fmla="*/ 79914 w 136013"/>
                <a:gd name="connsiteY320" fmla="*/ 151221 h 159577"/>
                <a:gd name="connsiteX321" fmla="*/ 79914 w 136013"/>
                <a:gd name="connsiteY321" fmla="*/ 151221 h 159577"/>
                <a:gd name="connsiteX322" fmla="*/ 80512 w 136013"/>
                <a:gd name="connsiteY322" fmla="*/ 153708 h 159577"/>
                <a:gd name="connsiteX323" fmla="*/ 81907 w 136013"/>
                <a:gd name="connsiteY323" fmla="*/ 156991 h 159577"/>
                <a:gd name="connsiteX324" fmla="*/ 83402 w 136013"/>
                <a:gd name="connsiteY324" fmla="*/ 159578 h 159577"/>
                <a:gd name="connsiteX325" fmla="*/ 84797 w 136013"/>
                <a:gd name="connsiteY325" fmla="*/ 159578 h 159577"/>
                <a:gd name="connsiteX326" fmla="*/ 88384 w 136013"/>
                <a:gd name="connsiteY326" fmla="*/ 155001 h 159577"/>
                <a:gd name="connsiteX327" fmla="*/ 92868 w 136013"/>
                <a:gd name="connsiteY327" fmla="*/ 147540 h 159577"/>
                <a:gd name="connsiteX328" fmla="*/ 93865 w 136013"/>
                <a:gd name="connsiteY328" fmla="*/ 145252 h 159577"/>
                <a:gd name="connsiteX329" fmla="*/ 94761 w 136013"/>
                <a:gd name="connsiteY329" fmla="*/ 142466 h 159577"/>
                <a:gd name="connsiteX330" fmla="*/ 94761 w 136013"/>
                <a:gd name="connsiteY330" fmla="*/ 141471 h 159577"/>
                <a:gd name="connsiteX331" fmla="*/ 97851 w 136013"/>
                <a:gd name="connsiteY331" fmla="*/ 141471 h 159577"/>
                <a:gd name="connsiteX332" fmla="*/ 102135 w 136013"/>
                <a:gd name="connsiteY332" fmla="*/ 140277 h 159577"/>
                <a:gd name="connsiteX333" fmla="*/ 103729 w 136013"/>
                <a:gd name="connsiteY333" fmla="*/ 140277 h 159577"/>
                <a:gd name="connsiteX334" fmla="*/ 104427 w 136013"/>
                <a:gd name="connsiteY334" fmla="*/ 141969 h 159577"/>
                <a:gd name="connsiteX335" fmla="*/ 105025 w 136013"/>
                <a:gd name="connsiteY335" fmla="*/ 143262 h 159577"/>
                <a:gd name="connsiteX336" fmla="*/ 109608 w 136013"/>
                <a:gd name="connsiteY336" fmla="*/ 147241 h 159577"/>
                <a:gd name="connsiteX337" fmla="*/ 111103 w 136013"/>
                <a:gd name="connsiteY337" fmla="*/ 144754 h 159577"/>
                <a:gd name="connsiteX338" fmla="*/ 112100 w 136013"/>
                <a:gd name="connsiteY338" fmla="*/ 142168 h 159577"/>
                <a:gd name="connsiteX339" fmla="*/ 113494 w 136013"/>
                <a:gd name="connsiteY339" fmla="*/ 141073 h 159577"/>
                <a:gd name="connsiteX340" fmla="*/ 116085 w 136013"/>
                <a:gd name="connsiteY340" fmla="*/ 143262 h 159577"/>
                <a:gd name="connsiteX341" fmla="*/ 117082 w 136013"/>
                <a:gd name="connsiteY341" fmla="*/ 145550 h 159577"/>
                <a:gd name="connsiteX342" fmla="*/ 117082 w 136013"/>
                <a:gd name="connsiteY342" fmla="*/ 148535 h 159577"/>
                <a:gd name="connsiteX343" fmla="*/ 117779 w 136013"/>
                <a:gd name="connsiteY343" fmla="*/ 151221 h 159577"/>
                <a:gd name="connsiteX344" fmla="*/ 119672 w 136013"/>
                <a:gd name="connsiteY344" fmla="*/ 152912 h 159577"/>
                <a:gd name="connsiteX345" fmla="*/ 120469 w 136013"/>
                <a:gd name="connsiteY345" fmla="*/ 150723 h 159577"/>
                <a:gd name="connsiteX346" fmla="*/ 120469 w 136013"/>
                <a:gd name="connsiteY346" fmla="*/ 148137 h 159577"/>
                <a:gd name="connsiteX347" fmla="*/ 119573 w 136013"/>
                <a:gd name="connsiteY347" fmla="*/ 144356 h 159577"/>
                <a:gd name="connsiteX348" fmla="*/ 118377 w 136013"/>
                <a:gd name="connsiteY348" fmla="*/ 140775 h 159577"/>
                <a:gd name="connsiteX349" fmla="*/ 115985 w 136013"/>
                <a:gd name="connsiteY349" fmla="*/ 135303 h 159577"/>
                <a:gd name="connsiteX350" fmla="*/ 115985 w 136013"/>
                <a:gd name="connsiteY350" fmla="*/ 134010 h 159577"/>
                <a:gd name="connsiteX351" fmla="*/ 116783 w 136013"/>
                <a:gd name="connsiteY351" fmla="*/ 132915 h 159577"/>
                <a:gd name="connsiteX352" fmla="*/ 116783 w 136013"/>
                <a:gd name="connsiteY352" fmla="*/ 131124 h 159577"/>
                <a:gd name="connsiteX353" fmla="*/ 116783 w 136013"/>
                <a:gd name="connsiteY353" fmla="*/ 129632 h 159577"/>
                <a:gd name="connsiteX354" fmla="*/ 116783 w 136013"/>
                <a:gd name="connsiteY354" fmla="*/ 128836 h 159577"/>
                <a:gd name="connsiteX355" fmla="*/ 116783 w 136013"/>
                <a:gd name="connsiteY355" fmla="*/ 128040 h 159577"/>
                <a:gd name="connsiteX356" fmla="*/ 115687 w 136013"/>
                <a:gd name="connsiteY356" fmla="*/ 122569 h 159577"/>
                <a:gd name="connsiteX357" fmla="*/ 115687 w 136013"/>
                <a:gd name="connsiteY357" fmla="*/ 120479 h 159577"/>
                <a:gd name="connsiteX358" fmla="*/ 116882 w 136013"/>
                <a:gd name="connsiteY358" fmla="*/ 119584 h 159577"/>
                <a:gd name="connsiteX359" fmla="*/ 118078 w 136013"/>
                <a:gd name="connsiteY359" fmla="*/ 119584 h 159577"/>
                <a:gd name="connsiteX360" fmla="*/ 119373 w 136013"/>
                <a:gd name="connsiteY360" fmla="*/ 118589 h 159577"/>
                <a:gd name="connsiteX361" fmla="*/ 120469 w 136013"/>
                <a:gd name="connsiteY361" fmla="*/ 117296 h 159577"/>
                <a:gd name="connsiteX362" fmla="*/ 120469 w 136013"/>
                <a:gd name="connsiteY362" fmla="*/ 115903 h 159577"/>
                <a:gd name="connsiteX363" fmla="*/ 120469 w 136013"/>
                <a:gd name="connsiteY363" fmla="*/ 114908 h 159577"/>
                <a:gd name="connsiteX364" fmla="*/ 122762 w 136013"/>
                <a:gd name="connsiteY364" fmla="*/ 111326 h 159577"/>
                <a:gd name="connsiteX365" fmla="*/ 123359 w 136013"/>
                <a:gd name="connsiteY365" fmla="*/ 109536 h 159577"/>
                <a:gd name="connsiteX366" fmla="*/ 123359 w 136013"/>
                <a:gd name="connsiteY366" fmla="*/ 108640 h 159577"/>
                <a:gd name="connsiteX367" fmla="*/ 122762 w 136013"/>
                <a:gd name="connsiteY367" fmla="*/ 105457 h 159577"/>
                <a:gd name="connsiteX368" fmla="*/ 122762 w 136013"/>
                <a:gd name="connsiteY368" fmla="*/ 103765 h 159577"/>
                <a:gd name="connsiteX369" fmla="*/ 123359 w 136013"/>
                <a:gd name="connsiteY369" fmla="*/ 95607 h 159577"/>
                <a:gd name="connsiteX370" fmla="*/ 122662 w 136013"/>
                <a:gd name="connsiteY370" fmla="*/ 92324 h 159577"/>
                <a:gd name="connsiteX371" fmla="*/ 118078 w 136013"/>
                <a:gd name="connsiteY371" fmla="*/ 90136 h 159577"/>
                <a:gd name="connsiteX372" fmla="*/ 118078 w 136013"/>
                <a:gd name="connsiteY372" fmla="*/ 88245 h 159577"/>
                <a:gd name="connsiteX373" fmla="*/ 118078 w 136013"/>
                <a:gd name="connsiteY373" fmla="*/ 85858 h 159577"/>
                <a:gd name="connsiteX374" fmla="*/ 119174 w 136013"/>
                <a:gd name="connsiteY374" fmla="*/ 84166 h 159577"/>
                <a:gd name="connsiteX375" fmla="*/ 120469 w 136013"/>
                <a:gd name="connsiteY375" fmla="*/ 83370 h 159577"/>
                <a:gd name="connsiteX376" fmla="*/ 121565 w 136013"/>
                <a:gd name="connsiteY376" fmla="*/ 83370 h 159577"/>
                <a:gd name="connsiteX377" fmla="*/ 122462 w 136013"/>
                <a:gd name="connsiteY377" fmla="*/ 83370 h 159577"/>
                <a:gd name="connsiteX378" fmla="*/ 123459 w 136013"/>
                <a:gd name="connsiteY378" fmla="*/ 81779 h 159577"/>
                <a:gd name="connsiteX379" fmla="*/ 124356 w 136013"/>
                <a:gd name="connsiteY379" fmla="*/ 75113 h 159577"/>
                <a:gd name="connsiteX380" fmla="*/ 124356 w 136013"/>
                <a:gd name="connsiteY380" fmla="*/ 70935 h 159577"/>
                <a:gd name="connsiteX381" fmla="*/ 124356 w 136013"/>
                <a:gd name="connsiteY381" fmla="*/ 69144 h 159577"/>
                <a:gd name="connsiteX382" fmla="*/ 117082 w 136013"/>
                <a:gd name="connsiteY382" fmla="*/ 69144 h 159577"/>
                <a:gd name="connsiteX383" fmla="*/ 113594 w 136013"/>
                <a:gd name="connsiteY383" fmla="*/ 68547 h 159577"/>
                <a:gd name="connsiteX384" fmla="*/ 111701 w 136013"/>
                <a:gd name="connsiteY384" fmla="*/ 66756 h 159577"/>
                <a:gd name="connsiteX385" fmla="*/ 114491 w 136013"/>
                <a:gd name="connsiteY385" fmla="*/ 65264 h 159577"/>
                <a:gd name="connsiteX386" fmla="*/ 117680 w 136013"/>
                <a:gd name="connsiteY386" fmla="*/ 64368 h 159577"/>
                <a:gd name="connsiteX387" fmla="*/ 121067 w 136013"/>
                <a:gd name="connsiteY387" fmla="*/ 64368 h 159577"/>
                <a:gd name="connsiteX388" fmla="*/ 123858 w 136013"/>
                <a:gd name="connsiteY388" fmla="*/ 65562 h 159577"/>
                <a:gd name="connsiteX389" fmla="*/ 125253 w 136013"/>
                <a:gd name="connsiteY389" fmla="*/ 64667 h 159577"/>
                <a:gd name="connsiteX390" fmla="*/ 126547 w 136013"/>
                <a:gd name="connsiteY390" fmla="*/ 63373 h 159577"/>
                <a:gd name="connsiteX391" fmla="*/ 126547 w 136013"/>
                <a:gd name="connsiteY391" fmla="*/ 62080 h 159577"/>
                <a:gd name="connsiteX392" fmla="*/ 129138 w 136013"/>
                <a:gd name="connsiteY392" fmla="*/ 58499 h 159577"/>
                <a:gd name="connsiteX393" fmla="*/ 130235 w 136013"/>
                <a:gd name="connsiteY393" fmla="*/ 56210 h 159577"/>
                <a:gd name="connsiteX394" fmla="*/ 131929 w 136013"/>
                <a:gd name="connsiteY394" fmla="*/ 59991 h 159577"/>
                <a:gd name="connsiteX395" fmla="*/ 134420 w 136013"/>
                <a:gd name="connsiteY395" fmla="*/ 60886 h 159577"/>
                <a:gd name="connsiteX396" fmla="*/ 136014 w 136013"/>
                <a:gd name="connsiteY396" fmla="*/ 59195 h 159577"/>
                <a:gd name="connsiteX397" fmla="*/ 135416 w 136013"/>
                <a:gd name="connsiteY397" fmla="*/ 55215 h 159577"/>
                <a:gd name="connsiteX398" fmla="*/ 42747 w 136013"/>
                <a:gd name="connsiteY398" fmla="*/ 83967 h 159577"/>
                <a:gd name="connsiteX399" fmla="*/ 41252 w 136013"/>
                <a:gd name="connsiteY399" fmla="*/ 83370 h 159577"/>
                <a:gd name="connsiteX400" fmla="*/ 39758 w 136013"/>
                <a:gd name="connsiteY400" fmla="*/ 82376 h 159577"/>
                <a:gd name="connsiteX401" fmla="*/ 38662 w 136013"/>
                <a:gd name="connsiteY401" fmla="*/ 81281 h 159577"/>
                <a:gd name="connsiteX402" fmla="*/ 36469 w 136013"/>
                <a:gd name="connsiteY402" fmla="*/ 78695 h 159577"/>
                <a:gd name="connsiteX403" fmla="*/ 35473 w 136013"/>
                <a:gd name="connsiteY403" fmla="*/ 78098 h 159577"/>
                <a:gd name="connsiteX404" fmla="*/ 33879 w 136013"/>
                <a:gd name="connsiteY404" fmla="*/ 77302 h 159577"/>
                <a:gd name="connsiteX405" fmla="*/ 32185 w 136013"/>
                <a:gd name="connsiteY405" fmla="*/ 77302 h 159577"/>
                <a:gd name="connsiteX406" fmla="*/ 28100 w 136013"/>
                <a:gd name="connsiteY406" fmla="*/ 77302 h 159577"/>
                <a:gd name="connsiteX407" fmla="*/ 26804 w 136013"/>
                <a:gd name="connsiteY407" fmla="*/ 77302 h 159577"/>
                <a:gd name="connsiteX408" fmla="*/ 20726 w 136013"/>
                <a:gd name="connsiteY408" fmla="*/ 74417 h 159577"/>
                <a:gd name="connsiteX409" fmla="*/ 25907 w 136013"/>
                <a:gd name="connsiteY409" fmla="*/ 70935 h 159577"/>
                <a:gd name="connsiteX410" fmla="*/ 29096 w 136013"/>
                <a:gd name="connsiteY410" fmla="*/ 66060 h 159577"/>
                <a:gd name="connsiteX411" fmla="*/ 30391 w 136013"/>
                <a:gd name="connsiteY411" fmla="*/ 65164 h 159577"/>
                <a:gd name="connsiteX412" fmla="*/ 31089 w 136013"/>
                <a:gd name="connsiteY412" fmla="*/ 67055 h 159577"/>
                <a:gd name="connsiteX413" fmla="*/ 32982 w 136013"/>
                <a:gd name="connsiteY413" fmla="*/ 67651 h 159577"/>
                <a:gd name="connsiteX414" fmla="*/ 37367 w 136013"/>
                <a:gd name="connsiteY414" fmla="*/ 67651 h 159577"/>
                <a:gd name="connsiteX415" fmla="*/ 36868 w 136013"/>
                <a:gd name="connsiteY415" fmla="*/ 68248 h 159577"/>
                <a:gd name="connsiteX416" fmla="*/ 36868 w 136013"/>
                <a:gd name="connsiteY416" fmla="*/ 68248 h 159577"/>
                <a:gd name="connsiteX417" fmla="*/ 36868 w 136013"/>
                <a:gd name="connsiteY417" fmla="*/ 68845 h 159577"/>
                <a:gd name="connsiteX418" fmla="*/ 36171 w 136013"/>
                <a:gd name="connsiteY418" fmla="*/ 69442 h 159577"/>
                <a:gd name="connsiteX419" fmla="*/ 40156 w 136013"/>
                <a:gd name="connsiteY419" fmla="*/ 74616 h 159577"/>
                <a:gd name="connsiteX420" fmla="*/ 44840 w 136013"/>
                <a:gd name="connsiteY420" fmla="*/ 84564 h 159577"/>
                <a:gd name="connsiteX421" fmla="*/ 47231 w 136013"/>
                <a:gd name="connsiteY421" fmla="*/ 48351 h 159577"/>
                <a:gd name="connsiteX422" fmla="*/ 46135 w 136013"/>
                <a:gd name="connsiteY422" fmla="*/ 51137 h 159577"/>
                <a:gd name="connsiteX423" fmla="*/ 46135 w 136013"/>
                <a:gd name="connsiteY423" fmla="*/ 52430 h 159577"/>
                <a:gd name="connsiteX424" fmla="*/ 46135 w 136013"/>
                <a:gd name="connsiteY424" fmla="*/ 52430 h 159577"/>
                <a:gd name="connsiteX425" fmla="*/ 43145 w 136013"/>
                <a:gd name="connsiteY425" fmla="*/ 53723 h 159577"/>
                <a:gd name="connsiteX426" fmla="*/ 40156 w 136013"/>
                <a:gd name="connsiteY426" fmla="*/ 56608 h 159577"/>
                <a:gd name="connsiteX427" fmla="*/ 38961 w 136013"/>
                <a:gd name="connsiteY427" fmla="*/ 58797 h 159577"/>
                <a:gd name="connsiteX428" fmla="*/ 38961 w 136013"/>
                <a:gd name="connsiteY428" fmla="*/ 61782 h 159577"/>
                <a:gd name="connsiteX429" fmla="*/ 37367 w 136013"/>
                <a:gd name="connsiteY429" fmla="*/ 60389 h 159577"/>
                <a:gd name="connsiteX430" fmla="*/ 36769 w 136013"/>
                <a:gd name="connsiteY430" fmla="*/ 59493 h 159577"/>
                <a:gd name="connsiteX431" fmla="*/ 36769 w 136013"/>
                <a:gd name="connsiteY431" fmla="*/ 58399 h 159577"/>
                <a:gd name="connsiteX432" fmla="*/ 36769 w 136013"/>
                <a:gd name="connsiteY432" fmla="*/ 56608 h 159577"/>
                <a:gd name="connsiteX433" fmla="*/ 36769 w 136013"/>
                <a:gd name="connsiteY433" fmla="*/ 56011 h 159577"/>
                <a:gd name="connsiteX434" fmla="*/ 36769 w 136013"/>
                <a:gd name="connsiteY434" fmla="*/ 56011 h 159577"/>
                <a:gd name="connsiteX435" fmla="*/ 36769 w 136013"/>
                <a:gd name="connsiteY435" fmla="*/ 55116 h 159577"/>
                <a:gd name="connsiteX436" fmla="*/ 36769 w 136013"/>
                <a:gd name="connsiteY436" fmla="*/ 55116 h 159577"/>
                <a:gd name="connsiteX437" fmla="*/ 37367 w 136013"/>
                <a:gd name="connsiteY437" fmla="*/ 55116 h 159577"/>
                <a:gd name="connsiteX438" fmla="*/ 37964 w 136013"/>
                <a:gd name="connsiteY438" fmla="*/ 55116 h 159577"/>
                <a:gd name="connsiteX439" fmla="*/ 37964 w 136013"/>
                <a:gd name="connsiteY439" fmla="*/ 55116 h 159577"/>
                <a:gd name="connsiteX440" fmla="*/ 37964 w 136013"/>
                <a:gd name="connsiteY440" fmla="*/ 54320 h 159577"/>
                <a:gd name="connsiteX441" fmla="*/ 37964 w 136013"/>
                <a:gd name="connsiteY441" fmla="*/ 53723 h 159577"/>
                <a:gd name="connsiteX442" fmla="*/ 37964 w 136013"/>
                <a:gd name="connsiteY442" fmla="*/ 53723 h 159577"/>
                <a:gd name="connsiteX443" fmla="*/ 37964 w 136013"/>
                <a:gd name="connsiteY443" fmla="*/ 48749 h 159577"/>
                <a:gd name="connsiteX444" fmla="*/ 36968 w 136013"/>
                <a:gd name="connsiteY444" fmla="*/ 44968 h 159577"/>
                <a:gd name="connsiteX445" fmla="*/ 37765 w 136013"/>
                <a:gd name="connsiteY445" fmla="*/ 44968 h 159577"/>
                <a:gd name="connsiteX446" fmla="*/ 45039 w 136013"/>
                <a:gd name="connsiteY446" fmla="*/ 45764 h 159577"/>
                <a:gd name="connsiteX447" fmla="*/ 46932 w 136013"/>
                <a:gd name="connsiteY447" fmla="*/ 46759 h 159577"/>
                <a:gd name="connsiteX448" fmla="*/ 48327 w 136013"/>
                <a:gd name="connsiteY448" fmla="*/ 48848 h 159577"/>
                <a:gd name="connsiteX449" fmla="*/ 60185 w 136013"/>
                <a:gd name="connsiteY449" fmla="*/ 35815 h 159577"/>
                <a:gd name="connsiteX450" fmla="*/ 58690 w 136013"/>
                <a:gd name="connsiteY450" fmla="*/ 31836 h 159577"/>
                <a:gd name="connsiteX451" fmla="*/ 58690 w 136013"/>
                <a:gd name="connsiteY451" fmla="*/ 25867 h 159577"/>
                <a:gd name="connsiteX452" fmla="*/ 60484 w 136013"/>
                <a:gd name="connsiteY452" fmla="*/ 21390 h 159577"/>
                <a:gd name="connsiteX453" fmla="*/ 60982 w 136013"/>
                <a:gd name="connsiteY453" fmla="*/ 22086 h 159577"/>
                <a:gd name="connsiteX454" fmla="*/ 60982 w 136013"/>
                <a:gd name="connsiteY454" fmla="*/ 22882 h 159577"/>
                <a:gd name="connsiteX455" fmla="*/ 60982 w 136013"/>
                <a:gd name="connsiteY455" fmla="*/ 27558 h 159577"/>
                <a:gd name="connsiteX456" fmla="*/ 60982 w 136013"/>
                <a:gd name="connsiteY456" fmla="*/ 30145 h 159577"/>
                <a:gd name="connsiteX457" fmla="*/ 61580 w 136013"/>
                <a:gd name="connsiteY457" fmla="*/ 32532 h 159577"/>
                <a:gd name="connsiteX458" fmla="*/ 62377 w 136013"/>
                <a:gd name="connsiteY458" fmla="*/ 34224 h 159577"/>
                <a:gd name="connsiteX459" fmla="*/ 74434 w 136013"/>
                <a:gd name="connsiteY459" fmla="*/ 57106 h 159577"/>
                <a:gd name="connsiteX460" fmla="*/ 68256 w 136013"/>
                <a:gd name="connsiteY460" fmla="*/ 52131 h 159577"/>
                <a:gd name="connsiteX461" fmla="*/ 66562 w 136013"/>
                <a:gd name="connsiteY461" fmla="*/ 50142 h 159577"/>
                <a:gd name="connsiteX462" fmla="*/ 65565 w 136013"/>
                <a:gd name="connsiteY462" fmla="*/ 47754 h 159577"/>
                <a:gd name="connsiteX463" fmla="*/ 65565 w 136013"/>
                <a:gd name="connsiteY463" fmla="*/ 45864 h 159577"/>
                <a:gd name="connsiteX464" fmla="*/ 67060 w 136013"/>
                <a:gd name="connsiteY464" fmla="*/ 44670 h 159577"/>
                <a:gd name="connsiteX465" fmla="*/ 69751 w 136013"/>
                <a:gd name="connsiteY465" fmla="*/ 44670 h 159577"/>
                <a:gd name="connsiteX466" fmla="*/ 71843 w 136013"/>
                <a:gd name="connsiteY466" fmla="*/ 46461 h 159577"/>
                <a:gd name="connsiteX467" fmla="*/ 73338 w 136013"/>
                <a:gd name="connsiteY467" fmla="*/ 48351 h 159577"/>
                <a:gd name="connsiteX468" fmla="*/ 74832 w 136013"/>
                <a:gd name="connsiteY468" fmla="*/ 49843 h 159577"/>
                <a:gd name="connsiteX469" fmla="*/ 76825 w 136013"/>
                <a:gd name="connsiteY469" fmla="*/ 49843 h 15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</a:cxnLst>
              <a:rect l="l" t="t" r="r" b="b"/>
              <a:pathLst>
                <a:path w="136013" h="159577">
                  <a:moveTo>
                    <a:pt x="133622" y="53524"/>
                  </a:moveTo>
                  <a:lnTo>
                    <a:pt x="130135" y="52430"/>
                  </a:lnTo>
                  <a:lnTo>
                    <a:pt x="126847" y="52430"/>
                  </a:lnTo>
                  <a:lnTo>
                    <a:pt x="125352" y="52430"/>
                  </a:lnTo>
                  <a:lnTo>
                    <a:pt x="124754" y="50739"/>
                  </a:lnTo>
                  <a:lnTo>
                    <a:pt x="121865" y="46958"/>
                  </a:lnTo>
                  <a:lnTo>
                    <a:pt x="121067" y="46063"/>
                  </a:lnTo>
                  <a:lnTo>
                    <a:pt x="119174" y="44968"/>
                  </a:lnTo>
                  <a:lnTo>
                    <a:pt x="118277" y="44968"/>
                  </a:lnTo>
                  <a:lnTo>
                    <a:pt x="117580" y="45665"/>
                  </a:lnTo>
                  <a:lnTo>
                    <a:pt x="116284" y="45665"/>
                  </a:lnTo>
                  <a:lnTo>
                    <a:pt x="114591" y="47058"/>
                  </a:lnTo>
                  <a:lnTo>
                    <a:pt x="113395" y="50042"/>
                  </a:lnTo>
                  <a:lnTo>
                    <a:pt x="111502" y="52927"/>
                  </a:lnTo>
                  <a:lnTo>
                    <a:pt x="108114" y="53723"/>
                  </a:lnTo>
                  <a:lnTo>
                    <a:pt x="111103" y="45267"/>
                  </a:lnTo>
                  <a:lnTo>
                    <a:pt x="111103" y="41486"/>
                  </a:lnTo>
                  <a:lnTo>
                    <a:pt x="110505" y="38303"/>
                  </a:lnTo>
                  <a:lnTo>
                    <a:pt x="106718" y="29349"/>
                  </a:lnTo>
                  <a:lnTo>
                    <a:pt x="109011" y="29349"/>
                  </a:lnTo>
                  <a:lnTo>
                    <a:pt x="110505" y="29349"/>
                  </a:lnTo>
                  <a:lnTo>
                    <a:pt x="111601" y="30045"/>
                  </a:lnTo>
                  <a:lnTo>
                    <a:pt x="112797" y="31140"/>
                  </a:lnTo>
                  <a:lnTo>
                    <a:pt x="114790" y="35318"/>
                  </a:lnTo>
                  <a:lnTo>
                    <a:pt x="116185" y="36412"/>
                  </a:lnTo>
                  <a:lnTo>
                    <a:pt x="118078" y="34721"/>
                  </a:lnTo>
                  <a:lnTo>
                    <a:pt x="118078" y="31438"/>
                  </a:lnTo>
                  <a:lnTo>
                    <a:pt x="116783" y="27061"/>
                  </a:lnTo>
                  <a:lnTo>
                    <a:pt x="114690" y="22982"/>
                  </a:lnTo>
                  <a:lnTo>
                    <a:pt x="112896" y="20295"/>
                  </a:lnTo>
                  <a:lnTo>
                    <a:pt x="111900" y="18306"/>
                  </a:lnTo>
                  <a:lnTo>
                    <a:pt x="111003" y="15818"/>
                  </a:lnTo>
                  <a:lnTo>
                    <a:pt x="109907" y="13630"/>
                  </a:lnTo>
                  <a:lnTo>
                    <a:pt x="108114" y="12734"/>
                  </a:lnTo>
                  <a:lnTo>
                    <a:pt x="99843" y="11640"/>
                  </a:lnTo>
                  <a:lnTo>
                    <a:pt x="98847" y="10546"/>
                  </a:lnTo>
                  <a:lnTo>
                    <a:pt x="96953" y="5671"/>
                  </a:lnTo>
                  <a:lnTo>
                    <a:pt x="86989" y="0"/>
                  </a:lnTo>
                  <a:lnTo>
                    <a:pt x="84996" y="0"/>
                  </a:lnTo>
                  <a:lnTo>
                    <a:pt x="83103" y="1194"/>
                  </a:lnTo>
                  <a:lnTo>
                    <a:pt x="81409" y="3184"/>
                  </a:lnTo>
                  <a:lnTo>
                    <a:pt x="82605" y="5173"/>
                  </a:lnTo>
                  <a:lnTo>
                    <a:pt x="90476" y="12038"/>
                  </a:lnTo>
                  <a:lnTo>
                    <a:pt x="91672" y="12038"/>
                  </a:lnTo>
                  <a:lnTo>
                    <a:pt x="93067" y="10745"/>
                  </a:lnTo>
                  <a:lnTo>
                    <a:pt x="94363" y="10148"/>
                  </a:lnTo>
                  <a:lnTo>
                    <a:pt x="95060" y="11640"/>
                  </a:lnTo>
                  <a:lnTo>
                    <a:pt x="95658" y="13829"/>
                  </a:lnTo>
                  <a:lnTo>
                    <a:pt x="96555" y="14824"/>
                  </a:lnTo>
                  <a:lnTo>
                    <a:pt x="96555" y="15321"/>
                  </a:lnTo>
                  <a:lnTo>
                    <a:pt x="96555" y="16316"/>
                  </a:lnTo>
                  <a:lnTo>
                    <a:pt x="96555" y="17510"/>
                  </a:lnTo>
                  <a:lnTo>
                    <a:pt x="96555" y="18306"/>
                  </a:lnTo>
                  <a:lnTo>
                    <a:pt x="96555" y="18306"/>
                  </a:lnTo>
                  <a:lnTo>
                    <a:pt x="98049" y="18306"/>
                  </a:lnTo>
                  <a:lnTo>
                    <a:pt x="98647" y="18306"/>
                  </a:lnTo>
                  <a:lnTo>
                    <a:pt x="100640" y="19997"/>
                  </a:lnTo>
                  <a:lnTo>
                    <a:pt x="101338" y="20892"/>
                  </a:lnTo>
                  <a:lnTo>
                    <a:pt x="102135" y="22982"/>
                  </a:lnTo>
                  <a:lnTo>
                    <a:pt x="102135" y="27160"/>
                  </a:lnTo>
                  <a:lnTo>
                    <a:pt x="100840" y="28354"/>
                  </a:lnTo>
                  <a:lnTo>
                    <a:pt x="95160" y="27657"/>
                  </a:lnTo>
                  <a:lnTo>
                    <a:pt x="93865" y="26961"/>
                  </a:lnTo>
                  <a:lnTo>
                    <a:pt x="91573" y="23976"/>
                  </a:lnTo>
                  <a:lnTo>
                    <a:pt x="90476" y="22982"/>
                  </a:lnTo>
                  <a:lnTo>
                    <a:pt x="89380" y="22982"/>
                  </a:lnTo>
                  <a:lnTo>
                    <a:pt x="88683" y="22982"/>
                  </a:lnTo>
                  <a:lnTo>
                    <a:pt x="87886" y="22982"/>
                  </a:lnTo>
                  <a:lnTo>
                    <a:pt x="86889" y="22982"/>
                  </a:lnTo>
                  <a:lnTo>
                    <a:pt x="86889" y="22385"/>
                  </a:lnTo>
                  <a:lnTo>
                    <a:pt x="86889" y="21390"/>
                  </a:lnTo>
                  <a:lnTo>
                    <a:pt x="84299" y="15122"/>
                  </a:lnTo>
                  <a:lnTo>
                    <a:pt x="82605" y="13232"/>
                  </a:lnTo>
                  <a:lnTo>
                    <a:pt x="79217" y="12535"/>
                  </a:lnTo>
                  <a:lnTo>
                    <a:pt x="77822" y="11938"/>
                  </a:lnTo>
                  <a:lnTo>
                    <a:pt x="77025" y="10446"/>
                  </a:lnTo>
                  <a:lnTo>
                    <a:pt x="76327" y="8755"/>
                  </a:lnTo>
                  <a:lnTo>
                    <a:pt x="75331" y="7860"/>
                  </a:lnTo>
                  <a:lnTo>
                    <a:pt x="73836" y="7860"/>
                  </a:lnTo>
                  <a:lnTo>
                    <a:pt x="72541" y="7860"/>
                  </a:lnTo>
                  <a:lnTo>
                    <a:pt x="67260" y="12336"/>
                  </a:lnTo>
                  <a:lnTo>
                    <a:pt x="65665" y="13132"/>
                  </a:lnTo>
                  <a:lnTo>
                    <a:pt x="64868" y="11640"/>
                  </a:lnTo>
                  <a:lnTo>
                    <a:pt x="64868" y="10148"/>
                  </a:lnTo>
                  <a:lnTo>
                    <a:pt x="64270" y="8357"/>
                  </a:lnTo>
                  <a:lnTo>
                    <a:pt x="63573" y="6865"/>
                  </a:lnTo>
                  <a:lnTo>
                    <a:pt x="62975" y="6268"/>
                  </a:lnTo>
                  <a:lnTo>
                    <a:pt x="58192" y="2786"/>
                  </a:lnTo>
                  <a:lnTo>
                    <a:pt x="56398" y="2189"/>
                  </a:lnTo>
                  <a:lnTo>
                    <a:pt x="54804" y="2189"/>
                  </a:lnTo>
                  <a:lnTo>
                    <a:pt x="53210" y="2189"/>
                  </a:lnTo>
                  <a:lnTo>
                    <a:pt x="51217" y="2885"/>
                  </a:lnTo>
                  <a:lnTo>
                    <a:pt x="50220" y="5969"/>
                  </a:lnTo>
                  <a:lnTo>
                    <a:pt x="43245" y="13431"/>
                  </a:lnTo>
                  <a:lnTo>
                    <a:pt x="40854" y="15122"/>
                  </a:lnTo>
                  <a:lnTo>
                    <a:pt x="35872" y="17211"/>
                  </a:lnTo>
                  <a:lnTo>
                    <a:pt x="34078" y="19698"/>
                  </a:lnTo>
                  <a:lnTo>
                    <a:pt x="34078" y="21489"/>
                  </a:lnTo>
                  <a:lnTo>
                    <a:pt x="34078" y="23280"/>
                  </a:lnTo>
                  <a:lnTo>
                    <a:pt x="34078" y="27260"/>
                  </a:lnTo>
                  <a:lnTo>
                    <a:pt x="34078" y="29050"/>
                  </a:lnTo>
                  <a:lnTo>
                    <a:pt x="32882" y="32234"/>
                  </a:lnTo>
                  <a:lnTo>
                    <a:pt x="31886" y="38104"/>
                  </a:lnTo>
                  <a:lnTo>
                    <a:pt x="29992" y="41088"/>
                  </a:lnTo>
                  <a:lnTo>
                    <a:pt x="27501" y="43078"/>
                  </a:lnTo>
                  <a:lnTo>
                    <a:pt x="24712" y="44073"/>
                  </a:lnTo>
                  <a:lnTo>
                    <a:pt x="21323" y="44073"/>
                  </a:lnTo>
                  <a:lnTo>
                    <a:pt x="19430" y="44073"/>
                  </a:lnTo>
                  <a:lnTo>
                    <a:pt x="18633" y="44968"/>
                  </a:lnTo>
                  <a:lnTo>
                    <a:pt x="18633" y="46958"/>
                  </a:lnTo>
                  <a:lnTo>
                    <a:pt x="18633" y="48649"/>
                  </a:lnTo>
                  <a:lnTo>
                    <a:pt x="19630" y="49744"/>
                  </a:lnTo>
                  <a:lnTo>
                    <a:pt x="22220" y="50540"/>
                  </a:lnTo>
                  <a:lnTo>
                    <a:pt x="25807" y="52728"/>
                  </a:lnTo>
                  <a:lnTo>
                    <a:pt x="26804" y="53723"/>
                  </a:lnTo>
                  <a:lnTo>
                    <a:pt x="26804" y="55514"/>
                  </a:lnTo>
                  <a:lnTo>
                    <a:pt x="26107" y="56111"/>
                  </a:lnTo>
                  <a:lnTo>
                    <a:pt x="25010" y="56111"/>
                  </a:lnTo>
                  <a:lnTo>
                    <a:pt x="25010" y="56807"/>
                  </a:lnTo>
                  <a:lnTo>
                    <a:pt x="25708" y="59095"/>
                  </a:lnTo>
                  <a:lnTo>
                    <a:pt x="26804" y="59692"/>
                  </a:lnTo>
                  <a:lnTo>
                    <a:pt x="28199" y="59692"/>
                  </a:lnTo>
                  <a:lnTo>
                    <a:pt x="29694" y="60886"/>
                  </a:lnTo>
                  <a:lnTo>
                    <a:pt x="30391" y="62578"/>
                  </a:lnTo>
                  <a:lnTo>
                    <a:pt x="29594" y="63473"/>
                  </a:lnTo>
                  <a:lnTo>
                    <a:pt x="28299" y="64169"/>
                  </a:lnTo>
                  <a:lnTo>
                    <a:pt x="26306" y="67950"/>
                  </a:lnTo>
                  <a:lnTo>
                    <a:pt x="20028" y="67950"/>
                  </a:lnTo>
                  <a:lnTo>
                    <a:pt x="17936" y="70139"/>
                  </a:lnTo>
                  <a:lnTo>
                    <a:pt x="16043" y="69144"/>
                  </a:lnTo>
                  <a:lnTo>
                    <a:pt x="14548" y="69741"/>
                  </a:lnTo>
                  <a:lnTo>
                    <a:pt x="13352" y="71332"/>
                  </a:lnTo>
                  <a:lnTo>
                    <a:pt x="12754" y="73621"/>
                  </a:lnTo>
                  <a:lnTo>
                    <a:pt x="17537" y="75610"/>
                  </a:lnTo>
                  <a:lnTo>
                    <a:pt x="19131" y="77600"/>
                  </a:lnTo>
                  <a:lnTo>
                    <a:pt x="19829" y="81082"/>
                  </a:lnTo>
                  <a:lnTo>
                    <a:pt x="19829" y="83569"/>
                  </a:lnTo>
                  <a:lnTo>
                    <a:pt x="19032" y="83569"/>
                  </a:lnTo>
                  <a:lnTo>
                    <a:pt x="17936" y="83569"/>
                  </a:lnTo>
                  <a:lnTo>
                    <a:pt x="16541" y="84365"/>
                  </a:lnTo>
                  <a:lnTo>
                    <a:pt x="15245" y="88046"/>
                  </a:lnTo>
                  <a:lnTo>
                    <a:pt x="15245" y="88942"/>
                  </a:lnTo>
                  <a:lnTo>
                    <a:pt x="13850" y="89937"/>
                  </a:lnTo>
                  <a:lnTo>
                    <a:pt x="13850" y="89937"/>
                  </a:lnTo>
                  <a:lnTo>
                    <a:pt x="13850" y="89340"/>
                  </a:lnTo>
                  <a:lnTo>
                    <a:pt x="11658" y="88643"/>
                  </a:lnTo>
                  <a:lnTo>
                    <a:pt x="9466" y="87052"/>
                  </a:lnTo>
                  <a:lnTo>
                    <a:pt x="5779" y="85460"/>
                  </a:lnTo>
                  <a:lnTo>
                    <a:pt x="5779" y="82575"/>
                  </a:lnTo>
                  <a:lnTo>
                    <a:pt x="6377" y="79092"/>
                  </a:lnTo>
                  <a:lnTo>
                    <a:pt x="6377" y="76307"/>
                  </a:lnTo>
                  <a:lnTo>
                    <a:pt x="4085" y="74616"/>
                  </a:lnTo>
                  <a:lnTo>
                    <a:pt x="1694" y="79192"/>
                  </a:lnTo>
                  <a:lnTo>
                    <a:pt x="0" y="85858"/>
                  </a:lnTo>
                  <a:lnTo>
                    <a:pt x="0" y="90235"/>
                  </a:lnTo>
                  <a:lnTo>
                    <a:pt x="1196" y="93419"/>
                  </a:lnTo>
                  <a:lnTo>
                    <a:pt x="2391" y="93419"/>
                  </a:lnTo>
                  <a:lnTo>
                    <a:pt x="3687" y="91528"/>
                  </a:lnTo>
                  <a:lnTo>
                    <a:pt x="5281" y="90534"/>
                  </a:lnTo>
                  <a:lnTo>
                    <a:pt x="5281" y="92026"/>
                  </a:lnTo>
                  <a:lnTo>
                    <a:pt x="5281" y="99288"/>
                  </a:lnTo>
                  <a:lnTo>
                    <a:pt x="6377" y="102074"/>
                  </a:lnTo>
                  <a:lnTo>
                    <a:pt x="7374" y="98692"/>
                  </a:lnTo>
                  <a:lnTo>
                    <a:pt x="7971" y="97398"/>
                  </a:lnTo>
                  <a:lnTo>
                    <a:pt x="8968" y="96304"/>
                  </a:lnTo>
                  <a:lnTo>
                    <a:pt x="9665" y="99487"/>
                  </a:lnTo>
                  <a:lnTo>
                    <a:pt x="9665" y="101179"/>
                  </a:lnTo>
                  <a:lnTo>
                    <a:pt x="10263" y="102074"/>
                  </a:lnTo>
                  <a:lnTo>
                    <a:pt x="11758" y="102074"/>
                  </a:lnTo>
                  <a:lnTo>
                    <a:pt x="12754" y="101278"/>
                  </a:lnTo>
                  <a:lnTo>
                    <a:pt x="13751" y="99388"/>
                  </a:lnTo>
                  <a:lnTo>
                    <a:pt x="16441" y="96901"/>
                  </a:lnTo>
                  <a:lnTo>
                    <a:pt x="17238" y="95806"/>
                  </a:lnTo>
                  <a:lnTo>
                    <a:pt x="17238" y="94712"/>
                  </a:lnTo>
                  <a:lnTo>
                    <a:pt x="17836" y="91727"/>
                  </a:lnTo>
                  <a:lnTo>
                    <a:pt x="17836" y="91130"/>
                  </a:lnTo>
                  <a:lnTo>
                    <a:pt x="22121" y="92822"/>
                  </a:lnTo>
                  <a:lnTo>
                    <a:pt x="21124" y="96901"/>
                  </a:lnTo>
                  <a:lnTo>
                    <a:pt x="19032" y="101477"/>
                  </a:lnTo>
                  <a:lnTo>
                    <a:pt x="20128" y="104959"/>
                  </a:lnTo>
                  <a:lnTo>
                    <a:pt x="19131" y="106253"/>
                  </a:lnTo>
                  <a:lnTo>
                    <a:pt x="21224" y="107048"/>
                  </a:lnTo>
                  <a:lnTo>
                    <a:pt x="23516" y="107048"/>
                  </a:lnTo>
                  <a:lnTo>
                    <a:pt x="22021" y="110033"/>
                  </a:lnTo>
                  <a:lnTo>
                    <a:pt x="22021" y="111426"/>
                  </a:lnTo>
                  <a:lnTo>
                    <a:pt x="24412" y="115206"/>
                  </a:lnTo>
                  <a:lnTo>
                    <a:pt x="25010" y="116699"/>
                  </a:lnTo>
                  <a:lnTo>
                    <a:pt x="25509" y="119086"/>
                  </a:lnTo>
                  <a:lnTo>
                    <a:pt x="25509" y="121673"/>
                  </a:lnTo>
                  <a:lnTo>
                    <a:pt x="24811" y="123862"/>
                  </a:lnTo>
                  <a:lnTo>
                    <a:pt x="24811" y="124956"/>
                  </a:lnTo>
                  <a:lnTo>
                    <a:pt x="24811" y="126946"/>
                  </a:lnTo>
                  <a:lnTo>
                    <a:pt x="24811" y="127841"/>
                  </a:lnTo>
                  <a:lnTo>
                    <a:pt x="23715" y="128836"/>
                  </a:lnTo>
                  <a:lnTo>
                    <a:pt x="23715" y="128836"/>
                  </a:lnTo>
                  <a:lnTo>
                    <a:pt x="23715" y="128836"/>
                  </a:lnTo>
                  <a:lnTo>
                    <a:pt x="22320" y="128836"/>
                  </a:lnTo>
                  <a:lnTo>
                    <a:pt x="20128" y="128836"/>
                  </a:lnTo>
                  <a:lnTo>
                    <a:pt x="18334" y="128836"/>
                  </a:lnTo>
                  <a:lnTo>
                    <a:pt x="16740" y="127742"/>
                  </a:lnTo>
                  <a:lnTo>
                    <a:pt x="14947" y="125951"/>
                  </a:lnTo>
                  <a:lnTo>
                    <a:pt x="12654" y="122071"/>
                  </a:lnTo>
                  <a:lnTo>
                    <a:pt x="10961" y="120181"/>
                  </a:lnTo>
                  <a:lnTo>
                    <a:pt x="8868" y="120181"/>
                  </a:lnTo>
                  <a:lnTo>
                    <a:pt x="7374" y="121673"/>
                  </a:lnTo>
                  <a:lnTo>
                    <a:pt x="7374" y="123862"/>
                  </a:lnTo>
                  <a:lnTo>
                    <a:pt x="8171" y="125951"/>
                  </a:lnTo>
                  <a:lnTo>
                    <a:pt x="9267" y="127742"/>
                  </a:lnTo>
                  <a:lnTo>
                    <a:pt x="10463" y="129035"/>
                  </a:lnTo>
                  <a:lnTo>
                    <a:pt x="11160" y="129632"/>
                  </a:lnTo>
                  <a:lnTo>
                    <a:pt x="11957" y="129632"/>
                  </a:lnTo>
                  <a:lnTo>
                    <a:pt x="13252" y="130428"/>
                  </a:lnTo>
                  <a:lnTo>
                    <a:pt x="14249" y="130428"/>
                  </a:lnTo>
                  <a:lnTo>
                    <a:pt x="15046" y="130428"/>
                  </a:lnTo>
                  <a:lnTo>
                    <a:pt x="15644" y="130428"/>
                  </a:lnTo>
                  <a:lnTo>
                    <a:pt x="15644" y="131821"/>
                  </a:lnTo>
                  <a:lnTo>
                    <a:pt x="15644" y="133512"/>
                  </a:lnTo>
                  <a:lnTo>
                    <a:pt x="18633" y="140377"/>
                  </a:lnTo>
                  <a:lnTo>
                    <a:pt x="20028" y="137691"/>
                  </a:lnTo>
                  <a:lnTo>
                    <a:pt x="20327" y="135303"/>
                  </a:lnTo>
                  <a:lnTo>
                    <a:pt x="22220" y="134507"/>
                  </a:lnTo>
                  <a:lnTo>
                    <a:pt x="23814" y="133114"/>
                  </a:lnTo>
                  <a:lnTo>
                    <a:pt x="30092" y="130627"/>
                  </a:lnTo>
                  <a:lnTo>
                    <a:pt x="30790" y="130627"/>
                  </a:lnTo>
                  <a:lnTo>
                    <a:pt x="31687" y="130627"/>
                  </a:lnTo>
                  <a:lnTo>
                    <a:pt x="34676" y="128637"/>
                  </a:lnTo>
                  <a:lnTo>
                    <a:pt x="35374" y="128637"/>
                  </a:lnTo>
                  <a:lnTo>
                    <a:pt x="36071" y="128637"/>
                  </a:lnTo>
                  <a:lnTo>
                    <a:pt x="36968" y="128637"/>
                  </a:lnTo>
                  <a:lnTo>
                    <a:pt x="38163" y="128637"/>
                  </a:lnTo>
                  <a:lnTo>
                    <a:pt x="39060" y="127045"/>
                  </a:lnTo>
                  <a:lnTo>
                    <a:pt x="39060" y="125155"/>
                  </a:lnTo>
                  <a:lnTo>
                    <a:pt x="39858" y="123563"/>
                  </a:lnTo>
                  <a:lnTo>
                    <a:pt x="42050" y="123066"/>
                  </a:lnTo>
                  <a:lnTo>
                    <a:pt x="42050" y="120181"/>
                  </a:lnTo>
                  <a:lnTo>
                    <a:pt x="42050" y="114809"/>
                  </a:lnTo>
                  <a:lnTo>
                    <a:pt x="42050" y="112520"/>
                  </a:lnTo>
                  <a:lnTo>
                    <a:pt x="43843" y="111426"/>
                  </a:lnTo>
                  <a:lnTo>
                    <a:pt x="44840" y="112819"/>
                  </a:lnTo>
                  <a:lnTo>
                    <a:pt x="45736" y="115306"/>
                  </a:lnTo>
                  <a:lnTo>
                    <a:pt x="46832" y="117694"/>
                  </a:lnTo>
                  <a:lnTo>
                    <a:pt x="48227" y="117694"/>
                  </a:lnTo>
                  <a:lnTo>
                    <a:pt x="54306" y="112719"/>
                  </a:lnTo>
                  <a:lnTo>
                    <a:pt x="56498" y="112023"/>
                  </a:lnTo>
                  <a:lnTo>
                    <a:pt x="57295" y="112023"/>
                  </a:lnTo>
                  <a:lnTo>
                    <a:pt x="57295" y="112023"/>
                  </a:lnTo>
                  <a:lnTo>
                    <a:pt x="58391" y="109436"/>
                  </a:lnTo>
                  <a:lnTo>
                    <a:pt x="59288" y="108441"/>
                  </a:lnTo>
                  <a:lnTo>
                    <a:pt x="60384" y="108441"/>
                  </a:lnTo>
                  <a:lnTo>
                    <a:pt x="61181" y="109635"/>
                  </a:lnTo>
                  <a:lnTo>
                    <a:pt x="61181" y="110729"/>
                  </a:lnTo>
                  <a:lnTo>
                    <a:pt x="61181" y="111525"/>
                  </a:lnTo>
                  <a:lnTo>
                    <a:pt x="61181" y="111525"/>
                  </a:lnTo>
                  <a:lnTo>
                    <a:pt x="63971" y="106153"/>
                  </a:lnTo>
                  <a:lnTo>
                    <a:pt x="67060" y="102969"/>
                  </a:lnTo>
                  <a:lnTo>
                    <a:pt x="70149" y="105457"/>
                  </a:lnTo>
                  <a:lnTo>
                    <a:pt x="70149" y="108541"/>
                  </a:lnTo>
                  <a:lnTo>
                    <a:pt x="68256" y="114609"/>
                  </a:lnTo>
                  <a:lnTo>
                    <a:pt x="68256" y="116500"/>
                  </a:lnTo>
                  <a:lnTo>
                    <a:pt x="64669" y="117196"/>
                  </a:lnTo>
                  <a:lnTo>
                    <a:pt x="64669" y="118191"/>
                  </a:lnTo>
                  <a:lnTo>
                    <a:pt x="64171" y="120579"/>
                  </a:lnTo>
                  <a:lnTo>
                    <a:pt x="62476" y="121673"/>
                  </a:lnTo>
                  <a:lnTo>
                    <a:pt x="60085" y="121076"/>
                  </a:lnTo>
                  <a:lnTo>
                    <a:pt x="56000" y="118589"/>
                  </a:lnTo>
                  <a:lnTo>
                    <a:pt x="54206" y="118589"/>
                  </a:lnTo>
                  <a:lnTo>
                    <a:pt x="52911" y="119186"/>
                  </a:lnTo>
                  <a:lnTo>
                    <a:pt x="52911" y="120181"/>
                  </a:lnTo>
                  <a:lnTo>
                    <a:pt x="52911" y="121176"/>
                  </a:lnTo>
                  <a:lnTo>
                    <a:pt x="52014" y="122071"/>
                  </a:lnTo>
                  <a:lnTo>
                    <a:pt x="50818" y="122071"/>
                  </a:lnTo>
                  <a:lnTo>
                    <a:pt x="47131" y="122071"/>
                  </a:lnTo>
                  <a:lnTo>
                    <a:pt x="45537" y="123165"/>
                  </a:lnTo>
                  <a:lnTo>
                    <a:pt x="44640" y="125653"/>
                  </a:lnTo>
                  <a:lnTo>
                    <a:pt x="44043" y="128737"/>
                  </a:lnTo>
                  <a:lnTo>
                    <a:pt x="43245" y="131224"/>
                  </a:lnTo>
                  <a:lnTo>
                    <a:pt x="41950" y="133512"/>
                  </a:lnTo>
                  <a:lnTo>
                    <a:pt x="40356" y="135601"/>
                  </a:lnTo>
                  <a:lnTo>
                    <a:pt x="38363" y="137193"/>
                  </a:lnTo>
                  <a:lnTo>
                    <a:pt x="36270" y="138089"/>
                  </a:lnTo>
                  <a:lnTo>
                    <a:pt x="37167" y="140874"/>
                  </a:lnTo>
                  <a:lnTo>
                    <a:pt x="39060" y="143958"/>
                  </a:lnTo>
                  <a:lnTo>
                    <a:pt x="41452" y="146346"/>
                  </a:lnTo>
                  <a:lnTo>
                    <a:pt x="43743" y="147440"/>
                  </a:lnTo>
                  <a:lnTo>
                    <a:pt x="48427" y="147440"/>
                  </a:lnTo>
                  <a:lnTo>
                    <a:pt x="49822" y="148037"/>
                  </a:lnTo>
                  <a:lnTo>
                    <a:pt x="50718" y="148833"/>
                  </a:lnTo>
                  <a:lnTo>
                    <a:pt x="51616" y="149430"/>
                  </a:lnTo>
                  <a:lnTo>
                    <a:pt x="53210" y="149430"/>
                  </a:lnTo>
                  <a:lnTo>
                    <a:pt x="54705" y="150027"/>
                  </a:lnTo>
                  <a:lnTo>
                    <a:pt x="56199" y="151022"/>
                  </a:lnTo>
                  <a:lnTo>
                    <a:pt x="57893" y="151818"/>
                  </a:lnTo>
                  <a:lnTo>
                    <a:pt x="59387" y="151221"/>
                  </a:lnTo>
                  <a:lnTo>
                    <a:pt x="63274" y="147142"/>
                  </a:lnTo>
                  <a:lnTo>
                    <a:pt x="67658" y="144456"/>
                  </a:lnTo>
                  <a:lnTo>
                    <a:pt x="69950" y="142466"/>
                  </a:lnTo>
                  <a:lnTo>
                    <a:pt x="71145" y="140078"/>
                  </a:lnTo>
                  <a:lnTo>
                    <a:pt x="69452" y="140078"/>
                  </a:lnTo>
                  <a:lnTo>
                    <a:pt x="69452" y="138685"/>
                  </a:lnTo>
                  <a:lnTo>
                    <a:pt x="69452" y="136895"/>
                  </a:lnTo>
                  <a:lnTo>
                    <a:pt x="69452" y="134805"/>
                  </a:lnTo>
                  <a:lnTo>
                    <a:pt x="68056" y="133313"/>
                  </a:lnTo>
                  <a:lnTo>
                    <a:pt x="66961" y="133313"/>
                  </a:lnTo>
                  <a:lnTo>
                    <a:pt x="66163" y="132716"/>
                  </a:lnTo>
                  <a:lnTo>
                    <a:pt x="66163" y="129831"/>
                  </a:lnTo>
                  <a:lnTo>
                    <a:pt x="67160" y="125255"/>
                  </a:lnTo>
                  <a:lnTo>
                    <a:pt x="69153" y="125255"/>
                  </a:lnTo>
                  <a:lnTo>
                    <a:pt x="70847" y="127443"/>
                  </a:lnTo>
                  <a:lnTo>
                    <a:pt x="70847" y="130925"/>
                  </a:lnTo>
                  <a:lnTo>
                    <a:pt x="74932" y="134109"/>
                  </a:lnTo>
                  <a:lnTo>
                    <a:pt x="74932" y="137989"/>
                  </a:lnTo>
                  <a:lnTo>
                    <a:pt x="74035" y="142665"/>
                  </a:lnTo>
                  <a:lnTo>
                    <a:pt x="75131" y="148137"/>
                  </a:lnTo>
                  <a:lnTo>
                    <a:pt x="78220" y="144257"/>
                  </a:lnTo>
                  <a:lnTo>
                    <a:pt x="79914" y="143361"/>
                  </a:lnTo>
                  <a:lnTo>
                    <a:pt x="81210" y="144655"/>
                  </a:lnTo>
                  <a:lnTo>
                    <a:pt x="81210" y="145849"/>
                  </a:lnTo>
                  <a:lnTo>
                    <a:pt x="79914" y="148037"/>
                  </a:lnTo>
                  <a:lnTo>
                    <a:pt x="79914" y="149331"/>
                  </a:lnTo>
                  <a:lnTo>
                    <a:pt x="79914" y="150425"/>
                  </a:lnTo>
                  <a:lnTo>
                    <a:pt x="79914" y="151221"/>
                  </a:lnTo>
                  <a:lnTo>
                    <a:pt x="79914" y="151221"/>
                  </a:lnTo>
                  <a:lnTo>
                    <a:pt x="80512" y="153708"/>
                  </a:lnTo>
                  <a:lnTo>
                    <a:pt x="81907" y="156991"/>
                  </a:lnTo>
                  <a:lnTo>
                    <a:pt x="83402" y="159578"/>
                  </a:lnTo>
                  <a:lnTo>
                    <a:pt x="84797" y="159578"/>
                  </a:lnTo>
                  <a:lnTo>
                    <a:pt x="88384" y="155001"/>
                  </a:lnTo>
                  <a:lnTo>
                    <a:pt x="92868" y="147540"/>
                  </a:lnTo>
                  <a:lnTo>
                    <a:pt x="93865" y="145252"/>
                  </a:lnTo>
                  <a:lnTo>
                    <a:pt x="94761" y="142466"/>
                  </a:lnTo>
                  <a:lnTo>
                    <a:pt x="94761" y="141471"/>
                  </a:lnTo>
                  <a:lnTo>
                    <a:pt x="97851" y="141471"/>
                  </a:lnTo>
                  <a:lnTo>
                    <a:pt x="102135" y="140277"/>
                  </a:lnTo>
                  <a:lnTo>
                    <a:pt x="103729" y="140277"/>
                  </a:lnTo>
                  <a:lnTo>
                    <a:pt x="104427" y="141969"/>
                  </a:lnTo>
                  <a:lnTo>
                    <a:pt x="105025" y="143262"/>
                  </a:lnTo>
                  <a:lnTo>
                    <a:pt x="109608" y="147241"/>
                  </a:lnTo>
                  <a:lnTo>
                    <a:pt x="111103" y="144754"/>
                  </a:lnTo>
                  <a:lnTo>
                    <a:pt x="112100" y="142168"/>
                  </a:lnTo>
                  <a:lnTo>
                    <a:pt x="113494" y="141073"/>
                  </a:lnTo>
                  <a:lnTo>
                    <a:pt x="116085" y="143262"/>
                  </a:lnTo>
                  <a:lnTo>
                    <a:pt x="117082" y="145550"/>
                  </a:lnTo>
                  <a:lnTo>
                    <a:pt x="117082" y="148535"/>
                  </a:lnTo>
                  <a:lnTo>
                    <a:pt x="117779" y="151221"/>
                  </a:lnTo>
                  <a:lnTo>
                    <a:pt x="119672" y="152912"/>
                  </a:lnTo>
                  <a:lnTo>
                    <a:pt x="120469" y="150723"/>
                  </a:lnTo>
                  <a:lnTo>
                    <a:pt x="120469" y="148137"/>
                  </a:lnTo>
                  <a:lnTo>
                    <a:pt x="119573" y="144356"/>
                  </a:lnTo>
                  <a:lnTo>
                    <a:pt x="118377" y="140775"/>
                  </a:lnTo>
                  <a:lnTo>
                    <a:pt x="115985" y="135303"/>
                  </a:lnTo>
                  <a:lnTo>
                    <a:pt x="115985" y="134010"/>
                  </a:lnTo>
                  <a:lnTo>
                    <a:pt x="116783" y="132915"/>
                  </a:lnTo>
                  <a:lnTo>
                    <a:pt x="116783" y="131124"/>
                  </a:lnTo>
                  <a:lnTo>
                    <a:pt x="116783" y="129632"/>
                  </a:lnTo>
                  <a:lnTo>
                    <a:pt x="116783" y="128836"/>
                  </a:lnTo>
                  <a:lnTo>
                    <a:pt x="116783" y="128040"/>
                  </a:lnTo>
                  <a:lnTo>
                    <a:pt x="115687" y="122569"/>
                  </a:lnTo>
                  <a:lnTo>
                    <a:pt x="115687" y="120479"/>
                  </a:lnTo>
                  <a:lnTo>
                    <a:pt x="116882" y="119584"/>
                  </a:lnTo>
                  <a:lnTo>
                    <a:pt x="118078" y="119584"/>
                  </a:lnTo>
                  <a:lnTo>
                    <a:pt x="119373" y="118589"/>
                  </a:lnTo>
                  <a:lnTo>
                    <a:pt x="120469" y="117296"/>
                  </a:lnTo>
                  <a:lnTo>
                    <a:pt x="120469" y="115903"/>
                  </a:lnTo>
                  <a:lnTo>
                    <a:pt x="120469" y="114908"/>
                  </a:lnTo>
                  <a:lnTo>
                    <a:pt x="122762" y="111326"/>
                  </a:lnTo>
                  <a:lnTo>
                    <a:pt x="123359" y="109536"/>
                  </a:lnTo>
                  <a:lnTo>
                    <a:pt x="123359" y="108640"/>
                  </a:lnTo>
                  <a:lnTo>
                    <a:pt x="122762" y="105457"/>
                  </a:lnTo>
                  <a:lnTo>
                    <a:pt x="122762" y="103765"/>
                  </a:lnTo>
                  <a:lnTo>
                    <a:pt x="123359" y="95607"/>
                  </a:lnTo>
                  <a:lnTo>
                    <a:pt x="122662" y="92324"/>
                  </a:lnTo>
                  <a:lnTo>
                    <a:pt x="118078" y="90136"/>
                  </a:lnTo>
                  <a:lnTo>
                    <a:pt x="118078" y="88245"/>
                  </a:lnTo>
                  <a:lnTo>
                    <a:pt x="118078" y="85858"/>
                  </a:lnTo>
                  <a:lnTo>
                    <a:pt x="119174" y="84166"/>
                  </a:lnTo>
                  <a:lnTo>
                    <a:pt x="120469" y="83370"/>
                  </a:lnTo>
                  <a:lnTo>
                    <a:pt x="121565" y="83370"/>
                  </a:lnTo>
                  <a:lnTo>
                    <a:pt x="122462" y="83370"/>
                  </a:lnTo>
                  <a:lnTo>
                    <a:pt x="123459" y="81779"/>
                  </a:lnTo>
                  <a:lnTo>
                    <a:pt x="124356" y="75113"/>
                  </a:lnTo>
                  <a:lnTo>
                    <a:pt x="124356" y="70935"/>
                  </a:lnTo>
                  <a:lnTo>
                    <a:pt x="124356" y="69144"/>
                  </a:lnTo>
                  <a:lnTo>
                    <a:pt x="117082" y="69144"/>
                  </a:lnTo>
                  <a:lnTo>
                    <a:pt x="113594" y="68547"/>
                  </a:lnTo>
                  <a:lnTo>
                    <a:pt x="111701" y="66756"/>
                  </a:lnTo>
                  <a:lnTo>
                    <a:pt x="114491" y="65264"/>
                  </a:lnTo>
                  <a:lnTo>
                    <a:pt x="117680" y="64368"/>
                  </a:lnTo>
                  <a:lnTo>
                    <a:pt x="121067" y="64368"/>
                  </a:lnTo>
                  <a:lnTo>
                    <a:pt x="123858" y="65562"/>
                  </a:lnTo>
                  <a:lnTo>
                    <a:pt x="125253" y="64667"/>
                  </a:lnTo>
                  <a:lnTo>
                    <a:pt x="126547" y="63373"/>
                  </a:lnTo>
                  <a:lnTo>
                    <a:pt x="126547" y="62080"/>
                  </a:lnTo>
                  <a:lnTo>
                    <a:pt x="129138" y="58499"/>
                  </a:lnTo>
                  <a:lnTo>
                    <a:pt x="130235" y="56210"/>
                  </a:lnTo>
                  <a:lnTo>
                    <a:pt x="131929" y="59991"/>
                  </a:lnTo>
                  <a:lnTo>
                    <a:pt x="134420" y="60886"/>
                  </a:lnTo>
                  <a:lnTo>
                    <a:pt x="136014" y="59195"/>
                  </a:lnTo>
                  <a:lnTo>
                    <a:pt x="135416" y="55215"/>
                  </a:lnTo>
                  <a:close/>
                  <a:moveTo>
                    <a:pt x="42747" y="83967"/>
                  </a:moveTo>
                  <a:lnTo>
                    <a:pt x="41252" y="83370"/>
                  </a:lnTo>
                  <a:lnTo>
                    <a:pt x="39758" y="82376"/>
                  </a:lnTo>
                  <a:lnTo>
                    <a:pt x="38662" y="81281"/>
                  </a:lnTo>
                  <a:lnTo>
                    <a:pt x="36469" y="78695"/>
                  </a:lnTo>
                  <a:lnTo>
                    <a:pt x="35473" y="78098"/>
                  </a:lnTo>
                  <a:lnTo>
                    <a:pt x="33879" y="77302"/>
                  </a:lnTo>
                  <a:lnTo>
                    <a:pt x="32185" y="77302"/>
                  </a:lnTo>
                  <a:lnTo>
                    <a:pt x="28100" y="77302"/>
                  </a:lnTo>
                  <a:lnTo>
                    <a:pt x="26804" y="77302"/>
                  </a:lnTo>
                  <a:lnTo>
                    <a:pt x="20726" y="74417"/>
                  </a:lnTo>
                  <a:lnTo>
                    <a:pt x="25907" y="70935"/>
                  </a:lnTo>
                  <a:lnTo>
                    <a:pt x="29096" y="66060"/>
                  </a:lnTo>
                  <a:lnTo>
                    <a:pt x="30391" y="65164"/>
                  </a:lnTo>
                  <a:lnTo>
                    <a:pt x="31089" y="67055"/>
                  </a:lnTo>
                  <a:lnTo>
                    <a:pt x="32982" y="67651"/>
                  </a:lnTo>
                  <a:lnTo>
                    <a:pt x="37367" y="67651"/>
                  </a:lnTo>
                  <a:lnTo>
                    <a:pt x="36868" y="68248"/>
                  </a:lnTo>
                  <a:lnTo>
                    <a:pt x="36868" y="68248"/>
                  </a:lnTo>
                  <a:lnTo>
                    <a:pt x="36868" y="68845"/>
                  </a:lnTo>
                  <a:lnTo>
                    <a:pt x="36171" y="69442"/>
                  </a:lnTo>
                  <a:lnTo>
                    <a:pt x="40156" y="74616"/>
                  </a:lnTo>
                  <a:lnTo>
                    <a:pt x="44840" y="84564"/>
                  </a:lnTo>
                  <a:close/>
                  <a:moveTo>
                    <a:pt x="47231" y="48351"/>
                  </a:moveTo>
                  <a:lnTo>
                    <a:pt x="46135" y="51137"/>
                  </a:lnTo>
                  <a:lnTo>
                    <a:pt x="46135" y="52430"/>
                  </a:lnTo>
                  <a:lnTo>
                    <a:pt x="46135" y="52430"/>
                  </a:lnTo>
                  <a:lnTo>
                    <a:pt x="43145" y="53723"/>
                  </a:lnTo>
                  <a:lnTo>
                    <a:pt x="40156" y="56608"/>
                  </a:lnTo>
                  <a:lnTo>
                    <a:pt x="38961" y="58797"/>
                  </a:lnTo>
                  <a:lnTo>
                    <a:pt x="38961" y="61782"/>
                  </a:lnTo>
                  <a:lnTo>
                    <a:pt x="37367" y="60389"/>
                  </a:lnTo>
                  <a:lnTo>
                    <a:pt x="36769" y="59493"/>
                  </a:lnTo>
                  <a:lnTo>
                    <a:pt x="36769" y="58399"/>
                  </a:lnTo>
                  <a:lnTo>
                    <a:pt x="36769" y="56608"/>
                  </a:lnTo>
                  <a:lnTo>
                    <a:pt x="36769" y="56011"/>
                  </a:lnTo>
                  <a:lnTo>
                    <a:pt x="36769" y="56011"/>
                  </a:lnTo>
                  <a:lnTo>
                    <a:pt x="36769" y="55116"/>
                  </a:lnTo>
                  <a:lnTo>
                    <a:pt x="36769" y="55116"/>
                  </a:lnTo>
                  <a:lnTo>
                    <a:pt x="37367" y="55116"/>
                  </a:lnTo>
                  <a:lnTo>
                    <a:pt x="37964" y="55116"/>
                  </a:lnTo>
                  <a:lnTo>
                    <a:pt x="37964" y="55116"/>
                  </a:lnTo>
                  <a:lnTo>
                    <a:pt x="37964" y="54320"/>
                  </a:lnTo>
                  <a:lnTo>
                    <a:pt x="37964" y="53723"/>
                  </a:lnTo>
                  <a:lnTo>
                    <a:pt x="37964" y="53723"/>
                  </a:lnTo>
                  <a:lnTo>
                    <a:pt x="37964" y="48749"/>
                  </a:lnTo>
                  <a:lnTo>
                    <a:pt x="36968" y="44968"/>
                  </a:lnTo>
                  <a:lnTo>
                    <a:pt x="37765" y="44968"/>
                  </a:lnTo>
                  <a:lnTo>
                    <a:pt x="45039" y="45764"/>
                  </a:lnTo>
                  <a:lnTo>
                    <a:pt x="46932" y="46759"/>
                  </a:lnTo>
                  <a:lnTo>
                    <a:pt x="48327" y="48848"/>
                  </a:lnTo>
                  <a:close/>
                  <a:moveTo>
                    <a:pt x="60185" y="35815"/>
                  </a:moveTo>
                  <a:lnTo>
                    <a:pt x="58690" y="31836"/>
                  </a:lnTo>
                  <a:lnTo>
                    <a:pt x="58690" y="25867"/>
                  </a:lnTo>
                  <a:lnTo>
                    <a:pt x="60484" y="21390"/>
                  </a:lnTo>
                  <a:lnTo>
                    <a:pt x="60982" y="22086"/>
                  </a:lnTo>
                  <a:lnTo>
                    <a:pt x="60982" y="22882"/>
                  </a:lnTo>
                  <a:lnTo>
                    <a:pt x="60982" y="27558"/>
                  </a:lnTo>
                  <a:lnTo>
                    <a:pt x="60982" y="30145"/>
                  </a:lnTo>
                  <a:lnTo>
                    <a:pt x="61580" y="32532"/>
                  </a:lnTo>
                  <a:lnTo>
                    <a:pt x="62377" y="34224"/>
                  </a:lnTo>
                  <a:close/>
                  <a:moveTo>
                    <a:pt x="74434" y="57106"/>
                  </a:moveTo>
                  <a:lnTo>
                    <a:pt x="68256" y="52131"/>
                  </a:lnTo>
                  <a:lnTo>
                    <a:pt x="66562" y="50142"/>
                  </a:lnTo>
                  <a:lnTo>
                    <a:pt x="65565" y="47754"/>
                  </a:lnTo>
                  <a:lnTo>
                    <a:pt x="65565" y="45864"/>
                  </a:lnTo>
                  <a:lnTo>
                    <a:pt x="67060" y="44670"/>
                  </a:lnTo>
                  <a:lnTo>
                    <a:pt x="69751" y="44670"/>
                  </a:lnTo>
                  <a:lnTo>
                    <a:pt x="71843" y="46461"/>
                  </a:lnTo>
                  <a:lnTo>
                    <a:pt x="73338" y="48351"/>
                  </a:lnTo>
                  <a:lnTo>
                    <a:pt x="74832" y="49843"/>
                  </a:lnTo>
                  <a:lnTo>
                    <a:pt x="76825" y="49843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4" name="Freeform: Shape 1243">
              <a:extLst>
                <a:ext uri="{FF2B5EF4-FFF2-40B4-BE49-F238E27FC236}">
                  <a16:creationId xmlns:a16="http://schemas.microsoft.com/office/drawing/2014/main" id="{7B263A07-F468-4F7B-8FA5-8435CA4CD830}"/>
                </a:ext>
              </a:extLst>
            </p:cNvPr>
            <p:cNvSpPr/>
            <p:nvPr/>
          </p:nvSpPr>
          <p:spPr>
            <a:xfrm>
              <a:off x="6148868" y="140511"/>
              <a:ext cx="2092" cy="298"/>
            </a:xfrm>
            <a:custGeom>
              <a:avLst/>
              <a:gdLst>
                <a:gd name="connsiteX0" fmla="*/ 1794 w 2092"/>
                <a:gd name="connsiteY0" fmla="*/ 0 h 298"/>
                <a:gd name="connsiteX1" fmla="*/ 100 w 2092"/>
                <a:gd name="connsiteY1" fmla="*/ 99 h 298"/>
                <a:gd name="connsiteX2" fmla="*/ 0 w 2092"/>
                <a:gd name="connsiteY2" fmla="*/ 99 h 298"/>
                <a:gd name="connsiteX3" fmla="*/ 2093 w 2092"/>
                <a:gd name="connsiteY3" fmla="*/ 298 h 298"/>
                <a:gd name="connsiteX4" fmla="*/ 1794 w 2092"/>
                <a:gd name="connsiteY4" fmla="*/ 0 h 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2" h="298">
                  <a:moveTo>
                    <a:pt x="1794" y="0"/>
                  </a:moveTo>
                  <a:lnTo>
                    <a:pt x="100" y="99"/>
                  </a:lnTo>
                  <a:lnTo>
                    <a:pt x="0" y="99"/>
                  </a:lnTo>
                  <a:lnTo>
                    <a:pt x="2093" y="298"/>
                  </a:lnTo>
                  <a:lnTo>
                    <a:pt x="1794" y="0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5" name="Freeform: Shape 1244">
              <a:extLst>
                <a:ext uri="{FF2B5EF4-FFF2-40B4-BE49-F238E27FC236}">
                  <a16:creationId xmlns:a16="http://schemas.microsoft.com/office/drawing/2014/main" id="{B30E1ACF-7F40-49F5-9395-34EA5C98344F}"/>
                </a:ext>
              </a:extLst>
            </p:cNvPr>
            <p:cNvSpPr/>
            <p:nvPr/>
          </p:nvSpPr>
          <p:spPr>
            <a:xfrm>
              <a:off x="999561" y="-407862"/>
              <a:ext cx="378249" cy="700789"/>
            </a:xfrm>
            <a:custGeom>
              <a:avLst/>
              <a:gdLst>
                <a:gd name="connsiteX0" fmla="*/ 376256 w 378249"/>
                <a:gd name="connsiteY0" fmla="*/ 554742 h 700789"/>
                <a:gd name="connsiteX1" fmla="*/ 369281 w 378249"/>
                <a:gd name="connsiteY1" fmla="*/ 544793 h 700789"/>
                <a:gd name="connsiteX2" fmla="*/ 366491 w 378249"/>
                <a:gd name="connsiteY2" fmla="*/ 539918 h 700789"/>
                <a:gd name="connsiteX3" fmla="*/ 364697 w 378249"/>
                <a:gd name="connsiteY3" fmla="*/ 537630 h 700789"/>
                <a:gd name="connsiteX4" fmla="*/ 362704 w 378249"/>
                <a:gd name="connsiteY4" fmla="*/ 536735 h 700789"/>
                <a:gd name="connsiteX5" fmla="*/ 360114 w 378249"/>
                <a:gd name="connsiteY5" fmla="*/ 536735 h 700789"/>
                <a:gd name="connsiteX6" fmla="*/ 357423 w 378249"/>
                <a:gd name="connsiteY6" fmla="*/ 535839 h 700789"/>
                <a:gd name="connsiteX7" fmla="*/ 355331 w 378249"/>
                <a:gd name="connsiteY7" fmla="*/ 534248 h 700789"/>
                <a:gd name="connsiteX8" fmla="*/ 354434 w 378249"/>
                <a:gd name="connsiteY8" fmla="*/ 531661 h 700789"/>
                <a:gd name="connsiteX9" fmla="*/ 354434 w 378249"/>
                <a:gd name="connsiteY9" fmla="*/ 529472 h 700789"/>
                <a:gd name="connsiteX10" fmla="*/ 353537 w 378249"/>
                <a:gd name="connsiteY10" fmla="*/ 529472 h 700789"/>
                <a:gd name="connsiteX11" fmla="*/ 352441 w 378249"/>
                <a:gd name="connsiteY11" fmla="*/ 529472 h 700789"/>
                <a:gd name="connsiteX12" fmla="*/ 351345 w 378249"/>
                <a:gd name="connsiteY12" fmla="*/ 528875 h 700789"/>
                <a:gd name="connsiteX13" fmla="*/ 350448 w 378249"/>
                <a:gd name="connsiteY13" fmla="*/ 527283 h 700789"/>
                <a:gd name="connsiteX14" fmla="*/ 349253 w 378249"/>
                <a:gd name="connsiteY14" fmla="*/ 523901 h 700789"/>
                <a:gd name="connsiteX15" fmla="*/ 343374 w 378249"/>
                <a:gd name="connsiteY15" fmla="*/ 513952 h 700789"/>
                <a:gd name="connsiteX16" fmla="*/ 341680 w 378249"/>
                <a:gd name="connsiteY16" fmla="*/ 512360 h 700789"/>
                <a:gd name="connsiteX17" fmla="*/ 338093 w 378249"/>
                <a:gd name="connsiteY17" fmla="*/ 511266 h 700789"/>
                <a:gd name="connsiteX18" fmla="*/ 338790 w 378249"/>
                <a:gd name="connsiteY18" fmla="*/ 508580 h 700789"/>
                <a:gd name="connsiteX19" fmla="*/ 342975 w 378249"/>
                <a:gd name="connsiteY19" fmla="*/ 502909 h 700789"/>
                <a:gd name="connsiteX20" fmla="*/ 320156 w 378249"/>
                <a:gd name="connsiteY20" fmla="*/ 477142 h 700789"/>
                <a:gd name="connsiteX21" fmla="*/ 315274 w 378249"/>
                <a:gd name="connsiteY21" fmla="*/ 468685 h 700789"/>
                <a:gd name="connsiteX22" fmla="*/ 313281 w 378249"/>
                <a:gd name="connsiteY22" fmla="*/ 466994 h 700789"/>
                <a:gd name="connsiteX23" fmla="*/ 312285 w 378249"/>
                <a:gd name="connsiteY23" fmla="*/ 465800 h 700789"/>
                <a:gd name="connsiteX24" fmla="*/ 311786 w 378249"/>
                <a:gd name="connsiteY24" fmla="*/ 463910 h 700789"/>
                <a:gd name="connsiteX25" fmla="*/ 316271 w 378249"/>
                <a:gd name="connsiteY25" fmla="*/ 465004 h 700789"/>
                <a:gd name="connsiteX26" fmla="*/ 317366 w 378249"/>
                <a:gd name="connsiteY26" fmla="*/ 464507 h 700789"/>
                <a:gd name="connsiteX27" fmla="*/ 318463 w 378249"/>
                <a:gd name="connsiteY27" fmla="*/ 463512 h 700789"/>
                <a:gd name="connsiteX28" fmla="*/ 319858 w 378249"/>
                <a:gd name="connsiteY28" fmla="*/ 462816 h 700789"/>
                <a:gd name="connsiteX29" fmla="*/ 321452 w 378249"/>
                <a:gd name="connsiteY29" fmla="*/ 462816 h 700789"/>
                <a:gd name="connsiteX30" fmla="*/ 323843 w 378249"/>
                <a:gd name="connsiteY30" fmla="*/ 462816 h 700789"/>
                <a:gd name="connsiteX31" fmla="*/ 324840 w 378249"/>
                <a:gd name="connsiteY31" fmla="*/ 462816 h 700789"/>
                <a:gd name="connsiteX32" fmla="*/ 324840 w 378249"/>
                <a:gd name="connsiteY32" fmla="*/ 462816 h 700789"/>
                <a:gd name="connsiteX33" fmla="*/ 324840 w 378249"/>
                <a:gd name="connsiteY33" fmla="*/ 462219 h 700789"/>
                <a:gd name="connsiteX34" fmla="*/ 323744 w 378249"/>
                <a:gd name="connsiteY34" fmla="*/ 460726 h 700789"/>
                <a:gd name="connsiteX35" fmla="*/ 320057 w 378249"/>
                <a:gd name="connsiteY35" fmla="*/ 454459 h 700789"/>
                <a:gd name="connsiteX36" fmla="*/ 317964 w 378249"/>
                <a:gd name="connsiteY36" fmla="*/ 451971 h 700789"/>
                <a:gd name="connsiteX37" fmla="*/ 315772 w 378249"/>
                <a:gd name="connsiteY37" fmla="*/ 450280 h 700789"/>
                <a:gd name="connsiteX38" fmla="*/ 310989 w 378249"/>
                <a:gd name="connsiteY38" fmla="*/ 447992 h 700789"/>
                <a:gd name="connsiteX39" fmla="*/ 301025 w 378249"/>
                <a:gd name="connsiteY39" fmla="*/ 447992 h 700789"/>
                <a:gd name="connsiteX40" fmla="*/ 301025 w 378249"/>
                <a:gd name="connsiteY40" fmla="*/ 447196 h 700789"/>
                <a:gd name="connsiteX41" fmla="*/ 300427 w 378249"/>
                <a:gd name="connsiteY41" fmla="*/ 445604 h 700789"/>
                <a:gd name="connsiteX42" fmla="*/ 300427 w 378249"/>
                <a:gd name="connsiteY42" fmla="*/ 444908 h 700789"/>
                <a:gd name="connsiteX43" fmla="*/ 300427 w 378249"/>
                <a:gd name="connsiteY43" fmla="*/ 443515 h 700789"/>
                <a:gd name="connsiteX44" fmla="*/ 300427 w 378249"/>
                <a:gd name="connsiteY44" fmla="*/ 442222 h 700789"/>
                <a:gd name="connsiteX45" fmla="*/ 301423 w 378249"/>
                <a:gd name="connsiteY45" fmla="*/ 440232 h 700789"/>
                <a:gd name="connsiteX46" fmla="*/ 304512 w 378249"/>
                <a:gd name="connsiteY46" fmla="*/ 435357 h 700789"/>
                <a:gd name="connsiteX47" fmla="*/ 305907 w 378249"/>
                <a:gd name="connsiteY47" fmla="*/ 432074 h 700789"/>
                <a:gd name="connsiteX48" fmla="*/ 305907 w 378249"/>
                <a:gd name="connsiteY48" fmla="*/ 430582 h 700789"/>
                <a:gd name="connsiteX49" fmla="*/ 304712 w 378249"/>
                <a:gd name="connsiteY49" fmla="*/ 429587 h 700789"/>
                <a:gd name="connsiteX50" fmla="*/ 301822 w 378249"/>
                <a:gd name="connsiteY50" fmla="*/ 421827 h 700789"/>
                <a:gd name="connsiteX51" fmla="*/ 299829 w 378249"/>
                <a:gd name="connsiteY51" fmla="*/ 419837 h 700789"/>
                <a:gd name="connsiteX52" fmla="*/ 296142 w 378249"/>
                <a:gd name="connsiteY52" fmla="*/ 417151 h 700789"/>
                <a:gd name="connsiteX53" fmla="*/ 294349 w 378249"/>
                <a:gd name="connsiteY53" fmla="*/ 415161 h 700789"/>
                <a:gd name="connsiteX54" fmla="*/ 290462 w 378249"/>
                <a:gd name="connsiteY54" fmla="*/ 412176 h 700789"/>
                <a:gd name="connsiteX55" fmla="*/ 289665 w 378249"/>
                <a:gd name="connsiteY55" fmla="*/ 410386 h 700789"/>
                <a:gd name="connsiteX56" fmla="*/ 291360 w 378249"/>
                <a:gd name="connsiteY56" fmla="*/ 407501 h 700789"/>
                <a:gd name="connsiteX57" fmla="*/ 289466 w 378249"/>
                <a:gd name="connsiteY57" fmla="*/ 405013 h 700789"/>
                <a:gd name="connsiteX58" fmla="*/ 283886 w 378249"/>
                <a:gd name="connsiteY58" fmla="*/ 399939 h 700789"/>
                <a:gd name="connsiteX59" fmla="*/ 281793 w 378249"/>
                <a:gd name="connsiteY59" fmla="*/ 396855 h 700789"/>
                <a:gd name="connsiteX60" fmla="*/ 281793 w 378249"/>
                <a:gd name="connsiteY60" fmla="*/ 395761 h 700789"/>
                <a:gd name="connsiteX61" fmla="*/ 281793 w 378249"/>
                <a:gd name="connsiteY61" fmla="*/ 394866 h 700789"/>
                <a:gd name="connsiteX62" fmla="*/ 281793 w 378249"/>
                <a:gd name="connsiteY62" fmla="*/ 391980 h 700789"/>
                <a:gd name="connsiteX63" fmla="*/ 281793 w 378249"/>
                <a:gd name="connsiteY63" fmla="*/ 390289 h 700789"/>
                <a:gd name="connsiteX64" fmla="*/ 281196 w 378249"/>
                <a:gd name="connsiteY64" fmla="*/ 389493 h 700789"/>
                <a:gd name="connsiteX65" fmla="*/ 280299 w 378249"/>
                <a:gd name="connsiteY65" fmla="*/ 388996 h 700789"/>
                <a:gd name="connsiteX66" fmla="*/ 279402 w 378249"/>
                <a:gd name="connsiteY66" fmla="*/ 387802 h 700789"/>
                <a:gd name="connsiteX67" fmla="*/ 277609 w 378249"/>
                <a:gd name="connsiteY67" fmla="*/ 384419 h 700789"/>
                <a:gd name="connsiteX68" fmla="*/ 276413 w 378249"/>
                <a:gd name="connsiteY68" fmla="*/ 382828 h 700789"/>
                <a:gd name="connsiteX69" fmla="*/ 275117 w 378249"/>
                <a:gd name="connsiteY69" fmla="*/ 381833 h 700789"/>
                <a:gd name="connsiteX70" fmla="*/ 277908 w 378249"/>
                <a:gd name="connsiteY70" fmla="*/ 380937 h 700789"/>
                <a:gd name="connsiteX71" fmla="*/ 281893 w 378249"/>
                <a:gd name="connsiteY71" fmla="*/ 380937 h 700789"/>
                <a:gd name="connsiteX72" fmla="*/ 285281 w 378249"/>
                <a:gd name="connsiteY72" fmla="*/ 379943 h 700789"/>
                <a:gd name="connsiteX73" fmla="*/ 286377 w 378249"/>
                <a:gd name="connsiteY73" fmla="*/ 375665 h 700789"/>
                <a:gd name="connsiteX74" fmla="*/ 285680 w 378249"/>
                <a:gd name="connsiteY74" fmla="*/ 374172 h 700789"/>
                <a:gd name="connsiteX75" fmla="*/ 280498 w 378249"/>
                <a:gd name="connsiteY75" fmla="*/ 367507 h 700789"/>
                <a:gd name="connsiteX76" fmla="*/ 279402 w 378249"/>
                <a:gd name="connsiteY76" fmla="*/ 366611 h 700789"/>
                <a:gd name="connsiteX77" fmla="*/ 277708 w 378249"/>
                <a:gd name="connsiteY77" fmla="*/ 366611 h 700789"/>
                <a:gd name="connsiteX78" fmla="*/ 278705 w 378249"/>
                <a:gd name="connsiteY78" fmla="*/ 364820 h 700789"/>
                <a:gd name="connsiteX79" fmla="*/ 280498 w 378249"/>
                <a:gd name="connsiteY79" fmla="*/ 363726 h 700789"/>
                <a:gd name="connsiteX80" fmla="*/ 282192 w 378249"/>
                <a:gd name="connsiteY80" fmla="*/ 362930 h 700789"/>
                <a:gd name="connsiteX81" fmla="*/ 281893 w 378249"/>
                <a:gd name="connsiteY81" fmla="*/ 362134 h 700789"/>
                <a:gd name="connsiteX82" fmla="*/ 281893 w 378249"/>
                <a:gd name="connsiteY82" fmla="*/ 360045 h 700789"/>
                <a:gd name="connsiteX83" fmla="*/ 281196 w 378249"/>
                <a:gd name="connsiteY83" fmla="*/ 358752 h 700789"/>
                <a:gd name="connsiteX84" fmla="*/ 280000 w 378249"/>
                <a:gd name="connsiteY84" fmla="*/ 357657 h 700789"/>
                <a:gd name="connsiteX85" fmla="*/ 278605 w 378249"/>
                <a:gd name="connsiteY85" fmla="*/ 356762 h 700789"/>
                <a:gd name="connsiteX86" fmla="*/ 281594 w 378249"/>
                <a:gd name="connsiteY86" fmla="*/ 353280 h 700789"/>
                <a:gd name="connsiteX87" fmla="*/ 280299 w 378249"/>
                <a:gd name="connsiteY87" fmla="*/ 350395 h 700789"/>
                <a:gd name="connsiteX88" fmla="*/ 277509 w 378249"/>
                <a:gd name="connsiteY88" fmla="*/ 348405 h 700789"/>
                <a:gd name="connsiteX89" fmla="*/ 276014 w 378249"/>
                <a:gd name="connsiteY89" fmla="*/ 348405 h 700789"/>
                <a:gd name="connsiteX90" fmla="*/ 275516 w 378249"/>
                <a:gd name="connsiteY90" fmla="*/ 349101 h 700789"/>
                <a:gd name="connsiteX91" fmla="*/ 274221 w 378249"/>
                <a:gd name="connsiteY91" fmla="*/ 349101 h 700789"/>
                <a:gd name="connsiteX92" fmla="*/ 273025 w 378249"/>
                <a:gd name="connsiteY92" fmla="*/ 348007 h 700789"/>
                <a:gd name="connsiteX93" fmla="*/ 272527 w 378249"/>
                <a:gd name="connsiteY93" fmla="*/ 346316 h 700789"/>
                <a:gd name="connsiteX94" fmla="*/ 272527 w 378249"/>
                <a:gd name="connsiteY94" fmla="*/ 339650 h 700789"/>
                <a:gd name="connsiteX95" fmla="*/ 271231 w 378249"/>
                <a:gd name="connsiteY95" fmla="*/ 335671 h 700789"/>
                <a:gd name="connsiteX96" fmla="*/ 267943 w 378249"/>
                <a:gd name="connsiteY96" fmla="*/ 329403 h 700789"/>
                <a:gd name="connsiteX97" fmla="*/ 266448 w 378249"/>
                <a:gd name="connsiteY97" fmla="*/ 322140 h 700789"/>
                <a:gd name="connsiteX98" fmla="*/ 261964 w 378249"/>
                <a:gd name="connsiteY98" fmla="*/ 316669 h 700789"/>
                <a:gd name="connsiteX99" fmla="*/ 260470 w 378249"/>
                <a:gd name="connsiteY99" fmla="*/ 313286 h 700789"/>
                <a:gd name="connsiteX100" fmla="*/ 260470 w 378249"/>
                <a:gd name="connsiteY100" fmla="*/ 312291 h 700789"/>
                <a:gd name="connsiteX101" fmla="*/ 261167 w 378249"/>
                <a:gd name="connsiteY101" fmla="*/ 309207 h 700789"/>
                <a:gd name="connsiteX102" fmla="*/ 261167 w 378249"/>
                <a:gd name="connsiteY102" fmla="*/ 307416 h 700789"/>
                <a:gd name="connsiteX103" fmla="*/ 260470 w 378249"/>
                <a:gd name="connsiteY103" fmla="*/ 305426 h 700789"/>
                <a:gd name="connsiteX104" fmla="*/ 259374 w 378249"/>
                <a:gd name="connsiteY104" fmla="*/ 303636 h 700789"/>
                <a:gd name="connsiteX105" fmla="*/ 257281 w 378249"/>
                <a:gd name="connsiteY105" fmla="*/ 300850 h 700789"/>
                <a:gd name="connsiteX106" fmla="*/ 254790 w 378249"/>
                <a:gd name="connsiteY106" fmla="*/ 298562 h 700789"/>
                <a:gd name="connsiteX107" fmla="*/ 248911 w 378249"/>
                <a:gd name="connsiteY107" fmla="*/ 295179 h 700789"/>
                <a:gd name="connsiteX108" fmla="*/ 246320 w 378249"/>
                <a:gd name="connsiteY108" fmla="*/ 293090 h 700789"/>
                <a:gd name="connsiteX109" fmla="*/ 244925 w 378249"/>
                <a:gd name="connsiteY109" fmla="*/ 291100 h 700789"/>
                <a:gd name="connsiteX110" fmla="*/ 241737 w 378249"/>
                <a:gd name="connsiteY110" fmla="*/ 285131 h 700789"/>
                <a:gd name="connsiteX111" fmla="*/ 240142 w 378249"/>
                <a:gd name="connsiteY111" fmla="*/ 279659 h 700789"/>
                <a:gd name="connsiteX112" fmla="*/ 235459 w 378249"/>
                <a:gd name="connsiteY112" fmla="*/ 275481 h 700789"/>
                <a:gd name="connsiteX113" fmla="*/ 234164 w 378249"/>
                <a:gd name="connsiteY113" fmla="*/ 272596 h 700789"/>
                <a:gd name="connsiteX114" fmla="*/ 234164 w 378249"/>
                <a:gd name="connsiteY114" fmla="*/ 271103 h 700789"/>
                <a:gd name="connsiteX115" fmla="*/ 235160 w 378249"/>
                <a:gd name="connsiteY115" fmla="*/ 269710 h 700789"/>
                <a:gd name="connsiteX116" fmla="*/ 237352 w 378249"/>
                <a:gd name="connsiteY116" fmla="*/ 267721 h 700789"/>
                <a:gd name="connsiteX117" fmla="*/ 235459 w 378249"/>
                <a:gd name="connsiteY117" fmla="*/ 265234 h 700789"/>
                <a:gd name="connsiteX118" fmla="*/ 232370 w 378249"/>
                <a:gd name="connsiteY118" fmla="*/ 262249 h 700789"/>
                <a:gd name="connsiteX119" fmla="*/ 229979 w 378249"/>
                <a:gd name="connsiteY119" fmla="*/ 259364 h 700789"/>
                <a:gd name="connsiteX120" fmla="*/ 229979 w 378249"/>
                <a:gd name="connsiteY120" fmla="*/ 256479 h 700789"/>
                <a:gd name="connsiteX121" fmla="*/ 235559 w 378249"/>
                <a:gd name="connsiteY121" fmla="*/ 255782 h 700789"/>
                <a:gd name="connsiteX122" fmla="*/ 235559 w 378249"/>
                <a:gd name="connsiteY122" fmla="*/ 253693 h 700789"/>
                <a:gd name="connsiteX123" fmla="*/ 235559 w 378249"/>
                <a:gd name="connsiteY123" fmla="*/ 252599 h 700789"/>
                <a:gd name="connsiteX124" fmla="*/ 236057 w 378249"/>
                <a:gd name="connsiteY124" fmla="*/ 251703 h 700789"/>
                <a:gd name="connsiteX125" fmla="*/ 240441 w 378249"/>
                <a:gd name="connsiteY125" fmla="*/ 250111 h 700789"/>
                <a:gd name="connsiteX126" fmla="*/ 241836 w 378249"/>
                <a:gd name="connsiteY126" fmla="*/ 249216 h 700789"/>
                <a:gd name="connsiteX127" fmla="*/ 242833 w 378249"/>
                <a:gd name="connsiteY127" fmla="*/ 247923 h 700789"/>
                <a:gd name="connsiteX128" fmla="*/ 242833 w 378249"/>
                <a:gd name="connsiteY128" fmla="*/ 246231 h 700789"/>
                <a:gd name="connsiteX129" fmla="*/ 241338 w 378249"/>
                <a:gd name="connsiteY129" fmla="*/ 244938 h 700789"/>
                <a:gd name="connsiteX130" fmla="*/ 237352 w 378249"/>
                <a:gd name="connsiteY130" fmla="*/ 243943 h 700789"/>
                <a:gd name="connsiteX131" fmla="*/ 235459 w 378249"/>
                <a:gd name="connsiteY131" fmla="*/ 243247 h 700789"/>
                <a:gd name="connsiteX132" fmla="*/ 233068 w 378249"/>
                <a:gd name="connsiteY132" fmla="*/ 240959 h 700789"/>
                <a:gd name="connsiteX133" fmla="*/ 231473 w 378249"/>
                <a:gd name="connsiteY133" fmla="*/ 237775 h 700789"/>
                <a:gd name="connsiteX134" fmla="*/ 230975 w 378249"/>
                <a:gd name="connsiteY134" fmla="*/ 234094 h 700789"/>
                <a:gd name="connsiteX135" fmla="*/ 231971 w 378249"/>
                <a:gd name="connsiteY135" fmla="*/ 230015 h 700789"/>
                <a:gd name="connsiteX136" fmla="*/ 231174 w 378249"/>
                <a:gd name="connsiteY136" fmla="*/ 230015 h 700789"/>
                <a:gd name="connsiteX137" fmla="*/ 231174 w 378249"/>
                <a:gd name="connsiteY137" fmla="*/ 228125 h 700789"/>
                <a:gd name="connsiteX138" fmla="*/ 228982 w 378249"/>
                <a:gd name="connsiteY138" fmla="*/ 226533 h 700789"/>
                <a:gd name="connsiteX139" fmla="*/ 228384 w 378249"/>
                <a:gd name="connsiteY139" fmla="*/ 224643 h 700789"/>
                <a:gd name="connsiteX140" fmla="*/ 228384 w 378249"/>
                <a:gd name="connsiteY140" fmla="*/ 223150 h 700789"/>
                <a:gd name="connsiteX141" fmla="*/ 230577 w 378249"/>
                <a:gd name="connsiteY141" fmla="*/ 220365 h 700789"/>
                <a:gd name="connsiteX142" fmla="*/ 231473 w 378249"/>
                <a:gd name="connsiteY142" fmla="*/ 219071 h 700789"/>
                <a:gd name="connsiteX143" fmla="*/ 225794 w 378249"/>
                <a:gd name="connsiteY143" fmla="*/ 213997 h 700789"/>
                <a:gd name="connsiteX144" fmla="*/ 220712 w 378249"/>
                <a:gd name="connsiteY144" fmla="*/ 207630 h 700789"/>
                <a:gd name="connsiteX145" fmla="*/ 218918 w 378249"/>
                <a:gd name="connsiteY145" fmla="*/ 206038 h 700789"/>
                <a:gd name="connsiteX146" fmla="*/ 215132 w 378249"/>
                <a:gd name="connsiteY146" fmla="*/ 204248 h 700789"/>
                <a:gd name="connsiteX147" fmla="*/ 214135 w 378249"/>
                <a:gd name="connsiteY147" fmla="*/ 202954 h 700789"/>
                <a:gd name="connsiteX148" fmla="*/ 210847 w 378249"/>
                <a:gd name="connsiteY148" fmla="*/ 198079 h 700789"/>
                <a:gd name="connsiteX149" fmla="*/ 210249 w 378249"/>
                <a:gd name="connsiteY149" fmla="*/ 196886 h 700789"/>
                <a:gd name="connsiteX150" fmla="*/ 210249 w 378249"/>
                <a:gd name="connsiteY150" fmla="*/ 194199 h 700789"/>
                <a:gd name="connsiteX151" fmla="*/ 210249 w 378249"/>
                <a:gd name="connsiteY151" fmla="*/ 192309 h 700789"/>
                <a:gd name="connsiteX152" fmla="*/ 210249 w 378249"/>
                <a:gd name="connsiteY152" fmla="*/ 190419 h 700789"/>
                <a:gd name="connsiteX153" fmla="*/ 210249 w 378249"/>
                <a:gd name="connsiteY153" fmla="*/ 187633 h 700789"/>
                <a:gd name="connsiteX154" fmla="*/ 209053 w 378249"/>
                <a:gd name="connsiteY154" fmla="*/ 185047 h 700789"/>
                <a:gd name="connsiteX155" fmla="*/ 207459 w 378249"/>
                <a:gd name="connsiteY155" fmla="*/ 183057 h 700789"/>
                <a:gd name="connsiteX156" fmla="*/ 204171 w 378249"/>
                <a:gd name="connsiteY156" fmla="*/ 180470 h 700789"/>
                <a:gd name="connsiteX157" fmla="*/ 200285 w 378249"/>
                <a:gd name="connsiteY157" fmla="*/ 178580 h 700789"/>
                <a:gd name="connsiteX158" fmla="*/ 198890 w 378249"/>
                <a:gd name="connsiteY158" fmla="*/ 177088 h 700789"/>
                <a:gd name="connsiteX159" fmla="*/ 198092 w 378249"/>
                <a:gd name="connsiteY159" fmla="*/ 174401 h 700789"/>
                <a:gd name="connsiteX160" fmla="*/ 198092 w 378249"/>
                <a:gd name="connsiteY160" fmla="*/ 171914 h 700789"/>
                <a:gd name="connsiteX161" fmla="*/ 198989 w 378249"/>
                <a:gd name="connsiteY161" fmla="*/ 169825 h 700789"/>
                <a:gd name="connsiteX162" fmla="*/ 198989 w 378249"/>
                <a:gd name="connsiteY162" fmla="*/ 167835 h 700789"/>
                <a:gd name="connsiteX163" fmla="*/ 198192 w 378249"/>
                <a:gd name="connsiteY163" fmla="*/ 166045 h 700789"/>
                <a:gd name="connsiteX164" fmla="*/ 198989 w 378249"/>
                <a:gd name="connsiteY164" fmla="*/ 164851 h 700789"/>
                <a:gd name="connsiteX165" fmla="*/ 196399 w 378249"/>
                <a:gd name="connsiteY165" fmla="*/ 162761 h 700789"/>
                <a:gd name="connsiteX166" fmla="*/ 195103 w 378249"/>
                <a:gd name="connsiteY166" fmla="*/ 160672 h 700789"/>
                <a:gd name="connsiteX167" fmla="*/ 193908 w 378249"/>
                <a:gd name="connsiteY167" fmla="*/ 158086 h 700789"/>
                <a:gd name="connsiteX168" fmla="*/ 192014 w 378249"/>
                <a:gd name="connsiteY168" fmla="*/ 155200 h 700789"/>
                <a:gd name="connsiteX169" fmla="*/ 189324 w 378249"/>
                <a:gd name="connsiteY169" fmla="*/ 152912 h 700789"/>
                <a:gd name="connsiteX170" fmla="*/ 185836 w 378249"/>
                <a:gd name="connsiteY170" fmla="*/ 150823 h 700789"/>
                <a:gd name="connsiteX171" fmla="*/ 182947 w 378249"/>
                <a:gd name="connsiteY171" fmla="*/ 148236 h 700789"/>
                <a:gd name="connsiteX172" fmla="*/ 181651 w 378249"/>
                <a:gd name="connsiteY172" fmla="*/ 144854 h 700789"/>
                <a:gd name="connsiteX173" fmla="*/ 181053 w 378249"/>
                <a:gd name="connsiteY173" fmla="*/ 143958 h 700789"/>
                <a:gd name="connsiteX174" fmla="*/ 177765 w 378249"/>
                <a:gd name="connsiteY174" fmla="*/ 141272 h 700789"/>
                <a:gd name="connsiteX175" fmla="*/ 177267 w 378249"/>
                <a:gd name="connsiteY175" fmla="*/ 139382 h 700789"/>
                <a:gd name="connsiteX176" fmla="*/ 178164 w 378249"/>
                <a:gd name="connsiteY176" fmla="*/ 137890 h 700789"/>
                <a:gd name="connsiteX177" fmla="*/ 179359 w 378249"/>
                <a:gd name="connsiteY177" fmla="*/ 136497 h 700789"/>
                <a:gd name="connsiteX178" fmla="*/ 179957 w 378249"/>
                <a:gd name="connsiteY178" fmla="*/ 135104 h 700789"/>
                <a:gd name="connsiteX179" fmla="*/ 180854 w 378249"/>
                <a:gd name="connsiteY179" fmla="*/ 127841 h 700789"/>
                <a:gd name="connsiteX180" fmla="*/ 180854 w 378249"/>
                <a:gd name="connsiteY180" fmla="*/ 126647 h 700789"/>
                <a:gd name="connsiteX181" fmla="*/ 180057 w 378249"/>
                <a:gd name="connsiteY181" fmla="*/ 125852 h 700789"/>
                <a:gd name="connsiteX182" fmla="*/ 180057 w 378249"/>
                <a:gd name="connsiteY182" fmla="*/ 124658 h 700789"/>
                <a:gd name="connsiteX183" fmla="*/ 180854 w 378249"/>
                <a:gd name="connsiteY183" fmla="*/ 122370 h 700789"/>
                <a:gd name="connsiteX184" fmla="*/ 178562 w 378249"/>
                <a:gd name="connsiteY184" fmla="*/ 118788 h 700789"/>
                <a:gd name="connsiteX185" fmla="*/ 172384 w 378249"/>
                <a:gd name="connsiteY185" fmla="*/ 112222 h 700789"/>
                <a:gd name="connsiteX186" fmla="*/ 170292 w 378249"/>
                <a:gd name="connsiteY186" fmla="*/ 107844 h 700789"/>
                <a:gd name="connsiteX187" fmla="*/ 170292 w 378249"/>
                <a:gd name="connsiteY187" fmla="*/ 106452 h 700789"/>
                <a:gd name="connsiteX188" fmla="*/ 170292 w 378249"/>
                <a:gd name="connsiteY188" fmla="*/ 103666 h 700789"/>
                <a:gd name="connsiteX189" fmla="*/ 169794 w 378249"/>
                <a:gd name="connsiteY189" fmla="*/ 102373 h 700789"/>
                <a:gd name="connsiteX190" fmla="*/ 168698 w 378249"/>
                <a:gd name="connsiteY190" fmla="*/ 101378 h 700789"/>
                <a:gd name="connsiteX191" fmla="*/ 165708 w 378249"/>
                <a:gd name="connsiteY191" fmla="*/ 100781 h 700789"/>
                <a:gd name="connsiteX192" fmla="*/ 164612 w 378249"/>
                <a:gd name="connsiteY192" fmla="*/ 99985 h 700789"/>
                <a:gd name="connsiteX193" fmla="*/ 163117 w 378249"/>
                <a:gd name="connsiteY193" fmla="*/ 97299 h 700789"/>
                <a:gd name="connsiteX194" fmla="*/ 163117 w 378249"/>
                <a:gd name="connsiteY194" fmla="*/ 95309 h 700789"/>
                <a:gd name="connsiteX195" fmla="*/ 164014 w 378249"/>
                <a:gd name="connsiteY195" fmla="*/ 93319 h 700789"/>
                <a:gd name="connsiteX196" fmla="*/ 166306 w 378249"/>
                <a:gd name="connsiteY196" fmla="*/ 90832 h 700789"/>
                <a:gd name="connsiteX197" fmla="*/ 166306 w 378249"/>
                <a:gd name="connsiteY197" fmla="*/ 89937 h 700789"/>
                <a:gd name="connsiteX198" fmla="*/ 166306 w 378249"/>
                <a:gd name="connsiteY198" fmla="*/ 89240 h 700789"/>
                <a:gd name="connsiteX199" fmla="*/ 165808 w 378249"/>
                <a:gd name="connsiteY199" fmla="*/ 89240 h 700789"/>
                <a:gd name="connsiteX200" fmla="*/ 164612 w 378249"/>
                <a:gd name="connsiteY200" fmla="*/ 88345 h 700789"/>
                <a:gd name="connsiteX201" fmla="*/ 163117 w 378249"/>
                <a:gd name="connsiteY201" fmla="*/ 86355 h 700789"/>
                <a:gd name="connsiteX202" fmla="*/ 161623 w 378249"/>
                <a:gd name="connsiteY202" fmla="*/ 83370 h 700789"/>
                <a:gd name="connsiteX203" fmla="*/ 160925 w 378249"/>
                <a:gd name="connsiteY203" fmla="*/ 79689 h 700789"/>
                <a:gd name="connsiteX204" fmla="*/ 162420 w 378249"/>
                <a:gd name="connsiteY204" fmla="*/ 76108 h 700789"/>
                <a:gd name="connsiteX205" fmla="*/ 165808 w 378249"/>
                <a:gd name="connsiteY205" fmla="*/ 75511 h 700789"/>
                <a:gd name="connsiteX206" fmla="*/ 172285 w 378249"/>
                <a:gd name="connsiteY206" fmla="*/ 76605 h 700789"/>
                <a:gd name="connsiteX207" fmla="*/ 173480 w 378249"/>
                <a:gd name="connsiteY207" fmla="*/ 76605 h 700789"/>
                <a:gd name="connsiteX208" fmla="*/ 176270 w 378249"/>
                <a:gd name="connsiteY208" fmla="*/ 75014 h 700789"/>
                <a:gd name="connsiteX209" fmla="*/ 177865 w 378249"/>
                <a:gd name="connsiteY209" fmla="*/ 75014 h 700789"/>
                <a:gd name="connsiteX210" fmla="*/ 184840 w 378249"/>
                <a:gd name="connsiteY210" fmla="*/ 75014 h 700789"/>
                <a:gd name="connsiteX211" fmla="*/ 187132 w 378249"/>
                <a:gd name="connsiteY211" fmla="*/ 73919 h 700789"/>
                <a:gd name="connsiteX212" fmla="*/ 189623 w 378249"/>
                <a:gd name="connsiteY212" fmla="*/ 71432 h 700789"/>
                <a:gd name="connsiteX213" fmla="*/ 191715 w 378249"/>
                <a:gd name="connsiteY213" fmla="*/ 68248 h 700789"/>
                <a:gd name="connsiteX214" fmla="*/ 193210 w 378249"/>
                <a:gd name="connsiteY214" fmla="*/ 65264 h 700789"/>
                <a:gd name="connsiteX215" fmla="*/ 193210 w 378249"/>
                <a:gd name="connsiteY215" fmla="*/ 63672 h 700789"/>
                <a:gd name="connsiteX216" fmla="*/ 192413 w 378249"/>
                <a:gd name="connsiteY216" fmla="*/ 58996 h 700789"/>
                <a:gd name="connsiteX217" fmla="*/ 192413 w 378249"/>
                <a:gd name="connsiteY217" fmla="*/ 58001 h 700789"/>
                <a:gd name="connsiteX218" fmla="*/ 190918 w 378249"/>
                <a:gd name="connsiteY218" fmla="*/ 58001 h 700789"/>
                <a:gd name="connsiteX219" fmla="*/ 189424 w 378249"/>
                <a:gd name="connsiteY219" fmla="*/ 58797 h 700789"/>
                <a:gd name="connsiteX220" fmla="*/ 187929 w 378249"/>
                <a:gd name="connsiteY220" fmla="*/ 59991 h 700789"/>
                <a:gd name="connsiteX221" fmla="*/ 186733 w 378249"/>
                <a:gd name="connsiteY221" fmla="*/ 61185 h 700789"/>
                <a:gd name="connsiteX222" fmla="*/ 182548 w 378249"/>
                <a:gd name="connsiteY222" fmla="*/ 67552 h 700789"/>
                <a:gd name="connsiteX223" fmla="*/ 179858 w 378249"/>
                <a:gd name="connsiteY223" fmla="*/ 69442 h 700789"/>
                <a:gd name="connsiteX224" fmla="*/ 173879 w 378249"/>
                <a:gd name="connsiteY224" fmla="*/ 66259 h 700789"/>
                <a:gd name="connsiteX225" fmla="*/ 170491 w 378249"/>
                <a:gd name="connsiteY225" fmla="*/ 66259 h 700789"/>
                <a:gd name="connsiteX226" fmla="*/ 167103 w 378249"/>
                <a:gd name="connsiteY226" fmla="*/ 67751 h 700789"/>
                <a:gd name="connsiteX227" fmla="*/ 161922 w 378249"/>
                <a:gd name="connsiteY227" fmla="*/ 72526 h 700789"/>
                <a:gd name="connsiteX228" fmla="*/ 158434 w 378249"/>
                <a:gd name="connsiteY228" fmla="*/ 73919 h 700789"/>
                <a:gd name="connsiteX229" fmla="*/ 155046 w 378249"/>
                <a:gd name="connsiteY229" fmla="*/ 75909 h 700789"/>
                <a:gd name="connsiteX230" fmla="*/ 152854 w 378249"/>
                <a:gd name="connsiteY230" fmla="*/ 79490 h 700789"/>
                <a:gd name="connsiteX231" fmla="*/ 154448 w 378249"/>
                <a:gd name="connsiteY231" fmla="*/ 81580 h 700789"/>
                <a:gd name="connsiteX232" fmla="*/ 154448 w 378249"/>
                <a:gd name="connsiteY232" fmla="*/ 83768 h 700789"/>
                <a:gd name="connsiteX233" fmla="*/ 152854 w 378249"/>
                <a:gd name="connsiteY233" fmla="*/ 85659 h 700789"/>
                <a:gd name="connsiteX234" fmla="*/ 150662 w 378249"/>
                <a:gd name="connsiteY234" fmla="*/ 86853 h 700789"/>
                <a:gd name="connsiteX235" fmla="*/ 148171 w 378249"/>
                <a:gd name="connsiteY235" fmla="*/ 86853 h 700789"/>
                <a:gd name="connsiteX236" fmla="*/ 146776 w 378249"/>
                <a:gd name="connsiteY236" fmla="*/ 86256 h 700789"/>
                <a:gd name="connsiteX237" fmla="*/ 144484 w 378249"/>
                <a:gd name="connsiteY237" fmla="*/ 82973 h 700789"/>
                <a:gd name="connsiteX238" fmla="*/ 142690 w 378249"/>
                <a:gd name="connsiteY238" fmla="*/ 80883 h 700789"/>
                <a:gd name="connsiteX239" fmla="*/ 140996 w 378249"/>
                <a:gd name="connsiteY239" fmla="*/ 79391 h 700789"/>
                <a:gd name="connsiteX240" fmla="*/ 132726 w 378249"/>
                <a:gd name="connsiteY240" fmla="*/ 74516 h 700789"/>
                <a:gd name="connsiteX241" fmla="*/ 130932 w 378249"/>
                <a:gd name="connsiteY241" fmla="*/ 72825 h 700789"/>
                <a:gd name="connsiteX242" fmla="*/ 129737 w 378249"/>
                <a:gd name="connsiteY242" fmla="*/ 70736 h 700789"/>
                <a:gd name="connsiteX243" fmla="*/ 135018 w 378249"/>
                <a:gd name="connsiteY243" fmla="*/ 66060 h 700789"/>
                <a:gd name="connsiteX244" fmla="*/ 138605 w 378249"/>
                <a:gd name="connsiteY244" fmla="*/ 63672 h 700789"/>
                <a:gd name="connsiteX245" fmla="*/ 140199 w 378249"/>
                <a:gd name="connsiteY245" fmla="*/ 63672 h 700789"/>
                <a:gd name="connsiteX246" fmla="*/ 139701 w 378249"/>
                <a:gd name="connsiteY246" fmla="*/ 61981 h 700789"/>
                <a:gd name="connsiteX247" fmla="*/ 137210 w 378249"/>
                <a:gd name="connsiteY247" fmla="*/ 59394 h 700789"/>
                <a:gd name="connsiteX248" fmla="*/ 136712 w 378249"/>
                <a:gd name="connsiteY248" fmla="*/ 57504 h 700789"/>
                <a:gd name="connsiteX249" fmla="*/ 136712 w 378249"/>
                <a:gd name="connsiteY249" fmla="*/ 55713 h 700789"/>
                <a:gd name="connsiteX250" fmla="*/ 138306 w 378249"/>
                <a:gd name="connsiteY250" fmla="*/ 52828 h 700789"/>
                <a:gd name="connsiteX251" fmla="*/ 138904 w 378249"/>
                <a:gd name="connsiteY251" fmla="*/ 50938 h 700789"/>
                <a:gd name="connsiteX252" fmla="*/ 138904 w 378249"/>
                <a:gd name="connsiteY252" fmla="*/ 43178 h 700789"/>
                <a:gd name="connsiteX253" fmla="*/ 139801 w 378249"/>
                <a:gd name="connsiteY253" fmla="*/ 39994 h 700789"/>
                <a:gd name="connsiteX254" fmla="*/ 142591 w 378249"/>
                <a:gd name="connsiteY254" fmla="*/ 38701 h 700789"/>
                <a:gd name="connsiteX255" fmla="*/ 144185 w 378249"/>
                <a:gd name="connsiteY255" fmla="*/ 38203 h 700789"/>
                <a:gd name="connsiteX256" fmla="*/ 147175 w 378249"/>
                <a:gd name="connsiteY256" fmla="*/ 36611 h 700789"/>
                <a:gd name="connsiteX257" fmla="*/ 148669 w 378249"/>
                <a:gd name="connsiteY257" fmla="*/ 36611 h 700789"/>
                <a:gd name="connsiteX258" fmla="*/ 155246 w 378249"/>
                <a:gd name="connsiteY258" fmla="*/ 36611 h 700789"/>
                <a:gd name="connsiteX259" fmla="*/ 158733 w 378249"/>
                <a:gd name="connsiteY259" fmla="*/ 35517 h 700789"/>
                <a:gd name="connsiteX260" fmla="*/ 164114 w 378249"/>
                <a:gd name="connsiteY260" fmla="*/ 31339 h 700789"/>
                <a:gd name="connsiteX261" fmla="*/ 166904 w 378249"/>
                <a:gd name="connsiteY261" fmla="*/ 30443 h 700789"/>
                <a:gd name="connsiteX262" fmla="*/ 170192 w 378249"/>
                <a:gd name="connsiteY262" fmla="*/ 30443 h 700789"/>
                <a:gd name="connsiteX263" fmla="*/ 173181 w 378249"/>
                <a:gd name="connsiteY263" fmla="*/ 29747 h 700789"/>
                <a:gd name="connsiteX264" fmla="*/ 175872 w 378249"/>
                <a:gd name="connsiteY264" fmla="*/ 28254 h 700789"/>
                <a:gd name="connsiteX265" fmla="*/ 181253 w 378249"/>
                <a:gd name="connsiteY265" fmla="*/ 23181 h 700789"/>
                <a:gd name="connsiteX266" fmla="*/ 183744 w 378249"/>
                <a:gd name="connsiteY266" fmla="*/ 19997 h 700789"/>
                <a:gd name="connsiteX267" fmla="*/ 184342 w 378249"/>
                <a:gd name="connsiteY267" fmla="*/ 17211 h 700789"/>
                <a:gd name="connsiteX268" fmla="*/ 180854 w 378249"/>
                <a:gd name="connsiteY268" fmla="*/ 16117 h 700789"/>
                <a:gd name="connsiteX269" fmla="*/ 166306 w 378249"/>
                <a:gd name="connsiteY269" fmla="*/ 18803 h 700789"/>
                <a:gd name="connsiteX270" fmla="*/ 163815 w 378249"/>
                <a:gd name="connsiteY270" fmla="*/ 18803 h 700789"/>
                <a:gd name="connsiteX271" fmla="*/ 161324 w 378249"/>
                <a:gd name="connsiteY271" fmla="*/ 18007 h 700789"/>
                <a:gd name="connsiteX272" fmla="*/ 159630 w 378249"/>
                <a:gd name="connsiteY272" fmla="*/ 16017 h 700789"/>
                <a:gd name="connsiteX273" fmla="*/ 165708 w 378249"/>
                <a:gd name="connsiteY273" fmla="*/ 14028 h 700789"/>
                <a:gd name="connsiteX274" fmla="*/ 168698 w 378249"/>
                <a:gd name="connsiteY274" fmla="*/ 12436 h 700789"/>
                <a:gd name="connsiteX275" fmla="*/ 169993 w 378249"/>
                <a:gd name="connsiteY275" fmla="*/ 9252 h 700789"/>
                <a:gd name="connsiteX276" fmla="*/ 168498 w 378249"/>
                <a:gd name="connsiteY276" fmla="*/ 7263 h 700789"/>
                <a:gd name="connsiteX277" fmla="*/ 161722 w 378249"/>
                <a:gd name="connsiteY277" fmla="*/ 1492 h 700789"/>
                <a:gd name="connsiteX278" fmla="*/ 159630 w 378249"/>
                <a:gd name="connsiteY278" fmla="*/ 0 h 700789"/>
                <a:gd name="connsiteX279" fmla="*/ 156441 w 378249"/>
                <a:gd name="connsiteY279" fmla="*/ 0 h 700789"/>
                <a:gd name="connsiteX280" fmla="*/ 154947 w 378249"/>
                <a:gd name="connsiteY280" fmla="*/ 1094 h 700789"/>
                <a:gd name="connsiteX281" fmla="*/ 154349 w 378249"/>
                <a:gd name="connsiteY281" fmla="*/ 3582 h 700789"/>
                <a:gd name="connsiteX282" fmla="*/ 154349 w 378249"/>
                <a:gd name="connsiteY282" fmla="*/ 7064 h 700789"/>
                <a:gd name="connsiteX283" fmla="*/ 154349 w 378249"/>
                <a:gd name="connsiteY283" fmla="*/ 10546 h 700789"/>
                <a:gd name="connsiteX284" fmla="*/ 152854 w 378249"/>
                <a:gd name="connsiteY284" fmla="*/ 12535 h 700789"/>
                <a:gd name="connsiteX285" fmla="*/ 147872 w 378249"/>
                <a:gd name="connsiteY285" fmla="*/ 16216 h 700789"/>
                <a:gd name="connsiteX286" fmla="*/ 145680 w 378249"/>
                <a:gd name="connsiteY286" fmla="*/ 18405 h 700789"/>
                <a:gd name="connsiteX287" fmla="*/ 139601 w 378249"/>
                <a:gd name="connsiteY287" fmla="*/ 28354 h 700789"/>
                <a:gd name="connsiteX288" fmla="*/ 139601 w 378249"/>
                <a:gd name="connsiteY288" fmla="*/ 29647 h 700789"/>
                <a:gd name="connsiteX289" fmla="*/ 140100 w 378249"/>
                <a:gd name="connsiteY289" fmla="*/ 31040 h 700789"/>
                <a:gd name="connsiteX290" fmla="*/ 140100 w 378249"/>
                <a:gd name="connsiteY290" fmla="*/ 32632 h 700789"/>
                <a:gd name="connsiteX291" fmla="*/ 139402 w 378249"/>
                <a:gd name="connsiteY291" fmla="*/ 34423 h 700789"/>
                <a:gd name="connsiteX292" fmla="*/ 134619 w 378249"/>
                <a:gd name="connsiteY292" fmla="*/ 39994 h 700789"/>
                <a:gd name="connsiteX293" fmla="*/ 132925 w 378249"/>
                <a:gd name="connsiteY293" fmla="*/ 42780 h 700789"/>
                <a:gd name="connsiteX294" fmla="*/ 131530 w 378249"/>
                <a:gd name="connsiteY294" fmla="*/ 46162 h 700789"/>
                <a:gd name="connsiteX295" fmla="*/ 130634 w 378249"/>
                <a:gd name="connsiteY295" fmla="*/ 49943 h 700789"/>
                <a:gd name="connsiteX296" fmla="*/ 130135 w 378249"/>
                <a:gd name="connsiteY296" fmla="*/ 56011 h 700789"/>
                <a:gd name="connsiteX297" fmla="*/ 129537 w 378249"/>
                <a:gd name="connsiteY297" fmla="*/ 57603 h 700789"/>
                <a:gd name="connsiteX298" fmla="*/ 127445 w 378249"/>
                <a:gd name="connsiteY298" fmla="*/ 61085 h 700789"/>
                <a:gd name="connsiteX299" fmla="*/ 126548 w 378249"/>
                <a:gd name="connsiteY299" fmla="*/ 62080 h 700789"/>
                <a:gd name="connsiteX300" fmla="*/ 125651 w 378249"/>
                <a:gd name="connsiteY300" fmla="*/ 62876 h 700789"/>
                <a:gd name="connsiteX301" fmla="*/ 123658 w 378249"/>
                <a:gd name="connsiteY301" fmla="*/ 62876 h 700789"/>
                <a:gd name="connsiteX302" fmla="*/ 123658 w 378249"/>
                <a:gd name="connsiteY302" fmla="*/ 63473 h 700789"/>
                <a:gd name="connsiteX303" fmla="*/ 123658 w 378249"/>
                <a:gd name="connsiteY303" fmla="*/ 64169 h 700789"/>
                <a:gd name="connsiteX304" fmla="*/ 123658 w 378249"/>
                <a:gd name="connsiteY304" fmla="*/ 65164 h 700789"/>
                <a:gd name="connsiteX305" fmla="*/ 120370 w 378249"/>
                <a:gd name="connsiteY305" fmla="*/ 71531 h 700789"/>
                <a:gd name="connsiteX306" fmla="*/ 119075 w 378249"/>
                <a:gd name="connsiteY306" fmla="*/ 75511 h 700789"/>
                <a:gd name="connsiteX307" fmla="*/ 119872 w 378249"/>
                <a:gd name="connsiteY307" fmla="*/ 77302 h 700789"/>
                <a:gd name="connsiteX308" fmla="*/ 122961 w 378249"/>
                <a:gd name="connsiteY308" fmla="*/ 78297 h 700789"/>
                <a:gd name="connsiteX309" fmla="*/ 124057 w 378249"/>
                <a:gd name="connsiteY309" fmla="*/ 80883 h 700789"/>
                <a:gd name="connsiteX310" fmla="*/ 124655 w 378249"/>
                <a:gd name="connsiteY310" fmla="*/ 88245 h 700789"/>
                <a:gd name="connsiteX311" fmla="*/ 128840 w 378249"/>
                <a:gd name="connsiteY311" fmla="*/ 94314 h 700789"/>
                <a:gd name="connsiteX312" fmla="*/ 142690 w 378249"/>
                <a:gd name="connsiteY312" fmla="*/ 99388 h 700789"/>
                <a:gd name="connsiteX313" fmla="*/ 148071 w 378249"/>
                <a:gd name="connsiteY313" fmla="*/ 102870 h 700789"/>
                <a:gd name="connsiteX314" fmla="*/ 155445 w 378249"/>
                <a:gd name="connsiteY314" fmla="*/ 113615 h 700789"/>
                <a:gd name="connsiteX315" fmla="*/ 158833 w 378249"/>
                <a:gd name="connsiteY315" fmla="*/ 115107 h 700789"/>
                <a:gd name="connsiteX316" fmla="*/ 171587 w 378249"/>
                <a:gd name="connsiteY316" fmla="*/ 118589 h 700789"/>
                <a:gd name="connsiteX317" fmla="*/ 173779 w 378249"/>
                <a:gd name="connsiteY317" fmla="*/ 120877 h 700789"/>
                <a:gd name="connsiteX318" fmla="*/ 174876 w 378249"/>
                <a:gd name="connsiteY318" fmla="*/ 123762 h 700789"/>
                <a:gd name="connsiteX319" fmla="*/ 173979 w 378249"/>
                <a:gd name="connsiteY319" fmla="*/ 126150 h 700789"/>
                <a:gd name="connsiteX320" fmla="*/ 164014 w 378249"/>
                <a:gd name="connsiteY320" fmla="*/ 128637 h 700789"/>
                <a:gd name="connsiteX321" fmla="*/ 160826 w 378249"/>
                <a:gd name="connsiteY321" fmla="*/ 128637 h 700789"/>
                <a:gd name="connsiteX322" fmla="*/ 157737 w 378249"/>
                <a:gd name="connsiteY322" fmla="*/ 127045 h 700789"/>
                <a:gd name="connsiteX323" fmla="*/ 156342 w 378249"/>
                <a:gd name="connsiteY323" fmla="*/ 124956 h 700789"/>
                <a:gd name="connsiteX324" fmla="*/ 154947 w 378249"/>
                <a:gd name="connsiteY324" fmla="*/ 120081 h 700789"/>
                <a:gd name="connsiteX325" fmla="*/ 153850 w 378249"/>
                <a:gd name="connsiteY325" fmla="*/ 117992 h 700789"/>
                <a:gd name="connsiteX326" fmla="*/ 151060 w 378249"/>
                <a:gd name="connsiteY326" fmla="*/ 115505 h 700789"/>
                <a:gd name="connsiteX327" fmla="*/ 145082 w 378249"/>
                <a:gd name="connsiteY327" fmla="*/ 113316 h 700789"/>
                <a:gd name="connsiteX328" fmla="*/ 124456 w 378249"/>
                <a:gd name="connsiteY328" fmla="*/ 102373 h 700789"/>
                <a:gd name="connsiteX329" fmla="*/ 111801 w 378249"/>
                <a:gd name="connsiteY329" fmla="*/ 99288 h 700789"/>
                <a:gd name="connsiteX330" fmla="*/ 76626 w 378249"/>
                <a:gd name="connsiteY330" fmla="*/ 100482 h 700789"/>
                <a:gd name="connsiteX331" fmla="*/ 71744 w 378249"/>
                <a:gd name="connsiteY331" fmla="*/ 102771 h 700789"/>
                <a:gd name="connsiteX332" fmla="*/ 70150 w 378249"/>
                <a:gd name="connsiteY332" fmla="*/ 96801 h 700789"/>
                <a:gd name="connsiteX333" fmla="*/ 65267 w 378249"/>
                <a:gd name="connsiteY333" fmla="*/ 93518 h 700789"/>
                <a:gd name="connsiteX334" fmla="*/ 59189 w 378249"/>
                <a:gd name="connsiteY334" fmla="*/ 92125 h 700789"/>
                <a:gd name="connsiteX335" fmla="*/ 53907 w 378249"/>
                <a:gd name="connsiteY335" fmla="*/ 92125 h 700789"/>
                <a:gd name="connsiteX336" fmla="*/ 49025 w 378249"/>
                <a:gd name="connsiteY336" fmla="*/ 93021 h 700789"/>
                <a:gd name="connsiteX337" fmla="*/ 42448 w 378249"/>
                <a:gd name="connsiteY337" fmla="*/ 95607 h 700789"/>
                <a:gd name="connsiteX338" fmla="*/ 37665 w 378249"/>
                <a:gd name="connsiteY338" fmla="*/ 99686 h 700789"/>
                <a:gd name="connsiteX339" fmla="*/ 38562 w 378249"/>
                <a:gd name="connsiteY339" fmla="*/ 107247 h 700789"/>
                <a:gd name="connsiteX340" fmla="*/ 36470 w 378249"/>
                <a:gd name="connsiteY340" fmla="*/ 109337 h 700789"/>
                <a:gd name="connsiteX341" fmla="*/ 32185 w 378249"/>
                <a:gd name="connsiteY341" fmla="*/ 112122 h 700789"/>
                <a:gd name="connsiteX342" fmla="*/ 31488 w 378249"/>
                <a:gd name="connsiteY342" fmla="*/ 114808 h 700789"/>
                <a:gd name="connsiteX343" fmla="*/ 31488 w 378249"/>
                <a:gd name="connsiteY343" fmla="*/ 117992 h 700789"/>
                <a:gd name="connsiteX344" fmla="*/ 32384 w 378249"/>
                <a:gd name="connsiteY344" fmla="*/ 120778 h 700789"/>
                <a:gd name="connsiteX345" fmla="*/ 33182 w 378249"/>
                <a:gd name="connsiteY345" fmla="*/ 122469 h 700789"/>
                <a:gd name="connsiteX346" fmla="*/ 34078 w 378249"/>
                <a:gd name="connsiteY346" fmla="*/ 124061 h 700789"/>
                <a:gd name="connsiteX347" fmla="*/ 34875 w 378249"/>
                <a:gd name="connsiteY347" fmla="*/ 124757 h 700789"/>
                <a:gd name="connsiteX348" fmla="*/ 35473 w 378249"/>
                <a:gd name="connsiteY348" fmla="*/ 125553 h 700789"/>
                <a:gd name="connsiteX349" fmla="*/ 35473 w 378249"/>
                <a:gd name="connsiteY349" fmla="*/ 127344 h 700789"/>
                <a:gd name="connsiteX350" fmla="*/ 35473 w 378249"/>
                <a:gd name="connsiteY350" fmla="*/ 128836 h 700789"/>
                <a:gd name="connsiteX351" fmla="*/ 34676 w 378249"/>
                <a:gd name="connsiteY351" fmla="*/ 130826 h 700789"/>
                <a:gd name="connsiteX352" fmla="*/ 33580 w 378249"/>
                <a:gd name="connsiteY352" fmla="*/ 132716 h 700789"/>
                <a:gd name="connsiteX353" fmla="*/ 31089 w 378249"/>
                <a:gd name="connsiteY353" fmla="*/ 134805 h 700789"/>
                <a:gd name="connsiteX354" fmla="*/ 26705 w 378249"/>
                <a:gd name="connsiteY354" fmla="*/ 141670 h 700789"/>
                <a:gd name="connsiteX355" fmla="*/ 25409 w 378249"/>
                <a:gd name="connsiteY355" fmla="*/ 144356 h 700789"/>
                <a:gd name="connsiteX356" fmla="*/ 27502 w 378249"/>
                <a:gd name="connsiteY356" fmla="*/ 146445 h 700789"/>
                <a:gd name="connsiteX357" fmla="*/ 28897 w 378249"/>
                <a:gd name="connsiteY357" fmla="*/ 147540 h 700789"/>
                <a:gd name="connsiteX358" fmla="*/ 28897 w 378249"/>
                <a:gd name="connsiteY358" fmla="*/ 148734 h 700789"/>
                <a:gd name="connsiteX359" fmla="*/ 25111 w 378249"/>
                <a:gd name="connsiteY359" fmla="*/ 154405 h 700789"/>
                <a:gd name="connsiteX360" fmla="*/ 24612 w 378249"/>
                <a:gd name="connsiteY360" fmla="*/ 156394 h 700789"/>
                <a:gd name="connsiteX361" fmla="*/ 24612 w 378249"/>
                <a:gd name="connsiteY361" fmla="*/ 159379 h 700789"/>
                <a:gd name="connsiteX362" fmla="*/ 22320 w 378249"/>
                <a:gd name="connsiteY362" fmla="*/ 162761 h 700789"/>
                <a:gd name="connsiteX363" fmla="*/ 21423 w 378249"/>
                <a:gd name="connsiteY363" fmla="*/ 165050 h 700789"/>
                <a:gd name="connsiteX364" fmla="*/ 22420 w 378249"/>
                <a:gd name="connsiteY364" fmla="*/ 166144 h 700789"/>
                <a:gd name="connsiteX365" fmla="*/ 23416 w 378249"/>
                <a:gd name="connsiteY365" fmla="*/ 167338 h 700789"/>
                <a:gd name="connsiteX366" fmla="*/ 22918 w 378249"/>
                <a:gd name="connsiteY366" fmla="*/ 170223 h 700789"/>
                <a:gd name="connsiteX367" fmla="*/ 21723 w 378249"/>
                <a:gd name="connsiteY367" fmla="*/ 173208 h 700789"/>
                <a:gd name="connsiteX368" fmla="*/ 20726 w 378249"/>
                <a:gd name="connsiteY368" fmla="*/ 175098 h 700789"/>
                <a:gd name="connsiteX369" fmla="*/ 19331 w 378249"/>
                <a:gd name="connsiteY369" fmla="*/ 176391 h 700789"/>
                <a:gd name="connsiteX370" fmla="*/ 14249 w 378249"/>
                <a:gd name="connsiteY370" fmla="*/ 178182 h 700789"/>
                <a:gd name="connsiteX371" fmla="*/ 10961 w 378249"/>
                <a:gd name="connsiteY371" fmla="*/ 180868 h 700789"/>
                <a:gd name="connsiteX372" fmla="*/ 9367 w 378249"/>
                <a:gd name="connsiteY372" fmla="*/ 182559 h 700789"/>
                <a:gd name="connsiteX373" fmla="*/ 8071 w 378249"/>
                <a:gd name="connsiteY373" fmla="*/ 184251 h 700789"/>
                <a:gd name="connsiteX374" fmla="*/ 7374 w 378249"/>
                <a:gd name="connsiteY374" fmla="*/ 186340 h 700789"/>
                <a:gd name="connsiteX375" fmla="*/ 5481 w 378249"/>
                <a:gd name="connsiteY375" fmla="*/ 193901 h 700789"/>
                <a:gd name="connsiteX376" fmla="*/ 5481 w 378249"/>
                <a:gd name="connsiteY376" fmla="*/ 194796 h 700789"/>
                <a:gd name="connsiteX377" fmla="*/ 5481 w 378249"/>
                <a:gd name="connsiteY377" fmla="*/ 195393 h 700789"/>
                <a:gd name="connsiteX378" fmla="*/ 5481 w 378249"/>
                <a:gd name="connsiteY378" fmla="*/ 196189 h 700789"/>
                <a:gd name="connsiteX379" fmla="*/ 5481 w 378249"/>
                <a:gd name="connsiteY379" fmla="*/ 197582 h 700789"/>
                <a:gd name="connsiteX380" fmla="*/ 5481 w 378249"/>
                <a:gd name="connsiteY380" fmla="*/ 198577 h 700789"/>
                <a:gd name="connsiteX381" fmla="*/ 3787 w 378249"/>
                <a:gd name="connsiteY381" fmla="*/ 201263 h 700789"/>
                <a:gd name="connsiteX382" fmla="*/ 3288 w 378249"/>
                <a:gd name="connsiteY382" fmla="*/ 202457 h 700789"/>
                <a:gd name="connsiteX383" fmla="*/ 3986 w 378249"/>
                <a:gd name="connsiteY383" fmla="*/ 202457 h 700789"/>
                <a:gd name="connsiteX384" fmla="*/ 5182 w 378249"/>
                <a:gd name="connsiteY384" fmla="*/ 203153 h 700789"/>
                <a:gd name="connsiteX385" fmla="*/ 5879 w 378249"/>
                <a:gd name="connsiteY385" fmla="*/ 203153 h 700789"/>
                <a:gd name="connsiteX386" fmla="*/ 1694 w 378249"/>
                <a:gd name="connsiteY386" fmla="*/ 209521 h 700789"/>
                <a:gd name="connsiteX387" fmla="*/ 0 w 378249"/>
                <a:gd name="connsiteY387" fmla="*/ 213699 h 700789"/>
                <a:gd name="connsiteX388" fmla="*/ 0 w 378249"/>
                <a:gd name="connsiteY388" fmla="*/ 216883 h 700789"/>
                <a:gd name="connsiteX389" fmla="*/ 1594 w 378249"/>
                <a:gd name="connsiteY389" fmla="*/ 216883 h 700789"/>
                <a:gd name="connsiteX390" fmla="*/ 3787 w 378249"/>
                <a:gd name="connsiteY390" fmla="*/ 216385 h 700789"/>
                <a:gd name="connsiteX391" fmla="*/ 5780 w 378249"/>
                <a:gd name="connsiteY391" fmla="*/ 216385 h 700789"/>
                <a:gd name="connsiteX392" fmla="*/ 7473 w 378249"/>
                <a:gd name="connsiteY392" fmla="*/ 219370 h 700789"/>
                <a:gd name="connsiteX393" fmla="*/ 10961 w 378249"/>
                <a:gd name="connsiteY393" fmla="*/ 220166 h 700789"/>
                <a:gd name="connsiteX394" fmla="*/ 11858 w 378249"/>
                <a:gd name="connsiteY394" fmla="*/ 221459 h 700789"/>
                <a:gd name="connsiteX395" fmla="*/ 11858 w 378249"/>
                <a:gd name="connsiteY395" fmla="*/ 221459 h 700789"/>
                <a:gd name="connsiteX396" fmla="*/ 13651 w 378249"/>
                <a:gd name="connsiteY396" fmla="*/ 224842 h 700789"/>
                <a:gd name="connsiteX397" fmla="*/ 13651 w 378249"/>
                <a:gd name="connsiteY397" fmla="*/ 225538 h 700789"/>
                <a:gd name="connsiteX398" fmla="*/ 15445 w 378249"/>
                <a:gd name="connsiteY398" fmla="*/ 226533 h 700789"/>
                <a:gd name="connsiteX399" fmla="*/ 18932 w 378249"/>
                <a:gd name="connsiteY399" fmla="*/ 227926 h 700789"/>
                <a:gd name="connsiteX400" fmla="*/ 20626 w 378249"/>
                <a:gd name="connsiteY400" fmla="*/ 229020 h 700789"/>
                <a:gd name="connsiteX401" fmla="*/ 22320 w 378249"/>
                <a:gd name="connsiteY401" fmla="*/ 231706 h 700789"/>
                <a:gd name="connsiteX402" fmla="*/ 24114 w 378249"/>
                <a:gd name="connsiteY402" fmla="*/ 238272 h 700789"/>
                <a:gd name="connsiteX403" fmla="*/ 25808 w 378249"/>
                <a:gd name="connsiteY403" fmla="*/ 241058 h 700789"/>
                <a:gd name="connsiteX404" fmla="*/ 29694 w 378249"/>
                <a:gd name="connsiteY404" fmla="*/ 242749 h 700789"/>
                <a:gd name="connsiteX405" fmla="*/ 40655 w 378249"/>
                <a:gd name="connsiteY405" fmla="*/ 237576 h 700789"/>
                <a:gd name="connsiteX406" fmla="*/ 45438 w 378249"/>
                <a:gd name="connsiteY406" fmla="*/ 239267 h 700789"/>
                <a:gd name="connsiteX407" fmla="*/ 47032 w 378249"/>
                <a:gd name="connsiteY407" fmla="*/ 241158 h 700789"/>
                <a:gd name="connsiteX408" fmla="*/ 49324 w 378249"/>
                <a:gd name="connsiteY408" fmla="*/ 243147 h 700789"/>
                <a:gd name="connsiteX409" fmla="*/ 51915 w 378249"/>
                <a:gd name="connsiteY409" fmla="*/ 244142 h 700789"/>
                <a:gd name="connsiteX410" fmla="*/ 54107 w 378249"/>
                <a:gd name="connsiteY410" fmla="*/ 242948 h 700789"/>
                <a:gd name="connsiteX411" fmla="*/ 55203 w 378249"/>
                <a:gd name="connsiteY411" fmla="*/ 240760 h 700789"/>
                <a:gd name="connsiteX412" fmla="*/ 56000 w 378249"/>
                <a:gd name="connsiteY412" fmla="*/ 238073 h 700789"/>
                <a:gd name="connsiteX413" fmla="*/ 57096 w 378249"/>
                <a:gd name="connsiteY413" fmla="*/ 235586 h 700789"/>
                <a:gd name="connsiteX414" fmla="*/ 58890 w 378249"/>
                <a:gd name="connsiteY414" fmla="*/ 233895 h 700789"/>
                <a:gd name="connsiteX415" fmla="*/ 64370 w 378249"/>
                <a:gd name="connsiteY415" fmla="*/ 236283 h 700789"/>
                <a:gd name="connsiteX416" fmla="*/ 69651 w 378249"/>
                <a:gd name="connsiteY416" fmla="*/ 237278 h 700789"/>
                <a:gd name="connsiteX417" fmla="*/ 81011 w 378249"/>
                <a:gd name="connsiteY417" fmla="*/ 237278 h 700789"/>
                <a:gd name="connsiteX418" fmla="*/ 83701 w 378249"/>
                <a:gd name="connsiteY418" fmla="*/ 237278 h 700789"/>
                <a:gd name="connsiteX419" fmla="*/ 88883 w 378249"/>
                <a:gd name="connsiteY419" fmla="*/ 239068 h 700789"/>
                <a:gd name="connsiteX420" fmla="*/ 102335 w 378249"/>
                <a:gd name="connsiteY420" fmla="*/ 239068 h 700789"/>
                <a:gd name="connsiteX421" fmla="*/ 102335 w 378249"/>
                <a:gd name="connsiteY421" fmla="*/ 239964 h 700789"/>
                <a:gd name="connsiteX422" fmla="*/ 102335 w 378249"/>
                <a:gd name="connsiteY422" fmla="*/ 240660 h 700789"/>
                <a:gd name="connsiteX423" fmla="*/ 102335 w 378249"/>
                <a:gd name="connsiteY423" fmla="*/ 241257 h 700789"/>
                <a:gd name="connsiteX424" fmla="*/ 102335 w 378249"/>
                <a:gd name="connsiteY424" fmla="*/ 241754 h 700789"/>
                <a:gd name="connsiteX425" fmla="*/ 97651 w 378249"/>
                <a:gd name="connsiteY425" fmla="*/ 245535 h 700789"/>
                <a:gd name="connsiteX426" fmla="*/ 92669 w 378249"/>
                <a:gd name="connsiteY426" fmla="*/ 248022 h 700789"/>
                <a:gd name="connsiteX427" fmla="*/ 75331 w 378249"/>
                <a:gd name="connsiteY427" fmla="*/ 252002 h 700789"/>
                <a:gd name="connsiteX428" fmla="*/ 68854 w 378249"/>
                <a:gd name="connsiteY428" fmla="*/ 252002 h 700789"/>
                <a:gd name="connsiteX429" fmla="*/ 65964 w 378249"/>
                <a:gd name="connsiteY429" fmla="*/ 252599 h 700789"/>
                <a:gd name="connsiteX430" fmla="*/ 51018 w 378249"/>
                <a:gd name="connsiteY430" fmla="*/ 259065 h 700789"/>
                <a:gd name="connsiteX431" fmla="*/ 45936 w 378249"/>
                <a:gd name="connsiteY431" fmla="*/ 262249 h 700789"/>
                <a:gd name="connsiteX432" fmla="*/ 43744 w 378249"/>
                <a:gd name="connsiteY432" fmla="*/ 267621 h 700789"/>
                <a:gd name="connsiteX433" fmla="*/ 45836 w 378249"/>
                <a:gd name="connsiteY433" fmla="*/ 276177 h 700789"/>
                <a:gd name="connsiteX434" fmla="*/ 47232 w 378249"/>
                <a:gd name="connsiteY434" fmla="*/ 278266 h 700789"/>
                <a:gd name="connsiteX435" fmla="*/ 52214 w 378249"/>
                <a:gd name="connsiteY435" fmla="*/ 283539 h 700789"/>
                <a:gd name="connsiteX436" fmla="*/ 55303 w 378249"/>
                <a:gd name="connsiteY436" fmla="*/ 285429 h 700789"/>
                <a:gd name="connsiteX437" fmla="*/ 55303 w 378249"/>
                <a:gd name="connsiteY437" fmla="*/ 287320 h 700789"/>
                <a:gd name="connsiteX438" fmla="*/ 54505 w 378249"/>
                <a:gd name="connsiteY438" fmla="*/ 289409 h 700789"/>
                <a:gd name="connsiteX439" fmla="*/ 54505 w 378249"/>
                <a:gd name="connsiteY439" fmla="*/ 291100 h 700789"/>
                <a:gd name="connsiteX440" fmla="*/ 54505 w 378249"/>
                <a:gd name="connsiteY440" fmla="*/ 293090 h 700789"/>
                <a:gd name="connsiteX441" fmla="*/ 55502 w 378249"/>
                <a:gd name="connsiteY441" fmla="*/ 295378 h 700789"/>
                <a:gd name="connsiteX442" fmla="*/ 57594 w 378249"/>
                <a:gd name="connsiteY442" fmla="*/ 298960 h 700789"/>
                <a:gd name="connsiteX443" fmla="*/ 59288 w 378249"/>
                <a:gd name="connsiteY443" fmla="*/ 301049 h 700789"/>
                <a:gd name="connsiteX444" fmla="*/ 64470 w 378249"/>
                <a:gd name="connsiteY444" fmla="*/ 304233 h 700789"/>
                <a:gd name="connsiteX445" fmla="*/ 65765 w 378249"/>
                <a:gd name="connsiteY445" fmla="*/ 305426 h 700789"/>
                <a:gd name="connsiteX446" fmla="*/ 67061 w 378249"/>
                <a:gd name="connsiteY446" fmla="*/ 308312 h 700789"/>
                <a:gd name="connsiteX447" fmla="*/ 67957 w 378249"/>
                <a:gd name="connsiteY447" fmla="*/ 309704 h 700789"/>
                <a:gd name="connsiteX448" fmla="*/ 69651 w 378249"/>
                <a:gd name="connsiteY448" fmla="*/ 310699 h 700789"/>
                <a:gd name="connsiteX449" fmla="*/ 72641 w 378249"/>
                <a:gd name="connsiteY449" fmla="*/ 312391 h 700789"/>
                <a:gd name="connsiteX450" fmla="*/ 74135 w 378249"/>
                <a:gd name="connsiteY450" fmla="*/ 313485 h 700789"/>
                <a:gd name="connsiteX451" fmla="*/ 78121 w 378249"/>
                <a:gd name="connsiteY451" fmla="*/ 320151 h 700789"/>
                <a:gd name="connsiteX452" fmla="*/ 80812 w 378249"/>
                <a:gd name="connsiteY452" fmla="*/ 323533 h 700789"/>
                <a:gd name="connsiteX453" fmla="*/ 90776 w 378249"/>
                <a:gd name="connsiteY453" fmla="*/ 330895 h 700789"/>
                <a:gd name="connsiteX454" fmla="*/ 93366 w 378249"/>
                <a:gd name="connsiteY454" fmla="*/ 334079 h 700789"/>
                <a:gd name="connsiteX455" fmla="*/ 94662 w 378249"/>
                <a:gd name="connsiteY455" fmla="*/ 335372 h 700789"/>
                <a:gd name="connsiteX456" fmla="*/ 98149 w 378249"/>
                <a:gd name="connsiteY456" fmla="*/ 336466 h 700789"/>
                <a:gd name="connsiteX457" fmla="*/ 98747 w 378249"/>
                <a:gd name="connsiteY457" fmla="*/ 338158 h 700789"/>
                <a:gd name="connsiteX458" fmla="*/ 98747 w 378249"/>
                <a:gd name="connsiteY458" fmla="*/ 340446 h 700789"/>
                <a:gd name="connsiteX459" fmla="*/ 97950 w 378249"/>
                <a:gd name="connsiteY459" fmla="*/ 342834 h 700789"/>
                <a:gd name="connsiteX460" fmla="*/ 99345 w 378249"/>
                <a:gd name="connsiteY460" fmla="*/ 343829 h 700789"/>
                <a:gd name="connsiteX461" fmla="*/ 99345 w 378249"/>
                <a:gd name="connsiteY461" fmla="*/ 345122 h 700789"/>
                <a:gd name="connsiteX462" fmla="*/ 98847 w 378249"/>
                <a:gd name="connsiteY462" fmla="*/ 346813 h 700789"/>
                <a:gd name="connsiteX463" fmla="*/ 98847 w 378249"/>
                <a:gd name="connsiteY463" fmla="*/ 348902 h 700789"/>
                <a:gd name="connsiteX464" fmla="*/ 99445 w 378249"/>
                <a:gd name="connsiteY464" fmla="*/ 350793 h 700789"/>
                <a:gd name="connsiteX465" fmla="*/ 102634 w 378249"/>
                <a:gd name="connsiteY465" fmla="*/ 358055 h 700789"/>
                <a:gd name="connsiteX466" fmla="*/ 105224 w 378249"/>
                <a:gd name="connsiteY466" fmla="*/ 360741 h 700789"/>
                <a:gd name="connsiteX467" fmla="*/ 116783 w 378249"/>
                <a:gd name="connsiteY467" fmla="*/ 368402 h 700789"/>
                <a:gd name="connsiteX468" fmla="*/ 120470 w 378249"/>
                <a:gd name="connsiteY468" fmla="*/ 369795 h 700789"/>
                <a:gd name="connsiteX469" fmla="*/ 127744 w 378249"/>
                <a:gd name="connsiteY469" fmla="*/ 370392 h 700789"/>
                <a:gd name="connsiteX470" fmla="*/ 130335 w 378249"/>
                <a:gd name="connsiteY470" fmla="*/ 370989 h 700789"/>
                <a:gd name="connsiteX471" fmla="*/ 132327 w 378249"/>
                <a:gd name="connsiteY471" fmla="*/ 372779 h 700789"/>
                <a:gd name="connsiteX472" fmla="*/ 137110 w 378249"/>
                <a:gd name="connsiteY472" fmla="*/ 381037 h 700789"/>
                <a:gd name="connsiteX473" fmla="*/ 137110 w 378249"/>
                <a:gd name="connsiteY473" fmla="*/ 381037 h 700789"/>
                <a:gd name="connsiteX474" fmla="*/ 138605 w 378249"/>
                <a:gd name="connsiteY474" fmla="*/ 382131 h 700789"/>
                <a:gd name="connsiteX475" fmla="*/ 139203 w 378249"/>
                <a:gd name="connsiteY475" fmla="*/ 383027 h 700789"/>
                <a:gd name="connsiteX476" fmla="*/ 139203 w 378249"/>
                <a:gd name="connsiteY476" fmla="*/ 384021 h 700789"/>
                <a:gd name="connsiteX477" fmla="*/ 139203 w 378249"/>
                <a:gd name="connsiteY477" fmla="*/ 386310 h 700789"/>
                <a:gd name="connsiteX478" fmla="*/ 140797 w 378249"/>
                <a:gd name="connsiteY478" fmla="*/ 390289 h 700789"/>
                <a:gd name="connsiteX479" fmla="*/ 139502 w 378249"/>
                <a:gd name="connsiteY479" fmla="*/ 396656 h 700789"/>
                <a:gd name="connsiteX480" fmla="*/ 140100 w 378249"/>
                <a:gd name="connsiteY480" fmla="*/ 399641 h 700789"/>
                <a:gd name="connsiteX481" fmla="*/ 142890 w 378249"/>
                <a:gd name="connsiteY481" fmla="*/ 401631 h 700789"/>
                <a:gd name="connsiteX482" fmla="*/ 146577 w 378249"/>
                <a:gd name="connsiteY482" fmla="*/ 402825 h 700789"/>
                <a:gd name="connsiteX483" fmla="*/ 149965 w 378249"/>
                <a:gd name="connsiteY483" fmla="*/ 404615 h 700789"/>
                <a:gd name="connsiteX484" fmla="*/ 151359 w 378249"/>
                <a:gd name="connsiteY484" fmla="*/ 408595 h 700789"/>
                <a:gd name="connsiteX485" fmla="*/ 152356 w 378249"/>
                <a:gd name="connsiteY485" fmla="*/ 429985 h 700789"/>
                <a:gd name="connsiteX486" fmla="*/ 153452 w 378249"/>
                <a:gd name="connsiteY486" fmla="*/ 433069 h 700789"/>
                <a:gd name="connsiteX487" fmla="*/ 156242 w 378249"/>
                <a:gd name="connsiteY487" fmla="*/ 434163 h 700789"/>
                <a:gd name="connsiteX488" fmla="*/ 158036 w 378249"/>
                <a:gd name="connsiteY488" fmla="*/ 434163 h 700789"/>
                <a:gd name="connsiteX489" fmla="*/ 160726 w 378249"/>
                <a:gd name="connsiteY489" fmla="*/ 435854 h 700789"/>
                <a:gd name="connsiteX490" fmla="*/ 162320 w 378249"/>
                <a:gd name="connsiteY490" fmla="*/ 435854 h 700789"/>
                <a:gd name="connsiteX491" fmla="*/ 163715 w 378249"/>
                <a:gd name="connsiteY491" fmla="*/ 435854 h 700789"/>
                <a:gd name="connsiteX492" fmla="*/ 165011 w 378249"/>
                <a:gd name="connsiteY492" fmla="*/ 435059 h 700789"/>
                <a:gd name="connsiteX493" fmla="*/ 166306 w 378249"/>
                <a:gd name="connsiteY493" fmla="*/ 435059 h 700789"/>
                <a:gd name="connsiteX494" fmla="*/ 167900 w 378249"/>
                <a:gd name="connsiteY494" fmla="*/ 436153 h 700789"/>
                <a:gd name="connsiteX495" fmla="*/ 166605 w 378249"/>
                <a:gd name="connsiteY495" fmla="*/ 438441 h 700789"/>
                <a:gd name="connsiteX496" fmla="*/ 169096 w 378249"/>
                <a:gd name="connsiteY496" fmla="*/ 440729 h 700789"/>
                <a:gd name="connsiteX497" fmla="*/ 173082 w 378249"/>
                <a:gd name="connsiteY497" fmla="*/ 442620 h 700789"/>
                <a:gd name="connsiteX498" fmla="*/ 179359 w 378249"/>
                <a:gd name="connsiteY498" fmla="*/ 444211 h 700789"/>
                <a:gd name="connsiteX499" fmla="*/ 182349 w 378249"/>
                <a:gd name="connsiteY499" fmla="*/ 445903 h 700789"/>
                <a:gd name="connsiteX500" fmla="*/ 185438 w 378249"/>
                <a:gd name="connsiteY500" fmla="*/ 446898 h 700789"/>
                <a:gd name="connsiteX501" fmla="*/ 188726 w 378249"/>
                <a:gd name="connsiteY501" fmla="*/ 445704 h 700789"/>
                <a:gd name="connsiteX502" fmla="*/ 184142 w 378249"/>
                <a:gd name="connsiteY502" fmla="*/ 441227 h 700789"/>
                <a:gd name="connsiteX503" fmla="*/ 182249 w 378249"/>
                <a:gd name="connsiteY503" fmla="*/ 438242 h 700789"/>
                <a:gd name="connsiteX504" fmla="*/ 182249 w 378249"/>
                <a:gd name="connsiteY504" fmla="*/ 435556 h 700789"/>
                <a:gd name="connsiteX505" fmla="*/ 185637 w 378249"/>
                <a:gd name="connsiteY505" fmla="*/ 429388 h 700789"/>
                <a:gd name="connsiteX506" fmla="*/ 186733 w 378249"/>
                <a:gd name="connsiteY506" fmla="*/ 425806 h 700789"/>
                <a:gd name="connsiteX507" fmla="*/ 186135 w 378249"/>
                <a:gd name="connsiteY507" fmla="*/ 422921 h 700789"/>
                <a:gd name="connsiteX508" fmla="*/ 190818 w 378249"/>
                <a:gd name="connsiteY508" fmla="*/ 416156 h 700789"/>
                <a:gd name="connsiteX509" fmla="*/ 194007 w 378249"/>
                <a:gd name="connsiteY509" fmla="*/ 408794 h 700789"/>
                <a:gd name="connsiteX510" fmla="*/ 192313 w 378249"/>
                <a:gd name="connsiteY510" fmla="*/ 408794 h 700789"/>
                <a:gd name="connsiteX511" fmla="*/ 187530 w 378249"/>
                <a:gd name="connsiteY511" fmla="*/ 408794 h 700789"/>
                <a:gd name="connsiteX512" fmla="*/ 186135 w 378249"/>
                <a:gd name="connsiteY512" fmla="*/ 408794 h 700789"/>
                <a:gd name="connsiteX513" fmla="*/ 186135 w 378249"/>
                <a:gd name="connsiteY513" fmla="*/ 406705 h 700789"/>
                <a:gd name="connsiteX514" fmla="*/ 186135 w 378249"/>
                <a:gd name="connsiteY514" fmla="*/ 404615 h 700789"/>
                <a:gd name="connsiteX515" fmla="*/ 187032 w 378249"/>
                <a:gd name="connsiteY515" fmla="*/ 402725 h 700789"/>
                <a:gd name="connsiteX516" fmla="*/ 187929 w 378249"/>
                <a:gd name="connsiteY516" fmla="*/ 401631 h 700789"/>
                <a:gd name="connsiteX517" fmla="*/ 196897 w 378249"/>
                <a:gd name="connsiteY517" fmla="*/ 398646 h 700789"/>
                <a:gd name="connsiteX518" fmla="*/ 196897 w 378249"/>
                <a:gd name="connsiteY518" fmla="*/ 398646 h 700789"/>
                <a:gd name="connsiteX519" fmla="*/ 196897 w 378249"/>
                <a:gd name="connsiteY519" fmla="*/ 399641 h 700789"/>
                <a:gd name="connsiteX520" fmla="*/ 198292 w 378249"/>
                <a:gd name="connsiteY520" fmla="*/ 403521 h 700789"/>
                <a:gd name="connsiteX521" fmla="*/ 198292 w 378249"/>
                <a:gd name="connsiteY521" fmla="*/ 404715 h 700789"/>
                <a:gd name="connsiteX522" fmla="*/ 198890 w 378249"/>
                <a:gd name="connsiteY522" fmla="*/ 405610 h 700789"/>
                <a:gd name="connsiteX523" fmla="*/ 200883 w 378249"/>
                <a:gd name="connsiteY523" fmla="*/ 406307 h 700789"/>
                <a:gd name="connsiteX524" fmla="*/ 202577 w 378249"/>
                <a:gd name="connsiteY524" fmla="*/ 406307 h 700789"/>
                <a:gd name="connsiteX525" fmla="*/ 204470 w 378249"/>
                <a:gd name="connsiteY525" fmla="*/ 406307 h 700789"/>
                <a:gd name="connsiteX526" fmla="*/ 206263 w 378249"/>
                <a:gd name="connsiteY526" fmla="*/ 405411 h 700789"/>
                <a:gd name="connsiteX527" fmla="*/ 210747 w 378249"/>
                <a:gd name="connsiteY527" fmla="*/ 402029 h 700789"/>
                <a:gd name="connsiteX528" fmla="*/ 212142 w 378249"/>
                <a:gd name="connsiteY528" fmla="*/ 401332 h 700789"/>
                <a:gd name="connsiteX529" fmla="*/ 213936 w 378249"/>
                <a:gd name="connsiteY529" fmla="*/ 400835 h 700789"/>
                <a:gd name="connsiteX530" fmla="*/ 219416 w 378249"/>
                <a:gd name="connsiteY530" fmla="*/ 400835 h 700789"/>
                <a:gd name="connsiteX531" fmla="*/ 220911 w 378249"/>
                <a:gd name="connsiteY531" fmla="*/ 400835 h 700789"/>
                <a:gd name="connsiteX532" fmla="*/ 220911 w 378249"/>
                <a:gd name="connsiteY532" fmla="*/ 400835 h 700789"/>
                <a:gd name="connsiteX533" fmla="*/ 220911 w 378249"/>
                <a:gd name="connsiteY533" fmla="*/ 400835 h 700789"/>
                <a:gd name="connsiteX534" fmla="*/ 220911 w 378249"/>
                <a:gd name="connsiteY534" fmla="*/ 400835 h 700789"/>
                <a:gd name="connsiteX535" fmla="*/ 221509 w 378249"/>
                <a:gd name="connsiteY535" fmla="*/ 400835 h 700789"/>
                <a:gd name="connsiteX536" fmla="*/ 220712 w 378249"/>
                <a:gd name="connsiteY536" fmla="*/ 402725 h 700789"/>
                <a:gd name="connsiteX537" fmla="*/ 218819 w 378249"/>
                <a:gd name="connsiteY537" fmla="*/ 407998 h 700789"/>
                <a:gd name="connsiteX538" fmla="*/ 217822 w 378249"/>
                <a:gd name="connsiteY538" fmla="*/ 409888 h 700789"/>
                <a:gd name="connsiteX539" fmla="*/ 217025 w 378249"/>
                <a:gd name="connsiteY539" fmla="*/ 411082 h 700789"/>
                <a:gd name="connsiteX540" fmla="*/ 214633 w 378249"/>
                <a:gd name="connsiteY540" fmla="*/ 413768 h 700789"/>
                <a:gd name="connsiteX541" fmla="*/ 214633 w 378249"/>
                <a:gd name="connsiteY541" fmla="*/ 414564 h 700789"/>
                <a:gd name="connsiteX542" fmla="*/ 214036 w 378249"/>
                <a:gd name="connsiteY542" fmla="*/ 416952 h 700789"/>
                <a:gd name="connsiteX543" fmla="*/ 213538 w 378249"/>
                <a:gd name="connsiteY543" fmla="*/ 416952 h 700789"/>
                <a:gd name="connsiteX544" fmla="*/ 212640 w 378249"/>
                <a:gd name="connsiteY544" fmla="*/ 416952 h 700789"/>
                <a:gd name="connsiteX545" fmla="*/ 210548 w 378249"/>
                <a:gd name="connsiteY545" fmla="*/ 417549 h 700789"/>
                <a:gd name="connsiteX546" fmla="*/ 209751 w 378249"/>
                <a:gd name="connsiteY546" fmla="*/ 418046 h 700789"/>
                <a:gd name="connsiteX547" fmla="*/ 208356 w 378249"/>
                <a:gd name="connsiteY547" fmla="*/ 419041 h 700789"/>
                <a:gd name="connsiteX548" fmla="*/ 207160 w 378249"/>
                <a:gd name="connsiteY548" fmla="*/ 420135 h 700789"/>
                <a:gd name="connsiteX549" fmla="*/ 206164 w 378249"/>
                <a:gd name="connsiteY549" fmla="*/ 421727 h 700789"/>
                <a:gd name="connsiteX550" fmla="*/ 205267 w 378249"/>
                <a:gd name="connsiteY550" fmla="*/ 423916 h 700789"/>
                <a:gd name="connsiteX551" fmla="*/ 206961 w 378249"/>
                <a:gd name="connsiteY551" fmla="*/ 424712 h 700789"/>
                <a:gd name="connsiteX552" fmla="*/ 208356 w 378249"/>
                <a:gd name="connsiteY552" fmla="*/ 425607 h 700789"/>
                <a:gd name="connsiteX553" fmla="*/ 209551 w 378249"/>
                <a:gd name="connsiteY553" fmla="*/ 427000 h 700789"/>
                <a:gd name="connsiteX554" fmla="*/ 210448 w 378249"/>
                <a:gd name="connsiteY554" fmla="*/ 428592 h 700789"/>
                <a:gd name="connsiteX555" fmla="*/ 209053 w 378249"/>
                <a:gd name="connsiteY555" fmla="*/ 431377 h 700789"/>
                <a:gd name="connsiteX556" fmla="*/ 208057 w 378249"/>
                <a:gd name="connsiteY556" fmla="*/ 434163 h 700789"/>
                <a:gd name="connsiteX557" fmla="*/ 208555 w 378249"/>
                <a:gd name="connsiteY557" fmla="*/ 436153 h 700789"/>
                <a:gd name="connsiteX558" fmla="*/ 211345 w 378249"/>
                <a:gd name="connsiteY558" fmla="*/ 437048 h 700789"/>
                <a:gd name="connsiteX559" fmla="*/ 214335 w 378249"/>
                <a:gd name="connsiteY559" fmla="*/ 435954 h 700789"/>
                <a:gd name="connsiteX560" fmla="*/ 215132 w 378249"/>
                <a:gd name="connsiteY560" fmla="*/ 433168 h 700789"/>
                <a:gd name="connsiteX561" fmla="*/ 215132 w 378249"/>
                <a:gd name="connsiteY561" fmla="*/ 429288 h 700789"/>
                <a:gd name="connsiteX562" fmla="*/ 216328 w 378249"/>
                <a:gd name="connsiteY562" fmla="*/ 425110 h 700789"/>
                <a:gd name="connsiteX563" fmla="*/ 218619 w 378249"/>
                <a:gd name="connsiteY563" fmla="*/ 422722 h 700789"/>
                <a:gd name="connsiteX564" fmla="*/ 224698 w 378249"/>
                <a:gd name="connsiteY564" fmla="*/ 419539 h 700789"/>
                <a:gd name="connsiteX565" fmla="*/ 229082 w 378249"/>
                <a:gd name="connsiteY565" fmla="*/ 415857 h 700789"/>
                <a:gd name="connsiteX566" fmla="*/ 232071 w 378249"/>
                <a:gd name="connsiteY566" fmla="*/ 414564 h 700789"/>
                <a:gd name="connsiteX567" fmla="*/ 235260 w 378249"/>
                <a:gd name="connsiteY567" fmla="*/ 413768 h 700789"/>
                <a:gd name="connsiteX568" fmla="*/ 238050 w 378249"/>
                <a:gd name="connsiteY568" fmla="*/ 414465 h 700789"/>
                <a:gd name="connsiteX569" fmla="*/ 239843 w 378249"/>
                <a:gd name="connsiteY569" fmla="*/ 416156 h 700789"/>
                <a:gd name="connsiteX570" fmla="*/ 239843 w 378249"/>
                <a:gd name="connsiteY570" fmla="*/ 417549 h 700789"/>
                <a:gd name="connsiteX571" fmla="*/ 239345 w 378249"/>
                <a:gd name="connsiteY571" fmla="*/ 419041 h 700789"/>
                <a:gd name="connsiteX572" fmla="*/ 239345 w 378249"/>
                <a:gd name="connsiteY572" fmla="*/ 421528 h 700789"/>
                <a:gd name="connsiteX573" fmla="*/ 240043 w 378249"/>
                <a:gd name="connsiteY573" fmla="*/ 423120 h 700789"/>
                <a:gd name="connsiteX574" fmla="*/ 242434 w 378249"/>
                <a:gd name="connsiteY574" fmla="*/ 426801 h 700789"/>
                <a:gd name="connsiteX575" fmla="*/ 243231 w 378249"/>
                <a:gd name="connsiteY575" fmla="*/ 427497 h 700789"/>
                <a:gd name="connsiteX576" fmla="*/ 242733 w 378249"/>
                <a:gd name="connsiteY576" fmla="*/ 429189 h 700789"/>
                <a:gd name="connsiteX577" fmla="*/ 244427 w 378249"/>
                <a:gd name="connsiteY577" fmla="*/ 432969 h 700789"/>
                <a:gd name="connsiteX578" fmla="*/ 250705 w 378249"/>
                <a:gd name="connsiteY578" fmla="*/ 443614 h 700789"/>
                <a:gd name="connsiteX579" fmla="*/ 251502 w 378249"/>
                <a:gd name="connsiteY579" fmla="*/ 445405 h 700789"/>
                <a:gd name="connsiteX580" fmla="*/ 252299 w 378249"/>
                <a:gd name="connsiteY580" fmla="*/ 451474 h 700789"/>
                <a:gd name="connsiteX581" fmla="*/ 253893 w 378249"/>
                <a:gd name="connsiteY581" fmla="*/ 456349 h 700789"/>
                <a:gd name="connsiteX582" fmla="*/ 253295 w 378249"/>
                <a:gd name="connsiteY582" fmla="*/ 460428 h 700789"/>
                <a:gd name="connsiteX583" fmla="*/ 250904 w 378249"/>
                <a:gd name="connsiteY583" fmla="*/ 466397 h 700789"/>
                <a:gd name="connsiteX584" fmla="*/ 250904 w 378249"/>
                <a:gd name="connsiteY584" fmla="*/ 466397 h 700789"/>
                <a:gd name="connsiteX585" fmla="*/ 250206 w 378249"/>
                <a:gd name="connsiteY585" fmla="*/ 467591 h 700789"/>
                <a:gd name="connsiteX586" fmla="*/ 245922 w 378249"/>
                <a:gd name="connsiteY586" fmla="*/ 478535 h 700789"/>
                <a:gd name="connsiteX587" fmla="*/ 244228 w 378249"/>
                <a:gd name="connsiteY587" fmla="*/ 484106 h 700789"/>
                <a:gd name="connsiteX588" fmla="*/ 243530 w 378249"/>
                <a:gd name="connsiteY588" fmla="*/ 494055 h 700789"/>
                <a:gd name="connsiteX589" fmla="*/ 243530 w 378249"/>
                <a:gd name="connsiteY589" fmla="*/ 495646 h 700789"/>
                <a:gd name="connsiteX590" fmla="*/ 243530 w 378249"/>
                <a:gd name="connsiteY590" fmla="*/ 496840 h 700789"/>
                <a:gd name="connsiteX591" fmla="*/ 246121 w 378249"/>
                <a:gd name="connsiteY591" fmla="*/ 500223 h 700789"/>
                <a:gd name="connsiteX592" fmla="*/ 246121 w 378249"/>
                <a:gd name="connsiteY592" fmla="*/ 501516 h 700789"/>
                <a:gd name="connsiteX593" fmla="*/ 246121 w 378249"/>
                <a:gd name="connsiteY593" fmla="*/ 504799 h 700789"/>
                <a:gd name="connsiteX594" fmla="*/ 244826 w 378249"/>
                <a:gd name="connsiteY594" fmla="*/ 511067 h 700789"/>
                <a:gd name="connsiteX595" fmla="*/ 244826 w 378249"/>
                <a:gd name="connsiteY595" fmla="*/ 513952 h 700789"/>
                <a:gd name="connsiteX596" fmla="*/ 247217 w 378249"/>
                <a:gd name="connsiteY596" fmla="*/ 519722 h 700789"/>
                <a:gd name="connsiteX597" fmla="*/ 251103 w 378249"/>
                <a:gd name="connsiteY597" fmla="*/ 519722 h 700789"/>
                <a:gd name="connsiteX598" fmla="*/ 255488 w 378249"/>
                <a:gd name="connsiteY598" fmla="*/ 516937 h 700789"/>
                <a:gd name="connsiteX599" fmla="*/ 266050 w 378249"/>
                <a:gd name="connsiteY599" fmla="*/ 505794 h 700789"/>
                <a:gd name="connsiteX600" fmla="*/ 266050 w 378249"/>
                <a:gd name="connsiteY600" fmla="*/ 503904 h 700789"/>
                <a:gd name="connsiteX601" fmla="*/ 264555 w 378249"/>
                <a:gd name="connsiteY601" fmla="*/ 496542 h 700789"/>
                <a:gd name="connsiteX602" fmla="*/ 263957 w 378249"/>
                <a:gd name="connsiteY602" fmla="*/ 494652 h 700789"/>
                <a:gd name="connsiteX603" fmla="*/ 263957 w 378249"/>
                <a:gd name="connsiteY603" fmla="*/ 493358 h 700789"/>
                <a:gd name="connsiteX604" fmla="*/ 266050 w 378249"/>
                <a:gd name="connsiteY604" fmla="*/ 491368 h 700789"/>
                <a:gd name="connsiteX605" fmla="*/ 268541 w 378249"/>
                <a:gd name="connsiteY605" fmla="*/ 488085 h 700789"/>
                <a:gd name="connsiteX606" fmla="*/ 270036 w 378249"/>
                <a:gd name="connsiteY606" fmla="*/ 484404 h 700789"/>
                <a:gd name="connsiteX607" fmla="*/ 269239 w 378249"/>
                <a:gd name="connsiteY607" fmla="*/ 481420 h 700789"/>
                <a:gd name="connsiteX608" fmla="*/ 274121 w 378249"/>
                <a:gd name="connsiteY608" fmla="*/ 479231 h 700789"/>
                <a:gd name="connsiteX609" fmla="*/ 285082 w 378249"/>
                <a:gd name="connsiteY609" fmla="*/ 477440 h 700789"/>
                <a:gd name="connsiteX610" fmla="*/ 294249 w 378249"/>
                <a:gd name="connsiteY610" fmla="*/ 470078 h 700789"/>
                <a:gd name="connsiteX611" fmla="*/ 299730 w 378249"/>
                <a:gd name="connsiteY611" fmla="*/ 468586 h 700789"/>
                <a:gd name="connsiteX612" fmla="*/ 303516 w 378249"/>
                <a:gd name="connsiteY612" fmla="*/ 470775 h 700789"/>
                <a:gd name="connsiteX613" fmla="*/ 303516 w 378249"/>
                <a:gd name="connsiteY613" fmla="*/ 478137 h 700789"/>
                <a:gd name="connsiteX614" fmla="*/ 307801 w 378249"/>
                <a:gd name="connsiteY614" fmla="*/ 478933 h 700789"/>
                <a:gd name="connsiteX615" fmla="*/ 309495 w 378249"/>
                <a:gd name="connsiteY615" fmla="*/ 479629 h 700789"/>
                <a:gd name="connsiteX616" fmla="*/ 310491 w 378249"/>
                <a:gd name="connsiteY616" fmla="*/ 481420 h 700789"/>
                <a:gd name="connsiteX617" fmla="*/ 310491 w 378249"/>
                <a:gd name="connsiteY617" fmla="*/ 483708 h 700789"/>
                <a:gd name="connsiteX618" fmla="*/ 309495 w 378249"/>
                <a:gd name="connsiteY618" fmla="*/ 486295 h 700789"/>
                <a:gd name="connsiteX619" fmla="*/ 308299 w 378249"/>
                <a:gd name="connsiteY619" fmla="*/ 488583 h 700789"/>
                <a:gd name="connsiteX620" fmla="*/ 307203 w 378249"/>
                <a:gd name="connsiteY620" fmla="*/ 489876 h 700789"/>
                <a:gd name="connsiteX621" fmla="*/ 309993 w 378249"/>
                <a:gd name="connsiteY621" fmla="*/ 491766 h 700789"/>
                <a:gd name="connsiteX622" fmla="*/ 313182 w 378249"/>
                <a:gd name="connsiteY622" fmla="*/ 490075 h 700789"/>
                <a:gd name="connsiteX623" fmla="*/ 315772 w 378249"/>
                <a:gd name="connsiteY623" fmla="*/ 489478 h 700789"/>
                <a:gd name="connsiteX624" fmla="*/ 316769 w 378249"/>
                <a:gd name="connsiteY624" fmla="*/ 494652 h 700789"/>
                <a:gd name="connsiteX625" fmla="*/ 315972 w 378249"/>
                <a:gd name="connsiteY625" fmla="*/ 498134 h 700789"/>
                <a:gd name="connsiteX626" fmla="*/ 314278 w 378249"/>
                <a:gd name="connsiteY626" fmla="*/ 502909 h 700789"/>
                <a:gd name="connsiteX627" fmla="*/ 312185 w 378249"/>
                <a:gd name="connsiteY627" fmla="*/ 506988 h 700789"/>
                <a:gd name="connsiteX628" fmla="*/ 310192 w 378249"/>
                <a:gd name="connsiteY628" fmla="*/ 508779 h 700789"/>
                <a:gd name="connsiteX629" fmla="*/ 307103 w 378249"/>
                <a:gd name="connsiteY629" fmla="*/ 510768 h 700789"/>
                <a:gd name="connsiteX630" fmla="*/ 303914 w 378249"/>
                <a:gd name="connsiteY630" fmla="*/ 519822 h 700789"/>
                <a:gd name="connsiteX631" fmla="*/ 298534 w 378249"/>
                <a:gd name="connsiteY631" fmla="*/ 523602 h 700789"/>
                <a:gd name="connsiteX632" fmla="*/ 290662 w 378249"/>
                <a:gd name="connsiteY632" fmla="*/ 535939 h 700789"/>
                <a:gd name="connsiteX633" fmla="*/ 293651 w 378249"/>
                <a:gd name="connsiteY633" fmla="*/ 538625 h 700789"/>
                <a:gd name="connsiteX634" fmla="*/ 291160 w 378249"/>
                <a:gd name="connsiteY634" fmla="*/ 541908 h 700789"/>
                <a:gd name="connsiteX635" fmla="*/ 286975 w 378249"/>
                <a:gd name="connsiteY635" fmla="*/ 545490 h 700789"/>
                <a:gd name="connsiteX636" fmla="*/ 284583 w 378249"/>
                <a:gd name="connsiteY636" fmla="*/ 549370 h 700789"/>
                <a:gd name="connsiteX637" fmla="*/ 283488 w 378249"/>
                <a:gd name="connsiteY637" fmla="*/ 558721 h 700789"/>
                <a:gd name="connsiteX638" fmla="*/ 284285 w 378249"/>
                <a:gd name="connsiteY638" fmla="*/ 562303 h 700789"/>
                <a:gd name="connsiteX639" fmla="*/ 288071 w 378249"/>
                <a:gd name="connsiteY639" fmla="*/ 562900 h 700789"/>
                <a:gd name="connsiteX640" fmla="*/ 292057 w 378249"/>
                <a:gd name="connsiteY640" fmla="*/ 561109 h 700789"/>
                <a:gd name="connsiteX641" fmla="*/ 295544 w 378249"/>
                <a:gd name="connsiteY641" fmla="*/ 558423 h 700789"/>
                <a:gd name="connsiteX642" fmla="*/ 307601 w 378249"/>
                <a:gd name="connsiteY642" fmla="*/ 544495 h 700789"/>
                <a:gd name="connsiteX643" fmla="*/ 310292 w 378249"/>
                <a:gd name="connsiteY643" fmla="*/ 539819 h 700789"/>
                <a:gd name="connsiteX644" fmla="*/ 310292 w 378249"/>
                <a:gd name="connsiteY644" fmla="*/ 535939 h 700789"/>
                <a:gd name="connsiteX645" fmla="*/ 312085 w 378249"/>
                <a:gd name="connsiteY645" fmla="*/ 534745 h 700789"/>
                <a:gd name="connsiteX646" fmla="*/ 315274 w 378249"/>
                <a:gd name="connsiteY646" fmla="*/ 531760 h 700789"/>
                <a:gd name="connsiteX647" fmla="*/ 317267 w 378249"/>
                <a:gd name="connsiteY647" fmla="*/ 531760 h 700789"/>
                <a:gd name="connsiteX648" fmla="*/ 318662 w 378249"/>
                <a:gd name="connsiteY648" fmla="*/ 531760 h 700789"/>
                <a:gd name="connsiteX649" fmla="*/ 319858 w 378249"/>
                <a:gd name="connsiteY649" fmla="*/ 532755 h 700789"/>
                <a:gd name="connsiteX650" fmla="*/ 319858 w 378249"/>
                <a:gd name="connsiteY650" fmla="*/ 534347 h 700789"/>
                <a:gd name="connsiteX651" fmla="*/ 318662 w 378249"/>
                <a:gd name="connsiteY651" fmla="*/ 536138 h 700789"/>
                <a:gd name="connsiteX652" fmla="*/ 319758 w 378249"/>
                <a:gd name="connsiteY652" fmla="*/ 537033 h 700789"/>
                <a:gd name="connsiteX653" fmla="*/ 320854 w 378249"/>
                <a:gd name="connsiteY653" fmla="*/ 537033 h 700789"/>
                <a:gd name="connsiteX654" fmla="*/ 321950 w 378249"/>
                <a:gd name="connsiteY654" fmla="*/ 537033 h 700789"/>
                <a:gd name="connsiteX655" fmla="*/ 322947 w 378249"/>
                <a:gd name="connsiteY655" fmla="*/ 536138 h 700789"/>
                <a:gd name="connsiteX656" fmla="*/ 322149 w 378249"/>
                <a:gd name="connsiteY656" fmla="*/ 537232 h 700789"/>
                <a:gd name="connsiteX657" fmla="*/ 324740 w 378249"/>
                <a:gd name="connsiteY657" fmla="*/ 535242 h 700789"/>
                <a:gd name="connsiteX658" fmla="*/ 328228 w 378249"/>
                <a:gd name="connsiteY658" fmla="*/ 534546 h 700789"/>
                <a:gd name="connsiteX659" fmla="*/ 330520 w 378249"/>
                <a:gd name="connsiteY659" fmla="*/ 535740 h 700789"/>
                <a:gd name="connsiteX660" fmla="*/ 329523 w 378249"/>
                <a:gd name="connsiteY660" fmla="*/ 539023 h 700789"/>
                <a:gd name="connsiteX661" fmla="*/ 326733 w 378249"/>
                <a:gd name="connsiteY661" fmla="*/ 543500 h 700789"/>
                <a:gd name="connsiteX662" fmla="*/ 326035 w 378249"/>
                <a:gd name="connsiteY662" fmla="*/ 544196 h 700789"/>
                <a:gd name="connsiteX663" fmla="*/ 324840 w 378249"/>
                <a:gd name="connsiteY663" fmla="*/ 544992 h 700789"/>
                <a:gd name="connsiteX664" fmla="*/ 324142 w 378249"/>
                <a:gd name="connsiteY664" fmla="*/ 546783 h 700789"/>
                <a:gd name="connsiteX665" fmla="*/ 323544 w 378249"/>
                <a:gd name="connsiteY665" fmla="*/ 548872 h 700789"/>
                <a:gd name="connsiteX666" fmla="*/ 322947 w 378249"/>
                <a:gd name="connsiteY666" fmla="*/ 550166 h 700789"/>
                <a:gd name="connsiteX667" fmla="*/ 320356 w 378249"/>
                <a:gd name="connsiteY667" fmla="*/ 551359 h 700789"/>
                <a:gd name="connsiteX668" fmla="*/ 314477 w 378249"/>
                <a:gd name="connsiteY668" fmla="*/ 552454 h 700789"/>
                <a:gd name="connsiteX669" fmla="*/ 312185 w 378249"/>
                <a:gd name="connsiteY669" fmla="*/ 554344 h 700789"/>
                <a:gd name="connsiteX670" fmla="*/ 307103 w 378249"/>
                <a:gd name="connsiteY670" fmla="*/ 560512 h 700789"/>
                <a:gd name="connsiteX671" fmla="*/ 309196 w 378249"/>
                <a:gd name="connsiteY671" fmla="*/ 560512 h 700789"/>
                <a:gd name="connsiteX672" fmla="*/ 311786 w 378249"/>
                <a:gd name="connsiteY672" fmla="*/ 560512 h 700789"/>
                <a:gd name="connsiteX673" fmla="*/ 311786 w 378249"/>
                <a:gd name="connsiteY673" fmla="*/ 562900 h 700789"/>
                <a:gd name="connsiteX674" fmla="*/ 308299 w 378249"/>
                <a:gd name="connsiteY674" fmla="*/ 568969 h 700789"/>
                <a:gd name="connsiteX675" fmla="*/ 304213 w 378249"/>
                <a:gd name="connsiteY675" fmla="*/ 582598 h 700789"/>
                <a:gd name="connsiteX676" fmla="*/ 300427 w 378249"/>
                <a:gd name="connsiteY676" fmla="*/ 587573 h 700789"/>
                <a:gd name="connsiteX677" fmla="*/ 295345 w 378249"/>
                <a:gd name="connsiteY677" fmla="*/ 590458 h 700789"/>
                <a:gd name="connsiteX678" fmla="*/ 290762 w 378249"/>
                <a:gd name="connsiteY678" fmla="*/ 592050 h 700789"/>
                <a:gd name="connsiteX679" fmla="*/ 292455 w 378249"/>
                <a:gd name="connsiteY679" fmla="*/ 593940 h 700789"/>
                <a:gd name="connsiteX680" fmla="*/ 293053 w 378249"/>
                <a:gd name="connsiteY680" fmla="*/ 595233 h 700789"/>
                <a:gd name="connsiteX681" fmla="*/ 292356 w 378249"/>
                <a:gd name="connsiteY681" fmla="*/ 598417 h 700789"/>
                <a:gd name="connsiteX682" fmla="*/ 286875 w 378249"/>
                <a:gd name="connsiteY682" fmla="*/ 607470 h 700789"/>
                <a:gd name="connsiteX683" fmla="*/ 285281 w 378249"/>
                <a:gd name="connsiteY683" fmla="*/ 610853 h 700789"/>
                <a:gd name="connsiteX684" fmla="*/ 284583 w 378249"/>
                <a:gd name="connsiteY684" fmla="*/ 613937 h 700789"/>
                <a:gd name="connsiteX685" fmla="*/ 284583 w 378249"/>
                <a:gd name="connsiteY685" fmla="*/ 616822 h 700789"/>
                <a:gd name="connsiteX686" fmla="*/ 288171 w 378249"/>
                <a:gd name="connsiteY686" fmla="*/ 623985 h 700789"/>
                <a:gd name="connsiteX687" fmla="*/ 288171 w 378249"/>
                <a:gd name="connsiteY687" fmla="*/ 626373 h 700789"/>
                <a:gd name="connsiteX688" fmla="*/ 286576 w 378249"/>
                <a:gd name="connsiteY688" fmla="*/ 628562 h 700789"/>
                <a:gd name="connsiteX689" fmla="*/ 284982 w 378249"/>
                <a:gd name="connsiteY689" fmla="*/ 632243 h 700789"/>
                <a:gd name="connsiteX690" fmla="*/ 284982 w 378249"/>
                <a:gd name="connsiteY690" fmla="*/ 633834 h 700789"/>
                <a:gd name="connsiteX691" fmla="*/ 284982 w 378249"/>
                <a:gd name="connsiteY691" fmla="*/ 637515 h 700789"/>
                <a:gd name="connsiteX692" fmla="*/ 284982 w 378249"/>
                <a:gd name="connsiteY692" fmla="*/ 640699 h 700789"/>
                <a:gd name="connsiteX693" fmla="*/ 283587 w 378249"/>
                <a:gd name="connsiteY693" fmla="*/ 645176 h 700789"/>
                <a:gd name="connsiteX694" fmla="*/ 283587 w 378249"/>
                <a:gd name="connsiteY694" fmla="*/ 646967 h 700789"/>
                <a:gd name="connsiteX695" fmla="*/ 283587 w 378249"/>
                <a:gd name="connsiteY695" fmla="*/ 648559 h 700789"/>
                <a:gd name="connsiteX696" fmla="*/ 283587 w 378249"/>
                <a:gd name="connsiteY696" fmla="*/ 650150 h 700789"/>
                <a:gd name="connsiteX697" fmla="*/ 283587 w 378249"/>
                <a:gd name="connsiteY697" fmla="*/ 651543 h 700789"/>
                <a:gd name="connsiteX698" fmla="*/ 284285 w 378249"/>
                <a:gd name="connsiteY698" fmla="*/ 652837 h 700789"/>
                <a:gd name="connsiteX699" fmla="*/ 284285 w 378249"/>
                <a:gd name="connsiteY699" fmla="*/ 654627 h 700789"/>
                <a:gd name="connsiteX700" fmla="*/ 284285 w 378249"/>
                <a:gd name="connsiteY700" fmla="*/ 658607 h 700789"/>
                <a:gd name="connsiteX701" fmla="*/ 284285 w 378249"/>
                <a:gd name="connsiteY701" fmla="*/ 660597 h 700789"/>
                <a:gd name="connsiteX702" fmla="*/ 285082 w 378249"/>
                <a:gd name="connsiteY702" fmla="*/ 661293 h 700789"/>
                <a:gd name="connsiteX703" fmla="*/ 288071 w 378249"/>
                <a:gd name="connsiteY703" fmla="*/ 663183 h 700789"/>
                <a:gd name="connsiteX704" fmla="*/ 288769 w 378249"/>
                <a:gd name="connsiteY704" fmla="*/ 664079 h 700789"/>
                <a:gd name="connsiteX705" fmla="*/ 288171 w 378249"/>
                <a:gd name="connsiteY705" fmla="*/ 665670 h 700789"/>
                <a:gd name="connsiteX706" fmla="*/ 286975 w 378249"/>
                <a:gd name="connsiteY706" fmla="*/ 667561 h 700789"/>
                <a:gd name="connsiteX707" fmla="*/ 285580 w 378249"/>
                <a:gd name="connsiteY707" fmla="*/ 669152 h 700789"/>
                <a:gd name="connsiteX708" fmla="*/ 284783 w 378249"/>
                <a:gd name="connsiteY708" fmla="*/ 669849 h 700789"/>
                <a:gd name="connsiteX709" fmla="*/ 284783 w 378249"/>
                <a:gd name="connsiteY709" fmla="*/ 671640 h 700789"/>
                <a:gd name="connsiteX710" fmla="*/ 288769 w 378249"/>
                <a:gd name="connsiteY710" fmla="*/ 681588 h 700789"/>
                <a:gd name="connsiteX711" fmla="*/ 288769 w 378249"/>
                <a:gd name="connsiteY711" fmla="*/ 682782 h 700789"/>
                <a:gd name="connsiteX712" fmla="*/ 289267 w 378249"/>
                <a:gd name="connsiteY712" fmla="*/ 687458 h 700789"/>
                <a:gd name="connsiteX713" fmla="*/ 291061 w 378249"/>
                <a:gd name="connsiteY713" fmla="*/ 693925 h 700789"/>
                <a:gd name="connsiteX714" fmla="*/ 292655 w 378249"/>
                <a:gd name="connsiteY714" fmla="*/ 695517 h 700789"/>
                <a:gd name="connsiteX715" fmla="*/ 309793 w 378249"/>
                <a:gd name="connsiteY715" fmla="*/ 700789 h 700789"/>
                <a:gd name="connsiteX716" fmla="*/ 321751 w 378249"/>
                <a:gd name="connsiteY716" fmla="*/ 700789 h 700789"/>
                <a:gd name="connsiteX717" fmla="*/ 329224 w 378249"/>
                <a:gd name="connsiteY717" fmla="*/ 698800 h 700789"/>
                <a:gd name="connsiteX718" fmla="*/ 334904 w 378249"/>
                <a:gd name="connsiteY718" fmla="*/ 693925 h 700789"/>
                <a:gd name="connsiteX719" fmla="*/ 339587 w 378249"/>
                <a:gd name="connsiteY719" fmla="*/ 687757 h 700789"/>
                <a:gd name="connsiteX720" fmla="*/ 339587 w 378249"/>
                <a:gd name="connsiteY720" fmla="*/ 684971 h 700789"/>
                <a:gd name="connsiteX721" fmla="*/ 333310 w 378249"/>
                <a:gd name="connsiteY721" fmla="*/ 675022 h 700789"/>
                <a:gd name="connsiteX722" fmla="*/ 333310 w 378249"/>
                <a:gd name="connsiteY722" fmla="*/ 672535 h 700789"/>
                <a:gd name="connsiteX723" fmla="*/ 334505 w 378249"/>
                <a:gd name="connsiteY723" fmla="*/ 670645 h 700789"/>
                <a:gd name="connsiteX724" fmla="*/ 337295 w 378249"/>
                <a:gd name="connsiteY724" fmla="*/ 667959 h 700789"/>
                <a:gd name="connsiteX725" fmla="*/ 336199 w 378249"/>
                <a:gd name="connsiteY725" fmla="*/ 665372 h 700789"/>
                <a:gd name="connsiteX726" fmla="*/ 336199 w 378249"/>
                <a:gd name="connsiteY726" fmla="*/ 663382 h 700789"/>
                <a:gd name="connsiteX727" fmla="*/ 336199 w 378249"/>
                <a:gd name="connsiteY727" fmla="*/ 654727 h 700789"/>
                <a:gd name="connsiteX728" fmla="*/ 336996 w 378249"/>
                <a:gd name="connsiteY728" fmla="*/ 654130 h 700789"/>
                <a:gd name="connsiteX729" fmla="*/ 339487 w 378249"/>
                <a:gd name="connsiteY729" fmla="*/ 654130 h 700789"/>
                <a:gd name="connsiteX730" fmla="*/ 341182 w 378249"/>
                <a:gd name="connsiteY730" fmla="*/ 653135 h 700789"/>
                <a:gd name="connsiteX731" fmla="*/ 341182 w 378249"/>
                <a:gd name="connsiteY731" fmla="*/ 650847 h 700789"/>
                <a:gd name="connsiteX732" fmla="*/ 340683 w 378249"/>
                <a:gd name="connsiteY732" fmla="*/ 648061 h 700789"/>
                <a:gd name="connsiteX733" fmla="*/ 340683 w 378249"/>
                <a:gd name="connsiteY733" fmla="*/ 645773 h 700789"/>
                <a:gd name="connsiteX734" fmla="*/ 341979 w 378249"/>
                <a:gd name="connsiteY734" fmla="*/ 643783 h 700789"/>
                <a:gd name="connsiteX735" fmla="*/ 343972 w 378249"/>
                <a:gd name="connsiteY735" fmla="*/ 642490 h 700789"/>
                <a:gd name="connsiteX736" fmla="*/ 345964 w 378249"/>
                <a:gd name="connsiteY736" fmla="*/ 642490 h 700789"/>
                <a:gd name="connsiteX737" fmla="*/ 347957 w 378249"/>
                <a:gd name="connsiteY737" fmla="*/ 649951 h 700789"/>
                <a:gd name="connsiteX738" fmla="*/ 351046 w 378249"/>
                <a:gd name="connsiteY738" fmla="*/ 654329 h 700789"/>
                <a:gd name="connsiteX739" fmla="*/ 354733 w 378249"/>
                <a:gd name="connsiteY739" fmla="*/ 657711 h 700789"/>
                <a:gd name="connsiteX740" fmla="*/ 358121 w 378249"/>
                <a:gd name="connsiteY740" fmla="*/ 659801 h 700789"/>
                <a:gd name="connsiteX741" fmla="*/ 361808 w 378249"/>
                <a:gd name="connsiteY741" fmla="*/ 660795 h 700789"/>
                <a:gd name="connsiteX742" fmla="*/ 374562 w 378249"/>
                <a:gd name="connsiteY742" fmla="*/ 660795 h 700789"/>
                <a:gd name="connsiteX743" fmla="*/ 367886 w 378249"/>
                <a:gd name="connsiteY743" fmla="*/ 653035 h 700789"/>
                <a:gd name="connsiteX744" fmla="*/ 364199 w 378249"/>
                <a:gd name="connsiteY744" fmla="*/ 647265 h 700789"/>
                <a:gd name="connsiteX745" fmla="*/ 363701 w 378249"/>
                <a:gd name="connsiteY745" fmla="*/ 645474 h 700789"/>
                <a:gd name="connsiteX746" fmla="*/ 364299 w 378249"/>
                <a:gd name="connsiteY746" fmla="*/ 643783 h 700789"/>
                <a:gd name="connsiteX747" fmla="*/ 367487 w 378249"/>
                <a:gd name="connsiteY747" fmla="*/ 638809 h 700789"/>
                <a:gd name="connsiteX748" fmla="*/ 367487 w 378249"/>
                <a:gd name="connsiteY748" fmla="*/ 634829 h 700789"/>
                <a:gd name="connsiteX749" fmla="*/ 362306 w 378249"/>
                <a:gd name="connsiteY749" fmla="*/ 595034 h 700789"/>
                <a:gd name="connsiteX750" fmla="*/ 360712 w 378249"/>
                <a:gd name="connsiteY750" fmla="*/ 588269 h 700789"/>
                <a:gd name="connsiteX751" fmla="*/ 358619 w 378249"/>
                <a:gd name="connsiteY751" fmla="*/ 582300 h 700789"/>
                <a:gd name="connsiteX752" fmla="*/ 358619 w 378249"/>
                <a:gd name="connsiteY752" fmla="*/ 579216 h 700789"/>
                <a:gd name="connsiteX753" fmla="*/ 360712 w 378249"/>
                <a:gd name="connsiteY753" fmla="*/ 576430 h 700789"/>
                <a:gd name="connsiteX754" fmla="*/ 363203 w 378249"/>
                <a:gd name="connsiteY754" fmla="*/ 575734 h 700789"/>
                <a:gd name="connsiteX755" fmla="*/ 373167 w 378249"/>
                <a:gd name="connsiteY755" fmla="*/ 576430 h 700789"/>
                <a:gd name="connsiteX756" fmla="*/ 371972 w 378249"/>
                <a:gd name="connsiteY756" fmla="*/ 574142 h 700789"/>
                <a:gd name="connsiteX757" fmla="*/ 370576 w 378249"/>
                <a:gd name="connsiteY757" fmla="*/ 571555 h 700789"/>
                <a:gd name="connsiteX758" fmla="*/ 368683 w 378249"/>
                <a:gd name="connsiteY758" fmla="*/ 569566 h 700789"/>
                <a:gd name="connsiteX759" fmla="*/ 366391 w 378249"/>
                <a:gd name="connsiteY759" fmla="*/ 568372 h 700789"/>
                <a:gd name="connsiteX760" fmla="*/ 367786 w 378249"/>
                <a:gd name="connsiteY760" fmla="*/ 564989 h 700789"/>
                <a:gd name="connsiteX761" fmla="*/ 369680 w 378249"/>
                <a:gd name="connsiteY761" fmla="*/ 562900 h 700789"/>
                <a:gd name="connsiteX762" fmla="*/ 371573 w 378249"/>
                <a:gd name="connsiteY762" fmla="*/ 561109 h 700789"/>
                <a:gd name="connsiteX763" fmla="*/ 374363 w 378249"/>
                <a:gd name="connsiteY763" fmla="*/ 560512 h 700789"/>
                <a:gd name="connsiteX764" fmla="*/ 377153 w 378249"/>
                <a:gd name="connsiteY764" fmla="*/ 561209 h 700789"/>
                <a:gd name="connsiteX765" fmla="*/ 378249 w 378249"/>
                <a:gd name="connsiteY765" fmla="*/ 561209 h 700789"/>
                <a:gd name="connsiteX766" fmla="*/ 378249 w 378249"/>
                <a:gd name="connsiteY766" fmla="*/ 559020 h 700789"/>
                <a:gd name="connsiteX767" fmla="*/ 378249 w 378249"/>
                <a:gd name="connsiteY767" fmla="*/ 558125 h 700789"/>
                <a:gd name="connsiteX768" fmla="*/ 150762 w 378249"/>
                <a:gd name="connsiteY768" fmla="*/ 365716 h 700789"/>
                <a:gd name="connsiteX769" fmla="*/ 149765 w 378249"/>
                <a:gd name="connsiteY769" fmla="*/ 368103 h 700789"/>
                <a:gd name="connsiteX770" fmla="*/ 147274 w 378249"/>
                <a:gd name="connsiteY770" fmla="*/ 369795 h 700789"/>
                <a:gd name="connsiteX771" fmla="*/ 142391 w 378249"/>
                <a:gd name="connsiteY771" fmla="*/ 372083 h 700789"/>
                <a:gd name="connsiteX772" fmla="*/ 142391 w 378249"/>
                <a:gd name="connsiteY772" fmla="*/ 368501 h 700789"/>
                <a:gd name="connsiteX773" fmla="*/ 135715 w 378249"/>
                <a:gd name="connsiteY773" fmla="*/ 360741 h 700789"/>
                <a:gd name="connsiteX774" fmla="*/ 134021 w 378249"/>
                <a:gd name="connsiteY774" fmla="*/ 355966 h 700789"/>
                <a:gd name="connsiteX775" fmla="*/ 134021 w 378249"/>
                <a:gd name="connsiteY775" fmla="*/ 353678 h 700789"/>
                <a:gd name="connsiteX776" fmla="*/ 132228 w 378249"/>
                <a:gd name="connsiteY776" fmla="*/ 350096 h 700789"/>
                <a:gd name="connsiteX777" fmla="*/ 132228 w 378249"/>
                <a:gd name="connsiteY777" fmla="*/ 348306 h 700789"/>
                <a:gd name="connsiteX778" fmla="*/ 132228 w 378249"/>
                <a:gd name="connsiteY778" fmla="*/ 345719 h 700789"/>
                <a:gd name="connsiteX779" fmla="*/ 133324 w 378249"/>
                <a:gd name="connsiteY779" fmla="*/ 344823 h 700789"/>
                <a:gd name="connsiteX780" fmla="*/ 134918 w 378249"/>
                <a:gd name="connsiteY780" fmla="*/ 345420 h 700789"/>
                <a:gd name="connsiteX781" fmla="*/ 137110 w 378249"/>
                <a:gd name="connsiteY781" fmla="*/ 347112 h 700789"/>
                <a:gd name="connsiteX782" fmla="*/ 137808 w 378249"/>
                <a:gd name="connsiteY782" fmla="*/ 343829 h 700789"/>
                <a:gd name="connsiteX783" fmla="*/ 135715 w 378249"/>
                <a:gd name="connsiteY783" fmla="*/ 339352 h 700789"/>
                <a:gd name="connsiteX784" fmla="*/ 137110 w 378249"/>
                <a:gd name="connsiteY784" fmla="*/ 336367 h 700789"/>
                <a:gd name="connsiteX785" fmla="*/ 136513 w 378249"/>
                <a:gd name="connsiteY785" fmla="*/ 333681 h 700789"/>
                <a:gd name="connsiteX786" fmla="*/ 138605 w 378249"/>
                <a:gd name="connsiteY786" fmla="*/ 330497 h 700789"/>
                <a:gd name="connsiteX787" fmla="*/ 141694 w 378249"/>
                <a:gd name="connsiteY787" fmla="*/ 328408 h 700789"/>
                <a:gd name="connsiteX788" fmla="*/ 144086 w 378249"/>
                <a:gd name="connsiteY788" fmla="*/ 329204 h 700789"/>
                <a:gd name="connsiteX789" fmla="*/ 146676 w 378249"/>
                <a:gd name="connsiteY789" fmla="*/ 335074 h 700789"/>
                <a:gd name="connsiteX790" fmla="*/ 147274 w 378249"/>
                <a:gd name="connsiteY790" fmla="*/ 338058 h 700789"/>
                <a:gd name="connsiteX791" fmla="*/ 147274 w 378249"/>
                <a:gd name="connsiteY791" fmla="*/ 341739 h 700789"/>
                <a:gd name="connsiteX792" fmla="*/ 147274 w 378249"/>
                <a:gd name="connsiteY792" fmla="*/ 342535 h 700789"/>
                <a:gd name="connsiteX793" fmla="*/ 148370 w 378249"/>
                <a:gd name="connsiteY793" fmla="*/ 343928 h 700789"/>
                <a:gd name="connsiteX794" fmla="*/ 148370 w 378249"/>
                <a:gd name="connsiteY794" fmla="*/ 344624 h 700789"/>
                <a:gd name="connsiteX795" fmla="*/ 148370 w 378249"/>
                <a:gd name="connsiteY795" fmla="*/ 345520 h 700789"/>
                <a:gd name="connsiteX796" fmla="*/ 148370 w 378249"/>
                <a:gd name="connsiteY796" fmla="*/ 346515 h 700789"/>
                <a:gd name="connsiteX797" fmla="*/ 148370 w 378249"/>
                <a:gd name="connsiteY797" fmla="*/ 347211 h 700789"/>
                <a:gd name="connsiteX798" fmla="*/ 148370 w 378249"/>
                <a:gd name="connsiteY798" fmla="*/ 347211 h 700789"/>
                <a:gd name="connsiteX799" fmla="*/ 148370 w 378249"/>
                <a:gd name="connsiteY799" fmla="*/ 348902 h 700789"/>
                <a:gd name="connsiteX800" fmla="*/ 148370 w 378249"/>
                <a:gd name="connsiteY800" fmla="*/ 350494 h 700789"/>
                <a:gd name="connsiteX801" fmla="*/ 148370 w 378249"/>
                <a:gd name="connsiteY801" fmla="*/ 352186 h 700789"/>
                <a:gd name="connsiteX802" fmla="*/ 148868 w 378249"/>
                <a:gd name="connsiteY802" fmla="*/ 354275 h 700789"/>
                <a:gd name="connsiteX803" fmla="*/ 151758 w 378249"/>
                <a:gd name="connsiteY803" fmla="*/ 357657 h 700789"/>
                <a:gd name="connsiteX804" fmla="*/ 151758 w 378249"/>
                <a:gd name="connsiteY804" fmla="*/ 358553 h 700789"/>
                <a:gd name="connsiteX805" fmla="*/ 235160 w 378249"/>
                <a:gd name="connsiteY805" fmla="*/ 368203 h 700789"/>
                <a:gd name="connsiteX806" fmla="*/ 234064 w 378249"/>
                <a:gd name="connsiteY806" fmla="*/ 369397 h 700789"/>
                <a:gd name="connsiteX807" fmla="*/ 231374 w 378249"/>
                <a:gd name="connsiteY807" fmla="*/ 370392 h 700789"/>
                <a:gd name="connsiteX808" fmla="*/ 230477 w 378249"/>
                <a:gd name="connsiteY808" fmla="*/ 371685 h 700789"/>
                <a:gd name="connsiteX809" fmla="*/ 229480 w 378249"/>
                <a:gd name="connsiteY809" fmla="*/ 373476 h 700789"/>
                <a:gd name="connsiteX810" fmla="*/ 224897 w 378249"/>
                <a:gd name="connsiteY810" fmla="*/ 375565 h 700789"/>
                <a:gd name="connsiteX811" fmla="*/ 222406 w 378249"/>
                <a:gd name="connsiteY811" fmla="*/ 375565 h 700789"/>
                <a:gd name="connsiteX812" fmla="*/ 220313 w 378249"/>
                <a:gd name="connsiteY812" fmla="*/ 373277 h 700789"/>
                <a:gd name="connsiteX813" fmla="*/ 221110 w 378249"/>
                <a:gd name="connsiteY813" fmla="*/ 367706 h 700789"/>
                <a:gd name="connsiteX814" fmla="*/ 225993 w 378249"/>
                <a:gd name="connsiteY814" fmla="*/ 362731 h 700789"/>
                <a:gd name="connsiteX815" fmla="*/ 231971 w 378249"/>
                <a:gd name="connsiteY815" fmla="*/ 360045 h 700789"/>
                <a:gd name="connsiteX816" fmla="*/ 235957 w 378249"/>
                <a:gd name="connsiteY816" fmla="*/ 361338 h 700789"/>
                <a:gd name="connsiteX817" fmla="*/ 235957 w 378249"/>
                <a:gd name="connsiteY817" fmla="*/ 364422 h 700789"/>
                <a:gd name="connsiteX818" fmla="*/ 236754 w 378249"/>
                <a:gd name="connsiteY818" fmla="*/ 365019 h 700789"/>
                <a:gd name="connsiteX819" fmla="*/ 345665 w 378249"/>
                <a:gd name="connsiteY819" fmla="*/ 558224 h 700789"/>
                <a:gd name="connsiteX820" fmla="*/ 341680 w 378249"/>
                <a:gd name="connsiteY820" fmla="*/ 561109 h 700789"/>
                <a:gd name="connsiteX821" fmla="*/ 337196 w 378249"/>
                <a:gd name="connsiteY821" fmla="*/ 562601 h 700789"/>
                <a:gd name="connsiteX822" fmla="*/ 328825 w 378249"/>
                <a:gd name="connsiteY822" fmla="*/ 563298 h 700789"/>
                <a:gd name="connsiteX823" fmla="*/ 324840 w 378249"/>
                <a:gd name="connsiteY823" fmla="*/ 564293 h 700789"/>
                <a:gd name="connsiteX824" fmla="*/ 320854 w 378249"/>
                <a:gd name="connsiteY824" fmla="*/ 565785 h 700789"/>
                <a:gd name="connsiteX825" fmla="*/ 319160 w 378249"/>
                <a:gd name="connsiteY825" fmla="*/ 565288 h 700789"/>
                <a:gd name="connsiteX826" fmla="*/ 319160 w 378249"/>
                <a:gd name="connsiteY826" fmla="*/ 562005 h 700789"/>
                <a:gd name="connsiteX827" fmla="*/ 321651 w 378249"/>
                <a:gd name="connsiteY827" fmla="*/ 559517 h 700789"/>
                <a:gd name="connsiteX828" fmla="*/ 331616 w 378249"/>
                <a:gd name="connsiteY828" fmla="*/ 552752 h 700789"/>
                <a:gd name="connsiteX829" fmla="*/ 334804 w 378249"/>
                <a:gd name="connsiteY829" fmla="*/ 551359 h 700789"/>
                <a:gd name="connsiteX830" fmla="*/ 343972 w 378249"/>
                <a:gd name="connsiteY830" fmla="*/ 550364 h 700789"/>
                <a:gd name="connsiteX831" fmla="*/ 348156 w 378249"/>
                <a:gd name="connsiteY831" fmla="*/ 551160 h 700789"/>
                <a:gd name="connsiteX832" fmla="*/ 348156 w 378249"/>
                <a:gd name="connsiteY832" fmla="*/ 554841 h 700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</a:cxnLst>
              <a:rect l="l" t="t" r="r" b="b"/>
              <a:pathLst>
                <a:path w="378249" h="700789">
                  <a:moveTo>
                    <a:pt x="376256" y="554742"/>
                  </a:moveTo>
                  <a:lnTo>
                    <a:pt x="369281" y="544793"/>
                  </a:lnTo>
                  <a:lnTo>
                    <a:pt x="366491" y="539918"/>
                  </a:lnTo>
                  <a:lnTo>
                    <a:pt x="364697" y="537630"/>
                  </a:lnTo>
                  <a:lnTo>
                    <a:pt x="362704" y="536735"/>
                  </a:lnTo>
                  <a:lnTo>
                    <a:pt x="360114" y="536735"/>
                  </a:lnTo>
                  <a:lnTo>
                    <a:pt x="357423" y="535839"/>
                  </a:lnTo>
                  <a:lnTo>
                    <a:pt x="355331" y="534248"/>
                  </a:lnTo>
                  <a:lnTo>
                    <a:pt x="354434" y="531661"/>
                  </a:lnTo>
                  <a:lnTo>
                    <a:pt x="354434" y="529472"/>
                  </a:lnTo>
                  <a:lnTo>
                    <a:pt x="353537" y="529472"/>
                  </a:lnTo>
                  <a:lnTo>
                    <a:pt x="352441" y="529472"/>
                  </a:lnTo>
                  <a:lnTo>
                    <a:pt x="351345" y="528875"/>
                  </a:lnTo>
                  <a:lnTo>
                    <a:pt x="350448" y="527283"/>
                  </a:lnTo>
                  <a:lnTo>
                    <a:pt x="349253" y="523901"/>
                  </a:lnTo>
                  <a:lnTo>
                    <a:pt x="343374" y="513952"/>
                  </a:lnTo>
                  <a:lnTo>
                    <a:pt x="341680" y="512360"/>
                  </a:lnTo>
                  <a:lnTo>
                    <a:pt x="338093" y="511266"/>
                  </a:lnTo>
                  <a:lnTo>
                    <a:pt x="338790" y="508580"/>
                  </a:lnTo>
                  <a:lnTo>
                    <a:pt x="342975" y="502909"/>
                  </a:lnTo>
                  <a:lnTo>
                    <a:pt x="320156" y="477142"/>
                  </a:lnTo>
                  <a:lnTo>
                    <a:pt x="315274" y="468685"/>
                  </a:lnTo>
                  <a:lnTo>
                    <a:pt x="313281" y="466994"/>
                  </a:lnTo>
                  <a:lnTo>
                    <a:pt x="312285" y="465800"/>
                  </a:lnTo>
                  <a:lnTo>
                    <a:pt x="311786" y="463910"/>
                  </a:lnTo>
                  <a:lnTo>
                    <a:pt x="316271" y="465004"/>
                  </a:lnTo>
                  <a:lnTo>
                    <a:pt x="317366" y="464507"/>
                  </a:lnTo>
                  <a:lnTo>
                    <a:pt x="318463" y="463512"/>
                  </a:lnTo>
                  <a:lnTo>
                    <a:pt x="319858" y="462816"/>
                  </a:lnTo>
                  <a:lnTo>
                    <a:pt x="321452" y="462816"/>
                  </a:lnTo>
                  <a:lnTo>
                    <a:pt x="323843" y="462816"/>
                  </a:lnTo>
                  <a:lnTo>
                    <a:pt x="324840" y="462816"/>
                  </a:lnTo>
                  <a:lnTo>
                    <a:pt x="324840" y="462816"/>
                  </a:lnTo>
                  <a:lnTo>
                    <a:pt x="324840" y="462219"/>
                  </a:lnTo>
                  <a:lnTo>
                    <a:pt x="323744" y="460726"/>
                  </a:lnTo>
                  <a:lnTo>
                    <a:pt x="320057" y="454459"/>
                  </a:lnTo>
                  <a:lnTo>
                    <a:pt x="317964" y="451971"/>
                  </a:lnTo>
                  <a:lnTo>
                    <a:pt x="315772" y="450280"/>
                  </a:lnTo>
                  <a:lnTo>
                    <a:pt x="310989" y="447992"/>
                  </a:lnTo>
                  <a:lnTo>
                    <a:pt x="301025" y="447992"/>
                  </a:lnTo>
                  <a:lnTo>
                    <a:pt x="301025" y="447196"/>
                  </a:lnTo>
                  <a:lnTo>
                    <a:pt x="300427" y="445604"/>
                  </a:lnTo>
                  <a:lnTo>
                    <a:pt x="300427" y="444908"/>
                  </a:lnTo>
                  <a:lnTo>
                    <a:pt x="300427" y="443515"/>
                  </a:lnTo>
                  <a:lnTo>
                    <a:pt x="300427" y="442222"/>
                  </a:lnTo>
                  <a:lnTo>
                    <a:pt x="301423" y="440232"/>
                  </a:lnTo>
                  <a:lnTo>
                    <a:pt x="304512" y="435357"/>
                  </a:lnTo>
                  <a:lnTo>
                    <a:pt x="305907" y="432074"/>
                  </a:lnTo>
                  <a:lnTo>
                    <a:pt x="305907" y="430582"/>
                  </a:lnTo>
                  <a:lnTo>
                    <a:pt x="304712" y="429587"/>
                  </a:lnTo>
                  <a:lnTo>
                    <a:pt x="301822" y="421827"/>
                  </a:lnTo>
                  <a:lnTo>
                    <a:pt x="299829" y="419837"/>
                  </a:lnTo>
                  <a:lnTo>
                    <a:pt x="296142" y="417151"/>
                  </a:lnTo>
                  <a:lnTo>
                    <a:pt x="294349" y="415161"/>
                  </a:lnTo>
                  <a:lnTo>
                    <a:pt x="290462" y="412176"/>
                  </a:lnTo>
                  <a:lnTo>
                    <a:pt x="289665" y="410386"/>
                  </a:lnTo>
                  <a:lnTo>
                    <a:pt x="291360" y="407501"/>
                  </a:lnTo>
                  <a:lnTo>
                    <a:pt x="289466" y="405013"/>
                  </a:lnTo>
                  <a:lnTo>
                    <a:pt x="283886" y="399939"/>
                  </a:lnTo>
                  <a:lnTo>
                    <a:pt x="281793" y="396855"/>
                  </a:lnTo>
                  <a:lnTo>
                    <a:pt x="281793" y="395761"/>
                  </a:lnTo>
                  <a:lnTo>
                    <a:pt x="281793" y="394866"/>
                  </a:lnTo>
                  <a:lnTo>
                    <a:pt x="281793" y="391980"/>
                  </a:lnTo>
                  <a:lnTo>
                    <a:pt x="281793" y="390289"/>
                  </a:lnTo>
                  <a:lnTo>
                    <a:pt x="281196" y="389493"/>
                  </a:lnTo>
                  <a:lnTo>
                    <a:pt x="280299" y="388996"/>
                  </a:lnTo>
                  <a:lnTo>
                    <a:pt x="279402" y="387802"/>
                  </a:lnTo>
                  <a:lnTo>
                    <a:pt x="277609" y="384419"/>
                  </a:lnTo>
                  <a:lnTo>
                    <a:pt x="276413" y="382828"/>
                  </a:lnTo>
                  <a:lnTo>
                    <a:pt x="275117" y="381833"/>
                  </a:lnTo>
                  <a:lnTo>
                    <a:pt x="277908" y="380937"/>
                  </a:lnTo>
                  <a:lnTo>
                    <a:pt x="281893" y="380937"/>
                  </a:lnTo>
                  <a:lnTo>
                    <a:pt x="285281" y="379943"/>
                  </a:lnTo>
                  <a:lnTo>
                    <a:pt x="286377" y="375665"/>
                  </a:lnTo>
                  <a:lnTo>
                    <a:pt x="285680" y="374172"/>
                  </a:lnTo>
                  <a:lnTo>
                    <a:pt x="280498" y="367507"/>
                  </a:lnTo>
                  <a:lnTo>
                    <a:pt x="279402" y="366611"/>
                  </a:lnTo>
                  <a:lnTo>
                    <a:pt x="277708" y="366611"/>
                  </a:lnTo>
                  <a:lnTo>
                    <a:pt x="278705" y="364820"/>
                  </a:lnTo>
                  <a:lnTo>
                    <a:pt x="280498" y="363726"/>
                  </a:lnTo>
                  <a:lnTo>
                    <a:pt x="282192" y="362930"/>
                  </a:lnTo>
                  <a:lnTo>
                    <a:pt x="281893" y="362134"/>
                  </a:lnTo>
                  <a:lnTo>
                    <a:pt x="281893" y="360045"/>
                  </a:lnTo>
                  <a:lnTo>
                    <a:pt x="281196" y="358752"/>
                  </a:lnTo>
                  <a:lnTo>
                    <a:pt x="280000" y="357657"/>
                  </a:lnTo>
                  <a:lnTo>
                    <a:pt x="278605" y="356762"/>
                  </a:lnTo>
                  <a:lnTo>
                    <a:pt x="281594" y="353280"/>
                  </a:lnTo>
                  <a:lnTo>
                    <a:pt x="280299" y="350395"/>
                  </a:lnTo>
                  <a:lnTo>
                    <a:pt x="277509" y="348405"/>
                  </a:lnTo>
                  <a:lnTo>
                    <a:pt x="276014" y="348405"/>
                  </a:lnTo>
                  <a:lnTo>
                    <a:pt x="275516" y="349101"/>
                  </a:lnTo>
                  <a:lnTo>
                    <a:pt x="274221" y="349101"/>
                  </a:lnTo>
                  <a:lnTo>
                    <a:pt x="273025" y="348007"/>
                  </a:lnTo>
                  <a:lnTo>
                    <a:pt x="272527" y="346316"/>
                  </a:lnTo>
                  <a:lnTo>
                    <a:pt x="272527" y="339650"/>
                  </a:lnTo>
                  <a:lnTo>
                    <a:pt x="271231" y="335671"/>
                  </a:lnTo>
                  <a:lnTo>
                    <a:pt x="267943" y="329403"/>
                  </a:lnTo>
                  <a:lnTo>
                    <a:pt x="266448" y="322140"/>
                  </a:lnTo>
                  <a:lnTo>
                    <a:pt x="261964" y="316669"/>
                  </a:lnTo>
                  <a:lnTo>
                    <a:pt x="260470" y="313286"/>
                  </a:lnTo>
                  <a:lnTo>
                    <a:pt x="260470" y="312291"/>
                  </a:lnTo>
                  <a:lnTo>
                    <a:pt x="261167" y="309207"/>
                  </a:lnTo>
                  <a:lnTo>
                    <a:pt x="261167" y="307416"/>
                  </a:lnTo>
                  <a:lnTo>
                    <a:pt x="260470" y="305426"/>
                  </a:lnTo>
                  <a:lnTo>
                    <a:pt x="259374" y="303636"/>
                  </a:lnTo>
                  <a:lnTo>
                    <a:pt x="257281" y="300850"/>
                  </a:lnTo>
                  <a:lnTo>
                    <a:pt x="254790" y="298562"/>
                  </a:lnTo>
                  <a:lnTo>
                    <a:pt x="248911" y="295179"/>
                  </a:lnTo>
                  <a:lnTo>
                    <a:pt x="246320" y="293090"/>
                  </a:lnTo>
                  <a:lnTo>
                    <a:pt x="244925" y="291100"/>
                  </a:lnTo>
                  <a:lnTo>
                    <a:pt x="241737" y="285131"/>
                  </a:lnTo>
                  <a:lnTo>
                    <a:pt x="240142" y="279659"/>
                  </a:lnTo>
                  <a:lnTo>
                    <a:pt x="235459" y="275481"/>
                  </a:lnTo>
                  <a:lnTo>
                    <a:pt x="234164" y="272596"/>
                  </a:lnTo>
                  <a:lnTo>
                    <a:pt x="234164" y="271103"/>
                  </a:lnTo>
                  <a:lnTo>
                    <a:pt x="235160" y="269710"/>
                  </a:lnTo>
                  <a:lnTo>
                    <a:pt x="237352" y="267721"/>
                  </a:lnTo>
                  <a:lnTo>
                    <a:pt x="235459" y="265234"/>
                  </a:lnTo>
                  <a:lnTo>
                    <a:pt x="232370" y="262249"/>
                  </a:lnTo>
                  <a:lnTo>
                    <a:pt x="229979" y="259364"/>
                  </a:lnTo>
                  <a:lnTo>
                    <a:pt x="229979" y="256479"/>
                  </a:lnTo>
                  <a:lnTo>
                    <a:pt x="235559" y="255782"/>
                  </a:lnTo>
                  <a:lnTo>
                    <a:pt x="235559" y="253693"/>
                  </a:lnTo>
                  <a:lnTo>
                    <a:pt x="235559" y="252599"/>
                  </a:lnTo>
                  <a:lnTo>
                    <a:pt x="236057" y="251703"/>
                  </a:lnTo>
                  <a:lnTo>
                    <a:pt x="240441" y="250111"/>
                  </a:lnTo>
                  <a:lnTo>
                    <a:pt x="241836" y="249216"/>
                  </a:lnTo>
                  <a:lnTo>
                    <a:pt x="242833" y="247923"/>
                  </a:lnTo>
                  <a:lnTo>
                    <a:pt x="242833" y="246231"/>
                  </a:lnTo>
                  <a:lnTo>
                    <a:pt x="241338" y="244938"/>
                  </a:lnTo>
                  <a:lnTo>
                    <a:pt x="237352" y="243943"/>
                  </a:lnTo>
                  <a:lnTo>
                    <a:pt x="235459" y="243247"/>
                  </a:lnTo>
                  <a:lnTo>
                    <a:pt x="233068" y="240959"/>
                  </a:lnTo>
                  <a:lnTo>
                    <a:pt x="231473" y="237775"/>
                  </a:lnTo>
                  <a:lnTo>
                    <a:pt x="230975" y="234094"/>
                  </a:lnTo>
                  <a:lnTo>
                    <a:pt x="231971" y="230015"/>
                  </a:lnTo>
                  <a:lnTo>
                    <a:pt x="231174" y="230015"/>
                  </a:lnTo>
                  <a:lnTo>
                    <a:pt x="231174" y="228125"/>
                  </a:lnTo>
                  <a:lnTo>
                    <a:pt x="228982" y="226533"/>
                  </a:lnTo>
                  <a:lnTo>
                    <a:pt x="228384" y="224643"/>
                  </a:lnTo>
                  <a:lnTo>
                    <a:pt x="228384" y="223150"/>
                  </a:lnTo>
                  <a:lnTo>
                    <a:pt x="230577" y="220365"/>
                  </a:lnTo>
                  <a:lnTo>
                    <a:pt x="231473" y="219071"/>
                  </a:lnTo>
                  <a:lnTo>
                    <a:pt x="225794" y="213997"/>
                  </a:lnTo>
                  <a:lnTo>
                    <a:pt x="220712" y="207630"/>
                  </a:lnTo>
                  <a:lnTo>
                    <a:pt x="218918" y="206038"/>
                  </a:lnTo>
                  <a:lnTo>
                    <a:pt x="215132" y="204248"/>
                  </a:lnTo>
                  <a:lnTo>
                    <a:pt x="214135" y="202954"/>
                  </a:lnTo>
                  <a:lnTo>
                    <a:pt x="210847" y="198079"/>
                  </a:lnTo>
                  <a:lnTo>
                    <a:pt x="210249" y="196886"/>
                  </a:lnTo>
                  <a:lnTo>
                    <a:pt x="210249" y="194199"/>
                  </a:lnTo>
                  <a:lnTo>
                    <a:pt x="210249" y="192309"/>
                  </a:lnTo>
                  <a:lnTo>
                    <a:pt x="210249" y="190419"/>
                  </a:lnTo>
                  <a:lnTo>
                    <a:pt x="210249" y="187633"/>
                  </a:lnTo>
                  <a:lnTo>
                    <a:pt x="209053" y="185047"/>
                  </a:lnTo>
                  <a:lnTo>
                    <a:pt x="207459" y="183057"/>
                  </a:lnTo>
                  <a:lnTo>
                    <a:pt x="204171" y="180470"/>
                  </a:lnTo>
                  <a:lnTo>
                    <a:pt x="200285" y="178580"/>
                  </a:lnTo>
                  <a:lnTo>
                    <a:pt x="198890" y="177088"/>
                  </a:lnTo>
                  <a:lnTo>
                    <a:pt x="198092" y="174401"/>
                  </a:lnTo>
                  <a:lnTo>
                    <a:pt x="198092" y="171914"/>
                  </a:lnTo>
                  <a:lnTo>
                    <a:pt x="198989" y="169825"/>
                  </a:lnTo>
                  <a:lnTo>
                    <a:pt x="198989" y="167835"/>
                  </a:lnTo>
                  <a:lnTo>
                    <a:pt x="198192" y="166045"/>
                  </a:lnTo>
                  <a:lnTo>
                    <a:pt x="198989" y="164851"/>
                  </a:lnTo>
                  <a:lnTo>
                    <a:pt x="196399" y="162761"/>
                  </a:lnTo>
                  <a:lnTo>
                    <a:pt x="195103" y="160672"/>
                  </a:lnTo>
                  <a:lnTo>
                    <a:pt x="193908" y="158086"/>
                  </a:lnTo>
                  <a:lnTo>
                    <a:pt x="192014" y="155200"/>
                  </a:lnTo>
                  <a:lnTo>
                    <a:pt x="189324" y="152912"/>
                  </a:lnTo>
                  <a:lnTo>
                    <a:pt x="185836" y="150823"/>
                  </a:lnTo>
                  <a:lnTo>
                    <a:pt x="182947" y="148236"/>
                  </a:lnTo>
                  <a:lnTo>
                    <a:pt x="181651" y="144854"/>
                  </a:lnTo>
                  <a:lnTo>
                    <a:pt x="181053" y="143958"/>
                  </a:lnTo>
                  <a:lnTo>
                    <a:pt x="177765" y="141272"/>
                  </a:lnTo>
                  <a:lnTo>
                    <a:pt x="177267" y="139382"/>
                  </a:lnTo>
                  <a:lnTo>
                    <a:pt x="178164" y="137890"/>
                  </a:lnTo>
                  <a:lnTo>
                    <a:pt x="179359" y="136497"/>
                  </a:lnTo>
                  <a:lnTo>
                    <a:pt x="179957" y="135104"/>
                  </a:lnTo>
                  <a:lnTo>
                    <a:pt x="180854" y="127841"/>
                  </a:lnTo>
                  <a:lnTo>
                    <a:pt x="180854" y="126647"/>
                  </a:lnTo>
                  <a:lnTo>
                    <a:pt x="180057" y="125852"/>
                  </a:lnTo>
                  <a:lnTo>
                    <a:pt x="180057" y="124658"/>
                  </a:lnTo>
                  <a:lnTo>
                    <a:pt x="180854" y="122370"/>
                  </a:lnTo>
                  <a:lnTo>
                    <a:pt x="178562" y="118788"/>
                  </a:lnTo>
                  <a:lnTo>
                    <a:pt x="172384" y="112222"/>
                  </a:lnTo>
                  <a:lnTo>
                    <a:pt x="170292" y="107844"/>
                  </a:lnTo>
                  <a:lnTo>
                    <a:pt x="170292" y="106452"/>
                  </a:lnTo>
                  <a:lnTo>
                    <a:pt x="170292" y="103666"/>
                  </a:lnTo>
                  <a:lnTo>
                    <a:pt x="169794" y="102373"/>
                  </a:lnTo>
                  <a:lnTo>
                    <a:pt x="168698" y="101378"/>
                  </a:lnTo>
                  <a:lnTo>
                    <a:pt x="165708" y="100781"/>
                  </a:lnTo>
                  <a:lnTo>
                    <a:pt x="164612" y="99985"/>
                  </a:lnTo>
                  <a:lnTo>
                    <a:pt x="163117" y="97299"/>
                  </a:lnTo>
                  <a:lnTo>
                    <a:pt x="163117" y="95309"/>
                  </a:lnTo>
                  <a:lnTo>
                    <a:pt x="164014" y="93319"/>
                  </a:lnTo>
                  <a:lnTo>
                    <a:pt x="166306" y="90832"/>
                  </a:lnTo>
                  <a:lnTo>
                    <a:pt x="166306" y="89937"/>
                  </a:lnTo>
                  <a:lnTo>
                    <a:pt x="166306" y="89240"/>
                  </a:lnTo>
                  <a:lnTo>
                    <a:pt x="165808" y="89240"/>
                  </a:lnTo>
                  <a:lnTo>
                    <a:pt x="164612" y="88345"/>
                  </a:lnTo>
                  <a:lnTo>
                    <a:pt x="163117" y="86355"/>
                  </a:lnTo>
                  <a:lnTo>
                    <a:pt x="161623" y="83370"/>
                  </a:lnTo>
                  <a:lnTo>
                    <a:pt x="160925" y="79689"/>
                  </a:lnTo>
                  <a:lnTo>
                    <a:pt x="162420" y="76108"/>
                  </a:lnTo>
                  <a:lnTo>
                    <a:pt x="165808" y="75511"/>
                  </a:lnTo>
                  <a:lnTo>
                    <a:pt x="172285" y="76605"/>
                  </a:lnTo>
                  <a:lnTo>
                    <a:pt x="173480" y="76605"/>
                  </a:lnTo>
                  <a:lnTo>
                    <a:pt x="176270" y="75014"/>
                  </a:lnTo>
                  <a:lnTo>
                    <a:pt x="177865" y="75014"/>
                  </a:lnTo>
                  <a:lnTo>
                    <a:pt x="184840" y="75014"/>
                  </a:lnTo>
                  <a:lnTo>
                    <a:pt x="187132" y="73919"/>
                  </a:lnTo>
                  <a:lnTo>
                    <a:pt x="189623" y="71432"/>
                  </a:lnTo>
                  <a:lnTo>
                    <a:pt x="191715" y="68248"/>
                  </a:lnTo>
                  <a:lnTo>
                    <a:pt x="193210" y="65264"/>
                  </a:lnTo>
                  <a:lnTo>
                    <a:pt x="193210" y="63672"/>
                  </a:lnTo>
                  <a:lnTo>
                    <a:pt x="192413" y="58996"/>
                  </a:lnTo>
                  <a:lnTo>
                    <a:pt x="192413" y="58001"/>
                  </a:lnTo>
                  <a:lnTo>
                    <a:pt x="190918" y="58001"/>
                  </a:lnTo>
                  <a:lnTo>
                    <a:pt x="189424" y="58797"/>
                  </a:lnTo>
                  <a:lnTo>
                    <a:pt x="187929" y="59991"/>
                  </a:lnTo>
                  <a:lnTo>
                    <a:pt x="186733" y="61185"/>
                  </a:lnTo>
                  <a:lnTo>
                    <a:pt x="182548" y="67552"/>
                  </a:lnTo>
                  <a:lnTo>
                    <a:pt x="179858" y="69442"/>
                  </a:lnTo>
                  <a:lnTo>
                    <a:pt x="173879" y="66259"/>
                  </a:lnTo>
                  <a:lnTo>
                    <a:pt x="170491" y="66259"/>
                  </a:lnTo>
                  <a:lnTo>
                    <a:pt x="167103" y="67751"/>
                  </a:lnTo>
                  <a:lnTo>
                    <a:pt x="161922" y="72526"/>
                  </a:lnTo>
                  <a:lnTo>
                    <a:pt x="158434" y="73919"/>
                  </a:lnTo>
                  <a:lnTo>
                    <a:pt x="155046" y="75909"/>
                  </a:lnTo>
                  <a:lnTo>
                    <a:pt x="152854" y="79490"/>
                  </a:lnTo>
                  <a:lnTo>
                    <a:pt x="154448" y="81580"/>
                  </a:lnTo>
                  <a:lnTo>
                    <a:pt x="154448" y="83768"/>
                  </a:lnTo>
                  <a:lnTo>
                    <a:pt x="152854" y="85659"/>
                  </a:lnTo>
                  <a:lnTo>
                    <a:pt x="150662" y="86853"/>
                  </a:lnTo>
                  <a:lnTo>
                    <a:pt x="148171" y="86853"/>
                  </a:lnTo>
                  <a:lnTo>
                    <a:pt x="146776" y="86256"/>
                  </a:lnTo>
                  <a:lnTo>
                    <a:pt x="144484" y="82973"/>
                  </a:lnTo>
                  <a:lnTo>
                    <a:pt x="142690" y="80883"/>
                  </a:lnTo>
                  <a:lnTo>
                    <a:pt x="140996" y="79391"/>
                  </a:lnTo>
                  <a:lnTo>
                    <a:pt x="132726" y="74516"/>
                  </a:lnTo>
                  <a:lnTo>
                    <a:pt x="130932" y="72825"/>
                  </a:lnTo>
                  <a:lnTo>
                    <a:pt x="129737" y="70736"/>
                  </a:lnTo>
                  <a:lnTo>
                    <a:pt x="135018" y="66060"/>
                  </a:lnTo>
                  <a:lnTo>
                    <a:pt x="138605" y="63672"/>
                  </a:lnTo>
                  <a:lnTo>
                    <a:pt x="140199" y="63672"/>
                  </a:lnTo>
                  <a:lnTo>
                    <a:pt x="139701" y="61981"/>
                  </a:lnTo>
                  <a:lnTo>
                    <a:pt x="137210" y="59394"/>
                  </a:lnTo>
                  <a:lnTo>
                    <a:pt x="136712" y="57504"/>
                  </a:lnTo>
                  <a:lnTo>
                    <a:pt x="136712" y="55713"/>
                  </a:lnTo>
                  <a:lnTo>
                    <a:pt x="138306" y="52828"/>
                  </a:lnTo>
                  <a:lnTo>
                    <a:pt x="138904" y="50938"/>
                  </a:lnTo>
                  <a:lnTo>
                    <a:pt x="138904" y="43178"/>
                  </a:lnTo>
                  <a:lnTo>
                    <a:pt x="139801" y="39994"/>
                  </a:lnTo>
                  <a:lnTo>
                    <a:pt x="142591" y="38701"/>
                  </a:lnTo>
                  <a:lnTo>
                    <a:pt x="144185" y="38203"/>
                  </a:lnTo>
                  <a:lnTo>
                    <a:pt x="147175" y="36611"/>
                  </a:lnTo>
                  <a:lnTo>
                    <a:pt x="148669" y="36611"/>
                  </a:lnTo>
                  <a:lnTo>
                    <a:pt x="155246" y="36611"/>
                  </a:lnTo>
                  <a:lnTo>
                    <a:pt x="158733" y="35517"/>
                  </a:lnTo>
                  <a:lnTo>
                    <a:pt x="164114" y="31339"/>
                  </a:lnTo>
                  <a:lnTo>
                    <a:pt x="166904" y="30443"/>
                  </a:lnTo>
                  <a:lnTo>
                    <a:pt x="170192" y="30443"/>
                  </a:lnTo>
                  <a:lnTo>
                    <a:pt x="173181" y="29747"/>
                  </a:lnTo>
                  <a:lnTo>
                    <a:pt x="175872" y="28254"/>
                  </a:lnTo>
                  <a:lnTo>
                    <a:pt x="181253" y="23181"/>
                  </a:lnTo>
                  <a:lnTo>
                    <a:pt x="183744" y="19997"/>
                  </a:lnTo>
                  <a:lnTo>
                    <a:pt x="184342" y="17211"/>
                  </a:lnTo>
                  <a:lnTo>
                    <a:pt x="180854" y="16117"/>
                  </a:lnTo>
                  <a:lnTo>
                    <a:pt x="166306" y="18803"/>
                  </a:lnTo>
                  <a:lnTo>
                    <a:pt x="163815" y="18803"/>
                  </a:lnTo>
                  <a:lnTo>
                    <a:pt x="161324" y="18007"/>
                  </a:lnTo>
                  <a:lnTo>
                    <a:pt x="159630" y="16017"/>
                  </a:lnTo>
                  <a:lnTo>
                    <a:pt x="165708" y="14028"/>
                  </a:lnTo>
                  <a:lnTo>
                    <a:pt x="168698" y="12436"/>
                  </a:lnTo>
                  <a:lnTo>
                    <a:pt x="169993" y="9252"/>
                  </a:lnTo>
                  <a:lnTo>
                    <a:pt x="168498" y="7263"/>
                  </a:lnTo>
                  <a:lnTo>
                    <a:pt x="161722" y="1492"/>
                  </a:lnTo>
                  <a:lnTo>
                    <a:pt x="159630" y="0"/>
                  </a:lnTo>
                  <a:lnTo>
                    <a:pt x="156441" y="0"/>
                  </a:lnTo>
                  <a:lnTo>
                    <a:pt x="154947" y="1094"/>
                  </a:lnTo>
                  <a:lnTo>
                    <a:pt x="154349" y="3582"/>
                  </a:lnTo>
                  <a:lnTo>
                    <a:pt x="154349" y="7064"/>
                  </a:lnTo>
                  <a:lnTo>
                    <a:pt x="154349" y="10546"/>
                  </a:lnTo>
                  <a:lnTo>
                    <a:pt x="152854" y="12535"/>
                  </a:lnTo>
                  <a:lnTo>
                    <a:pt x="147872" y="16216"/>
                  </a:lnTo>
                  <a:lnTo>
                    <a:pt x="145680" y="18405"/>
                  </a:lnTo>
                  <a:lnTo>
                    <a:pt x="139601" y="28354"/>
                  </a:lnTo>
                  <a:lnTo>
                    <a:pt x="139601" y="29647"/>
                  </a:lnTo>
                  <a:lnTo>
                    <a:pt x="140100" y="31040"/>
                  </a:lnTo>
                  <a:lnTo>
                    <a:pt x="140100" y="32632"/>
                  </a:lnTo>
                  <a:lnTo>
                    <a:pt x="139402" y="34423"/>
                  </a:lnTo>
                  <a:lnTo>
                    <a:pt x="134619" y="39994"/>
                  </a:lnTo>
                  <a:lnTo>
                    <a:pt x="132925" y="42780"/>
                  </a:lnTo>
                  <a:lnTo>
                    <a:pt x="131530" y="46162"/>
                  </a:lnTo>
                  <a:lnTo>
                    <a:pt x="130634" y="49943"/>
                  </a:lnTo>
                  <a:lnTo>
                    <a:pt x="130135" y="56011"/>
                  </a:lnTo>
                  <a:lnTo>
                    <a:pt x="129537" y="57603"/>
                  </a:lnTo>
                  <a:lnTo>
                    <a:pt x="127445" y="61085"/>
                  </a:lnTo>
                  <a:lnTo>
                    <a:pt x="126548" y="62080"/>
                  </a:lnTo>
                  <a:lnTo>
                    <a:pt x="125651" y="62876"/>
                  </a:lnTo>
                  <a:lnTo>
                    <a:pt x="123658" y="62876"/>
                  </a:lnTo>
                  <a:lnTo>
                    <a:pt x="123658" y="63473"/>
                  </a:lnTo>
                  <a:lnTo>
                    <a:pt x="123658" y="64169"/>
                  </a:lnTo>
                  <a:lnTo>
                    <a:pt x="123658" y="65164"/>
                  </a:lnTo>
                  <a:lnTo>
                    <a:pt x="120370" y="71531"/>
                  </a:lnTo>
                  <a:lnTo>
                    <a:pt x="119075" y="75511"/>
                  </a:lnTo>
                  <a:lnTo>
                    <a:pt x="119872" y="77302"/>
                  </a:lnTo>
                  <a:lnTo>
                    <a:pt x="122961" y="78297"/>
                  </a:lnTo>
                  <a:lnTo>
                    <a:pt x="124057" y="80883"/>
                  </a:lnTo>
                  <a:lnTo>
                    <a:pt x="124655" y="88245"/>
                  </a:lnTo>
                  <a:lnTo>
                    <a:pt x="128840" y="94314"/>
                  </a:lnTo>
                  <a:lnTo>
                    <a:pt x="142690" y="99388"/>
                  </a:lnTo>
                  <a:lnTo>
                    <a:pt x="148071" y="102870"/>
                  </a:lnTo>
                  <a:lnTo>
                    <a:pt x="155445" y="113615"/>
                  </a:lnTo>
                  <a:lnTo>
                    <a:pt x="158833" y="115107"/>
                  </a:lnTo>
                  <a:lnTo>
                    <a:pt x="171587" y="118589"/>
                  </a:lnTo>
                  <a:lnTo>
                    <a:pt x="173779" y="120877"/>
                  </a:lnTo>
                  <a:lnTo>
                    <a:pt x="174876" y="123762"/>
                  </a:lnTo>
                  <a:lnTo>
                    <a:pt x="173979" y="126150"/>
                  </a:lnTo>
                  <a:lnTo>
                    <a:pt x="164014" y="128637"/>
                  </a:lnTo>
                  <a:lnTo>
                    <a:pt x="160826" y="128637"/>
                  </a:lnTo>
                  <a:lnTo>
                    <a:pt x="157737" y="127045"/>
                  </a:lnTo>
                  <a:lnTo>
                    <a:pt x="156342" y="124956"/>
                  </a:lnTo>
                  <a:lnTo>
                    <a:pt x="154947" y="120081"/>
                  </a:lnTo>
                  <a:lnTo>
                    <a:pt x="153850" y="117992"/>
                  </a:lnTo>
                  <a:lnTo>
                    <a:pt x="151060" y="115505"/>
                  </a:lnTo>
                  <a:lnTo>
                    <a:pt x="145082" y="113316"/>
                  </a:lnTo>
                  <a:lnTo>
                    <a:pt x="124456" y="102373"/>
                  </a:lnTo>
                  <a:lnTo>
                    <a:pt x="111801" y="99288"/>
                  </a:lnTo>
                  <a:lnTo>
                    <a:pt x="76626" y="100482"/>
                  </a:lnTo>
                  <a:lnTo>
                    <a:pt x="71744" y="102771"/>
                  </a:lnTo>
                  <a:lnTo>
                    <a:pt x="70150" y="96801"/>
                  </a:lnTo>
                  <a:lnTo>
                    <a:pt x="65267" y="93518"/>
                  </a:lnTo>
                  <a:lnTo>
                    <a:pt x="59189" y="92125"/>
                  </a:lnTo>
                  <a:lnTo>
                    <a:pt x="53907" y="92125"/>
                  </a:lnTo>
                  <a:lnTo>
                    <a:pt x="49025" y="93021"/>
                  </a:lnTo>
                  <a:lnTo>
                    <a:pt x="42448" y="95607"/>
                  </a:lnTo>
                  <a:lnTo>
                    <a:pt x="37665" y="99686"/>
                  </a:lnTo>
                  <a:lnTo>
                    <a:pt x="38562" y="107247"/>
                  </a:lnTo>
                  <a:lnTo>
                    <a:pt x="36470" y="109337"/>
                  </a:lnTo>
                  <a:lnTo>
                    <a:pt x="32185" y="112122"/>
                  </a:lnTo>
                  <a:lnTo>
                    <a:pt x="31488" y="114808"/>
                  </a:lnTo>
                  <a:lnTo>
                    <a:pt x="31488" y="117992"/>
                  </a:lnTo>
                  <a:lnTo>
                    <a:pt x="32384" y="120778"/>
                  </a:lnTo>
                  <a:lnTo>
                    <a:pt x="33182" y="122469"/>
                  </a:lnTo>
                  <a:lnTo>
                    <a:pt x="34078" y="124061"/>
                  </a:lnTo>
                  <a:lnTo>
                    <a:pt x="34875" y="124757"/>
                  </a:lnTo>
                  <a:lnTo>
                    <a:pt x="35473" y="125553"/>
                  </a:lnTo>
                  <a:lnTo>
                    <a:pt x="35473" y="127344"/>
                  </a:lnTo>
                  <a:lnTo>
                    <a:pt x="35473" y="128836"/>
                  </a:lnTo>
                  <a:lnTo>
                    <a:pt x="34676" y="130826"/>
                  </a:lnTo>
                  <a:lnTo>
                    <a:pt x="33580" y="132716"/>
                  </a:lnTo>
                  <a:lnTo>
                    <a:pt x="31089" y="134805"/>
                  </a:lnTo>
                  <a:lnTo>
                    <a:pt x="26705" y="141670"/>
                  </a:lnTo>
                  <a:lnTo>
                    <a:pt x="25409" y="144356"/>
                  </a:lnTo>
                  <a:lnTo>
                    <a:pt x="27502" y="146445"/>
                  </a:lnTo>
                  <a:lnTo>
                    <a:pt x="28897" y="147540"/>
                  </a:lnTo>
                  <a:lnTo>
                    <a:pt x="28897" y="148734"/>
                  </a:lnTo>
                  <a:lnTo>
                    <a:pt x="25111" y="154405"/>
                  </a:lnTo>
                  <a:lnTo>
                    <a:pt x="24612" y="156394"/>
                  </a:lnTo>
                  <a:lnTo>
                    <a:pt x="24612" y="159379"/>
                  </a:lnTo>
                  <a:lnTo>
                    <a:pt x="22320" y="162761"/>
                  </a:lnTo>
                  <a:lnTo>
                    <a:pt x="21423" y="165050"/>
                  </a:lnTo>
                  <a:lnTo>
                    <a:pt x="22420" y="166144"/>
                  </a:lnTo>
                  <a:lnTo>
                    <a:pt x="23416" y="167338"/>
                  </a:lnTo>
                  <a:lnTo>
                    <a:pt x="22918" y="170223"/>
                  </a:lnTo>
                  <a:lnTo>
                    <a:pt x="21723" y="173208"/>
                  </a:lnTo>
                  <a:lnTo>
                    <a:pt x="20726" y="175098"/>
                  </a:lnTo>
                  <a:lnTo>
                    <a:pt x="19331" y="176391"/>
                  </a:lnTo>
                  <a:lnTo>
                    <a:pt x="14249" y="178182"/>
                  </a:lnTo>
                  <a:lnTo>
                    <a:pt x="10961" y="180868"/>
                  </a:lnTo>
                  <a:lnTo>
                    <a:pt x="9367" y="182559"/>
                  </a:lnTo>
                  <a:lnTo>
                    <a:pt x="8071" y="184251"/>
                  </a:lnTo>
                  <a:lnTo>
                    <a:pt x="7374" y="186340"/>
                  </a:lnTo>
                  <a:lnTo>
                    <a:pt x="5481" y="193901"/>
                  </a:lnTo>
                  <a:lnTo>
                    <a:pt x="5481" y="194796"/>
                  </a:lnTo>
                  <a:lnTo>
                    <a:pt x="5481" y="195393"/>
                  </a:lnTo>
                  <a:lnTo>
                    <a:pt x="5481" y="196189"/>
                  </a:lnTo>
                  <a:lnTo>
                    <a:pt x="5481" y="197582"/>
                  </a:lnTo>
                  <a:lnTo>
                    <a:pt x="5481" y="198577"/>
                  </a:lnTo>
                  <a:lnTo>
                    <a:pt x="3787" y="201263"/>
                  </a:lnTo>
                  <a:lnTo>
                    <a:pt x="3288" y="202457"/>
                  </a:lnTo>
                  <a:lnTo>
                    <a:pt x="3986" y="202457"/>
                  </a:lnTo>
                  <a:lnTo>
                    <a:pt x="5182" y="203153"/>
                  </a:lnTo>
                  <a:lnTo>
                    <a:pt x="5879" y="203153"/>
                  </a:lnTo>
                  <a:lnTo>
                    <a:pt x="1694" y="209521"/>
                  </a:lnTo>
                  <a:lnTo>
                    <a:pt x="0" y="213699"/>
                  </a:lnTo>
                  <a:lnTo>
                    <a:pt x="0" y="216883"/>
                  </a:lnTo>
                  <a:lnTo>
                    <a:pt x="1594" y="216883"/>
                  </a:lnTo>
                  <a:lnTo>
                    <a:pt x="3787" y="216385"/>
                  </a:lnTo>
                  <a:lnTo>
                    <a:pt x="5780" y="216385"/>
                  </a:lnTo>
                  <a:lnTo>
                    <a:pt x="7473" y="219370"/>
                  </a:lnTo>
                  <a:lnTo>
                    <a:pt x="10961" y="220166"/>
                  </a:lnTo>
                  <a:lnTo>
                    <a:pt x="11858" y="221459"/>
                  </a:lnTo>
                  <a:lnTo>
                    <a:pt x="11858" y="221459"/>
                  </a:lnTo>
                  <a:lnTo>
                    <a:pt x="13651" y="224842"/>
                  </a:lnTo>
                  <a:lnTo>
                    <a:pt x="13651" y="225538"/>
                  </a:lnTo>
                  <a:lnTo>
                    <a:pt x="15445" y="226533"/>
                  </a:lnTo>
                  <a:lnTo>
                    <a:pt x="18932" y="227926"/>
                  </a:lnTo>
                  <a:lnTo>
                    <a:pt x="20626" y="229020"/>
                  </a:lnTo>
                  <a:lnTo>
                    <a:pt x="22320" y="231706"/>
                  </a:lnTo>
                  <a:lnTo>
                    <a:pt x="24114" y="238272"/>
                  </a:lnTo>
                  <a:lnTo>
                    <a:pt x="25808" y="241058"/>
                  </a:lnTo>
                  <a:lnTo>
                    <a:pt x="29694" y="242749"/>
                  </a:lnTo>
                  <a:lnTo>
                    <a:pt x="40655" y="237576"/>
                  </a:lnTo>
                  <a:lnTo>
                    <a:pt x="45438" y="239267"/>
                  </a:lnTo>
                  <a:lnTo>
                    <a:pt x="47032" y="241158"/>
                  </a:lnTo>
                  <a:lnTo>
                    <a:pt x="49324" y="243147"/>
                  </a:lnTo>
                  <a:lnTo>
                    <a:pt x="51915" y="244142"/>
                  </a:lnTo>
                  <a:lnTo>
                    <a:pt x="54107" y="242948"/>
                  </a:lnTo>
                  <a:lnTo>
                    <a:pt x="55203" y="240760"/>
                  </a:lnTo>
                  <a:lnTo>
                    <a:pt x="56000" y="238073"/>
                  </a:lnTo>
                  <a:lnTo>
                    <a:pt x="57096" y="235586"/>
                  </a:lnTo>
                  <a:lnTo>
                    <a:pt x="58890" y="233895"/>
                  </a:lnTo>
                  <a:lnTo>
                    <a:pt x="64370" y="236283"/>
                  </a:lnTo>
                  <a:lnTo>
                    <a:pt x="69651" y="237278"/>
                  </a:lnTo>
                  <a:lnTo>
                    <a:pt x="81011" y="237278"/>
                  </a:lnTo>
                  <a:lnTo>
                    <a:pt x="83701" y="237278"/>
                  </a:lnTo>
                  <a:lnTo>
                    <a:pt x="88883" y="239068"/>
                  </a:lnTo>
                  <a:lnTo>
                    <a:pt x="102335" y="239068"/>
                  </a:lnTo>
                  <a:lnTo>
                    <a:pt x="102335" y="239964"/>
                  </a:lnTo>
                  <a:lnTo>
                    <a:pt x="102335" y="240660"/>
                  </a:lnTo>
                  <a:lnTo>
                    <a:pt x="102335" y="241257"/>
                  </a:lnTo>
                  <a:lnTo>
                    <a:pt x="102335" y="241754"/>
                  </a:lnTo>
                  <a:lnTo>
                    <a:pt x="97651" y="245535"/>
                  </a:lnTo>
                  <a:lnTo>
                    <a:pt x="92669" y="248022"/>
                  </a:lnTo>
                  <a:lnTo>
                    <a:pt x="75331" y="252002"/>
                  </a:lnTo>
                  <a:lnTo>
                    <a:pt x="68854" y="252002"/>
                  </a:lnTo>
                  <a:lnTo>
                    <a:pt x="65964" y="252599"/>
                  </a:lnTo>
                  <a:lnTo>
                    <a:pt x="51018" y="259065"/>
                  </a:lnTo>
                  <a:lnTo>
                    <a:pt x="45936" y="262249"/>
                  </a:lnTo>
                  <a:lnTo>
                    <a:pt x="43744" y="267621"/>
                  </a:lnTo>
                  <a:lnTo>
                    <a:pt x="45836" y="276177"/>
                  </a:lnTo>
                  <a:lnTo>
                    <a:pt x="47232" y="278266"/>
                  </a:lnTo>
                  <a:lnTo>
                    <a:pt x="52214" y="283539"/>
                  </a:lnTo>
                  <a:lnTo>
                    <a:pt x="55303" y="285429"/>
                  </a:lnTo>
                  <a:lnTo>
                    <a:pt x="55303" y="287320"/>
                  </a:lnTo>
                  <a:lnTo>
                    <a:pt x="54505" y="289409"/>
                  </a:lnTo>
                  <a:lnTo>
                    <a:pt x="54505" y="291100"/>
                  </a:lnTo>
                  <a:lnTo>
                    <a:pt x="54505" y="293090"/>
                  </a:lnTo>
                  <a:lnTo>
                    <a:pt x="55502" y="295378"/>
                  </a:lnTo>
                  <a:lnTo>
                    <a:pt x="57594" y="298960"/>
                  </a:lnTo>
                  <a:lnTo>
                    <a:pt x="59288" y="301049"/>
                  </a:lnTo>
                  <a:lnTo>
                    <a:pt x="64470" y="304233"/>
                  </a:lnTo>
                  <a:lnTo>
                    <a:pt x="65765" y="305426"/>
                  </a:lnTo>
                  <a:lnTo>
                    <a:pt x="67061" y="308312"/>
                  </a:lnTo>
                  <a:lnTo>
                    <a:pt x="67957" y="309704"/>
                  </a:lnTo>
                  <a:lnTo>
                    <a:pt x="69651" y="310699"/>
                  </a:lnTo>
                  <a:lnTo>
                    <a:pt x="72641" y="312391"/>
                  </a:lnTo>
                  <a:lnTo>
                    <a:pt x="74135" y="313485"/>
                  </a:lnTo>
                  <a:lnTo>
                    <a:pt x="78121" y="320151"/>
                  </a:lnTo>
                  <a:lnTo>
                    <a:pt x="80812" y="323533"/>
                  </a:lnTo>
                  <a:lnTo>
                    <a:pt x="90776" y="330895"/>
                  </a:lnTo>
                  <a:lnTo>
                    <a:pt x="93366" y="334079"/>
                  </a:lnTo>
                  <a:lnTo>
                    <a:pt x="94662" y="335372"/>
                  </a:lnTo>
                  <a:lnTo>
                    <a:pt x="98149" y="336466"/>
                  </a:lnTo>
                  <a:lnTo>
                    <a:pt x="98747" y="338158"/>
                  </a:lnTo>
                  <a:lnTo>
                    <a:pt x="98747" y="340446"/>
                  </a:lnTo>
                  <a:lnTo>
                    <a:pt x="97950" y="342834"/>
                  </a:lnTo>
                  <a:lnTo>
                    <a:pt x="99345" y="343829"/>
                  </a:lnTo>
                  <a:lnTo>
                    <a:pt x="99345" y="345122"/>
                  </a:lnTo>
                  <a:lnTo>
                    <a:pt x="98847" y="346813"/>
                  </a:lnTo>
                  <a:lnTo>
                    <a:pt x="98847" y="348902"/>
                  </a:lnTo>
                  <a:lnTo>
                    <a:pt x="99445" y="350793"/>
                  </a:lnTo>
                  <a:lnTo>
                    <a:pt x="102634" y="358055"/>
                  </a:lnTo>
                  <a:lnTo>
                    <a:pt x="105224" y="360741"/>
                  </a:lnTo>
                  <a:lnTo>
                    <a:pt x="116783" y="368402"/>
                  </a:lnTo>
                  <a:lnTo>
                    <a:pt x="120470" y="369795"/>
                  </a:lnTo>
                  <a:lnTo>
                    <a:pt x="127744" y="370392"/>
                  </a:lnTo>
                  <a:lnTo>
                    <a:pt x="130335" y="370989"/>
                  </a:lnTo>
                  <a:lnTo>
                    <a:pt x="132327" y="372779"/>
                  </a:lnTo>
                  <a:lnTo>
                    <a:pt x="137110" y="381037"/>
                  </a:lnTo>
                  <a:lnTo>
                    <a:pt x="137110" y="381037"/>
                  </a:lnTo>
                  <a:lnTo>
                    <a:pt x="138605" y="382131"/>
                  </a:lnTo>
                  <a:lnTo>
                    <a:pt x="139203" y="383027"/>
                  </a:lnTo>
                  <a:lnTo>
                    <a:pt x="139203" y="384021"/>
                  </a:lnTo>
                  <a:lnTo>
                    <a:pt x="139203" y="386310"/>
                  </a:lnTo>
                  <a:lnTo>
                    <a:pt x="140797" y="390289"/>
                  </a:lnTo>
                  <a:lnTo>
                    <a:pt x="139502" y="396656"/>
                  </a:lnTo>
                  <a:lnTo>
                    <a:pt x="140100" y="399641"/>
                  </a:lnTo>
                  <a:lnTo>
                    <a:pt x="142890" y="401631"/>
                  </a:lnTo>
                  <a:lnTo>
                    <a:pt x="146577" y="402825"/>
                  </a:lnTo>
                  <a:lnTo>
                    <a:pt x="149965" y="404615"/>
                  </a:lnTo>
                  <a:lnTo>
                    <a:pt x="151359" y="408595"/>
                  </a:lnTo>
                  <a:lnTo>
                    <a:pt x="152356" y="429985"/>
                  </a:lnTo>
                  <a:lnTo>
                    <a:pt x="153452" y="433069"/>
                  </a:lnTo>
                  <a:lnTo>
                    <a:pt x="156242" y="434163"/>
                  </a:lnTo>
                  <a:lnTo>
                    <a:pt x="158036" y="434163"/>
                  </a:lnTo>
                  <a:lnTo>
                    <a:pt x="160726" y="435854"/>
                  </a:lnTo>
                  <a:lnTo>
                    <a:pt x="162320" y="435854"/>
                  </a:lnTo>
                  <a:lnTo>
                    <a:pt x="163715" y="435854"/>
                  </a:lnTo>
                  <a:lnTo>
                    <a:pt x="165011" y="435059"/>
                  </a:lnTo>
                  <a:lnTo>
                    <a:pt x="166306" y="435059"/>
                  </a:lnTo>
                  <a:lnTo>
                    <a:pt x="167900" y="436153"/>
                  </a:lnTo>
                  <a:lnTo>
                    <a:pt x="166605" y="438441"/>
                  </a:lnTo>
                  <a:lnTo>
                    <a:pt x="169096" y="440729"/>
                  </a:lnTo>
                  <a:lnTo>
                    <a:pt x="173082" y="442620"/>
                  </a:lnTo>
                  <a:lnTo>
                    <a:pt x="179359" y="444211"/>
                  </a:lnTo>
                  <a:lnTo>
                    <a:pt x="182349" y="445903"/>
                  </a:lnTo>
                  <a:lnTo>
                    <a:pt x="185438" y="446898"/>
                  </a:lnTo>
                  <a:lnTo>
                    <a:pt x="188726" y="445704"/>
                  </a:lnTo>
                  <a:lnTo>
                    <a:pt x="184142" y="441227"/>
                  </a:lnTo>
                  <a:lnTo>
                    <a:pt x="182249" y="438242"/>
                  </a:lnTo>
                  <a:lnTo>
                    <a:pt x="182249" y="435556"/>
                  </a:lnTo>
                  <a:lnTo>
                    <a:pt x="185637" y="429388"/>
                  </a:lnTo>
                  <a:lnTo>
                    <a:pt x="186733" y="425806"/>
                  </a:lnTo>
                  <a:lnTo>
                    <a:pt x="186135" y="422921"/>
                  </a:lnTo>
                  <a:lnTo>
                    <a:pt x="190818" y="416156"/>
                  </a:lnTo>
                  <a:lnTo>
                    <a:pt x="194007" y="408794"/>
                  </a:lnTo>
                  <a:lnTo>
                    <a:pt x="192313" y="408794"/>
                  </a:lnTo>
                  <a:lnTo>
                    <a:pt x="187530" y="408794"/>
                  </a:lnTo>
                  <a:lnTo>
                    <a:pt x="186135" y="408794"/>
                  </a:lnTo>
                  <a:lnTo>
                    <a:pt x="186135" y="406705"/>
                  </a:lnTo>
                  <a:lnTo>
                    <a:pt x="186135" y="404615"/>
                  </a:lnTo>
                  <a:lnTo>
                    <a:pt x="187032" y="402725"/>
                  </a:lnTo>
                  <a:lnTo>
                    <a:pt x="187929" y="401631"/>
                  </a:lnTo>
                  <a:lnTo>
                    <a:pt x="196897" y="398646"/>
                  </a:lnTo>
                  <a:lnTo>
                    <a:pt x="196897" y="398646"/>
                  </a:lnTo>
                  <a:lnTo>
                    <a:pt x="196897" y="399641"/>
                  </a:lnTo>
                  <a:lnTo>
                    <a:pt x="198292" y="403521"/>
                  </a:lnTo>
                  <a:lnTo>
                    <a:pt x="198292" y="404715"/>
                  </a:lnTo>
                  <a:lnTo>
                    <a:pt x="198890" y="405610"/>
                  </a:lnTo>
                  <a:lnTo>
                    <a:pt x="200883" y="406307"/>
                  </a:lnTo>
                  <a:lnTo>
                    <a:pt x="202577" y="406307"/>
                  </a:lnTo>
                  <a:lnTo>
                    <a:pt x="204470" y="406307"/>
                  </a:lnTo>
                  <a:lnTo>
                    <a:pt x="206263" y="405411"/>
                  </a:lnTo>
                  <a:lnTo>
                    <a:pt x="210747" y="402029"/>
                  </a:lnTo>
                  <a:lnTo>
                    <a:pt x="212142" y="401332"/>
                  </a:lnTo>
                  <a:lnTo>
                    <a:pt x="213936" y="400835"/>
                  </a:lnTo>
                  <a:lnTo>
                    <a:pt x="219416" y="400835"/>
                  </a:lnTo>
                  <a:lnTo>
                    <a:pt x="220911" y="400835"/>
                  </a:lnTo>
                  <a:lnTo>
                    <a:pt x="220911" y="400835"/>
                  </a:lnTo>
                  <a:lnTo>
                    <a:pt x="220911" y="400835"/>
                  </a:lnTo>
                  <a:lnTo>
                    <a:pt x="220911" y="400835"/>
                  </a:lnTo>
                  <a:lnTo>
                    <a:pt x="221509" y="400835"/>
                  </a:lnTo>
                  <a:lnTo>
                    <a:pt x="220712" y="402725"/>
                  </a:lnTo>
                  <a:lnTo>
                    <a:pt x="218819" y="407998"/>
                  </a:lnTo>
                  <a:lnTo>
                    <a:pt x="217822" y="409888"/>
                  </a:lnTo>
                  <a:lnTo>
                    <a:pt x="217025" y="411082"/>
                  </a:lnTo>
                  <a:lnTo>
                    <a:pt x="214633" y="413768"/>
                  </a:lnTo>
                  <a:lnTo>
                    <a:pt x="214633" y="414564"/>
                  </a:lnTo>
                  <a:lnTo>
                    <a:pt x="214036" y="416952"/>
                  </a:lnTo>
                  <a:lnTo>
                    <a:pt x="213538" y="416952"/>
                  </a:lnTo>
                  <a:lnTo>
                    <a:pt x="212640" y="416952"/>
                  </a:lnTo>
                  <a:lnTo>
                    <a:pt x="210548" y="417549"/>
                  </a:lnTo>
                  <a:lnTo>
                    <a:pt x="209751" y="418046"/>
                  </a:lnTo>
                  <a:lnTo>
                    <a:pt x="208356" y="419041"/>
                  </a:lnTo>
                  <a:lnTo>
                    <a:pt x="207160" y="420135"/>
                  </a:lnTo>
                  <a:lnTo>
                    <a:pt x="206164" y="421727"/>
                  </a:lnTo>
                  <a:lnTo>
                    <a:pt x="205267" y="423916"/>
                  </a:lnTo>
                  <a:lnTo>
                    <a:pt x="206961" y="424712"/>
                  </a:lnTo>
                  <a:lnTo>
                    <a:pt x="208356" y="425607"/>
                  </a:lnTo>
                  <a:lnTo>
                    <a:pt x="209551" y="427000"/>
                  </a:lnTo>
                  <a:lnTo>
                    <a:pt x="210448" y="428592"/>
                  </a:lnTo>
                  <a:lnTo>
                    <a:pt x="209053" y="431377"/>
                  </a:lnTo>
                  <a:lnTo>
                    <a:pt x="208057" y="434163"/>
                  </a:lnTo>
                  <a:lnTo>
                    <a:pt x="208555" y="436153"/>
                  </a:lnTo>
                  <a:lnTo>
                    <a:pt x="211345" y="437048"/>
                  </a:lnTo>
                  <a:lnTo>
                    <a:pt x="214335" y="435954"/>
                  </a:lnTo>
                  <a:lnTo>
                    <a:pt x="215132" y="433168"/>
                  </a:lnTo>
                  <a:lnTo>
                    <a:pt x="215132" y="429288"/>
                  </a:lnTo>
                  <a:lnTo>
                    <a:pt x="216328" y="425110"/>
                  </a:lnTo>
                  <a:lnTo>
                    <a:pt x="218619" y="422722"/>
                  </a:lnTo>
                  <a:lnTo>
                    <a:pt x="224698" y="419539"/>
                  </a:lnTo>
                  <a:lnTo>
                    <a:pt x="229082" y="415857"/>
                  </a:lnTo>
                  <a:lnTo>
                    <a:pt x="232071" y="414564"/>
                  </a:lnTo>
                  <a:lnTo>
                    <a:pt x="235260" y="413768"/>
                  </a:lnTo>
                  <a:lnTo>
                    <a:pt x="238050" y="414465"/>
                  </a:lnTo>
                  <a:lnTo>
                    <a:pt x="239843" y="416156"/>
                  </a:lnTo>
                  <a:lnTo>
                    <a:pt x="239843" y="417549"/>
                  </a:lnTo>
                  <a:lnTo>
                    <a:pt x="239345" y="419041"/>
                  </a:lnTo>
                  <a:lnTo>
                    <a:pt x="239345" y="421528"/>
                  </a:lnTo>
                  <a:lnTo>
                    <a:pt x="240043" y="423120"/>
                  </a:lnTo>
                  <a:lnTo>
                    <a:pt x="242434" y="426801"/>
                  </a:lnTo>
                  <a:lnTo>
                    <a:pt x="243231" y="427497"/>
                  </a:lnTo>
                  <a:lnTo>
                    <a:pt x="242733" y="429189"/>
                  </a:lnTo>
                  <a:lnTo>
                    <a:pt x="244427" y="432969"/>
                  </a:lnTo>
                  <a:lnTo>
                    <a:pt x="250705" y="443614"/>
                  </a:lnTo>
                  <a:lnTo>
                    <a:pt x="251502" y="445405"/>
                  </a:lnTo>
                  <a:lnTo>
                    <a:pt x="252299" y="451474"/>
                  </a:lnTo>
                  <a:lnTo>
                    <a:pt x="253893" y="456349"/>
                  </a:lnTo>
                  <a:lnTo>
                    <a:pt x="253295" y="460428"/>
                  </a:lnTo>
                  <a:lnTo>
                    <a:pt x="250904" y="466397"/>
                  </a:lnTo>
                  <a:lnTo>
                    <a:pt x="250904" y="466397"/>
                  </a:lnTo>
                  <a:lnTo>
                    <a:pt x="250206" y="467591"/>
                  </a:lnTo>
                  <a:lnTo>
                    <a:pt x="245922" y="478535"/>
                  </a:lnTo>
                  <a:lnTo>
                    <a:pt x="244228" y="484106"/>
                  </a:lnTo>
                  <a:lnTo>
                    <a:pt x="243530" y="494055"/>
                  </a:lnTo>
                  <a:lnTo>
                    <a:pt x="243530" y="495646"/>
                  </a:lnTo>
                  <a:lnTo>
                    <a:pt x="243530" y="496840"/>
                  </a:lnTo>
                  <a:lnTo>
                    <a:pt x="246121" y="500223"/>
                  </a:lnTo>
                  <a:lnTo>
                    <a:pt x="246121" y="501516"/>
                  </a:lnTo>
                  <a:lnTo>
                    <a:pt x="246121" y="504799"/>
                  </a:lnTo>
                  <a:lnTo>
                    <a:pt x="244826" y="511067"/>
                  </a:lnTo>
                  <a:lnTo>
                    <a:pt x="244826" y="513952"/>
                  </a:lnTo>
                  <a:lnTo>
                    <a:pt x="247217" y="519722"/>
                  </a:lnTo>
                  <a:lnTo>
                    <a:pt x="251103" y="519722"/>
                  </a:lnTo>
                  <a:lnTo>
                    <a:pt x="255488" y="516937"/>
                  </a:lnTo>
                  <a:lnTo>
                    <a:pt x="266050" y="505794"/>
                  </a:lnTo>
                  <a:lnTo>
                    <a:pt x="266050" y="503904"/>
                  </a:lnTo>
                  <a:lnTo>
                    <a:pt x="264555" y="496542"/>
                  </a:lnTo>
                  <a:lnTo>
                    <a:pt x="263957" y="494652"/>
                  </a:lnTo>
                  <a:lnTo>
                    <a:pt x="263957" y="493358"/>
                  </a:lnTo>
                  <a:lnTo>
                    <a:pt x="266050" y="491368"/>
                  </a:lnTo>
                  <a:lnTo>
                    <a:pt x="268541" y="488085"/>
                  </a:lnTo>
                  <a:lnTo>
                    <a:pt x="270036" y="484404"/>
                  </a:lnTo>
                  <a:lnTo>
                    <a:pt x="269239" y="481420"/>
                  </a:lnTo>
                  <a:lnTo>
                    <a:pt x="274121" y="479231"/>
                  </a:lnTo>
                  <a:lnTo>
                    <a:pt x="285082" y="477440"/>
                  </a:lnTo>
                  <a:lnTo>
                    <a:pt x="294249" y="470078"/>
                  </a:lnTo>
                  <a:lnTo>
                    <a:pt x="299730" y="468586"/>
                  </a:lnTo>
                  <a:lnTo>
                    <a:pt x="303516" y="470775"/>
                  </a:lnTo>
                  <a:lnTo>
                    <a:pt x="303516" y="478137"/>
                  </a:lnTo>
                  <a:lnTo>
                    <a:pt x="307801" y="478933"/>
                  </a:lnTo>
                  <a:lnTo>
                    <a:pt x="309495" y="479629"/>
                  </a:lnTo>
                  <a:lnTo>
                    <a:pt x="310491" y="481420"/>
                  </a:lnTo>
                  <a:lnTo>
                    <a:pt x="310491" y="483708"/>
                  </a:lnTo>
                  <a:lnTo>
                    <a:pt x="309495" y="486295"/>
                  </a:lnTo>
                  <a:lnTo>
                    <a:pt x="308299" y="488583"/>
                  </a:lnTo>
                  <a:lnTo>
                    <a:pt x="307203" y="489876"/>
                  </a:lnTo>
                  <a:lnTo>
                    <a:pt x="309993" y="491766"/>
                  </a:lnTo>
                  <a:lnTo>
                    <a:pt x="313182" y="490075"/>
                  </a:lnTo>
                  <a:lnTo>
                    <a:pt x="315772" y="489478"/>
                  </a:lnTo>
                  <a:lnTo>
                    <a:pt x="316769" y="494652"/>
                  </a:lnTo>
                  <a:lnTo>
                    <a:pt x="315972" y="498134"/>
                  </a:lnTo>
                  <a:lnTo>
                    <a:pt x="314278" y="502909"/>
                  </a:lnTo>
                  <a:lnTo>
                    <a:pt x="312185" y="506988"/>
                  </a:lnTo>
                  <a:lnTo>
                    <a:pt x="310192" y="508779"/>
                  </a:lnTo>
                  <a:lnTo>
                    <a:pt x="307103" y="510768"/>
                  </a:lnTo>
                  <a:lnTo>
                    <a:pt x="303914" y="519822"/>
                  </a:lnTo>
                  <a:lnTo>
                    <a:pt x="298534" y="523602"/>
                  </a:lnTo>
                  <a:lnTo>
                    <a:pt x="290662" y="535939"/>
                  </a:lnTo>
                  <a:lnTo>
                    <a:pt x="293651" y="538625"/>
                  </a:lnTo>
                  <a:lnTo>
                    <a:pt x="291160" y="541908"/>
                  </a:lnTo>
                  <a:lnTo>
                    <a:pt x="286975" y="545490"/>
                  </a:lnTo>
                  <a:lnTo>
                    <a:pt x="284583" y="549370"/>
                  </a:lnTo>
                  <a:lnTo>
                    <a:pt x="283488" y="558721"/>
                  </a:lnTo>
                  <a:lnTo>
                    <a:pt x="284285" y="562303"/>
                  </a:lnTo>
                  <a:lnTo>
                    <a:pt x="288071" y="562900"/>
                  </a:lnTo>
                  <a:lnTo>
                    <a:pt x="292057" y="561109"/>
                  </a:lnTo>
                  <a:lnTo>
                    <a:pt x="295544" y="558423"/>
                  </a:lnTo>
                  <a:lnTo>
                    <a:pt x="307601" y="544495"/>
                  </a:lnTo>
                  <a:lnTo>
                    <a:pt x="310292" y="539819"/>
                  </a:lnTo>
                  <a:lnTo>
                    <a:pt x="310292" y="535939"/>
                  </a:lnTo>
                  <a:lnTo>
                    <a:pt x="312085" y="534745"/>
                  </a:lnTo>
                  <a:lnTo>
                    <a:pt x="315274" y="531760"/>
                  </a:lnTo>
                  <a:lnTo>
                    <a:pt x="317267" y="531760"/>
                  </a:lnTo>
                  <a:lnTo>
                    <a:pt x="318662" y="531760"/>
                  </a:lnTo>
                  <a:lnTo>
                    <a:pt x="319858" y="532755"/>
                  </a:lnTo>
                  <a:lnTo>
                    <a:pt x="319858" y="534347"/>
                  </a:lnTo>
                  <a:lnTo>
                    <a:pt x="318662" y="536138"/>
                  </a:lnTo>
                  <a:lnTo>
                    <a:pt x="319758" y="537033"/>
                  </a:lnTo>
                  <a:lnTo>
                    <a:pt x="320854" y="537033"/>
                  </a:lnTo>
                  <a:lnTo>
                    <a:pt x="321950" y="537033"/>
                  </a:lnTo>
                  <a:lnTo>
                    <a:pt x="322947" y="536138"/>
                  </a:lnTo>
                  <a:lnTo>
                    <a:pt x="322149" y="537232"/>
                  </a:lnTo>
                  <a:lnTo>
                    <a:pt x="324740" y="535242"/>
                  </a:lnTo>
                  <a:lnTo>
                    <a:pt x="328228" y="534546"/>
                  </a:lnTo>
                  <a:lnTo>
                    <a:pt x="330520" y="535740"/>
                  </a:lnTo>
                  <a:lnTo>
                    <a:pt x="329523" y="539023"/>
                  </a:lnTo>
                  <a:lnTo>
                    <a:pt x="326733" y="543500"/>
                  </a:lnTo>
                  <a:lnTo>
                    <a:pt x="326035" y="544196"/>
                  </a:lnTo>
                  <a:lnTo>
                    <a:pt x="324840" y="544992"/>
                  </a:lnTo>
                  <a:lnTo>
                    <a:pt x="324142" y="546783"/>
                  </a:lnTo>
                  <a:lnTo>
                    <a:pt x="323544" y="548872"/>
                  </a:lnTo>
                  <a:lnTo>
                    <a:pt x="322947" y="550166"/>
                  </a:lnTo>
                  <a:lnTo>
                    <a:pt x="320356" y="551359"/>
                  </a:lnTo>
                  <a:lnTo>
                    <a:pt x="314477" y="552454"/>
                  </a:lnTo>
                  <a:lnTo>
                    <a:pt x="312185" y="554344"/>
                  </a:lnTo>
                  <a:lnTo>
                    <a:pt x="307103" y="560512"/>
                  </a:lnTo>
                  <a:lnTo>
                    <a:pt x="309196" y="560512"/>
                  </a:lnTo>
                  <a:lnTo>
                    <a:pt x="311786" y="560512"/>
                  </a:lnTo>
                  <a:lnTo>
                    <a:pt x="311786" y="562900"/>
                  </a:lnTo>
                  <a:lnTo>
                    <a:pt x="308299" y="568969"/>
                  </a:lnTo>
                  <a:lnTo>
                    <a:pt x="304213" y="582598"/>
                  </a:lnTo>
                  <a:lnTo>
                    <a:pt x="300427" y="587573"/>
                  </a:lnTo>
                  <a:lnTo>
                    <a:pt x="295345" y="590458"/>
                  </a:lnTo>
                  <a:lnTo>
                    <a:pt x="290762" y="592050"/>
                  </a:lnTo>
                  <a:lnTo>
                    <a:pt x="292455" y="593940"/>
                  </a:lnTo>
                  <a:lnTo>
                    <a:pt x="293053" y="595233"/>
                  </a:lnTo>
                  <a:lnTo>
                    <a:pt x="292356" y="598417"/>
                  </a:lnTo>
                  <a:lnTo>
                    <a:pt x="286875" y="607470"/>
                  </a:lnTo>
                  <a:lnTo>
                    <a:pt x="285281" y="610853"/>
                  </a:lnTo>
                  <a:lnTo>
                    <a:pt x="284583" y="613937"/>
                  </a:lnTo>
                  <a:lnTo>
                    <a:pt x="284583" y="616822"/>
                  </a:lnTo>
                  <a:lnTo>
                    <a:pt x="288171" y="623985"/>
                  </a:lnTo>
                  <a:lnTo>
                    <a:pt x="288171" y="626373"/>
                  </a:lnTo>
                  <a:lnTo>
                    <a:pt x="286576" y="628562"/>
                  </a:lnTo>
                  <a:lnTo>
                    <a:pt x="284982" y="632243"/>
                  </a:lnTo>
                  <a:lnTo>
                    <a:pt x="284982" y="633834"/>
                  </a:lnTo>
                  <a:lnTo>
                    <a:pt x="284982" y="637515"/>
                  </a:lnTo>
                  <a:lnTo>
                    <a:pt x="284982" y="640699"/>
                  </a:lnTo>
                  <a:lnTo>
                    <a:pt x="283587" y="645176"/>
                  </a:lnTo>
                  <a:lnTo>
                    <a:pt x="283587" y="646967"/>
                  </a:lnTo>
                  <a:lnTo>
                    <a:pt x="283587" y="648559"/>
                  </a:lnTo>
                  <a:lnTo>
                    <a:pt x="283587" y="650150"/>
                  </a:lnTo>
                  <a:lnTo>
                    <a:pt x="283587" y="651543"/>
                  </a:lnTo>
                  <a:lnTo>
                    <a:pt x="284285" y="652837"/>
                  </a:lnTo>
                  <a:lnTo>
                    <a:pt x="284285" y="654627"/>
                  </a:lnTo>
                  <a:lnTo>
                    <a:pt x="284285" y="658607"/>
                  </a:lnTo>
                  <a:lnTo>
                    <a:pt x="284285" y="660597"/>
                  </a:lnTo>
                  <a:lnTo>
                    <a:pt x="285082" y="661293"/>
                  </a:lnTo>
                  <a:lnTo>
                    <a:pt x="288071" y="663183"/>
                  </a:lnTo>
                  <a:lnTo>
                    <a:pt x="288769" y="664079"/>
                  </a:lnTo>
                  <a:lnTo>
                    <a:pt x="288171" y="665670"/>
                  </a:lnTo>
                  <a:lnTo>
                    <a:pt x="286975" y="667561"/>
                  </a:lnTo>
                  <a:lnTo>
                    <a:pt x="285580" y="669152"/>
                  </a:lnTo>
                  <a:lnTo>
                    <a:pt x="284783" y="669849"/>
                  </a:lnTo>
                  <a:lnTo>
                    <a:pt x="284783" y="671640"/>
                  </a:lnTo>
                  <a:lnTo>
                    <a:pt x="288769" y="681588"/>
                  </a:lnTo>
                  <a:lnTo>
                    <a:pt x="288769" y="682782"/>
                  </a:lnTo>
                  <a:lnTo>
                    <a:pt x="289267" y="687458"/>
                  </a:lnTo>
                  <a:lnTo>
                    <a:pt x="291061" y="693925"/>
                  </a:lnTo>
                  <a:lnTo>
                    <a:pt x="292655" y="695517"/>
                  </a:lnTo>
                  <a:lnTo>
                    <a:pt x="309793" y="700789"/>
                  </a:lnTo>
                  <a:lnTo>
                    <a:pt x="321751" y="700789"/>
                  </a:lnTo>
                  <a:lnTo>
                    <a:pt x="329224" y="698800"/>
                  </a:lnTo>
                  <a:lnTo>
                    <a:pt x="334904" y="693925"/>
                  </a:lnTo>
                  <a:lnTo>
                    <a:pt x="339587" y="687757"/>
                  </a:lnTo>
                  <a:lnTo>
                    <a:pt x="339587" y="684971"/>
                  </a:lnTo>
                  <a:lnTo>
                    <a:pt x="333310" y="675022"/>
                  </a:lnTo>
                  <a:lnTo>
                    <a:pt x="333310" y="672535"/>
                  </a:lnTo>
                  <a:lnTo>
                    <a:pt x="334505" y="670645"/>
                  </a:lnTo>
                  <a:lnTo>
                    <a:pt x="337295" y="667959"/>
                  </a:lnTo>
                  <a:lnTo>
                    <a:pt x="336199" y="665372"/>
                  </a:lnTo>
                  <a:lnTo>
                    <a:pt x="336199" y="663382"/>
                  </a:lnTo>
                  <a:lnTo>
                    <a:pt x="336199" y="654727"/>
                  </a:lnTo>
                  <a:lnTo>
                    <a:pt x="336996" y="654130"/>
                  </a:lnTo>
                  <a:lnTo>
                    <a:pt x="339487" y="654130"/>
                  </a:lnTo>
                  <a:lnTo>
                    <a:pt x="341182" y="653135"/>
                  </a:lnTo>
                  <a:lnTo>
                    <a:pt x="341182" y="650847"/>
                  </a:lnTo>
                  <a:lnTo>
                    <a:pt x="340683" y="648061"/>
                  </a:lnTo>
                  <a:lnTo>
                    <a:pt x="340683" y="645773"/>
                  </a:lnTo>
                  <a:lnTo>
                    <a:pt x="341979" y="643783"/>
                  </a:lnTo>
                  <a:lnTo>
                    <a:pt x="343972" y="642490"/>
                  </a:lnTo>
                  <a:lnTo>
                    <a:pt x="345964" y="642490"/>
                  </a:lnTo>
                  <a:lnTo>
                    <a:pt x="347957" y="649951"/>
                  </a:lnTo>
                  <a:lnTo>
                    <a:pt x="351046" y="654329"/>
                  </a:lnTo>
                  <a:lnTo>
                    <a:pt x="354733" y="657711"/>
                  </a:lnTo>
                  <a:lnTo>
                    <a:pt x="358121" y="659801"/>
                  </a:lnTo>
                  <a:lnTo>
                    <a:pt x="361808" y="660795"/>
                  </a:lnTo>
                  <a:lnTo>
                    <a:pt x="374562" y="660795"/>
                  </a:lnTo>
                  <a:lnTo>
                    <a:pt x="367886" y="653035"/>
                  </a:lnTo>
                  <a:lnTo>
                    <a:pt x="364199" y="647265"/>
                  </a:lnTo>
                  <a:lnTo>
                    <a:pt x="363701" y="645474"/>
                  </a:lnTo>
                  <a:lnTo>
                    <a:pt x="364299" y="643783"/>
                  </a:lnTo>
                  <a:lnTo>
                    <a:pt x="367487" y="638809"/>
                  </a:lnTo>
                  <a:lnTo>
                    <a:pt x="367487" y="634829"/>
                  </a:lnTo>
                  <a:lnTo>
                    <a:pt x="362306" y="595034"/>
                  </a:lnTo>
                  <a:lnTo>
                    <a:pt x="360712" y="588269"/>
                  </a:lnTo>
                  <a:lnTo>
                    <a:pt x="358619" y="582300"/>
                  </a:lnTo>
                  <a:lnTo>
                    <a:pt x="358619" y="579216"/>
                  </a:lnTo>
                  <a:lnTo>
                    <a:pt x="360712" y="576430"/>
                  </a:lnTo>
                  <a:lnTo>
                    <a:pt x="363203" y="575734"/>
                  </a:lnTo>
                  <a:lnTo>
                    <a:pt x="373167" y="576430"/>
                  </a:lnTo>
                  <a:lnTo>
                    <a:pt x="371972" y="574142"/>
                  </a:lnTo>
                  <a:lnTo>
                    <a:pt x="370576" y="571555"/>
                  </a:lnTo>
                  <a:lnTo>
                    <a:pt x="368683" y="569566"/>
                  </a:lnTo>
                  <a:lnTo>
                    <a:pt x="366391" y="568372"/>
                  </a:lnTo>
                  <a:lnTo>
                    <a:pt x="367786" y="564989"/>
                  </a:lnTo>
                  <a:lnTo>
                    <a:pt x="369680" y="562900"/>
                  </a:lnTo>
                  <a:lnTo>
                    <a:pt x="371573" y="561109"/>
                  </a:lnTo>
                  <a:lnTo>
                    <a:pt x="374363" y="560512"/>
                  </a:lnTo>
                  <a:lnTo>
                    <a:pt x="377153" y="561209"/>
                  </a:lnTo>
                  <a:lnTo>
                    <a:pt x="378249" y="561209"/>
                  </a:lnTo>
                  <a:lnTo>
                    <a:pt x="378249" y="559020"/>
                  </a:lnTo>
                  <a:lnTo>
                    <a:pt x="378249" y="558125"/>
                  </a:lnTo>
                  <a:close/>
                  <a:moveTo>
                    <a:pt x="150762" y="365716"/>
                  </a:moveTo>
                  <a:lnTo>
                    <a:pt x="149765" y="368103"/>
                  </a:lnTo>
                  <a:lnTo>
                    <a:pt x="147274" y="369795"/>
                  </a:lnTo>
                  <a:lnTo>
                    <a:pt x="142391" y="372083"/>
                  </a:lnTo>
                  <a:lnTo>
                    <a:pt x="142391" y="368501"/>
                  </a:lnTo>
                  <a:lnTo>
                    <a:pt x="135715" y="360741"/>
                  </a:lnTo>
                  <a:lnTo>
                    <a:pt x="134021" y="355966"/>
                  </a:lnTo>
                  <a:lnTo>
                    <a:pt x="134021" y="353678"/>
                  </a:lnTo>
                  <a:lnTo>
                    <a:pt x="132228" y="350096"/>
                  </a:lnTo>
                  <a:lnTo>
                    <a:pt x="132228" y="348306"/>
                  </a:lnTo>
                  <a:lnTo>
                    <a:pt x="132228" y="345719"/>
                  </a:lnTo>
                  <a:lnTo>
                    <a:pt x="133324" y="344823"/>
                  </a:lnTo>
                  <a:lnTo>
                    <a:pt x="134918" y="345420"/>
                  </a:lnTo>
                  <a:lnTo>
                    <a:pt x="137110" y="347112"/>
                  </a:lnTo>
                  <a:lnTo>
                    <a:pt x="137808" y="343829"/>
                  </a:lnTo>
                  <a:lnTo>
                    <a:pt x="135715" y="339352"/>
                  </a:lnTo>
                  <a:lnTo>
                    <a:pt x="137110" y="336367"/>
                  </a:lnTo>
                  <a:lnTo>
                    <a:pt x="136513" y="333681"/>
                  </a:lnTo>
                  <a:lnTo>
                    <a:pt x="138605" y="330497"/>
                  </a:lnTo>
                  <a:lnTo>
                    <a:pt x="141694" y="328408"/>
                  </a:lnTo>
                  <a:lnTo>
                    <a:pt x="144086" y="329204"/>
                  </a:lnTo>
                  <a:lnTo>
                    <a:pt x="146676" y="335074"/>
                  </a:lnTo>
                  <a:lnTo>
                    <a:pt x="147274" y="338058"/>
                  </a:lnTo>
                  <a:lnTo>
                    <a:pt x="147274" y="341739"/>
                  </a:lnTo>
                  <a:lnTo>
                    <a:pt x="147274" y="342535"/>
                  </a:lnTo>
                  <a:lnTo>
                    <a:pt x="148370" y="343928"/>
                  </a:lnTo>
                  <a:lnTo>
                    <a:pt x="148370" y="344624"/>
                  </a:lnTo>
                  <a:lnTo>
                    <a:pt x="148370" y="345520"/>
                  </a:lnTo>
                  <a:lnTo>
                    <a:pt x="148370" y="346515"/>
                  </a:lnTo>
                  <a:lnTo>
                    <a:pt x="148370" y="347211"/>
                  </a:lnTo>
                  <a:lnTo>
                    <a:pt x="148370" y="347211"/>
                  </a:lnTo>
                  <a:lnTo>
                    <a:pt x="148370" y="348902"/>
                  </a:lnTo>
                  <a:lnTo>
                    <a:pt x="148370" y="350494"/>
                  </a:lnTo>
                  <a:lnTo>
                    <a:pt x="148370" y="352186"/>
                  </a:lnTo>
                  <a:lnTo>
                    <a:pt x="148868" y="354275"/>
                  </a:lnTo>
                  <a:lnTo>
                    <a:pt x="151758" y="357657"/>
                  </a:lnTo>
                  <a:lnTo>
                    <a:pt x="151758" y="358553"/>
                  </a:lnTo>
                  <a:close/>
                  <a:moveTo>
                    <a:pt x="235160" y="368203"/>
                  </a:moveTo>
                  <a:lnTo>
                    <a:pt x="234064" y="369397"/>
                  </a:lnTo>
                  <a:lnTo>
                    <a:pt x="231374" y="370392"/>
                  </a:lnTo>
                  <a:lnTo>
                    <a:pt x="230477" y="371685"/>
                  </a:lnTo>
                  <a:lnTo>
                    <a:pt x="229480" y="373476"/>
                  </a:lnTo>
                  <a:lnTo>
                    <a:pt x="224897" y="375565"/>
                  </a:lnTo>
                  <a:lnTo>
                    <a:pt x="222406" y="375565"/>
                  </a:lnTo>
                  <a:lnTo>
                    <a:pt x="220313" y="373277"/>
                  </a:lnTo>
                  <a:lnTo>
                    <a:pt x="221110" y="367706"/>
                  </a:lnTo>
                  <a:lnTo>
                    <a:pt x="225993" y="362731"/>
                  </a:lnTo>
                  <a:lnTo>
                    <a:pt x="231971" y="360045"/>
                  </a:lnTo>
                  <a:lnTo>
                    <a:pt x="235957" y="361338"/>
                  </a:lnTo>
                  <a:lnTo>
                    <a:pt x="235957" y="364422"/>
                  </a:lnTo>
                  <a:lnTo>
                    <a:pt x="236754" y="365019"/>
                  </a:lnTo>
                  <a:close/>
                  <a:moveTo>
                    <a:pt x="345665" y="558224"/>
                  </a:moveTo>
                  <a:lnTo>
                    <a:pt x="341680" y="561109"/>
                  </a:lnTo>
                  <a:lnTo>
                    <a:pt x="337196" y="562601"/>
                  </a:lnTo>
                  <a:lnTo>
                    <a:pt x="328825" y="563298"/>
                  </a:lnTo>
                  <a:lnTo>
                    <a:pt x="324840" y="564293"/>
                  </a:lnTo>
                  <a:lnTo>
                    <a:pt x="320854" y="565785"/>
                  </a:lnTo>
                  <a:lnTo>
                    <a:pt x="319160" y="565288"/>
                  </a:lnTo>
                  <a:lnTo>
                    <a:pt x="319160" y="562005"/>
                  </a:lnTo>
                  <a:lnTo>
                    <a:pt x="321651" y="559517"/>
                  </a:lnTo>
                  <a:lnTo>
                    <a:pt x="331616" y="552752"/>
                  </a:lnTo>
                  <a:lnTo>
                    <a:pt x="334804" y="551359"/>
                  </a:lnTo>
                  <a:lnTo>
                    <a:pt x="343972" y="550364"/>
                  </a:lnTo>
                  <a:lnTo>
                    <a:pt x="348156" y="551160"/>
                  </a:lnTo>
                  <a:lnTo>
                    <a:pt x="348156" y="554841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6" name="Freeform: Shape 1245">
              <a:extLst>
                <a:ext uri="{FF2B5EF4-FFF2-40B4-BE49-F238E27FC236}">
                  <a16:creationId xmlns:a16="http://schemas.microsoft.com/office/drawing/2014/main" id="{CEC49B34-8061-4B56-9CEF-4BDD1F210B17}"/>
                </a:ext>
              </a:extLst>
            </p:cNvPr>
            <p:cNvSpPr/>
            <p:nvPr/>
          </p:nvSpPr>
          <p:spPr>
            <a:xfrm>
              <a:off x="4194250" y="1109220"/>
              <a:ext cx="2391" cy="1094"/>
            </a:xfrm>
            <a:custGeom>
              <a:avLst/>
              <a:gdLst>
                <a:gd name="connsiteX0" fmla="*/ 797 w 2391"/>
                <a:gd name="connsiteY0" fmla="*/ 1094 h 1094"/>
                <a:gd name="connsiteX1" fmla="*/ 2391 w 2391"/>
                <a:gd name="connsiteY1" fmla="*/ 0 h 1094"/>
                <a:gd name="connsiteX2" fmla="*/ 0 w 2391"/>
                <a:gd name="connsiteY2" fmla="*/ 796 h 1094"/>
                <a:gd name="connsiteX3" fmla="*/ 797 w 2391"/>
                <a:gd name="connsiteY3" fmla="*/ 1094 h 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1" h="1094">
                  <a:moveTo>
                    <a:pt x="797" y="1094"/>
                  </a:moveTo>
                  <a:lnTo>
                    <a:pt x="2391" y="0"/>
                  </a:lnTo>
                  <a:lnTo>
                    <a:pt x="0" y="796"/>
                  </a:lnTo>
                  <a:lnTo>
                    <a:pt x="797" y="1094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7" name="Freeform: Shape 1246">
              <a:extLst>
                <a:ext uri="{FF2B5EF4-FFF2-40B4-BE49-F238E27FC236}">
                  <a16:creationId xmlns:a16="http://schemas.microsoft.com/office/drawing/2014/main" id="{0971E3D0-D642-443A-876F-22EF7584DB38}"/>
                </a:ext>
              </a:extLst>
            </p:cNvPr>
            <p:cNvSpPr/>
            <p:nvPr/>
          </p:nvSpPr>
          <p:spPr>
            <a:xfrm>
              <a:off x="4206705" y="1066540"/>
              <a:ext cx="36469" cy="29945"/>
            </a:xfrm>
            <a:custGeom>
              <a:avLst/>
              <a:gdLst>
                <a:gd name="connsiteX0" fmla="*/ 2391 w 36469"/>
                <a:gd name="connsiteY0" fmla="*/ 29448 h 29945"/>
                <a:gd name="connsiteX1" fmla="*/ 8669 w 36469"/>
                <a:gd name="connsiteY1" fmla="*/ 26663 h 29945"/>
                <a:gd name="connsiteX2" fmla="*/ 11558 w 36469"/>
                <a:gd name="connsiteY2" fmla="*/ 24971 h 29945"/>
                <a:gd name="connsiteX3" fmla="*/ 14847 w 36469"/>
                <a:gd name="connsiteY3" fmla="*/ 21688 h 29945"/>
                <a:gd name="connsiteX4" fmla="*/ 17338 w 36469"/>
                <a:gd name="connsiteY4" fmla="*/ 17908 h 29945"/>
                <a:gd name="connsiteX5" fmla="*/ 18036 w 36469"/>
                <a:gd name="connsiteY5" fmla="*/ 16216 h 29945"/>
                <a:gd name="connsiteX6" fmla="*/ 20227 w 36469"/>
                <a:gd name="connsiteY6" fmla="*/ 12834 h 29945"/>
                <a:gd name="connsiteX7" fmla="*/ 20825 w 36469"/>
                <a:gd name="connsiteY7" fmla="*/ 11640 h 29945"/>
                <a:gd name="connsiteX8" fmla="*/ 22320 w 36469"/>
                <a:gd name="connsiteY8" fmla="*/ 10247 h 29945"/>
                <a:gd name="connsiteX9" fmla="*/ 30889 w 36469"/>
                <a:gd name="connsiteY9" fmla="*/ 3880 h 29945"/>
                <a:gd name="connsiteX10" fmla="*/ 33082 w 36469"/>
                <a:gd name="connsiteY10" fmla="*/ 1691 h 29945"/>
                <a:gd name="connsiteX11" fmla="*/ 34078 w 36469"/>
                <a:gd name="connsiteY11" fmla="*/ 995 h 29945"/>
                <a:gd name="connsiteX12" fmla="*/ 35075 w 36469"/>
                <a:gd name="connsiteY12" fmla="*/ 398 h 29945"/>
                <a:gd name="connsiteX13" fmla="*/ 36271 w 36469"/>
                <a:gd name="connsiteY13" fmla="*/ 0 h 29945"/>
                <a:gd name="connsiteX14" fmla="*/ 36469 w 36469"/>
                <a:gd name="connsiteY14" fmla="*/ 0 h 29945"/>
                <a:gd name="connsiteX15" fmla="*/ 33978 w 36469"/>
                <a:gd name="connsiteY15" fmla="*/ 298 h 29945"/>
                <a:gd name="connsiteX16" fmla="*/ 24114 w 36469"/>
                <a:gd name="connsiteY16" fmla="*/ 5472 h 29945"/>
                <a:gd name="connsiteX17" fmla="*/ 17736 w 36469"/>
                <a:gd name="connsiteY17" fmla="*/ 11739 h 29945"/>
                <a:gd name="connsiteX18" fmla="*/ 17338 w 36469"/>
                <a:gd name="connsiteY18" fmla="*/ 12834 h 29945"/>
                <a:gd name="connsiteX19" fmla="*/ 12854 w 36469"/>
                <a:gd name="connsiteY19" fmla="*/ 19698 h 29945"/>
                <a:gd name="connsiteX20" fmla="*/ 10064 w 36469"/>
                <a:gd name="connsiteY20" fmla="*/ 22683 h 29945"/>
                <a:gd name="connsiteX21" fmla="*/ 8470 w 36469"/>
                <a:gd name="connsiteY21" fmla="*/ 23777 h 29945"/>
                <a:gd name="connsiteX22" fmla="*/ 6875 w 36469"/>
                <a:gd name="connsiteY22" fmla="*/ 24673 h 29945"/>
                <a:gd name="connsiteX23" fmla="*/ 6576 w 36469"/>
                <a:gd name="connsiteY23" fmla="*/ 24772 h 29945"/>
                <a:gd name="connsiteX24" fmla="*/ 5480 w 36469"/>
                <a:gd name="connsiteY24" fmla="*/ 27259 h 29945"/>
                <a:gd name="connsiteX25" fmla="*/ 4584 w 36469"/>
                <a:gd name="connsiteY25" fmla="*/ 28254 h 29945"/>
                <a:gd name="connsiteX26" fmla="*/ 1494 w 36469"/>
                <a:gd name="connsiteY26" fmla="*/ 29050 h 29945"/>
                <a:gd name="connsiteX27" fmla="*/ 0 w 36469"/>
                <a:gd name="connsiteY27" fmla="*/ 29946 h 29945"/>
                <a:gd name="connsiteX28" fmla="*/ 598 w 36469"/>
                <a:gd name="connsiteY28" fmla="*/ 29946 h 29945"/>
                <a:gd name="connsiteX29" fmla="*/ 2391 w 36469"/>
                <a:gd name="connsiteY29" fmla="*/ 29448 h 29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6469" h="29945">
                  <a:moveTo>
                    <a:pt x="2391" y="29448"/>
                  </a:moveTo>
                  <a:lnTo>
                    <a:pt x="8669" y="26663"/>
                  </a:lnTo>
                  <a:lnTo>
                    <a:pt x="11558" y="24971"/>
                  </a:lnTo>
                  <a:lnTo>
                    <a:pt x="14847" y="21688"/>
                  </a:lnTo>
                  <a:lnTo>
                    <a:pt x="17338" y="17908"/>
                  </a:lnTo>
                  <a:lnTo>
                    <a:pt x="18036" y="16216"/>
                  </a:lnTo>
                  <a:lnTo>
                    <a:pt x="20227" y="12834"/>
                  </a:lnTo>
                  <a:lnTo>
                    <a:pt x="20825" y="11640"/>
                  </a:lnTo>
                  <a:lnTo>
                    <a:pt x="22320" y="10247"/>
                  </a:lnTo>
                  <a:lnTo>
                    <a:pt x="30889" y="3880"/>
                  </a:lnTo>
                  <a:lnTo>
                    <a:pt x="33082" y="1691"/>
                  </a:lnTo>
                  <a:lnTo>
                    <a:pt x="34078" y="995"/>
                  </a:lnTo>
                  <a:lnTo>
                    <a:pt x="35075" y="398"/>
                  </a:lnTo>
                  <a:lnTo>
                    <a:pt x="36271" y="0"/>
                  </a:lnTo>
                  <a:lnTo>
                    <a:pt x="36469" y="0"/>
                  </a:lnTo>
                  <a:lnTo>
                    <a:pt x="33978" y="298"/>
                  </a:lnTo>
                  <a:lnTo>
                    <a:pt x="24114" y="5472"/>
                  </a:lnTo>
                  <a:lnTo>
                    <a:pt x="17736" y="11739"/>
                  </a:lnTo>
                  <a:lnTo>
                    <a:pt x="17338" y="12834"/>
                  </a:lnTo>
                  <a:lnTo>
                    <a:pt x="12854" y="19698"/>
                  </a:lnTo>
                  <a:lnTo>
                    <a:pt x="10064" y="22683"/>
                  </a:lnTo>
                  <a:lnTo>
                    <a:pt x="8470" y="23777"/>
                  </a:lnTo>
                  <a:lnTo>
                    <a:pt x="6875" y="24673"/>
                  </a:lnTo>
                  <a:lnTo>
                    <a:pt x="6576" y="24772"/>
                  </a:lnTo>
                  <a:lnTo>
                    <a:pt x="5480" y="27259"/>
                  </a:lnTo>
                  <a:lnTo>
                    <a:pt x="4584" y="28254"/>
                  </a:lnTo>
                  <a:lnTo>
                    <a:pt x="1494" y="29050"/>
                  </a:lnTo>
                  <a:lnTo>
                    <a:pt x="0" y="29946"/>
                  </a:lnTo>
                  <a:lnTo>
                    <a:pt x="598" y="29946"/>
                  </a:lnTo>
                  <a:lnTo>
                    <a:pt x="2391" y="29448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8" name="Freeform: Shape 1247">
              <a:extLst>
                <a:ext uri="{FF2B5EF4-FFF2-40B4-BE49-F238E27FC236}">
                  <a16:creationId xmlns:a16="http://schemas.microsoft.com/office/drawing/2014/main" id="{43D64CDE-50E2-4AC4-9055-8E0A12B1757D}"/>
                </a:ext>
              </a:extLst>
            </p:cNvPr>
            <p:cNvSpPr/>
            <p:nvPr/>
          </p:nvSpPr>
          <p:spPr>
            <a:xfrm>
              <a:off x="4151701" y="1090517"/>
              <a:ext cx="40854" cy="15917"/>
            </a:xfrm>
            <a:custGeom>
              <a:avLst/>
              <a:gdLst>
                <a:gd name="connsiteX0" fmla="*/ 40854 w 40854"/>
                <a:gd name="connsiteY0" fmla="*/ 12436 h 15917"/>
                <a:gd name="connsiteX1" fmla="*/ 34776 w 40854"/>
                <a:gd name="connsiteY1" fmla="*/ 12237 h 15917"/>
                <a:gd name="connsiteX2" fmla="*/ 32185 w 40854"/>
                <a:gd name="connsiteY2" fmla="*/ 11540 h 15917"/>
                <a:gd name="connsiteX3" fmla="*/ 30890 w 40854"/>
                <a:gd name="connsiteY3" fmla="*/ 11342 h 15917"/>
                <a:gd name="connsiteX4" fmla="*/ 29395 w 40854"/>
                <a:gd name="connsiteY4" fmla="*/ 10745 h 15917"/>
                <a:gd name="connsiteX5" fmla="*/ 26107 w 40854"/>
                <a:gd name="connsiteY5" fmla="*/ 6964 h 15917"/>
                <a:gd name="connsiteX6" fmla="*/ 24015 w 40854"/>
                <a:gd name="connsiteY6" fmla="*/ 5372 h 15917"/>
                <a:gd name="connsiteX7" fmla="*/ 22918 w 40854"/>
                <a:gd name="connsiteY7" fmla="*/ 4875 h 15917"/>
                <a:gd name="connsiteX8" fmla="*/ 20926 w 40854"/>
                <a:gd name="connsiteY8" fmla="*/ 4676 h 15917"/>
                <a:gd name="connsiteX9" fmla="*/ 9267 w 40854"/>
                <a:gd name="connsiteY9" fmla="*/ 5770 h 15917"/>
                <a:gd name="connsiteX10" fmla="*/ 7374 w 40854"/>
                <a:gd name="connsiteY10" fmla="*/ 5273 h 15917"/>
                <a:gd name="connsiteX11" fmla="*/ 5680 w 40854"/>
                <a:gd name="connsiteY11" fmla="*/ 3880 h 15917"/>
                <a:gd name="connsiteX12" fmla="*/ 2591 w 40854"/>
                <a:gd name="connsiteY12" fmla="*/ 298 h 15917"/>
                <a:gd name="connsiteX13" fmla="*/ 0 w 40854"/>
                <a:gd name="connsiteY13" fmla="*/ 0 h 15917"/>
                <a:gd name="connsiteX14" fmla="*/ 1794 w 40854"/>
                <a:gd name="connsiteY14" fmla="*/ 1393 h 15917"/>
                <a:gd name="connsiteX15" fmla="*/ 3388 w 40854"/>
                <a:gd name="connsiteY15" fmla="*/ 3681 h 15917"/>
                <a:gd name="connsiteX16" fmla="*/ 4684 w 40854"/>
                <a:gd name="connsiteY16" fmla="*/ 6268 h 15917"/>
                <a:gd name="connsiteX17" fmla="*/ 6377 w 40854"/>
                <a:gd name="connsiteY17" fmla="*/ 8357 h 15917"/>
                <a:gd name="connsiteX18" fmla="*/ 9267 w 40854"/>
                <a:gd name="connsiteY18" fmla="*/ 9153 h 15917"/>
                <a:gd name="connsiteX19" fmla="*/ 12954 w 40854"/>
                <a:gd name="connsiteY19" fmla="*/ 9451 h 15917"/>
                <a:gd name="connsiteX20" fmla="*/ 32086 w 40854"/>
                <a:gd name="connsiteY20" fmla="*/ 15420 h 15917"/>
                <a:gd name="connsiteX21" fmla="*/ 35274 w 40854"/>
                <a:gd name="connsiteY21" fmla="*/ 15719 h 15917"/>
                <a:gd name="connsiteX22" fmla="*/ 35772 w 40854"/>
                <a:gd name="connsiteY22" fmla="*/ 15918 h 15917"/>
                <a:gd name="connsiteX23" fmla="*/ 40755 w 40854"/>
                <a:gd name="connsiteY23" fmla="*/ 12436 h 15917"/>
                <a:gd name="connsiteX24" fmla="*/ 40854 w 40854"/>
                <a:gd name="connsiteY24" fmla="*/ 12436 h 1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0854" h="15917">
                  <a:moveTo>
                    <a:pt x="40854" y="12436"/>
                  </a:moveTo>
                  <a:lnTo>
                    <a:pt x="34776" y="12237"/>
                  </a:lnTo>
                  <a:lnTo>
                    <a:pt x="32185" y="11540"/>
                  </a:lnTo>
                  <a:lnTo>
                    <a:pt x="30890" y="11342"/>
                  </a:lnTo>
                  <a:lnTo>
                    <a:pt x="29395" y="10745"/>
                  </a:lnTo>
                  <a:lnTo>
                    <a:pt x="26107" y="6964"/>
                  </a:lnTo>
                  <a:lnTo>
                    <a:pt x="24015" y="5372"/>
                  </a:lnTo>
                  <a:lnTo>
                    <a:pt x="22918" y="4875"/>
                  </a:lnTo>
                  <a:lnTo>
                    <a:pt x="20926" y="4676"/>
                  </a:lnTo>
                  <a:lnTo>
                    <a:pt x="9267" y="5770"/>
                  </a:lnTo>
                  <a:lnTo>
                    <a:pt x="7374" y="5273"/>
                  </a:lnTo>
                  <a:lnTo>
                    <a:pt x="5680" y="3880"/>
                  </a:lnTo>
                  <a:lnTo>
                    <a:pt x="2591" y="298"/>
                  </a:lnTo>
                  <a:lnTo>
                    <a:pt x="0" y="0"/>
                  </a:lnTo>
                  <a:lnTo>
                    <a:pt x="1794" y="1393"/>
                  </a:lnTo>
                  <a:lnTo>
                    <a:pt x="3388" y="3681"/>
                  </a:lnTo>
                  <a:lnTo>
                    <a:pt x="4684" y="6268"/>
                  </a:lnTo>
                  <a:lnTo>
                    <a:pt x="6377" y="8357"/>
                  </a:lnTo>
                  <a:lnTo>
                    <a:pt x="9267" y="9153"/>
                  </a:lnTo>
                  <a:lnTo>
                    <a:pt x="12954" y="9451"/>
                  </a:lnTo>
                  <a:lnTo>
                    <a:pt x="32086" y="15420"/>
                  </a:lnTo>
                  <a:lnTo>
                    <a:pt x="35274" y="15719"/>
                  </a:lnTo>
                  <a:lnTo>
                    <a:pt x="35772" y="15918"/>
                  </a:lnTo>
                  <a:lnTo>
                    <a:pt x="40755" y="12436"/>
                  </a:lnTo>
                  <a:lnTo>
                    <a:pt x="40854" y="12436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49" name="Freeform: Shape 1248">
              <a:extLst>
                <a:ext uri="{FF2B5EF4-FFF2-40B4-BE49-F238E27FC236}">
                  <a16:creationId xmlns:a16="http://schemas.microsoft.com/office/drawing/2014/main" id="{0AAE6DE6-354A-4778-B03F-043A21123D57}"/>
                </a:ext>
              </a:extLst>
            </p:cNvPr>
            <p:cNvSpPr/>
            <p:nvPr/>
          </p:nvSpPr>
          <p:spPr>
            <a:xfrm>
              <a:off x="-2618714" y="-46126"/>
              <a:ext cx="10163" cy="14724"/>
            </a:xfrm>
            <a:custGeom>
              <a:avLst/>
              <a:gdLst>
                <a:gd name="connsiteX0" fmla="*/ 5281 w 10163"/>
                <a:gd name="connsiteY0" fmla="*/ 12436 h 14724"/>
                <a:gd name="connsiteX1" fmla="*/ 5680 w 10163"/>
                <a:gd name="connsiteY1" fmla="*/ 11441 h 14724"/>
                <a:gd name="connsiteX2" fmla="*/ 5979 w 10163"/>
                <a:gd name="connsiteY2" fmla="*/ 7760 h 14724"/>
                <a:gd name="connsiteX3" fmla="*/ 6377 w 10163"/>
                <a:gd name="connsiteY3" fmla="*/ 6666 h 14724"/>
                <a:gd name="connsiteX4" fmla="*/ 7473 w 10163"/>
                <a:gd name="connsiteY4" fmla="*/ 4974 h 14724"/>
                <a:gd name="connsiteX5" fmla="*/ 10164 w 10163"/>
                <a:gd name="connsiteY5" fmla="*/ 0 h 14724"/>
                <a:gd name="connsiteX6" fmla="*/ 7374 w 10163"/>
                <a:gd name="connsiteY6" fmla="*/ 597 h 14724"/>
                <a:gd name="connsiteX7" fmla="*/ 4982 w 10163"/>
                <a:gd name="connsiteY7" fmla="*/ 3283 h 14724"/>
                <a:gd name="connsiteX8" fmla="*/ 1495 w 10163"/>
                <a:gd name="connsiteY8" fmla="*/ 9451 h 14724"/>
                <a:gd name="connsiteX9" fmla="*/ 399 w 10163"/>
                <a:gd name="connsiteY9" fmla="*/ 12336 h 14724"/>
                <a:gd name="connsiteX10" fmla="*/ 0 w 10163"/>
                <a:gd name="connsiteY10" fmla="*/ 14227 h 14724"/>
                <a:gd name="connsiteX11" fmla="*/ 0 w 10163"/>
                <a:gd name="connsiteY11" fmla="*/ 14724 h 14724"/>
                <a:gd name="connsiteX12" fmla="*/ 1993 w 10163"/>
                <a:gd name="connsiteY12" fmla="*/ 13431 h 14724"/>
                <a:gd name="connsiteX13" fmla="*/ 5281 w 10163"/>
                <a:gd name="connsiteY13" fmla="*/ 12436 h 14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63" h="14724">
                  <a:moveTo>
                    <a:pt x="5281" y="12436"/>
                  </a:moveTo>
                  <a:lnTo>
                    <a:pt x="5680" y="11441"/>
                  </a:lnTo>
                  <a:lnTo>
                    <a:pt x="5979" y="7760"/>
                  </a:lnTo>
                  <a:lnTo>
                    <a:pt x="6377" y="6666"/>
                  </a:lnTo>
                  <a:lnTo>
                    <a:pt x="7473" y="4974"/>
                  </a:lnTo>
                  <a:lnTo>
                    <a:pt x="10164" y="0"/>
                  </a:lnTo>
                  <a:lnTo>
                    <a:pt x="7374" y="597"/>
                  </a:lnTo>
                  <a:lnTo>
                    <a:pt x="4982" y="3283"/>
                  </a:lnTo>
                  <a:lnTo>
                    <a:pt x="1495" y="9451"/>
                  </a:lnTo>
                  <a:lnTo>
                    <a:pt x="399" y="12336"/>
                  </a:lnTo>
                  <a:lnTo>
                    <a:pt x="0" y="14227"/>
                  </a:lnTo>
                  <a:lnTo>
                    <a:pt x="0" y="14724"/>
                  </a:lnTo>
                  <a:lnTo>
                    <a:pt x="1993" y="13431"/>
                  </a:lnTo>
                  <a:lnTo>
                    <a:pt x="5281" y="12436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0" name="Freeform: Shape 1249">
              <a:extLst>
                <a:ext uri="{FF2B5EF4-FFF2-40B4-BE49-F238E27FC236}">
                  <a16:creationId xmlns:a16="http://schemas.microsoft.com/office/drawing/2014/main" id="{B7FF25B7-B0F9-4818-8962-D63218C7707C}"/>
                </a:ext>
              </a:extLst>
            </p:cNvPr>
            <p:cNvSpPr/>
            <p:nvPr/>
          </p:nvSpPr>
          <p:spPr>
            <a:xfrm>
              <a:off x="1505155" y="497373"/>
              <a:ext cx="8270" cy="2785"/>
            </a:xfrm>
            <a:custGeom>
              <a:avLst/>
              <a:gdLst>
                <a:gd name="connsiteX0" fmla="*/ 2491 w 8270"/>
                <a:gd name="connsiteY0" fmla="*/ 2288 h 2785"/>
                <a:gd name="connsiteX1" fmla="*/ 8270 w 8270"/>
                <a:gd name="connsiteY1" fmla="*/ 0 h 2785"/>
                <a:gd name="connsiteX2" fmla="*/ 4085 w 8270"/>
                <a:gd name="connsiteY2" fmla="*/ 398 h 2785"/>
                <a:gd name="connsiteX3" fmla="*/ 0 w 8270"/>
                <a:gd name="connsiteY3" fmla="*/ 2786 h 2785"/>
                <a:gd name="connsiteX4" fmla="*/ 0 w 8270"/>
                <a:gd name="connsiteY4" fmla="*/ 2786 h 2785"/>
                <a:gd name="connsiteX5" fmla="*/ 99 w 8270"/>
                <a:gd name="connsiteY5" fmla="*/ 2786 h 2785"/>
                <a:gd name="connsiteX6" fmla="*/ 2491 w 8270"/>
                <a:gd name="connsiteY6" fmla="*/ 2288 h 2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70" h="2785">
                  <a:moveTo>
                    <a:pt x="2491" y="2288"/>
                  </a:moveTo>
                  <a:lnTo>
                    <a:pt x="8270" y="0"/>
                  </a:lnTo>
                  <a:lnTo>
                    <a:pt x="4085" y="398"/>
                  </a:lnTo>
                  <a:lnTo>
                    <a:pt x="0" y="2786"/>
                  </a:lnTo>
                  <a:lnTo>
                    <a:pt x="0" y="2786"/>
                  </a:lnTo>
                  <a:lnTo>
                    <a:pt x="99" y="2786"/>
                  </a:lnTo>
                  <a:lnTo>
                    <a:pt x="2491" y="2288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1" name="Freeform: Shape 1250">
              <a:extLst>
                <a:ext uri="{FF2B5EF4-FFF2-40B4-BE49-F238E27FC236}">
                  <a16:creationId xmlns:a16="http://schemas.microsoft.com/office/drawing/2014/main" id="{700C6B51-84CC-4959-A080-FFD4A9FFA462}"/>
                </a:ext>
              </a:extLst>
            </p:cNvPr>
            <p:cNvSpPr/>
            <p:nvPr/>
          </p:nvSpPr>
          <p:spPr>
            <a:xfrm>
              <a:off x="-2172408" y="395299"/>
              <a:ext cx="11758" cy="5770"/>
            </a:xfrm>
            <a:custGeom>
              <a:avLst/>
              <a:gdLst>
                <a:gd name="connsiteX0" fmla="*/ 0 w 11758"/>
                <a:gd name="connsiteY0" fmla="*/ 1194 h 5770"/>
                <a:gd name="connsiteX1" fmla="*/ 797 w 11758"/>
                <a:gd name="connsiteY1" fmla="*/ 4974 h 5770"/>
                <a:gd name="connsiteX2" fmla="*/ 399 w 11758"/>
                <a:gd name="connsiteY2" fmla="*/ 5074 h 5770"/>
                <a:gd name="connsiteX3" fmla="*/ 1295 w 11758"/>
                <a:gd name="connsiteY3" fmla="*/ 5770 h 5770"/>
                <a:gd name="connsiteX4" fmla="*/ 1495 w 11758"/>
                <a:gd name="connsiteY4" fmla="*/ 3482 h 5770"/>
                <a:gd name="connsiteX5" fmla="*/ 1893 w 11758"/>
                <a:gd name="connsiteY5" fmla="*/ 2388 h 5770"/>
                <a:gd name="connsiteX6" fmla="*/ 2890 w 11758"/>
                <a:gd name="connsiteY6" fmla="*/ 1791 h 5770"/>
                <a:gd name="connsiteX7" fmla="*/ 8370 w 11758"/>
                <a:gd name="connsiteY7" fmla="*/ 298 h 5770"/>
                <a:gd name="connsiteX8" fmla="*/ 11758 w 11758"/>
                <a:gd name="connsiteY8" fmla="*/ 0 h 5770"/>
                <a:gd name="connsiteX9" fmla="*/ 3089 w 11758"/>
                <a:gd name="connsiteY9" fmla="*/ 0 h 5770"/>
                <a:gd name="connsiteX10" fmla="*/ 0 w 11758"/>
                <a:gd name="connsiteY10" fmla="*/ 1194 h 5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758" h="5770">
                  <a:moveTo>
                    <a:pt x="0" y="1194"/>
                  </a:moveTo>
                  <a:lnTo>
                    <a:pt x="797" y="4974"/>
                  </a:lnTo>
                  <a:lnTo>
                    <a:pt x="399" y="5074"/>
                  </a:lnTo>
                  <a:lnTo>
                    <a:pt x="1295" y="5770"/>
                  </a:lnTo>
                  <a:lnTo>
                    <a:pt x="1495" y="3482"/>
                  </a:lnTo>
                  <a:lnTo>
                    <a:pt x="1893" y="2388"/>
                  </a:lnTo>
                  <a:lnTo>
                    <a:pt x="2890" y="1791"/>
                  </a:lnTo>
                  <a:lnTo>
                    <a:pt x="8370" y="298"/>
                  </a:lnTo>
                  <a:lnTo>
                    <a:pt x="11758" y="0"/>
                  </a:lnTo>
                  <a:lnTo>
                    <a:pt x="3089" y="0"/>
                  </a:lnTo>
                  <a:lnTo>
                    <a:pt x="0" y="1194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2" name="Freeform: Shape 1251">
              <a:extLst>
                <a:ext uri="{FF2B5EF4-FFF2-40B4-BE49-F238E27FC236}">
                  <a16:creationId xmlns:a16="http://schemas.microsoft.com/office/drawing/2014/main" id="{B6DA4FC7-57E7-4730-932C-BB02735B6831}"/>
                </a:ext>
              </a:extLst>
            </p:cNvPr>
            <p:cNvSpPr/>
            <p:nvPr/>
          </p:nvSpPr>
          <p:spPr>
            <a:xfrm>
              <a:off x="1517710" y="468820"/>
              <a:ext cx="8868" cy="26762"/>
            </a:xfrm>
            <a:custGeom>
              <a:avLst/>
              <a:gdLst>
                <a:gd name="connsiteX0" fmla="*/ 6975 w 8868"/>
                <a:gd name="connsiteY0" fmla="*/ 21589 h 26762"/>
                <a:gd name="connsiteX1" fmla="*/ 8470 w 8868"/>
                <a:gd name="connsiteY1" fmla="*/ 16216 h 26762"/>
                <a:gd name="connsiteX2" fmla="*/ 8868 w 8868"/>
                <a:gd name="connsiteY2" fmla="*/ 8854 h 26762"/>
                <a:gd name="connsiteX3" fmla="*/ 8470 w 8868"/>
                <a:gd name="connsiteY3" fmla="*/ 6069 h 26762"/>
                <a:gd name="connsiteX4" fmla="*/ 7374 w 8868"/>
                <a:gd name="connsiteY4" fmla="*/ 3582 h 26762"/>
                <a:gd name="connsiteX5" fmla="*/ 5680 w 8868"/>
                <a:gd name="connsiteY5" fmla="*/ 1592 h 26762"/>
                <a:gd name="connsiteX6" fmla="*/ 3687 w 8868"/>
                <a:gd name="connsiteY6" fmla="*/ 199 h 26762"/>
                <a:gd name="connsiteX7" fmla="*/ 997 w 8868"/>
                <a:gd name="connsiteY7" fmla="*/ 0 h 26762"/>
                <a:gd name="connsiteX8" fmla="*/ 0 w 8868"/>
                <a:gd name="connsiteY8" fmla="*/ 199 h 26762"/>
                <a:gd name="connsiteX9" fmla="*/ 0 w 8868"/>
                <a:gd name="connsiteY9" fmla="*/ 5173 h 26762"/>
                <a:gd name="connsiteX10" fmla="*/ 100 w 8868"/>
                <a:gd name="connsiteY10" fmla="*/ 20196 h 26762"/>
                <a:gd name="connsiteX11" fmla="*/ 100 w 8868"/>
                <a:gd name="connsiteY11" fmla="*/ 26762 h 26762"/>
                <a:gd name="connsiteX12" fmla="*/ 3587 w 8868"/>
                <a:gd name="connsiteY12" fmla="*/ 25369 h 26762"/>
                <a:gd name="connsiteX13" fmla="*/ 6975 w 8868"/>
                <a:gd name="connsiteY13" fmla="*/ 21589 h 2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868" h="26762">
                  <a:moveTo>
                    <a:pt x="6975" y="21589"/>
                  </a:moveTo>
                  <a:lnTo>
                    <a:pt x="8470" y="16216"/>
                  </a:lnTo>
                  <a:lnTo>
                    <a:pt x="8868" y="8854"/>
                  </a:lnTo>
                  <a:lnTo>
                    <a:pt x="8470" y="6069"/>
                  </a:lnTo>
                  <a:lnTo>
                    <a:pt x="7374" y="3582"/>
                  </a:lnTo>
                  <a:lnTo>
                    <a:pt x="5680" y="1592"/>
                  </a:lnTo>
                  <a:lnTo>
                    <a:pt x="3687" y="199"/>
                  </a:lnTo>
                  <a:lnTo>
                    <a:pt x="997" y="0"/>
                  </a:lnTo>
                  <a:lnTo>
                    <a:pt x="0" y="199"/>
                  </a:lnTo>
                  <a:lnTo>
                    <a:pt x="0" y="5173"/>
                  </a:lnTo>
                  <a:lnTo>
                    <a:pt x="100" y="20196"/>
                  </a:lnTo>
                  <a:lnTo>
                    <a:pt x="100" y="26762"/>
                  </a:lnTo>
                  <a:lnTo>
                    <a:pt x="3587" y="25369"/>
                  </a:lnTo>
                  <a:lnTo>
                    <a:pt x="6975" y="21589"/>
                  </a:lnTo>
                  <a:close/>
                </a:path>
              </a:pathLst>
            </a:custGeom>
            <a:noFill/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3" name="Freeform: Shape 1252">
              <a:extLst>
                <a:ext uri="{FF2B5EF4-FFF2-40B4-BE49-F238E27FC236}">
                  <a16:creationId xmlns:a16="http://schemas.microsoft.com/office/drawing/2014/main" id="{7838ABEE-5E84-4AC4-9FC6-405E3E3E4DEA}"/>
                </a:ext>
              </a:extLst>
            </p:cNvPr>
            <p:cNvSpPr/>
            <p:nvPr/>
          </p:nvSpPr>
          <p:spPr>
            <a:xfrm>
              <a:off x="3427090" y="-190084"/>
              <a:ext cx="18035" cy="16813"/>
            </a:xfrm>
            <a:custGeom>
              <a:avLst/>
              <a:gdLst>
                <a:gd name="connsiteX0" fmla="*/ 2491 w 18035"/>
                <a:gd name="connsiteY0" fmla="*/ 1890 h 16813"/>
                <a:gd name="connsiteX1" fmla="*/ 698 w 18035"/>
                <a:gd name="connsiteY1" fmla="*/ 5571 h 16813"/>
                <a:gd name="connsiteX2" fmla="*/ 0 w 18035"/>
                <a:gd name="connsiteY2" fmla="*/ 9750 h 16813"/>
                <a:gd name="connsiteX3" fmla="*/ 797 w 18035"/>
                <a:gd name="connsiteY3" fmla="*/ 15222 h 16813"/>
                <a:gd name="connsiteX4" fmla="*/ 3089 w 18035"/>
                <a:gd name="connsiteY4" fmla="*/ 16117 h 16813"/>
                <a:gd name="connsiteX5" fmla="*/ 6178 w 18035"/>
                <a:gd name="connsiteY5" fmla="*/ 15620 h 16813"/>
                <a:gd name="connsiteX6" fmla="*/ 10961 w 18035"/>
                <a:gd name="connsiteY6" fmla="*/ 16813 h 16813"/>
                <a:gd name="connsiteX7" fmla="*/ 12954 w 18035"/>
                <a:gd name="connsiteY7" fmla="*/ 16415 h 16813"/>
                <a:gd name="connsiteX8" fmla="*/ 14947 w 18035"/>
                <a:gd name="connsiteY8" fmla="*/ 15719 h 16813"/>
                <a:gd name="connsiteX9" fmla="*/ 16441 w 18035"/>
                <a:gd name="connsiteY9" fmla="*/ 14625 h 16813"/>
                <a:gd name="connsiteX10" fmla="*/ 17836 w 18035"/>
                <a:gd name="connsiteY10" fmla="*/ 13232 h 16813"/>
                <a:gd name="connsiteX11" fmla="*/ 18036 w 18035"/>
                <a:gd name="connsiteY11" fmla="*/ 12834 h 16813"/>
                <a:gd name="connsiteX12" fmla="*/ 17637 w 18035"/>
                <a:gd name="connsiteY12" fmla="*/ 12237 h 16813"/>
                <a:gd name="connsiteX13" fmla="*/ 17338 w 18035"/>
                <a:gd name="connsiteY13" fmla="*/ 10347 h 16813"/>
                <a:gd name="connsiteX14" fmla="*/ 16541 w 18035"/>
                <a:gd name="connsiteY14" fmla="*/ 9650 h 16813"/>
                <a:gd name="connsiteX15" fmla="*/ 11957 w 18035"/>
                <a:gd name="connsiteY15" fmla="*/ 6168 h 16813"/>
                <a:gd name="connsiteX16" fmla="*/ 11359 w 18035"/>
                <a:gd name="connsiteY16" fmla="*/ 4775 h 16813"/>
                <a:gd name="connsiteX17" fmla="*/ 10961 w 18035"/>
                <a:gd name="connsiteY17" fmla="*/ 3283 h 16813"/>
                <a:gd name="connsiteX18" fmla="*/ 10263 w 18035"/>
                <a:gd name="connsiteY18" fmla="*/ 2089 h 16813"/>
                <a:gd name="connsiteX19" fmla="*/ 5181 w 18035"/>
                <a:gd name="connsiteY19" fmla="*/ 0 h 16813"/>
                <a:gd name="connsiteX20" fmla="*/ 2491 w 18035"/>
                <a:gd name="connsiteY20" fmla="*/ 1890 h 16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035" h="16813">
                  <a:moveTo>
                    <a:pt x="2491" y="1890"/>
                  </a:moveTo>
                  <a:lnTo>
                    <a:pt x="698" y="5571"/>
                  </a:lnTo>
                  <a:lnTo>
                    <a:pt x="0" y="9750"/>
                  </a:lnTo>
                  <a:lnTo>
                    <a:pt x="797" y="15222"/>
                  </a:lnTo>
                  <a:lnTo>
                    <a:pt x="3089" y="16117"/>
                  </a:lnTo>
                  <a:lnTo>
                    <a:pt x="6178" y="15620"/>
                  </a:lnTo>
                  <a:lnTo>
                    <a:pt x="10961" y="16813"/>
                  </a:lnTo>
                  <a:lnTo>
                    <a:pt x="12954" y="16415"/>
                  </a:lnTo>
                  <a:lnTo>
                    <a:pt x="14947" y="15719"/>
                  </a:lnTo>
                  <a:lnTo>
                    <a:pt x="16441" y="14625"/>
                  </a:lnTo>
                  <a:lnTo>
                    <a:pt x="17836" y="13232"/>
                  </a:lnTo>
                  <a:lnTo>
                    <a:pt x="18036" y="12834"/>
                  </a:lnTo>
                  <a:lnTo>
                    <a:pt x="17637" y="12237"/>
                  </a:lnTo>
                  <a:lnTo>
                    <a:pt x="17338" y="10347"/>
                  </a:lnTo>
                  <a:lnTo>
                    <a:pt x="16541" y="9650"/>
                  </a:lnTo>
                  <a:lnTo>
                    <a:pt x="11957" y="6168"/>
                  </a:lnTo>
                  <a:lnTo>
                    <a:pt x="11359" y="4775"/>
                  </a:lnTo>
                  <a:lnTo>
                    <a:pt x="10961" y="3283"/>
                  </a:lnTo>
                  <a:lnTo>
                    <a:pt x="10263" y="2089"/>
                  </a:lnTo>
                  <a:lnTo>
                    <a:pt x="5181" y="0"/>
                  </a:lnTo>
                  <a:lnTo>
                    <a:pt x="2491" y="18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4" name="Freeform: Shape 1253">
              <a:extLst>
                <a:ext uri="{FF2B5EF4-FFF2-40B4-BE49-F238E27FC236}">
                  <a16:creationId xmlns:a16="http://schemas.microsoft.com/office/drawing/2014/main" id="{E8659C8C-1DC5-4C0D-8202-44DC16C98E07}"/>
                </a:ext>
              </a:extLst>
            </p:cNvPr>
            <p:cNvSpPr/>
            <p:nvPr/>
          </p:nvSpPr>
          <p:spPr>
            <a:xfrm>
              <a:off x="3408058" y="-223711"/>
              <a:ext cx="21423" cy="18803"/>
            </a:xfrm>
            <a:custGeom>
              <a:avLst/>
              <a:gdLst>
                <a:gd name="connsiteX0" fmla="*/ 5082 w 21423"/>
                <a:gd name="connsiteY0" fmla="*/ 11043 h 18803"/>
                <a:gd name="connsiteX1" fmla="*/ 8570 w 21423"/>
                <a:gd name="connsiteY1" fmla="*/ 17311 h 18803"/>
                <a:gd name="connsiteX2" fmla="*/ 12954 w 21423"/>
                <a:gd name="connsiteY2" fmla="*/ 18803 h 18803"/>
                <a:gd name="connsiteX3" fmla="*/ 17637 w 21423"/>
                <a:gd name="connsiteY3" fmla="*/ 18704 h 18803"/>
                <a:gd name="connsiteX4" fmla="*/ 20626 w 21423"/>
                <a:gd name="connsiteY4" fmla="*/ 17012 h 18803"/>
                <a:gd name="connsiteX5" fmla="*/ 21424 w 21423"/>
                <a:gd name="connsiteY5" fmla="*/ 13132 h 18803"/>
                <a:gd name="connsiteX6" fmla="*/ 16442 w 21423"/>
                <a:gd name="connsiteY6" fmla="*/ 8655 h 18803"/>
                <a:gd name="connsiteX7" fmla="*/ 17239 w 21423"/>
                <a:gd name="connsiteY7" fmla="*/ 3482 h 18803"/>
                <a:gd name="connsiteX8" fmla="*/ 17438 w 21423"/>
                <a:gd name="connsiteY8" fmla="*/ 2487 h 18803"/>
                <a:gd name="connsiteX9" fmla="*/ 17438 w 21423"/>
                <a:gd name="connsiteY9" fmla="*/ 1691 h 18803"/>
                <a:gd name="connsiteX10" fmla="*/ 17537 w 21423"/>
                <a:gd name="connsiteY10" fmla="*/ 895 h 18803"/>
                <a:gd name="connsiteX11" fmla="*/ 18036 w 21423"/>
                <a:gd name="connsiteY11" fmla="*/ 0 h 18803"/>
                <a:gd name="connsiteX12" fmla="*/ 14548 w 21423"/>
                <a:gd name="connsiteY12" fmla="*/ 1194 h 18803"/>
                <a:gd name="connsiteX13" fmla="*/ 5480 w 21423"/>
                <a:gd name="connsiteY13" fmla="*/ 995 h 18803"/>
                <a:gd name="connsiteX14" fmla="*/ 1993 w 21423"/>
                <a:gd name="connsiteY14" fmla="*/ 2985 h 18803"/>
                <a:gd name="connsiteX15" fmla="*/ 0 w 21423"/>
                <a:gd name="connsiteY15" fmla="*/ 7263 h 18803"/>
                <a:gd name="connsiteX16" fmla="*/ 1993 w 21423"/>
                <a:gd name="connsiteY16" fmla="*/ 9451 h 18803"/>
                <a:gd name="connsiteX17" fmla="*/ 5082 w 21423"/>
                <a:gd name="connsiteY17" fmla="*/ 11043 h 1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423" h="18803">
                  <a:moveTo>
                    <a:pt x="5082" y="11043"/>
                  </a:moveTo>
                  <a:lnTo>
                    <a:pt x="8570" y="17311"/>
                  </a:lnTo>
                  <a:lnTo>
                    <a:pt x="12954" y="18803"/>
                  </a:lnTo>
                  <a:lnTo>
                    <a:pt x="17637" y="18704"/>
                  </a:lnTo>
                  <a:lnTo>
                    <a:pt x="20626" y="17012"/>
                  </a:lnTo>
                  <a:lnTo>
                    <a:pt x="21424" y="13132"/>
                  </a:lnTo>
                  <a:lnTo>
                    <a:pt x="16442" y="8655"/>
                  </a:lnTo>
                  <a:lnTo>
                    <a:pt x="17239" y="3482"/>
                  </a:lnTo>
                  <a:lnTo>
                    <a:pt x="17438" y="2487"/>
                  </a:lnTo>
                  <a:lnTo>
                    <a:pt x="17438" y="1691"/>
                  </a:lnTo>
                  <a:lnTo>
                    <a:pt x="17537" y="895"/>
                  </a:lnTo>
                  <a:lnTo>
                    <a:pt x="18036" y="0"/>
                  </a:lnTo>
                  <a:lnTo>
                    <a:pt x="14548" y="1194"/>
                  </a:lnTo>
                  <a:lnTo>
                    <a:pt x="5480" y="995"/>
                  </a:lnTo>
                  <a:lnTo>
                    <a:pt x="1993" y="2985"/>
                  </a:lnTo>
                  <a:lnTo>
                    <a:pt x="0" y="7263"/>
                  </a:lnTo>
                  <a:lnTo>
                    <a:pt x="1993" y="9451"/>
                  </a:lnTo>
                  <a:lnTo>
                    <a:pt x="5082" y="1104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5" name="Freeform: Shape 1254">
              <a:extLst>
                <a:ext uri="{FF2B5EF4-FFF2-40B4-BE49-F238E27FC236}">
                  <a16:creationId xmlns:a16="http://schemas.microsoft.com/office/drawing/2014/main" id="{43AE63B8-8582-4CC6-B14F-4299718AD33B}"/>
                </a:ext>
              </a:extLst>
            </p:cNvPr>
            <p:cNvSpPr/>
            <p:nvPr/>
          </p:nvSpPr>
          <p:spPr>
            <a:xfrm>
              <a:off x="3427887" y="-324392"/>
              <a:ext cx="8569" cy="6168"/>
            </a:xfrm>
            <a:custGeom>
              <a:avLst/>
              <a:gdLst>
                <a:gd name="connsiteX0" fmla="*/ 2890 w 8569"/>
                <a:gd name="connsiteY0" fmla="*/ 4178 h 6168"/>
                <a:gd name="connsiteX1" fmla="*/ 6975 w 8569"/>
                <a:gd name="connsiteY1" fmla="*/ 6168 h 6168"/>
                <a:gd name="connsiteX2" fmla="*/ 7374 w 8569"/>
                <a:gd name="connsiteY2" fmla="*/ 5770 h 6168"/>
                <a:gd name="connsiteX3" fmla="*/ 7673 w 8569"/>
                <a:gd name="connsiteY3" fmla="*/ 5372 h 6168"/>
                <a:gd name="connsiteX4" fmla="*/ 8071 w 8569"/>
                <a:gd name="connsiteY4" fmla="*/ 5074 h 6168"/>
                <a:gd name="connsiteX5" fmla="*/ 8570 w 8569"/>
                <a:gd name="connsiteY5" fmla="*/ 4974 h 6168"/>
                <a:gd name="connsiteX6" fmla="*/ 8570 w 8569"/>
                <a:gd name="connsiteY6" fmla="*/ 3681 h 6168"/>
                <a:gd name="connsiteX7" fmla="*/ 2093 w 8569"/>
                <a:gd name="connsiteY7" fmla="*/ 497 h 6168"/>
                <a:gd name="connsiteX8" fmla="*/ 0 w 8569"/>
                <a:gd name="connsiteY8" fmla="*/ 0 h 6168"/>
                <a:gd name="connsiteX9" fmla="*/ 1196 w 8569"/>
                <a:gd name="connsiteY9" fmla="*/ 2587 h 6168"/>
                <a:gd name="connsiteX10" fmla="*/ 2890 w 8569"/>
                <a:gd name="connsiteY10" fmla="*/ 4178 h 6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69" h="6168">
                  <a:moveTo>
                    <a:pt x="2890" y="4178"/>
                  </a:moveTo>
                  <a:lnTo>
                    <a:pt x="6975" y="6168"/>
                  </a:lnTo>
                  <a:lnTo>
                    <a:pt x="7374" y="5770"/>
                  </a:lnTo>
                  <a:lnTo>
                    <a:pt x="7673" y="5372"/>
                  </a:lnTo>
                  <a:lnTo>
                    <a:pt x="8071" y="5074"/>
                  </a:lnTo>
                  <a:lnTo>
                    <a:pt x="8570" y="4974"/>
                  </a:lnTo>
                  <a:lnTo>
                    <a:pt x="8570" y="3681"/>
                  </a:lnTo>
                  <a:lnTo>
                    <a:pt x="2093" y="497"/>
                  </a:lnTo>
                  <a:lnTo>
                    <a:pt x="0" y="0"/>
                  </a:lnTo>
                  <a:lnTo>
                    <a:pt x="1196" y="2587"/>
                  </a:lnTo>
                  <a:lnTo>
                    <a:pt x="2890" y="417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6" name="Freeform: Shape 1255">
              <a:extLst>
                <a:ext uri="{FF2B5EF4-FFF2-40B4-BE49-F238E27FC236}">
                  <a16:creationId xmlns:a16="http://schemas.microsoft.com/office/drawing/2014/main" id="{A53D53CD-BFB4-4561-8FE2-8306A4EB0927}"/>
                </a:ext>
              </a:extLst>
            </p:cNvPr>
            <p:cNvSpPr/>
            <p:nvPr/>
          </p:nvSpPr>
          <p:spPr>
            <a:xfrm>
              <a:off x="6297038" y="-421094"/>
              <a:ext cx="3188" cy="3681"/>
            </a:xfrm>
            <a:custGeom>
              <a:avLst/>
              <a:gdLst>
                <a:gd name="connsiteX0" fmla="*/ 0 w 3188"/>
                <a:gd name="connsiteY0" fmla="*/ 2686 h 3681"/>
                <a:gd name="connsiteX1" fmla="*/ 299 w 3188"/>
                <a:gd name="connsiteY1" fmla="*/ 2786 h 3681"/>
                <a:gd name="connsiteX2" fmla="*/ 3189 w 3188"/>
                <a:gd name="connsiteY2" fmla="*/ 3681 h 3681"/>
                <a:gd name="connsiteX3" fmla="*/ 3189 w 3188"/>
                <a:gd name="connsiteY3" fmla="*/ 0 h 3681"/>
                <a:gd name="connsiteX4" fmla="*/ 897 w 3188"/>
                <a:gd name="connsiteY4" fmla="*/ 99 h 3681"/>
                <a:gd name="connsiteX5" fmla="*/ 0 w 3188"/>
                <a:gd name="connsiteY5" fmla="*/ 2686 h 3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88" h="3681">
                  <a:moveTo>
                    <a:pt x="0" y="2686"/>
                  </a:moveTo>
                  <a:lnTo>
                    <a:pt x="299" y="2786"/>
                  </a:lnTo>
                  <a:lnTo>
                    <a:pt x="3189" y="3681"/>
                  </a:lnTo>
                  <a:lnTo>
                    <a:pt x="3189" y="0"/>
                  </a:lnTo>
                  <a:lnTo>
                    <a:pt x="897" y="99"/>
                  </a:lnTo>
                  <a:lnTo>
                    <a:pt x="0" y="268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7" name="Freeform: Shape 1256">
              <a:extLst>
                <a:ext uri="{FF2B5EF4-FFF2-40B4-BE49-F238E27FC236}">
                  <a16:creationId xmlns:a16="http://schemas.microsoft.com/office/drawing/2014/main" id="{2FCE17A6-4DF8-403B-B101-2EAF801555A9}"/>
                </a:ext>
              </a:extLst>
            </p:cNvPr>
            <p:cNvSpPr/>
            <p:nvPr/>
          </p:nvSpPr>
          <p:spPr>
            <a:xfrm>
              <a:off x="6287672" y="-386075"/>
              <a:ext cx="9566" cy="8456"/>
            </a:xfrm>
            <a:custGeom>
              <a:avLst/>
              <a:gdLst>
                <a:gd name="connsiteX0" fmla="*/ 2192 w 9566"/>
                <a:gd name="connsiteY0" fmla="*/ 1890 h 8456"/>
                <a:gd name="connsiteX1" fmla="*/ 0 w 9566"/>
                <a:gd name="connsiteY1" fmla="*/ 3283 h 8456"/>
                <a:gd name="connsiteX2" fmla="*/ 0 w 9566"/>
                <a:gd name="connsiteY2" fmla="*/ 5074 h 8456"/>
                <a:gd name="connsiteX3" fmla="*/ 3388 w 9566"/>
                <a:gd name="connsiteY3" fmla="*/ 7163 h 8456"/>
                <a:gd name="connsiteX4" fmla="*/ 6677 w 9566"/>
                <a:gd name="connsiteY4" fmla="*/ 8456 h 8456"/>
                <a:gd name="connsiteX5" fmla="*/ 8670 w 9566"/>
                <a:gd name="connsiteY5" fmla="*/ 6865 h 8456"/>
                <a:gd name="connsiteX6" fmla="*/ 6975 w 9566"/>
                <a:gd name="connsiteY6" fmla="*/ 4875 h 8456"/>
                <a:gd name="connsiteX7" fmla="*/ 5879 w 9566"/>
                <a:gd name="connsiteY7" fmla="*/ 3283 h 8456"/>
                <a:gd name="connsiteX8" fmla="*/ 7872 w 9566"/>
                <a:gd name="connsiteY8" fmla="*/ 1990 h 8456"/>
                <a:gd name="connsiteX9" fmla="*/ 9566 w 9566"/>
                <a:gd name="connsiteY9" fmla="*/ 696 h 8456"/>
                <a:gd name="connsiteX10" fmla="*/ 5082 w 9566"/>
                <a:gd name="connsiteY10" fmla="*/ 0 h 8456"/>
                <a:gd name="connsiteX11" fmla="*/ 2192 w 9566"/>
                <a:gd name="connsiteY11" fmla="*/ 1890 h 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566" h="8456">
                  <a:moveTo>
                    <a:pt x="2192" y="1890"/>
                  </a:moveTo>
                  <a:lnTo>
                    <a:pt x="0" y="3283"/>
                  </a:lnTo>
                  <a:lnTo>
                    <a:pt x="0" y="5074"/>
                  </a:lnTo>
                  <a:lnTo>
                    <a:pt x="3388" y="7163"/>
                  </a:lnTo>
                  <a:lnTo>
                    <a:pt x="6677" y="8456"/>
                  </a:lnTo>
                  <a:lnTo>
                    <a:pt x="8670" y="6865"/>
                  </a:lnTo>
                  <a:lnTo>
                    <a:pt x="6975" y="4875"/>
                  </a:lnTo>
                  <a:lnTo>
                    <a:pt x="5879" y="3283"/>
                  </a:lnTo>
                  <a:lnTo>
                    <a:pt x="7872" y="1990"/>
                  </a:lnTo>
                  <a:lnTo>
                    <a:pt x="9566" y="696"/>
                  </a:lnTo>
                  <a:lnTo>
                    <a:pt x="5082" y="0"/>
                  </a:lnTo>
                  <a:lnTo>
                    <a:pt x="2192" y="18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8" name="Freeform: Shape 1257">
              <a:extLst>
                <a:ext uri="{FF2B5EF4-FFF2-40B4-BE49-F238E27FC236}">
                  <a16:creationId xmlns:a16="http://schemas.microsoft.com/office/drawing/2014/main" id="{77C09499-04C7-43B3-89B7-5AD9071AB17C}"/>
                </a:ext>
              </a:extLst>
            </p:cNvPr>
            <p:cNvSpPr/>
            <p:nvPr/>
          </p:nvSpPr>
          <p:spPr>
            <a:xfrm>
              <a:off x="3278421" y="-401495"/>
              <a:ext cx="2890" cy="7760"/>
            </a:xfrm>
            <a:custGeom>
              <a:avLst/>
              <a:gdLst>
                <a:gd name="connsiteX0" fmla="*/ 499 w 2890"/>
                <a:gd name="connsiteY0" fmla="*/ 7362 h 7760"/>
                <a:gd name="connsiteX1" fmla="*/ 1295 w 2890"/>
                <a:gd name="connsiteY1" fmla="*/ 7760 h 7760"/>
                <a:gd name="connsiteX2" fmla="*/ 1794 w 2890"/>
                <a:gd name="connsiteY2" fmla="*/ 7462 h 7760"/>
                <a:gd name="connsiteX3" fmla="*/ 2392 w 2890"/>
                <a:gd name="connsiteY3" fmla="*/ 6467 h 7760"/>
                <a:gd name="connsiteX4" fmla="*/ 2890 w 2890"/>
                <a:gd name="connsiteY4" fmla="*/ 4576 h 7760"/>
                <a:gd name="connsiteX5" fmla="*/ 2591 w 2890"/>
                <a:gd name="connsiteY5" fmla="*/ 2686 h 7760"/>
                <a:gd name="connsiteX6" fmla="*/ 1993 w 2890"/>
                <a:gd name="connsiteY6" fmla="*/ 696 h 7760"/>
                <a:gd name="connsiteX7" fmla="*/ 897 w 2890"/>
                <a:gd name="connsiteY7" fmla="*/ 0 h 7760"/>
                <a:gd name="connsiteX8" fmla="*/ 100 w 2890"/>
                <a:gd name="connsiteY8" fmla="*/ 1393 h 7760"/>
                <a:gd name="connsiteX9" fmla="*/ 0 w 2890"/>
                <a:gd name="connsiteY9" fmla="*/ 3582 h 7760"/>
                <a:gd name="connsiteX10" fmla="*/ 100 w 2890"/>
                <a:gd name="connsiteY10" fmla="*/ 5571 h 7760"/>
                <a:gd name="connsiteX11" fmla="*/ 499 w 2890"/>
                <a:gd name="connsiteY11" fmla="*/ 7362 h 7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90" h="7760">
                  <a:moveTo>
                    <a:pt x="499" y="7362"/>
                  </a:moveTo>
                  <a:lnTo>
                    <a:pt x="1295" y="7760"/>
                  </a:lnTo>
                  <a:lnTo>
                    <a:pt x="1794" y="7462"/>
                  </a:lnTo>
                  <a:lnTo>
                    <a:pt x="2392" y="6467"/>
                  </a:lnTo>
                  <a:lnTo>
                    <a:pt x="2890" y="4576"/>
                  </a:lnTo>
                  <a:lnTo>
                    <a:pt x="2591" y="2686"/>
                  </a:lnTo>
                  <a:lnTo>
                    <a:pt x="1993" y="696"/>
                  </a:lnTo>
                  <a:lnTo>
                    <a:pt x="897" y="0"/>
                  </a:lnTo>
                  <a:lnTo>
                    <a:pt x="100" y="1393"/>
                  </a:lnTo>
                  <a:lnTo>
                    <a:pt x="0" y="3582"/>
                  </a:lnTo>
                  <a:lnTo>
                    <a:pt x="100" y="5571"/>
                  </a:lnTo>
                  <a:lnTo>
                    <a:pt x="499" y="736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59" name="Freeform: Shape 1258">
              <a:extLst>
                <a:ext uri="{FF2B5EF4-FFF2-40B4-BE49-F238E27FC236}">
                  <a16:creationId xmlns:a16="http://schemas.microsoft.com/office/drawing/2014/main" id="{A94C1F24-D529-4403-9E64-235CD691A6EB}"/>
                </a:ext>
              </a:extLst>
            </p:cNvPr>
            <p:cNvSpPr/>
            <p:nvPr/>
          </p:nvSpPr>
          <p:spPr>
            <a:xfrm>
              <a:off x="3157553" y="-198541"/>
              <a:ext cx="176569" cy="93617"/>
            </a:xfrm>
            <a:custGeom>
              <a:avLst/>
              <a:gdLst>
                <a:gd name="connsiteX0" fmla="*/ 6975 w 176569"/>
                <a:gd name="connsiteY0" fmla="*/ 26961 h 93617"/>
                <a:gd name="connsiteX1" fmla="*/ 6277 w 176569"/>
                <a:gd name="connsiteY1" fmla="*/ 27956 h 93617"/>
                <a:gd name="connsiteX2" fmla="*/ 1096 w 176569"/>
                <a:gd name="connsiteY2" fmla="*/ 33229 h 93617"/>
                <a:gd name="connsiteX3" fmla="*/ 0 w 176569"/>
                <a:gd name="connsiteY3" fmla="*/ 36213 h 93617"/>
                <a:gd name="connsiteX4" fmla="*/ 5879 w 176569"/>
                <a:gd name="connsiteY4" fmla="*/ 38402 h 93617"/>
                <a:gd name="connsiteX5" fmla="*/ 14050 w 176569"/>
                <a:gd name="connsiteY5" fmla="*/ 44670 h 93617"/>
                <a:gd name="connsiteX6" fmla="*/ 34277 w 176569"/>
                <a:gd name="connsiteY6" fmla="*/ 50341 h 93617"/>
                <a:gd name="connsiteX7" fmla="*/ 52412 w 176569"/>
                <a:gd name="connsiteY7" fmla="*/ 57106 h 93617"/>
                <a:gd name="connsiteX8" fmla="*/ 75231 w 176569"/>
                <a:gd name="connsiteY8" fmla="*/ 64468 h 93617"/>
                <a:gd name="connsiteX9" fmla="*/ 98448 w 176569"/>
                <a:gd name="connsiteY9" fmla="*/ 67552 h 93617"/>
                <a:gd name="connsiteX10" fmla="*/ 115487 w 176569"/>
                <a:gd name="connsiteY10" fmla="*/ 74715 h 93617"/>
                <a:gd name="connsiteX11" fmla="*/ 131331 w 176569"/>
                <a:gd name="connsiteY11" fmla="*/ 83569 h 93617"/>
                <a:gd name="connsiteX12" fmla="*/ 162021 w 176569"/>
                <a:gd name="connsiteY12" fmla="*/ 88743 h 93617"/>
                <a:gd name="connsiteX13" fmla="*/ 167202 w 176569"/>
                <a:gd name="connsiteY13" fmla="*/ 92722 h 93617"/>
                <a:gd name="connsiteX14" fmla="*/ 170491 w 176569"/>
                <a:gd name="connsiteY14" fmla="*/ 93618 h 93617"/>
                <a:gd name="connsiteX15" fmla="*/ 172783 w 176569"/>
                <a:gd name="connsiteY15" fmla="*/ 92722 h 93617"/>
                <a:gd name="connsiteX16" fmla="*/ 172085 w 176569"/>
                <a:gd name="connsiteY16" fmla="*/ 89041 h 93617"/>
                <a:gd name="connsiteX17" fmla="*/ 176569 w 176569"/>
                <a:gd name="connsiteY17" fmla="*/ 85360 h 93617"/>
                <a:gd name="connsiteX18" fmla="*/ 175473 w 176569"/>
                <a:gd name="connsiteY18" fmla="*/ 78695 h 93617"/>
                <a:gd name="connsiteX19" fmla="*/ 170391 w 176569"/>
                <a:gd name="connsiteY19" fmla="*/ 66955 h 93617"/>
                <a:gd name="connsiteX20" fmla="*/ 169694 w 176569"/>
                <a:gd name="connsiteY20" fmla="*/ 64269 h 93617"/>
                <a:gd name="connsiteX21" fmla="*/ 165209 w 176569"/>
                <a:gd name="connsiteY21" fmla="*/ 54420 h 93617"/>
                <a:gd name="connsiteX22" fmla="*/ 164014 w 176569"/>
                <a:gd name="connsiteY22" fmla="*/ 51634 h 93617"/>
                <a:gd name="connsiteX23" fmla="*/ 162619 w 176569"/>
                <a:gd name="connsiteY23" fmla="*/ 49246 h 93617"/>
                <a:gd name="connsiteX24" fmla="*/ 150064 w 176569"/>
                <a:gd name="connsiteY24" fmla="*/ 34622 h 93617"/>
                <a:gd name="connsiteX25" fmla="*/ 142989 w 176569"/>
                <a:gd name="connsiteY25" fmla="*/ 29548 h 93617"/>
                <a:gd name="connsiteX26" fmla="*/ 141295 w 176569"/>
                <a:gd name="connsiteY26" fmla="*/ 27956 h 93617"/>
                <a:gd name="connsiteX27" fmla="*/ 138704 w 176569"/>
                <a:gd name="connsiteY27" fmla="*/ 22484 h 93617"/>
                <a:gd name="connsiteX28" fmla="*/ 137509 w 176569"/>
                <a:gd name="connsiteY28" fmla="*/ 20892 h 93617"/>
                <a:gd name="connsiteX29" fmla="*/ 136612 w 176569"/>
                <a:gd name="connsiteY29" fmla="*/ 19897 h 93617"/>
                <a:gd name="connsiteX30" fmla="*/ 133921 w 176569"/>
                <a:gd name="connsiteY30" fmla="*/ 18206 h 93617"/>
                <a:gd name="connsiteX31" fmla="*/ 119174 w 176569"/>
                <a:gd name="connsiteY31" fmla="*/ 4676 h 93617"/>
                <a:gd name="connsiteX32" fmla="*/ 112598 w 176569"/>
                <a:gd name="connsiteY32" fmla="*/ 2885 h 93617"/>
                <a:gd name="connsiteX33" fmla="*/ 80911 w 176569"/>
                <a:gd name="connsiteY33" fmla="*/ 0 h 93617"/>
                <a:gd name="connsiteX34" fmla="*/ 71943 w 176569"/>
                <a:gd name="connsiteY34" fmla="*/ 2786 h 93617"/>
                <a:gd name="connsiteX35" fmla="*/ 56797 w 176569"/>
                <a:gd name="connsiteY35" fmla="*/ 2686 h 93617"/>
                <a:gd name="connsiteX36" fmla="*/ 50220 w 176569"/>
                <a:gd name="connsiteY36" fmla="*/ 3880 h 93617"/>
                <a:gd name="connsiteX37" fmla="*/ 38761 w 176569"/>
                <a:gd name="connsiteY37" fmla="*/ 8158 h 93617"/>
                <a:gd name="connsiteX38" fmla="*/ 35772 w 176569"/>
                <a:gd name="connsiteY38" fmla="*/ 8655 h 93617"/>
                <a:gd name="connsiteX39" fmla="*/ 26007 w 176569"/>
                <a:gd name="connsiteY39" fmla="*/ 7661 h 93617"/>
                <a:gd name="connsiteX40" fmla="*/ 22818 w 176569"/>
                <a:gd name="connsiteY40" fmla="*/ 8655 h 93617"/>
                <a:gd name="connsiteX41" fmla="*/ 15046 w 176569"/>
                <a:gd name="connsiteY41" fmla="*/ 14923 h 93617"/>
                <a:gd name="connsiteX42" fmla="*/ 9865 w 176569"/>
                <a:gd name="connsiteY42" fmla="*/ 21390 h 93617"/>
                <a:gd name="connsiteX43" fmla="*/ 6975 w 176569"/>
                <a:gd name="connsiteY43" fmla="*/ 26961 h 9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76569" h="93617">
                  <a:moveTo>
                    <a:pt x="6975" y="26961"/>
                  </a:moveTo>
                  <a:lnTo>
                    <a:pt x="6277" y="27956"/>
                  </a:lnTo>
                  <a:lnTo>
                    <a:pt x="1096" y="33229"/>
                  </a:lnTo>
                  <a:lnTo>
                    <a:pt x="0" y="36213"/>
                  </a:lnTo>
                  <a:lnTo>
                    <a:pt x="5879" y="38402"/>
                  </a:lnTo>
                  <a:lnTo>
                    <a:pt x="14050" y="44670"/>
                  </a:lnTo>
                  <a:lnTo>
                    <a:pt x="34277" y="50341"/>
                  </a:lnTo>
                  <a:lnTo>
                    <a:pt x="52412" y="57106"/>
                  </a:lnTo>
                  <a:lnTo>
                    <a:pt x="75231" y="64468"/>
                  </a:lnTo>
                  <a:lnTo>
                    <a:pt x="98448" y="67552"/>
                  </a:lnTo>
                  <a:lnTo>
                    <a:pt x="115487" y="74715"/>
                  </a:lnTo>
                  <a:lnTo>
                    <a:pt x="131331" y="83569"/>
                  </a:lnTo>
                  <a:lnTo>
                    <a:pt x="162021" y="88743"/>
                  </a:lnTo>
                  <a:lnTo>
                    <a:pt x="167202" y="92722"/>
                  </a:lnTo>
                  <a:lnTo>
                    <a:pt x="170491" y="93618"/>
                  </a:lnTo>
                  <a:lnTo>
                    <a:pt x="172783" y="92722"/>
                  </a:lnTo>
                  <a:lnTo>
                    <a:pt x="172085" y="89041"/>
                  </a:lnTo>
                  <a:lnTo>
                    <a:pt x="176569" y="85360"/>
                  </a:lnTo>
                  <a:lnTo>
                    <a:pt x="175473" y="78695"/>
                  </a:lnTo>
                  <a:lnTo>
                    <a:pt x="170391" y="66955"/>
                  </a:lnTo>
                  <a:lnTo>
                    <a:pt x="169694" y="64269"/>
                  </a:lnTo>
                  <a:lnTo>
                    <a:pt x="165209" y="54420"/>
                  </a:lnTo>
                  <a:lnTo>
                    <a:pt x="164014" y="51634"/>
                  </a:lnTo>
                  <a:lnTo>
                    <a:pt x="162619" y="49246"/>
                  </a:lnTo>
                  <a:lnTo>
                    <a:pt x="150064" y="34622"/>
                  </a:lnTo>
                  <a:lnTo>
                    <a:pt x="142989" y="29548"/>
                  </a:lnTo>
                  <a:lnTo>
                    <a:pt x="141295" y="27956"/>
                  </a:lnTo>
                  <a:lnTo>
                    <a:pt x="138704" y="22484"/>
                  </a:lnTo>
                  <a:lnTo>
                    <a:pt x="137509" y="20892"/>
                  </a:lnTo>
                  <a:lnTo>
                    <a:pt x="136612" y="19897"/>
                  </a:lnTo>
                  <a:lnTo>
                    <a:pt x="133921" y="18206"/>
                  </a:lnTo>
                  <a:lnTo>
                    <a:pt x="119174" y="4676"/>
                  </a:lnTo>
                  <a:lnTo>
                    <a:pt x="112598" y="2885"/>
                  </a:lnTo>
                  <a:lnTo>
                    <a:pt x="80911" y="0"/>
                  </a:lnTo>
                  <a:lnTo>
                    <a:pt x="71943" y="2786"/>
                  </a:lnTo>
                  <a:lnTo>
                    <a:pt x="56797" y="2686"/>
                  </a:lnTo>
                  <a:lnTo>
                    <a:pt x="50220" y="3880"/>
                  </a:lnTo>
                  <a:lnTo>
                    <a:pt x="38761" y="8158"/>
                  </a:lnTo>
                  <a:lnTo>
                    <a:pt x="35772" y="8655"/>
                  </a:lnTo>
                  <a:lnTo>
                    <a:pt x="26007" y="7661"/>
                  </a:lnTo>
                  <a:lnTo>
                    <a:pt x="22818" y="8655"/>
                  </a:lnTo>
                  <a:lnTo>
                    <a:pt x="15046" y="14923"/>
                  </a:lnTo>
                  <a:lnTo>
                    <a:pt x="9865" y="21390"/>
                  </a:lnTo>
                  <a:lnTo>
                    <a:pt x="6975" y="2696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0" name="Freeform: Shape 1259">
              <a:extLst>
                <a:ext uri="{FF2B5EF4-FFF2-40B4-BE49-F238E27FC236}">
                  <a16:creationId xmlns:a16="http://schemas.microsoft.com/office/drawing/2014/main" id="{97DB31DF-7DB8-4B08-AEBC-7D9B7F9B21F2}"/>
                </a:ext>
              </a:extLst>
            </p:cNvPr>
            <p:cNvSpPr/>
            <p:nvPr/>
          </p:nvSpPr>
          <p:spPr>
            <a:xfrm>
              <a:off x="3448214" y="-254552"/>
              <a:ext cx="8369" cy="6665"/>
            </a:xfrm>
            <a:custGeom>
              <a:avLst/>
              <a:gdLst>
                <a:gd name="connsiteX0" fmla="*/ 1395 w 8369"/>
                <a:gd name="connsiteY0" fmla="*/ 4278 h 6665"/>
                <a:gd name="connsiteX1" fmla="*/ 2292 w 8369"/>
                <a:gd name="connsiteY1" fmla="*/ 4974 h 6665"/>
                <a:gd name="connsiteX2" fmla="*/ 4683 w 8369"/>
                <a:gd name="connsiteY2" fmla="*/ 5969 h 6665"/>
                <a:gd name="connsiteX3" fmla="*/ 5680 w 8369"/>
                <a:gd name="connsiteY3" fmla="*/ 6666 h 6665"/>
                <a:gd name="connsiteX4" fmla="*/ 7174 w 8369"/>
                <a:gd name="connsiteY4" fmla="*/ 6566 h 6665"/>
                <a:gd name="connsiteX5" fmla="*/ 7772 w 8369"/>
                <a:gd name="connsiteY5" fmla="*/ 6168 h 6665"/>
                <a:gd name="connsiteX6" fmla="*/ 8370 w 8369"/>
                <a:gd name="connsiteY6" fmla="*/ 5372 h 6665"/>
                <a:gd name="connsiteX7" fmla="*/ 498 w 8369"/>
                <a:gd name="connsiteY7" fmla="*/ 0 h 6665"/>
                <a:gd name="connsiteX8" fmla="*/ 299 w 8369"/>
                <a:gd name="connsiteY8" fmla="*/ 1293 h 6665"/>
                <a:gd name="connsiteX9" fmla="*/ 0 w 8369"/>
                <a:gd name="connsiteY9" fmla="*/ 1990 h 6665"/>
                <a:gd name="connsiteX10" fmla="*/ 199 w 8369"/>
                <a:gd name="connsiteY10" fmla="*/ 2686 h 6665"/>
                <a:gd name="connsiteX11" fmla="*/ 1395 w 8369"/>
                <a:gd name="connsiteY11" fmla="*/ 4278 h 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369" h="6665">
                  <a:moveTo>
                    <a:pt x="1395" y="4278"/>
                  </a:moveTo>
                  <a:lnTo>
                    <a:pt x="2292" y="4974"/>
                  </a:lnTo>
                  <a:lnTo>
                    <a:pt x="4683" y="5969"/>
                  </a:lnTo>
                  <a:lnTo>
                    <a:pt x="5680" y="6666"/>
                  </a:lnTo>
                  <a:lnTo>
                    <a:pt x="7174" y="6566"/>
                  </a:lnTo>
                  <a:lnTo>
                    <a:pt x="7772" y="6168"/>
                  </a:lnTo>
                  <a:lnTo>
                    <a:pt x="8370" y="5372"/>
                  </a:lnTo>
                  <a:lnTo>
                    <a:pt x="498" y="0"/>
                  </a:lnTo>
                  <a:lnTo>
                    <a:pt x="299" y="1293"/>
                  </a:lnTo>
                  <a:lnTo>
                    <a:pt x="0" y="1990"/>
                  </a:lnTo>
                  <a:lnTo>
                    <a:pt x="199" y="2686"/>
                  </a:lnTo>
                  <a:lnTo>
                    <a:pt x="1395" y="427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1" name="Freeform: Shape 1260">
              <a:extLst>
                <a:ext uri="{FF2B5EF4-FFF2-40B4-BE49-F238E27FC236}">
                  <a16:creationId xmlns:a16="http://schemas.microsoft.com/office/drawing/2014/main" id="{4EF76DB1-41F0-4988-AA8D-DBE36A40D98C}"/>
                </a:ext>
              </a:extLst>
            </p:cNvPr>
            <p:cNvSpPr/>
            <p:nvPr/>
          </p:nvSpPr>
          <p:spPr>
            <a:xfrm>
              <a:off x="4187474" y="1066043"/>
              <a:ext cx="59387" cy="43973"/>
            </a:xfrm>
            <a:custGeom>
              <a:avLst/>
              <a:gdLst>
                <a:gd name="connsiteX0" fmla="*/ 55502 w 59387"/>
                <a:gd name="connsiteY0" fmla="*/ 497 h 43973"/>
                <a:gd name="connsiteX1" fmla="*/ 54306 w 59387"/>
                <a:gd name="connsiteY1" fmla="*/ 895 h 43973"/>
                <a:gd name="connsiteX2" fmla="*/ 53309 w 59387"/>
                <a:gd name="connsiteY2" fmla="*/ 1492 h 43973"/>
                <a:gd name="connsiteX3" fmla="*/ 52313 w 59387"/>
                <a:gd name="connsiteY3" fmla="*/ 2189 h 43973"/>
                <a:gd name="connsiteX4" fmla="*/ 50121 w 59387"/>
                <a:gd name="connsiteY4" fmla="*/ 4377 h 43973"/>
                <a:gd name="connsiteX5" fmla="*/ 41551 w 59387"/>
                <a:gd name="connsiteY5" fmla="*/ 10745 h 43973"/>
                <a:gd name="connsiteX6" fmla="*/ 40057 w 59387"/>
                <a:gd name="connsiteY6" fmla="*/ 12137 h 43973"/>
                <a:gd name="connsiteX7" fmla="*/ 39459 w 59387"/>
                <a:gd name="connsiteY7" fmla="*/ 13331 h 43973"/>
                <a:gd name="connsiteX8" fmla="*/ 37267 w 59387"/>
                <a:gd name="connsiteY8" fmla="*/ 16714 h 43973"/>
                <a:gd name="connsiteX9" fmla="*/ 36569 w 59387"/>
                <a:gd name="connsiteY9" fmla="*/ 18405 h 43973"/>
                <a:gd name="connsiteX10" fmla="*/ 34078 w 59387"/>
                <a:gd name="connsiteY10" fmla="*/ 22186 h 43973"/>
                <a:gd name="connsiteX11" fmla="*/ 30790 w 59387"/>
                <a:gd name="connsiteY11" fmla="*/ 25469 h 43973"/>
                <a:gd name="connsiteX12" fmla="*/ 27900 w 59387"/>
                <a:gd name="connsiteY12" fmla="*/ 27160 h 43973"/>
                <a:gd name="connsiteX13" fmla="*/ 21623 w 59387"/>
                <a:gd name="connsiteY13" fmla="*/ 29946 h 43973"/>
                <a:gd name="connsiteX14" fmla="*/ 19829 w 59387"/>
                <a:gd name="connsiteY14" fmla="*/ 30443 h 43973"/>
                <a:gd name="connsiteX15" fmla="*/ 19231 w 59387"/>
                <a:gd name="connsiteY15" fmla="*/ 30443 h 43973"/>
                <a:gd name="connsiteX16" fmla="*/ 19231 w 59387"/>
                <a:gd name="connsiteY16" fmla="*/ 30443 h 43973"/>
                <a:gd name="connsiteX17" fmla="*/ 17836 w 59387"/>
                <a:gd name="connsiteY17" fmla="*/ 31737 h 43973"/>
                <a:gd name="connsiteX18" fmla="*/ 16840 w 59387"/>
                <a:gd name="connsiteY18" fmla="*/ 33030 h 43973"/>
                <a:gd name="connsiteX19" fmla="*/ 14947 w 59387"/>
                <a:gd name="connsiteY19" fmla="*/ 34622 h 43973"/>
                <a:gd name="connsiteX20" fmla="*/ 12256 w 59387"/>
                <a:gd name="connsiteY20" fmla="*/ 35716 h 43973"/>
                <a:gd name="connsiteX21" fmla="*/ 6875 w 59387"/>
                <a:gd name="connsiteY21" fmla="*/ 36910 h 43973"/>
                <a:gd name="connsiteX22" fmla="*/ 5082 w 59387"/>
                <a:gd name="connsiteY22" fmla="*/ 36910 h 43973"/>
                <a:gd name="connsiteX23" fmla="*/ 4982 w 59387"/>
                <a:gd name="connsiteY23" fmla="*/ 36910 h 43973"/>
                <a:gd name="connsiteX24" fmla="*/ 0 w 59387"/>
                <a:gd name="connsiteY24" fmla="*/ 40392 h 43973"/>
                <a:gd name="connsiteX25" fmla="*/ 2491 w 59387"/>
                <a:gd name="connsiteY25" fmla="*/ 41387 h 43973"/>
                <a:gd name="connsiteX26" fmla="*/ 5082 w 59387"/>
                <a:gd name="connsiteY26" fmla="*/ 43277 h 43973"/>
                <a:gd name="connsiteX27" fmla="*/ 6776 w 59387"/>
                <a:gd name="connsiteY27" fmla="*/ 43973 h 43973"/>
                <a:gd name="connsiteX28" fmla="*/ 9167 w 59387"/>
                <a:gd name="connsiteY28" fmla="*/ 43178 h 43973"/>
                <a:gd name="connsiteX29" fmla="*/ 10363 w 59387"/>
                <a:gd name="connsiteY29" fmla="*/ 42382 h 43973"/>
                <a:gd name="connsiteX30" fmla="*/ 10463 w 59387"/>
                <a:gd name="connsiteY30" fmla="*/ 42680 h 43973"/>
                <a:gd name="connsiteX31" fmla="*/ 10961 w 59387"/>
                <a:gd name="connsiteY31" fmla="*/ 42581 h 43973"/>
                <a:gd name="connsiteX32" fmla="*/ 15843 w 59387"/>
                <a:gd name="connsiteY32" fmla="*/ 40193 h 43973"/>
                <a:gd name="connsiteX33" fmla="*/ 17238 w 59387"/>
                <a:gd name="connsiteY33" fmla="*/ 39696 h 43973"/>
                <a:gd name="connsiteX34" fmla="*/ 18036 w 59387"/>
                <a:gd name="connsiteY34" fmla="*/ 39596 h 43973"/>
                <a:gd name="connsiteX35" fmla="*/ 27900 w 59387"/>
                <a:gd name="connsiteY35" fmla="*/ 40093 h 43973"/>
                <a:gd name="connsiteX36" fmla="*/ 40256 w 59387"/>
                <a:gd name="connsiteY36" fmla="*/ 43576 h 43973"/>
                <a:gd name="connsiteX37" fmla="*/ 41651 w 59387"/>
                <a:gd name="connsiteY37" fmla="*/ 43774 h 43973"/>
                <a:gd name="connsiteX38" fmla="*/ 42947 w 59387"/>
                <a:gd name="connsiteY38" fmla="*/ 43576 h 43973"/>
                <a:gd name="connsiteX39" fmla="*/ 44142 w 59387"/>
                <a:gd name="connsiteY39" fmla="*/ 42680 h 43973"/>
                <a:gd name="connsiteX40" fmla="*/ 44640 w 59387"/>
                <a:gd name="connsiteY40" fmla="*/ 42183 h 43973"/>
                <a:gd name="connsiteX41" fmla="*/ 45836 w 59387"/>
                <a:gd name="connsiteY41" fmla="*/ 40292 h 43973"/>
                <a:gd name="connsiteX42" fmla="*/ 46235 w 59387"/>
                <a:gd name="connsiteY42" fmla="*/ 39696 h 43973"/>
                <a:gd name="connsiteX43" fmla="*/ 46833 w 59387"/>
                <a:gd name="connsiteY43" fmla="*/ 39298 h 43973"/>
                <a:gd name="connsiteX44" fmla="*/ 49224 w 59387"/>
                <a:gd name="connsiteY44" fmla="*/ 38104 h 43973"/>
                <a:gd name="connsiteX45" fmla="*/ 49722 w 59387"/>
                <a:gd name="connsiteY45" fmla="*/ 37706 h 43973"/>
                <a:gd name="connsiteX46" fmla="*/ 50121 w 59387"/>
                <a:gd name="connsiteY46" fmla="*/ 37208 h 43973"/>
                <a:gd name="connsiteX47" fmla="*/ 50420 w 59387"/>
                <a:gd name="connsiteY47" fmla="*/ 36412 h 43973"/>
                <a:gd name="connsiteX48" fmla="*/ 50420 w 59387"/>
                <a:gd name="connsiteY48" fmla="*/ 35517 h 43973"/>
                <a:gd name="connsiteX49" fmla="*/ 49822 w 59387"/>
                <a:gd name="connsiteY49" fmla="*/ 30244 h 43973"/>
                <a:gd name="connsiteX50" fmla="*/ 49922 w 59387"/>
                <a:gd name="connsiteY50" fmla="*/ 28453 h 43973"/>
                <a:gd name="connsiteX51" fmla="*/ 50220 w 59387"/>
                <a:gd name="connsiteY51" fmla="*/ 26663 h 43973"/>
                <a:gd name="connsiteX52" fmla="*/ 50718 w 59387"/>
                <a:gd name="connsiteY52" fmla="*/ 24971 h 43973"/>
                <a:gd name="connsiteX53" fmla="*/ 51217 w 59387"/>
                <a:gd name="connsiteY53" fmla="*/ 23479 h 43973"/>
                <a:gd name="connsiteX54" fmla="*/ 52014 w 59387"/>
                <a:gd name="connsiteY54" fmla="*/ 22086 h 43973"/>
                <a:gd name="connsiteX55" fmla="*/ 54505 w 59387"/>
                <a:gd name="connsiteY55" fmla="*/ 18903 h 43973"/>
                <a:gd name="connsiteX56" fmla="*/ 54904 w 59387"/>
                <a:gd name="connsiteY56" fmla="*/ 18206 h 43973"/>
                <a:gd name="connsiteX57" fmla="*/ 55203 w 59387"/>
                <a:gd name="connsiteY57" fmla="*/ 16813 h 43973"/>
                <a:gd name="connsiteX58" fmla="*/ 55502 w 59387"/>
                <a:gd name="connsiteY58" fmla="*/ 13928 h 43973"/>
                <a:gd name="connsiteX59" fmla="*/ 57993 w 59387"/>
                <a:gd name="connsiteY59" fmla="*/ 5671 h 43973"/>
                <a:gd name="connsiteX60" fmla="*/ 58391 w 59387"/>
                <a:gd name="connsiteY60" fmla="*/ 3880 h 43973"/>
                <a:gd name="connsiteX61" fmla="*/ 59387 w 59387"/>
                <a:gd name="connsiteY61" fmla="*/ 1194 h 43973"/>
                <a:gd name="connsiteX62" fmla="*/ 59189 w 59387"/>
                <a:gd name="connsiteY62" fmla="*/ 0 h 43973"/>
                <a:gd name="connsiteX63" fmla="*/ 59089 w 59387"/>
                <a:gd name="connsiteY63" fmla="*/ 0 h 43973"/>
                <a:gd name="connsiteX64" fmla="*/ 55701 w 59387"/>
                <a:gd name="connsiteY64" fmla="*/ 497 h 43973"/>
                <a:gd name="connsiteX65" fmla="*/ 55502 w 59387"/>
                <a:gd name="connsiteY65" fmla="*/ 497 h 43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9387" h="43973">
                  <a:moveTo>
                    <a:pt x="55502" y="497"/>
                  </a:moveTo>
                  <a:lnTo>
                    <a:pt x="54306" y="895"/>
                  </a:lnTo>
                  <a:lnTo>
                    <a:pt x="53309" y="1492"/>
                  </a:lnTo>
                  <a:lnTo>
                    <a:pt x="52313" y="2189"/>
                  </a:lnTo>
                  <a:lnTo>
                    <a:pt x="50121" y="4377"/>
                  </a:lnTo>
                  <a:lnTo>
                    <a:pt x="41551" y="10745"/>
                  </a:lnTo>
                  <a:lnTo>
                    <a:pt x="40057" y="12137"/>
                  </a:lnTo>
                  <a:lnTo>
                    <a:pt x="39459" y="13331"/>
                  </a:lnTo>
                  <a:lnTo>
                    <a:pt x="37267" y="16714"/>
                  </a:lnTo>
                  <a:lnTo>
                    <a:pt x="36569" y="18405"/>
                  </a:lnTo>
                  <a:lnTo>
                    <a:pt x="34078" y="22186"/>
                  </a:lnTo>
                  <a:lnTo>
                    <a:pt x="30790" y="25469"/>
                  </a:lnTo>
                  <a:lnTo>
                    <a:pt x="27900" y="27160"/>
                  </a:lnTo>
                  <a:lnTo>
                    <a:pt x="21623" y="29946"/>
                  </a:lnTo>
                  <a:lnTo>
                    <a:pt x="19829" y="30443"/>
                  </a:lnTo>
                  <a:lnTo>
                    <a:pt x="19231" y="30443"/>
                  </a:lnTo>
                  <a:lnTo>
                    <a:pt x="19231" y="30443"/>
                  </a:lnTo>
                  <a:lnTo>
                    <a:pt x="17836" y="31737"/>
                  </a:lnTo>
                  <a:lnTo>
                    <a:pt x="16840" y="33030"/>
                  </a:lnTo>
                  <a:lnTo>
                    <a:pt x="14947" y="34622"/>
                  </a:lnTo>
                  <a:lnTo>
                    <a:pt x="12256" y="35716"/>
                  </a:lnTo>
                  <a:lnTo>
                    <a:pt x="6875" y="36910"/>
                  </a:lnTo>
                  <a:lnTo>
                    <a:pt x="5082" y="36910"/>
                  </a:lnTo>
                  <a:lnTo>
                    <a:pt x="4982" y="36910"/>
                  </a:lnTo>
                  <a:lnTo>
                    <a:pt x="0" y="40392"/>
                  </a:lnTo>
                  <a:lnTo>
                    <a:pt x="2491" y="41387"/>
                  </a:lnTo>
                  <a:lnTo>
                    <a:pt x="5082" y="43277"/>
                  </a:lnTo>
                  <a:lnTo>
                    <a:pt x="6776" y="43973"/>
                  </a:lnTo>
                  <a:lnTo>
                    <a:pt x="9167" y="43178"/>
                  </a:lnTo>
                  <a:lnTo>
                    <a:pt x="10363" y="42382"/>
                  </a:lnTo>
                  <a:lnTo>
                    <a:pt x="10463" y="42680"/>
                  </a:lnTo>
                  <a:lnTo>
                    <a:pt x="10961" y="42581"/>
                  </a:lnTo>
                  <a:lnTo>
                    <a:pt x="15843" y="40193"/>
                  </a:lnTo>
                  <a:lnTo>
                    <a:pt x="17238" y="39696"/>
                  </a:lnTo>
                  <a:lnTo>
                    <a:pt x="18036" y="39596"/>
                  </a:lnTo>
                  <a:lnTo>
                    <a:pt x="27900" y="40093"/>
                  </a:lnTo>
                  <a:lnTo>
                    <a:pt x="40256" y="43576"/>
                  </a:lnTo>
                  <a:lnTo>
                    <a:pt x="41651" y="43774"/>
                  </a:lnTo>
                  <a:lnTo>
                    <a:pt x="42947" y="43576"/>
                  </a:lnTo>
                  <a:lnTo>
                    <a:pt x="44142" y="42680"/>
                  </a:lnTo>
                  <a:lnTo>
                    <a:pt x="44640" y="42183"/>
                  </a:lnTo>
                  <a:lnTo>
                    <a:pt x="45836" y="40292"/>
                  </a:lnTo>
                  <a:lnTo>
                    <a:pt x="46235" y="39696"/>
                  </a:lnTo>
                  <a:lnTo>
                    <a:pt x="46833" y="39298"/>
                  </a:lnTo>
                  <a:lnTo>
                    <a:pt x="49224" y="38104"/>
                  </a:lnTo>
                  <a:lnTo>
                    <a:pt x="49722" y="37706"/>
                  </a:lnTo>
                  <a:lnTo>
                    <a:pt x="50121" y="37208"/>
                  </a:lnTo>
                  <a:lnTo>
                    <a:pt x="50420" y="36412"/>
                  </a:lnTo>
                  <a:lnTo>
                    <a:pt x="50420" y="35517"/>
                  </a:lnTo>
                  <a:lnTo>
                    <a:pt x="49822" y="30244"/>
                  </a:lnTo>
                  <a:lnTo>
                    <a:pt x="49922" y="28453"/>
                  </a:lnTo>
                  <a:lnTo>
                    <a:pt x="50220" y="26663"/>
                  </a:lnTo>
                  <a:lnTo>
                    <a:pt x="50718" y="24971"/>
                  </a:lnTo>
                  <a:lnTo>
                    <a:pt x="51217" y="23479"/>
                  </a:lnTo>
                  <a:lnTo>
                    <a:pt x="52014" y="22086"/>
                  </a:lnTo>
                  <a:lnTo>
                    <a:pt x="54505" y="18903"/>
                  </a:lnTo>
                  <a:lnTo>
                    <a:pt x="54904" y="18206"/>
                  </a:lnTo>
                  <a:lnTo>
                    <a:pt x="55203" y="16813"/>
                  </a:lnTo>
                  <a:lnTo>
                    <a:pt x="55502" y="13928"/>
                  </a:lnTo>
                  <a:lnTo>
                    <a:pt x="57993" y="5671"/>
                  </a:lnTo>
                  <a:lnTo>
                    <a:pt x="58391" y="3880"/>
                  </a:lnTo>
                  <a:lnTo>
                    <a:pt x="59387" y="1194"/>
                  </a:lnTo>
                  <a:lnTo>
                    <a:pt x="59189" y="0"/>
                  </a:lnTo>
                  <a:lnTo>
                    <a:pt x="59089" y="0"/>
                  </a:lnTo>
                  <a:lnTo>
                    <a:pt x="55701" y="497"/>
                  </a:lnTo>
                  <a:lnTo>
                    <a:pt x="55502" y="4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2" name="Freeform: Shape 1261">
              <a:extLst>
                <a:ext uri="{FF2B5EF4-FFF2-40B4-BE49-F238E27FC236}">
                  <a16:creationId xmlns:a16="http://schemas.microsoft.com/office/drawing/2014/main" id="{86278057-2D73-452B-929E-27F4CA22AB7A}"/>
                </a:ext>
              </a:extLst>
            </p:cNvPr>
            <p:cNvSpPr/>
            <p:nvPr/>
          </p:nvSpPr>
          <p:spPr>
            <a:xfrm>
              <a:off x="4643346" y="786981"/>
              <a:ext cx="2092" cy="2885"/>
            </a:xfrm>
            <a:custGeom>
              <a:avLst/>
              <a:gdLst>
                <a:gd name="connsiteX0" fmla="*/ 1395 w 2092"/>
                <a:gd name="connsiteY0" fmla="*/ 1492 h 2885"/>
                <a:gd name="connsiteX1" fmla="*/ 2092 w 2092"/>
                <a:gd name="connsiteY1" fmla="*/ 0 h 2885"/>
                <a:gd name="connsiteX2" fmla="*/ 398 w 2092"/>
                <a:gd name="connsiteY2" fmla="*/ 0 h 2885"/>
                <a:gd name="connsiteX3" fmla="*/ 0 w 2092"/>
                <a:gd name="connsiteY3" fmla="*/ 2885 h 2885"/>
                <a:gd name="connsiteX4" fmla="*/ 1395 w 2092"/>
                <a:gd name="connsiteY4" fmla="*/ 1492 h 2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2" h="2885">
                  <a:moveTo>
                    <a:pt x="1395" y="1492"/>
                  </a:moveTo>
                  <a:lnTo>
                    <a:pt x="2092" y="0"/>
                  </a:lnTo>
                  <a:lnTo>
                    <a:pt x="398" y="0"/>
                  </a:lnTo>
                  <a:lnTo>
                    <a:pt x="0" y="2885"/>
                  </a:lnTo>
                  <a:lnTo>
                    <a:pt x="1395" y="14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3" name="Freeform: Shape 1262">
              <a:extLst>
                <a:ext uri="{FF2B5EF4-FFF2-40B4-BE49-F238E27FC236}">
                  <a16:creationId xmlns:a16="http://schemas.microsoft.com/office/drawing/2014/main" id="{0AACF4A3-CC7C-46C0-B394-A72401A2E6E2}"/>
                </a:ext>
              </a:extLst>
            </p:cNvPr>
            <p:cNvSpPr/>
            <p:nvPr/>
          </p:nvSpPr>
          <p:spPr>
            <a:xfrm>
              <a:off x="4558050" y="855229"/>
              <a:ext cx="25707" cy="22981"/>
            </a:xfrm>
            <a:custGeom>
              <a:avLst/>
              <a:gdLst>
                <a:gd name="connsiteX0" fmla="*/ 7772 w 25707"/>
                <a:gd name="connsiteY0" fmla="*/ 18903 h 22981"/>
                <a:gd name="connsiteX1" fmla="*/ 15445 w 25707"/>
                <a:gd name="connsiteY1" fmla="*/ 13033 h 22981"/>
                <a:gd name="connsiteX2" fmla="*/ 17637 w 25707"/>
                <a:gd name="connsiteY2" fmla="*/ 12137 h 22981"/>
                <a:gd name="connsiteX3" fmla="*/ 19231 w 25707"/>
                <a:gd name="connsiteY3" fmla="*/ 10645 h 22981"/>
                <a:gd name="connsiteX4" fmla="*/ 23516 w 25707"/>
                <a:gd name="connsiteY4" fmla="*/ 3980 h 22981"/>
                <a:gd name="connsiteX5" fmla="*/ 25110 w 25707"/>
                <a:gd name="connsiteY5" fmla="*/ 1990 h 22981"/>
                <a:gd name="connsiteX6" fmla="*/ 25708 w 25707"/>
                <a:gd name="connsiteY6" fmla="*/ 0 h 22981"/>
                <a:gd name="connsiteX7" fmla="*/ 0 w 25707"/>
                <a:gd name="connsiteY7" fmla="*/ 22982 h 22981"/>
                <a:gd name="connsiteX8" fmla="*/ 7772 w 25707"/>
                <a:gd name="connsiteY8" fmla="*/ 18903 h 2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07" h="22981">
                  <a:moveTo>
                    <a:pt x="7772" y="18903"/>
                  </a:moveTo>
                  <a:lnTo>
                    <a:pt x="15445" y="13033"/>
                  </a:lnTo>
                  <a:lnTo>
                    <a:pt x="17637" y="12137"/>
                  </a:lnTo>
                  <a:lnTo>
                    <a:pt x="19231" y="10645"/>
                  </a:lnTo>
                  <a:lnTo>
                    <a:pt x="23516" y="3980"/>
                  </a:lnTo>
                  <a:lnTo>
                    <a:pt x="25110" y="1990"/>
                  </a:lnTo>
                  <a:lnTo>
                    <a:pt x="25708" y="0"/>
                  </a:lnTo>
                  <a:lnTo>
                    <a:pt x="0" y="22982"/>
                  </a:lnTo>
                  <a:lnTo>
                    <a:pt x="7772" y="1890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4" name="Freeform: Shape 1263">
              <a:extLst>
                <a:ext uri="{FF2B5EF4-FFF2-40B4-BE49-F238E27FC236}">
                  <a16:creationId xmlns:a16="http://schemas.microsoft.com/office/drawing/2014/main" id="{8AB35547-4215-496B-96E6-F693D53AAEAA}"/>
                </a:ext>
              </a:extLst>
            </p:cNvPr>
            <p:cNvSpPr/>
            <p:nvPr/>
          </p:nvSpPr>
          <p:spPr>
            <a:xfrm>
              <a:off x="4167146" y="1128123"/>
              <a:ext cx="22221" cy="12137"/>
            </a:xfrm>
            <a:custGeom>
              <a:avLst/>
              <a:gdLst>
                <a:gd name="connsiteX0" fmla="*/ 13253 w 22221"/>
                <a:gd name="connsiteY0" fmla="*/ 1194 h 12137"/>
                <a:gd name="connsiteX1" fmla="*/ 11260 w 22221"/>
                <a:gd name="connsiteY1" fmla="*/ 3084 h 12137"/>
                <a:gd name="connsiteX2" fmla="*/ 7374 w 22221"/>
                <a:gd name="connsiteY2" fmla="*/ 8854 h 12137"/>
                <a:gd name="connsiteX3" fmla="*/ 5879 w 22221"/>
                <a:gd name="connsiteY3" fmla="*/ 10048 h 12137"/>
                <a:gd name="connsiteX4" fmla="*/ 3089 w 22221"/>
                <a:gd name="connsiteY4" fmla="*/ 10546 h 12137"/>
                <a:gd name="connsiteX5" fmla="*/ 0 w 22221"/>
                <a:gd name="connsiteY5" fmla="*/ 12137 h 12137"/>
                <a:gd name="connsiteX6" fmla="*/ 2093 w 22221"/>
                <a:gd name="connsiteY6" fmla="*/ 12038 h 12137"/>
                <a:gd name="connsiteX7" fmla="*/ 6278 w 22221"/>
                <a:gd name="connsiteY7" fmla="*/ 11242 h 12137"/>
                <a:gd name="connsiteX8" fmla="*/ 8769 w 22221"/>
                <a:gd name="connsiteY8" fmla="*/ 10148 h 12137"/>
                <a:gd name="connsiteX9" fmla="*/ 11957 w 22221"/>
                <a:gd name="connsiteY9" fmla="*/ 9451 h 12137"/>
                <a:gd name="connsiteX10" fmla="*/ 13153 w 22221"/>
                <a:gd name="connsiteY10" fmla="*/ 8854 h 12137"/>
                <a:gd name="connsiteX11" fmla="*/ 14449 w 22221"/>
                <a:gd name="connsiteY11" fmla="*/ 8158 h 12137"/>
                <a:gd name="connsiteX12" fmla="*/ 16342 w 22221"/>
                <a:gd name="connsiteY12" fmla="*/ 6069 h 12137"/>
                <a:gd name="connsiteX13" fmla="*/ 18933 w 22221"/>
                <a:gd name="connsiteY13" fmla="*/ 4079 h 12137"/>
                <a:gd name="connsiteX14" fmla="*/ 20228 w 22221"/>
                <a:gd name="connsiteY14" fmla="*/ 2786 h 12137"/>
                <a:gd name="connsiteX15" fmla="*/ 20626 w 22221"/>
                <a:gd name="connsiteY15" fmla="*/ 2388 h 12137"/>
                <a:gd name="connsiteX16" fmla="*/ 21324 w 22221"/>
                <a:gd name="connsiteY16" fmla="*/ 1592 h 12137"/>
                <a:gd name="connsiteX17" fmla="*/ 21922 w 22221"/>
                <a:gd name="connsiteY17" fmla="*/ 895 h 12137"/>
                <a:gd name="connsiteX18" fmla="*/ 22221 w 22221"/>
                <a:gd name="connsiteY18" fmla="*/ 0 h 12137"/>
                <a:gd name="connsiteX19" fmla="*/ 22221 w 22221"/>
                <a:gd name="connsiteY19" fmla="*/ 0 h 12137"/>
                <a:gd name="connsiteX20" fmla="*/ 18833 w 22221"/>
                <a:gd name="connsiteY20" fmla="*/ 0 h 12137"/>
                <a:gd name="connsiteX21" fmla="*/ 13253 w 22221"/>
                <a:gd name="connsiteY21" fmla="*/ 1194 h 1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221" h="12137">
                  <a:moveTo>
                    <a:pt x="13253" y="1194"/>
                  </a:moveTo>
                  <a:lnTo>
                    <a:pt x="11260" y="3084"/>
                  </a:lnTo>
                  <a:lnTo>
                    <a:pt x="7374" y="8854"/>
                  </a:lnTo>
                  <a:lnTo>
                    <a:pt x="5879" y="10048"/>
                  </a:lnTo>
                  <a:lnTo>
                    <a:pt x="3089" y="10546"/>
                  </a:lnTo>
                  <a:lnTo>
                    <a:pt x="0" y="12137"/>
                  </a:lnTo>
                  <a:lnTo>
                    <a:pt x="2093" y="12038"/>
                  </a:lnTo>
                  <a:lnTo>
                    <a:pt x="6278" y="11242"/>
                  </a:lnTo>
                  <a:lnTo>
                    <a:pt x="8769" y="10148"/>
                  </a:lnTo>
                  <a:lnTo>
                    <a:pt x="11957" y="9451"/>
                  </a:lnTo>
                  <a:lnTo>
                    <a:pt x="13153" y="8854"/>
                  </a:lnTo>
                  <a:lnTo>
                    <a:pt x="14449" y="8158"/>
                  </a:lnTo>
                  <a:lnTo>
                    <a:pt x="16342" y="6069"/>
                  </a:lnTo>
                  <a:lnTo>
                    <a:pt x="18933" y="4079"/>
                  </a:lnTo>
                  <a:lnTo>
                    <a:pt x="20228" y="2786"/>
                  </a:lnTo>
                  <a:lnTo>
                    <a:pt x="20626" y="2388"/>
                  </a:lnTo>
                  <a:lnTo>
                    <a:pt x="21324" y="1592"/>
                  </a:lnTo>
                  <a:lnTo>
                    <a:pt x="21922" y="895"/>
                  </a:lnTo>
                  <a:lnTo>
                    <a:pt x="22221" y="0"/>
                  </a:lnTo>
                  <a:lnTo>
                    <a:pt x="22221" y="0"/>
                  </a:lnTo>
                  <a:lnTo>
                    <a:pt x="18833" y="0"/>
                  </a:lnTo>
                  <a:lnTo>
                    <a:pt x="13253" y="11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5" name="Freeform: Shape 1264">
              <a:extLst>
                <a:ext uri="{FF2B5EF4-FFF2-40B4-BE49-F238E27FC236}">
                  <a16:creationId xmlns:a16="http://schemas.microsoft.com/office/drawing/2014/main" id="{6B8B523E-29C6-4BD4-8DB9-8E5B7191713C}"/>
                </a:ext>
              </a:extLst>
            </p:cNvPr>
            <p:cNvSpPr/>
            <p:nvPr/>
          </p:nvSpPr>
          <p:spPr>
            <a:xfrm>
              <a:off x="4826890" y="623722"/>
              <a:ext cx="6875" cy="4675"/>
            </a:xfrm>
            <a:custGeom>
              <a:avLst/>
              <a:gdLst>
                <a:gd name="connsiteX0" fmla="*/ 6278 w 6875"/>
                <a:gd name="connsiteY0" fmla="*/ 0 h 4675"/>
                <a:gd name="connsiteX1" fmla="*/ 4684 w 6875"/>
                <a:gd name="connsiteY1" fmla="*/ 298 h 4675"/>
                <a:gd name="connsiteX2" fmla="*/ 3587 w 6875"/>
                <a:gd name="connsiteY2" fmla="*/ 1393 h 4675"/>
                <a:gd name="connsiteX3" fmla="*/ 1594 w 6875"/>
                <a:gd name="connsiteY3" fmla="*/ 2089 h 4675"/>
                <a:gd name="connsiteX4" fmla="*/ 498 w 6875"/>
                <a:gd name="connsiteY4" fmla="*/ 3184 h 4675"/>
                <a:gd name="connsiteX5" fmla="*/ 0 w 6875"/>
                <a:gd name="connsiteY5" fmla="*/ 4079 h 4675"/>
                <a:gd name="connsiteX6" fmla="*/ 199 w 6875"/>
                <a:gd name="connsiteY6" fmla="*/ 4676 h 4675"/>
                <a:gd name="connsiteX7" fmla="*/ 1694 w 6875"/>
                <a:gd name="connsiteY7" fmla="*/ 4676 h 4675"/>
                <a:gd name="connsiteX8" fmla="*/ 3687 w 6875"/>
                <a:gd name="connsiteY8" fmla="*/ 4477 h 4675"/>
                <a:gd name="connsiteX9" fmla="*/ 6078 w 6875"/>
                <a:gd name="connsiteY9" fmla="*/ 3383 h 4675"/>
                <a:gd name="connsiteX10" fmla="*/ 6278 w 6875"/>
                <a:gd name="connsiteY10" fmla="*/ 1791 h 4675"/>
                <a:gd name="connsiteX11" fmla="*/ 6278 w 6875"/>
                <a:gd name="connsiteY11" fmla="*/ 1094 h 4675"/>
                <a:gd name="connsiteX12" fmla="*/ 6875 w 6875"/>
                <a:gd name="connsiteY12" fmla="*/ 398 h 4675"/>
                <a:gd name="connsiteX13" fmla="*/ 6278 w 6875"/>
                <a:gd name="connsiteY13" fmla="*/ 0 h 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875" h="4675">
                  <a:moveTo>
                    <a:pt x="6278" y="0"/>
                  </a:moveTo>
                  <a:lnTo>
                    <a:pt x="4684" y="298"/>
                  </a:lnTo>
                  <a:lnTo>
                    <a:pt x="3587" y="1393"/>
                  </a:lnTo>
                  <a:lnTo>
                    <a:pt x="1594" y="2089"/>
                  </a:lnTo>
                  <a:lnTo>
                    <a:pt x="498" y="3184"/>
                  </a:lnTo>
                  <a:lnTo>
                    <a:pt x="0" y="4079"/>
                  </a:lnTo>
                  <a:lnTo>
                    <a:pt x="199" y="4676"/>
                  </a:lnTo>
                  <a:lnTo>
                    <a:pt x="1694" y="4676"/>
                  </a:lnTo>
                  <a:lnTo>
                    <a:pt x="3687" y="4477"/>
                  </a:lnTo>
                  <a:lnTo>
                    <a:pt x="6078" y="3383"/>
                  </a:lnTo>
                  <a:lnTo>
                    <a:pt x="6278" y="1791"/>
                  </a:lnTo>
                  <a:lnTo>
                    <a:pt x="6278" y="1094"/>
                  </a:lnTo>
                  <a:lnTo>
                    <a:pt x="6875" y="398"/>
                  </a:lnTo>
                  <a:lnTo>
                    <a:pt x="6278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6" name="Freeform: Shape 1265">
              <a:extLst>
                <a:ext uri="{FF2B5EF4-FFF2-40B4-BE49-F238E27FC236}">
                  <a16:creationId xmlns:a16="http://schemas.microsoft.com/office/drawing/2014/main" id="{A8EAED31-785D-4F75-BBED-EB7674B2AE00}"/>
                </a:ext>
              </a:extLst>
            </p:cNvPr>
            <p:cNvSpPr/>
            <p:nvPr/>
          </p:nvSpPr>
          <p:spPr>
            <a:xfrm>
              <a:off x="4213281" y="1078280"/>
              <a:ext cx="11160" cy="13032"/>
            </a:xfrm>
            <a:custGeom>
              <a:avLst/>
              <a:gdLst>
                <a:gd name="connsiteX0" fmla="*/ 1893 w 11160"/>
                <a:gd name="connsiteY0" fmla="*/ 12038 h 13032"/>
                <a:gd name="connsiteX1" fmla="*/ 3488 w 11160"/>
                <a:gd name="connsiteY1" fmla="*/ 10944 h 13032"/>
                <a:gd name="connsiteX2" fmla="*/ 6278 w 11160"/>
                <a:gd name="connsiteY2" fmla="*/ 7959 h 13032"/>
                <a:gd name="connsiteX3" fmla="*/ 10762 w 11160"/>
                <a:gd name="connsiteY3" fmla="*/ 1094 h 13032"/>
                <a:gd name="connsiteX4" fmla="*/ 11160 w 11160"/>
                <a:gd name="connsiteY4" fmla="*/ 0 h 13032"/>
                <a:gd name="connsiteX5" fmla="*/ 3986 w 11160"/>
                <a:gd name="connsiteY5" fmla="*/ 7163 h 13032"/>
                <a:gd name="connsiteX6" fmla="*/ 199 w 11160"/>
                <a:gd name="connsiteY6" fmla="*/ 12635 h 13032"/>
                <a:gd name="connsiteX7" fmla="*/ 0 w 11160"/>
                <a:gd name="connsiteY7" fmla="*/ 13033 h 13032"/>
                <a:gd name="connsiteX8" fmla="*/ 299 w 11160"/>
                <a:gd name="connsiteY8" fmla="*/ 12933 h 13032"/>
                <a:gd name="connsiteX9" fmla="*/ 1893 w 11160"/>
                <a:gd name="connsiteY9" fmla="*/ 12038 h 13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160" h="13032">
                  <a:moveTo>
                    <a:pt x="1893" y="12038"/>
                  </a:moveTo>
                  <a:lnTo>
                    <a:pt x="3488" y="10944"/>
                  </a:lnTo>
                  <a:lnTo>
                    <a:pt x="6278" y="7959"/>
                  </a:lnTo>
                  <a:lnTo>
                    <a:pt x="10762" y="1094"/>
                  </a:lnTo>
                  <a:lnTo>
                    <a:pt x="11160" y="0"/>
                  </a:lnTo>
                  <a:lnTo>
                    <a:pt x="3986" y="7163"/>
                  </a:lnTo>
                  <a:lnTo>
                    <a:pt x="199" y="12635"/>
                  </a:lnTo>
                  <a:lnTo>
                    <a:pt x="0" y="13033"/>
                  </a:lnTo>
                  <a:lnTo>
                    <a:pt x="299" y="12933"/>
                  </a:lnTo>
                  <a:lnTo>
                    <a:pt x="1893" y="1203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7" name="Freeform: Shape 1266">
              <a:extLst>
                <a:ext uri="{FF2B5EF4-FFF2-40B4-BE49-F238E27FC236}">
                  <a16:creationId xmlns:a16="http://schemas.microsoft.com/office/drawing/2014/main" id="{6E0E00DF-8CA9-432F-A877-70EE4C31EA69}"/>
                </a:ext>
              </a:extLst>
            </p:cNvPr>
            <p:cNvSpPr/>
            <p:nvPr/>
          </p:nvSpPr>
          <p:spPr>
            <a:xfrm>
              <a:off x="5456242" y="315211"/>
              <a:ext cx="8968" cy="9351"/>
            </a:xfrm>
            <a:custGeom>
              <a:avLst/>
              <a:gdLst>
                <a:gd name="connsiteX0" fmla="*/ 8968 w 8968"/>
                <a:gd name="connsiteY0" fmla="*/ 8456 h 9351"/>
                <a:gd name="connsiteX1" fmla="*/ 8868 w 8968"/>
                <a:gd name="connsiteY1" fmla="*/ 6268 h 9351"/>
                <a:gd name="connsiteX2" fmla="*/ 4883 w 8968"/>
                <a:gd name="connsiteY2" fmla="*/ 1393 h 9351"/>
                <a:gd name="connsiteX3" fmla="*/ 3986 w 8968"/>
                <a:gd name="connsiteY3" fmla="*/ 995 h 9351"/>
                <a:gd name="connsiteX4" fmla="*/ 3588 w 8968"/>
                <a:gd name="connsiteY4" fmla="*/ 796 h 9351"/>
                <a:gd name="connsiteX5" fmla="*/ 3189 w 8968"/>
                <a:gd name="connsiteY5" fmla="*/ 0 h 9351"/>
                <a:gd name="connsiteX6" fmla="*/ 299 w 8968"/>
                <a:gd name="connsiteY6" fmla="*/ 2487 h 9351"/>
                <a:gd name="connsiteX7" fmla="*/ 0 w 8968"/>
                <a:gd name="connsiteY7" fmla="*/ 5571 h 9351"/>
                <a:gd name="connsiteX8" fmla="*/ 1893 w 8968"/>
                <a:gd name="connsiteY8" fmla="*/ 8257 h 9351"/>
                <a:gd name="connsiteX9" fmla="*/ 5381 w 8968"/>
                <a:gd name="connsiteY9" fmla="*/ 9352 h 9351"/>
                <a:gd name="connsiteX10" fmla="*/ 8968 w 8968"/>
                <a:gd name="connsiteY10" fmla="*/ 8456 h 9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968" h="9351">
                  <a:moveTo>
                    <a:pt x="8968" y="8456"/>
                  </a:moveTo>
                  <a:lnTo>
                    <a:pt x="8868" y="6268"/>
                  </a:lnTo>
                  <a:lnTo>
                    <a:pt x="4883" y="1393"/>
                  </a:lnTo>
                  <a:lnTo>
                    <a:pt x="3986" y="995"/>
                  </a:lnTo>
                  <a:lnTo>
                    <a:pt x="3588" y="796"/>
                  </a:lnTo>
                  <a:lnTo>
                    <a:pt x="3189" y="0"/>
                  </a:lnTo>
                  <a:lnTo>
                    <a:pt x="299" y="2487"/>
                  </a:lnTo>
                  <a:lnTo>
                    <a:pt x="0" y="5571"/>
                  </a:lnTo>
                  <a:lnTo>
                    <a:pt x="1893" y="8257"/>
                  </a:lnTo>
                  <a:lnTo>
                    <a:pt x="5381" y="9352"/>
                  </a:lnTo>
                  <a:lnTo>
                    <a:pt x="8968" y="845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8" name="Freeform: Shape 1267">
              <a:extLst>
                <a:ext uri="{FF2B5EF4-FFF2-40B4-BE49-F238E27FC236}">
                  <a16:creationId xmlns:a16="http://schemas.microsoft.com/office/drawing/2014/main" id="{7CDE340A-9396-4BAA-A3C5-00FD62492C67}"/>
                </a:ext>
              </a:extLst>
            </p:cNvPr>
            <p:cNvSpPr/>
            <p:nvPr/>
          </p:nvSpPr>
          <p:spPr>
            <a:xfrm>
              <a:off x="5981765" y="1014210"/>
              <a:ext cx="11658" cy="6367"/>
            </a:xfrm>
            <a:custGeom>
              <a:avLst/>
              <a:gdLst>
                <a:gd name="connsiteX0" fmla="*/ 7274 w 11658"/>
                <a:gd name="connsiteY0" fmla="*/ 796 h 6367"/>
                <a:gd name="connsiteX1" fmla="*/ 398 w 11658"/>
                <a:gd name="connsiteY1" fmla="*/ 3482 h 6367"/>
                <a:gd name="connsiteX2" fmla="*/ 0 w 11658"/>
                <a:gd name="connsiteY2" fmla="*/ 4776 h 6367"/>
                <a:gd name="connsiteX3" fmla="*/ 2590 w 11658"/>
                <a:gd name="connsiteY3" fmla="*/ 5472 h 6367"/>
                <a:gd name="connsiteX4" fmla="*/ 6975 w 11658"/>
                <a:gd name="connsiteY4" fmla="*/ 5472 h 6367"/>
                <a:gd name="connsiteX5" fmla="*/ 8470 w 11658"/>
                <a:gd name="connsiteY5" fmla="*/ 5870 h 6367"/>
                <a:gd name="connsiteX6" fmla="*/ 9267 w 11658"/>
                <a:gd name="connsiteY6" fmla="*/ 6367 h 6367"/>
                <a:gd name="connsiteX7" fmla="*/ 9565 w 11658"/>
                <a:gd name="connsiteY7" fmla="*/ 5671 h 6367"/>
                <a:gd name="connsiteX8" fmla="*/ 9466 w 11658"/>
                <a:gd name="connsiteY8" fmla="*/ 3781 h 6367"/>
                <a:gd name="connsiteX9" fmla="*/ 9865 w 11658"/>
                <a:gd name="connsiteY9" fmla="*/ 1791 h 6367"/>
                <a:gd name="connsiteX10" fmla="*/ 11658 w 11658"/>
                <a:gd name="connsiteY10" fmla="*/ 597 h 6367"/>
                <a:gd name="connsiteX11" fmla="*/ 10861 w 11658"/>
                <a:gd name="connsiteY11" fmla="*/ 0 h 6367"/>
                <a:gd name="connsiteX12" fmla="*/ 7274 w 11658"/>
                <a:gd name="connsiteY12" fmla="*/ 796 h 6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658" h="6367">
                  <a:moveTo>
                    <a:pt x="7274" y="796"/>
                  </a:moveTo>
                  <a:lnTo>
                    <a:pt x="398" y="3482"/>
                  </a:lnTo>
                  <a:lnTo>
                    <a:pt x="0" y="4776"/>
                  </a:lnTo>
                  <a:lnTo>
                    <a:pt x="2590" y="5472"/>
                  </a:lnTo>
                  <a:lnTo>
                    <a:pt x="6975" y="5472"/>
                  </a:lnTo>
                  <a:lnTo>
                    <a:pt x="8470" y="5870"/>
                  </a:lnTo>
                  <a:lnTo>
                    <a:pt x="9267" y="6367"/>
                  </a:lnTo>
                  <a:lnTo>
                    <a:pt x="9565" y="5671"/>
                  </a:lnTo>
                  <a:lnTo>
                    <a:pt x="9466" y="3781"/>
                  </a:lnTo>
                  <a:lnTo>
                    <a:pt x="9865" y="1791"/>
                  </a:lnTo>
                  <a:lnTo>
                    <a:pt x="11658" y="597"/>
                  </a:lnTo>
                  <a:lnTo>
                    <a:pt x="10861" y="0"/>
                  </a:lnTo>
                  <a:lnTo>
                    <a:pt x="7274" y="7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69" name="Freeform: Shape 1268">
              <a:extLst>
                <a:ext uri="{FF2B5EF4-FFF2-40B4-BE49-F238E27FC236}">
                  <a16:creationId xmlns:a16="http://schemas.microsoft.com/office/drawing/2014/main" id="{AA7283C2-BA32-4F4D-9849-E6E353C8EEF4}"/>
                </a:ext>
              </a:extLst>
            </p:cNvPr>
            <p:cNvSpPr/>
            <p:nvPr/>
          </p:nvSpPr>
          <p:spPr>
            <a:xfrm>
              <a:off x="3810420" y="1313269"/>
              <a:ext cx="21523" cy="16216"/>
            </a:xfrm>
            <a:custGeom>
              <a:avLst/>
              <a:gdLst>
                <a:gd name="connsiteX0" fmla="*/ 12356 w 21523"/>
                <a:gd name="connsiteY0" fmla="*/ 5671 h 16216"/>
                <a:gd name="connsiteX1" fmla="*/ 12257 w 21523"/>
                <a:gd name="connsiteY1" fmla="*/ 2786 h 16216"/>
                <a:gd name="connsiteX2" fmla="*/ 14847 w 21523"/>
                <a:gd name="connsiteY2" fmla="*/ 895 h 16216"/>
                <a:gd name="connsiteX3" fmla="*/ 17837 w 21523"/>
                <a:gd name="connsiteY3" fmla="*/ 0 h 16216"/>
                <a:gd name="connsiteX4" fmla="*/ 17837 w 21523"/>
                <a:gd name="connsiteY4" fmla="*/ 0 h 16216"/>
                <a:gd name="connsiteX5" fmla="*/ 15943 w 21523"/>
                <a:gd name="connsiteY5" fmla="*/ 298 h 16216"/>
                <a:gd name="connsiteX6" fmla="*/ 12456 w 21523"/>
                <a:gd name="connsiteY6" fmla="*/ 1890 h 16216"/>
                <a:gd name="connsiteX7" fmla="*/ 10762 w 21523"/>
                <a:gd name="connsiteY7" fmla="*/ 2189 h 16216"/>
                <a:gd name="connsiteX8" fmla="*/ 8669 w 21523"/>
                <a:gd name="connsiteY8" fmla="*/ 3482 h 16216"/>
                <a:gd name="connsiteX9" fmla="*/ 0 w 21523"/>
                <a:gd name="connsiteY9" fmla="*/ 12038 h 16216"/>
                <a:gd name="connsiteX10" fmla="*/ 1096 w 21523"/>
                <a:gd name="connsiteY10" fmla="*/ 12635 h 16216"/>
                <a:gd name="connsiteX11" fmla="*/ 2391 w 21523"/>
                <a:gd name="connsiteY11" fmla="*/ 13033 h 16216"/>
                <a:gd name="connsiteX12" fmla="*/ 3787 w 21523"/>
                <a:gd name="connsiteY12" fmla="*/ 13232 h 16216"/>
                <a:gd name="connsiteX13" fmla="*/ 5182 w 21523"/>
                <a:gd name="connsiteY13" fmla="*/ 13132 h 16216"/>
                <a:gd name="connsiteX14" fmla="*/ 4783 w 21523"/>
                <a:gd name="connsiteY14" fmla="*/ 13729 h 16216"/>
                <a:gd name="connsiteX15" fmla="*/ 4484 w 21523"/>
                <a:gd name="connsiteY15" fmla="*/ 14227 h 16216"/>
                <a:gd name="connsiteX16" fmla="*/ 4086 w 21523"/>
                <a:gd name="connsiteY16" fmla="*/ 14724 h 16216"/>
                <a:gd name="connsiteX17" fmla="*/ 3488 w 21523"/>
                <a:gd name="connsiteY17" fmla="*/ 15222 h 16216"/>
                <a:gd name="connsiteX18" fmla="*/ 3488 w 21523"/>
                <a:gd name="connsiteY18" fmla="*/ 16216 h 16216"/>
                <a:gd name="connsiteX19" fmla="*/ 12456 w 21523"/>
                <a:gd name="connsiteY19" fmla="*/ 14525 h 16216"/>
                <a:gd name="connsiteX20" fmla="*/ 13950 w 21523"/>
                <a:gd name="connsiteY20" fmla="*/ 13630 h 16216"/>
                <a:gd name="connsiteX21" fmla="*/ 15046 w 21523"/>
                <a:gd name="connsiteY21" fmla="*/ 11143 h 16216"/>
                <a:gd name="connsiteX22" fmla="*/ 17837 w 21523"/>
                <a:gd name="connsiteY22" fmla="*/ 9153 h 16216"/>
                <a:gd name="connsiteX23" fmla="*/ 21523 w 21523"/>
                <a:gd name="connsiteY23" fmla="*/ 7462 h 16216"/>
                <a:gd name="connsiteX24" fmla="*/ 16940 w 21523"/>
                <a:gd name="connsiteY24" fmla="*/ 7163 h 16216"/>
                <a:gd name="connsiteX25" fmla="*/ 12356 w 21523"/>
                <a:gd name="connsiteY25" fmla="*/ 5671 h 1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523" h="16216">
                  <a:moveTo>
                    <a:pt x="12356" y="5671"/>
                  </a:moveTo>
                  <a:lnTo>
                    <a:pt x="12257" y="2786"/>
                  </a:lnTo>
                  <a:lnTo>
                    <a:pt x="14847" y="895"/>
                  </a:lnTo>
                  <a:lnTo>
                    <a:pt x="17837" y="0"/>
                  </a:lnTo>
                  <a:lnTo>
                    <a:pt x="17837" y="0"/>
                  </a:lnTo>
                  <a:lnTo>
                    <a:pt x="15943" y="298"/>
                  </a:lnTo>
                  <a:lnTo>
                    <a:pt x="12456" y="1890"/>
                  </a:lnTo>
                  <a:lnTo>
                    <a:pt x="10762" y="2189"/>
                  </a:lnTo>
                  <a:lnTo>
                    <a:pt x="8669" y="3482"/>
                  </a:lnTo>
                  <a:lnTo>
                    <a:pt x="0" y="12038"/>
                  </a:lnTo>
                  <a:lnTo>
                    <a:pt x="1096" y="12635"/>
                  </a:lnTo>
                  <a:lnTo>
                    <a:pt x="2391" y="13033"/>
                  </a:lnTo>
                  <a:lnTo>
                    <a:pt x="3787" y="13232"/>
                  </a:lnTo>
                  <a:lnTo>
                    <a:pt x="5182" y="13132"/>
                  </a:lnTo>
                  <a:lnTo>
                    <a:pt x="4783" y="13729"/>
                  </a:lnTo>
                  <a:lnTo>
                    <a:pt x="4484" y="14227"/>
                  </a:lnTo>
                  <a:lnTo>
                    <a:pt x="4086" y="14724"/>
                  </a:lnTo>
                  <a:lnTo>
                    <a:pt x="3488" y="15222"/>
                  </a:lnTo>
                  <a:lnTo>
                    <a:pt x="3488" y="16216"/>
                  </a:lnTo>
                  <a:lnTo>
                    <a:pt x="12456" y="14525"/>
                  </a:lnTo>
                  <a:lnTo>
                    <a:pt x="13950" y="13630"/>
                  </a:lnTo>
                  <a:lnTo>
                    <a:pt x="15046" y="11143"/>
                  </a:lnTo>
                  <a:lnTo>
                    <a:pt x="17837" y="9153"/>
                  </a:lnTo>
                  <a:lnTo>
                    <a:pt x="21523" y="7462"/>
                  </a:lnTo>
                  <a:lnTo>
                    <a:pt x="16940" y="7163"/>
                  </a:lnTo>
                  <a:lnTo>
                    <a:pt x="12356" y="567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0" name="Freeform: Shape 1269">
              <a:extLst>
                <a:ext uri="{FF2B5EF4-FFF2-40B4-BE49-F238E27FC236}">
                  <a16:creationId xmlns:a16="http://schemas.microsoft.com/office/drawing/2014/main" id="{5889F4C3-A4D8-473A-8C77-0330074D8898}"/>
                </a:ext>
              </a:extLst>
            </p:cNvPr>
            <p:cNvSpPr/>
            <p:nvPr/>
          </p:nvSpPr>
          <p:spPr>
            <a:xfrm>
              <a:off x="2347346" y="417385"/>
              <a:ext cx="1096" cy="2188"/>
            </a:xfrm>
            <a:custGeom>
              <a:avLst/>
              <a:gdLst>
                <a:gd name="connsiteX0" fmla="*/ 0 w 1096"/>
                <a:gd name="connsiteY0" fmla="*/ 2189 h 2188"/>
                <a:gd name="connsiteX1" fmla="*/ 1097 w 1096"/>
                <a:gd name="connsiteY1" fmla="*/ 99 h 2188"/>
                <a:gd name="connsiteX2" fmla="*/ 698 w 1096"/>
                <a:gd name="connsiteY2" fmla="*/ 0 h 2188"/>
                <a:gd name="connsiteX3" fmla="*/ 698 w 1096"/>
                <a:gd name="connsiteY3" fmla="*/ 398 h 2188"/>
                <a:gd name="connsiteX4" fmla="*/ 0 w 1096"/>
                <a:gd name="connsiteY4" fmla="*/ 2189 h 2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" h="2188">
                  <a:moveTo>
                    <a:pt x="0" y="2189"/>
                  </a:moveTo>
                  <a:lnTo>
                    <a:pt x="1097" y="99"/>
                  </a:lnTo>
                  <a:lnTo>
                    <a:pt x="698" y="0"/>
                  </a:lnTo>
                  <a:lnTo>
                    <a:pt x="698" y="398"/>
                  </a:lnTo>
                  <a:lnTo>
                    <a:pt x="0" y="218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1" name="Freeform: Shape 1270">
              <a:extLst>
                <a:ext uri="{FF2B5EF4-FFF2-40B4-BE49-F238E27FC236}">
                  <a16:creationId xmlns:a16="http://schemas.microsoft.com/office/drawing/2014/main" id="{6C9E0F58-145C-47AB-82F4-CF781E4F3BD6}"/>
                </a:ext>
              </a:extLst>
            </p:cNvPr>
            <p:cNvSpPr/>
            <p:nvPr/>
          </p:nvSpPr>
          <p:spPr>
            <a:xfrm>
              <a:off x="-2812123" y="-248583"/>
              <a:ext cx="10761" cy="22384"/>
            </a:xfrm>
            <a:custGeom>
              <a:avLst/>
              <a:gdLst>
                <a:gd name="connsiteX0" fmla="*/ 8470 w 10761"/>
                <a:gd name="connsiteY0" fmla="*/ 3582 h 22384"/>
                <a:gd name="connsiteX1" fmla="*/ 9665 w 10761"/>
                <a:gd name="connsiteY1" fmla="*/ 7959 h 22384"/>
                <a:gd name="connsiteX2" fmla="*/ 8769 w 10761"/>
                <a:gd name="connsiteY2" fmla="*/ 11043 h 22384"/>
                <a:gd name="connsiteX3" fmla="*/ 7374 w 10761"/>
                <a:gd name="connsiteY3" fmla="*/ 12336 h 22384"/>
                <a:gd name="connsiteX4" fmla="*/ 5779 w 10761"/>
                <a:gd name="connsiteY4" fmla="*/ 13033 h 22384"/>
                <a:gd name="connsiteX5" fmla="*/ 3986 w 10761"/>
                <a:gd name="connsiteY5" fmla="*/ 14525 h 22384"/>
                <a:gd name="connsiteX6" fmla="*/ 1395 w 10761"/>
                <a:gd name="connsiteY6" fmla="*/ 18306 h 22384"/>
                <a:gd name="connsiteX7" fmla="*/ 0 w 10761"/>
                <a:gd name="connsiteY7" fmla="*/ 21091 h 22384"/>
                <a:gd name="connsiteX8" fmla="*/ 3687 w 10761"/>
                <a:gd name="connsiteY8" fmla="*/ 22385 h 22384"/>
                <a:gd name="connsiteX9" fmla="*/ 6078 w 10761"/>
                <a:gd name="connsiteY9" fmla="*/ 18206 h 22384"/>
                <a:gd name="connsiteX10" fmla="*/ 8769 w 10761"/>
                <a:gd name="connsiteY10" fmla="*/ 14824 h 22384"/>
                <a:gd name="connsiteX11" fmla="*/ 8968 w 10761"/>
                <a:gd name="connsiteY11" fmla="*/ 14426 h 22384"/>
                <a:gd name="connsiteX12" fmla="*/ 9964 w 10761"/>
                <a:gd name="connsiteY12" fmla="*/ 11541 h 22384"/>
                <a:gd name="connsiteX13" fmla="*/ 10562 w 10761"/>
                <a:gd name="connsiteY13" fmla="*/ 8058 h 22384"/>
                <a:gd name="connsiteX14" fmla="*/ 10762 w 10761"/>
                <a:gd name="connsiteY14" fmla="*/ 3681 h 22384"/>
                <a:gd name="connsiteX15" fmla="*/ 9964 w 10761"/>
                <a:gd name="connsiteY15" fmla="*/ 199 h 22384"/>
                <a:gd name="connsiteX16" fmla="*/ 9267 w 10761"/>
                <a:gd name="connsiteY16" fmla="*/ 0 h 22384"/>
                <a:gd name="connsiteX17" fmla="*/ 8470 w 10761"/>
                <a:gd name="connsiteY17" fmla="*/ 696 h 22384"/>
                <a:gd name="connsiteX18" fmla="*/ 8470 w 10761"/>
                <a:gd name="connsiteY18" fmla="*/ 3582 h 2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761" h="22384">
                  <a:moveTo>
                    <a:pt x="8470" y="3582"/>
                  </a:moveTo>
                  <a:lnTo>
                    <a:pt x="9665" y="7959"/>
                  </a:lnTo>
                  <a:lnTo>
                    <a:pt x="8769" y="11043"/>
                  </a:lnTo>
                  <a:lnTo>
                    <a:pt x="7374" y="12336"/>
                  </a:lnTo>
                  <a:lnTo>
                    <a:pt x="5779" y="13033"/>
                  </a:lnTo>
                  <a:lnTo>
                    <a:pt x="3986" y="14525"/>
                  </a:lnTo>
                  <a:lnTo>
                    <a:pt x="1395" y="18306"/>
                  </a:lnTo>
                  <a:lnTo>
                    <a:pt x="0" y="21091"/>
                  </a:lnTo>
                  <a:lnTo>
                    <a:pt x="3687" y="22385"/>
                  </a:lnTo>
                  <a:lnTo>
                    <a:pt x="6078" y="18206"/>
                  </a:lnTo>
                  <a:lnTo>
                    <a:pt x="8769" y="14824"/>
                  </a:lnTo>
                  <a:lnTo>
                    <a:pt x="8968" y="14426"/>
                  </a:lnTo>
                  <a:lnTo>
                    <a:pt x="9964" y="11541"/>
                  </a:lnTo>
                  <a:lnTo>
                    <a:pt x="10562" y="8058"/>
                  </a:lnTo>
                  <a:lnTo>
                    <a:pt x="10762" y="3681"/>
                  </a:lnTo>
                  <a:lnTo>
                    <a:pt x="9964" y="199"/>
                  </a:lnTo>
                  <a:lnTo>
                    <a:pt x="9267" y="0"/>
                  </a:lnTo>
                  <a:lnTo>
                    <a:pt x="8470" y="696"/>
                  </a:lnTo>
                  <a:lnTo>
                    <a:pt x="8470" y="358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2" name="Freeform: Shape 1271">
              <a:extLst>
                <a:ext uri="{FF2B5EF4-FFF2-40B4-BE49-F238E27FC236}">
                  <a16:creationId xmlns:a16="http://schemas.microsoft.com/office/drawing/2014/main" id="{E2BA5A1B-8EA2-42A0-BBA5-7F838436A7FF}"/>
                </a:ext>
              </a:extLst>
            </p:cNvPr>
            <p:cNvSpPr/>
            <p:nvPr/>
          </p:nvSpPr>
          <p:spPr>
            <a:xfrm>
              <a:off x="-2853775" y="-447160"/>
              <a:ext cx="9154202" cy="2112317"/>
            </a:xfrm>
            <a:custGeom>
              <a:avLst/>
              <a:gdLst>
                <a:gd name="connsiteX0" fmla="*/ 6344837 w 9154202"/>
                <a:gd name="connsiteY0" fmla="*/ 1393 h 2112317"/>
                <a:gd name="connsiteX1" fmla="*/ 6343243 w 9154202"/>
                <a:gd name="connsiteY1" fmla="*/ 3880 h 2112317"/>
                <a:gd name="connsiteX2" fmla="*/ 6340951 w 9154202"/>
                <a:gd name="connsiteY2" fmla="*/ 6467 h 2112317"/>
                <a:gd name="connsiteX3" fmla="*/ 6339357 w 9154202"/>
                <a:gd name="connsiteY3" fmla="*/ 9252 h 2112317"/>
                <a:gd name="connsiteX4" fmla="*/ 6341250 w 9154202"/>
                <a:gd name="connsiteY4" fmla="*/ 9252 h 2112317"/>
                <a:gd name="connsiteX5" fmla="*/ 6342944 w 9154202"/>
                <a:gd name="connsiteY5" fmla="*/ 8655 h 2112317"/>
                <a:gd name="connsiteX6" fmla="*/ 6346232 w 9154202"/>
                <a:gd name="connsiteY6" fmla="*/ 6765 h 2112317"/>
                <a:gd name="connsiteX7" fmla="*/ 6344837 w 9154202"/>
                <a:gd name="connsiteY7" fmla="*/ 6765 h 2112317"/>
                <a:gd name="connsiteX8" fmla="*/ 6344239 w 9154202"/>
                <a:gd name="connsiteY8" fmla="*/ 6765 h 2112317"/>
                <a:gd name="connsiteX9" fmla="*/ 6343641 w 9154202"/>
                <a:gd name="connsiteY9" fmla="*/ 6069 h 2112317"/>
                <a:gd name="connsiteX10" fmla="*/ 6346033 w 9154202"/>
                <a:gd name="connsiteY10" fmla="*/ 4576 h 2112317"/>
                <a:gd name="connsiteX11" fmla="*/ 6348922 w 9154202"/>
                <a:gd name="connsiteY11" fmla="*/ 4576 h 2112317"/>
                <a:gd name="connsiteX12" fmla="*/ 6351513 w 9154202"/>
                <a:gd name="connsiteY12" fmla="*/ 5372 h 2112317"/>
                <a:gd name="connsiteX13" fmla="*/ 6353207 w 9154202"/>
                <a:gd name="connsiteY13" fmla="*/ 7661 h 2112317"/>
                <a:gd name="connsiteX14" fmla="*/ 6353207 w 9154202"/>
                <a:gd name="connsiteY14" fmla="*/ 10148 h 2112317"/>
                <a:gd name="connsiteX15" fmla="*/ 6350517 w 9154202"/>
                <a:gd name="connsiteY15" fmla="*/ 11541 h 2112317"/>
                <a:gd name="connsiteX16" fmla="*/ 6344040 w 9154202"/>
                <a:gd name="connsiteY16" fmla="*/ 12436 h 2112317"/>
                <a:gd name="connsiteX17" fmla="*/ 6344040 w 9154202"/>
                <a:gd name="connsiteY17" fmla="*/ 13729 h 2112317"/>
                <a:gd name="connsiteX18" fmla="*/ 6347328 w 9154202"/>
                <a:gd name="connsiteY18" fmla="*/ 13431 h 2112317"/>
                <a:gd name="connsiteX19" fmla="*/ 6351015 w 9154202"/>
                <a:gd name="connsiteY19" fmla="*/ 16515 h 2112317"/>
                <a:gd name="connsiteX20" fmla="*/ 6352410 w 9154202"/>
                <a:gd name="connsiteY20" fmla="*/ 19699 h 2112317"/>
                <a:gd name="connsiteX21" fmla="*/ 6349321 w 9154202"/>
                <a:gd name="connsiteY21" fmla="*/ 20992 h 2112317"/>
                <a:gd name="connsiteX22" fmla="*/ 6350317 w 9154202"/>
                <a:gd name="connsiteY22" fmla="*/ 21887 h 2112317"/>
                <a:gd name="connsiteX23" fmla="*/ 6351413 w 9154202"/>
                <a:gd name="connsiteY23" fmla="*/ 21887 h 2112317"/>
                <a:gd name="connsiteX24" fmla="*/ 6353606 w 9154202"/>
                <a:gd name="connsiteY24" fmla="*/ 21887 h 2112317"/>
                <a:gd name="connsiteX25" fmla="*/ 6353606 w 9154202"/>
                <a:gd name="connsiteY25" fmla="*/ 23181 h 2112317"/>
                <a:gd name="connsiteX26" fmla="*/ 6354303 w 9154202"/>
                <a:gd name="connsiteY26" fmla="*/ 25170 h 2112317"/>
                <a:gd name="connsiteX27" fmla="*/ 6355499 w 9154202"/>
                <a:gd name="connsiteY27" fmla="*/ 27061 h 2112317"/>
                <a:gd name="connsiteX28" fmla="*/ 6356794 w 9154202"/>
                <a:gd name="connsiteY28" fmla="*/ 27856 h 2112317"/>
                <a:gd name="connsiteX29" fmla="*/ 6356794 w 9154202"/>
                <a:gd name="connsiteY29" fmla="*/ 28951 h 2112317"/>
                <a:gd name="connsiteX30" fmla="*/ 6356794 w 9154202"/>
                <a:gd name="connsiteY30" fmla="*/ 31239 h 2112317"/>
                <a:gd name="connsiteX31" fmla="*/ 6355399 w 9154202"/>
                <a:gd name="connsiteY31" fmla="*/ 35318 h 2112317"/>
                <a:gd name="connsiteX32" fmla="*/ 6357293 w 9154202"/>
                <a:gd name="connsiteY32" fmla="*/ 35318 h 2112317"/>
                <a:gd name="connsiteX33" fmla="*/ 6362375 w 9154202"/>
                <a:gd name="connsiteY33" fmla="*/ 36512 h 2112317"/>
                <a:gd name="connsiteX34" fmla="*/ 6362375 w 9154202"/>
                <a:gd name="connsiteY34" fmla="*/ 37606 h 2112317"/>
                <a:gd name="connsiteX35" fmla="*/ 6359484 w 9154202"/>
                <a:gd name="connsiteY35" fmla="*/ 38800 h 2112317"/>
                <a:gd name="connsiteX36" fmla="*/ 6357890 w 9154202"/>
                <a:gd name="connsiteY36" fmla="*/ 38800 h 2112317"/>
                <a:gd name="connsiteX37" fmla="*/ 6356296 w 9154202"/>
                <a:gd name="connsiteY37" fmla="*/ 38800 h 2112317"/>
                <a:gd name="connsiteX38" fmla="*/ 6356296 w 9154202"/>
                <a:gd name="connsiteY38" fmla="*/ 39596 h 2112317"/>
                <a:gd name="connsiteX39" fmla="*/ 6356296 w 9154202"/>
                <a:gd name="connsiteY39" fmla="*/ 41586 h 2112317"/>
                <a:gd name="connsiteX40" fmla="*/ 6357293 w 9154202"/>
                <a:gd name="connsiteY40" fmla="*/ 43277 h 2112317"/>
                <a:gd name="connsiteX41" fmla="*/ 6356595 w 9154202"/>
                <a:gd name="connsiteY41" fmla="*/ 43277 h 2112317"/>
                <a:gd name="connsiteX42" fmla="*/ 6356595 w 9154202"/>
                <a:gd name="connsiteY42" fmla="*/ 43874 h 2112317"/>
                <a:gd name="connsiteX43" fmla="*/ 6356595 w 9154202"/>
                <a:gd name="connsiteY43" fmla="*/ 44570 h 2112317"/>
                <a:gd name="connsiteX44" fmla="*/ 6356595 w 9154202"/>
                <a:gd name="connsiteY44" fmla="*/ 45167 h 2112317"/>
                <a:gd name="connsiteX45" fmla="*/ 6359784 w 9154202"/>
                <a:gd name="connsiteY45" fmla="*/ 45665 h 2112317"/>
                <a:gd name="connsiteX46" fmla="*/ 6361976 w 9154202"/>
                <a:gd name="connsiteY46" fmla="*/ 48550 h 2112317"/>
                <a:gd name="connsiteX47" fmla="*/ 6362673 w 9154202"/>
                <a:gd name="connsiteY47" fmla="*/ 52529 h 2112317"/>
                <a:gd name="connsiteX48" fmla="*/ 6361876 w 9154202"/>
                <a:gd name="connsiteY48" fmla="*/ 56210 h 2112317"/>
                <a:gd name="connsiteX49" fmla="*/ 6365463 w 9154202"/>
                <a:gd name="connsiteY49" fmla="*/ 56210 h 2112317"/>
                <a:gd name="connsiteX50" fmla="*/ 6366859 w 9154202"/>
                <a:gd name="connsiteY50" fmla="*/ 56807 h 2112317"/>
                <a:gd name="connsiteX51" fmla="*/ 6367955 w 9154202"/>
                <a:gd name="connsiteY51" fmla="*/ 58598 h 2112317"/>
                <a:gd name="connsiteX52" fmla="*/ 6366859 w 9154202"/>
                <a:gd name="connsiteY52" fmla="*/ 58598 h 2112317"/>
                <a:gd name="connsiteX53" fmla="*/ 6366061 w 9154202"/>
                <a:gd name="connsiteY53" fmla="*/ 58598 h 2112317"/>
                <a:gd name="connsiteX54" fmla="*/ 6364467 w 9154202"/>
                <a:gd name="connsiteY54" fmla="*/ 60389 h 2112317"/>
                <a:gd name="connsiteX55" fmla="*/ 6368951 w 9154202"/>
                <a:gd name="connsiteY55" fmla="*/ 62677 h 2112317"/>
                <a:gd name="connsiteX56" fmla="*/ 6383499 w 9154202"/>
                <a:gd name="connsiteY56" fmla="*/ 64368 h 2112317"/>
                <a:gd name="connsiteX57" fmla="*/ 6384395 w 9154202"/>
                <a:gd name="connsiteY57" fmla="*/ 65363 h 2112317"/>
                <a:gd name="connsiteX58" fmla="*/ 6383798 w 9154202"/>
                <a:gd name="connsiteY58" fmla="*/ 67452 h 2112317"/>
                <a:gd name="connsiteX59" fmla="*/ 6381904 w 9154202"/>
                <a:gd name="connsiteY59" fmla="*/ 67452 h 2112317"/>
                <a:gd name="connsiteX60" fmla="*/ 6379812 w 9154202"/>
                <a:gd name="connsiteY60" fmla="*/ 66955 h 2112317"/>
                <a:gd name="connsiteX61" fmla="*/ 6377221 w 9154202"/>
                <a:gd name="connsiteY61" fmla="*/ 67950 h 2112317"/>
                <a:gd name="connsiteX62" fmla="*/ 6377221 w 9154202"/>
                <a:gd name="connsiteY62" fmla="*/ 69144 h 2112317"/>
                <a:gd name="connsiteX63" fmla="*/ 6378915 w 9154202"/>
                <a:gd name="connsiteY63" fmla="*/ 70437 h 2112317"/>
                <a:gd name="connsiteX64" fmla="*/ 6378915 w 9154202"/>
                <a:gd name="connsiteY64" fmla="*/ 71631 h 2112317"/>
                <a:gd name="connsiteX65" fmla="*/ 6375030 w 9154202"/>
                <a:gd name="connsiteY65" fmla="*/ 73919 h 2112317"/>
                <a:gd name="connsiteX66" fmla="*/ 6373235 w 9154202"/>
                <a:gd name="connsiteY66" fmla="*/ 75610 h 2112317"/>
                <a:gd name="connsiteX67" fmla="*/ 6371940 w 9154202"/>
                <a:gd name="connsiteY67" fmla="*/ 77700 h 2112317"/>
                <a:gd name="connsiteX68" fmla="*/ 6375228 w 9154202"/>
                <a:gd name="connsiteY68" fmla="*/ 76904 h 2112317"/>
                <a:gd name="connsiteX69" fmla="*/ 6379713 w 9154202"/>
                <a:gd name="connsiteY69" fmla="*/ 76904 h 2112317"/>
                <a:gd name="connsiteX70" fmla="*/ 6383399 w 9154202"/>
                <a:gd name="connsiteY70" fmla="*/ 78297 h 2112317"/>
                <a:gd name="connsiteX71" fmla="*/ 6384097 w 9154202"/>
                <a:gd name="connsiteY71" fmla="*/ 80983 h 2112317"/>
                <a:gd name="connsiteX72" fmla="*/ 6385791 w 9154202"/>
                <a:gd name="connsiteY72" fmla="*/ 80983 h 2112317"/>
                <a:gd name="connsiteX73" fmla="*/ 6387286 w 9154202"/>
                <a:gd name="connsiteY73" fmla="*/ 80983 h 2112317"/>
                <a:gd name="connsiteX74" fmla="*/ 6390175 w 9154202"/>
                <a:gd name="connsiteY74" fmla="*/ 79988 h 2112317"/>
                <a:gd name="connsiteX75" fmla="*/ 6390175 w 9154202"/>
                <a:gd name="connsiteY75" fmla="*/ 83072 h 2112317"/>
                <a:gd name="connsiteX76" fmla="*/ 6393164 w 9154202"/>
                <a:gd name="connsiteY76" fmla="*/ 83072 h 2112317"/>
                <a:gd name="connsiteX77" fmla="*/ 6399741 w 9154202"/>
                <a:gd name="connsiteY77" fmla="*/ 80087 h 2112317"/>
                <a:gd name="connsiteX78" fmla="*/ 6407513 w 9154202"/>
                <a:gd name="connsiteY78" fmla="*/ 78794 h 2112317"/>
                <a:gd name="connsiteX79" fmla="*/ 6411599 w 9154202"/>
                <a:gd name="connsiteY79" fmla="*/ 78794 h 2112317"/>
                <a:gd name="connsiteX80" fmla="*/ 6414488 w 9154202"/>
                <a:gd name="connsiteY80" fmla="*/ 80087 h 2112317"/>
                <a:gd name="connsiteX81" fmla="*/ 6413093 w 9154202"/>
                <a:gd name="connsiteY81" fmla="*/ 80983 h 2112317"/>
                <a:gd name="connsiteX82" fmla="*/ 6411200 w 9154202"/>
                <a:gd name="connsiteY82" fmla="*/ 83370 h 2112317"/>
                <a:gd name="connsiteX83" fmla="*/ 6409805 w 9154202"/>
                <a:gd name="connsiteY83" fmla="*/ 83868 h 2112317"/>
                <a:gd name="connsiteX84" fmla="*/ 6405719 w 9154202"/>
                <a:gd name="connsiteY84" fmla="*/ 83868 h 2112317"/>
                <a:gd name="connsiteX85" fmla="*/ 6403926 w 9154202"/>
                <a:gd name="connsiteY85" fmla="*/ 84564 h 2112317"/>
                <a:gd name="connsiteX86" fmla="*/ 6402332 w 9154202"/>
                <a:gd name="connsiteY86" fmla="*/ 86156 h 2112317"/>
                <a:gd name="connsiteX87" fmla="*/ 6405022 w 9154202"/>
                <a:gd name="connsiteY87" fmla="*/ 86156 h 2112317"/>
                <a:gd name="connsiteX88" fmla="*/ 6406317 w 9154202"/>
                <a:gd name="connsiteY88" fmla="*/ 86156 h 2112317"/>
                <a:gd name="connsiteX89" fmla="*/ 6407513 w 9154202"/>
                <a:gd name="connsiteY89" fmla="*/ 86853 h 2112317"/>
                <a:gd name="connsiteX90" fmla="*/ 6407513 w 9154202"/>
                <a:gd name="connsiteY90" fmla="*/ 88245 h 2112317"/>
                <a:gd name="connsiteX91" fmla="*/ 6407513 w 9154202"/>
                <a:gd name="connsiteY91" fmla="*/ 88743 h 2112317"/>
                <a:gd name="connsiteX92" fmla="*/ 6407513 w 9154202"/>
                <a:gd name="connsiteY92" fmla="*/ 89439 h 2112317"/>
                <a:gd name="connsiteX93" fmla="*/ 6405620 w 9154202"/>
                <a:gd name="connsiteY93" fmla="*/ 88046 h 2112317"/>
                <a:gd name="connsiteX94" fmla="*/ 6404823 w 9154202"/>
                <a:gd name="connsiteY94" fmla="*/ 88842 h 2112317"/>
                <a:gd name="connsiteX95" fmla="*/ 6405421 w 9154202"/>
                <a:gd name="connsiteY95" fmla="*/ 90335 h 2112317"/>
                <a:gd name="connsiteX96" fmla="*/ 6407513 w 9154202"/>
                <a:gd name="connsiteY96" fmla="*/ 91727 h 2112317"/>
                <a:gd name="connsiteX97" fmla="*/ 6404723 w 9154202"/>
                <a:gd name="connsiteY97" fmla="*/ 92623 h 2112317"/>
                <a:gd name="connsiteX98" fmla="*/ 6401235 w 9154202"/>
                <a:gd name="connsiteY98" fmla="*/ 91727 h 2112317"/>
                <a:gd name="connsiteX99" fmla="*/ 6398944 w 9154202"/>
                <a:gd name="connsiteY99" fmla="*/ 91727 h 2112317"/>
                <a:gd name="connsiteX100" fmla="*/ 6399741 w 9154202"/>
                <a:gd name="connsiteY100" fmla="*/ 95408 h 2112317"/>
                <a:gd name="connsiteX101" fmla="*/ 6387385 w 9154202"/>
                <a:gd name="connsiteY101" fmla="*/ 93916 h 2112317"/>
                <a:gd name="connsiteX102" fmla="*/ 6384097 w 9154202"/>
                <a:gd name="connsiteY102" fmla="*/ 95408 h 2112317"/>
                <a:gd name="connsiteX103" fmla="*/ 6386986 w 9154202"/>
                <a:gd name="connsiteY103" fmla="*/ 96702 h 2112317"/>
                <a:gd name="connsiteX104" fmla="*/ 6403826 w 9154202"/>
                <a:gd name="connsiteY104" fmla="*/ 96702 h 2112317"/>
                <a:gd name="connsiteX105" fmla="*/ 6409207 w 9154202"/>
                <a:gd name="connsiteY105" fmla="*/ 98791 h 2112317"/>
                <a:gd name="connsiteX106" fmla="*/ 6408410 w 9154202"/>
                <a:gd name="connsiteY106" fmla="*/ 99587 h 2112317"/>
                <a:gd name="connsiteX107" fmla="*/ 6408410 w 9154202"/>
                <a:gd name="connsiteY107" fmla="*/ 99587 h 2112317"/>
                <a:gd name="connsiteX108" fmla="*/ 6407912 w 9154202"/>
                <a:gd name="connsiteY108" fmla="*/ 99587 h 2112317"/>
                <a:gd name="connsiteX109" fmla="*/ 6415983 w 9154202"/>
                <a:gd name="connsiteY109" fmla="*/ 103367 h 2112317"/>
                <a:gd name="connsiteX110" fmla="*/ 6417378 w 9154202"/>
                <a:gd name="connsiteY110" fmla="*/ 102671 h 2112317"/>
                <a:gd name="connsiteX111" fmla="*/ 6418574 w 9154202"/>
                <a:gd name="connsiteY111" fmla="*/ 104959 h 2112317"/>
                <a:gd name="connsiteX112" fmla="*/ 6424154 w 9154202"/>
                <a:gd name="connsiteY112" fmla="*/ 107546 h 2112317"/>
                <a:gd name="connsiteX113" fmla="*/ 6426047 w 9154202"/>
                <a:gd name="connsiteY113" fmla="*/ 110630 h 2112317"/>
                <a:gd name="connsiteX114" fmla="*/ 6415385 w 9154202"/>
                <a:gd name="connsiteY114" fmla="*/ 109237 h 2112317"/>
                <a:gd name="connsiteX115" fmla="*/ 6412197 w 9154202"/>
                <a:gd name="connsiteY115" fmla="*/ 110630 h 2112317"/>
                <a:gd name="connsiteX116" fmla="*/ 6412894 w 9154202"/>
                <a:gd name="connsiteY116" fmla="*/ 110630 h 2112317"/>
                <a:gd name="connsiteX117" fmla="*/ 6412894 w 9154202"/>
                <a:gd name="connsiteY117" fmla="*/ 111127 h 2112317"/>
                <a:gd name="connsiteX118" fmla="*/ 6412894 w 9154202"/>
                <a:gd name="connsiteY118" fmla="*/ 111724 h 2112317"/>
                <a:gd name="connsiteX119" fmla="*/ 6412894 w 9154202"/>
                <a:gd name="connsiteY119" fmla="*/ 112421 h 2112317"/>
                <a:gd name="connsiteX120" fmla="*/ 6410004 w 9154202"/>
                <a:gd name="connsiteY120" fmla="*/ 112421 h 2112317"/>
                <a:gd name="connsiteX121" fmla="*/ 6408709 w 9154202"/>
                <a:gd name="connsiteY121" fmla="*/ 112918 h 2112317"/>
                <a:gd name="connsiteX122" fmla="*/ 6407513 w 9154202"/>
                <a:gd name="connsiteY122" fmla="*/ 113814 h 2112317"/>
                <a:gd name="connsiteX123" fmla="*/ 6412197 w 9154202"/>
                <a:gd name="connsiteY123" fmla="*/ 113814 h 2112317"/>
                <a:gd name="connsiteX124" fmla="*/ 6414289 w 9154202"/>
                <a:gd name="connsiteY124" fmla="*/ 114510 h 2112317"/>
                <a:gd name="connsiteX125" fmla="*/ 6415385 w 9154202"/>
                <a:gd name="connsiteY125" fmla="*/ 116599 h 2112317"/>
                <a:gd name="connsiteX126" fmla="*/ 6410702 w 9154202"/>
                <a:gd name="connsiteY126" fmla="*/ 116599 h 2112317"/>
                <a:gd name="connsiteX127" fmla="*/ 6414887 w 9154202"/>
                <a:gd name="connsiteY127" fmla="*/ 117793 h 2112317"/>
                <a:gd name="connsiteX128" fmla="*/ 6417079 w 9154202"/>
                <a:gd name="connsiteY128" fmla="*/ 117793 h 2112317"/>
                <a:gd name="connsiteX129" fmla="*/ 6414887 w 9154202"/>
                <a:gd name="connsiteY129" fmla="*/ 120280 h 2112317"/>
                <a:gd name="connsiteX130" fmla="*/ 6410901 w 9154202"/>
                <a:gd name="connsiteY130" fmla="*/ 120280 h 2112317"/>
                <a:gd name="connsiteX131" fmla="*/ 6403129 w 9154202"/>
                <a:gd name="connsiteY131" fmla="*/ 118092 h 2112317"/>
                <a:gd name="connsiteX132" fmla="*/ 6407712 w 9154202"/>
                <a:gd name="connsiteY132" fmla="*/ 120181 h 2112317"/>
                <a:gd name="connsiteX133" fmla="*/ 6417677 w 9154202"/>
                <a:gd name="connsiteY133" fmla="*/ 122569 h 2112317"/>
                <a:gd name="connsiteX134" fmla="*/ 6421563 w 9154202"/>
                <a:gd name="connsiteY134" fmla="*/ 126648 h 2112317"/>
                <a:gd name="connsiteX135" fmla="*/ 6417079 w 9154202"/>
                <a:gd name="connsiteY135" fmla="*/ 126648 h 2112317"/>
                <a:gd name="connsiteX136" fmla="*/ 6413293 w 9154202"/>
                <a:gd name="connsiteY136" fmla="*/ 125951 h 2112317"/>
                <a:gd name="connsiteX137" fmla="*/ 6409606 w 9154202"/>
                <a:gd name="connsiteY137" fmla="*/ 125951 h 2112317"/>
                <a:gd name="connsiteX138" fmla="*/ 6406118 w 9154202"/>
                <a:gd name="connsiteY138" fmla="*/ 127742 h 2112317"/>
                <a:gd name="connsiteX139" fmla="*/ 6409008 w 9154202"/>
                <a:gd name="connsiteY139" fmla="*/ 128438 h 2112317"/>
                <a:gd name="connsiteX140" fmla="*/ 6411300 w 9154202"/>
                <a:gd name="connsiteY140" fmla="*/ 129831 h 2112317"/>
                <a:gd name="connsiteX141" fmla="*/ 6412296 w 9154202"/>
                <a:gd name="connsiteY141" fmla="*/ 132318 h 2112317"/>
                <a:gd name="connsiteX142" fmla="*/ 6411399 w 9154202"/>
                <a:gd name="connsiteY142" fmla="*/ 136298 h 2112317"/>
                <a:gd name="connsiteX143" fmla="*/ 6423357 w 9154202"/>
                <a:gd name="connsiteY143" fmla="*/ 136298 h 2112317"/>
                <a:gd name="connsiteX144" fmla="*/ 6428737 w 9154202"/>
                <a:gd name="connsiteY144" fmla="*/ 138387 h 2112317"/>
                <a:gd name="connsiteX145" fmla="*/ 6432225 w 9154202"/>
                <a:gd name="connsiteY145" fmla="*/ 143063 h 2112317"/>
                <a:gd name="connsiteX146" fmla="*/ 6427343 w 9154202"/>
                <a:gd name="connsiteY146" fmla="*/ 142168 h 2112317"/>
                <a:gd name="connsiteX147" fmla="*/ 6422659 w 9154202"/>
                <a:gd name="connsiteY147" fmla="*/ 139680 h 2112317"/>
                <a:gd name="connsiteX148" fmla="*/ 6417976 w 9154202"/>
                <a:gd name="connsiteY148" fmla="*/ 137890 h 2112317"/>
                <a:gd name="connsiteX149" fmla="*/ 6413093 w 9154202"/>
                <a:gd name="connsiteY149" fmla="*/ 139382 h 2112317"/>
                <a:gd name="connsiteX150" fmla="*/ 6413093 w 9154202"/>
                <a:gd name="connsiteY150" fmla="*/ 142764 h 2112317"/>
                <a:gd name="connsiteX151" fmla="*/ 6414289 w 9154202"/>
                <a:gd name="connsiteY151" fmla="*/ 142764 h 2112317"/>
                <a:gd name="connsiteX152" fmla="*/ 6415286 w 9154202"/>
                <a:gd name="connsiteY152" fmla="*/ 142764 h 2112317"/>
                <a:gd name="connsiteX153" fmla="*/ 6417378 w 9154202"/>
                <a:gd name="connsiteY153" fmla="*/ 143759 h 2112317"/>
                <a:gd name="connsiteX154" fmla="*/ 6410403 w 9154202"/>
                <a:gd name="connsiteY154" fmla="*/ 147440 h 2112317"/>
                <a:gd name="connsiteX155" fmla="*/ 6411997 w 9154202"/>
                <a:gd name="connsiteY155" fmla="*/ 149132 h 2112317"/>
                <a:gd name="connsiteX156" fmla="*/ 6412794 w 9154202"/>
                <a:gd name="connsiteY156" fmla="*/ 149132 h 2112317"/>
                <a:gd name="connsiteX157" fmla="*/ 6413890 w 9154202"/>
                <a:gd name="connsiteY157" fmla="*/ 149132 h 2112317"/>
                <a:gd name="connsiteX158" fmla="*/ 6411698 w 9154202"/>
                <a:gd name="connsiteY158" fmla="*/ 155001 h 2112317"/>
                <a:gd name="connsiteX159" fmla="*/ 6411698 w 9154202"/>
                <a:gd name="connsiteY159" fmla="*/ 157290 h 2112317"/>
                <a:gd name="connsiteX160" fmla="*/ 6414688 w 9154202"/>
                <a:gd name="connsiteY160" fmla="*/ 157290 h 2112317"/>
                <a:gd name="connsiteX161" fmla="*/ 6413492 w 9154202"/>
                <a:gd name="connsiteY161" fmla="*/ 160175 h 2112317"/>
                <a:gd name="connsiteX162" fmla="*/ 6412396 w 9154202"/>
                <a:gd name="connsiteY162" fmla="*/ 161170 h 2112317"/>
                <a:gd name="connsiteX163" fmla="*/ 6403528 w 9154202"/>
                <a:gd name="connsiteY163" fmla="*/ 160672 h 2112317"/>
                <a:gd name="connsiteX164" fmla="*/ 6401235 w 9154202"/>
                <a:gd name="connsiteY164" fmla="*/ 161269 h 2112317"/>
                <a:gd name="connsiteX165" fmla="*/ 6399841 w 9154202"/>
                <a:gd name="connsiteY165" fmla="*/ 163259 h 2112317"/>
                <a:gd name="connsiteX166" fmla="*/ 6403129 w 9154202"/>
                <a:gd name="connsiteY166" fmla="*/ 163259 h 2112317"/>
                <a:gd name="connsiteX167" fmla="*/ 6408908 w 9154202"/>
                <a:gd name="connsiteY167" fmla="*/ 164851 h 2112317"/>
                <a:gd name="connsiteX168" fmla="*/ 6412197 w 9154202"/>
                <a:gd name="connsiteY168" fmla="*/ 164851 h 2112317"/>
                <a:gd name="connsiteX169" fmla="*/ 6415485 w 9154202"/>
                <a:gd name="connsiteY169" fmla="*/ 164851 h 2112317"/>
                <a:gd name="connsiteX170" fmla="*/ 6417179 w 9154202"/>
                <a:gd name="connsiteY170" fmla="*/ 164851 h 2112317"/>
                <a:gd name="connsiteX171" fmla="*/ 6418175 w 9154202"/>
                <a:gd name="connsiteY171" fmla="*/ 166144 h 2112317"/>
                <a:gd name="connsiteX172" fmla="*/ 6418175 w 9154202"/>
                <a:gd name="connsiteY172" fmla="*/ 167835 h 2112317"/>
                <a:gd name="connsiteX173" fmla="*/ 6416880 w 9154202"/>
                <a:gd name="connsiteY173" fmla="*/ 168631 h 2112317"/>
                <a:gd name="connsiteX174" fmla="*/ 6415286 w 9154202"/>
                <a:gd name="connsiteY174" fmla="*/ 168631 h 2112317"/>
                <a:gd name="connsiteX175" fmla="*/ 6413990 w 9154202"/>
                <a:gd name="connsiteY175" fmla="*/ 168631 h 2112317"/>
                <a:gd name="connsiteX176" fmla="*/ 6414588 w 9154202"/>
                <a:gd name="connsiteY176" fmla="*/ 170720 h 2112317"/>
                <a:gd name="connsiteX177" fmla="*/ 6415584 w 9154202"/>
                <a:gd name="connsiteY177" fmla="*/ 171815 h 2112317"/>
                <a:gd name="connsiteX178" fmla="*/ 6416979 w 9154202"/>
                <a:gd name="connsiteY178" fmla="*/ 171815 h 2112317"/>
                <a:gd name="connsiteX179" fmla="*/ 6418773 w 9154202"/>
                <a:gd name="connsiteY179" fmla="*/ 171815 h 2112317"/>
                <a:gd name="connsiteX180" fmla="*/ 6418773 w 9154202"/>
                <a:gd name="connsiteY180" fmla="*/ 172810 h 2112317"/>
                <a:gd name="connsiteX181" fmla="*/ 6418175 w 9154202"/>
                <a:gd name="connsiteY181" fmla="*/ 174501 h 2112317"/>
                <a:gd name="connsiteX182" fmla="*/ 6416780 w 9154202"/>
                <a:gd name="connsiteY182" fmla="*/ 175496 h 2112317"/>
                <a:gd name="connsiteX183" fmla="*/ 6414787 w 9154202"/>
                <a:gd name="connsiteY183" fmla="*/ 174202 h 2112317"/>
                <a:gd name="connsiteX184" fmla="*/ 6413592 w 9154202"/>
                <a:gd name="connsiteY184" fmla="*/ 175894 h 2112317"/>
                <a:gd name="connsiteX185" fmla="*/ 6412595 w 9154202"/>
                <a:gd name="connsiteY185" fmla="*/ 177585 h 2112317"/>
                <a:gd name="connsiteX186" fmla="*/ 6411897 w 9154202"/>
                <a:gd name="connsiteY186" fmla="*/ 179475 h 2112317"/>
                <a:gd name="connsiteX187" fmla="*/ 6411897 w 9154202"/>
                <a:gd name="connsiteY187" fmla="*/ 181565 h 2112317"/>
                <a:gd name="connsiteX188" fmla="*/ 6413293 w 9154202"/>
                <a:gd name="connsiteY188" fmla="*/ 180868 h 2112317"/>
                <a:gd name="connsiteX189" fmla="*/ 6415684 w 9154202"/>
                <a:gd name="connsiteY189" fmla="*/ 180868 h 2112317"/>
                <a:gd name="connsiteX190" fmla="*/ 6417079 w 9154202"/>
                <a:gd name="connsiteY190" fmla="*/ 180868 h 2112317"/>
                <a:gd name="connsiteX191" fmla="*/ 6420566 w 9154202"/>
                <a:gd name="connsiteY191" fmla="*/ 178480 h 2112317"/>
                <a:gd name="connsiteX192" fmla="*/ 6422559 w 9154202"/>
                <a:gd name="connsiteY192" fmla="*/ 178978 h 2112317"/>
                <a:gd name="connsiteX193" fmla="*/ 6424652 w 9154202"/>
                <a:gd name="connsiteY193" fmla="*/ 180072 h 2112317"/>
                <a:gd name="connsiteX194" fmla="*/ 6425948 w 9154202"/>
                <a:gd name="connsiteY194" fmla="*/ 181664 h 2112317"/>
                <a:gd name="connsiteX195" fmla="*/ 6425948 w 9154202"/>
                <a:gd name="connsiteY195" fmla="*/ 183355 h 2112317"/>
                <a:gd name="connsiteX196" fmla="*/ 6425948 w 9154202"/>
                <a:gd name="connsiteY196" fmla="*/ 184450 h 2112317"/>
                <a:gd name="connsiteX197" fmla="*/ 6429136 w 9154202"/>
                <a:gd name="connsiteY197" fmla="*/ 185445 h 2112317"/>
                <a:gd name="connsiteX198" fmla="*/ 6430232 w 9154202"/>
                <a:gd name="connsiteY198" fmla="*/ 187534 h 2112317"/>
                <a:gd name="connsiteX199" fmla="*/ 6428937 w 9154202"/>
                <a:gd name="connsiteY199" fmla="*/ 189623 h 2112317"/>
                <a:gd name="connsiteX200" fmla="*/ 6425449 w 9154202"/>
                <a:gd name="connsiteY200" fmla="*/ 190518 h 2112317"/>
                <a:gd name="connsiteX201" fmla="*/ 6423157 w 9154202"/>
                <a:gd name="connsiteY201" fmla="*/ 189424 h 2112317"/>
                <a:gd name="connsiteX202" fmla="*/ 6420467 w 9154202"/>
                <a:gd name="connsiteY202" fmla="*/ 187534 h 2112317"/>
                <a:gd name="connsiteX203" fmla="*/ 6417976 w 9154202"/>
                <a:gd name="connsiteY203" fmla="*/ 186837 h 2112317"/>
                <a:gd name="connsiteX204" fmla="*/ 6416282 w 9154202"/>
                <a:gd name="connsiteY204" fmla="*/ 189325 h 2112317"/>
                <a:gd name="connsiteX205" fmla="*/ 6417777 w 9154202"/>
                <a:gd name="connsiteY205" fmla="*/ 189822 h 2112317"/>
                <a:gd name="connsiteX206" fmla="*/ 6418673 w 9154202"/>
                <a:gd name="connsiteY206" fmla="*/ 190916 h 2112317"/>
                <a:gd name="connsiteX207" fmla="*/ 6420268 w 9154202"/>
                <a:gd name="connsiteY207" fmla="*/ 193603 h 2112317"/>
                <a:gd name="connsiteX208" fmla="*/ 6421463 w 9154202"/>
                <a:gd name="connsiteY208" fmla="*/ 194498 h 2112317"/>
                <a:gd name="connsiteX209" fmla="*/ 6424552 w 9154202"/>
                <a:gd name="connsiteY209" fmla="*/ 195592 h 2112317"/>
                <a:gd name="connsiteX210" fmla="*/ 6425948 w 9154202"/>
                <a:gd name="connsiteY210" fmla="*/ 196488 h 2112317"/>
                <a:gd name="connsiteX211" fmla="*/ 6423157 w 9154202"/>
                <a:gd name="connsiteY211" fmla="*/ 198378 h 2112317"/>
                <a:gd name="connsiteX212" fmla="*/ 6419968 w 9154202"/>
                <a:gd name="connsiteY212" fmla="*/ 199771 h 2112317"/>
                <a:gd name="connsiteX213" fmla="*/ 6416880 w 9154202"/>
                <a:gd name="connsiteY213" fmla="*/ 199771 h 2112317"/>
                <a:gd name="connsiteX214" fmla="*/ 6414588 w 9154202"/>
                <a:gd name="connsiteY214" fmla="*/ 196786 h 2112317"/>
                <a:gd name="connsiteX215" fmla="*/ 6415485 w 9154202"/>
                <a:gd name="connsiteY215" fmla="*/ 195692 h 2112317"/>
                <a:gd name="connsiteX216" fmla="*/ 6414588 w 9154202"/>
                <a:gd name="connsiteY216" fmla="*/ 194498 h 2112317"/>
                <a:gd name="connsiteX217" fmla="*/ 6415584 w 9154202"/>
                <a:gd name="connsiteY217" fmla="*/ 193901 h 2112317"/>
                <a:gd name="connsiteX218" fmla="*/ 6416681 w 9154202"/>
                <a:gd name="connsiteY218" fmla="*/ 193404 h 2112317"/>
                <a:gd name="connsiteX219" fmla="*/ 6415086 w 9154202"/>
                <a:gd name="connsiteY219" fmla="*/ 193404 h 2112317"/>
                <a:gd name="connsiteX220" fmla="*/ 6411599 w 9154202"/>
                <a:gd name="connsiteY220" fmla="*/ 194100 h 2112317"/>
                <a:gd name="connsiteX221" fmla="*/ 6408410 w 9154202"/>
                <a:gd name="connsiteY221" fmla="*/ 195592 h 2112317"/>
                <a:gd name="connsiteX222" fmla="*/ 6405919 w 9154202"/>
                <a:gd name="connsiteY222" fmla="*/ 197980 h 2112317"/>
                <a:gd name="connsiteX223" fmla="*/ 6407115 w 9154202"/>
                <a:gd name="connsiteY223" fmla="*/ 202457 h 2112317"/>
                <a:gd name="connsiteX224" fmla="*/ 6408310 w 9154202"/>
                <a:gd name="connsiteY224" fmla="*/ 204745 h 2112317"/>
                <a:gd name="connsiteX225" fmla="*/ 6409805 w 9154202"/>
                <a:gd name="connsiteY225" fmla="*/ 206735 h 2112317"/>
                <a:gd name="connsiteX226" fmla="*/ 6412794 w 9154202"/>
                <a:gd name="connsiteY226" fmla="*/ 208227 h 2112317"/>
                <a:gd name="connsiteX227" fmla="*/ 6412794 w 9154202"/>
                <a:gd name="connsiteY227" fmla="*/ 209521 h 2112317"/>
                <a:gd name="connsiteX228" fmla="*/ 6411200 w 9154202"/>
                <a:gd name="connsiteY228" fmla="*/ 210515 h 2112317"/>
                <a:gd name="connsiteX229" fmla="*/ 6411200 w 9154202"/>
                <a:gd name="connsiteY229" fmla="*/ 211610 h 2112317"/>
                <a:gd name="connsiteX230" fmla="*/ 6412495 w 9154202"/>
                <a:gd name="connsiteY230" fmla="*/ 211610 h 2112317"/>
                <a:gd name="connsiteX231" fmla="*/ 6413890 w 9154202"/>
                <a:gd name="connsiteY231" fmla="*/ 210913 h 2112317"/>
                <a:gd name="connsiteX232" fmla="*/ 6415086 w 9154202"/>
                <a:gd name="connsiteY232" fmla="*/ 209819 h 2112317"/>
                <a:gd name="connsiteX233" fmla="*/ 6416880 w 9154202"/>
                <a:gd name="connsiteY233" fmla="*/ 209023 h 2112317"/>
                <a:gd name="connsiteX234" fmla="*/ 6418773 w 9154202"/>
                <a:gd name="connsiteY234" fmla="*/ 209023 h 2112317"/>
                <a:gd name="connsiteX235" fmla="*/ 6420268 w 9154202"/>
                <a:gd name="connsiteY235" fmla="*/ 209023 h 2112317"/>
                <a:gd name="connsiteX236" fmla="*/ 6421065 w 9154202"/>
                <a:gd name="connsiteY236" fmla="*/ 210416 h 2112317"/>
                <a:gd name="connsiteX237" fmla="*/ 6422659 w 9154202"/>
                <a:gd name="connsiteY237" fmla="*/ 215191 h 2112317"/>
                <a:gd name="connsiteX238" fmla="*/ 6423357 w 9154202"/>
                <a:gd name="connsiteY238" fmla="*/ 216186 h 2112317"/>
                <a:gd name="connsiteX239" fmla="*/ 6424652 w 9154202"/>
                <a:gd name="connsiteY239" fmla="*/ 216783 h 2112317"/>
                <a:gd name="connsiteX240" fmla="*/ 6425648 w 9154202"/>
                <a:gd name="connsiteY240" fmla="*/ 218076 h 2112317"/>
                <a:gd name="connsiteX241" fmla="*/ 6426246 w 9154202"/>
                <a:gd name="connsiteY241" fmla="*/ 219867 h 2112317"/>
                <a:gd name="connsiteX242" fmla="*/ 6426246 w 9154202"/>
                <a:gd name="connsiteY242" fmla="*/ 221658 h 2112317"/>
                <a:gd name="connsiteX243" fmla="*/ 6426246 w 9154202"/>
                <a:gd name="connsiteY243" fmla="*/ 223648 h 2112317"/>
                <a:gd name="connsiteX244" fmla="*/ 6424353 w 9154202"/>
                <a:gd name="connsiteY244" fmla="*/ 226035 h 2112317"/>
                <a:gd name="connsiteX245" fmla="*/ 6424353 w 9154202"/>
                <a:gd name="connsiteY245" fmla="*/ 228324 h 2112317"/>
                <a:gd name="connsiteX246" fmla="*/ 6425150 w 9154202"/>
                <a:gd name="connsiteY246" fmla="*/ 229617 h 2112317"/>
                <a:gd name="connsiteX247" fmla="*/ 6426645 w 9154202"/>
                <a:gd name="connsiteY247" fmla="*/ 231308 h 2112317"/>
                <a:gd name="connsiteX248" fmla="*/ 6427841 w 9154202"/>
                <a:gd name="connsiteY248" fmla="*/ 233099 h 2112317"/>
                <a:gd name="connsiteX249" fmla="*/ 6427841 w 9154202"/>
                <a:gd name="connsiteY249" fmla="*/ 234989 h 2112317"/>
                <a:gd name="connsiteX250" fmla="*/ 6426146 w 9154202"/>
                <a:gd name="connsiteY250" fmla="*/ 236979 h 2112317"/>
                <a:gd name="connsiteX251" fmla="*/ 6426146 w 9154202"/>
                <a:gd name="connsiteY251" fmla="*/ 237576 h 2112317"/>
                <a:gd name="connsiteX252" fmla="*/ 6427243 w 9154202"/>
                <a:gd name="connsiteY252" fmla="*/ 239168 h 2112317"/>
                <a:gd name="connsiteX253" fmla="*/ 6428439 w 9154202"/>
                <a:gd name="connsiteY253" fmla="*/ 240063 h 2112317"/>
                <a:gd name="connsiteX254" fmla="*/ 6430132 w 9154202"/>
                <a:gd name="connsiteY254" fmla="*/ 240859 h 2112317"/>
                <a:gd name="connsiteX255" fmla="*/ 6432026 w 9154202"/>
                <a:gd name="connsiteY255" fmla="*/ 241456 h 2112317"/>
                <a:gd name="connsiteX256" fmla="*/ 6433321 w 9154202"/>
                <a:gd name="connsiteY256" fmla="*/ 241456 h 2112317"/>
                <a:gd name="connsiteX257" fmla="*/ 6433321 w 9154202"/>
                <a:gd name="connsiteY257" fmla="*/ 242650 h 2112317"/>
                <a:gd name="connsiteX258" fmla="*/ 6432325 w 9154202"/>
                <a:gd name="connsiteY258" fmla="*/ 242650 h 2112317"/>
                <a:gd name="connsiteX259" fmla="*/ 6429834 w 9154202"/>
                <a:gd name="connsiteY259" fmla="*/ 244640 h 2112317"/>
                <a:gd name="connsiteX260" fmla="*/ 6431428 w 9154202"/>
                <a:gd name="connsiteY260" fmla="*/ 244640 h 2112317"/>
                <a:gd name="connsiteX261" fmla="*/ 6432823 w 9154202"/>
                <a:gd name="connsiteY261" fmla="*/ 244640 h 2112317"/>
                <a:gd name="connsiteX262" fmla="*/ 6433819 w 9154202"/>
                <a:gd name="connsiteY262" fmla="*/ 245634 h 2112317"/>
                <a:gd name="connsiteX263" fmla="*/ 6433819 w 9154202"/>
                <a:gd name="connsiteY263" fmla="*/ 247525 h 2112317"/>
                <a:gd name="connsiteX264" fmla="*/ 6433122 w 9154202"/>
                <a:gd name="connsiteY264" fmla="*/ 247525 h 2112317"/>
                <a:gd name="connsiteX265" fmla="*/ 6429834 w 9154202"/>
                <a:gd name="connsiteY265" fmla="*/ 248420 h 2112317"/>
                <a:gd name="connsiteX266" fmla="*/ 6428637 w 9154202"/>
                <a:gd name="connsiteY266" fmla="*/ 249117 h 2112317"/>
                <a:gd name="connsiteX267" fmla="*/ 6429834 w 9154202"/>
                <a:gd name="connsiteY267" fmla="*/ 249117 h 2112317"/>
                <a:gd name="connsiteX268" fmla="*/ 6430730 w 9154202"/>
                <a:gd name="connsiteY268" fmla="*/ 249813 h 2112317"/>
                <a:gd name="connsiteX269" fmla="*/ 6431528 w 9154202"/>
                <a:gd name="connsiteY269" fmla="*/ 250808 h 2112317"/>
                <a:gd name="connsiteX270" fmla="*/ 6432125 w 9154202"/>
                <a:gd name="connsiteY270" fmla="*/ 252101 h 2112317"/>
                <a:gd name="connsiteX271" fmla="*/ 6429634 w 9154202"/>
                <a:gd name="connsiteY271" fmla="*/ 253892 h 2112317"/>
                <a:gd name="connsiteX272" fmla="*/ 6427641 w 9154202"/>
                <a:gd name="connsiteY272" fmla="*/ 254688 h 2112317"/>
                <a:gd name="connsiteX273" fmla="*/ 6427641 w 9154202"/>
                <a:gd name="connsiteY273" fmla="*/ 255782 h 2112317"/>
                <a:gd name="connsiteX274" fmla="*/ 6430630 w 9154202"/>
                <a:gd name="connsiteY274" fmla="*/ 258269 h 2112317"/>
                <a:gd name="connsiteX275" fmla="*/ 6422859 w 9154202"/>
                <a:gd name="connsiteY275" fmla="*/ 275182 h 2112317"/>
                <a:gd name="connsiteX276" fmla="*/ 6425050 w 9154202"/>
                <a:gd name="connsiteY276" fmla="*/ 275182 h 2112317"/>
                <a:gd name="connsiteX277" fmla="*/ 6427043 w 9154202"/>
                <a:gd name="connsiteY277" fmla="*/ 275182 h 2112317"/>
                <a:gd name="connsiteX278" fmla="*/ 6428937 w 9154202"/>
                <a:gd name="connsiteY278" fmla="*/ 275182 h 2112317"/>
                <a:gd name="connsiteX279" fmla="*/ 6430630 w 9154202"/>
                <a:gd name="connsiteY279" fmla="*/ 276675 h 2112317"/>
                <a:gd name="connsiteX280" fmla="*/ 6429235 w 9154202"/>
                <a:gd name="connsiteY280" fmla="*/ 279162 h 2112317"/>
                <a:gd name="connsiteX281" fmla="*/ 6427043 w 9154202"/>
                <a:gd name="connsiteY281" fmla="*/ 282047 h 2112317"/>
                <a:gd name="connsiteX282" fmla="*/ 6424353 w 9154202"/>
                <a:gd name="connsiteY282" fmla="*/ 283340 h 2112317"/>
                <a:gd name="connsiteX283" fmla="*/ 6422161 w 9154202"/>
                <a:gd name="connsiteY283" fmla="*/ 283838 h 2112317"/>
                <a:gd name="connsiteX284" fmla="*/ 6425150 w 9154202"/>
                <a:gd name="connsiteY284" fmla="*/ 286126 h 2112317"/>
                <a:gd name="connsiteX285" fmla="*/ 6429335 w 9154202"/>
                <a:gd name="connsiteY285" fmla="*/ 287917 h 2112317"/>
                <a:gd name="connsiteX286" fmla="*/ 6433719 w 9154202"/>
                <a:gd name="connsiteY286" fmla="*/ 288514 h 2112317"/>
                <a:gd name="connsiteX287" fmla="*/ 6436908 w 9154202"/>
                <a:gd name="connsiteY287" fmla="*/ 287320 h 2112317"/>
                <a:gd name="connsiteX288" fmla="*/ 6436410 w 9154202"/>
                <a:gd name="connsiteY288" fmla="*/ 287320 h 2112317"/>
                <a:gd name="connsiteX289" fmla="*/ 6436410 w 9154202"/>
                <a:gd name="connsiteY289" fmla="*/ 287320 h 2112317"/>
                <a:gd name="connsiteX290" fmla="*/ 6436410 w 9154202"/>
                <a:gd name="connsiteY290" fmla="*/ 286723 h 2112317"/>
                <a:gd name="connsiteX291" fmla="*/ 6438702 w 9154202"/>
                <a:gd name="connsiteY291" fmla="*/ 286723 h 2112317"/>
                <a:gd name="connsiteX292" fmla="*/ 6439698 w 9154202"/>
                <a:gd name="connsiteY292" fmla="*/ 287718 h 2112317"/>
                <a:gd name="connsiteX293" fmla="*/ 6440296 w 9154202"/>
                <a:gd name="connsiteY293" fmla="*/ 289409 h 2112317"/>
                <a:gd name="connsiteX294" fmla="*/ 6441193 w 9154202"/>
                <a:gd name="connsiteY294" fmla="*/ 291299 h 2112317"/>
                <a:gd name="connsiteX295" fmla="*/ 6442588 w 9154202"/>
                <a:gd name="connsiteY295" fmla="*/ 292593 h 2112317"/>
                <a:gd name="connsiteX296" fmla="*/ 6444182 w 9154202"/>
                <a:gd name="connsiteY296" fmla="*/ 292593 h 2112317"/>
                <a:gd name="connsiteX297" fmla="*/ 6446972 w 9154202"/>
                <a:gd name="connsiteY297" fmla="*/ 292593 h 2112317"/>
                <a:gd name="connsiteX298" fmla="*/ 6446972 w 9154202"/>
                <a:gd name="connsiteY298" fmla="*/ 293886 h 2112317"/>
                <a:gd name="connsiteX299" fmla="*/ 6446374 w 9154202"/>
                <a:gd name="connsiteY299" fmla="*/ 294881 h 2112317"/>
                <a:gd name="connsiteX300" fmla="*/ 6445677 w 9154202"/>
                <a:gd name="connsiteY300" fmla="*/ 295677 h 2112317"/>
                <a:gd name="connsiteX301" fmla="*/ 6444681 w 9154202"/>
                <a:gd name="connsiteY301" fmla="*/ 296473 h 2112317"/>
                <a:gd name="connsiteX302" fmla="*/ 6442688 w 9154202"/>
                <a:gd name="connsiteY302" fmla="*/ 295179 h 2112317"/>
                <a:gd name="connsiteX303" fmla="*/ 6438901 w 9154202"/>
                <a:gd name="connsiteY303" fmla="*/ 296373 h 2112317"/>
                <a:gd name="connsiteX304" fmla="*/ 6436908 w 9154202"/>
                <a:gd name="connsiteY304" fmla="*/ 295179 h 2112317"/>
                <a:gd name="connsiteX305" fmla="*/ 6436908 w 9154202"/>
                <a:gd name="connsiteY305" fmla="*/ 298263 h 2112317"/>
                <a:gd name="connsiteX306" fmla="*/ 6435912 w 9154202"/>
                <a:gd name="connsiteY306" fmla="*/ 300054 h 2112317"/>
                <a:gd name="connsiteX307" fmla="*/ 6432524 w 9154202"/>
                <a:gd name="connsiteY307" fmla="*/ 302243 h 2112317"/>
                <a:gd name="connsiteX308" fmla="*/ 6434019 w 9154202"/>
                <a:gd name="connsiteY308" fmla="*/ 303138 h 2112317"/>
                <a:gd name="connsiteX309" fmla="*/ 6435115 w 9154202"/>
                <a:gd name="connsiteY309" fmla="*/ 304830 h 2112317"/>
                <a:gd name="connsiteX310" fmla="*/ 6436808 w 9154202"/>
                <a:gd name="connsiteY310" fmla="*/ 308212 h 2112317"/>
                <a:gd name="connsiteX311" fmla="*/ 6438403 w 9154202"/>
                <a:gd name="connsiteY311" fmla="*/ 309804 h 2112317"/>
                <a:gd name="connsiteX312" fmla="*/ 6439997 w 9154202"/>
                <a:gd name="connsiteY312" fmla="*/ 310799 h 2112317"/>
                <a:gd name="connsiteX313" fmla="*/ 6441791 w 9154202"/>
                <a:gd name="connsiteY313" fmla="*/ 311495 h 2112317"/>
                <a:gd name="connsiteX314" fmla="*/ 6445876 w 9154202"/>
                <a:gd name="connsiteY314" fmla="*/ 311993 h 2112317"/>
                <a:gd name="connsiteX315" fmla="*/ 6446972 w 9154202"/>
                <a:gd name="connsiteY315" fmla="*/ 311993 h 2112317"/>
                <a:gd name="connsiteX316" fmla="*/ 6456937 w 9154202"/>
                <a:gd name="connsiteY316" fmla="*/ 309605 h 2112317"/>
                <a:gd name="connsiteX317" fmla="*/ 6458830 w 9154202"/>
                <a:gd name="connsiteY317" fmla="*/ 309605 h 2112317"/>
                <a:gd name="connsiteX318" fmla="*/ 6448068 w 9154202"/>
                <a:gd name="connsiteY318" fmla="*/ 319554 h 2112317"/>
                <a:gd name="connsiteX319" fmla="*/ 6447371 w 9154202"/>
                <a:gd name="connsiteY319" fmla="*/ 320747 h 2112317"/>
                <a:gd name="connsiteX320" fmla="*/ 6448467 w 9154202"/>
                <a:gd name="connsiteY320" fmla="*/ 320747 h 2112317"/>
                <a:gd name="connsiteX321" fmla="*/ 6449862 w 9154202"/>
                <a:gd name="connsiteY321" fmla="*/ 320747 h 2112317"/>
                <a:gd name="connsiteX322" fmla="*/ 6451257 w 9154202"/>
                <a:gd name="connsiteY322" fmla="*/ 320747 h 2112317"/>
                <a:gd name="connsiteX323" fmla="*/ 6453648 w 9154202"/>
                <a:gd name="connsiteY323" fmla="*/ 319056 h 2112317"/>
                <a:gd name="connsiteX324" fmla="*/ 6453648 w 9154202"/>
                <a:gd name="connsiteY324" fmla="*/ 322439 h 2112317"/>
                <a:gd name="connsiteX325" fmla="*/ 6453648 w 9154202"/>
                <a:gd name="connsiteY325" fmla="*/ 324727 h 2112317"/>
                <a:gd name="connsiteX326" fmla="*/ 6452552 w 9154202"/>
                <a:gd name="connsiteY326" fmla="*/ 326319 h 2112317"/>
                <a:gd name="connsiteX327" fmla="*/ 6449663 w 9154202"/>
                <a:gd name="connsiteY327" fmla="*/ 327413 h 2112317"/>
                <a:gd name="connsiteX328" fmla="*/ 6440396 w 9154202"/>
                <a:gd name="connsiteY328" fmla="*/ 327413 h 2112317"/>
                <a:gd name="connsiteX329" fmla="*/ 6438403 w 9154202"/>
                <a:gd name="connsiteY329" fmla="*/ 328706 h 2112317"/>
                <a:gd name="connsiteX330" fmla="*/ 6437905 w 9154202"/>
                <a:gd name="connsiteY330" fmla="*/ 331791 h 2112317"/>
                <a:gd name="connsiteX331" fmla="*/ 6440396 w 9154202"/>
                <a:gd name="connsiteY331" fmla="*/ 333283 h 2112317"/>
                <a:gd name="connsiteX332" fmla="*/ 6443784 w 9154202"/>
                <a:gd name="connsiteY332" fmla="*/ 333880 h 2112317"/>
                <a:gd name="connsiteX333" fmla="*/ 6446075 w 9154202"/>
                <a:gd name="connsiteY333" fmla="*/ 334676 h 2112317"/>
                <a:gd name="connsiteX334" fmla="*/ 6447869 w 9154202"/>
                <a:gd name="connsiteY334" fmla="*/ 337660 h 2112317"/>
                <a:gd name="connsiteX335" fmla="*/ 6447072 w 9154202"/>
                <a:gd name="connsiteY335" fmla="*/ 339451 h 2112317"/>
                <a:gd name="connsiteX336" fmla="*/ 6444681 w 9154202"/>
                <a:gd name="connsiteY336" fmla="*/ 340347 h 2112317"/>
                <a:gd name="connsiteX337" fmla="*/ 6441791 w 9154202"/>
                <a:gd name="connsiteY337" fmla="*/ 340347 h 2112317"/>
                <a:gd name="connsiteX338" fmla="*/ 6441791 w 9154202"/>
                <a:gd name="connsiteY338" fmla="*/ 341739 h 2112317"/>
                <a:gd name="connsiteX339" fmla="*/ 6446972 w 9154202"/>
                <a:gd name="connsiteY339" fmla="*/ 341739 h 2112317"/>
                <a:gd name="connsiteX340" fmla="*/ 6449663 w 9154202"/>
                <a:gd name="connsiteY340" fmla="*/ 342436 h 2112317"/>
                <a:gd name="connsiteX341" fmla="*/ 6449663 w 9154202"/>
                <a:gd name="connsiteY341" fmla="*/ 344624 h 2112317"/>
                <a:gd name="connsiteX342" fmla="*/ 6446574 w 9154202"/>
                <a:gd name="connsiteY342" fmla="*/ 348902 h 2112317"/>
                <a:gd name="connsiteX343" fmla="*/ 6448467 w 9154202"/>
                <a:gd name="connsiteY343" fmla="*/ 350395 h 2112317"/>
                <a:gd name="connsiteX344" fmla="*/ 6450360 w 9154202"/>
                <a:gd name="connsiteY344" fmla="*/ 351091 h 2112317"/>
                <a:gd name="connsiteX345" fmla="*/ 6452353 w 9154202"/>
                <a:gd name="connsiteY345" fmla="*/ 351091 h 2112317"/>
                <a:gd name="connsiteX346" fmla="*/ 6454446 w 9154202"/>
                <a:gd name="connsiteY346" fmla="*/ 350096 h 2112317"/>
                <a:gd name="connsiteX347" fmla="*/ 6455143 w 9154202"/>
                <a:gd name="connsiteY347" fmla="*/ 352583 h 2112317"/>
                <a:gd name="connsiteX348" fmla="*/ 6456239 w 9154202"/>
                <a:gd name="connsiteY348" fmla="*/ 354872 h 2112317"/>
                <a:gd name="connsiteX349" fmla="*/ 6453549 w 9154202"/>
                <a:gd name="connsiteY349" fmla="*/ 354872 h 2112317"/>
                <a:gd name="connsiteX350" fmla="*/ 6453549 w 9154202"/>
                <a:gd name="connsiteY350" fmla="*/ 356165 h 2112317"/>
                <a:gd name="connsiteX351" fmla="*/ 6455043 w 9154202"/>
                <a:gd name="connsiteY351" fmla="*/ 356165 h 2112317"/>
                <a:gd name="connsiteX352" fmla="*/ 6456339 w 9154202"/>
                <a:gd name="connsiteY352" fmla="*/ 356861 h 2112317"/>
                <a:gd name="connsiteX353" fmla="*/ 6457535 w 9154202"/>
                <a:gd name="connsiteY353" fmla="*/ 357856 h 2112317"/>
                <a:gd name="connsiteX354" fmla="*/ 6458730 w 9154202"/>
                <a:gd name="connsiteY354" fmla="*/ 359249 h 2112317"/>
                <a:gd name="connsiteX355" fmla="*/ 6456139 w 9154202"/>
                <a:gd name="connsiteY355" fmla="*/ 359747 h 2112317"/>
                <a:gd name="connsiteX356" fmla="*/ 6451855 w 9154202"/>
                <a:gd name="connsiteY356" fmla="*/ 362731 h 2112317"/>
                <a:gd name="connsiteX357" fmla="*/ 6449264 w 9154202"/>
                <a:gd name="connsiteY357" fmla="*/ 362731 h 2112317"/>
                <a:gd name="connsiteX358" fmla="*/ 6449264 w 9154202"/>
                <a:gd name="connsiteY358" fmla="*/ 363925 h 2112317"/>
                <a:gd name="connsiteX359" fmla="*/ 6451057 w 9154202"/>
                <a:gd name="connsiteY359" fmla="*/ 363925 h 2112317"/>
                <a:gd name="connsiteX360" fmla="*/ 6454346 w 9154202"/>
                <a:gd name="connsiteY360" fmla="*/ 365019 h 2112317"/>
                <a:gd name="connsiteX361" fmla="*/ 6456937 w 9154202"/>
                <a:gd name="connsiteY361" fmla="*/ 365019 h 2112317"/>
                <a:gd name="connsiteX362" fmla="*/ 6456937 w 9154202"/>
                <a:gd name="connsiteY362" fmla="*/ 365815 h 2112317"/>
                <a:gd name="connsiteX363" fmla="*/ 6456937 w 9154202"/>
                <a:gd name="connsiteY363" fmla="*/ 367805 h 2112317"/>
                <a:gd name="connsiteX364" fmla="*/ 6456937 w 9154202"/>
                <a:gd name="connsiteY364" fmla="*/ 368601 h 2112317"/>
                <a:gd name="connsiteX365" fmla="*/ 6459328 w 9154202"/>
                <a:gd name="connsiteY365" fmla="*/ 368004 h 2112317"/>
                <a:gd name="connsiteX366" fmla="*/ 6461321 w 9154202"/>
                <a:gd name="connsiteY366" fmla="*/ 366810 h 2112317"/>
                <a:gd name="connsiteX367" fmla="*/ 6463314 w 9154202"/>
                <a:gd name="connsiteY367" fmla="*/ 366213 h 2112317"/>
                <a:gd name="connsiteX368" fmla="*/ 6465606 w 9154202"/>
                <a:gd name="connsiteY368" fmla="*/ 367407 h 2112317"/>
                <a:gd name="connsiteX369" fmla="*/ 6465606 w 9154202"/>
                <a:gd name="connsiteY369" fmla="*/ 370392 h 2112317"/>
                <a:gd name="connsiteX370" fmla="*/ 6466901 w 9154202"/>
                <a:gd name="connsiteY370" fmla="*/ 370392 h 2112317"/>
                <a:gd name="connsiteX371" fmla="*/ 6472780 w 9154202"/>
                <a:gd name="connsiteY371" fmla="*/ 368501 h 2112317"/>
                <a:gd name="connsiteX372" fmla="*/ 6474175 w 9154202"/>
                <a:gd name="connsiteY372" fmla="*/ 368999 h 2112317"/>
                <a:gd name="connsiteX373" fmla="*/ 6475670 w 9154202"/>
                <a:gd name="connsiteY373" fmla="*/ 370093 h 2112317"/>
                <a:gd name="connsiteX374" fmla="*/ 6476865 w 9154202"/>
                <a:gd name="connsiteY374" fmla="*/ 371586 h 2112317"/>
                <a:gd name="connsiteX375" fmla="*/ 6477663 w 9154202"/>
                <a:gd name="connsiteY375" fmla="*/ 373277 h 2112317"/>
                <a:gd name="connsiteX376" fmla="*/ 6477663 w 9154202"/>
                <a:gd name="connsiteY376" fmla="*/ 374968 h 2112317"/>
                <a:gd name="connsiteX377" fmla="*/ 6476965 w 9154202"/>
                <a:gd name="connsiteY377" fmla="*/ 375665 h 2112317"/>
                <a:gd name="connsiteX378" fmla="*/ 6475968 w 9154202"/>
                <a:gd name="connsiteY378" fmla="*/ 376261 h 2112317"/>
                <a:gd name="connsiteX379" fmla="*/ 6474972 w 9154202"/>
                <a:gd name="connsiteY379" fmla="*/ 377953 h 2112317"/>
                <a:gd name="connsiteX380" fmla="*/ 6480752 w 9154202"/>
                <a:gd name="connsiteY380" fmla="*/ 379246 h 2112317"/>
                <a:gd name="connsiteX381" fmla="*/ 6481449 w 9154202"/>
                <a:gd name="connsiteY381" fmla="*/ 379943 h 2112317"/>
                <a:gd name="connsiteX382" fmla="*/ 6481449 w 9154202"/>
                <a:gd name="connsiteY382" fmla="*/ 381534 h 2112317"/>
                <a:gd name="connsiteX383" fmla="*/ 6481449 w 9154202"/>
                <a:gd name="connsiteY383" fmla="*/ 383226 h 2112317"/>
                <a:gd name="connsiteX384" fmla="*/ 6478061 w 9154202"/>
                <a:gd name="connsiteY384" fmla="*/ 384718 h 2112317"/>
                <a:gd name="connsiteX385" fmla="*/ 6478061 w 9154202"/>
                <a:gd name="connsiteY385" fmla="*/ 386310 h 2112317"/>
                <a:gd name="connsiteX386" fmla="*/ 6479057 w 9154202"/>
                <a:gd name="connsiteY386" fmla="*/ 388001 h 2112317"/>
                <a:gd name="connsiteX387" fmla="*/ 6481250 w 9154202"/>
                <a:gd name="connsiteY387" fmla="*/ 388697 h 2112317"/>
                <a:gd name="connsiteX388" fmla="*/ 6482246 w 9154202"/>
                <a:gd name="connsiteY388" fmla="*/ 389593 h 2112317"/>
                <a:gd name="connsiteX389" fmla="*/ 6481548 w 9154202"/>
                <a:gd name="connsiteY389" fmla="*/ 391483 h 2112317"/>
                <a:gd name="connsiteX390" fmla="*/ 6480254 w 9154202"/>
                <a:gd name="connsiteY390" fmla="*/ 393373 h 2112317"/>
                <a:gd name="connsiteX391" fmla="*/ 6479456 w 9154202"/>
                <a:gd name="connsiteY391" fmla="*/ 394169 h 2112317"/>
                <a:gd name="connsiteX392" fmla="*/ 6480552 w 9154202"/>
                <a:gd name="connsiteY392" fmla="*/ 397353 h 2112317"/>
                <a:gd name="connsiteX393" fmla="*/ 6482545 w 9154202"/>
                <a:gd name="connsiteY393" fmla="*/ 398945 h 2112317"/>
                <a:gd name="connsiteX394" fmla="*/ 6483541 w 9154202"/>
                <a:gd name="connsiteY394" fmla="*/ 401034 h 2112317"/>
                <a:gd name="connsiteX395" fmla="*/ 6482047 w 9154202"/>
                <a:gd name="connsiteY395" fmla="*/ 405411 h 2112317"/>
                <a:gd name="connsiteX396" fmla="*/ 6477563 w 9154202"/>
                <a:gd name="connsiteY396" fmla="*/ 409888 h 2112317"/>
                <a:gd name="connsiteX397" fmla="*/ 6476068 w 9154202"/>
                <a:gd name="connsiteY397" fmla="*/ 412674 h 2112317"/>
                <a:gd name="connsiteX398" fmla="*/ 6476865 w 9154202"/>
                <a:gd name="connsiteY398" fmla="*/ 416255 h 2112317"/>
                <a:gd name="connsiteX399" fmla="*/ 6479057 w 9154202"/>
                <a:gd name="connsiteY399" fmla="*/ 414863 h 2112317"/>
                <a:gd name="connsiteX400" fmla="*/ 6481947 w 9154202"/>
                <a:gd name="connsiteY400" fmla="*/ 414863 h 2112317"/>
                <a:gd name="connsiteX401" fmla="*/ 6487627 w 9154202"/>
                <a:gd name="connsiteY401" fmla="*/ 414863 h 2112317"/>
                <a:gd name="connsiteX402" fmla="*/ 6490019 w 9154202"/>
                <a:gd name="connsiteY402" fmla="*/ 415360 h 2112317"/>
                <a:gd name="connsiteX403" fmla="*/ 6491613 w 9154202"/>
                <a:gd name="connsiteY403" fmla="*/ 416753 h 2112317"/>
                <a:gd name="connsiteX404" fmla="*/ 6493108 w 9154202"/>
                <a:gd name="connsiteY404" fmla="*/ 418245 h 2112317"/>
                <a:gd name="connsiteX405" fmla="*/ 6495200 w 9154202"/>
                <a:gd name="connsiteY405" fmla="*/ 419638 h 2112317"/>
                <a:gd name="connsiteX406" fmla="*/ 6495200 w 9154202"/>
                <a:gd name="connsiteY406" fmla="*/ 421329 h 2112317"/>
                <a:gd name="connsiteX407" fmla="*/ 6485236 w 9154202"/>
                <a:gd name="connsiteY407" fmla="*/ 418643 h 2112317"/>
                <a:gd name="connsiteX408" fmla="*/ 6481648 w 9154202"/>
                <a:gd name="connsiteY408" fmla="*/ 418643 h 2112317"/>
                <a:gd name="connsiteX409" fmla="*/ 6477961 w 9154202"/>
                <a:gd name="connsiteY409" fmla="*/ 420036 h 2112317"/>
                <a:gd name="connsiteX410" fmla="*/ 6477264 w 9154202"/>
                <a:gd name="connsiteY410" fmla="*/ 421827 h 2112317"/>
                <a:gd name="connsiteX411" fmla="*/ 6479855 w 9154202"/>
                <a:gd name="connsiteY411" fmla="*/ 428194 h 2112317"/>
                <a:gd name="connsiteX412" fmla="*/ 6479257 w 9154202"/>
                <a:gd name="connsiteY412" fmla="*/ 430084 h 2112317"/>
                <a:gd name="connsiteX413" fmla="*/ 6477264 w 9154202"/>
                <a:gd name="connsiteY413" fmla="*/ 432671 h 2112317"/>
                <a:gd name="connsiteX414" fmla="*/ 6476467 w 9154202"/>
                <a:gd name="connsiteY414" fmla="*/ 434163 h 2112317"/>
                <a:gd name="connsiteX415" fmla="*/ 6475869 w 9154202"/>
                <a:gd name="connsiteY415" fmla="*/ 435854 h 2112317"/>
                <a:gd name="connsiteX416" fmla="*/ 6475072 w 9154202"/>
                <a:gd name="connsiteY416" fmla="*/ 439734 h 2112317"/>
                <a:gd name="connsiteX417" fmla="*/ 6475072 w 9154202"/>
                <a:gd name="connsiteY417" fmla="*/ 441227 h 2112317"/>
                <a:gd name="connsiteX418" fmla="*/ 6472780 w 9154202"/>
                <a:gd name="connsiteY418" fmla="*/ 444510 h 2112317"/>
                <a:gd name="connsiteX419" fmla="*/ 6470190 w 9154202"/>
                <a:gd name="connsiteY419" fmla="*/ 445803 h 2112317"/>
                <a:gd name="connsiteX420" fmla="*/ 6467399 w 9154202"/>
                <a:gd name="connsiteY420" fmla="*/ 446699 h 2112317"/>
                <a:gd name="connsiteX421" fmla="*/ 6464609 w 9154202"/>
                <a:gd name="connsiteY421" fmla="*/ 448390 h 2112317"/>
                <a:gd name="connsiteX422" fmla="*/ 6465307 w 9154202"/>
                <a:gd name="connsiteY422" fmla="*/ 448987 h 2112317"/>
                <a:gd name="connsiteX423" fmla="*/ 6466503 w 9154202"/>
                <a:gd name="connsiteY423" fmla="*/ 450380 h 2112317"/>
                <a:gd name="connsiteX424" fmla="*/ 6467200 w 9154202"/>
                <a:gd name="connsiteY424" fmla="*/ 450380 h 2112317"/>
                <a:gd name="connsiteX425" fmla="*/ 6465307 w 9154202"/>
                <a:gd name="connsiteY425" fmla="*/ 452170 h 2112317"/>
                <a:gd name="connsiteX426" fmla="*/ 6462816 w 9154202"/>
                <a:gd name="connsiteY426" fmla="*/ 452867 h 2112317"/>
                <a:gd name="connsiteX427" fmla="*/ 6457734 w 9154202"/>
                <a:gd name="connsiteY427" fmla="*/ 452867 h 2112317"/>
                <a:gd name="connsiteX428" fmla="*/ 6458730 w 9154202"/>
                <a:gd name="connsiteY428" fmla="*/ 454359 h 2112317"/>
                <a:gd name="connsiteX429" fmla="*/ 6459328 w 9154202"/>
                <a:gd name="connsiteY429" fmla="*/ 455851 h 2112317"/>
                <a:gd name="connsiteX430" fmla="*/ 6459328 w 9154202"/>
                <a:gd name="connsiteY430" fmla="*/ 459532 h 2112317"/>
                <a:gd name="connsiteX431" fmla="*/ 6459328 w 9154202"/>
                <a:gd name="connsiteY431" fmla="*/ 460129 h 2112317"/>
                <a:gd name="connsiteX432" fmla="*/ 6456937 w 9154202"/>
                <a:gd name="connsiteY432" fmla="*/ 460129 h 2112317"/>
                <a:gd name="connsiteX433" fmla="*/ 6455641 w 9154202"/>
                <a:gd name="connsiteY433" fmla="*/ 460129 h 2112317"/>
                <a:gd name="connsiteX434" fmla="*/ 6454246 w 9154202"/>
                <a:gd name="connsiteY434" fmla="*/ 464706 h 2112317"/>
                <a:gd name="connsiteX435" fmla="*/ 6452154 w 9154202"/>
                <a:gd name="connsiteY435" fmla="*/ 466596 h 2112317"/>
                <a:gd name="connsiteX436" fmla="*/ 6442190 w 9154202"/>
                <a:gd name="connsiteY436" fmla="*/ 469879 h 2112317"/>
                <a:gd name="connsiteX437" fmla="*/ 6436609 w 9154202"/>
                <a:gd name="connsiteY437" fmla="*/ 470675 h 2112317"/>
                <a:gd name="connsiteX438" fmla="*/ 6433819 w 9154202"/>
                <a:gd name="connsiteY438" fmla="*/ 471769 h 2112317"/>
                <a:gd name="connsiteX439" fmla="*/ 6433819 w 9154202"/>
                <a:gd name="connsiteY439" fmla="*/ 474356 h 2112317"/>
                <a:gd name="connsiteX440" fmla="*/ 6435912 w 9154202"/>
                <a:gd name="connsiteY440" fmla="*/ 478336 h 2112317"/>
                <a:gd name="connsiteX441" fmla="*/ 6436709 w 9154202"/>
                <a:gd name="connsiteY441" fmla="*/ 481519 h 2112317"/>
                <a:gd name="connsiteX442" fmla="*/ 6440396 w 9154202"/>
                <a:gd name="connsiteY442" fmla="*/ 485399 h 2112317"/>
                <a:gd name="connsiteX443" fmla="*/ 6441193 w 9154202"/>
                <a:gd name="connsiteY443" fmla="*/ 487289 h 2112317"/>
                <a:gd name="connsiteX444" fmla="*/ 6440296 w 9154202"/>
                <a:gd name="connsiteY444" fmla="*/ 489876 h 2112317"/>
                <a:gd name="connsiteX445" fmla="*/ 6438204 w 9154202"/>
                <a:gd name="connsiteY445" fmla="*/ 492562 h 2112317"/>
                <a:gd name="connsiteX446" fmla="*/ 6435712 w 9154202"/>
                <a:gd name="connsiteY446" fmla="*/ 494552 h 2112317"/>
                <a:gd name="connsiteX447" fmla="*/ 6432524 w 9154202"/>
                <a:gd name="connsiteY447" fmla="*/ 495845 h 2112317"/>
                <a:gd name="connsiteX448" fmla="*/ 6429734 w 9154202"/>
                <a:gd name="connsiteY448" fmla="*/ 497437 h 2112317"/>
                <a:gd name="connsiteX449" fmla="*/ 6428139 w 9154202"/>
                <a:gd name="connsiteY449" fmla="*/ 497437 h 2112317"/>
                <a:gd name="connsiteX450" fmla="*/ 6426645 w 9154202"/>
                <a:gd name="connsiteY450" fmla="*/ 497437 h 2112317"/>
                <a:gd name="connsiteX451" fmla="*/ 6424154 w 9154202"/>
                <a:gd name="connsiteY451" fmla="*/ 496641 h 2112317"/>
                <a:gd name="connsiteX452" fmla="*/ 6422958 w 9154202"/>
                <a:gd name="connsiteY452" fmla="*/ 496641 h 2112317"/>
                <a:gd name="connsiteX453" fmla="*/ 6420367 w 9154202"/>
                <a:gd name="connsiteY453" fmla="*/ 496641 h 2112317"/>
                <a:gd name="connsiteX454" fmla="*/ 6418175 w 9154202"/>
                <a:gd name="connsiteY454" fmla="*/ 497537 h 2112317"/>
                <a:gd name="connsiteX455" fmla="*/ 6416381 w 9154202"/>
                <a:gd name="connsiteY455" fmla="*/ 499327 h 2112317"/>
                <a:gd name="connsiteX456" fmla="*/ 6415086 w 9154202"/>
                <a:gd name="connsiteY456" fmla="*/ 502312 h 2112317"/>
                <a:gd name="connsiteX457" fmla="*/ 6417577 w 9154202"/>
                <a:gd name="connsiteY457" fmla="*/ 503207 h 2112317"/>
                <a:gd name="connsiteX458" fmla="*/ 6418873 w 9154202"/>
                <a:gd name="connsiteY458" fmla="*/ 504899 h 2112317"/>
                <a:gd name="connsiteX459" fmla="*/ 6421065 w 9154202"/>
                <a:gd name="connsiteY459" fmla="*/ 509475 h 2112317"/>
                <a:gd name="connsiteX460" fmla="*/ 6422460 w 9154202"/>
                <a:gd name="connsiteY460" fmla="*/ 510967 h 2112317"/>
                <a:gd name="connsiteX461" fmla="*/ 6424353 w 9154202"/>
                <a:gd name="connsiteY461" fmla="*/ 512261 h 2112317"/>
                <a:gd name="connsiteX462" fmla="*/ 6428139 w 9154202"/>
                <a:gd name="connsiteY462" fmla="*/ 514151 h 2112317"/>
                <a:gd name="connsiteX463" fmla="*/ 6427343 w 9154202"/>
                <a:gd name="connsiteY463" fmla="*/ 518429 h 2112317"/>
                <a:gd name="connsiteX464" fmla="*/ 6429036 w 9154202"/>
                <a:gd name="connsiteY464" fmla="*/ 520916 h 2112317"/>
                <a:gd name="connsiteX465" fmla="*/ 6432125 w 9154202"/>
                <a:gd name="connsiteY465" fmla="*/ 522210 h 2112317"/>
                <a:gd name="connsiteX466" fmla="*/ 6435513 w 9154202"/>
                <a:gd name="connsiteY466" fmla="*/ 522210 h 2112317"/>
                <a:gd name="connsiteX467" fmla="*/ 6436808 w 9154202"/>
                <a:gd name="connsiteY467" fmla="*/ 523005 h 2112317"/>
                <a:gd name="connsiteX468" fmla="*/ 6439299 w 9154202"/>
                <a:gd name="connsiteY468" fmla="*/ 526985 h 2112317"/>
                <a:gd name="connsiteX469" fmla="*/ 6440197 w 9154202"/>
                <a:gd name="connsiteY469" fmla="*/ 528179 h 2112317"/>
                <a:gd name="connsiteX470" fmla="*/ 6441691 w 9154202"/>
                <a:gd name="connsiteY470" fmla="*/ 528179 h 2112317"/>
                <a:gd name="connsiteX471" fmla="*/ 6444880 w 9154202"/>
                <a:gd name="connsiteY471" fmla="*/ 528179 h 2112317"/>
                <a:gd name="connsiteX472" fmla="*/ 6446374 w 9154202"/>
                <a:gd name="connsiteY472" fmla="*/ 528179 h 2112317"/>
                <a:gd name="connsiteX473" fmla="*/ 6444381 w 9154202"/>
                <a:gd name="connsiteY473" fmla="*/ 530865 h 2112317"/>
                <a:gd name="connsiteX474" fmla="*/ 6442887 w 9154202"/>
                <a:gd name="connsiteY474" fmla="*/ 535640 h 2112317"/>
                <a:gd name="connsiteX475" fmla="*/ 6442887 w 9154202"/>
                <a:gd name="connsiteY475" fmla="*/ 540814 h 2112317"/>
                <a:gd name="connsiteX476" fmla="*/ 6444182 w 9154202"/>
                <a:gd name="connsiteY476" fmla="*/ 544793 h 2112317"/>
                <a:gd name="connsiteX477" fmla="*/ 6448068 w 9154202"/>
                <a:gd name="connsiteY477" fmla="*/ 546683 h 2112317"/>
                <a:gd name="connsiteX478" fmla="*/ 6456837 w 9154202"/>
                <a:gd name="connsiteY478" fmla="*/ 546683 h 2112317"/>
                <a:gd name="connsiteX479" fmla="*/ 6459727 w 9154202"/>
                <a:gd name="connsiteY479" fmla="*/ 549967 h 2112317"/>
                <a:gd name="connsiteX480" fmla="*/ 6452852 w 9154202"/>
                <a:gd name="connsiteY480" fmla="*/ 549967 h 2112317"/>
                <a:gd name="connsiteX481" fmla="*/ 6451655 w 9154202"/>
                <a:gd name="connsiteY481" fmla="*/ 549967 h 2112317"/>
                <a:gd name="connsiteX482" fmla="*/ 6446574 w 9154202"/>
                <a:gd name="connsiteY482" fmla="*/ 552056 h 2112317"/>
                <a:gd name="connsiteX483" fmla="*/ 6444581 w 9154202"/>
                <a:gd name="connsiteY483" fmla="*/ 554443 h 2112317"/>
                <a:gd name="connsiteX484" fmla="*/ 6441592 w 9154202"/>
                <a:gd name="connsiteY484" fmla="*/ 559219 h 2112317"/>
                <a:gd name="connsiteX485" fmla="*/ 6439499 w 9154202"/>
                <a:gd name="connsiteY485" fmla="*/ 561010 h 2112317"/>
                <a:gd name="connsiteX486" fmla="*/ 6437207 w 9154202"/>
                <a:gd name="connsiteY486" fmla="*/ 562502 h 2112317"/>
                <a:gd name="connsiteX487" fmla="*/ 6435414 w 9154202"/>
                <a:gd name="connsiteY487" fmla="*/ 564293 h 2112317"/>
                <a:gd name="connsiteX488" fmla="*/ 6434616 w 9154202"/>
                <a:gd name="connsiteY488" fmla="*/ 566979 h 2112317"/>
                <a:gd name="connsiteX489" fmla="*/ 6435712 w 9154202"/>
                <a:gd name="connsiteY489" fmla="*/ 569168 h 2112317"/>
                <a:gd name="connsiteX490" fmla="*/ 6440695 w 9154202"/>
                <a:gd name="connsiteY490" fmla="*/ 571257 h 2112317"/>
                <a:gd name="connsiteX491" fmla="*/ 6442488 w 9154202"/>
                <a:gd name="connsiteY491" fmla="*/ 573446 h 2112317"/>
                <a:gd name="connsiteX492" fmla="*/ 6439698 w 9154202"/>
                <a:gd name="connsiteY492" fmla="*/ 573446 h 2112317"/>
                <a:gd name="connsiteX493" fmla="*/ 6437905 w 9154202"/>
                <a:gd name="connsiteY493" fmla="*/ 574639 h 2112317"/>
                <a:gd name="connsiteX494" fmla="*/ 6435015 w 9154202"/>
                <a:gd name="connsiteY494" fmla="*/ 578818 h 2112317"/>
                <a:gd name="connsiteX495" fmla="*/ 6432723 w 9154202"/>
                <a:gd name="connsiteY495" fmla="*/ 581504 h 2112317"/>
                <a:gd name="connsiteX496" fmla="*/ 6431926 w 9154202"/>
                <a:gd name="connsiteY496" fmla="*/ 582897 h 2112317"/>
                <a:gd name="connsiteX497" fmla="*/ 6431926 w 9154202"/>
                <a:gd name="connsiteY497" fmla="*/ 584091 h 2112317"/>
                <a:gd name="connsiteX498" fmla="*/ 6431029 w 9154202"/>
                <a:gd name="connsiteY498" fmla="*/ 590657 h 2112317"/>
                <a:gd name="connsiteX499" fmla="*/ 6431029 w 9154202"/>
                <a:gd name="connsiteY499" fmla="*/ 593741 h 2112317"/>
                <a:gd name="connsiteX500" fmla="*/ 6431726 w 9154202"/>
                <a:gd name="connsiteY500" fmla="*/ 596129 h 2112317"/>
                <a:gd name="connsiteX501" fmla="*/ 6435712 w 9154202"/>
                <a:gd name="connsiteY501" fmla="*/ 598118 h 2112317"/>
                <a:gd name="connsiteX502" fmla="*/ 6437307 w 9154202"/>
                <a:gd name="connsiteY502" fmla="*/ 600606 h 2112317"/>
                <a:gd name="connsiteX503" fmla="*/ 6438801 w 9154202"/>
                <a:gd name="connsiteY503" fmla="*/ 603391 h 2112317"/>
                <a:gd name="connsiteX504" fmla="*/ 6440296 w 9154202"/>
                <a:gd name="connsiteY504" fmla="*/ 605480 h 2112317"/>
                <a:gd name="connsiteX505" fmla="*/ 6433421 w 9154202"/>
                <a:gd name="connsiteY505" fmla="*/ 603292 h 2112317"/>
                <a:gd name="connsiteX506" fmla="*/ 6431926 w 9154202"/>
                <a:gd name="connsiteY506" fmla="*/ 602396 h 2112317"/>
                <a:gd name="connsiteX507" fmla="*/ 6426744 w 9154202"/>
                <a:gd name="connsiteY507" fmla="*/ 596129 h 2112317"/>
                <a:gd name="connsiteX508" fmla="*/ 6425948 w 9154202"/>
                <a:gd name="connsiteY508" fmla="*/ 593741 h 2112317"/>
                <a:gd name="connsiteX509" fmla="*/ 6425948 w 9154202"/>
                <a:gd name="connsiteY509" fmla="*/ 591254 h 2112317"/>
                <a:gd name="connsiteX510" fmla="*/ 6425948 w 9154202"/>
                <a:gd name="connsiteY510" fmla="*/ 589463 h 2112317"/>
                <a:gd name="connsiteX511" fmla="*/ 6428439 w 9154202"/>
                <a:gd name="connsiteY511" fmla="*/ 586976 h 2112317"/>
                <a:gd name="connsiteX512" fmla="*/ 6429136 w 9154202"/>
                <a:gd name="connsiteY512" fmla="*/ 585384 h 2112317"/>
                <a:gd name="connsiteX513" fmla="*/ 6428538 w 9154202"/>
                <a:gd name="connsiteY513" fmla="*/ 583494 h 2112317"/>
                <a:gd name="connsiteX514" fmla="*/ 6426944 w 9154202"/>
                <a:gd name="connsiteY514" fmla="*/ 580211 h 2112317"/>
                <a:gd name="connsiteX515" fmla="*/ 6423556 w 9154202"/>
                <a:gd name="connsiteY515" fmla="*/ 570560 h 2112317"/>
                <a:gd name="connsiteX516" fmla="*/ 6422559 w 9154202"/>
                <a:gd name="connsiteY516" fmla="*/ 568571 h 2112317"/>
                <a:gd name="connsiteX517" fmla="*/ 6420068 w 9154202"/>
                <a:gd name="connsiteY517" fmla="*/ 565586 h 2112317"/>
                <a:gd name="connsiteX518" fmla="*/ 6419172 w 9154202"/>
                <a:gd name="connsiteY518" fmla="*/ 563497 h 2112317"/>
                <a:gd name="connsiteX519" fmla="*/ 6419172 w 9154202"/>
                <a:gd name="connsiteY519" fmla="*/ 561308 h 2112317"/>
                <a:gd name="connsiteX520" fmla="*/ 6419172 w 9154202"/>
                <a:gd name="connsiteY520" fmla="*/ 557130 h 2112317"/>
                <a:gd name="connsiteX521" fmla="*/ 6418574 w 9154202"/>
                <a:gd name="connsiteY521" fmla="*/ 555140 h 2112317"/>
                <a:gd name="connsiteX522" fmla="*/ 6416381 w 9154202"/>
                <a:gd name="connsiteY522" fmla="*/ 552951 h 2112317"/>
                <a:gd name="connsiteX523" fmla="*/ 6409606 w 9154202"/>
                <a:gd name="connsiteY523" fmla="*/ 548375 h 2112317"/>
                <a:gd name="connsiteX524" fmla="*/ 6408111 w 9154202"/>
                <a:gd name="connsiteY524" fmla="*/ 546385 h 2112317"/>
                <a:gd name="connsiteX525" fmla="*/ 6406118 w 9154202"/>
                <a:gd name="connsiteY525" fmla="*/ 544196 h 2112317"/>
                <a:gd name="connsiteX526" fmla="*/ 6403826 w 9154202"/>
                <a:gd name="connsiteY526" fmla="*/ 542207 h 2112317"/>
                <a:gd name="connsiteX527" fmla="*/ 6402132 w 9154202"/>
                <a:gd name="connsiteY527" fmla="*/ 542207 h 2112317"/>
                <a:gd name="connsiteX528" fmla="*/ 6401036 w 9154202"/>
                <a:gd name="connsiteY528" fmla="*/ 542903 h 2112317"/>
                <a:gd name="connsiteX529" fmla="*/ 6400040 w 9154202"/>
                <a:gd name="connsiteY529" fmla="*/ 543798 h 2112317"/>
                <a:gd name="connsiteX530" fmla="*/ 6398645 w 9154202"/>
                <a:gd name="connsiteY530" fmla="*/ 544594 h 2112317"/>
                <a:gd name="connsiteX531" fmla="*/ 6396752 w 9154202"/>
                <a:gd name="connsiteY531" fmla="*/ 544594 h 2112317"/>
                <a:gd name="connsiteX532" fmla="*/ 6386787 w 9154202"/>
                <a:gd name="connsiteY532" fmla="*/ 544594 h 2112317"/>
                <a:gd name="connsiteX533" fmla="*/ 6385492 w 9154202"/>
                <a:gd name="connsiteY533" fmla="*/ 543798 h 2112317"/>
                <a:gd name="connsiteX534" fmla="*/ 6384197 w 9154202"/>
                <a:gd name="connsiteY534" fmla="*/ 540416 h 2112317"/>
                <a:gd name="connsiteX535" fmla="*/ 6384794 w 9154202"/>
                <a:gd name="connsiteY535" fmla="*/ 536934 h 2112317"/>
                <a:gd name="connsiteX536" fmla="*/ 6387684 w 9154202"/>
                <a:gd name="connsiteY536" fmla="*/ 531362 h 2112317"/>
                <a:gd name="connsiteX537" fmla="*/ 6389477 w 9154202"/>
                <a:gd name="connsiteY537" fmla="*/ 526786 h 2112317"/>
                <a:gd name="connsiteX538" fmla="*/ 6388083 w 9154202"/>
                <a:gd name="connsiteY538" fmla="*/ 525393 h 2112317"/>
                <a:gd name="connsiteX539" fmla="*/ 6385093 w 9154202"/>
                <a:gd name="connsiteY539" fmla="*/ 524796 h 2112317"/>
                <a:gd name="connsiteX540" fmla="*/ 6379513 w 9154202"/>
                <a:gd name="connsiteY540" fmla="*/ 520518 h 2112317"/>
                <a:gd name="connsiteX541" fmla="*/ 6376624 w 9154202"/>
                <a:gd name="connsiteY541" fmla="*/ 521414 h 2112317"/>
                <a:gd name="connsiteX542" fmla="*/ 6361079 w 9154202"/>
                <a:gd name="connsiteY542" fmla="*/ 535541 h 2112317"/>
                <a:gd name="connsiteX543" fmla="*/ 6355001 w 9154202"/>
                <a:gd name="connsiteY543" fmla="*/ 538923 h 2112317"/>
                <a:gd name="connsiteX544" fmla="*/ 6349421 w 9154202"/>
                <a:gd name="connsiteY544" fmla="*/ 539719 h 2112317"/>
                <a:gd name="connsiteX545" fmla="*/ 6351314 w 9154202"/>
                <a:gd name="connsiteY545" fmla="*/ 543002 h 2112317"/>
                <a:gd name="connsiteX546" fmla="*/ 6353307 w 9154202"/>
                <a:gd name="connsiteY546" fmla="*/ 547678 h 2112317"/>
                <a:gd name="connsiteX547" fmla="*/ 6354602 w 9154202"/>
                <a:gd name="connsiteY547" fmla="*/ 552155 h 2112317"/>
                <a:gd name="connsiteX548" fmla="*/ 6354602 w 9154202"/>
                <a:gd name="connsiteY548" fmla="*/ 554941 h 2112317"/>
                <a:gd name="connsiteX549" fmla="*/ 6354602 w 9154202"/>
                <a:gd name="connsiteY549" fmla="*/ 554941 h 2112317"/>
                <a:gd name="connsiteX550" fmla="*/ 6353108 w 9154202"/>
                <a:gd name="connsiteY550" fmla="*/ 555836 h 2112317"/>
                <a:gd name="connsiteX551" fmla="*/ 6345634 w 9154202"/>
                <a:gd name="connsiteY551" fmla="*/ 557329 h 2112317"/>
                <a:gd name="connsiteX552" fmla="*/ 6343841 w 9154202"/>
                <a:gd name="connsiteY552" fmla="*/ 558224 h 2112317"/>
                <a:gd name="connsiteX553" fmla="*/ 6340951 w 9154202"/>
                <a:gd name="connsiteY553" fmla="*/ 562203 h 2112317"/>
                <a:gd name="connsiteX554" fmla="*/ 6338759 w 9154202"/>
                <a:gd name="connsiteY554" fmla="*/ 563198 h 2112317"/>
                <a:gd name="connsiteX555" fmla="*/ 6333079 w 9154202"/>
                <a:gd name="connsiteY555" fmla="*/ 566481 h 2112317"/>
                <a:gd name="connsiteX556" fmla="*/ 6332282 w 9154202"/>
                <a:gd name="connsiteY556" fmla="*/ 566481 h 2112317"/>
                <a:gd name="connsiteX557" fmla="*/ 6331684 w 9154202"/>
                <a:gd name="connsiteY557" fmla="*/ 568770 h 2112317"/>
                <a:gd name="connsiteX558" fmla="*/ 6331684 w 9154202"/>
                <a:gd name="connsiteY558" fmla="*/ 571655 h 2112317"/>
                <a:gd name="connsiteX559" fmla="*/ 6332282 w 9154202"/>
                <a:gd name="connsiteY559" fmla="*/ 574540 h 2112317"/>
                <a:gd name="connsiteX560" fmla="*/ 6333279 w 9154202"/>
                <a:gd name="connsiteY560" fmla="*/ 576530 h 2112317"/>
                <a:gd name="connsiteX561" fmla="*/ 6334175 w 9154202"/>
                <a:gd name="connsiteY561" fmla="*/ 581106 h 2112317"/>
                <a:gd name="connsiteX562" fmla="*/ 6332382 w 9154202"/>
                <a:gd name="connsiteY562" fmla="*/ 586677 h 2112317"/>
                <a:gd name="connsiteX563" fmla="*/ 6327599 w 9154202"/>
                <a:gd name="connsiteY563" fmla="*/ 594835 h 2112317"/>
                <a:gd name="connsiteX564" fmla="*/ 6325706 w 9154202"/>
                <a:gd name="connsiteY564" fmla="*/ 601302 h 2112317"/>
                <a:gd name="connsiteX565" fmla="*/ 6326204 w 9154202"/>
                <a:gd name="connsiteY565" fmla="*/ 607868 h 2112317"/>
                <a:gd name="connsiteX566" fmla="*/ 6328396 w 9154202"/>
                <a:gd name="connsiteY566" fmla="*/ 614036 h 2112317"/>
                <a:gd name="connsiteX567" fmla="*/ 6331186 w 9154202"/>
                <a:gd name="connsiteY567" fmla="*/ 619409 h 2112317"/>
                <a:gd name="connsiteX568" fmla="*/ 6335471 w 9154202"/>
                <a:gd name="connsiteY568" fmla="*/ 624881 h 2112317"/>
                <a:gd name="connsiteX569" fmla="*/ 6351214 w 9154202"/>
                <a:gd name="connsiteY569" fmla="*/ 635824 h 2112317"/>
                <a:gd name="connsiteX570" fmla="*/ 6353307 w 9154202"/>
                <a:gd name="connsiteY570" fmla="*/ 638809 h 2112317"/>
                <a:gd name="connsiteX571" fmla="*/ 6354403 w 9154202"/>
                <a:gd name="connsiteY571" fmla="*/ 640699 h 2112317"/>
                <a:gd name="connsiteX572" fmla="*/ 6357193 w 9154202"/>
                <a:gd name="connsiteY572" fmla="*/ 646171 h 2112317"/>
                <a:gd name="connsiteX573" fmla="*/ 6359385 w 9154202"/>
                <a:gd name="connsiteY573" fmla="*/ 647564 h 2112317"/>
                <a:gd name="connsiteX574" fmla="*/ 6361577 w 9154202"/>
                <a:gd name="connsiteY574" fmla="*/ 648658 h 2112317"/>
                <a:gd name="connsiteX575" fmla="*/ 6364168 w 9154202"/>
                <a:gd name="connsiteY575" fmla="*/ 651245 h 2112317"/>
                <a:gd name="connsiteX576" fmla="*/ 6368453 w 9154202"/>
                <a:gd name="connsiteY576" fmla="*/ 657015 h 2112317"/>
                <a:gd name="connsiteX577" fmla="*/ 6373535 w 9154202"/>
                <a:gd name="connsiteY577" fmla="*/ 666964 h 2112317"/>
                <a:gd name="connsiteX578" fmla="*/ 6375030 w 9154202"/>
                <a:gd name="connsiteY578" fmla="*/ 668556 h 2112317"/>
                <a:gd name="connsiteX579" fmla="*/ 6377321 w 9154202"/>
                <a:gd name="connsiteY579" fmla="*/ 670346 h 2112317"/>
                <a:gd name="connsiteX580" fmla="*/ 6377919 w 9154202"/>
                <a:gd name="connsiteY580" fmla="*/ 674326 h 2112317"/>
                <a:gd name="connsiteX581" fmla="*/ 6377919 w 9154202"/>
                <a:gd name="connsiteY581" fmla="*/ 681389 h 2112317"/>
                <a:gd name="connsiteX582" fmla="*/ 6376225 w 9154202"/>
                <a:gd name="connsiteY582" fmla="*/ 680295 h 2112317"/>
                <a:gd name="connsiteX583" fmla="*/ 6375528 w 9154202"/>
                <a:gd name="connsiteY583" fmla="*/ 678604 h 2112317"/>
                <a:gd name="connsiteX584" fmla="*/ 6375528 w 9154202"/>
                <a:gd name="connsiteY584" fmla="*/ 676316 h 2112317"/>
                <a:gd name="connsiteX585" fmla="*/ 6375528 w 9154202"/>
                <a:gd name="connsiteY585" fmla="*/ 673928 h 2112317"/>
                <a:gd name="connsiteX586" fmla="*/ 6375528 w 9154202"/>
                <a:gd name="connsiteY586" fmla="*/ 672237 h 2112317"/>
                <a:gd name="connsiteX587" fmla="*/ 6371243 w 9154202"/>
                <a:gd name="connsiteY587" fmla="*/ 668058 h 2112317"/>
                <a:gd name="connsiteX588" fmla="*/ 6370146 w 9154202"/>
                <a:gd name="connsiteY588" fmla="*/ 666068 h 2112317"/>
                <a:gd name="connsiteX589" fmla="*/ 6367257 w 9154202"/>
                <a:gd name="connsiteY589" fmla="*/ 662089 h 2112317"/>
                <a:gd name="connsiteX590" fmla="*/ 6366261 w 9154202"/>
                <a:gd name="connsiteY590" fmla="*/ 659801 h 2112317"/>
                <a:gd name="connsiteX591" fmla="*/ 6353904 w 9154202"/>
                <a:gd name="connsiteY591" fmla="*/ 645076 h 2112317"/>
                <a:gd name="connsiteX592" fmla="*/ 6347727 w 9154202"/>
                <a:gd name="connsiteY592" fmla="*/ 637814 h 2112317"/>
                <a:gd name="connsiteX593" fmla="*/ 6334175 w 9154202"/>
                <a:gd name="connsiteY593" fmla="*/ 626771 h 2112317"/>
                <a:gd name="connsiteX594" fmla="*/ 6331883 w 9154202"/>
                <a:gd name="connsiteY594" fmla="*/ 625875 h 2112317"/>
                <a:gd name="connsiteX595" fmla="*/ 6330389 w 9154202"/>
                <a:gd name="connsiteY595" fmla="*/ 624284 h 2112317"/>
                <a:gd name="connsiteX596" fmla="*/ 6325506 w 9154202"/>
                <a:gd name="connsiteY596" fmla="*/ 614335 h 2112317"/>
                <a:gd name="connsiteX597" fmla="*/ 6320424 w 9154202"/>
                <a:gd name="connsiteY597" fmla="*/ 610355 h 2112317"/>
                <a:gd name="connsiteX598" fmla="*/ 6308566 w 9154202"/>
                <a:gd name="connsiteY598" fmla="*/ 604287 h 2112317"/>
                <a:gd name="connsiteX599" fmla="*/ 6302788 w 9154202"/>
                <a:gd name="connsiteY599" fmla="*/ 600208 h 2112317"/>
                <a:gd name="connsiteX600" fmla="*/ 6294816 w 9154202"/>
                <a:gd name="connsiteY600" fmla="*/ 591950 h 2112317"/>
                <a:gd name="connsiteX601" fmla="*/ 6292026 w 9154202"/>
                <a:gd name="connsiteY601" fmla="*/ 590856 h 2112317"/>
                <a:gd name="connsiteX602" fmla="*/ 6284553 w 9154202"/>
                <a:gd name="connsiteY602" fmla="*/ 589762 h 2112317"/>
                <a:gd name="connsiteX603" fmla="*/ 6282859 w 9154202"/>
                <a:gd name="connsiteY603" fmla="*/ 588866 h 2112317"/>
                <a:gd name="connsiteX604" fmla="*/ 6280866 w 9154202"/>
                <a:gd name="connsiteY604" fmla="*/ 586080 h 2112317"/>
                <a:gd name="connsiteX605" fmla="*/ 6279371 w 9154202"/>
                <a:gd name="connsiteY605" fmla="*/ 584887 h 2112317"/>
                <a:gd name="connsiteX606" fmla="*/ 6275784 w 9154202"/>
                <a:gd name="connsiteY606" fmla="*/ 583991 h 2112317"/>
                <a:gd name="connsiteX607" fmla="*/ 6268111 w 9154202"/>
                <a:gd name="connsiteY607" fmla="*/ 583991 h 2112317"/>
                <a:gd name="connsiteX608" fmla="*/ 6264624 w 9154202"/>
                <a:gd name="connsiteY608" fmla="*/ 582897 h 2112317"/>
                <a:gd name="connsiteX609" fmla="*/ 6261236 w 9154202"/>
                <a:gd name="connsiteY609" fmla="*/ 581305 h 2112317"/>
                <a:gd name="connsiteX610" fmla="*/ 6244296 w 9154202"/>
                <a:gd name="connsiteY610" fmla="*/ 576729 h 2112317"/>
                <a:gd name="connsiteX611" fmla="*/ 6241108 w 9154202"/>
                <a:gd name="connsiteY611" fmla="*/ 576729 h 2112317"/>
                <a:gd name="connsiteX612" fmla="*/ 6235727 w 9154202"/>
                <a:gd name="connsiteY612" fmla="*/ 580907 h 2112317"/>
                <a:gd name="connsiteX613" fmla="*/ 6226460 w 9154202"/>
                <a:gd name="connsiteY613" fmla="*/ 585384 h 2112317"/>
                <a:gd name="connsiteX614" fmla="*/ 6221179 w 9154202"/>
                <a:gd name="connsiteY614" fmla="*/ 589463 h 2112317"/>
                <a:gd name="connsiteX615" fmla="*/ 6218787 w 9154202"/>
                <a:gd name="connsiteY615" fmla="*/ 592448 h 2112317"/>
                <a:gd name="connsiteX616" fmla="*/ 6217791 w 9154202"/>
                <a:gd name="connsiteY616" fmla="*/ 595532 h 2112317"/>
                <a:gd name="connsiteX617" fmla="*/ 6216396 w 9154202"/>
                <a:gd name="connsiteY617" fmla="*/ 597422 h 2112317"/>
                <a:gd name="connsiteX618" fmla="*/ 6208225 w 9154202"/>
                <a:gd name="connsiteY618" fmla="*/ 603093 h 2112317"/>
                <a:gd name="connsiteX619" fmla="*/ 6207328 w 9154202"/>
                <a:gd name="connsiteY619" fmla="*/ 604386 h 2112317"/>
                <a:gd name="connsiteX620" fmla="*/ 6206631 w 9154202"/>
                <a:gd name="connsiteY620" fmla="*/ 605978 h 2112317"/>
                <a:gd name="connsiteX621" fmla="*/ 6205734 w 9154202"/>
                <a:gd name="connsiteY621" fmla="*/ 607271 h 2112317"/>
                <a:gd name="connsiteX622" fmla="*/ 6204239 w 9154202"/>
                <a:gd name="connsiteY622" fmla="*/ 607769 h 2112317"/>
                <a:gd name="connsiteX623" fmla="*/ 6202844 w 9154202"/>
                <a:gd name="connsiteY623" fmla="*/ 607769 h 2112317"/>
                <a:gd name="connsiteX624" fmla="*/ 6198659 w 9154202"/>
                <a:gd name="connsiteY624" fmla="*/ 610355 h 2112317"/>
                <a:gd name="connsiteX625" fmla="*/ 6195471 w 9154202"/>
                <a:gd name="connsiteY625" fmla="*/ 611549 h 2112317"/>
                <a:gd name="connsiteX626" fmla="*/ 6188695 w 9154202"/>
                <a:gd name="connsiteY626" fmla="*/ 611549 h 2112317"/>
                <a:gd name="connsiteX627" fmla="*/ 6185606 w 9154202"/>
                <a:gd name="connsiteY627" fmla="*/ 612843 h 2112317"/>
                <a:gd name="connsiteX628" fmla="*/ 6181820 w 9154202"/>
                <a:gd name="connsiteY628" fmla="*/ 617717 h 2112317"/>
                <a:gd name="connsiteX629" fmla="*/ 6176837 w 9154202"/>
                <a:gd name="connsiteY629" fmla="*/ 628860 h 2112317"/>
                <a:gd name="connsiteX630" fmla="*/ 6172553 w 9154202"/>
                <a:gd name="connsiteY630" fmla="*/ 632641 h 2112317"/>
                <a:gd name="connsiteX631" fmla="*/ 6171656 w 9154202"/>
                <a:gd name="connsiteY631" fmla="*/ 631546 h 2112317"/>
                <a:gd name="connsiteX632" fmla="*/ 6174645 w 9154202"/>
                <a:gd name="connsiteY632" fmla="*/ 628661 h 2112317"/>
                <a:gd name="connsiteX633" fmla="*/ 6175143 w 9154202"/>
                <a:gd name="connsiteY633" fmla="*/ 627965 h 2112317"/>
                <a:gd name="connsiteX634" fmla="*/ 6175143 w 9154202"/>
                <a:gd name="connsiteY634" fmla="*/ 626472 h 2112317"/>
                <a:gd name="connsiteX635" fmla="*/ 6174645 w 9154202"/>
                <a:gd name="connsiteY635" fmla="*/ 625179 h 2112317"/>
                <a:gd name="connsiteX636" fmla="*/ 6173947 w 9154202"/>
                <a:gd name="connsiteY636" fmla="*/ 624582 h 2112317"/>
                <a:gd name="connsiteX637" fmla="*/ 6171357 w 9154202"/>
                <a:gd name="connsiteY637" fmla="*/ 626373 h 2112317"/>
                <a:gd name="connsiteX638" fmla="*/ 6169165 w 9154202"/>
                <a:gd name="connsiteY638" fmla="*/ 627268 h 2112317"/>
                <a:gd name="connsiteX639" fmla="*/ 6164780 w 9154202"/>
                <a:gd name="connsiteY639" fmla="*/ 627965 h 2112317"/>
                <a:gd name="connsiteX640" fmla="*/ 6166375 w 9154202"/>
                <a:gd name="connsiteY640" fmla="*/ 625179 h 2112317"/>
                <a:gd name="connsiteX641" fmla="*/ 6168268 w 9154202"/>
                <a:gd name="connsiteY641" fmla="*/ 622990 h 2112317"/>
                <a:gd name="connsiteX642" fmla="*/ 6170560 w 9154202"/>
                <a:gd name="connsiteY642" fmla="*/ 621299 h 2112317"/>
                <a:gd name="connsiteX643" fmla="*/ 6177834 w 9154202"/>
                <a:gd name="connsiteY643" fmla="*/ 618115 h 2112317"/>
                <a:gd name="connsiteX644" fmla="*/ 6179029 w 9154202"/>
                <a:gd name="connsiteY644" fmla="*/ 616922 h 2112317"/>
                <a:gd name="connsiteX645" fmla="*/ 6182417 w 9154202"/>
                <a:gd name="connsiteY645" fmla="*/ 611052 h 2112317"/>
                <a:gd name="connsiteX646" fmla="*/ 6183813 w 9154202"/>
                <a:gd name="connsiteY646" fmla="*/ 609261 h 2112317"/>
                <a:gd name="connsiteX647" fmla="*/ 6186802 w 9154202"/>
                <a:gd name="connsiteY647" fmla="*/ 607271 h 2112317"/>
                <a:gd name="connsiteX648" fmla="*/ 6196069 w 9154202"/>
                <a:gd name="connsiteY648" fmla="*/ 603391 h 2112317"/>
                <a:gd name="connsiteX649" fmla="*/ 6198560 w 9154202"/>
                <a:gd name="connsiteY649" fmla="*/ 601799 h 2112317"/>
                <a:gd name="connsiteX650" fmla="*/ 6199556 w 9154202"/>
                <a:gd name="connsiteY650" fmla="*/ 600904 h 2112317"/>
                <a:gd name="connsiteX651" fmla="*/ 6200851 w 9154202"/>
                <a:gd name="connsiteY651" fmla="*/ 599213 h 2112317"/>
                <a:gd name="connsiteX652" fmla="*/ 6201649 w 9154202"/>
                <a:gd name="connsiteY652" fmla="*/ 597720 h 2112317"/>
                <a:gd name="connsiteX653" fmla="*/ 6203143 w 9154202"/>
                <a:gd name="connsiteY653" fmla="*/ 594039 h 2112317"/>
                <a:gd name="connsiteX654" fmla="*/ 6203741 w 9154202"/>
                <a:gd name="connsiteY654" fmla="*/ 592746 h 2112317"/>
                <a:gd name="connsiteX655" fmla="*/ 6208325 w 9154202"/>
                <a:gd name="connsiteY655" fmla="*/ 587573 h 2112317"/>
                <a:gd name="connsiteX656" fmla="*/ 6213506 w 9154202"/>
                <a:gd name="connsiteY656" fmla="*/ 583394 h 2112317"/>
                <a:gd name="connsiteX657" fmla="*/ 6218987 w 9154202"/>
                <a:gd name="connsiteY657" fmla="*/ 580012 h 2112317"/>
                <a:gd name="connsiteX658" fmla="*/ 6233635 w 9154202"/>
                <a:gd name="connsiteY658" fmla="*/ 574341 h 2112317"/>
                <a:gd name="connsiteX659" fmla="*/ 6236424 w 9154202"/>
                <a:gd name="connsiteY659" fmla="*/ 574341 h 2112317"/>
                <a:gd name="connsiteX660" fmla="*/ 6238617 w 9154202"/>
                <a:gd name="connsiteY660" fmla="*/ 573048 h 2112317"/>
                <a:gd name="connsiteX661" fmla="*/ 6238617 w 9154202"/>
                <a:gd name="connsiteY661" fmla="*/ 570162 h 2112317"/>
                <a:gd name="connsiteX662" fmla="*/ 6237420 w 9154202"/>
                <a:gd name="connsiteY662" fmla="*/ 563696 h 2112317"/>
                <a:gd name="connsiteX663" fmla="*/ 6237420 w 9154202"/>
                <a:gd name="connsiteY663" fmla="*/ 556334 h 2112317"/>
                <a:gd name="connsiteX664" fmla="*/ 6237420 w 9154202"/>
                <a:gd name="connsiteY664" fmla="*/ 552454 h 2112317"/>
                <a:gd name="connsiteX665" fmla="*/ 6235627 w 9154202"/>
                <a:gd name="connsiteY665" fmla="*/ 550663 h 2112317"/>
                <a:gd name="connsiteX666" fmla="*/ 6233236 w 9154202"/>
                <a:gd name="connsiteY666" fmla="*/ 549768 h 2112317"/>
                <a:gd name="connsiteX667" fmla="*/ 6230844 w 9154202"/>
                <a:gd name="connsiteY667" fmla="*/ 547479 h 2112317"/>
                <a:gd name="connsiteX668" fmla="*/ 6228751 w 9154202"/>
                <a:gd name="connsiteY668" fmla="*/ 544793 h 2112317"/>
                <a:gd name="connsiteX669" fmla="*/ 6227357 w 9154202"/>
                <a:gd name="connsiteY669" fmla="*/ 542505 h 2112317"/>
                <a:gd name="connsiteX670" fmla="*/ 6223570 w 9154202"/>
                <a:gd name="connsiteY670" fmla="*/ 532556 h 2112317"/>
                <a:gd name="connsiteX671" fmla="*/ 6222375 w 9154202"/>
                <a:gd name="connsiteY671" fmla="*/ 526985 h 2112317"/>
                <a:gd name="connsiteX672" fmla="*/ 6218987 w 9154202"/>
                <a:gd name="connsiteY672" fmla="*/ 519623 h 2112317"/>
                <a:gd name="connsiteX673" fmla="*/ 6217891 w 9154202"/>
                <a:gd name="connsiteY673" fmla="*/ 516141 h 2112317"/>
                <a:gd name="connsiteX674" fmla="*/ 6217891 w 9154202"/>
                <a:gd name="connsiteY674" fmla="*/ 514052 h 2112317"/>
                <a:gd name="connsiteX675" fmla="*/ 6217891 w 9154202"/>
                <a:gd name="connsiteY675" fmla="*/ 512957 h 2112317"/>
                <a:gd name="connsiteX676" fmla="*/ 6217891 w 9154202"/>
                <a:gd name="connsiteY676" fmla="*/ 511763 h 2112317"/>
                <a:gd name="connsiteX677" fmla="*/ 6216595 w 9154202"/>
                <a:gd name="connsiteY677" fmla="*/ 509674 h 2112317"/>
                <a:gd name="connsiteX678" fmla="*/ 6214204 w 9154202"/>
                <a:gd name="connsiteY678" fmla="*/ 506888 h 2112317"/>
                <a:gd name="connsiteX679" fmla="*/ 6212809 w 9154202"/>
                <a:gd name="connsiteY679" fmla="*/ 505993 h 2112317"/>
                <a:gd name="connsiteX680" fmla="*/ 6211414 w 9154202"/>
                <a:gd name="connsiteY680" fmla="*/ 505993 h 2112317"/>
                <a:gd name="connsiteX681" fmla="*/ 6210018 w 9154202"/>
                <a:gd name="connsiteY681" fmla="*/ 504700 h 2112317"/>
                <a:gd name="connsiteX682" fmla="*/ 6205833 w 9154202"/>
                <a:gd name="connsiteY682" fmla="*/ 498531 h 2112317"/>
                <a:gd name="connsiteX683" fmla="*/ 6203940 w 9154202"/>
                <a:gd name="connsiteY683" fmla="*/ 496442 h 2112317"/>
                <a:gd name="connsiteX684" fmla="*/ 6199357 w 9154202"/>
                <a:gd name="connsiteY684" fmla="*/ 492761 h 2112317"/>
                <a:gd name="connsiteX685" fmla="*/ 6195769 w 9154202"/>
                <a:gd name="connsiteY685" fmla="*/ 488682 h 2112317"/>
                <a:gd name="connsiteX686" fmla="*/ 6194673 w 9154202"/>
                <a:gd name="connsiteY686" fmla="*/ 487687 h 2112317"/>
                <a:gd name="connsiteX687" fmla="*/ 6190090 w 9154202"/>
                <a:gd name="connsiteY687" fmla="*/ 484703 h 2112317"/>
                <a:gd name="connsiteX688" fmla="*/ 6190090 w 9154202"/>
                <a:gd name="connsiteY688" fmla="*/ 484205 h 2112317"/>
                <a:gd name="connsiteX689" fmla="*/ 6190090 w 9154202"/>
                <a:gd name="connsiteY689" fmla="*/ 482912 h 2112317"/>
                <a:gd name="connsiteX690" fmla="*/ 6190090 w 9154202"/>
                <a:gd name="connsiteY690" fmla="*/ 482216 h 2112317"/>
                <a:gd name="connsiteX691" fmla="*/ 6189293 w 9154202"/>
                <a:gd name="connsiteY691" fmla="*/ 482216 h 2112317"/>
                <a:gd name="connsiteX692" fmla="*/ 6187400 w 9154202"/>
                <a:gd name="connsiteY692" fmla="*/ 482216 h 2112317"/>
                <a:gd name="connsiteX693" fmla="*/ 6186602 w 9154202"/>
                <a:gd name="connsiteY693" fmla="*/ 482216 h 2112317"/>
                <a:gd name="connsiteX694" fmla="*/ 6180325 w 9154202"/>
                <a:gd name="connsiteY694" fmla="*/ 480126 h 2112317"/>
                <a:gd name="connsiteX695" fmla="*/ 6177335 w 9154202"/>
                <a:gd name="connsiteY695" fmla="*/ 477938 h 2112317"/>
                <a:gd name="connsiteX696" fmla="*/ 6176140 w 9154202"/>
                <a:gd name="connsiteY696" fmla="*/ 474555 h 2112317"/>
                <a:gd name="connsiteX697" fmla="*/ 6175642 w 9154202"/>
                <a:gd name="connsiteY697" fmla="*/ 472864 h 2112317"/>
                <a:gd name="connsiteX698" fmla="*/ 6172652 w 9154202"/>
                <a:gd name="connsiteY698" fmla="*/ 467989 h 2112317"/>
                <a:gd name="connsiteX699" fmla="*/ 6170759 w 9154202"/>
                <a:gd name="connsiteY699" fmla="*/ 463313 h 2112317"/>
                <a:gd name="connsiteX700" fmla="*/ 6169962 w 9154202"/>
                <a:gd name="connsiteY700" fmla="*/ 461920 h 2112317"/>
                <a:gd name="connsiteX701" fmla="*/ 6167072 w 9154202"/>
                <a:gd name="connsiteY701" fmla="*/ 459731 h 2112317"/>
                <a:gd name="connsiteX702" fmla="*/ 6160097 w 9154202"/>
                <a:gd name="connsiteY702" fmla="*/ 457642 h 2112317"/>
                <a:gd name="connsiteX703" fmla="*/ 6157407 w 9154202"/>
                <a:gd name="connsiteY703" fmla="*/ 455453 h 2112317"/>
                <a:gd name="connsiteX704" fmla="*/ 6154816 w 9154202"/>
                <a:gd name="connsiteY704" fmla="*/ 452867 h 2112317"/>
                <a:gd name="connsiteX705" fmla="*/ 6153022 w 9154202"/>
                <a:gd name="connsiteY705" fmla="*/ 452867 h 2112317"/>
                <a:gd name="connsiteX706" fmla="*/ 6150929 w 9154202"/>
                <a:gd name="connsiteY706" fmla="*/ 454260 h 2112317"/>
                <a:gd name="connsiteX707" fmla="*/ 6147542 w 9154202"/>
                <a:gd name="connsiteY707" fmla="*/ 454260 h 2112317"/>
                <a:gd name="connsiteX708" fmla="*/ 6137578 w 9154202"/>
                <a:gd name="connsiteY708" fmla="*/ 449385 h 2112317"/>
                <a:gd name="connsiteX709" fmla="*/ 6132794 w 9154202"/>
                <a:gd name="connsiteY709" fmla="*/ 445903 h 2112317"/>
                <a:gd name="connsiteX710" fmla="*/ 6122133 w 9154202"/>
                <a:gd name="connsiteY710" fmla="*/ 443614 h 2112317"/>
                <a:gd name="connsiteX711" fmla="*/ 6117649 w 9154202"/>
                <a:gd name="connsiteY711" fmla="*/ 439535 h 2112317"/>
                <a:gd name="connsiteX712" fmla="*/ 6111670 w 9154202"/>
                <a:gd name="connsiteY712" fmla="*/ 428592 h 2112317"/>
                <a:gd name="connsiteX713" fmla="*/ 6108182 w 9154202"/>
                <a:gd name="connsiteY713" fmla="*/ 423418 h 2112317"/>
                <a:gd name="connsiteX714" fmla="*/ 6102204 w 9154202"/>
                <a:gd name="connsiteY714" fmla="*/ 420135 h 2112317"/>
                <a:gd name="connsiteX715" fmla="*/ 6072311 w 9154202"/>
                <a:gd name="connsiteY715" fmla="*/ 420135 h 2112317"/>
                <a:gd name="connsiteX716" fmla="*/ 6069222 w 9154202"/>
                <a:gd name="connsiteY716" fmla="*/ 421031 h 2112317"/>
                <a:gd name="connsiteX717" fmla="*/ 6064438 w 9154202"/>
                <a:gd name="connsiteY717" fmla="*/ 425806 h 2112317"/>
                <a:gd name="connsiteX718" fmla="*/ 6061449 w 9154202"/>
                <a:gd name="connsiteY718" fmla="*/ 427497 h 2112317"/>
                <a:gd name="connsiteX719" fmla="*/ 6058161 w 9154202"/>
                <a:gd name="connsiteY719" fmla="*/ 428393 h 2112317"/>
                <a:gd name="connsiteX720" fmla="*/ 6055072 w 9154202"/>
                <a:gd name="connsiteY720" fmla="*/ 428393 h 2112317"/>
                <a:gd name="connsiteX721" fmla="*/ 6059058 w 9154202"/>
                <a:gd name="connsiteY721" fmla="*/ 423717 h 2112317"/>
                <a:gd name="connsiteX722" fmla="*/ 6062844 w 9154202"/>
                <a:gd name="connsiteY722" fmla="*/ 420135 h 2112317"/>
                <a:gd name="connsiteX723" fmla="*/ 6062047 w 9154202"/>
                <a:gd name="connsiteY723" fmla="*/ 418942 h 2112317"/>
                <a:gd name="connsiteX724" fmla="*/ 6060851 w 9154202"/>
                <a:gd name="connsiteY724" fmla="*/ 419837 h 2112317"/>
                <a:gd name="connsiteX725" fmla="*/ 6059556 w 9154202"/>
                <a:gd name="connsiteY725" fmla="*/ 420533 h 2112317"/>
                <a:gd name="connsiteX726" fmla="*/ 6056766 w 9154202"/>
                <a:gd name="connsiteY726" fmla="*/ 421230 h 2112317"/>
                <a:gd name="connsiteX727" fmla="*/ 6059357 w 9154202"/>
                <a:gd name="connsiteY727" fmla="*/ 418942 h 2112317"/>
                <a:gd name="connsiteX728" fmla="*/ 6063043 w 9154202"/>
                <a:gd name="connsiteY728" fmla="*/ 416952 h 2112317"/>
                <a:gd name="connsiteX729" fmla="*/ 6066631 w 9154202"/>
                <a:gd name="connsiteY729" fmla="*/ 416156 h 2112317"/>
                <a:gd name="connsiteX730" fmla="*/ 6069321 w 9154202"/>
                <a:gd name="connsiteY730" fmla="*/ 417151 h 2112317"/>
                <a:gd name="connsiteX731" fmla="*/ 6071414 w 9154202"/>
                <a:gd name="connsiteY731" fmla="*/ 418345 h 2112317"/>
                <a:gd name="connsiteX732" fmla="*/ 6072609 w 9154202"/>
                <a:gd name="connsiteY732" fmla="*/ 417151 h 2112317"/>
                <a:gd name="connsiteX733" fmla="*/ 6073705 w 9154202"/>
                <a:gd name="connsiteY733" fmla="*/ 414166 h 2112317"/>
                <a:gd name="connsiteX734" fmla="*/ 6075499 w 9154202"/>
                <a:gd name="connsiteY734" fmla="*/ 414166 h 2112317"/>
                <a:gd name="connsiteX735" fmla="*/ 6090047 w 9154202"/>
                <a:gd name="connsiteY735" fmla="*/ 407700 h 2112317"/>
                <a:gd name="connsiteX736" fmla="*/ 6093236 w 9154202"/>
                <a:gd name="connsiteY736" fmla="*/ 407700 h 2112317"/>
                <a:gd name="connsiteX737" fmla="*/ 6106289 w 9154202"/>
                <a:gd name="connsiteY737" fmla="*/ 409988 h 2112317"/>
                <a:gd name="connsiteX738" fmla="*/ 6104794 w 9154202"/>
                <a:gd name="connsiteY738" fmla="*/ 408097 h 2112317"/>
                <a:gd name="connsiteX739" fmla="*/ 6099613 w 9154202"/>
                <a:gd name="connsiteY739" fmla="*/ 403720 h 2112317"/>
                <a:gd name="connsiteX740" fmla="*/ 6098018 w 9154202"/>
                <a:gd name="connsiteY740" fmla="*/ 402825 h 2112317"/>
                <a:gd name="connsiteX741" fmla="*/ 6096624 w 9154202"/>
                <a:gd name="connsiteY741" fmla="*/ 401332 h 2112317"/>
                <a:gd name="connsiteX742" fmla="*/ 6095129 w 9154202"/>
                <a:gd name="connsiteY742" fmla="*/ 393970 h 2112317"/>
                <a:gd name="connsiteX743" fmla="*/ 6094033 w 9154202"/>
                <a:gd name="connsiteY743" fmla="*/ 391085 h 2112317"/>
                <a:gd name="connsiteX744" fmla="*/ 6095926 w 9154202"/>
                <a:gd name="connsiteY744" fmla="*/ 387901 h 2112317"/>
                <a:gd name="connsiteX745" fmla="*/ 6095926 w 9154202"/>
                <a:gd name="connsiteY745" fmla="*/ 385414 h 2112317"/>
                <a:gd name="connsiteX746" fmla="*/ 6095029 w 9154202"/>
                <a:gd name="connsiteY746" fmla="*/ 383425 h 2112317"/>
                <a:gd name="connsiteX747" fmla="*/ 6085065 w 9154202"/>
                <a:gd name="connsiteY747" fmla="*/ 375565 h 2112317"/>
                <a:gd name="connsiteX748" fmla="*/ 6080880 w 9154202"/>
                <a:gd name="connsiteY748" fmla="*/ 373874 h 2112317"/>
                <a:gd name="connsiteX749" fmla="*/ 6076994 w 9154202"/>
                <a:gd name="connsiteY749" fmla="*/ 369894 h 2112317"/>
                <a:gd name="connsiteX750" fmla="*/ 6063642 w 9154202"/>
                <a:gd name="connsiteY750" fmla="*/ 352484 h 2112317"/>
                <a:gd name="connsiteX751" fmla="*/ 6059058 w 9154202"/>
                <a:gd name="connsiteY751" fmla="*/ 348504 h 2112317"/>
                <a:gd name="connsiteX752" fmla="*/ 6054773 w 9154202"/>
                <a:gd name="connsiteY752" fmla="*/ 346813 h 2112317"/>
                <a:gd name="connsiteX753" fmla="*/ 6050688 w 9154202"/>
                <a:gd name="connsiteY753" fmla="*/ 344326 h 2112317"/>
                <a:gd name="connsiteX754" fmla="*/ 6045407 w 9154202"/>
                <a:gd name="connsiteY754" fmla="*/ 332487 h 2112317"/>
                <a:gd name="connsiteX755" fmla="*/ 6042118 w 9154202"/>
                <a:gd name="connsiteY755" fmla="*/ 328905 h 2112317"/>
                <a:gd name="connsiteX756" fmla="*/ 6043214 w 9154202"/>
                <a:gd name="connsiteY756" fmla="*/ 326518 h 2112317"/>
                <a:gd name="connsiteX757" fmla="*/ 6041820 w 9154202"/>
                <a:gd name="connsiteY757" fmla="*/ 323633 h 2112317"/>
                <a:gd name="connsiteX758" fmla="*/ 6035043 w 9154202"/>
                <a:gd name="connsiteY758" fmla="*/ 315873 h 2112317"/>
                <a:gd name="connsiteX759" fmla="*/ 6026374 w 9154202"/>
                <a:gd name="connsiteY759" fmla="*/ 308511 h 2112317"/>
                <a:gd name="connsiteX760" fmla="*/ 6024481 w 9154202"/>
                <a:gd name="connsiteY760" fmla="*/ 307317 h 2112317"/>
                <a:gd name="connsiteX761" fmla="*/ 6018602 w 9154202"/>
                <a:gd name="connsiteY761" fmla="*/ 306023 h 2112317"/>
                <a:gd name="connsiteX762" fmla="*/ 6017805 w 9154202"/>
                <a:gd name="connsiteY762" fmla="*/ 305227 h 2112317"/>
                <a:gd name="connsiteX763" fmla="*/ 6016709 w 9154202"/>
                <a:gd name="connsiteY763" fmla="*/ 304034 h 2112317"/>
                <a:gd name="connsiteX764" fmla="*/ 6015414 w 9154202"/>
                <a:gd name="connsiteY764" fmla="*/ 302939 h 2112317"/>
                <a:gd name="connsiteX765" fmla="*/ 6010332 w 9154202"/>
                <a:gd name="connsiteY765" fmla="*/ 301347 h 2112317"/>
                <a:gd name="connsiteX766" fmla="*/ 6005449 w 9154202"/>
                <a:gd name="connsiteY766" fmla="*/ 295776 h 2112317"/>
                <a:gd name="connsiteX767" fmla="*/ 6002161 w 9154202"/>
                <a:gd name="connsiteY767" fmla="*/ 294085 h 2112317"/>
                <a:gd name="connsiteX768" fmla="*/ 6004054 w 9154202"/>
                <a:gd name="connsiteY768" fmla="*/ 292195 h 2112317"/>
                <a:gd name="connsiteX769" fmla="*/ 6004054 w 9154202"/>
                <a:gd name="connsiteY769" fmla="*/ 289807 h 2112317"/>
                <a:gd name="connsiteX770" fmla="*/ 6003456 w 9154202"/>
                <a:gd name="connsiteY770" fmla="*/ 287220 h 2112317"/>
                <a:gd name="connsiteX771" fmla="*/ 6002261 w 9154202"/>
                <a:gd name="connsiteY771" fmla="*/ 285031 h 2112317"/>
                <a:gd name="connsiteX772" fmla="*/ 6001563 w 9154202"/>
                <a:gd name="connsiteY772" fmla="*/ 282544 h 2112317"/>
                <a:gd name="connsiteX773" fmla="*/ 6003257 w 9154202"/>
                <a:gd name="connsiteY773" fmla="*/ 269014 h 2112317"/>
                <a:gd name="connsiteX774" fmla="*/ 6004752 w 9154202"/>
                <a:gd name="connsiteY774" fmla="*/ 263542 h 2112317"/>
                <a:gd name="connsiteX775" fmla="*/ 6008838 w 9154202"/>
                <a:gd name="connsiteY775" fmla="*/ 252997 h 2112317"/>
                <a:gd name="connsiteX776" fmla="*/ 6008239 w 9154202"/>
                <a:gd name="connsiteY776" fmla="*/ 250907 h 2112317"/>
                <a:gd name="connsiteX777" fmla="*/ 6009834 w 9154202"/>
                <a:gd name="connsiteY777" fmla="*/ 249415 h 2112317"/>
                <a:gd name="connsiteX778" fmla="*/ 6012325 w 9154202"/>
                <a:gd name="connsiteY778" fmla="*/ 248520 h 2112317"/>
                <a:gd name="connsiteX779" fmla="*/ 6014418 w 9154202"/>
                <a:gd name="connsiteY779" fmla="*/ 248520 h 2112317"/>
                <a:gd name="connsiteX780" fmla="*/ 6016111 w 9154202"/>
                <a:gd name="connsiteY780" fmla="*/ 247923 h 2112317"/>
                <a:gd name="connsiteX781" fmla="*/ 6022289 w 9154202"/>
                <a:gd name="connsiteY781" fmla="*/ 243147 h 2112317"/>
                <a:gd name="connsiteX782" fmla="*/ 6024980 w 9154202"/>
                <a:gd name="connsiteY782" fmla="*/ 239964 h 2112317"/>
                <a:gd name="connsiteX783" fmla="*/ 6024980 w 9154202"/>
                <a:gd name="connsiteY783" fmla="*/ 237874 h 2112317"/>
                <a:gd name="connsiteX784" fmla="*/ 6024980 w 9154202"/>
                <a:gd name="connsiteY784" fmla="*/ 234193 h 2112317"/>
                <a:gd name="connsiteX785" fmla="*/ 6020794 w 9154202"/>
                <a:gd name="connsiteY785" fmla="*/ 213699 h 2112317"/>
                <a:gd name="connsiteX786" fmla="*/ 6019001 w 9154202"/>
                <a:gd name="connsiteY786" fmla="*/ 208725 h 2112317"/>
                <a:gd name="connsiteX787" fmla="*/ 6015314 w 9154202"/>
                <a:gd name="connsiteY787" fmla="*/ 202059 h 2112317"/>
                <a:gd name="connsiteX788" fmla="*/ 6014118 w 9154202"/>
                <a:gd name="connsiteY788" fmla="*/ 199174 h 2112317"/>
                <a:gd name="connsiteX789" fmla="*/ 6013221 w 9154202"/>
                <a:gd name="connsiteY789" fmla="*/ 195990 h 2112317"/>
                <a:gd name="connsiteX790" fmla="*/ 6012723 w 9154202"/>
                <a:gd name="connsiteY790" fmla="*/ 192906 h 2112317"/>
                <a:gd name="connsiteX791" fmla="*/ 6012723 w 9154202"/>
                <a:gd name="connsiteY791" fmla="*/ 190220 h 2112317"/>
                <a:gd name="connsiteX792" fmla="*/ 6012723 w 9154202"/>
                <a:gd name="connsiteY792" fmla="*/ 187434 h 2112317"/>
                <a:gd name="connsiteX793" fmla="*/ 6012723 w 9154202"/>
                <a:gd name="connsiteY793" fmla="*/ 184748 h 2112317"/>
                <a:gd name="connsiteX794" fmla="*/ 6011129 w 9154202"/>
                <a:gd name="connsiteY794" fmla="*/ 182161 h 2112317"/>
                <a:gd name="connsiteX795" fmla="*/ 6011926 w 9154202"/>
                <a:gd name="connsiteY795" fmla="*/ 178978 h 2112317"/>
                <a:gd name="connsiteX796" fmla="*/ 6012623 w 9154202"/>
                <a:gd name="connsiteY796" fmla="*/ 174501 h 2112317"/>
                <a:gd name="connsiteX797" fmla="*/ 6013421 w 9154202"/>
                <a:gd name="connsiteY797" fmla="*/ 170521 h 2112317"/>
                <a:gd name="connsiteX798" fmla="*/ 6015115 w 9154202"/>
                <a:gd name="connsiteY798" fmla="*/ 168830 h 2112317"/>
                <a:gd name="connsiteX799" fmla="*/ 6019898 w 9154202"/>
                <a:gd name="connsiteY799" fmla="*/ 159677 h 2112317"/>
                <a:gd name="connsiteX800" fmla="*/ 6020695 w 9154202"/>
                <a:gd name="connsiteY800" fmla="*/ 157290 h 2112317"/>
                <a:gd name="connsiteX801" fmla="*/ 6022389 w 9154202"/>
                <a:gd name="connsiteY801" fmla="*/ 150127 h 2112317"/>
                <a:gd name="connsiteX802" fmla="*/ 6022389 w 9154202"/>
                <a:gd name="connsiteY802" fmla="*/ 145351 h 2112317"/>
                <a:gd name="connsiteX803" fmla="*/ 6021592 w 9154202"/>
                <a:gd name="connsiteY803" fmla="*/ 143262 h 2112317"/>
                <a:gd name="connsiteX804" fmla="*/ 6020396 w 9154202"/>
                <a:gd name="connsiteY804" fmla="*/ 141173 h 2112317"/>
                <a:gd name="connsiteX805" fmla="*/ 6018802 w 9154202"/>
                <a:gd name="connsiteY805" fmla="*/ 132020 h 2112317"/>
                <a:gd name="connsiteX806" fmla="*/ 6018104 w 9154202"/>
                <a:gd name="connsiteY806" fmla="*/ 130030 h 2112317"/>
                <a:gd name="connsiteX807" fmla="*/ 6015812 w 9154202"/>
                <a:gd name="connsiteY807" fmla="*/ 126449 h 2112317"/>
                <a:gd name="connsiteX808" fmla="*/ 6008538 w 9154202"/>
                <a:gd name="connsiteY808" fmla="*/ 100681 h 2112317"/>
                <a:gd name="connsiteX809" fmla="*/ 6006845 w 9154202"/>
                <a:gd name="connsiteY809" fmla="*/ 98095 h 2112317"/>
                <a:gd name="connsiteX810" fmla="*/ 5999570 w 9154202"/>
                <a:gd name="connsiteY810" fmla="*/ 91429 h 2112317"/>
                <a:gd name="connsiteX811" fmla="*/ 5998574 w 9154202"/>
                <a:gd name="connsiteY811" fmla="*/ 90534 h 2112317"/>
                <a:gd name="connsiteX812" fmla="*/ 5997079 w 9154202"/>
                <a:gd name="connsiteY812" fmla="*/ 90036 h 2112317"/>
                <a:gd name="connsiteX813" fmla="*/ 5995385 w 9154202"/>
                <a:gd name="connsiteY813" fmla="*/ 90036 h 2112317"/>
                <a:gd name="connsiteX814" fmla="*/ 5993891 w 9154202"/>
                <a:gd name="connsiteY814" fmla="*/ 90036 h 2112317"/>
                <a:gd name="connsiteX815" fmla="*/ 5992496 w 9154202"/>
                <a:gd name="connsiteY815" fmla="*/ 90036 h 2112317"/>
                <a:gd name="connsiteX816" fmla="*/ 5991101 w 9154202"/>
                <a:gd name="connsiteY816" fmla="*/ 89141 h 2112317"/>
                <a:gd name="connsiteX817" fmla="*/ 5992794 w 9154202"/>
                <a:gd name="connsiteY817" fmla="*/ 86853 h 2112317"/>
                <a:gd name="connsiteX818" fmla="*/ 5992794 w 9154202"/>
                <a:gd name="connsiteY818" fmla="*/ 84564 h 2112317"/>
                <a:gd name="connsiteX819" fmla="*/ 5987912 w 9154202"/>
                <a:gd name="connsiteY819" fmla="*/ 78197 h 2112317"/>
                <a:gd name="connsiteX820" fmla="*/ 5986616 w 9154202"/>
                <a:gd name="connsiteY820" fmla="*/ 76008 h 2112317"/>
                <a:gd name="connsiteX821" fmla="*/ 5985720 w 9154202"/>
                <a:gd name="connsiteY821" fmla="*/ 73621 h 2112317"/>
                <a:gd name="connsiteX822" fmla="*/ 5985720 w 9154202"/>
                <a:gd name="connsiteY822" fmla="*/ 70736 h 2112317"/>
                <a:gd name="connsiteX823" fmla="*/ 5985720 w 9154202"/>
                <a:gd name="connsiteY823" fmla="*/ 59394 h 2112317"/>
                <a:gd name="connsiteX824" fmla="*/ 5985720 w 9154202"/>
                <a:gd name="connsiteY824" fmla="*/ 55713 h 2112317"/>
                <a:gd name="connsiteX825" fmla="*/ 5985720 w 9154202"/>
                <a:gd name="connsiteY825" fmla="*/ 53922 h 2112317"/>
                <a:gd name="connsiteX826" fmla="*/ 5983727 w 9154202"/>
                <a:gd name="connsiteY826" fmla="*/ 53226 h 2112317"/>
                <a:gd name="connsiteX827" fmla="*/ 5983727 w 9154202"/>
                <a:gd name="connsiteY827" fmla="*/ 52231 h 2112317"/>
                <a:gd name="connsiteX828" fmla="*/ 5983029 w 9154202"/>
                <a:gd name="connsiteY828" fmla="*/ 47157 h 2112317"/>
                <a:gd name="connsiteX829" fmla="*/ 5983827 w 9154202"/>
                <a:gd name="connsiteY829" fmla="*/ 46162 h 2112317"/>
                <a:gd name="connsiteX830" fmla="*/ 5986019 w 9154202"/>
                <a:gd name="connsiteY830" fmla="*/ 43874 h 2112317"/>
                <a:gd name="connsiteX831" fmla="*/ 5986019 w 9154202"/>
                <a:gd name="connsiteY831" fmla="*/ 42979 h 2112317"/>
                <a:gd name="connsiteX832" fmla="*/ 5986019 w 9154202"/>
                <a:gd name="connsiteY832" fmla="*/ 40989 h 2112317"/>
                <a:gd name="connsiteX833" fmla="*/ 5988310 w 9154202"/>
                <a:gd name="connsiteY833" fmla="*/ 36213 h 2112317"/>
                <a:gd name="connsiteX834" fmla="*/ 5990702 w 9154202"/>
                <a:gd name="connsiteY834" fmla="*/ 26862 h 2112317"/>
                <a:gd name="connsiteX835" fmla="*/ 5998574 w 9154202"/>
                <a:gd name="connsiteY835" fmla="*/ 9252 h 2112317"/>
                <a:gd name="connsiteX836" fmla="*/ 6001264 w 9154202"/>
                <a:gd name="connsiteY836" fmla="*/ 0 h 2112317"/>
                <a:gd name="connsiteX837" fmla="*/ 0 w 9154202"/>
                <a:gd name="connsiteY837" fmla="*/ 0 h 2112317"/>
                <a:gd name="connsiteX838" fmla="*/ 0 w 9154202"/>
                <a:gd name="connsiteY838" fmla="*/ 75113 h 2112317"/>
                <a:gd name="connsiteX839" fmla="*/ 3488 w 9154202"/>
                <a:gd name="connsiteY839" fmla="*/ 76307 h 2112317"/>
                <a:gd name="connsiteX840" fmla="*/ 7374 w 9154202"/>
                <a:gd name="connsiteY840" fmla="*/ 76307 h 2112317"/>
                <a:gd name="connsiteX841" fmla="*/ 8071 w 9154202"/>
                <a:gd name="connsiteY841" fmla="*/ 75610 h 2112317"/>
                <a:gd name="connsiteX842" fmla="*/ 9865 w 9154202"/>
                <a:gd name="connsiteY842" fmla="*/ 72128 h 2112317"/>
                <a:gd name="connsiteX843" fmla="*/ 9964 w 9154202"/>
                <a:gd name="connsiteY843" fmla="*/ 71631 h 2112317"/>
                <a:gd name="connsiteX844" fmla="*/ 16242 w 9154202"/>
                <a:gd name="connsiteY844" fmla="*/ 68248 h 2112317"/>
                <a:gd name="connsiteX845" fmla="*/ 19929 w 9154202"/>
                <a:gd name="connsiteY845" fmla="*/ 67552 h 2112317"/>
                <a:gd name="connsiteX846" fmla="*/ 22021 w 9154202"/>
                <a:gd name="connsiteY846" fmla="*/ 70437 h 2112317"/>
                <a:gd name="connsiteX847" fmla="*/ 19929 w 9154202"/>
                <a:gd name="connsiteY847" fmla="*/ 70437 h 2112317"/>
                <a:gd name="connsiteX848" fmla="*/ 18235 w 9154202"/>
                <a:gd name="connsiteY848" fmla="*/ 71034 h 2112317"/>
                <a:gd name="connsiteX849" fmla="*/ 15246 w 9154202"/>
                <a:gd name="connsiteY849" fmla="*/ 73123 h 2112317"/>
                <a:gd name="connsiteX850" fmla="*/ 12157 w 9154202"/>
                <a:gd name="connsiteY850" fmla="*/ 74218 h 2112317"/>
                <a:gd name="connsiteX851" fmla="*/ 10961 w 9154202"/>
                <a:gd name="connsiteY851" fmla="*/ 74815 h 2112317"/>
                <a:gd name="connsiteX852" fmla="*/ 8370 w 9154202"/>
                <a:gd name="connsiteY852" fmla="*/ 77600 h 2112317"/>
                <a:gd name="connsiteX853" fmla="*/ 4783 w 9154202"/>
                <a:gd name="connsiteY853" fmla="*/ 79988 h 2112317"/>
                <a:gd name="connsiteX854" fmla="*/ 1594 w 9154202"/>
                <a:gd name="connsiteY854" fmla="*/ 79988 h 2112317"/>
                <a:gd name="connsiteX855" fmla="*/ 0 w 9154202"/>
                <a:gd name="connsiteY855" fmla="*/ 79093 h 2112317"/>
                <a:gd name="connsiteX856" fmla="*/ 0 w 9154202"/>
                <a:gd name="connsiteY856" fmla="*/ 182559 h 2112317"/>
                <a:gd name="connsiteX857" fmla="*/ 4783 w 9154202"/>
                <a:gd name="connsiteY857" fmla="*/ 187633 h 2112317"/>
                <a:gd name="connsiteX858" fmla="*/ 7673 w 9154202"/>
                <a:gd name="connsiteY858" fmla="*/ 188529 h 2112317"/>
                <a:gd name="connsiteX859" fmla="*/ 39858 w 9154202"/>
                <a:gd name="connsiteY859" fmla="*/ 219071 h 2112317"/>
                <a:gd name="connsiteX860" fmla="*/ 40555 w 9154202"/>
                <a:gd name="connsiteY860" fmla="*/ 219071 h 2112317"/>
                <a:gd name="connsiteX861" fmla="*/ 40555 w 9154202"/>
                <a:gd name="connsiteY861" fmla="*/ 216783 h 2112317"/>
                <a:gd name="connsiteX862" fmla="*/ 40555 w 9154202"/>
                <a:gd name="connsiteY862" fmla="*/ 209421 h 2112317"/>
                <a:gd name="connsiteX863" fmla="*/ 39858 w 9154202"/>
                <a:gd name="connsiteY863" fmla="*/ 202457 h 2112317"/>
                <a:gd name="connsiteX864" fmla="*/ 41552 w 9154202"/>
                <a:gd name="connsiteY864" fmla="*/ 195493 h 2112317"/>
                <a:gd name="connsiteX865" fmla="*/ 40555 w 9154202"/>
                <a:gd name="connsiteY865" fmla="*/ 185544 h 2112317"/>
                <a:gd name="connsiteX866" fmla="*/ 40555 w 9154202"/>
                <a:gd name="connsiteY866" fmla="*/ 181465 h 2112317"/>
                <a:gd name="connsiteX867" fmla="*/ 41153 w 9154202"/>
                <a:gd name="connsiteY867" fmla="*/ 179077 h 2112317"/>
                <a:gd name="connsiteX868" fmla="*/ 44242 w 9154202"/>
                <a:gd name="connsiteY868" fmla="*/ 175098 h 2112317"/>
                <a:gd name="connsiteX869" fmla="*/ 46036 w 9154202"/>
                <a:gd name="connsiteY869" fmla="*/ 174004 h 2112317"/>
                <a:gd name="connsiteX870" fmla="*/ 51416 w 9154202"/>
                <a:gd name="connsiteY870" fmla="*/ 172014 h 2112317"/>
                <a:gd name="connsiteX871" fmla="*/ 52512 w 9154202"/>
                <a:gd name="connsiteY871" fmla="*/ 170322 h 2112317"/>
                <a:gd name="connsiteX872" fmla="*/ 53808 w 9154202"/>
                <a:gd name="connsiteY872" fmla="*/ 168930 h 2112317"/>
                <a:gd name="connsiteX873" fmla="*/ 56697 w 9154202"/>
                <a:gd name="connsiteY873" fmla="*/ 167636 h 2112317"/>
                <a:gd name="connsiteX874" fmla="*/ 62078 w 9154202"/>
                <a:gd name="connsiteY874" fmla="*/ 166045 h 2112317"/>
                <a:gd name="connsiteX875" fmla="*/ 64669 w 9154202"/>
                <a:gd name="connsiteY875" fmla="*/ 166045 h 2112317"/>
                <a:gd name="connsiteX876" fmla="*/ 64669 w 9154202"/>
                <a:gd name="connsiteY876" fmla="*/ 166045 h 2112317"/>
                <a:gd name="connsiteX877" fmla="*/ 65466 w 9154202"/>
                <a:gd name="connsiteY877" fmla="*/ 164353 h 2112317"/>
                <a:gd name="connsiteX878" fmla="*/ 67559 w 9154202"/>
                <a:gd name="connsiteY878" fmla="*/ 162463 h 2112317"/>
                <a:gd name="connsiteX879" fmla="*/ 70448 w 9154202"/>
                <a:gd name="connsiteY879" fmla="*/ 160772 h 2112317"/>
                <a:gd name="connsiteX880" fmla="*/ 73438 w 9154202"/>
                <a:gd name="connsiteY880" fmla="*/ 159478 h 2112317"/>
                <a:gd name="connsiteX881" fmla="*/ 75929 w 9154202"/>
                <a:gd name="connsiteY881" fmla="*/ 158981 h 2112317"/>
                <a:gd name="connsiteX882" fmla="*/ 77623 w 9154202"/>
                <a:gd name="connsiteY882" fmla="*/ 157588 h 2112317"/>
                <a:gd name="connsiteX883" fmla="*/ 73637 w 9154202"/>
                <a:gd name="connsiteY883" fmla="*/ 150226 h 2112317"/>
                <a:gd name="connsiteX884" fmla="*/ 73637 w 9154202"/>
                <a:gd name="connsiteY884" fmla="*/ 146744 h 2112317"/>
                <a:gd name="connsiteX885" fmla="*/ 75630 w 9154202"/>
                <a:gd name="connsiteY885" fmla="*/ 146744 h 2112317"/>
                <a:gd name="connsiteX886" fmla="*/ 79715 w 9154202"/>
                <a:gd name="connsiteY886" fmla="*/ 152713 h 2112317"/>
                <a:gd name="connsiteX887" fmla="*/ 82007 w 9154202"/>
                <a:gd name="connsiteY887" fmla="*/ 154902 h 2112317"/>
                <a:gd name="connsiteX888" fmla="*/ 85594 w 9154202"/>
                <a:gd name="connsiteY888" fmla="*/ 152116 h 2112317"/>
                <a:gd name="connsiteX889" fmla="*/ 86591 w 9154202"/>
                <a:gd name="connsiteY889" fmla="*/ 144456 h 2112317"/>
                <a:gd name="connsiteX890" fmla="*/ 84996 w 9154202"/>
                <a:gd name="connsiteY890" fmla="*/ 136298 h 2112317"/>
                <a:gd name="connsiteX891" fmla="*/ 81011 w 9154202"/>
                <a:gd name="connsiteY891" fmla="*/ 131721 h 2112317"/>
                <a:gd name="connsiteX892" fmla="*/ 81011 w 9154202"/>
                <a:gd name="connsiteY892" fmla="*/ 130528 h 2112317"/>
                <a:gd name="connsiteX893" fmla="*/ 84299 w 9154202"/>
                <a:gd name="connsiteY893" fmla="*/ 130528 h 2112317"/>
                <a:gd name="connsiteX894" fmla="*/ 86491 w 9154202"/>
                <a:gd name="connsiteY894" fmla="*/ 131920 h 2112317"/>
                <a:gd name="connsiteX895" fmla="*/ 89779 w 9154202"/>
                <a:gd name="connsiteY895" fmla="*/ 136397 h 2112317"/>
                <a:gd name="connsiteX896" fmla="*/ 89680 w 9154202"/>
                <a:gd name="connsiteY896" fmla="*/ 138387 h 2112317"/>
                <a:gd name="connsiteX897" fmla="*/ 89680 w 9154202"/>
                <a:gd name="connsiteY897" fmla="*/ 140775 h 2112317"/>
                <a:gd name="connsiteX898" fmla="*/ 89680 w 9154202"/>
                <a:gd name="connsiteY898" fmla="*/ 145849 h 2112317"/>
                <a:gd name="connsiteX899" fmla="*/ 92370 w 9154202"/>
                <a:gd name="connsiteY899" fmla="*/ 139481 h 2112317"/>
                <a:gd name="connsiteX900" fmla="*/ 93765 w 9154202"/>
                <a:gd name="connsiteY900" fmla="*/ 137492 h 2112317"/>
                <a:gd name="connsiteX901" fmla="*/ 94861 w 9154202"/>
                <a:gd name="connsiteY901" fmla="*/ 139879 h 2112317"/>
                <a:gd name="connsiteX902" fmla="*/ 94861 w 9154202"/>
                <a:gd name="connsiteY902" fmla="*/ 142963 h 2112317"/>
                <a:gd name="connsiteX903" fmla="*/ 92270 w 9154202"/>
                <a:gd name="connsiteY903" fmla="*/ 148535 h 2112317"/>
                <a:gd name="connsiteX904" fmla="*/ 91673 w 9154202"/>
                <a:gd name="connsiteY904" fmla="*/ 151917 h 2112317"/>
                <a:gd name="connsiteX905" fmla="*/ 99644 w 9154202"/>
                <a:gd name="connsiteY905" fmla="*/ 142764 h 2112317"/>
                <a:gd name="connsiteX906" fmla="*/ 102434 w 9154202"/>
                <a:gd name="connsiteY906" fmla="*/ 136497 h 2112317"/>
                <a:gd name="connsiteX907" fmla="*/ 105722 w 9154202"/>
                <a:gd name="connsiteY907" fmla="*/ 134408 h 2112317"/>
                <a:gd name="connsiteX908" fmla="*/ 108811 w 9154202"/>
                <a:gd name="connsiteY908" fmla="*/ 131721 h 2112317"/>
                <a:gd name="connsiteX909" fmla="*/ 109608 w 9154202"/>
                <a:gd name="connsiteY909" fmla="*/ 126846 h 2112317"/>
                <a:gd name="connsiteX910" fmla="*/ 111004 w 9154202"/>
                <a:gd name="connsiteY910" fmla="*/ 127941 h 2112317"/>
                <a:gd name="connsiteX911" fmla="*/ 111900 w 9154202"/>
                <a:gd name="connsiteY911" fmla="*/ 127941 h 2112317"/>
                <a:gd name="connsiteX912" fmla="*/ 113993 w 9154202"/>
                <a:gd name="connsiteY912" fmla="*/ 126747 h 2112317"/>
                <a:gd name="connsiteX913" fmla="*/ 113993 w 9154202"/>
                <a:gd name="connsiteY913" fmla="*/ 125752 h 2112317"/>
                <a:gd name="connsiteX914" fmla="*/ 115189 w 9154202"/>
                <a:gd name="connsiteY914" fmla="*/ 124558 h 2112317"/>
                <a:gd name="connsiteX915" fmla="*/ 115189 w 9154202"/>
                <a:gd name="connsiteY915" fmla="*/ 124558 h 2112317"/>
                <a:gd name="connsiteX916" fmla="*/ 117580 w 9154202"/>
                <a:gd name="connsiteY916" fmla="*/ 120579 h 2112317"/>
                <a:gd name="connsiteX917" fmla="*/ 119573 w 9154202"/>
                <a:gd name="connsiteY917" fmla="*/ 116102 h 2112317"/>
                <a:gd name="connsiteX918" fmla="*/ 121964 w 9154202"/>
                <a:gd name="connsiteY918" fmla="*/ 112719 h 2112317"/>
                <a:gd name="connsiteX919" fmla="*/ 125651 w 9154202"/>
                <a:gd name="connsiteY919" fmla="*/ 109337 h 2112317"/>
                <a:gd name="connsiteX920" fmla="*/ 129537 w 9154202"/>
                <a:gd name="connsiteY920" fmla="*/ 107148 h 2112317"/>
                <a:gd name="connsiteX921" fmla="*/ 132527 w 9154202"/>
                <a:gd name="connsiteY921" fmla="*/ 107148 h 2112317"/>
                <a:gd name="connsiteX922" fmla="*/ 130036 w 9154202"/>
                <a:gd name="connsiteY922" fmla="*/ 108939 h 2112317"/>
                <a:gd name="connsiteX923" fmla="*/ 129537 w 9154202"/>
                <a:gd name="connsiteY923" fmla="*/ 109934 h 2112317"/>
                <a:gd name="connsiteX924" fmla="*/ 129039 w 9154202"/>
                <a:gd name="connsiteY924" fmla="*/ 111326 h 2112317"/>
                <a:gd name="connsiteX925" fmla="*/ 129039 w 9154202"/>
                <a:gd name="connsiteY925" fmla="*/ 116102 h 2112317"/>
                <a:gd name="connsiteX926" fmla="*/ 129039 w 9154202"/>
                <a:gd name="connsiteY926" fmla="*/ 117395 h 2112317"/>
                <a:gd name="connsiteX927" fmla="*/ 124655 w 9154202"/>
                <a:gd name="connsiteY927" fmla="*/ 124757 h 2112317"/>
                <a:gd name="connsiteX928" fmla="*/ 123559 w 9154202"/>
                <a:gd name="connsiteY928" fmla="*/ 127742 h 2112317"/>
                <a:gd name="connsiteX929" fmla="*/ 123060 w 9154202"/>
                <a:gd name="connsiteY929" fmla="*/ 127742 h 2112317"/>
                <a:gd name="connsiteX930" fmla="*/ 122363 w 9154202"/>
                <a:gd name="connsiteY930" fmla="*/ 127742 h 2112317"/>
                <a:gd name="connsiteX931" fmla="*/ 121665 w 9154202"/>
                <a:gd name="connsiteY931" fmla="*/ 127742 h 2112317"/>
                <a:gd name="connsiteX932" fmla="*/ 121665 w 9154202"/>
                <a:gd name="connsiteY932" fmla="*/ 129035 h 2112317"/>
                <a:gd name="connsiteX933" fmla="*/ 122263 w 9154202"/>
                <a:gd name="connsiteY933" fmla="*/ 130030 h 2112317"/>
                <a:gd name="connsiteX934" fmla="*/ 123160 w 9154202"/>
                <a:gd name="connsiteY934" fmla="*/ 130826 h 2112317"/>
                <a:gd name="connsiteX935" fmla="*/ 124057 w 9154202"/>
                <a:gd name="connsiteY935" fmla="*/ 130826 h 2112317"/>
                <a:gd name="connsiteX936" fmla="*/ 125651 w 9154202"/>
                <a:gd name="connsiteY936" fmla="*/ 130130 h 2112317"/>
                <a:gd name="connsiteX937" fmla="*/ 126747 w 9154202"/>
                <a:gd name="connsiteY937" fmla="*/ 130726 h 2112317"/>
                <a:gd name="connsiteX938" fmla="*/ 127943 w 9154202"/>
                <a:gd name="connsiteY938" fmla="*/ 131721 h 2112317"/>
                <a:gd name="connsiteX939" fmla="*/ 131431 w 9154202"/>
                <a:gd name="connsiteY939" fmla="*/ 132816 h 2112317"/>
                <a:gd name="connsiteX940" fmla="*/ 137110 w 9154202"/>
                <a:gd name="connsiteY940" fmla="*/ 135502 h 2112317"/>
                <a:gd name="connsiteX941" fmla="*/ 139900 w 9154202"/>
                <a:gd name="connsiteY941" fmla="*/ 135999 h 2112317"/>
                <a:gd name="connsiteX942" fmla="*/ 143986 w 9154202"/>
                <a:gd name="connsiteY942" fmla="*/ 135104 h 2112317"/>
                <a:gd name="connsiteX943" fmla="*/ 146078 w 9154202"/>
                <a:gd name="connsiteY943" fmla="*/ 135104 h 2112317"/>
                <a:gd name="connsiteX944" fmla="*/ 148171 w 9154202"/>
                <a:gd name="connsiteY944" fmla="*/ 136596 h 2112317"/>
                <a:gd name="connsiteX945" fmla="*/ 149566 w 9154202"/>
                <a:gd name="connsiteY945" fmla="*/ 138884 h 2112317"/>
                <a:gd name="connsiteX946" fmla="*/ 148868 w 9154202"/>
                <a:gd name="connsiteY946" fmla="*/ 139680 h 2112317"/>
                <a:gd name="connsiteX947" fmla="*/ 138904 w 9154202"/>
                <a:gd name="connsiteY947" fmla="*/ 138884 h 2112317"/>
                <a:gd name="connsiteX948" fmla="*/ 126548 w 9154202"/>
                <a:gd name="connsiteY948" fmla="*/ 135203 h 2112317"/>
                <a:gd name="connsiteX949" fmla="*/ 123858 w 9154202"/>
                <a:gd name="connsiteY949" fmla="*/ 135203 h 2112317"/>
                <a:gd name="connsiteX950" fmla="*/ 122662 w 9154202"/>
                <a:gd name="connsiteY950" fmla="*/ 138487 h 2112317"/>
                <a:gd name="connsiteX951" fmla="*/ 121865 w 9154202"/>
                <a:gd name="connsiteY951" fmla="*/ 141969 h 2112317"/>
                <a:gd name="connsiteX952" fmla="*/ 119772 w 9154202"/>
                <a:gd name="connsiteY952" fmla="*/ 142963 h 2112317"/>
                <a:gd name="connsiteX953" fmla="*/ 116982 w 9154202"/>
                <a:gd name="connsiteY953" fmla="*/ 142963 h 2112317"/>
                <a:gd name="connsiteX954" fmla="*/ 113993 w 9154202"/>
                <a:gd name="connsiteY954" fmla="*/ 143759 h 2112317"/>
                <a:gd name="connsiteX955" fmla="*/ 111502 w 9154202"/>
                <a:gd name="connsiteY955" fmla="*/ 145948 h 2112317"/>
                <a:gd name="connsiteX956" fmla="*/ 109808 w 9154202"/>
                <a:gd name="connsiteY956" fmla="*/ 149032 h 2112317"/>
                <a:gd name="connsiteX957" fmla="*/ 109808 w 9154202"/>
                <a:gd name="connsiteY957" fmla="*/ 152713 h 2112317"/>
                <a:gd name="connsiteX958" fmla="*/ 112498 w 9154202"/>
                <a:gd name="connsiteY958" fmla="*/ 159578 h 2112317"/>
                <a:gd name="connsiteX959" fmla="*/ 112498 w 9154202"/>
                <a:gd name="connsiteY959" fmla="*/ 162562 h 2112317"/>
                <a:gd name="connsiteX960" fmla="*/ 109509 w 9154202"/>
                <a:gd name="connsiteY960" fmla="*/ 168233 h 2112317"/>
                <a:gd name="connsiteX961" fmla="*/ 107616 w 9154202"/>
                <a:gd name="connsiteY961" fmla="*/ 170820 h 2112317"/>
                <a:gd name="connsiteX962" fmla="*/ 107117 w 9154202"/>
                <a:gd name="connsiteY962" fmla="*/ 172213 h 2112317"/>
                <a:gd name="connsiteX963" fmla="*/ 107117 w 9154202"/>
                <a:gd name="connsiteY963" fmla="*/ 174799 h 2112317"/>
                <a:gd name="connsiteX964" fmla="*/ 107117 w 9154202"/>
                <a:gd name="connsiteY964" fmla="*/ 176590 h 2112317"/>
                <a:gd name="connsiteX965" fmla="*/ 108014 w 9154202"/>
                <a:gd name="connsiteY965" fmla="*/ 178381 h 2112317"/>
                <a:gd name="connsiteX966" fmla="*/ 109011 w 9154202"/>
                <a:gd name="connsiteY966" fmla="*/ 179774 h 2112317"/>
                <a:gd name="connsiteX967" fmla="*/ 109808 w 9154202"/>
                <a:gd name="connsiteY967" fmla="*/ 180271 h 2112317"/>
                <a:gd name="connsiteX968" fmla="*/ 111601 w 9154202"/>
                <a:gd name="connsiteY968" fmla="*/ 181963 h 2112317"/>
                <a:gd name="connsiteX969" fmla="*/ 113295 w 9154202"/>
                <a:gd name="connsiteY969" fmla="*/ 185445 h 2112317"/>
                <a:gd name="connsiteX970" fmla="*/ 115388 w 9154202"/>
                <a:gd name="connsiteY970" fmla="*/ 187733 h 2112317"/>
                <a:gd name="connsiteX971" fmla="*/ 118078 w 9154202"/>
                <a:gd name="connsiteY971" fmla="*/ 186340 h 2112317"/>
                <a:gd name="connsiteX972" fmla="*/ 121566 w 9154202"/>
                <a:gd name="connsiteY972" fmla="*/ 190419 h 2112317"/>
                <a:gd name="connsiteX973" fmla="*/ 122762 w 9154202"/>
                <a:gd name="connsiteY973" fmla="*/ 192807 h 2112317"/>
                <a:gd name="connsiteX974" fmla="*/ 123260 w 9154202"/>
                <a:gd name="connsiteY974" fmla="*/ 195294 h 2112317"/>
                <a:gd name="connsiteX975" fmla="*/ 125053 w 9154202"/>
                <a:gd name="connsiteY975" fmla="*/ 195891 h 2112317"/>
                <a:gd name="connsiteX976" fmla="*/ 128939 w 9154202"/>
                <a:gd name="connsiteY976" fmla="*/ 196388 h 2112317"/>
                <a:gd name="connsiteX977" fmla="*/ 132726 w 9154202"/>
                <a:gd name="connsiteY977" fmla="*/ 197980 h 2112317"/>
                <a:gd name="connsiteX978" fmla="*/ 134520 w 9154202"/>
                <a:gd name="connsiteY978" fmla="*/ 201363 h 2112317"/>
                <a:gd name="connsiteX979" fmla="*/ 135018 w 9154202"/>
                <a:gd name="connsiteY979" fmla="*/ 203352 h 2112317"/>
                <a:gd name="connsiteX980" fmla="*/ 136313 w 9154202"/>
                <a:gd name="connsiteY980" fmla="*/ 204646 h 2112317"/>
                <a:gd name="connsiteX981" fmla="*/ 137907 w 9154202"/>
                <a:gd name="connsiteY981" fmla="*/ 205442 h 2112317"/>
                <a:gd name="connsiteX982" fmla="*/ 139402 w 9154202"/>
                <a:gd name="connsiteY982" fmla="*/ 205442 h 2112317"/>
                <a:gd name="connsiteX983" fmla="*/ 140299 w 9154202"/>
                <a:gd name="connsiteY983" fmla="*/ 206138 h 2112317"/>
                <a:gd name="connsiteX984" fmla="*/ 141993 w 9154202"/>
                <a:gd name="connsiteY984" fmla="*/ 209222 h 2112317"/>
                <a:gd name="connsiteX985" fmla="*/ 143189 w 9154202"/>
                <a:gd name="connsiteY985" fmla="*/ 210217 h 2112317"/>
                <a:gd name="connsiteX986" fmla="*/ 144883 w 9154202"/>
                <a:gd name="connsiteY986" fmla="*/ 210217 h 2112317"/>
                <a:gd name="connsiteX987" fmla="*/ 145779 w 9154202"/>
                <a:gd name="connsiteY987" fmla="*/ 209421 h 2112317"/>
                <a:gd name="connsiteX988" fmla="*/ 146676 w 9154202"/>
                <a:gd name="connsiteY988" fmla="*/ 208327 h 2112317"/>
                <a:gd name="connsiteX989" fmla="*/ 147971 w 9154202"/>
                <a:gd name="connsiteY989" fmla="*/ 207829 h 2112317"/>
                <a:gd name="connsiteX990" fmla="*/ 152954 w 9154202"/>
                <a:gd name="connsiteY990" fmla="*/ 207829 h 2112317"/>
                <a:gd name="connsiteX991" fmla="*/ 154548 w 9154202"/>
                <a:gd name="connsiteY991" fmla="*/ 207829 h 2112317"/>
                <a:gd name="connsiteX992" fmla="*/ 157039 w 9154202"/>
                <a:gd name="connsiteY992" fmla="*/ 206834 h 2112317"/>
                <a:gd name="connsiteX993" fmla="*/ 159231 w 9154202"/>
                <a:gd name="connsiteY993" fmla="*/ 205342 h 2112317"/>
                <a:gd name="connsiteX994" fmla="*/ 160925 w 9154202"/>
                <a:gd name="connsiteY994" fmla="*/ 203054 h 2112317"/>
                <a:gd name="connsiteX995" fmla="*/ 161523 w 9154202"/>
                <a:gd name="connsiteY995" fmla="*/ 199970 h 2112317"/>
                <a:gd name="connsiteX996" fmla="*/ 162918 w 9154202"/>
                <a:gd name="connsiteY996" fmla="*/ 197881 h 2112317"/>
                <a:gd name="connsiteX997" fmla="*/ 166206 w 9154202"/>
                <a:gd name="connsiteY997" fmla="*/ 198776 h 2112317"/>
                <a:gd name="connsiteX998" fmla="*/ 172285 w 9154202"/>
                <a:gd name="connsiteY998" fmla="*/ 201860 h 2112317"/>
                <a:gd name="connsiteX999" fmla="*/ 183644 w 9154202"/>
                <a:gd name="connsiteY999" fmla="*/ 202457 h 2112317"/>
                <a:gd name="connsiteX1000" fmla="*/ 192213 w 9154202"/>
                <a:gd name="connsiteY1000" fmla="*/ 203253 h 2112317"/>
                <a:gd name="connsiteX1001" fmla="*/ 195003 w 9154202"/>
                <a:gd name="connsiteY1001" fmla="*/ 202457 h 2112317"/>
                <a:gd name="connsiteX1002" fmla="*/ 194306 w 9154202"/>
                <a:gd name="connsiteY1002" fmla="*/ 204646 h 2112317"/>
                <a:gd name="connsiteX1003" fmla="*/ 194804 w 9154202"/>
                <a:gd name="connsiteY1003" fmla="*/ 206635 h 2112317"/>
                <a:gd name="connsiteX1004" fmla="*/ 195900 w 9154202"/>
                <a:gd name="connsiteY1004" fmla="*/ 208028 h 2112317"/>
                <a:gd name="connsiteX1005" fmla="*/ 197096 w 9154202"/>
                <a:gd name="connsiteY1005" fmla="*/ 208625 h 2112317"/>
                <a:gd name="connsiteX1006" fmla="*/ 198292 w 9154202"/>
                <a:gd name="connsiteY1006" fmla="*/ 209620 h 2112317"/>
                <a:gd name="connsiteX1007" fmla="*/ 200584 w 9154202"/>
                <a:gd name="connsiteY1007" fmla="*/ 213699 h 2112317"/>
                <a:gd name="connsiteX1008" fmla="*/ 201381 w 9154202"/>
                <a:gd name="connsiteY1008" fmla="*/ 214694 h 2112317"/>
                <a:gd name="connsiteX1009" fmla="*/ 204071 w 9154202"/>
                <a:gd name="connsiteY1009" fmla="*/ 219569 h 2112317"/>
                <a:gd name="connsiteX1010" fmla="*/ 204071 w 9154202"/>
                <a:gd name="connsiteY1010" fmla="*/ 219569 h 2112317"/>
                <a:gd name="connsiteX1011" fmla="*/ 204769 w 9154202"/>
                <a:gd name="connsiteY1011" fmla="*/ 220763 h 2112317"/>
                <a:gd name="connsiteX1012" fmla="*/ 208455 w 9154202"/>
                <a:gd name="connsiteY1012" fmla="*/ 224344 h 2112317"/>
                <a:gd name="connsiteX1013" fmla="*/ 209751 w 9154202"/>
                <a:gd name="connsiteY1013" fmla="*/ 225041 h 2112317"/>
                <a:gd name="connsiteX1014" fmla="*/ 211345 w 9154202"/>
                <a:gd name="connsiteY1014" fmla="*/ 225041 h 2112317"/>
                <a:gd name="connsiteX1015" fmla="*/ 215829 w 9154202"/>
                <a:gd name="connsiteY1015" fmla="*/ 227130 h 2112317"/>
                <a:gd name="connsiteX1016" fmla="*/ 217124 w 9154202"/>
                <a:gd name="connsiteY1016" fmla="*/ 228324 h 2112317"/>
                <a:gd name="connsiteX1017" fmla="*/ 217722 w 9154202"/>
                <a:gd name="connsiteY1017" fmla="*/ 230612 h 2112317"/>
                <a:gd name="connsiteX1018" fmla="*/ 217025 w 9154202"/>
                <a:gd name="connsiteY1018" fmla="*/ 234392 h 2112317"/>
                <a:gd name="connsiteX1019" fmla="*/ 217025 w 9154202"/>
                <a:gd name="connsiteY1019" fmla="*/ 236780 h 2112317"/>
                <a:gd name="connsiteX1020" fmla="*/ 219018 w 9154202"/>
                <a:gd name="connsiteY1020" fmla="*/ 239964 h 2112317"/>
                <a:gd name="connsiteX1021" fmla="*/ 221808 w 9154202"/>
                <a:gd name="connsiteY1021" fmla="*/ 241655 h 2112317"/>
                <a:gd name="connsiteX1022" fmla="*/ 224100 w 9154202"/>
                <a:gd name="connsiteY1022" fmla="*/ 243645 h 2112317"/>
                <a:gd name="connsiteX1023" fmla="*/ 224897 w 9154202"/>
                <a:gd name="connsiteY1023" fmla="*/ 247525 h 2112317"/>
                <a:gd name="connsiteX1024" fmla="*/ 215829 w 9154202"/>
                <a:gd name="connsiteY1024" fmla="*/ 243048 h 2112317"/>
                <a:gd name="connsiteX1025" fmla="*/ 214434 w 9154202"/>
                <a:gd name="connsiteY1025" fmla="*/ 241058 h 2112317"/>
                <a:gd name="connsiteX1026" fmla="*/ 214434 w 9154202"/>
                <a:gd name="connsiteY1026" fmla="*/ 231706 h 2112317"/>
                <a:gd name="connsiteX1027" fmla="*/ 213836 w 9154202"/>
                <a:gd name="connsiteY1027" fmla="*/ 229617 h 2112317"/>
                <a:gd name="connsiteX1028" fmla="*/ 211744 w 9154202"/>
                <a:gd name="connsiteY1028" fmla="*/ 227428 h 2112317"/>
                <a:gd name="connsiteX1029" fmla="*/ 206761 w 9154202"/>
                <a:gd name="connsiteY1029" fmla="*/ 224543 h 2112317"/>
                <a:gd name="connsiteX1030" fmla="*/ 204769 w 9154202"/>
                <a:gd name="connsiteY1030" fmla="*/ 222951 h 2112317"/>
                <a:gd name="connsiteX1031" fmla="*/ 202377 w 9154202"/>
                <a:gd name="connsiteY1031" fmla="*/ 221956 h 2112317"/>
                <a:gd name="connsiteX1032" fmla="*/ 199886 w 9154202"/>
                <a:gd name="connsiteY1032" fmla="*/ 223548 h 2112317"/>
                <a:gd name="connsiteX1033" fmla="*/ 195701 w 9154202"/>
                <a:gd name="connsiteY1033" fmla="*/ 228324 h 2112317"/>
                <a:gd name="connsiteX1034" fmla="*/ 197794 w 9154202"/>
                <a:gd name="connsiteY1034" fmla="*/ 222752 h 2112317"/>
                <a:gd name="connsiteX1035" fmla="*/ 197794 w 9154202"/>
                <a:gd name="connsiteY1035" fmla="*/ 221061 h 2112317"/>
                <a:gd name="connsiteX1036" fmla="*/ 197794 w 9154202"/>
                <a:gd name="connsiteY1036" fmla="*/ 220166 h 2112317"/>
                <a:gd name="connsiteX1037" fmla="*/ 198890 w 9154202"/>
                <a:gd name="connsiteY1037" fmla="*/ 218673 h 2112317"/>
                <a:gd name="connsiteX1038" fmla="*/ 198890 w 9154202"/>
                <a:gd name="connsiteY1038" fmla="*/ 217480 h 2112317"/>
                <a:gd name="connsiteX1039" fmla="*/ 198890 w 9154202"/>
                <a:gd name="connsiteY1039" fmla="*/ 216684 h 2112317"/>
                <a:gd name="connsiteX1040" fmla="*/ 197694 w 9154202"/>
                <a:gd name="connsiteY1040" fmla="*/ 215291 h 2112317"/>
                <a:gd name="connsiteX1041" fmla="*/ 196598 w 9154202"/>
                <a:gd name="connsiteY1041" fmla="*/ 211809 h 2112317"/>
                <a:gd name="connsiteX1042" fmla="*/ 194605 w 9154202"/>
                <a:gd name="connsiteY1042" fmla="*/ 209720 h 2112317"/>
                <a:gd name="connsiteX1043" fmla="*/ 191915 w 9154202"/>
                <a:gd name="connsiteY1043" fmla="*/ 208327 h 2112317"/>
                <a:gd name="connsiteX1044" fmla="*/ 189124 w 9154202"/>
                <a:gd name="connsiteY1044" fmla="*/ 207829 h 2112317"/>
                <a:gd name="connsiteX1045" fmla="*/ 176968 w 9154202"/>
                <a:gd name="connsiteY1045" fmla="*/ 207829 h 2112317"/>
                <a:gd name="connsiteX1046" fmla="*/ 169893 w 9154202"/>
                <a:gd name="connsiteY1046" fmla="*/ 206436 h 2112317"/>
                <a:gd name="connsiteX1047" fmla="*/ 164413 w 9154202"/>
                <a:gd name="connsiteY1047" fmla="*/ 202855 h 2112317"/>
                <a:gd name="connsiteX1048" fmla="*/ 163018 w 9154202"/>
                <a:gd name="connsiteY1048" fmla="*/ 206834 h 2112317"/>
                <a:gd name="connsiteX1049" fmla="*/ 160925 w 9154202"/>
                <a:gd name="connsiteY1049" fmla="*/ 208824 h 2112317"/>
                <a:gd name="connsiteX1050" fmla="*/ 149466 w 9154202"/>
                <a:gd name="connsiteY1050" fmla="*/ 212406 h 2112317"/>
                <a:gd name="connsiteX1051" fmla="*/ 148171 w 9154202"/>
                <a:gd name="connsiteY1051" fmla="*/ 213301 h 2112317"/>
                <a:gd name="connsiteX1052" fmla="*/ 145779 w 9154202"/>
                <a:gd name="connsiteY1052" fmla="*/ 215490 h 2112317"/>
                <a:gd name="connsiteX1053" fmla="*/ 144185 w 9154202"/>
                <a:gd name="connsiteY1053" fmla="*/ 216087 h 2112317"/>
                <a:gd name="connsiteX1054" fmla="*/ 144185 w 9154202"/>
                <a:gd name="connsiteY1054" fmla="*/ 217281 h 2112317"/>
                <a:gd name="connsiteX1055" fmla="*/ 146477 w 9154202"/>
                <a:gd name="connsiteY1055" fmla="*/ 217281 h 2112317"/>
                <a:gd name="connsiteX1056" fmla="*/ 147573 w 9154202"/>
                <a:gd name="connsiteY1056" fmla="*/ 218474 h 2112317"/>
                <a:gd name="connsiteX1057" fmla="*/ 147573 w 9154202"/>
                <a:gd name="connsiteY1057" fmla="*/ 220564 h 2112317"/>
                <a:gd name="connsiteX1058" fmla="*/ 147573 w 9154202"/>
                <a:gd name="connsiteY1058" fmla="*/ 225737 h 2112317"/>
                <a:gd name="connsiteX1059" fmla="*/ 147075 w 9154202"/>
                <a:gd name="connsiteY1059" fmla="*/ 227727 h 2112317"/>
                <a:gd name="connsiteX1060" fmla="*/ 146278 w 9154202"/>
                <a:gd name="connsiteY1060" fmla="*/ 227727 h 2112317"/>
                <a:gd name="connsiteX1061" fmla="*/ 145181 w 9154202"/>
                <a:gd name="connsiteY1061" fmla="*/ 225240 h 2112317"/>
                <a:gd name="connsiteX1062" fmla="*/ 145181 w 9154202"/>
                <a:gd name="connsiteY1062" fmla="*/ 223150 h 2112317"/>
                <a:gd name="connsiteX1063" fmla="*/ 145181 w 9154202"/>
                <a:gd name="connsiteY1063" fmla="*/ 222155 h 2112317"/>
                <a:gd name="connsiteX1064" fmla="*/ 145181 w 9154202"/>
                <a:gd name="connsiteY1064" fmla="*/ 221658 h 2112317"/>
                <a:gd name="connsiteX1065" fmla="*/ 145879 w 9154202"/>
                <a:gd name="connsiteY1065" fmla="*/ 221658 h 2112317"/>
                <a:gd name="connsiteX1066" fmla="*/ 145281 w 9154202"/>
                <a:gd name="connsiteY1066" fmla="*/ 220663 h 2112317"/>
                <a:gd name="connsiteX1067" fmla="*/ 144285 w 9154202"/>
                <a:gd name="connsiteY1067" fmla="*/ 219768 h 2112317"/>
                <a:gd name="connsiteX1068" fmla="*/ 144285 w 9154202"/>
                <a:gd name="connsiteY1068" fmla="*/ 219768 h 2112317"/>
                <a:gd name="connsiteX1069" fmla="*/ 142790 w 9154202"/>
                <a:gd name="connsiteY1069" fmla="*/ 218176 h 2112317"/>
                <a:gd name="connsiteX1070" fmla="*/ 137409 w 9154202"/>
                <a:gd name="connsiteY1070" fmla="*/ 215092 h 2112317"/>
                <a:gd name="connsiteX1071" fmla="*/ 127445 w 9154202"/>
                <a:gd name="connsiteY1071" fmla="*/ 205143 h 2112317"/>
                <a:gd name="connsiteX1072" fmla="*/ 124455 w 9154202"/>
                <a:gd name="connsiteY1072" fmla="*/ 202457 h 2112317"/>
                <a:gd name="connsiteX1073" fmla="*/ 122463 w 9154202"/>
                <a:gd name="connsiteY1073" fmla="*/ 201761 h 2112317"/>
                <a:gd name="connsiteX1074" fmla="*/ 121068 w 9154202"/>
                <a:gd name="connsiteY1074" fmla="*/ 202556 h 2112317"/>
                <a:gd name="connsiteX1075" fmla="*/ 121068 w 9154202"/>
                <a:gd name="connsiteY1075" fmla="*/ 203651 h 2112317"/>
                <a:gd name="connsiteX1076" fmla="*/ 122164 w 9154202"/>
                <a:gd name="connsiteY1076" fmla="*/ 205143 h 2112317"/>
                <a:gd name="connsiteX1077" fmla="*/ 124256 w 9154202"/>
                <a:gd name="connsiteY1077" fmla="*/ 207431 h 2112317"/>
                <a:gd name="connsiteX1078" fmla="*/ 123459 w 9154202"/>
                <a:gd name="connsiteY1078" fmla="*/ 208725 h 2112317"/>
                <a:gd name="connsiteX1079" fmla="*/ 120370 w 9154202"/>
                <a:gd name="connsiteY1079" fmla="*/ 205044 h 2112317"/>
                <a:gd name="connsiteX1080" fmla="*/ 119573 w 9154202"/>
                <a:gd name="connsiteY1080" fmla="*/ 204148 h 2112317"/>
                <a:gd name="connsiteX1081" fmla="*/ 115189 w 9154202"/>
                <a:gd name="connsiteY1081" fmla="*/ 202457 h 2112317"/>
                <a:gd name="connsiteX1082" fmla="*/ 114192 w 9154202"/>
                <a:gd name="connsiteY1082" fmla="*/ 201761 h 2112317"/>
                <a:gd name="connsiteX1083" fmla="*/ 112897 w 9154202"/>
                <a:gd name="connsiteY1083" fmla="*/ 199074 h 2112317"/>
                <a:gd name="connsiteX1084" fmla="*/ 110804 w 9154202"/>
                <a:gd name="connsiteY1084" fmla="*/ 191115 h 2112317"/>
                <a:gd name="connsiteX1085" fmla="*/ 109011 w 9154202"/>
                <a:gd name="connsiteY1085" fmla="*/ 188529 h 2112317"/>
                <a:gd name="connsiteX1086" fmla="*/ 106021 w 9154202"/>
                <a:gd name="connsiteY1086" fmla="*/ 188031 h 2112317"/>
                <a:gd name="connsiteX1087" fmla="*/ 103729 w 9154202"/>
                <a:gd name="connsiteY1087" fmla="*/ 190021 h 2112317"/>
                <a:gd name="connsiteX1088" fmla="*/ 101737 w 9154202"/>
                <a:gd name="connsiteY1088" fmla="*/ 192807 h 2112317"/>
                <a:gd name="connsiteX1089" fmla="*/ 99644 w 9154202"/>
                <a:gd name="connsiteY1089" fmla="*/ 194498 h 2112317"/>
                <a:gd name="connsiteX1090" fmla="*/ 95957 w 9154202"/>
                <a:gd name="connsiteY1090" fmla="*/ 194498 h 2112317"/>
                <a:gd name="connsiteX1091" fmla="*/ 89680 w 9154202"/>
                <a:gd name="connsiteY1091" fmla="*/ 191215 h 2112317"/>
                <a:gd name="connsiteX1092" fmla="*/ 86092 w 9154202"/>
                <a:gd name="connsiteY1092" fmla="*/ 191215 h 2112317"/>
                <a:gd name="connsiteX1093" fmla="*/ 87587 w 9154202"/>
                <a:gd name="connsiteY1093" fmla="*/ 195393 h 2112317"/>
                <a:gd name="connsiteX1094" fmla="*/ 89480 w 9154202"/>
                <a:gd name="connsiteY1094" fmla="*/ 203750 h 2112317"/>
                <a:gd name="connsiteX1095" fmla="*/ 91274 w 9154202"/>
                <a:gd name="connsiteY1095" fmla="*/ 206934 h 2112317"/>
                <a:gd name="connsiteX1096" fmla="*/ 93267 w 9154202"/>
                <a:gd name="connsiteY1096" fmla="*/ 208526 h 2112317"/>
                <a:gd name="connsiteX1097" fmla="*/ 94463 w 9154202"/>
                <a:gd name="connsiteY1097" fmla="*/ 208526 h 2112317"/>
                <a:gd name="connsiteX1098" fmla="*/ 95459 w 9154202"/>
                <a:gd name="connsiteY1098" fmla="*/ 207232 h 2112317"/>
                <a:gd name="connsiteX1099" fmla="*/ 96854 w 9154202"/>
                <a:gd name="connsiteY1099" fmla="*/ 205143 h 2112317"/>
                <a:gd name="connsiteX1100" fmla="*/ 98349 w 9154202"/>
                <a:gd name="connsiteY1100" fmla="*/ 203651 h 2112317"/>
                <a:gd name="connsiteX1101" fmla="*/ 99644 w 9154202"/>
                <a:gd name="connsiteY1101" fmla="*/ 202457 h 2112317"/>
                <a:gd name="connsiteX1102" fmla="*/ 103630 w 9154202"/>
                <a:gd name="connsiteY1102" fmla="*/ 202457 h 2112317"/>
                <a:gd name="connsiteX1103" fmla="*/ 101936 w 9154202"/>
                <a:gd name="connsiteY1103" fmla="*/ 205541 h 2112317"/>
                <a:gd name="connsiteX1104" fmla="*/ 97352 w 9154202"/>
                <a:gd name="connsiteY1104" fmla="*/ 209620 h 2112317"/>
                <a:gd name="connsiteX1105" fmla="*/ 96655 w 9154202"/>
                <a:gd name="connsiteY1105" fmla="*/ 213301 h 2112317"/>
                <a:gd name="connsiteX1106" fmla="*/ 96655 w 9154202"/>
                <a:gd name="connsiteY1106" fmla="*/ 215689 h 2112317"/>
                <a:gd name="connsiteX1107" fmla="*/ 97452 w 9154202"/>
                <a:gd name="connsiteY1107" fmla="*/ 216883 h 2112317"/>
                <a:gd name="connsiteX1108" fmla="*/ 97452 w 9154202"/>
                <a:gd name="connsiteY1108" fmla="*/ 217977 h 2112317"/>
                <a:gd name="connsiteX1109" fmla="*/ 96356 w 9154202"/>
                <a:gd name="connsiteY1109" fmla="*/ 219967 h 2112317"/>
                <a:gd name="connsiteX1110" fmla="*/ 96555 w 9154202"/>
                <a:gd name="connsiteY1110" fmla="*/ 222354 h 2112317"/>
                <a:gd name="connsiteX1111" fmla="*/ 97950 w 9154202"/>
                <a:gd name="connsiteY1111" fmla="*/ 223250 h 2112317"/>
                <a:gd name="connsiteX1112" fmla="*/ 101936 w 9154202"/>
                <a:gd name="connsiteY1112" fmla="*/ 223250 h 2112317"/>
                <a:gd name="connsiteX1113" fmla="*/ 100043 w 9154202"/>
                <a:gd name="connsiteY1113" fmla="*/ 225240 h 2112317"/>
                <a:gd name="connsiteX1114" fmla="*/ 98050 w 9154202"/>
                <a:gd name="connsiteY1114" fmla="*/ 228025 h 2112317"/>
                <a:gd name="connsiteX1115" fmla="*/ 96954 w 9154202"/>
                <a:gd name="connsiteY1115" fmla="*/ 231308 h 2112317"/>
                <a:gd name="connsiteX1116" fmla="*/ 98050 w 9154202"/>
                <a:gd name="connsiteY1116" fmla="*/ 234790 h 2112317"/>
                <a:gd name="connsiteX1117" fmla="*/ 101438 w 9154202"/>
                <a:gd name="connsiteY1117" fmla="*/ 239665 h 2112317"/>
                <a:gd name="connsiteX1118" fmla="*/ 103530 w 9154202"/>
                <a:gd name="connsiteY1118" fmla="*/ 241754 h 2112317"/>
                <a:gd name="connsiteX1119" fmla="*/ 105922 w 9154202"/>
                <a:gd name="connsiteY1119" fmla="*/ 242650 h 2112317"/>
                <a:gd name="connsiteX1120" fmla="*/ 107715 w 9154202"/>
                <a:gd name="connsiteY1120" fmla="*/ 243545 h 2112317"/>
                <a:gd name="connsiteX1121" fmla="*/ 120270 w 9154202"/>
                <a:gd name="connsiteY1121" fmla="*/ 253494 h 2112317"/>
                <a:gd name="connsiteX1122" fmla="*/ 122762 w 9154202"/>
                <a:gd name="connsiteY1122" fmla="*/ 254489 h 2112317"/>
                <a:gd name="connsiteX1123" fmla="*/ 125452 w 9154202"/>
                <a:gd name="connsiteY1123" fmla="*/ 252997 h 2112317"/>
                <a:gd name="connsiteX1124" fmla="*/ 124356 w 9154202"/>
                <a:gd name="connsiteY1124" fmla="*/ 250211 h 2112317"/>
                <a:gd name="connsiteX1125" fmla="*/ 123858 w 9154202"/>
                <a:gd name="connsiteY1125" fmla="*/ 248420 h 2112317"/>
                <a:gd name="connsiteX1126" fmla="*/ 123858 w 9154202"/>
                <a:gd name="connsiteY1126" fmla="*/ 247027 h 2112317"/>
                <a:gd name="connsiteX1127" fmla="*/ 124455 w 9154202"/>
                <a:gd name="connsiteY1127" fmla="*/ 246132 h 2112317"/>
                <a:gd name="connsiteX1128" fmla="*/ 125253 w 9154202"/>
                <a:gd name="connsiteY1128" fmla="*/ 246132 h 2112317"/>
                <a:gd name="connsiteX1129" fmla="*/ 126050 w 9154202"/>
                <a:gd name="connsiteY1129" fmla="*/ 246629 h 2112317"/>
                <a:gd name="connsiteX1130" fmla="*/ 126050 w 9154202"/>
                <a:gd name="connsiteY1130" fmla="*/ 248022 h 2112317"/>
                <a:gd name="connsiteX1131" fmla="*/ 126747 w 9154202"/>
                <a:gd name="connsiteY1131" fmla="*/ 249415 h 2112317"/>
                <a:gd name="connsiteX1132" fmla="*/ 134121 w 9154202"/>
                <a:gd name="connsiteY1132" fmla="*/ 260458 h 2112317"/>
                <a:gd name="connsiteX1133" fmla="*/ 135815 w 9154202"/>
                <a:gd name="connsiteY1133" fmla="*/ 262348 h 2112317"/>
                <a:gd name="connsiteX1134" fmla="*/ 137907 w 9154202"/>
                <a:gd name="connsiteY1134" fmla="*/ 263144 h 2112317"/>
                <a:gd name="connsiteX1135" fmla="*/ 145779 w 9154202"/>
                <a:gd name="connsiteY1135" fmla="*/ 262348 h 2112317"/>
                <a:gd name="connsiteX1136" fmla="*/ 147872 w 9154202"/>
                <a:gd name="connsiteY1136" fmla="*/ 263144 h 2112317"/>
                <a:gd name="connsiteX1137" fmla="*/ 145680 w 9154202"/>
                <a:gd name="connsiteY1137" fmla="*/ 263940 h 2112317"/>
                <a:gd name="connsiteX1138" fmla="*/ 139601 w 9154202"/>
                <a:gd name="connsiteY1138" fmla="*/ 264836 h 2112317"/>
                <a:gd name="connsiteX1139" fmla="*/ 138306 w 9154202"/>
                <a:gd name="connsiteY1139" fmla="*/ 266129 h 2112317"/>
                <a:gd name="connsiteX1140" fmla="*/ 139203 w 9154202"/>
                <a:gd name="connsiteY1140" fmla="*/ 269511 h 2112317"/>
                <a:gd name="connsiteX1141" fmla="*/ 141395 w 9154202"/>
                <a:gd name="connsiteY1141" fmla="*/ 270009 h 2112317"/>
                <a:gd name="connsiteX1142" fmla="*/ 143986 w 9154202"/>
                <a:gd name="connsiteY1142" fmla="*/ 270009 h 2112317"/>
                <a:gd name="connsiteX1143" fmla="*/ 146078 w 9154202"/>
                <a:gd name="connsiteY1143" fmla="*/ 271700 h 2112317"/>
                <a:gd name="connsiteX1144" fmla="*/ 144484 w 9154202"/>
                <a:gd name="connsiteY1144" fmla="*/ 272198 h 2112317"/>
                <a:gd name="connsiteX1145" fmla="*/ 142790 w 9154202"/>
                <a:gd name="connsiteY1145" fmla="*/ 272198 h 2112317"/>
                <a:gd name="connsiteX1146" fmla="*/ 141395 w 9154202"/>
                <a:gd name="connsiteY1146" fmla="*/ 272795 h 2112317"/>
                <a:gd name="connsiteX1147" fmla="*/ 140897 w 9154202"/>
                <a:gd name="connsiteY1147" fmla="*/ 274386 h 2112317"/>
                <a:gd name="connsiteX1148" fmla="*/ 140897 w 9154202"/>
                <a:gd name="connsiteY1148" fmla="*/ 276376 h 2112317"/>
                <a:gd name="connsiteX1149" fmla="*/ 142092 w 9154202"/>
                <a:gd name="connsiteY1149" fmla="*/ 279460 h 2112317"/>
                <a:gd name="connsiteX1150" fmla="*/ 142092 w 9154202"/>
                <a:gd name="connsiteY1150" fmla="*/ 280356 h 2112317"/>
                <a:gd name="connsiteX1151" fmla="*/ 142092 w 9154202"/>
                <a:gd name="connsiteY1151" fmla="*/ 284037 h 2112317"/>
                <a:gd name="connsiteX1152" fmla="*/ 143288 w 9154202"/>
                <a:gd name="connsiteY1152" fmla="*/ 291100 h 2112317"/>
                <a:gd name="connsiteX1153" fmla="*/ 143288 w 9154202"/>
                <a:gd name="connsiteY1153" fmla="*/ 294881 h 2112317"/>
                <a:gd name="connsiteX1154" fmla="*/ 144783 w 9154202"/>
                <a:gd name="connsiteY1154" fmla="*/ 300949 h 2112317"/>
                <a:gd name="connsiteX1155" fmla="*/ 145281 w 9154202"/>
                <a:gd name="connsiteY1155" fmla="*/ 304531 h 2112317"/>
                <a:gd name="connsiteX1156" fmla="*/ 144584 w 9154202"/>
                <a:gd name="connsiteY1156" fmla="*/ 306222 h 2112317"/>
                <a:gd name="connsiteX1157" fmla="*/ 144584 w 9154202"/>
                <a:gd name="connsiteY1157" fmla="*/ 307018 h 2112317"/>
                <a:gd name="connsiteX1158" fmla="*/ 147075 w 9154202"/>
                <a:gd name="connsiteY1158" fmla="*/ 311595 h 2112317"/>
                <a:gd name="connsiteX1159" fmla="*/ 148171 w 9154202"/>
                <a:gd name="connsiteY1159" fmla="*/ 312689 h 2112317"/>
                <a:gd name="connsiteX1160" fmla="*/ 149466 w 9154202"/>
                <a:gd name="connsiteY1160" fmla="*/ 313485 h 2112317"/>
                <a:gd name="connsiteX1161" fmla="*/ 150562 w 9154202"/>
                <a:gd name="connsiteY1161" fmla="*/ 314579 h 2112317"/>
                <a:gd name="connsiteX1162" fmla="*/ 151559 w 9154202"/>
                <a:gd name="connsiteY1162" fmla="*/ 318758 h 2112317"/>
                <a:gd name="connsiteX1163" fmla="*/ 152754 w 9154202"/>
                <a:gd name="connsiteY1163" fmla="*/ 319454 h 2112317"/>
                <a:gd name="connsiteX1164" fmla="*/ 160626 w 9154202"/>
                <a:gd name="connsiteY1164" fmla="*/ 320051 h 2112317"/>
                <a:gd name="connsiteX1165" fmla="*/ 161822 w 9154202"/>
                <a:gd name="connsiteY1165" fmla="*/ 320051 h 2112317"/>
                <a:gd name="connsiteX1166" fmla="*/ 161822 w 9154202"/>
                <a:gd name="connsiteY1166" fmla="*/ 319454 h 2112317"/>
                <a:gd name="connsiteX1167" fmla="*/ 163018 w 9154202"/>
                <a:gd name="connsiteY1167" fmla="*/ 317862 h 2112317"/>
                <a:gd name="connsiteX1168" fmla="*/ 165210 w 9154202"/>
                <a:gd name="connsiteY1168" fmla="*/ 319056 h 2112317"/>
                <a:gd name="connsiteX1169" fmla="*/ 165210 w 9154202"/>
                <a:gd name="connsiteY1169" fmla="*/ 321842 h 2112317"/>
                <a:gd name="connsiteX1170" fmla="*/ 168897 w 9154202"/>
                <a:gd name="connsiteY1170" fmla="*/ 323135 h 2112317"/>
                <a:gd name="connsiteX1171" fmla="*/ 172683 w 9154202"/>
                <a:gd name="connsiteY1171" fmla="*/ 323732 h 2112317"/>
                <a:gd name="connsiteX1172" fmla="*/ 176171 w 9154202"/>
                <a:gd name="connsiteY1172" fmla="*/ 323135 h 2112317"/>
                <a:gd name="connsiteX1173" fmla="*/ 177665 w 9154202"/>
                <a:gd name="connsiteY1173" fmla="*/ 322240 h 2112317"/>
                <a:gd name="connsiteX1174" fmla="*/ 178562 w 9154202"/>
                <a:gd name="connsiteY1174" fmla="*/ 321245 h 2112317"/>
                <a:gd name="connsiteX1175" fmla="*/ 179359 w 9154202"/>
                <a:gd name="connsiteY1175" fmla="*/ 319852 h 2112317"/>
                <a:gd name="connsiteX1176" fmla="*/ 180555 w 9154202"/>
                <a:gd name="connsiteY1176" fmla="*/ 318360 h 2112317"/>
                <a:gd name="connsiteX1177" fmla="*/ 184939 w 9154202"/>
                <a:gd name="connsiteY1177" fmla="*/ 314778 h 2112317"/>
                <a:gd name="connsiteX1178" fmla="*/ 186334 w 9154202"/>
                <a:gd name="connsiteY1178" fmla="*/ 312590 h 2112317"/>
                <a:gd name="connsiteX1179" fmla="*/ 188228 w 9154202"/>
                <a:gd name="connsiteY1179" fmla="*/ 308908 h 2112317"/>
                <a:gd name="connsiteX1180" fmla="*/ 189722 w 9154202"/>
                <a:gd name="connsiteY1180" fmla="*/ 304830 h 2112317"/>
                <a:gd name="connsiteX1181" fmla="*/ 189722 w 9154202"/>
                <a:gd name="connsiteY1181" fmla="*/ 301447 h 2112317"/>
                <a:gd name="connsiteX1182" fmla="*/ 190519 w 9154202"/>
                <a:gd name="connsiteY1182" fmla="*/ 301447 h 2112317"/>
                <a:gd name="connsiteX1183" fmla="*/ 191815 w 9154202"/>
                <a:gd name="connsiteY1183" fmla="*/ 303735 h 2112317"/>
                <a:gd name="connsiteX1184" fmla="*/ 193907 w 9154202"/>
                <a:gd name="connsiteY1184" fmla="*/ 303735 h 2112317"/>
                <a:gd name="connsiteX1185" fmla="*/ 201979 w 9154202"/>
                <a:gd name="connsiteY1185" fmla="*/ 301745 h 2112317"/>
                <a:gd name="connsiteX1186" fmla="*/ 202776 w 9154202"/>
                <a:gd name="connsiteY1186" fmla="*/ 301745 h 2112317"/>
                <a:gd name="connsiteX1187" fmla="*/ 203573 w 9154202"/>
                <a:gd name="connsiteY1187" fmla="*/ 302840 h 2112317"/>
                <a:gd name="connsiteX1188" fmla="*/ 203573 w 9154202"/>
                <a:gd name="connsiteY1188" fmla="*/ 303835 h 2112317"/>
                <a:gd name="connsiteX1189" fmla="*/ 202676 w 9154202"/>
                <a:gd name="connsiteY1189" fmla="*/ 304531 h 2112317"/>
                <a:gd name="connsiteX1190" fmla="*/ 199288 w 9154202"/>
                <a:gd name="connsiteY1190" fmla="*/ 305924 h 2112317"/>
                <a:gd name="connsiteX1191" fmla="*/ 195302 w 9154202"/>
                <a:gd name="connsiteY1191" fmla="*/ 307715 h 2112317"/>
                <a:gd name="connsiteX1192" fmla="*/ 192413 w 9154202"/>
                <a:gd name="connsiteY1192" fmla="*/ 311097 h 2112317"/>
                <a:gd name="connsiteX1193" fmla="*/ 191616 w 9154202"/>
                <a:gd name="connsiteY1193" fmla="*/ 316171 h 2112317"/>
                <a:gd name="connsiteX1194" fmla="*/ 191616 w 9154202"/>
                <a:gd name="connsiteY1194" fmla="*/ 319852 h 2112317"/>
                <a:gd name="connsiteX1195" fmla="*/ 192811 w 9154202"/>
                <a:gd name="connsiteY1195" fmla="*/ 326518 h 2112317"/>
                <a:gd name="connsiteX1196" fmla="*/ 192811 w 9154202"/>
                <a:gd name="connsiteY1196" fmla="*/ 330000 h 2112317"/>
                <a:gd name="connsiteX1197" fmla="*/ 192811 w 9154202"/>
                <a:gd name="connsiteY1197" fmla="*/ 331791 h 2112317"/>
                <a:gd name="connsiteX1198" fmla="*/ 192811 w 9154202"/>
                <a:gd name="connsiteY1198" fmla="*/ 332686 h 2112317"/>
                <a:gd name="connsiteX1199" fmla="*/ 192213 w 9154202"/>
                <a:gd name="connsiteY1199" fmla="*/ 333382 h 2112317"/>
                <a:gd name="connsiteX1200" fmla="*/ 190818 w 9154202"/>
                <a:gd name="connsiteY1200" fmla="*/ 336467 h 2112317"/>
                <a:gd name="connsiteX1201" fmla="*/ 190221 w 9154202"/>
                <a:gd name="connsiteY1201" fmla="*/ 337362 h 2112317"/>
                <a:gd name="connsiteX1202" fmla="*/ 190221 w 9154202"/>
                <a:gd name="connsiteY1202" fmla="*/ 338357 h 2112317"/>
                <a:gd name="connsiteX1203" fmla="*/ 190221 w 9154202"/>
                <a:gd name="connsiteY1203" fmla="*/ 340247 h 2112317"/>
                <a:gd name="connsiteX1204" fmla="*/ 189324 w 9154202"/>
                <a:gd name="connsiteY1204" fmla="*/ 341739 h 2112317"/>
                <a:gd name="connsiteX1205" fmla="*/ 185936 w 9154202"/>
                <a:gd name="connsiteY1205" fmla="*/ 345022 h 2112317"/>
                <a:gd name="connsiteX1206" fmla="*/ 185238 w 9154202"/>
                <a:gd name="connsiteY1206" fmla="*/ 346614 h 2112317"/>
                <a:gd name="connsiteX1207" fmla="*/ 185238 w 9154202"/>
                <a:gd name="connsiteY1207" fmla="*/ 348504 h 2112317"/>
                <a:gd name="connsiteX1208" fmla="*/ 185238 w 9154202"/>
                <a:gd name="connsiteY1208" fmla="*/ 350196 h 2112317"/>
                <a:gd name="connsiteX1209" fmla="*/ 185238 w 9154202"/>
                <a:gd name="connsiteY1209" fmla="*/ 351589 h 2112317"/>
                <a:gd name="connsiteX1210" fmla="*/ 180157 w 9154202"/>
                <a:gd name="connsiteY1210" fmla="*/ 360443 h 2112317"/>
                <a:gd name="connsiteX1211" fmla="*/ 179060 w 9154202"/>
                <a:gd name="connsiteY1211" fmla="*/ 363627 h 2112317"/>
                <a:gd name="connsiteX1212" fmla="*/ 179060 w 9154202"/>
                <a:gd name="connsiteY1212" fmla="*/ 365616 h 2112317"/>
                <a:gd name="connsiteX1213" fmla="*/ 179359 w 9154202"/>
                <a:gd name="connsiteY1213" fmla="*/ 371586 h 2112317"/>
                <a:gd name="connsiteX1214" fmla="*/ 179359 w 9154202"/>
                <a:gd name="connsiteY1214" fmla="*/ 371586 h 2112317"/>
                <a:gd name="connsiteX1215" fmla="*/ 179359 w 9154202"/>
                <a:gd name="connsiteY1215" fmla="*/ 375167 h 2112317"/>
                <a:gd name="connsiteX1216" fmla="*/ 180854 w 9154202"/>
                <a:gd name="connsiteY1216" fmla="*/ 379644 h 2112317"/>
                <a:gd name="connsiteX1217" fmla="*/ 180256 w 9154202"/>
                <a:gd name="connsiteY1217" fmla="*/ 382927 h 2112317"/>
                <a:gd name="connsiteX1218" fmla="*/ 178761 w 9154202"/>
                <a:gd name="connsiteY1218" fmla="*/ 386011 h 2112317"/>
                <a:gd name="connsiteX1219" fmla="*/ 177068 w 9154202"/>
                <a:gd name="connsiteY1219" fmla="*/ 388399 h 2112317"/>
                <a:gd name="connsiteX1220" fmla="*/ 176470 w 9154202"/>
                <a:gd name="connsiteY1220" fmla="*/ 389891 h 2112317"/>
                <a:gd name="connsiteX1221" fmla="*/ 176470 w 9154202"/>
                <a:gd name="connsiteY1221" fmla="*/ 391483 h 2112317"/>
                <a:gd name="connsiteX1222" fmla="*/ 176470 w 9154202"/>
                <a:gd name="connsiteY1222" fmla="*/ 392876 h 2112317"/>
                <a:gd name="connsiteX1223" fmla="*/ 174975 w 9154202"/>
                <a:gd name="connsiteY1223" fmla="*/ 393473 h 2112317"/>
                <a:gd name="connsiteX1224" fmla="*/ 173580 w 9154202"/>
                <a:gd name="connsiteY1224" fmla="*/ 393473 h 2112317"/>
                <a:gd name="connsiteX1225" fmla="*/ 172584 w 9154202"/>
                <a:gd name="connsiteY1225" fmla="*/ 393473 h 2112317"/>
                <a:gd name="connsiteX1226" fmla="*/ 171587 w 9154202"/>
                <a:gd name="connsiteY1226" fmla="*/ 393473 h 2112317"/>
                <a:gd name="connsiteX1227" fmla="*/ 170092 w 9154202"/>
                <a:gd name="connsiteY1227" fmla="*/ 394070 h 2112317"/>
                <a:gd name="connsiteX1228" fmla="*/ 167801 w 9154202"/>
                <a:gd name="connsiteY1228" fmla="*/ 396258 h 2112317"/>
                <a:gd name="connsiteX1229" fmla="*/ 166605 w 9154202"/>
                <a:gd name="connsiteY1229" fmla="*/ 399343 h 2112317"/>
                <a:gd name="connsiteX1230" fmla="*/ 166605 w 9154202"/>
                <a:gd name="connsiteY1230" fmla="*/ 402825 h 2112317"/>
                <a:gd name="connsiteX1231" fmla="*/ 167701 w 9154202"/>
                <a:gd name="connsiteY1231" fmla="*/ 406008 h 2112317"/>
                <a:gd name="connsiteX1232" fmla="*/ 163516 w 9154202"/>
                <a:gd name="connsiteY1232" fmla="*/ 408097 h 2112317"/>
                <a:gd name="connsiteX1233" fmla="*/ 161423 w 9154202"/>
                <a:gd name="connsiteY1233" fmla="*/ 409689 h 2112317"/>
                <a:gd name="connsiteX1234" fmla="*/ 159431 w 9154202"/>
                <a:gd name="connsiteY1234" fmla="*/ 411381 h 2112317"/>
                <a:gd name="connsiteX1235" fmla="*/ 160925 w 9154202"/>
                <a:gd name="connsiteY1235" fmla="*/ 412176 h 2112317"/>
                <a:gd name="connsiteX1236" fmla="*/ 162519 w 9154202"/>
                <a:gd name="connsiteY1236" fmla="*/ 412176 h 2112317"/>
                <a:gd name="connsiteX1237" fmla="*/ 165907 w 9154202"/>
                <a:gd name="connsiteY1237" fmla="*/ 412176 h 2112317"/>
                <a:gd name="connsiteX1238" fmla="*/ 167203 w 9154202"/>
                <a:gd name="connsiteY1238" fmla="*/ 412674 h 2112317"/>
                <a:gd name="connsiteX1239" fmla="*/ 168399 w 9154202"/>
                <a:gd name="connsiteY1239" fmla="*/ 413669 h 2112317"/>
                <a:gd name="connsiteX1240" fmla="*/ 169694 w 9154202"/>
                <a:gd name="connsiteY1240" fmla="*/ 414564 h 2112317"/>
                <a:gd name="connsiteX1241" fmla="*/ 171487 w 9154202"/>
                <a:gd name="connsiteY1241" fmla="*/ 414564 h 2112317"/>
                <a:gd name="connsiteX1242" fmla="*/ 173281 w 9154202"/>
                <a:gd name="connsiteY1242" fmla="*/ 413072 h 2112317"/>
                <a:gd name="connsiteX1243" fmla="*/ 179459 w 9154202"/>
                <a:gd name="connsiteY1243" fmla="*/ 405710 h 2112317"/>
                <a:gd name="connsiteX1244" fmla="*/ 184142 w 9154202"/>
                <a:gd name="connsiteY1244" fmla="*/ 394866 h 2112317"/>
                <a:gd name="connsiteX1245" fmla="*/ 185139 w 9154202"/>
                <a:gd name="connsiteY1245" fmla="*/ 394070 h 2112317"/>
                <a:gd name="connsiteX1246" fmla="*/ 187231 w 9154202"/>
                <a:gd name="connsiteY1246" fmla="*/ 392776 h 2112317"/>
                <a:gd name="connsiteX1247" fmla="*/ 188128 w 9154202"/>
                <a:gd name="connsiteY1247" fmla="*/ 391881 h 2112317"/>
                <a:gd name="connsiteX1248" fmla="*/ 188826 w 9154202"/>
                <a:gd name="connsiteY1248" fmla="*/ 390588 h 2112317"/>
                <a:gd name="connsiteX1249" fmla="*/ 188826 w 9154202"/>
                <a:gd name="connsiteY1249" fmla="*/ 388598 h 2112317"/>
                <a:gd name="connsiteX1250" fmla="*/ 189324 w 9154202"/>
                <a:gd name="connsiteY1250" fmla="*/ 387205 h 2112317"/>
                <a:gd name="connsiteX1251" fmla="*/ 195502 w 9154202"/>
                <a:gd name="connsiteY1251" fmla="*/ 376460 h 2112317"/>
                <a:gd name="connsiteX1252" fmla="*/ 196000 w 9154202"/>
                <a:gd name="connsiteY1252" fmla="*/ 375167 h 2112317"/>
                <a:gd name="connsiteX1253" fmla="*/ 196000 w 9154202"/>
                <a:gd name="connsiteY1253" fmla="*/ 374073 h 2112317"/>
                <a:gd name="connsiteX1254" fmla="*/ 196697 w 9154202"/>
                <a:gd name="connsiteY1254" fmla="*/ 373177 h 2112317"/>
                <a:gd name="connsiteX1255" fmla="*/ 198192 w 9154202"/>
                <a:gd name="connsiteY1255" fmla="*/ 373177 h 2112317"/>
                <a:gd name="connsiteX1256" fmla="*/ 199388 w 9154202"/>
                <a:gd name="connsiteY1256" fmla="*/ 372680 h 2112317"/>
                <a:gd name="connsiteX1257" fmla="*/ 200484 w 9154202"/>
                <a:gd name="connsiteY1257" fmla="*/ 371586 h 2112317"/>
                <a:gd name="connsiteX1258" fmla="*/ 202477 w 9154202"/>
                <a:gd name="connsiteY1258" fmla="*/ 368899 h 2112317"/>
                <a:gd name="connsiteX1259" fmla="*/ 204769 w 9154202"/>
                <a:gd name="connsiteY1259" fmla="*/ 367507 h 2112317"/>
                <a:gd name="connsiteX1260" fmla="*/ 217025 w 9154202"/>
                <a:gd name="connsiteY1260" fmla="*/ 365218 h 2112317"/>
                <a:gd name="connsiteX1261" fmla="*/ 221608 w 9154202"/>
                <a:gd name="connsiteY1261" fmla="*/ 362134 h 2112317"/>
                <a:gd name="connsiteX1262" fmla="*/ 223900 w 9154202"/>
                <a:gd name="connsiteY1262" fmla="*/ 361139 h 2112317"/>
                <a:gd name="connsiteX1263" fmla="*/ 222804 w 9154202"/>
                <a:gd name="connsiteY1263" fmla="*/ 365019 h 2112317"/>
                <a:gd name="connsiteX1264" fmla="*/ 222107 w 9154202"/>
                <a:gd name="connsiteY1264" fmla="*/ 366910 h 2112317"/>
                <a:gd name="connsiteX1265" fmla="*/ 221210 w 9154202"/>
                <a:gd name="connsiteY1265" fmla="*/ 368402 h 2112317"/>
                <a:gd name="connsiteX1266" fmla="*/ 220014 w 9154202"/>
                <a:gd name="connsiteY1266" fmla="*/ 369098 h 2112317"/>
                <a:gd name="connsiteX1267" fmla="*/ 217224 w 9154202"/>
                <a:gd name="connsiteY1267" fmla="*/ 369596 h 2112317"/>
                <a:gd name="connsiteX1268" fmla="*/ 216028 w 9154202"/>
                <a:gd name="connsiteY1268" fmla="*/ 370591 h 2112317"/>
                <a:gd name="connsiteX1269" fmla="*/ 216028 w 9154202"/>
                <a:gd name="connsiteY1269" fmla="*/ 371685 h 2112317"/>
                <a:gd name="connsiteX1270" fmla="*/ 216626 w 9154202"/>
                <a:gd name="connsiteY1270" fmla="*/ 373277 h 2112317"/>
                <a:gd name="connsiteX1271" fmla="*/ 216626 w 9154202"/>
                <a:gd name="connsiteY1271" fmla="*/ 374769 h 2112317"/>
                <a:gd name="connsiteX1272" fmla="*/ 215032 w 9154202"/>
                <a:gd name="connsiteY1272" fmla="*/ 375565 h 2112317"/>
                <a:gd name="connsiteX1273" fmla="*/ 214434 w 9154202"/>
                <a:gd name="connsiteY1273" fmla="*/ 374968 h 2112317"/>
                <a:gd name="connsiteX1274" fmla="*/ 213338 w 9154202"/>
                <a:gd name="connsiteY1274" fmla="*/ 373774 h 2112317"/>
                <a:gd name="connsiteX1275" fmla="*/ 211943 w 9154202"/>
                <a:gd name="connsiteY1275" fmla="*/ 372481 h 2112317"/>
                <a:gd name="connsiteX1276" fmla="*/ 210349 w 9154202"/>
                <a:gd name="connsiteY1276" fmla="*/ 372481 h 2112317"/>
                <a:gd name="connsiteX1277" fmla="*/ 205366 w 9154202"/>
                <a:gd name="connsiteY1277" fmla="*/ 374272 h 2112317"/>
                <a:gd name="connsiteX1278" fmla="*/ 201580 w 9154202"/>
                <a:gd name="connsiteY1278" fmla="*/ 378848 h 2112317"/>
                <a:gd name="connsiteX1279" fmla="*/ 199886 w 9154202"/>
                <a:gd name="connsiteY1279" fmla="*/ 385016 h 2112317"/>
                <a:gd name="connsiteX1280" fmla="*/ 201181 w 9154202"/>
                <a:gd name="connsiteY1280" fmla="*/ 391583 h 2112317"/>
                <a:gd name="connsiteX1281" fmla="*/ 200285 w 9154202"/>
                <a:gd name="connsiteY1281" fmla="*/ 392677 h 2112317"/>
                <a:gd name="connsiteX1282" fmla="*/ 201580 w 9154202"/>
                <a:gd name="connsiteY1282" fmla="*/ 394866 h 2112317"/>
                <a:gd name="connsiteX1283" fmla="*/ 203374 w 9154202"/>
                <a:gd name="connsiteY1283" fmla="*/ 396258 h 2112317"/>
                <a:gd name="connsiteX1284" fmla="*/ 204868 w 9154202"/>
                <a:gd name="connsiteY1284" fmla="*/ 397850 h 2112317"/>
                <a:gd name="connsiteX1285" fmla="*/ 206363 w 9154202"/>
                <a:gd name="connsiteY1285" fmla="*/ 402924 h 2112317"/>
                <a:gd name="connsiteX1286" fmla="*/ 208256 w 9154202"/>
                <a:gd name="connsiteY1286" fmla="*/ 404615 h 2112317"/>
                <a:gd name="connsiteX1287" fmla="*/ 212441 w 9154202"/>
                <a:gd name="connsiteY1287" fmla="*/ 407103 h 2112317"/>
                <a:gd name="connsiteX1288" fmla="*/ 218221 w 9154202"/>
                <a:gd name="connsiteY1288" fmla="*/ 400238 h 2112317"/>
                <a:gd name="connsiteX1289" fmla="*/ 220712 w 9154202"/>
                <a:gd name="connsiteY1289" fmla="*/ 396258 h 2112317"/>
                <a:gd name="connsiteX1290" fmla="*/ 221210 w 9154202"/>
                <a:gd name="connsiteY1290" fmla="*/ 392677 h 2112317"/>
                <a:gd name="connsiteX1291" fmla="*/ 219914 w 9154202"/>
                <a:gd name="connsiteY1291" fmla="*/ 390090 h 2112317"/>
                <a:gd name="connsiteX1292" fmla="*/ 219217 w 9154202"/>
                <a:gd name="connsiteY1292" fmla="*/ 388996 h 2112317"/>
                <a:gd name="connsiteX1293" fmla="*/ 218320 w 9154202"/>
                <a:gd name="connsiteY1293" fmla="*/ 388001 h 2112317"/>
                <a:gd name="connsiteX1294" fmla="*/ 218320 w 9154202"/>
                <a:gd name="connsiteY1294" fmla="*/ 385613 h 2112317"/>
                <a:gd name="connsiteX1295" fmla="*/ 218320 w 9154202"/>
                <a:gd name="connsiteY1295" fmla="*/ 383226 h 2112317"/>
                <a:gd name="connsiteX1296" fmla="*/ 219217 w 9154202"/>
                <a:gd name="connsiteY1296" fmla="*/ 381534 h 2112317"/>
                <a:gd name="connsiteX1297" fmla="*/ 219217 w 9154202"/>
                <a:gd name="connsiteY1297" fmla="*/ 380042 h 2112317"/>
                <a:gd name="connsiteX1298" fmla="*/ 219217 w 9154202"/>
                <a:gd name="connsiteY1298" fmla="*/ 378550 h 2112317"/>
                <a:gd name="connsiteX1299" fmla="*/ 220413 w 9154202"/>
                <a:gd name="connsiteY1299" fmla="*/ 377157 h 2112317"/>
                <a:gd name="connsiteX1300" fmla="*/ 222007 w 9154202"/>
                <a:gd name="connsiteY1300" fmla="*/ 374371 h 2112317"/>
                <a:gd name="connsiteX1301" fmla="*/ 223003 w 9154202"/>
                <a:gd name="connsiteY1301" fmla="*/ 374371 h 2112317"/>
                <a:gd name="connsiteX1302" fmla="*/ 224897 w 9154202"/>
                <a:gd name="connsiteY1302" fmla="*/ 374371 h 2112317"/>
                <a:gd name="connsiteX1303" fmla="*/ 224897 w 9154202"/>
                <a:gd name="connsiteY1303" fmla="*/ 375764 h 2112317"/>
                <a:gd name="connsiteX1304" fmla="*/ 224100 w 9154202"/>
                <a:gd name="connsiteY1304" fmla="*/ 377356 h 2112317"/>
                <a:gd name="connsiteX1305" fmla="*/ 223402 w 9154202"/>
                <a:gd name="connsiteY1305" fmla="*/ 378550 h 2112317"/>
                <a:gd name="connsiteX1306" fmla="*/ 222107 w 9154202"/>
                <a:gd name="connsiteY1306" fmla="*/ 380141 h 2112317"/>
                <a:gd name="connsiteX1307" fmla="*/ 220712 w 9154202"/>
                <a:gd name="connsiteY1307" fmla="*/ 381236 h 2112317"/>
                <a:gd name="connsiteX1308" fmla="*/ 219516 w 9154202"/>
                <a:gd name="connsiteY1308" fmla="*/ 382728 h 2112317"/>
                <a:gd name="connsiteX1309" fmla="*/ 219516 w 9154202"/>
                <a:gd name="connsiteY1309" fmla="*/ 385116 h 2112317"/>
                <a:gd name="connsiteX1310" fmla="*/ 219516 w 9154202"/>
                <a:gd name="connsiteY1310" fmla="*/ 386708 h 2112317"/>
                <a:gd name="connsiteX1311" fmla="*/ 222406 w 9154202"/>
                <a:gd name="connsiteY1311" fmla="*/ 391781 h 2112317"/>
                <a:gd name="connsiteX1312" fmla="*/ 226890 w 9154202"/>
                <a:gd name="connsiteY1312" fmla="*/ 396457 h 2112317"/>
                <a:gd name="connsiteX1313" fmla="*/ 228085 w 9154202"/>
                <a:gd name="connsiteY1313" fmla="*/ 398845 h 2112317"/>
                <a:gd name="connsiteX1314" fmla="*/ 226790 w 9154202"/>
                <a:gd name="connsiteY1314" fmla="*/ 401233 h 2112317"/>
                <a:gd name="connsiteX1315" fmla="*/ 225196 w 9154202"/>
                <a:gd name="connsiteY1315" fmla="*/ 401233 h 2112317"/>
                <a:gd name="connsiteX1316" fmla="*/ 221808 w 9154202"/>
                <a:gd name="connsiteY1316" fmla="*/ 401233 h 2112317"/>
                <a:gd name="connsiteX1317" fmla="*/ 220213 w 9154202"/>
                <a:gd name="connsiteY1317" fmla="*/ 402427 h 2112317"/>
                <a:gd name="connsiteX1318" fmla="*/ 219516 w 9154202"/>
                <a:gd name="connsiteY1318" fmla="*/ 403919 h 2112317"/>
                <a:gd name="connsiteX1319" fmla="*/ 219516 w 9154202"/>
                <a:gd name="connsiteY1319" fmla="*/ 405312 h 2112317"/>
                <a:gd name="connsiteX1320" fmla="*/ 219018 w 9154202"/>
                <a:gd name="connsiteY1320" fmla="*/ 406605 h 2112317"/>
                <a:gd name="connsiteX1321" fmla="*/ 217722 w 9154202"/>
                <a:gd name="connsiteY1321" fmla="*/ 407799 h 2112317"/>
                <a:gd name="connsiteX1322" fmla="*/ 218221 w 9154202"/>
                <a:gd name="connsiteY1322" fmla="*/ 409888 h 2112317"/>
                <a:gd name="connsiteX1323" fmla="*/ 219018 w 9154202"/>
                <a:gd name="connsiteY1323" fmla="*/ 411778 h 2112317"/>
                <a:gd name="connsiteX1324" fmla="*/ 220114 w 9154202"/>
                <a:gd name="connsiteY1324" fmla="*/ 413271 h 2112317"/>
                <a:gd name="connsiteX1325" fmla="*/ 223203 w 9154202"/>
                <a:gd name="connsiteY1325" fmla="*/ 414664 h 2112317"/>
                <a:gd name="connsiteX1326" fmla="*/ 223701 w 9154202"/>
                <a:gd name="connsiteY1326" fmla="*/ 416653 h 2112317"/>
                <a:gd name="connsiteX1327" fmla="*/ 223701 w 9154202"/>
                <a:gd name="connsiteY1327" fmla="*/ 418842 h 2112317"/>
                <a:gd name="connsiteX1328" fmla="*/ 225295 w 9154202"/>
                <a:gd name="connsiteY1328" fmla="*/ 418842 h 2112317"/>
                <a:gd name="connsiteX1329" fmla="*/ 230676 w 9154202"/>
                <a:gd name="connsiteY1329" fmla="*/ 418842 h 2112317"/>
                <a:gd name="connsiteX1330" fmla="*/ 235260 w 9154202"/>
                <a:gd name="connsiteY1330" fmla="*/ 415658 h 2112317"/>
                <a:gd name="connsiteX1331" fmla="*/ 235260 w 9154202"/>
                <a:gd name="connsiteY1331" fmla="*/ 415658 h 2112317"/>
                <a:gd name="connsiteX1332" fmla="*/ 235260 w 9154202"/>
                <a:gd name="connsiteY1332" fmla="*/ 413768 h 2112317"/>
                <a:gd name="connsiteX1333" fmla="*/ 236356 w 9154202"/>
                <a:gd name="connsiteY1333" fmla="*/ 410883 h 2112317"/>
                <a:gd name="connsiteX1334" fmla="*/ 239843 w 9154202"/>
                <a:gd name="connsiteY1334" fmla="*/ 404715 h 2112317"/>
                <a:gd name="connsiteX1335" fmla="*/ 242235 w 9154202"/>
                <a:gd name="connsiteY1335" fmla="*/ 402029 h 2112317"/>
                <a:gd name="connsiteX1336" fmla="*/ 245025 w 9154202"/>
                <a:gd name="connsiteY1336" fmla="*/ 401432 h 2112317"/>
                <a:gd name="connsiteX1337" fmla="*/ 242334 w 9154202"/>
                <a:gd name="connsiteY1337" fmla="*/ 406406 h 2112317"/>
                <a:gd name="connsiteX1338" fmla="*/ 241238 w 9154202"/>
                <a:gd name="connsiteY1338" fmla="*/ 408097 h 2112317"/>
                <a:gd name="connsiteX1339" fmla="*/ 241238 w 9154202"/>
                <a:gd name="connsiteY1339" fmla="*/ 409192 h 2112317"/>
                <a:gd name="connsiteX1340" fmla="*/ 241238 w 9154202"/>
                <a:gd name="connsiteY1340" fmla="*/ 412873 h 2112317"/>
                <a:gd name="connsiteX1341" fmla="*/ 241238 w 9154202"/>
                <a:gd name="connsiteY1341" fmla="*/ 413868 h 2112317"/>
                <a:gd name="connsiteX1342" fmla="*/ 243132 w 9154202"/>
                <a:gd name="connsiteY1342" fmla="*/ 413271 h 2112317"/>
                <a:gd name="connsiteX1343" fmla="*/ 246420 w 9154202"/>
                <a:gd name="connsiteY1343" fmla="*/ 410585 h 2112317"/>
                <a:gd name="connsiteX1344" fmla="*/ 247616 w 9154202"/>
                <a:gd name="connsiteY1344" fmla="*/ 410087 h 2112317"/>
                <a:gd name="connsiteX1345" fmla="*/ 250206 w 9154202"/>
                <a:gd name="connsiteY1345" fmla="*/ 410087 h 2112317"/>
                <a:gd name="connsiteX1346" fmla="*/ 251502 w 9154202"/>
                <a:gd name="connsiteY1346" fmla="*/ 409490 h 2112317"/>
                <a:gd name="connsiteX1347" fmla="*/ 253096 w 9154202"/>
                <a:gd name="connsiteY1347" fmla="*/ 407103 h 2112317"/>
                <a:gd name="connsiteX1348" fmla="*/ 256085 w 9154202"/>
                <a:gd name="connsiteY1348" fmla="*/ 405511 h 2112317"/>
                <a:gd name="connsiteX1349" fmla="*/ 257480 w 9154202"/>
                <a:gd name="connsiteY1349" fmla="*/ 403024 h 2112317"/>
                <a:gd name="connsiteX1350" fmla="*/ 258676 w 9154202"/>
                <a:gd name="connsiteY1350" fmla="*/ 400238 h 2112317"/>
                <a:gd name="connsiteX1351" fmla="*/ 259672 w 9154202"/>
                <a:gd name="connsiteY1351" fmla="*/ 398248 h 2112317"/>
                <a:gd name="connsiteX1352" fmla="*/ 261665 w 9154202"/>
                <a:gd name="connsiteY1352" fmla="*/ 396656 h 2112317"/>
                <a:gd name="connsiteX1353" fmla="*/ 263858 w 9154202"/>
                <a:gd name="connsiteY1353" fmla="*/ 395661 h 2112317"/>
                <a:gd name="connsiteX1354" fmla="*/ 276014 w 9154202"/>
                <a:gd name="connsiteY1354" fmla="*/ 391483 h 2112317"/>
                <a:gd name="connsiteX1355" fmla="*/ 278007 w 9154202"/>
                <a:gd name="connsiteY1355" fmla="*/ 390389 h 2112317"/>
                <a:gd name="connsiteX1356" fmla="*/ 281196 w 9154202"/>
                <a:gd name="connsiteY1356" fmla="*/ 387603 h 2112317"/>
                <a:gd name="connsiteX1357" fmla="*/ 282690 w 9154202"/>
                <a:gd name="connsiteY1357" fmla="*/ 387603 h 2112317"/>
                <a:gd name="connsiteX1358" fmla="*/ 284982 w 9154202"/>
                <a:gd name="connsiteY1358" fmla="*/ 389195 h 2112317"/>
                <a:gd name="connsiteX1359" fmla="*/ 284982 w 9154202"/>
                <a:gd name="connsiteY1359" fmla="*/ 389195 h 2112317"/>
                <a:gd name="connsiteX1360" fmla="*/ 299630 w 9154202"/>
                <a:gd name="connsiteY1360" fmla="*/ 383524 h 2112317"/>
                <a:gd name="connsiteX1361" fmla="*/ 301722 w 9154202"/>
                <a:gd name="connsiteY1361" fmla="*/ 381833 h 2112317"/>
                <a:gd name="connsiteX1362" fmla="*/ 302619 w 9154202"/>
                <a:gd name="connsiteY1362" fmla="*/ 379047 h 2112317"/>
                <a:gd name="connsiteX1363" fmla="*/ 302121 w 9154202"/>
                <a:gd name="connsiteY1363" fmla="*/ 378152 h 2112317"/>
                <a:gd name="connsiteX1364" fmla="*/ 301224 w 9154202"/>
                <a:gd name="connsiteY1364" fmla="*/ 377157 h 2112317"/>
                <a:gd name="connsiteX1365" fmla="*/ 300327 w 9154202"/>
                <a:gd name="connsiteY1365" fmla="*/ 375665 h 2112317"/>
                <a:gd name="connsiteX1366" fmla="*/ 300327 w 9154202"/>
                <a:gd name="connsiteY1366" fmla="*/ 373774 h 2112317"/>
                <a:gd name="connsiteX1367" fmla="*/ 300826 w 9154202"/>
                <a:gd name="connsiteY1367" fmla="*/ 372481 h 2112317"/>
                <a:gd name="connsiteX1368" fmla="*/ 301922 w 9154202"/>
                <a:gd name="connsiteY1368" fmla="*/ 371387 h 2112317"/>
                <a:gd name="connsiteX1369" fmla="*/ 303616 w 9154202"/>
                <a:gd name="connsiteY1369" fmla="*/ 370093 h 2112317"/>
                <a:gd name="connsiteX1370" fmla="*/ 303616 w 9154202"/>
                <a:gd name="connsiteY1370" fmla="*/ 367109 h 2112317"/>
                <a:gd name="connsiteX1371" fmla="*/ 305608 w 9154202"/>
                <a:gd name="connsiteY1371" fmla="*/ 365716 h 2112317"/>
                <a:gd name="connsiteX1372" fmla="*/ 308100 w 9154202"/>
                <a:gd name="connsiteY1372" fmla="*/ 364820 h 2112317"/>
                <a:gd name="connsiteX1373" fmla="*/ 309295 w 9154202"/>
                <a:gd name="connsiteY1373" fmla="*/ 363527 h 2112317"/>
                <a:gd name="connsiteX1374" fmla="*/ 317167 w 9154202"/>
                <a:gd name="connsiteY1374" fmla="*/ 356961 h 2112317"/>
                <a:gd name="connsiteX1375" fmla="*/ 328825 w 9154202"/>
                <a:gd name="connsiteY1375" fmla="*/ 349599 h 2112317"/>
                <a:gd name="connsiteX1376" fmla="*/ 337295 w 9154202"/>
                <a:gd name="connsiteY1376" fmla="*/ 339650 h 2112317"/>
                <a:gd name="connsiteX1377" fmla="*/ 338092 w 9154202"/>
                <a:gd name="connsiteY1377" fmla="*/ 337262 h 2112317"/>
                <a:gd name="connsiteX1378" fmla="*/ 338092 w 9154202"/>
                <a:gd name="connsiteY1378" fmla="*/ 335870 h 2112317"/>
                <a:gd name="connsiteX1379" fmla="*/ 336299 w 9154202"/>
                <a:gd name="connsiteY1379" fmla="*/ 333283 h 2112317"/>
                <a:gd name="connsiteX1380" fmla="*/ 336299 w 9154202"/>
                <a:gd name="connsiteY1380" fmla="*/ 332487 h 2112317"/>
                <a:gd name="connsiteX1381" fmla="*/ 336299 w 9154202"/>
                <a:gd name="connsiteY1381" fmla="*/ 327115 h 2112317"/>
                <a:gd name="connsiteX1382" fmla="*/ 333608 w 9154202"/>
                <a:gd name="connsiteY1382" fmla="*/ 321842 h 2112317"/>
                <a:gd name="connsiteX1383" fmla="*/ 328028 w 9154202"/>
                <a:gd name="connsiteY1383" fmla="*/ 313684 h 2112317"/>
                <a:gd name="connsiteX1384" fmla="*/ 326135 w 9154202"/>
                <a:gd name="connsiteY1384" fmla="*/ 309306 h 2112317"/>
                <a:gd name="connsiteX1385" fmla="*/ 327530 w 9154202"/>
                <a:gd name="connsiteY1385" fmla="*/ 309306 h 2112317"/>
                <a:gd name="connsiteX1386" fmla="*/ 328527 w 9154202"/>
                <a:gd name="connsiteY1386" fmla="*/ 310202 h 2112317"/>
                <a:gd name="connsiteX1387" fmla="*/ 329324 w 9154202"/>
                <a:gd name="connsiteY1387" fmla="*/ 311296 h 2112317"/>
                <a:gd name="connsiteX1388" fmla="*/ 330420 w 9154202"/>
                <a:gd name="connsiteY1388" fmla="*/ 312590 h 2112317"/>
                <a:gd name="connsiteX1389" fmla="*/ 336897 w 9154202"/>
                <a:gd name="connsiteY1389" fmla="*/ 316171 h 2112317"/>
                <a:gd name="connsiteX1390" fmla="*/ 339687 w 9154202"/>
                <a:gd name="connsiteY1390" fmla="*/ 318758 h 2112317"/>
                <a:gd name="connsiteX1391" fmla="*/ 341480 w 9154202"/>
                <a:gd name="connsiteY1391" fmla="*/ 325921 h 2112317"/>
                <a:gd name="connsiteX1392" fmla="*/ 344470 w 9154202"/>
                <a:gd name="connsiteY1392" fmla="*/ 332189 h 2112317"/>
                <a:gd name="connsiteX1393" fmla="*/ 345267 w 9154202"/>
                <a:gd name="connsiteY1393" fmla="*/ 335372 h 2112317"/>
                <a:gd name="connsiteX1394" fmla="*/ 344470 w 9154202"/>
                <a:gd name="connsiteY1394" fmla="*/ 339153 h 2112317"/>
                <a:gd name="connsiteX1395" fmla="*/ 340085 w 9154202"/>
                <a:gd name="connsiteY1395" fmla="*/ 343928 h 2112317"/>
                <a:gd name="connsiteX1396" fmla="*/ 339089 w 9154202"/>
                <a:gd name="connsiteY1396" fmla="*/ 346714 h 2112317"/>
                <a:gd name="connsiteX1397" fmla="*/ 337993 w 9154202"/>
                <a:gd name="connsiteY1397" fmla="*/ 350992 h 2112317"/>
                <a:gd name="connsiteX1398" fmla="*/ 335402 w 9154202"/>
                <a:gd name="connsiteY1398" fmla="*/ 352981 h 2112317"/>
                <a:gd name="connsiteX1399" fmla="*/ 328726 w 9154202"/>
                <a:gd name="connsiteY1399" fmla="*/ 354474 h 2112317"/>
                <a:gd name="connsiteX1400" fmla="*/ 326235 w 9154202"/>
                <a:gd name="connsiteY1400" fmla="*/ 356165 h 2112317"/>
                <a:gd name="connsiteX1401" fmla="*/ 321950 w 9154202"/>
                <a:gd name="connsiteY1401" fmla="*/ 360741 h 2112317"/>
                <a:gd name="connsiteX1402" fmla="*/ 316868 w 9154202"/>
                <a:gd name="connsiteY1402" fmla="*/ 362433 h 2112317"/>
                <a:gd name="connsiteX1403" fmla="*/ 314078 w 9154202"/>
                <a:gd name="connsiteY1403" fmla="*/ 364323 h 2112317"/>
                <a:gd name="connsiteX1404" fmla="*/ 311587 w 9154202"/>
                <a:gd name="connsiteY1404" fmla="*/ 366711 h 2112317"/>
                <a:gd name="connsiteX1405" fmla="*/ 307003 w 9154202"/>
                <a:gd name="connsiteY1405" fmla="*/ 372282 h 2112317"/>
                <a:gd name="connsiteX1406" fmla="*/ 306306 w 9154202"/>
                <a:gd name="connsiteY1406" fmla="*/ 374869 h 2112317"/>
                <a:gd name="connsiteX1407" fmla="*/ 307302 w 9154202"/>
                <a:gd name="connsiteY1407" fmla="*/ 383922 h 2112317"/>
                <a:gd name="connsiteX1408" fmla="*/ 308000 w 9154202"/>
                <a:gd name="connsiteY1408" fmla="*/ 384917 h 2112317"/>
                <a:gd name="connsiteX1409" fmla="*/ 309096 w 9154202"/>
                <a:gd name="connsiteY1409" fmla="*/ 385613 h 2112317"/>
                <a:gd name="connsiteX1410" fmla="*/ 310491 w 9154202"/>
                <a:gd name="connsiteY1410" fmla="*/ 386807 h 2112317"/>
                <a:gd name="connsiteX1411" fmla="*/ 313082 w 9154202"/>
                <a:gd name="connsiteY1411" fmla="*/ 391583 h 2112317"/>
                <a:gd name="connsiteX1412" fmla="*/ 311388 w 9154202"/>
                <a:gd name="connsiteY1412" fmla="*/ 393871 h 2112317"/>
                <a:gd name="connsiteX1413" fmla="*/ 311388 w 9154202"/>
                <a:gd name="connsiteY1413" fmla="*/ 395761 h 2112317"/>
                <a:gd name="connsiteX1414" fmla="*/ 314377 w 9154202"/>
                <a:gd name="connsiteY1414" fmla="*/ 398746 h 2112317"/>
                <a:gd name="connsiteX1415" fmla="*/ 314377 w 9154202"/>
                <a:gd name="connsiteY1415" fmla="*/ 399442 h 2112317"/>
                <a:gd name="connsiteX1416" fmla="*/ 314377 w 9154202"/>
                <a:gd name="connsiteY1416" fmla="*/ 400437 h 2112317"/>
                <a:gd name="connsiteX1417" fmla="*/ 314377 w 9154202"/>
                <a:gd name="connsiteY1417" fmla="*/ 401432 h 2112317"/>
                <a:gd name="connsiteX1418" fmla="*/ 315274 w 9154202"/>
                <a:gd name="connsiteY1418" fmla="*/ 402327 h 2112317"/>
                <a:gd name="connsiteX1419" fmla="*/ 316270 w 9154202"/>
                <a:gd name="connsiteY1419" fmla="*/ 402327 h 2112317"/>
                <a:gd name="connsiteX1420" fmla="*/ 318562 w 9154202"/>
                <a:gd name="connsiteY1420" fmla="*/ 402327 h 2112317"/>
                <a:gd name="connsiteX1421" fmla="*/ 319658 w 9154202"/>
                <a:gd name="connsiteY1421" fmla="*/ 402327 h 2112317"/>
                <a:gd name="connsiteX1422" fmla="*/ 329623 w 9154202"/>
                <a:gd name="connsiteY1422" fmla="*/ 404516 h 2112317"/>
                <a:gd name="connsiteX1423" fmla="*/ 334605 w 9154202"/>
                <a:gd name="connsiteY1423" fmla="*/ 404516 h 2112317"/>
                <a:gd name="connsiteX1424" fmla="*/ 339089 w 9154202"/>
                <a:gd name="connsiteY1424" fmla="*/ 402526 h 2112317"/>
                <a:gd name="connsiteX1425" fmla="*/ 342377 w 9154202"/>
                <a:gd name="connsiteY1425" fmla="*/ 400337 h 2112317"/>
                <a:gd name="connsiteX1426" fmla="*/ 345964 w 9154202"/>
                <a:gd name="connsiteY1426" fmla="*/ 398746 h 2112317"/>
                <a:gd name="connsiteX1427" fmla="*/ 362107 w 9154202"/>
                <a:gd name="connsiteY1427" fmla="*/ 394269 h 2112317"/>
                <a:gd name="connsiteX1428" fmla="*/ 366192 w 9154202"/>
                <a:gd name="connsiteY1428" fmla="*/ 395065 h 2112317"/>
                <a:gd name="connsiteX1429" fmla="*/ 368683 w 9154202"/>
                <a:gd name="connsiteY1429" fmla="*/ 398945 h 2112317"/>
                <a:gd name="connsiteX1430" fmla="*/ 363502 w 9154202"/>
                <a:gd name="connsiteY1430" fmla="*/ 398945 h 2112317"/>
                <a:gd name="connsiteX1431" fmla="*/ 358420 w 9154202"/>
                <a:gd name="connsiteY1431" fmla="*/ 399442 h 2112317"/>
                <a:gd name="connsiteX1432" fmla="*/ 353139 w 9154202"/>
                <a:gd name="connsiteY1432" fmla="*/ 401332 h 2112317"/>
                <a:gd name="connsiteX1433" fmla="*/ 350747 w 9154202"/>
                <a:gd name="connsiteY1433" fmla="*/ 401332 h 2112317"/>
                <a:gd name="connsiteX1434" fmla="*/ 350747 w 9154202"/>
                <a:gd name="connsiteY1434" fmla="*/ 401332 h 2112317"/>
                <a:gd name="connsiteX1435" fmla="*/ 350747 w 9154202"/>
                <a:gd name="connsiteY1435" fmla="*/ 402825 h 2112317"/>
                <a:gd name="connsiteX1436" fmla="*/ 350747 w 9154202"/>
                <a:gd name="connsiteY1436" fmla="*/ 402825 h 2112317"/>
                <a:gd name="connsiteX1437" fmla="*/ 346562 w 9154202"/>
                <a:gd name="connsiteY1437" fmla="*/ 403621 h 2112317"/>
                <a:gd name="connsiteX1438" fmla="*/ 345566 w 9154202"/>
                <a:gd name="connsiteY1438" fmla="*/ 403621 h 2112317"/>
                <a:gd name="connsiteX1439" fmla="*/ 343872 w 9154202"/>
                <a:gd name="connsiteY1439" fmla="*/ 406605 h 2112317"/>
                <a:gd name="connsiteX1440" fmla="*/ 343872 w 9154202"/>
                <a:gd name="connsiteY1440" fmla="*/ 409092 h 2112317"/>
                <a:gd name="connsiteX1441" fmla="*/ 344968 w 9154202"/>
                <a:gd name="connsiteY1441" fmla="*/ 411281 h 2112317"/>
                <a:gd name="connsiteX1442" fmla="*/ 347658 w 9154202"/>
                <a:gd name="connsiteY1442" fmla="*/ 415460 h 2112317"/>
                <a:gd name="connsiteX1443" fmla="*/ 348455 w 9154202"/>
                <a:gd name="connsiteY1443" fmla="*/ 417449 h 2112317"/>
                <a:gd name="connsiteX1444" fmla="*/ 348455 w 9154202"/>
                <a:gd name="connsiteY1444" fmla="*/ 419638 h 2112317"/>
                <a:gd name="connsiteX1445" fmla="*/ 347260 w 9154202"/>
                <a:gd name="connsiteY1445" fmla="*/ 422722 h 2112317"/>
                <a:gd name="connsiteX1446" fmla="*/ 350747 w 9154202"/>
                <a:gd name="connsiteY1446" fmla="*/ 428393 h 2112317"/>
                <a:gd name="connsiteX1447" fmla="*/ 362505 w 9154202"/>
                <a:gd name="connsiteY1447" fmla="*/ 435556 h 2112317"/>
                <a:gd name="connsiteX1448" fmla="*/ 367786 w 9154202"/>
                <a:gd name="connsiteY1448" fmla="*/ 440033 h 2112317"/>
                <a:gd name="connsiteX1449" fmla="*/ 368982 w 9154202"/>
                <a:gd name="connsiteY1449" fmla="*/ 441724 h 2112317"/>
                <a:gd name="connsiteX1450" fmla="*/ 371274 w 9154202"/>
                <a:gd name="connsiteY1450" fmla="*/ 445704 h 2112317"/>
                <a:gd name="connsiteX1451" fmla="*/ 372171 w 9154202"/>
                <a:gd name="connsiteY1451" fmla="*/ 448788 h 2112317"/>
                <a:gd name="connsiteX1452" fmla="*/ 373267 w 9154202"/>
                <a:gd name="connsiteY1452" fmla="*/ 449783 h 2112317"/>
                <a:gd name="connsiteX1453" fmla="*/ 374662 w 9154202"/>
                <a:gd name="connsiteY1453" fmla="*/ 450479 h 2112317"/>
                <a:gd name="connsiteX1454" fmla="*/ 375957 w 9154202"/>
                <a:gd name="connsiteY1454" fmla="*/ 451275 h 2112317"/>
                <a:gd name="connsiteX1455" fmla="*/ 377751 w 9154202"/>
                <a:gd name="connsiteY1455" fmla="*/ 453961 h 2112317"/>
                <a:gd name="connsiteX1456" fmla="*/ 377751 w 9154202"/>
                <a:gd name="connsiteY1456" fmla="*/ 456846 h 2112317"/>
                <a:gd name="connsiteX1457" fmla="*/ 377751 w 9154202"/>
                <a:gd name="connsiteY1457" fmla="*/ 460129 h 2112317"/>
                <a:gd name="connsiteX1458" fmla="*/ 377751 w 9154202"/>
                <a:gd name="connsiteY1458" fmla="*/ 464308 h 2112317"/>
                <a:gd name="connsiteX1459" fmla="*/ 376655 w 9154202"/>
                <a:gd name="connsiteY1459" fmla="*/ 462119 h 2112317"/>
                <a:gd name="connsiteX1460" fmla="*/ 374263 w 9154202"/>
                <a:gd name="connsiteY1460" fmla="*/ 456050 h 2112317"/>
                <a:gd name="connsiteX1461" fmla="*/ 372868 w 9154202"/>
                <a:gd name="connsiteY1461" fmla="*/ 454061 h 2112317"/>
                <a:gd name="connsiteX1462" fmla="*/ 368683 w 9154202"/>
                <a:gd name="connsiteY1462" fmla="*/ 451175 h 2112317"/>
                <a:gd name="connsiteX1463" fmla="*/ 366989 w 9154202"/>
                <a:gd name="connsiteY1463" fmla="*/ 449982 h 2112317"/>
                <a:gd name="connsiteX1464" fmla="*/ 363801 w 9154202"/>
                <a:gd name="connsiteY1464" fmla="*/ 446400 h 2112317"/>
                <a:gd name="connsiteX1465" fmla="*/ 347459 w 9154202"/>
                <a:gd name="connsiteY1465" fmla="*/ 432273 h 2112317"/>
                <a:gd name="connsiteX1466" fmla="*/ 342576 w 9154202"/>
                <a:gd name="connsiteY1466" fmla="*/ 426304 h 2112317"/>
                <a:gd name="connsiteX1467" fmla="*/ 343772 w 9154202"/>
                <a:gd name="connsiteY1467" fmla="*/ 422424 h 2112317"/>
                <a:gd name="connsiteX1468" fmla="*/ 343075 w 9154202"/>
                <a:gd name="connsiteY1468" fmla="*/ 419240 h 2112317"/>
                <a:gd name="connsiteX1469" fmla="*/ 341181 w 9154202"/>
                <a:gd name="connsiteY1469" fmla="*/ 416554 h 2112317"/>
                <a:gd name="connsiteX1470" fmla="*/ 336099 w 9154202"/>
                <a:gd name="connsiteY1470" fmla="*/ 411381 h 2112317"/>
                <a:gd name="connsiteX1471" fmla="*/ 333309 w 9154202"/>
                <a:gd name="connsiteY1471" fmla="*/ 409888 h 2112317"/>
                <a:gd name="connsiteX1472" fmla="*/ 330320 w 9154202"/>
                <a:gd name="connsiteY1472" fmla="*/ 409291 h 2112317"/>
                <a:gd name="connsiteX1473" fmla="*/ 323744 w 9154202"/>
                <a:gd name="connsiteY1473" fmla="*/ 409291 h 2112317"/>
                <a:gd name="connsiteX1474" fmla="*/ 316968 w 9154202"/>
                <a:gd name="connsiteY1474" fmla="*/ 407998 h 2112317"/>
                <a:gd name="connsiteX1475" fmla="*/ 313879 w 9154202"/>
                <a:gd name="connsiteY1475" fmla="*/ 407998 h 2112317"/>
                <a:gd name="connsiteX1476" fmla="*/ 312185 w 9154202"/>
                <a:gd name="connsiteY1476" fmla="*/ 409291 h 2112317"/>
                <a:gd name="connsiteX1477" fmla="*/ 304612 w 9154202"/>
                <a:gd name="connsiteY1477" fmla="*/ 418245 h 2112317"/>
                <a:gd name="connsiteX1478" fmla="*/ 302320 w 9154202"/>
                <a:gd name="connsiteY1478" fmla="*/ 420235 h 2112317"/>
                <a:gd name="connsiteX1479" fmla="*/ 299829 w 9154202"/>
                <a:gd name="connsiteY1479" fmla="*/ 421727 h 2112317"/>
                <a:gd name="connsiteX1480" fmla="*/ 290562 w 9154202"/>
                <a:gd name="connsiteY1480" fmla="*/ 423220 h 2112317"/>
                <a:gd name="connsiteX1481" fmla="*/ 287473 w 9154202"/>
                <a:gd name="connsiteY1481" fmla="*/ 424811 h 2112317"/>
                <a:gd name="connsiteX1482" fmla="*/ 286178 w 9154202"/>
                <a:gd name="connsiteY1482" fmla="*/ 427696 h 2112317"/>
                <a:gd name="connsiteX1483" fmla="*/ 285381 w 9154202"/>
                <a:gd name="connsiteY1483" fmla="*/ 428890 h 2112317"/>
                <a:gd name="connsiteX1484" fmla="*/ 283388 w 9154202"/>
                <a:gd name="connsiteY1484" fmla="*/ 429885 h 2112317"/>
                <a:gd name="connsiteX1485" fmla="*/ 280100 w 9154202"/>
                <a:gd name="connsiteY1485" fmla="*/ 430681 h 2112317"/>
                <a:gd name="connsiteX1486" fmla="*/ 279003 w 9154202"/>
                <a:gd name="connsiteY1486" fmla="*/ 431278 h 2112317"/>
                <a:gd name="connsiteX1487" fmla="*/ 279003 w 9154202"/>
                <a:gd name="connsiteY1487" fmla="*/ 432969 h 2112317"/>
                <a:gd name="connsiteX1488" fmla="*/ 279601 w 9154202"/>
                <a:gd name="connsiteY1488" fmla="*/ 434561 h 2112317"/>
                <a:gd name="connsiteX1489" fmla="*/ 280299 w 9154202"/>
                <a:gd name="connsiteY1489" fmla="*/ 435258 h 2112317"/>
                <a:gd name="connsiteX1490" fmla="*/ 280797 w 9154202"/>
                <a:gd name="connsiteY1490" fmla="*/ 436650 h 2112317"/>
                <a:gd name="connsiteX1491" fmla="*/ 285082 w 9154202"/>
                <a:gd name="connsiteY1491" fmla="*/ 444808 h 2112317"/>
                <a:gd name="connsiteX1492" fmla="*/ 281893 w 9154202"/>
                <a:gd name="connsiteY1492" fmla="*/ 447494 h 2112317"/>
                <a:gd name="connsiteX1493" fmla="*/ 277509 w 9154202"/>
                <a:gd name="connsiteY1493" fmla="*/ 448489 h 2112317"/>
                <a:gd name="connsiteX1494" fmla="*/ 266149 w 9154202"/>
                <a:gd name="connsiteY1494" fmla="*/ 448489 h 2112317"/>
                <a:gd name="connsiteX1495" fmla="*/ 264754 w 9154202"/>
                <a:gd name="connsiteY1495" fmla="*/ 449285 h 2112317"/>
                <a:gd name="connsiteX1496" fmla="*/ 260968 w 9154202"/>
                <a:gd name="connsiteY1496" fmla="*/ 454061 h 2112317"/>
                <a:gd name="connsiteX1497" fmla="*/ 256683 w 9154202"/>
                <a:gd name="connsiteY1497" fmla="*/ 457841 h 2112317"/>
                <a:gd name="connsiteX1498" fmla="*/ 262761 w 9154202"/>
                <a:gd name="connsiteY1498" fmla="*/ 446500 h 2112317"/>
                <a:gd name="connsiteX1499" fmla="*/ 264057 w 9154202"/>
                <a:gd name="connsiteY1499" fmla="*/ 445405 h 2112317"/>
                <a:gd name="connsiteX1500" fmla="*/ 271530 w 9154202"/>
                <a:gd name="connsiteY1500" fmla="*/ 446102 h 2112317"/>
                <a:gd name="connsiteX1501" fmla="*/ 273822 w 9154202"/>
                <a:gd name="connsiteY1501" fmla="*/ 446102 h 2112317"/>
                <a:gd name="connsiteX1502" fmla="*/ 275516 w 9154202"/>
                <a:gd name="connsiteY1502" fmla="*/ 444709 h 2112317"/>
                <a:gd name="connsiteX1503" fmla="*/ 276512 w 9154202"/>
                <a:gd name="connsiteY1503" fmla="*/ 441525 h 2112317"/>
                <a:gd name="connsiteX1504" fmla="*/ 276512 w 9154202"/>
                <a:gd name="connsiteY1504" fmla="*/ 438640 h 2112317"/>
                <a:gd name="connsiteX1505" fmla="*/ 275317 w 9154202"/>
                <a:gd name="connsiteY1505" fmla="*/ 437048 h 2112317"/>
                <a:gd name="connsiteX1506" fmla="*/ 273224 w 9154202"/>
                <a:gd name="connsiteY1506" fmla="*/ 436451 h 2112317"/>
                <a:gd name="connsiteX1507" fmla="*/ 270534 w 9154202"/>
                <a:gd name="connsiteY1507" fmla="*/ 436451 h 2112317"/>
                <a:gd name="connsiteX1508" fmla="*/ 266448 w 9154202"/>
                <a:gd name="connsiteY1508" fmla="*/ 437944 h 2112317"/>
                <a:gd name="connsiteX1509" fmla="*/ 261964 w 9154202"/>
                <a:gd name="connsiteY1509" fmla="*/ 440630 h 2112317"/>
                <a:gd name="connsiteX1510" fmla="*/ 257879 w 9154202"/>
                <a:gd name="connsiteY1510" fmla="*/ 444112 h 2112317"/>
                <a:gd name="connsiteX1511" fmla="*/ 254890 w 9154202"/>
                <a:gd name="connsiteY1511" fmla="*/ 448290 h 2112317"/>
                <a:gd name="connsiteX1512" fmla="*/ 253694 w 9154202"/>
                <a:gd name="connsiteY1512" fmla="*/ 452867 h 2112317"/>
                <a:gd name="connsiteX1513" fmla="*/ 252299 w 9154202"/>
                <a:gd name="connsiteY1513" fmla="*/ 464208 h 2112317"/>
                <a:gd name="connsiteX1514" fmla="*/ 250406 w 9154202"/>
                <a:gd name="connsiteY1514" fmla="*/ 468486 h 2112317"/>
                <a:gd name="connsiteX1515" fmla="*/ 251402 w 9154202"/>
                <a:gd name="connsiteY1515" fmla="*/ 469780 h 2112317"/>
                <a:gd name="connsiteX1516" fmla="*/ 249011 w 9154202"/>
                <a:gd name="connsiteY1516" fmla="*/ 471371 h 2112317"/>
                <a:gd name="connsiteX1517" fmla="*/ 245523 w 9154202"/>
                <a:gd name="connsiteY1517" fmla="*/ 471371 h 2112317"/>
                <a:gd name="connsiteX1518" fmla="*/ 239146 w 9154202"/>
                <a:gd name="connsiteY1518" fmla="*/ 471073 h 2112317"/>
                <a:gd name="connsiteX1519" fmla="*/ 236954 w 9154202"/>
                <a:gd name="connsiteY1519" fmla="*/ 471769 h 2112317"/>
                <a:gd name="connsiteX1520" fmla="*/ 232569 w 9154202"/>
                <a:gd name="connsiteY1520" fmla="*/ 475152 h 2112317"/>
                <a:gd name="connsiteX1521" fmla="*/ 228384 w 9154202"/>
                <a:gd name="connsiteY1521" fmla="*/ 476843 h 2112317"/>
                <a:gd name="connsiteX1522" fmla="*/ 227089 w 9154202"/>
                <a:gd name="connsiteY1522" fmla="*/ 479131 h 2112317"/>
                <a:gd name="connsiteX1523" fmla="*/ 226192 w 9154202"/>
                <a:gd name="connsiteY1523" fmla="*/ 482216 h 2112317"/>
                <a:gd name="connsiteX1524" fmla="*/ 225694 w 9154202"/>
                <a:gd name="connsiteY1524" fmla="*/ 485399 h 2112317"/>
                <a:gd name="connsiteX1525" fmla="*/ 224797 w 9154202"/>
                <a:gd name="connsiteY1525" fmla="*/ 485399 h 2112317"/>
                <a:gd name="connsiteX1526" fmla="*/ 224199 w 9154202"/>
                <a:gd name="connsiteY1526" fmla="*/ 485399 h 2112317"/>
                <a:gd name="connsiteX1527" fmla="*/ 224199 w 9154202"/>
                <a:gd name="connsiteY1527" fmla="*/ 486295 h 2112317"/>
                <a:gd name="connsiteX1528" fmla="*/ 224199 w 9154202"/>
                <a:gd name="connsiteY1528" fmla="*/ 486991 h 2112317"/>
                <a:gd name="connsiteX1529" fmla="*/ 224797 w 9154202"/>
                <a:gd name="connsiteY1529" fmla="*/ 488981 h 2112317"/>
                <a:gd name="connsiteX1530" fmla="*/ 224797 w 9154202"/>
                <a:gd name="connsiteY1530" fmla="*/ 488981 h 2112317"/>
                <a:gd name="connsiteX1531" fmla="*/ 223203 w 9154202"/>
                <a:gd name="connsiteY1531" fmla="*/ 492761 h 2112317"/>
                <a:gd name="connsiteX1532" fmla="*/ 223203 w 9154202"/>
                <a:gd name="connsiteY1532" fmla="*/ 493657 h 2112317"/>
                <a:gd name="connsiteX1533" fmla="*/ 223203 w 9154202"/>
                <a:gd name="connsiteY1533" fmla="*/ 495547 h 2112317"/>
                <a:gd name="connsiteX1534" fmla="*/ 224398 w 9154202"/>
                <a:gd name="connsiteY1534" fmla="*/ 497835 h 2112317"/>
                <a:gd name="connsiteX1535" fmla="*/ 224398 w 9154202"/>
                <a:gd name="connsiteY1535" fmla="*/ 499029 h 2112317"/>
                <a:gd name="connsiteX1536" fmla="*/ 224398 w 9154202"/>
                <a:gd name="connsiteY1536" fmla="*/ 503705 h 2112317"/>
                <a:gd name="connsiteX1537" fmla="*/ 224398 w 9154202"/>
                <a:gd name="connsiteY1537" fmla="*/ 504998 h 2112317"/>
                <a:gd name="connsiteX1538" fmla="*/ 225196 w 9154202"/>
                <a:gd name="connsiteY1538" fmla="*/ 506093 h 2112317"/>
                <a:gd name="connsiteX1539" fmla="*/ 225694 w 9154202"/>
                <a:gd name="connsiteY1539" fmla="*/ 507286 h 2112317"/>
                <a:gd name="connsiteX1540" fmla="*/ 225694 w 9154202"/>
                <a:gd name="connsiteY1540" fmla="*/ 508480 h 2112317"/>
                <a:gd name="connsiteX1541" fmla="*/ 224897 w 9154202"/>
                <a:gd name="connsiteY1541" fmla="*/ 509873 h 2112317"/>
                <a:gd name="connsiteX1542" fmla="*/ 224897 w 9154202"/>
                <a:gd name="connsiteY1542" fmla="*/ 511166 h 2112317"/>
                <a:gd name="connsiteX1543" fmla="*/ 224897 w 9154202"/>
                <a:gd name="connsiteY1543" fmla="*/ 514350 h 2112317"/>
                <a:gd name="connsiteX1544" fmla="*/ 225395 w 9154202"/>
                <a:gd name="connsiteY1544" fmla="*/ 518330 h 2112317"/>
                <a:gd name="connsiteX1545" fmla="*/ 226591 w 9154202"/>
                <a:gd name="connsiteY1545" fmla="*/ 519921 h 2112317"/>
                <a:gd name="connsiteX1546" fmla="*/ 228285 w 9154202"/>
                <a:gd name="connsiteY1546" fmla="*/ 520916 h 2112317"/>
                <a:gd name="connsiteX1547" fmla="*/ 229979 w 9154202"/>
                <a:gd name="connsiteY1547" fmla="*/ 523204 h 2112317"/>
                <a:gd name="connsiteX1548" fmla="*/ 230477 w 9154202"/>
                <a:gd name="connsiteY1548" fmla="*/ 526388 h 2112317"/>
                <a:gd name="connsiteX1549" fmla="*/ 230477 w 9154202"/>
                <a:gd name="connsiteY1549" fmla="*/ 530765 h 2112317"/>
                <a:gd name="connsiteX1550" fmla="*/ 231374 w 9154202"/>
                <a:gd name="connsiteY1550" fmla="*/ 532556 h 2112317"/>
                <a:gd name="connsiteX1551" fmla="*/ 234363 w 9154202"/>
                <a:gd name="connsiteY1551" fmla="*/ 531561 h 2112317"/>
                <a:gd name="connsiteX1552" fmla="*/ 234363 w 9154202"/>
                <a:gd name="connsiteY1552" fmla="*/ 534148 h 2112317"/>
                <a:gd name="connsiteX1553" fmla="*/ 234861 w 9154202"/>
                <a:gd name="connsiteY1553" fmla="*/ 536138 h 2112317"/>
                <a:gd name="connsiteX1554" fmla="*/ 235459 w 9154202"/>
                <a:gd name="connsiteY1554" fmla="*/ 537929 h 2112317"/>
                <a:gd name="connsiteX1555" fmla="*/ 235957 w 9154202"/>
                <a:gd name="connsiteY1555" fmla="*/ 539918 h 2112317"/>
                <a:gd name="connsiteX1556" fmla="*/ 235957 w 9154202"/>
                <a:gd name="connsiteY1556" fmla="*/ 541112 h 2112317"/>
                <a:gd name="connsiteX1557" fmla="*/ 235160 w 9154202"/>
                <a:gd name="connsiteY1557" fmla="*/ 542008 h 2112317"/>
                <a:gd name="connsiteX1558" fmla="*/ 234662 w 9154202"/>
                <a:gd name="connsiteY1558" fmla="*/ 543002 h 2112317"/>
                <a:gd name="connsiteX1559" fmla="*/ 235459 w 9154202"/>
                <a:gd name="connsiteY1559" fmla="*/ 544594 h 2112317"/>
                <a:gd name="connsiteX1560" fmla="*/ 236057 w 9154202"/>
                <a:gd name="connsiteY1560" fmla="*/ 544594 h 2112317"/>
                <a:gd name="connsiteX1561" fmla="*/ 245324 w 9154202"/>
                <a:gd name="connsiteY1561" fmla="*/ 543002 h 2112317"/>
                <a:gd name="connsiteX1562" fmla="*/ 247616 w 9154202"/>
                <a:gd name="connsiteY1562" fmla="*/ 543002 h 2112317"/>
                <a:gd name="connsiteX1563" fmla="*/ 249409 w 9154202"/>
                <a:gd name="connsiteY1563" fmla="*/ 543898 h 2112317"/>
                <a:gd name="connsiteX1564" fmla="*/ 251502 w 9154202"/>
                <a:gd name="connsiteY1564" fmla="*/ 545888 h 2112317"/>
                <a:gd name="connsiteX1565" fmla="*/ 252797 w 9154202"/>
                <a:gd name="connsiteY1565" fmla="*/ 546484 h 2112317"/>
                <a:gd name="connsiteX1566" fmla="*/ 252797 w 9154202"/>
                <a:gd name="connsiteY1566" fmla="*/ 547579 h 2112317"/>
                <a:gd name="connsiteX1567" fmla="*/ 249110 w 9154202"/>
                <a:gd name="connsiteY1567" fmla="*/ 548673 h 2112317"/>
                <a:gd name="connsiteX1568" fmla="*/ 240939 w 9154202"/>
                <a:gd name="connsiteY1568" fmla="*/ 548673 h 2112317"/>
                <a:gd name="connsiteX1569" fmla="*/ 239146 w 9154202"/>
                <a:gd name="connsiteY1569" fmla="*/ 550663 h 2112317"/>
                <a:gd name="connsiteX1570" fmla="*/ 239744 w 9154202"/>
                <a:gd name="connsiteY1570" fmla="*/ 551658 h 2112317"/>
                <a:gd name="connsiteX1571" fmla="*/ 243430 w 9154202"/>
                <a:gd name="connsiteY1571" fmla="*/ 556533 h 2112317"/>
                <a:gd name="connsiteX1572" fmla="*/ 245224 w 9154202"/>
                <a:gd name="connsiteY1572" fmla="*/ 556533 h 2112317"/>
                <a:gd name="connsiteX1573" fmla="*/ 251203 w 9154202"/>
                <a:gd name="connsiteY1573" fmla="*/ 556533 h 2112317"/>
                <a:gd name="connsiteX1574" fmla="*/ 254192 w 9154202"/>
                <a:gd name="connsiteY1574" fmla="*/ 555637 h 2112317"/>
                <a:gd name="connsiteX1575" fmla="*/ 256783 w 9154202"/>
                <a:gd name="connsiteY1575" fmla="*/ 553349 h 2112317"/>
                <a:gd name="connsiteX1576" fmla="*/ 263260 w 9154202"/>
                <a:gd name="connsiteY1576" fmla="*/ 544793 h 2112317"/>
                <a:gd name="connsiteX1577" fmla="*/ 263858 w 9154202"/>
                <a:gd name="connsiteY1577" fmla="*/ 542107 h 2112317"/>
                <a:gd name="connsiteX1578" fmla="*/ 263060 w 9154202"/>
                <a:gd name="connsiteY1578" fmla="*/ 539620 h 2112317"/>
                <a:gd name="connsiteX1579" fmla="*/ 260868 w 9154202"/>
                <a:gd name="connsiteY1579" fmla="*/ 537730 h 2112317"/>
                <a:gd name="connsiteX1580" fmla="*/ 260868 w 9154202"/>
                <a:gd name="connsiteY1580" fmla="*/ 536436 h 2112317"/>
                <a:gd name="connsiteX1581" fmla="*/ 262861 w 9154202"/>
                <a:gd name="connsiteY1581" fmla="*/ 534347 h 2112317"/>
                <a:gd name="connsiteX1582" fmla="*/ 264854 w 9154202"/>
                <a:gd name="connsiteY1582" fmla="*/ 529174 h 2112317"/>
                <a:gd name="connsiteX1583" fmla="*/ 266548 w 9154202"/>
                <a:gd name="connsiteY1583" fmla="*/ 526487 h 2112317"/>
                <a:gd name="connsiteX1584" fmla="*/ 275018 w 9154202"/>
                <a:gd name="connsiteY1584" fmla="*/ 523503 h 2112317"/>
                <a:gd name="connsiteX1585" fmla="*/ 276413 w 9154202"/>
                <a:gd name="connsiteY1585" fmla="*/ 521613 h 2112317"/>
                <a:gd name="connsiteX1586" fmla="*/ 275317 w 9154202"/>
                <a:gd name="connsiteY1586" fmla="*/ 519424 h 2112317"/>
                <a:gd name="connsiteX1587" fmla="*/ 272427 w 9154202"/>
                <a:gd name="connsiteY1587" fmla="*/ 519424 h 2112317"/>
                <a:gd name="connsiteX1588" fmla="*/ 266050 w 9154202"/>
                <a:gd name="connsiteY1588" fmla="*/ 520220 h 2112317"/>
                <a:gd name="connsiteX1589" fmla="*/ 262961 w 9154202"/>
                <a:gd name="connsiteY1589" fmla="*/ 519523 h 2112317"/>
                <a:gd name="connsiteX1590" fmla="*/ 256982 w 9154202"/>
                <a:gd name="connsiteY1590" fmla="*/ 517335 h 2112317"/>
                <a:gd name="connsiteX1591" fmla="*/ 253893 w 9154202"/>
                <a:gd name="connsiteY1591" fmla="*/ 516738 h 2112317"/>
                <a:gd name="connsiteX1592" fmla="*/ 253893 w 9154202"/>
                <a:gd name="connsiteY1592" fmla="*/ 515444 h 2112317"/>
                <a:gd name="connsiteX1593" fmla="*/ 257580 w 9154202"/>
                <a:gd name="connsiteY1593" fmla="*/ 514052 h 2112317"/>
                <a:gd name="connsiteX1594" fmla="*/ 261765 w 9154202"/>
                <a:gd name="connsiteY1594" fmla="*/ 513355 h 2112317"/>
                <a:gd name="connsiteX1595" fmla="*/ 265950 w 9154202"/>
                <a:gd name="connsiteY1595" fmla="*/ 513355 h 2112317"/>
                <a:gd name="connsiteX1596" fmla="*/ 269537 w 9154202"/>
                <a:gd name="connsiteY1596" fmla="*/ 514648 h 2112317"/>
                <a:gd name="connsiteX1597" fmla="*/ 273224 w 9154202"/>
                <a:gd name="connsiteY1597" fmla="*/ 515444 h 2112317"/>
                <a:gd name="connsiteX1598" fmla="*/ 275317 w 9154202"/>
                <a:gd name="connsiteY1598" fmla="*/ 512858 h 2112317"/>
                <a:gd name="connsiteX1599" fmla="*/ 277409 w 9154202"/>
                <a:gd name="connsiteY1599" fmla="*/ 504600 h 2112317"/>
                <a:gd name="connsiteX1600" fmla="*/ 278206 w 9154202"/>
                <a:gd name="connsiteY1600" fmla="*/ 502412 h 2112317"/>
                <a:gd name="connsiteX1601" fmla="*/ 278804 w 9154202"/>
                <a:gd name="connsiteY1601" fmla="*/ 501914 h 2112317"/>
                <a:gd name="connsiteX1602" fmla="*/ 279701 w 9154202"/>
                <a:gd name="connsiteY1602" fmla="*/ 501914 h 2112317"/>
                <a:gd name="connsiteX1603" fmla="*/ 284982 w 9154202"/>
                <a:gd name="connsiteY1603" fmla="*/ 501914 h 2112317"/>
                <a:gd name="connsiteX1604" fmla="*/ 285779 w 9154202"/>
                <a:gd name="connsiteY1604" fmla="*/ 500919 h 2112317"/>
                <a:gd name="connsiteX1605" fmla="*/ 285779 w 9154202"/>
                <a:gd name="connsiteY1605" fmla="*/ 498233 h 2112317"/>
                <a:gd name="connsiteX1606" fmla="*/ 286377 w 9154202"/>
                <a:gd name="connsiteY1606" fmla="*/ 495248 h 2112317"/>
                <a:gd name="connsiteX1607" fmla="*/ 287772 w 9154202"/>
                <a:gd name="connsiteY1607" fmla="*/ 491567 h 2112317"/>
                <a:gd name="connsiteX1608" fmla="*/ 289466 w 9154202"/>
                <a:gd name="connsiteY1608" fmla="*/ 488185 h 2112317"/>
                <a:gd name="connsiteX1609" fmla="*/ 291060 w 9154202"/>
                <a:gd name="connsiteY1609" fmla="*/ 485897 h 2112317"/>
                <a:gd name="connsiteX1610" fmla="*/ 292655 w 9154202"/>
                <a:gd name="connsiteY1610" fmla="*/ 488185 h 2112317"/>
                <a:gd name="connsiteX1611" fmla="*/ 289865 w 9154202"/>
                <a:gd name="connsiteY1611" fmla="*/ 500919 h 2112317"/>
                <a:gd name="connsiteX1612" fmla="*/ 288270 w 9154202"/>
                <a:gd name="connsiteY1612" fmla="*/ 502909 h 2112317"/>
                <a:gd name="connsiteX1613" fmla="*/ 286776 w 9154202"/>
                <a:gd name="connsiteY1613" fmla="*/ 502909 h 2112317"/>
                <a:gd name="connsiteX1614" fmla="*/ 282292 w 9154202"/>
                <a:gd name="connsiteY1614" fmla="*/ 504302 h 2112317"/>
                <a:gd name="connsiteX1615" fmla="*/ 280996 w 9154202"/>
                <a:gd name="connsiteY1615" fmla="*/ 505098 h 2112317"/>
                <a:gd name="connsiteX1616" fmla="*/ 280996 w 9154202"/>
                <a:gd name="connsiteY1616" fmla="*/ 506690 h 2112317"/>
                <a:gd name="connsiteX1617" fmla="*/ 280996 w 9154202"/>
                <a:gd name="connsiteY1617" fmla="*/ 513455 h 2112317"/>
                <a:gd name="connsiteX1618" fmla="*/ 281694 w 9154202"/>
                <a:gd name="connsiteY1618" fmla="*/ 513455 h 2112317"/>
                <a:gd name="connsiteX1619" fmla="*/ 281694 w 9154202"/>
                <a:gd name="connsiteY1619" fmla="*/ 514350 h 2112317"/>
                <a:gd name="connsiteX1620" fmla="*/ 281694 w 9154202"/>
                <a:gd name="connsiteY1620" fmla="*/ 514947 h 2112317"/>
                <a:gd name="connsiteX1621" fmla="*/ 280797 w 9154202"/>
                <a:gd name="connsiteY1621" fmla="*/ 515842 h 2112317"/>
                <a:gd name="connsiteX1622" fmla="*/ 280797 w 9154202"/>
                <a:gd name="connsiteY1622" fmla="*/ 515842 h 2112317"/>
                <a:gd name="connsiteX1623" fmla="*/ 280797 w 9154202"/>
                <a:gd name="connsiteY1623" fmla="*/ 515842 h 2112317"/>
                <a:gd name="connsiteX1624" fmla="*/ 280797 w 9154202"/>
                <a:gd name="connsiteY1624" fmla="*/ 516439 h 2112317"/>
                <a:gd name="connsiteX1625" fmla="*/ 280000 w 9154202"/>
                <a:gd name="connsiteY1625" fmla="*/ 516439 h 2112317"/>
                <a:gd name="connsiteX1626" fmla="*/ 282989 w 9154202"/>
                <a:gd name="connsiteY1626" fmla="*/ 518926 h 2112317"/>
                <a:gd name="connsiteX1627" fmla="*/ 287672 w 9154202"/>
                <a:gd name="connsiteY1627" fmla="*/ 518926 h 2112317"/>
                <a:gd name="connsiteX1628" fmla="*/ 291658 w 9154202"/>
                <a:gd name="connsiteY1628" fmla="*/ 516439 h 2112317"/>
                <a:gd name="connsiteX1629" fmla="*/ 292256 w 9154202"/>
                <a:gd name="connsiteY1629" fmla="*/ 512062 h 2112317"/>
                <a:gd name="connsiteX1630" fmla="*/ 294946 w 9154202"/>
                <a:gd name="connsiteY1630" fmla="*/ 512062 h 2112317"/>
                <a:gd name="connsiteX1631" fmla="*/ 300527 w 9154202"/>
                <a:gd name="connsiteY1631" fmla="*/ 515544 h 2112317"/>
                <a:gd name="connsiteX1632" fmla="*/ 303815 w 9154202"/>
                <a:gd name="connsiteY1632" fmla="*/ 516340 h 2112317"/>
                <a:gd name="connsiteX1633" fmla="*/ 324441 w 9154202"/>
                <a:gd name="connsiteY1633" fmla="*/ 513256 h 2112317"/>
                <a:gd name="connsiteX1634" fmla="*/ 374263 w 9154202"/>
                <a:gd name="connsiteY1634" fmla="*/ 519921 h 2112317"/>
                <a:gd name="connsiteX1635" fmla="*/ 376954 w 9154202"/>
                <a:gd name="connsiteY1635" fmla="*/ 515245 h 2112317"/>
                <a:gd name="connsiteX1636" fmla="*/ 378448 w 9154202"/>
                <a:gd name="connsiteY1636" fmla="*/ 514151 h 2112317"/>
                <a:gd name="connsiteX1637" fmla="*/ 379744 w 9154202"/>
                <a:gd name="connsiteY1637" fmla="*/ 514151 h 2112317"/>
                <a:gd name="connsiteX1638" fmla="*/ 380740 w 9154202"/>
                <a:gd name="connsiteY1638" fmla="*/ 513256 h 2112317"/>
                <a:gd name="connsiteX1639" fmla="*/ 380740 w 9154202"/>
                <a:gd name="connsiteY1639" fmla="*/ 510967 h 2112317"/>
                <a:gd name="connsiteX1640" fmla="*/ 380142 w 9154202"/>
                <a:gd name="connsiteY1640" fmla="*/ 508381 h 2112317"/>
                <a:gd name="connsiteX1641" fmla="*/ 378648 w 9154202"/>
                <a:gd name="connsiteY1641" fmla="*/ 506491 h 2112317"/>
                <a:gd name="connsiteX1642" fmla="*/ 377850 w 9154202"/>
                <a:gd name="connsiteY1642" fmla="*/ 503605 h 2112317"/>
                <a:gd name="connsiteX1643" fmla="*/ 378946 w 9154202"/>
                <a:gd name="connsiteY1643" fmla="*/ 499825 h 2112317"/>
                <a:gd name="connsiteX1644" fmla="*/ 378946 w 9154202"/>
                <a:gd name="connsiteY1644" fmla="*/ 499228 h 2112317"/>
                <a:gd name="connsiteX1645" fmla="*/ 378946 w 9154202"/>
                <a:gd name="connsiteY1645" fmla="*/ 498631 h 2112317"/>
                <a:gd name="connsiteX1646" fmla="*/ 378946 w 9154202"/>
                <a:gd name="connsiteY1646" fmla="*/ 497338 h 2112317"/>
                <a:gd name="connsiteX1647" fmla="*/ 380043 w 9154202"/>
                <a:gd name="connsiteY1647" fmla="*/ 498929 h 2112317"/>
                <a:gd name="connsiteX1648" fmla="*/ 381438 w 9154202"/>
                <a:gd name="connsiteY1648" fmla="*/ 500621 h 2112317"/>
                <a:gd name="connsiteX1649" fmla="*/ 382534 w 9154202"/>
                <a:gd name="connsiteY1649" fmla="*/ 502412 h 2112317"/>
                <a:gd name="connsiteX1650" fmla="*/ 382534 w 9154202"/>
                <a:gd name="connsiteY1650" fmla="*/ 504401 h 2112317"/>
                <a:gd name="connsiteX1651" fmla="*/ 386818 w 9154202"/>
                <a:gd name="connsiteY1651" fmla="*/ 512659 h 2112317"/>
                <a:gd name="connsiteX1652" fmla="*/ 385822 w 9154202"/>
                <a:gd name="connsiteY1652" fmla="*/ 513753 h 2112317"/>
                <a:gd name="connsiteX1653" fmla="*/ 385224 w 9154202"/>
                <a:gd name="connsiteY1653" fmla="*/ 515444 h 2112317"/>
                <a:gd name="connsiteX1654" fmla="*/ 385224 w 9154202"/>
                <a:gd name="connsiteY1654" fmla="*/ 517335 h 2112317"/>
                <a:gd name="connsiteX1655" fmla="*/ 384726 w 9154202"/>
                <a:gd name="connsiteY1655" fmla="*/ 518727 h 2112317"/>
                <a:gd name="connsiteX1656" fmla="*/ 383929 w 9154202"/>
                <a:gd name="connsiteY1656" fmla="*/ 518727 h 2112317"/>
                <a:gd name="connsiteX1657" fmla="*/ 381637 w 9154202"/>
                <a:gd name="connsiteY1657" fmla="*/ 518727 h 2112317"/>
                <a:gd name="connsiteX1658" fmla="*/ 381637 w 9154202"/>
                <a:gd name="connsiteY1658" fmla="*/ 519424 h 2112317"/>
                <a:gd name="connsiteX1659" fmla="*/ 381637 w 9154202"/>
                <a:gd name="connsiteY1659" fmla="*/ 522011 h 2112317"/>
                <a:gd name="connsiteX1660" fmla="*/ 381637 w 9154202"/>
                <a:gd name="connsiteY1660" fmla="*/ 522806 h 2112317"/>
                <a:gd name="connsiteX1661" fmla="*/ 378847 w 9154202"/>
                <a:gd name="connsiteY1661" fmla="*/ 524498 h 2112317"/>
                <a:gd name="connsiteX1662" fmla="*/ 374761 w 9154202"/>
                <a:gd name="connsiteY1662" fmla="*/ 524498 h 2112317"/>
                <a:gd name="connsiteX1663" fmla="*/ 330320 w 9154202"/>
                <a:gd name="connsiteY1663" fmla="*/ 520817 h 2112317"/>
                <a:gd name="connsiteX1664" fmla="*/ 295744 w 9154202"/>
                <a:gd name="connsiteY1664" fmla="*/ 523105 h 2112317"/>
                <a:gd name="connsiteX1665" fmla="*/ 276512 w 9154202"/>
                <a:gd name="connsiteY1665" fmla="*/ 527781 h 2112317"/>
                <a:gd name="connsiteX1666" fmla="*/ 273423 w 9154202"/>
                <a:gd name="connsiteY1666" fmla="*/ 529174 h 2112317"/>
                <a:gd name="connsiteX1667" fmla="*/ 270932 w 9154202"/>
                <a:gd name="connsiteY1667" fmla="*/ 531462 h 2112317"/>
                <a:gd name="connsiteX1668" fmla="*/ 269737 w 9154202"/>
                <a:gd name="connsiteY1668" fmla="*/ 534546 h 2112317"/>
                <a:gd name="connsiteX1669" fmla="*/ 269737 w 9154202"/>
                <a:gd name="connsiteY1669" fmla="*/ 537929 h 2112317"/>
                <a:gd name="connsiteX1670" fmla="*/ 270334 w 9154202"/>
                <a:gd name="connsiteY1670" fmla="*/ 541411 h 2112317"/>
                <a:gd name="connsiteX1671" fmla="*/ 270334 w 9154202"/>
                <a:gd name="connsiteY1671" fmla="*/ 544992 h 2112317"/>
                <a:gd name="connsiteX1672" fmla="*/ 269537 w 9154202"/>
                <a:gd name="connsiteY1672" fmla="*/ 547181 h 2112317"/>
                <a:gd name="connsiteX1673" fmla="*/ 268242 w 9154202"/>
                <a:gd name="connsiteY1673" fmla="*/ 548275 h 2112317"/>
                <a:gd name="connsiteX1674" fmla="*/ 266847 w 9154202"/>
                <a:gd name="connsiteY1674" fmla="*/ 549071 h 2112317"/>
                <a:gd name="connsiteX1675" fmla="*/ 265551 w 9154202"/>
                <a:gd name="connsiteY1675" fmla="*/ 550364 h 2112317"/>
                <a:gd name="connsiteX1676" fmla="*/ 265551 w 9154202"/>
                <a:gd name="connsiteY1676" fmla="*/ 551757 h 2112317"/>
                <a:gd name="connsiteX1677" fmla="*/ 265551 w 9154202"/>
                <a:gd name="connsiteY1677" fmla="*/ 553548 h 2112317"/>
                <a:gd name="connsiteX1678" fmla="*/ 265551 w 9154202"/>
                <a:gd name="connsiteY1678" fmla="*/ 554941 h 2112317"/>
                <a:gd name="connsiteX1679" fmla="*/ 264555 w 9154202"/>
                <a:gd name="connsiteY1679" fmla="*/ 555538 h 2112317"/>
                <a:gd name="connsiteX1680" fmla="*/ 261366 w 9154202"/>
                <a:gd name="connsiteY1680" fmla="*/ 555538 h 2112317"/>
                <a:gd name="connsiteX1681" fmla="*/ 258875 w 9154202"/>
                <a:gd name="connsiteY1681" fmla="*/ 556931 h 2112317"/>
                <a:gd name="connsiteX1682" fmla="*/ 256783 w 9154202"/>
                <a:gd name="connsiteY1682" fmla="*/ 559219 h 2112317"/>
                <a:gd name="connsiteX1683" fmla="*/ 251302 w 9154202"/>
                <a:gd name="connsiteY1683" fmla="*/ 566979 h 2112317"/>
                <a:gd name="connsiteX1684" fmla="*/ 249310 w 9154202"/>
                <a:gd name="connsiteY1684" fmla="*/ 567874 h 2112317"/>
                <a:gd name="connsiteX1685" fmla="*/ 245822 w 9154202"/>
                <a:gd name="connsiteY1685" fmla="*/ 567874 h 2112317"/>
                <a:gd name="connsiteX1686" fmla="*/ 243132 w 9154202"/>
                <a:gd name="connsiteY1686" fmla="*/ 568471 h 2112317"/>
                <a:gd name="connsiteX1687" fmla="*/ 239744 w 9154202"/>
                <a:gd name="connsiteY1687" fmla="*/ 570063 h 2112317"/>
                <a:gd name="connsiteX1688" fmla="*/ 236854 w 9154202"/>
                <a:gd name="connsiteY1688" fmla="*/ 572351 h 2112317"/>
                <a:gd name="connsiteX1689" fmla="*/ 235459 w 9154202"/>
                <a:gd name="connsiteY1689" fmla="*/ 574938 h 2112317"/>
                <a:gd name="connsiteX1690" fmla="*/ 236655 w 9154202"/>
                <a:gd name="connsiteY1690" fmla="*/ 578221 h 2112317"/>
                <a:gd name="connsiteX1691" fmla="*/ 240242 w 9154202"/>
                <a:gd name="connsiteY1691" fmla="*/ 579713 h 2112317"/>
                <a:gd name="connsiteX1692" fmla="*/ 244028 w 9154202"/>
                <a:gd name="connsiteY1692" fmla="*/ 579713 h 2112317"/>
                <a:gd name="connsiteX1693" fmla="*/ 246320 w 9154202"/>
                <a:gd name="connsiteY1693" fmla="*/ 578917 h 2112317"/>
                <a:gd name="connsiteX1694" fmla="*/ 249210 w 9154202"/>
                <a:gd name="connsiteY1694" fmla="*/ 577226 h 2112317"/>
                <a:gd name="connsiteX1695" fmla="*/ 253295 w 9154202"/>
                <a:gd name="connsiteY1695" fmla="*/ 577226 h 2112317"/>
                <a:gd name="connsiteX1696" fmla="*/ 260669 w 9154202"/>
                <a:gd name="connsiteY1696" fmla="*/ 578420 h 2112317"/>
                <a:gd name="connsiteX1697" fmla="*/ 264156 w 9154202"/>
                <a:gd name="connsiteY1697" fmla="*/ 577724 h 2112317"/>
                <a:gd name="connsiteX1698" fmla="*/ 270434 w 9154202"/>
                <a:gd name="connsiteY1698" fmla="*/ 574341 h 2112317"/>
                <a:gd name="connsiteX1699" fmla="*/ 274121 w 9154202"/>
                <a:gd name="connsiteY1699" fmla="*/ 573645 h 2112317"/>
                <a:gd name="connsiteX1700" fmla="*/ 276612 w 9154202"/>
                <a:gd name="connsiteY1700" fmla="*/ 574341 h 2112317"/>
                <a:gd name="connsiteX1701" fmla="*/ 275715 w 9154202"/>
                <a:gd name="connsiteY1701" fmla="*/ 576132 h 2112317"/>
                <a:gd name="connsiteX1702" fmla="*/ 272925 w 9154202"/>
                <a:gd name="connsiteY1702" fmla="*/ 578121 h 2112317"/>
                <a:gd name="connsiteX1703" fmla="*/ 270235 w 9154202"/>
                <a:gd name="connsiteY1703" fmla="*/ 579614 h 2112317"/>
                <a:gd name="connsiteX1704" fmla="*/ 270235 w 9154202"/>
                <a:gd name="connsiteY1704" fmla="*/ 580708 h 2112317"/>
                <a:gd name="connsiteX1705" fmla="*/ 300128 w 9154202"/>
                <a:gd name="connsiteY1705" fmla="*/ 583096 h 2112317"/>
                <a:gd name="connsiteX1706" fmla="*/ 303416 w 9154202"/>
                <a:gd name="connsiteY1706" fmla="*/ 582001 h 2112317"/>
                <a:gd name="connsiteX1707" fmla="*/ 310391 w 9154202"/>
                <a:gd name="connsiteY1707" fmla="*/ 578121 h 2112317"/>
                <a:gd name="connsiteX1708" fmla="*/ 313480 w 9154202"/>
                <a:gd name="connsiteY1708" fmla="*/ 577226 h 2112317"/>
                <a:gd name="connsiteX1709" fmla="*/ 314875 w 9154202"/>
                <a:gd name="connsiteY1709" fmla="*/ 575833 h 2112317"/>
                <a:gd name="connsiteX1710" fmla="*/ 318961 w 9154202"/>
                <a:gd name="connsiteY1710" fmla="*/ 568969 h 2112317"/>
                <a:gd name="connsiteX1711" fmla="*/ 320954 w 9154202"/>
                <a:gd name="connsiteY1711" fmla="*/ 566581 h 2112317"/>
                <a:gd name="connsiteX1712" fmla="*/ 320954 w 9154202"/>
                <a:gd name="connsiteY1712" fmla="*/ 569367 h 2112317"/>
                <a:gd name="connsiteX1713" fmla="*/ 320954 w 9154202"/>
                <a:gd name="connsiteY1713" fmla="*/ 573147 h 2112317"/>
                <a:gd name="connsiteX1714" fmla="*/ 319857 w 9154202"/>
                <a:gd name="connsiteY1714" fmla="*/ 576828 h 2112317"/>
                <a:gd name="connsiteX1715" fmla="*/ 318363 w 9154202"/>
                <a:gd name="connsiteY1715" fmla="*/ 579614 h 2112317"/>
                <a:gd name="connsiteX1716" fmla="*/ 317466 w 9154202"/>
                <a:gd name="connsiteY1716" fmla="*/ 580211 h 2112317"/>
                <a:gd name="connsiteX1717" fmla="*/ 313181 w 9154202"/>
                <a:gd name="connsiteY1717" fmla="*/ 581902 h 2112317"/>
                <a:gd name="connsiteX1718" fmla="*/ 307900 w 9154202"/>
                <a:gd name="connsiteY1718" fmla="*/ 585384 h 2112317"/>
                <a:gd name="connsiteX1719" fmla="*/ 287971 w 9154202"/>
                <a:gd name="connsiteY1719" fmla="*/ 587772 h 2112317"/>
                <a:gd name="connsiteX1720" fmla="*/ 286776 w 9154202"/>
                <a:gd name="connsiteY1720" fmla="*/ 587274 h 2112317"/>
                <a:gd name="connsiteX1721" fmla="*/ 284484 w 9154202"/>
                <a:gd name="connsiteY1721" fmla="*/ 585683 h 2112317"/>
                <a:gd name="connsiteX1722" fmla="*/ 283188 w 9154202"/>
                <a:gd name="connsiteY1722" fmla="*/ 585683 h 2112317"/>
                <a:gd name="connsiteX1723" fmla="*/ 263260 w 9154202"/>
                <a:gd name="connsiteY1723" fmla="*/ 583693 h 2112317"/>
                <a:gd name="connsiteX1724" fmla="*/ 258676 w 9154202"/>
                <a:gd name="connsiteY1724" fmla="*/ 586279 h 2112317"/>
                <a:gd name="connsiteX1725" fmla="*/ 256285 w 9154202"/>
                <a:gd name="connsiteY1725" fmla="*/ 588070 h 2112317"/>
                <a:gd name="connsiteX1726" fmla="*/ 242334 w 9154202"/>
                <a:gd name="connsiteY1726" fmla="*/ 591055 h 2112317"/>
                <a:gd name="connsiteX1727" fmla="*/ 240142 w 9154202"/>
                <a:gd name="connsiteY1727" fmla="*/ 592448 h 2112317"/>
                <a:gd name="connsiteX1728" fmla="*/ 238050 w 9154202"/>
                <a:gd name="connsiteY1728" fmla="*/ 594039 h 2112317"/>
                <a:gd name="connsiteX1729" fmla="*/ 235658 w 9154202"/>
                <a:gd name="connsiteY1729" fmla="*/ 595233 h 2112317"/>
                <a:gd name="connsiteX1730" fmla="*/ 235658 w 9154202"/>
                <a:gd name="connsiteY1730" fmla="*/ 597522 h 2112317"/>
                <a:gd name="connsiteX1731" fmla="*/ 235060 w 9154202"/>
                <a:gd name="connsiteY1731" fmla="*/ 599412 h 2112317"/>
                <a:gd name="connsiteX1732" fmla="*/ 235060 w 9154202"/>
                <a:gd name="connsiteY1732" fmla="*/ 601302 h 2112317"/>
                <a:gd name="connsiteX1733" fmla="*/ 236455 w 9154202"/>
                <a:gd name="connsiteY1733" fmla="*/ 603391 h 2112317"/>
                <a:gd name="connsiteX1734" fmla="*/ 237253 w 9154202"/>
                <a:gd name="connsiteY1734" fmla="*/ 606575 h 2112317"/>
                <a:gd name="connsiteX1735" fmla="*/ 248313 w 9154202"/>
                <a:gd name="connsiteY1735" fmla="*/ 613141 h 2112317"/>
                <a:gd name="connsiteX1736" fmla="*/ 248313 w 9154202"/>
                <a:gd name="connsiteY1736" fmla="*/ 616424 h 2112317"/>
                <a:gd name="connsiteX1737" fmla="*/ 251402 w 9154202"/>
                <a:gd name="connsiteY1737" fmla="*/ 618613 h 2112317"/>
                <a:gd name="connsiteX1738" fmla="*/ 254890 w 9154202"/>
                <a:gd name="connsiteY1738" fmla="*/ 618613 h 2112317"/>
                <a:gd name="connsiteX1739" fmla="*/ 264854 w 9154202"/>
                <a:gd name="connsiteY1739" fmla="*/ 616623 h 2112317"/>
                <a:gd name="connsiteX1740" fmla="*/ 268142 w 9154202"/>
                <a:gd name="connsiteY1740" fmla="*/ 615230 h 2112317"/>
                <a:gd name="connsiteX1741" fmla="*/ 271231 w 9154202"/>
                <a:gd name="connsiteY1741" fmla="*/ 614633 h 2112317"/>
                <a:gd name="connsiteX1742" fmla="*/ 273922 w 9154202"/>
                <a:gd name="connsiteY1742" fmla="*/ 616325 h 2112317"/>
                <a:gd name="connsiteX1743" fmla="*/ 273922 w 9154202"/>
                <a:gd name="connsiteY1743" fmla="*/ 617419 h 2112317"/>
                <a:gd name="connsiteX1744" fmla="*/ 271530 w 9154202"/>
                <a:gd name="connsiteY1744" fmla="*/ 618812 h 2112317"/>
                <a:gd name="connsiteX1745" fmla="*/ 270235 w 9154202"/>
                <a:gd name="connsiteY1745" fmla="*/ 622990 h 2112317"/>
                <a:gd name="connsiteX1746" fmla="*/ 269139 w 9154202"/>
                <a:gd name="connsiteY1746" fmla="*/ 628064 h 2112317"/>
                <a:gd name="connsiteX1747" fmla="*/ 267445 w 9154202"/>
                <a:gd name="connsiteY1747" fmla="*/ 632044 h 2112317"/>
                <a:gd name="connsiteX1748" fmla="*/ 267445 w 9154202"/>
                <a:gd name="connsiteY1748" fmla="*/ 634531 h 2112317"/>
                <a:gd name="connsiteX1749" fmla="*/ 270534 w 9154202"/>
                <a:gd name="connsiteY1749" fmla="*/ 636720 h 2112317"/>
                <a:gd name="connsiteX1750" fmla="*/ 274719 w 9154202"/>
                <a:gd name="connsiteY1750" fmla="*/ 637913 h 2112317"/>
                <a:gd name="connsiteX1751" fmla="*/ 278107 w 9154202"/>
                <a:gd name="connsiteY1751" fmla="*/ 637416 h 2112317"/>
                <a:gd name="connsiteX1752" fmla="*/ 277210 w 9154202"/>
                <a:gd name="connsiteY1752" fmla="*/ 637416 h 2112317"/>
                <a:gd name="connsiteX1753" fmla="*/ 278505 w 9154202"/>
                <a:gd name="connsiteY1753" fmla="*/ 637416 h 2112317"/>
                <a:gd name="connsiteX1754" fmla="*/ 279801 w 9154202"/>
                <a:gd name="connsiteY1754" fmla="*/ 637416 h 2112317"/>
                <a:gd name="connsiteX1755" fmla="*/ 280996 w 9154202"/>
                <a:gd name="connsiteY1755" fmla="*/ 638013 h 2112317"/>
                <a:gd name="connsiteX1756" fmla="*/ 281993 w 9154202"/>
                <a:gd name="connsiteY1756" fmla="*/ 639207 h 2112317"/>
                <a:gd name="connsiteX1757" fmla="*/ 281993 w 9154202"/>
                <a:gd name="connsiteY1757" fmla="*/ 640202 h 2112317"/>
                <a:gd name="connsiteX1758" fmla="*/ 280797 w 9154202"/>
                <a:gd name="connsiteY1758" fmla="*/ 641396 h 2112317"/>
                <a:gd name="connsiteX1759" fmla="*/ 278206 w 9154202"/>
                <a:gd name="connsiteY1759" fmla="*/ 643087 h 2112317"/>
                <a:gd name="connsiteX1760" fmla="*/ 280398 w 9154202"/>
                <a:gd name="connsiteY1760" fmla="*/ 644878 h 2112317"/>
                <a:gd name="connsiteX1761" fmla="*/ 293053 w 9154202"/>
                <a:gd name="connsiteY1761" fmla="*/ 649553 h 2112317"/>
                <a:gd name="connsiteX1762" fmla="*/ 295445 w 9154202"/>
                <a:gd name="connsiteY1762" fmla="*/ 650051 h 2112317"/>
                <a:gd name="connsiteX1763" fmla="*/ 298633 w 9154202"/>
                <a:gd name="connsiteY1763" fmla="*/ 650051 h 2112317"/>
                <a:gd name="connsiteX1764" fmla="*/ 299530 w 9154202"/>
                <a:gd name="connsiteY1764" fmla="*/ 650051 h 2112317"/>
                <a:gd name="connsiteX1765" fmla="*/ 301423 w 9154202"/>
                <a:gd name="connsiteY1765" fmla="*/ 649156 h 2112317"/>
                <a:gd name="connsiteX1766" fmla="*/ 302420 w 9154202"/>
                <a:gd name="connsiteY1766" fmla="*/ 649156 h 2112317"/>
                <a:gd name="connsiteX1767" fmla="*/ 303317 w 9154202"/>
                <a:gd name="connsiteY1767" fmla="*/ 652538 h 2112317"/>
                <a:gd name="connsiteX1768" fmla="*/ 306406 w 9154202"/>
                <a:gd name="connsiteY1768" fmla="*/ 655423 h 2112317"/>
                <a:gd name="connsiteX1769" fmla="*/ 307701 w 9154202"/>
                <a:gd name="connsiteY1769" fmla="*/ 656120 h 2112317"/>
                <a:gd name="connsiteX1770" fmla="*/ 318263 w 9154202"/>
                <a:gd name="connsiteY1770" fmla="*/ 658010 h 2112317"/>
                <a:gd name="connsiteX1771" fmla="*/ 326235 w 9154202"/>
                <a:gd name="connsiteY1771" fmla="*/ 664079 h 2112317"/>
                <a:gd name="connsiteX1772" fmla="*/ 326833 w 9154202"/>
                <a:gd name="connsiteY1772" fmla="*/ 664079 h 2112317"/>
                <a:gd name="connsiteX1773" fmla="*/ 328825 w 9154202"/>
                <a:gd name="connsiteY1773" fmla="*/ 664079 h 2112317"/>
                <a:gd name="connsiteX1774" fmla="*/ 330320 w 9154202"/>
                <a:gd name="connsiteY1774" fmla="*/ 663283 h 2112317"/>
                <a:gd name="connsiteX1775" fmla="*/ 332512 w 9154202"/>
                <a:gd name="connsiteY1775" fmla="*/ 663283 h 2112317"/>
                <a:gd name="connsiteX1776" fmla="*/ 336000 w 9154202"/>
                <a:gd name="connsiteY1776" fmla="*/ 663283 h 2112317"/>
                <a:gd name="connsiteX1777" fmla="*/ 340783 w 9154202"/>
                <a:gd name="connsiteY1777" fmla="*/ 658607 h 2112317"/>
                <a:gd name="connsiteX1778" fmla="*/ 343473 w 9154202"/>
                <a:gd name="connsiteY1778" fmla="*/ 657413 h 2112317"/>
                <a:gd name="connsiteX1779" fmla="*/ 345267 w 9154202"/>
                <a:gd name="connsiteY1779" fmla="*/ 657413 h 2112317"/>
                <a:gd name="connsiteX1780" fmla="*/ 345267 w 9154202"/>
                <a:gd name="connsiteY1780" fmla="*/ 656617 h 2112317"/>
                <a:gd name="connsiteX1781" fmla="*/ 343573 w 9154202"/>
                <a:gd name="connsiteY1781" fmla="*/ 655821 h 2112317"/>
                <a:gd name="connsiteX1782" fmla="*/ 341779 w 9154202"/>
                <a:gd name="connsiteY1782" fmla="*/ 655821 h 2112317"/>
                <a:gd name="connsiteX1783" fmla="*/ 334804 w 9154202"/>
                <a:gd name="connsiteY1783" fmla="*/ 655821 h 2112317"/>
                <a:gd name="connsiteX1784" fmla="*/ 331516 w 9154202"/>
                <a:gd name="connsiteY1784" fmla="*/ 655125 h 2112317"/>
                <a:gd name="connsiteX1785" fmla="*/ 325139 w 9154202"/>
                <a:gd name="connsiteY1785" fmla="*/ 652836 h 2112317"/>
                <a:gd name="connsiteX1786" fmla="*/ 319459 w 9154202"/>
                <a:gd name="connsiteY1786" fmla="*/ 651842 h 2112317"/>
                <a:gd name="connsiteX1787" fmla="*/ 315971 w 9154202"/>
                <a:gd name="connsiteY1787" fmla="*/ 650150 h 2112317"/>
                <a:gd name="connsiteX1788" fmla="*/ 313779 w 9154202"/>
                <a:gd name="connsiteY1788" fmla="*/ 648360 h 2112317"/>
                <a:gd name="connsiteX1789" fmla="*/ 314776 w 9154202"/>
                <a:gd name="connsiteY1789" fmla="*/ 646071 h 2112317"/>
                <a:gd name="connsiteX1790" fmla="*/ 316569 w 9154202"/>
                <a:gd name="connsiteY1790" fmla="*/ 647166 h 2112317"/>
                <a:gd name="connsiteX1791" fmla="*/ 318562 w 9154202"/>
                <a:gd name="connsiteY1791" fmla="*/ 647166 h 2112317"/>
                <a:gd name="connsiteX1792" fmla="*/ 321751 w 9154202"/>
                <a:gd name="connsiteY1792" fmla="*/ 647166 h 2112317"/>
                <a:gd name="connsiteX1793" fmla="*/ 325637 w 9154202"/>
                <a:gd name="connsiteY1793" fmla="*/ 647962 h 2112317"/>
                <a:gd name="connsiteX1794" fmla="*/ 327630 w 9154202"/>
                <a:gd name="connsiteY1794" fmla="*/ 648758 h 2112317"/>
                <a:gd name="connsiteX1795" fmla="*/ 328825 w 9154202"/>
                <a:gd name="connsiteY1795" fmla="*/ 650150 h 2112317"/>
                <a:gd name="connsiteX1796" fmla="*/ 331914 w 9154202"/>
                <a:gd name="connsiteY1796" fmla="*/ 651643 h 2112317"/>
                <a:gd name="connsiteX1797" fmla="*/ 348754 w 9154202"/>
                <a:gd name="connsiteY1797" fmla="*/ 651643 h 2112317"/>
                <a:gd name="connsiteX1798" fmla="*/ 349651 w 9154202"/>
                <a:gd name="connsiteY1798" fmla="*/ 650747 h 2112317"/>
                <a:gd name="connsiteX1799" fmla="*/ 349651 w 9154202"/>
                <a:gd name="connsiteY1799" fmla="*/ 649354 h 2112317"/>
                <a:gd name="connsiteX1800" fmla="*/ 351046 w 9154202"/>
                <a:gd name="connsiteY1800" fmla="*/ 647464 h 2112317"/>
                <a:gd name="connsiteX1801" fmla="*/ 352142 w 9154202"/>
                <a:gd name="connsiteY1801" fmla="*/ 646270 h 2112317"/>
                <a:gd name="connsiteX1802" fmla="*/ 353537 w 9154202"/>
                <a:gd name="connsiteY1802" fmla="*/ 645474 h 2112317"/>
                <a:gd name="connsiteX1803" fmla="*/ 355132 w 9154202"/>
                <a:gd name="connsiteY1803" fmla="*/ 645474 h 2112317"/>
                <a:gd name="connsiteX1804" fmla="*/ 356726 w 9154202"/>
                <a:gd name="connsiteY1804" fmla="*/ 646768 h 2112317"/>
                <a:gd name="connsiteX1805" fmla="*/ 359018 w 9154202"/>
                <a:gd name="connsiteY1805" fmla="*/ 649752 h 2112317"/>
                <a:gd name="connsiteX1806" fmla="*/ 360413 w 9154202"/>
                <a:gd name="connsiteY1806" fmla="*/ 650548 h 2112317"/>
                <a:gd name="connsiteX1807" fmla="*/ 364797 w 9154202"/>
                <a:gd name="connsiteY1807" fmla="*/ 651145 h 2112317"/>
                <a:gd name="connsiteX1808" fmla="*/ 366391 w 9154202"/>
                <a:gd name="connsiteY1808" fmla="*/ 652140 h 2112317"/>
                <a:gd name="connsiteX1809" fmla="*/ 367487 w 9154202"/>
                <a:gd name="connsiteY1809" fmla="*/ 653334 h 2112317"/>
                <a:gd name="connsiteX1810" fmla="*/ 367487 w 9154202"/>
                <a:gd name="connsiteY1810" fmla="*/ 654428 h 2112317"/>
                <a:gd name="connsiteX1811" fmla="*/ 370875 w 9154202"/>
                <a:gd name="connsiteY1811" fmla="*/ 655921 h 2112317"/>
                <a:gd name="connsiteX1812" fmla="*/ 373964 w 9154202"/>
                <a:gd name="connsiteY1812" fmla="*/ 656717 h 2112317"/>
                <a:gd name="connsiteX1813" fmla="*/ 376655 w 9154202"/>
                <a:gd name="connsiteY1813" fmla="*/ 656717 h 2112317"/>
                <a:gd name="connsiteX1814" fmla="*/ 389210 w 9154202"/>
                <a:gd name="connsiteY1814" fmla="*/ 651842 h 2112317"/>
                <a:gd name="connsiteX1815" fmla="*/ 390904 w 9154202"/>
                <a:gd name="connsiteY1815" fmla="*/ 650349 h 2112317"/>
                <a:gd name="connsiteX1816" fmla="*/ 392099 w 9154202"/>
                <a:gd name="connsiteY1816" fmla="*/ 647564 h 2112317"/>
                <a:gd name="connsiteX1817" fmla="*/ 394292 w 9154202"/>
                <a:gd name="connsiteY1817" fmla="*/ 645773 h 2112317"/>
                <a:gd name="connsiteX1818" fmla="*/ 395388 w 9154202"/>
                <a:gd name="connsiteY1818" fmla="*/ 643385 h 2112317"/>
                <a:gd name="connsiteX1819" fmla="*/ 392996 w 9154202"/>
                <a:gd name="connsiteY1819" fmla="*/ 638610 h 2112317"/>
                <a:gd name="connsiteX1820" fmla="*/ 392199 w 9154202"/>
                <a:gd name="connsiteY1820" fmla="*/ 635028 h 2112317"/>
                <a:gd name="connsiteX1821" fmla="*/ 393096 w 9154202"/>
                <a:gd name="connsiteY1821" fmla="*/ 630452 h 2112317"/>
                <a:gd name="connsiteX1822" fmla="*/ 396085 w 9154202"/>
                <a:gd name="connsiteY1822" fmla="*/ 622791 h 2112317"/>
                <a:gd name="connsiteX1823" fmla="*/ 396882 w 9154202"/>
                <a:gd name="connsiteY1823" fmla="*/ 622791 h 2112317"/>
                <a:gd name="connsiteX1824" fmla="*/ 396882 w 9154202"/>
                <a:gd name="connsiteY1824" fmla="*/ 625179 h 2112317"/>
                <a:gd name="connsiteX1825" fmla="*/ 398078 w 9154202"/>
                <a:gd name="connsiteY1825" fmla="*/ 633834 h 2112317"/>
                <a:gd name="connsiteX1826" fmla="*/ 400868 w 9154202"/>
                <a:gd name="connsiteY1826" fmla="*/ 641893 h 2112317"/>
                <a:gd name="connsiteX1827" fmla="*/ 403857 w 9154202"/>
                <a:gd name="connsiteY1827" fmla="*/ 644082 h 2112317"/>
                <a:gd name="connsiteX1828" fmla="*/ 410733 w 9154202"/>
                <a:gd name="connsiteY1828" fmla="*/ 646270 h 2112317"/>
                <a:gd name="connsiteX1829" fmla="*/ 431359 w 9154202"/>
                <a:gd name="connsiteY1829" fmla="*/ 648161 h 2112317"/>
                <a:gd name="connsiteX1830" fmla="*/ 433452 w 9154202"/>
                <a:gd name="connsiteY1830" fmla="*/ 647564 h 2112317"/>
                <a:gd name="connsiteX1831" fmla="*/ 437836 w 9154202"/>
                <a:gd name="connsiteY1831" fmla="*/ 644480 h 2112317"/>
                <a:gd name="connsiteX1832" fmla="*/ 439530 w 9154202"/>
                <a:gd name="connsiteY1832" fmla="*/ 643783 h 2112317"/>
                <a:gd name="connsiteX1833" fmla="*/ 440228 w 9154202"/>
                <a:gd name="connsiteY1833" fmla="*/ 646270 h 2112317"/>
                <a:gd name="connsiteX1834" fmla="*/ 438833 w 9154202"/>
                <a:gd name="connsiteY1834" fmla="*/ 649056 h 2112317"/>
                <a:gd name="connsiteX1835" fmla="*/ 436341 w 9154202"/>
                <a:gd name="connsiteY1835" fmla="*/ 651245 h 2112317"/>
                <a:gd name="connsiteX1836" fmla="*/ 433850 w 9154202"/>
                <a:gd name="connsiteY1836" fmla="*/ 652041 h 2112317"/>
                <a:gd name="connsiteX1837" fmla="*/ 422192 w 9154202"/>
                <a:gd name="connsiteY1837" fmla="*/ 650150 h 2112317"/>
                <a:gd name="connsiteX1838" fmla="*/ 416811 w 9154202"/>
                <a:gd name="connsiteY1838" fmla="*/ 651842 h 2112317"/>
                <a:gd name="connsiteX1839" fmla="*/ 403359 w 9154202"/>
                <a:gd name="connsiteY1839" fmla="*/ 650150 h 2112317"/>
                <a:gd name="connsiteX1840" fmla="*/ 401665 w 9154202"/>
                <a:gd name="connsiteY1840" fmla="*/ 650150 h 2112317"/>
                <a:gd name="connsiteX1841" fmla="*/ 400470 w 9154202"/>
                <a:gd name="connsiteY1841" fmla="*/ 649255 h 2112317"/>
                <a:gd name="connsiteX1842" fmla="*/ 399274 w 9154202"/>
                <a:gd name="connsiteY1842" fmla="*/ 649255 h 2112317"/>
                <a:gd name="connsiteX1843" fmla="*/ 392897 w 9154202"/>
                <a:gd name="connsiteY1843" fmla="*/ 655025 h 2112317"/>
                <a:gd name="connsiteX1844" fmla="*/ 391302 w 9154202"/>
                <a:gd name="connsiteY1844" fmla="*/ 656916 h 2112317"/>
                <a:gd name="connsiteX1845" fmla="*/ 391900 w 9154202"/>
                <a:gd name="connsiteY1845" fmla="*/ 658408 h 2112317"/>
                <a:gd name="connsiteX1846" fmla="*/ 391900 w 9154202"/>
                <a:gd name="connsiteY1846" fmla="*/ 660994 h 2112317"/>
                <a:gd name="connsiteX1847" fmla="*/ 391900 w 9154202"/>
                <a:gd name="connsiteY1847" fmla="*/ 662686 h 2112317"/>
                <a:gd name="connsiteX1848" fmla="*/ 393096 w 9154202"/>
                <a:gd name="connsiteY1848" fmla="*/ 663780 h 2112317"/>
                <a:gd name="connsiteX1849" fmla="*/ 396285 w 9154202"/>
                <a:gd name="connsiteY1849" fmla="*/ 664676 h 2112317"/>
                <a:gd name="connsiteX1850" fmla="*/ 397680 w 9154202"/>
                <a:gd name="connsiteY1850" fmla="*/ 665770 h 2112317"/>
                <a:gd name="connsiteX1851" fmla="*/ 400569 w 9154202"/>
                <a:gd name="connsiteY1851" fmla="*/ 667262 h 2112317"/>
                <a:gd name="connsiteX1852" fmla="*/ 402263 w 9154202"/>
                <a:gd name="connsiteY1852" fmla="*/ 667262 h 2112317"/>
                <a:gd name="connsiteX1853" fmla="*/ 405452 w 9154202"/>
                <a:gd name="connsiteY1853" fmla="*/ 665670 h 2112317"/>
                <a:gd name="connsiteX1854" fmla="*/ 406448 w 9154202"/>
                <a:gd name="connsiteY1854" fmla="*/ 665670 h 2112317"/>
                <a:gd name="connsiteX1855" fmla="*/ 413224 w 9154202"/>
                <a:gd name="connsiteY1855" fmla="*/ 661790 h 2112317"/>
                <a:gd name="connsiteX1856" fmla="*/ 416213 w 9154202"/>
                <a:gd name="connsiteY1856" fmla="*/ 661094 h 2112317"/>
                <a:gd name="connsiteX1857" fmla="*/ 422790 w 9154202"/>
                <a:gd name="connsiteY1857" fmla="*/ 661094 h 2112317"/>
                <a:gd name="connsiteX1858" fmla="*/ 428171 w 9154202"/>
                <a:gd name="connsiteY1858" fmla="*/ 659801 h 2112317"/>
                <a:gd name="connsiteX1859" fmla="*/ 430163 w 9154202"/>
                <a:gd name="connsiteY1859" fmla="*/ 659801 h 2112317"/>
                <a:gd name="connsiteX1860" fmla="*/ 431957 w 9154202"/>
                <a:gd name="connsiteY1860" fmla="*/ 659801 h 2112317"/>
                <a:gd name="connsiteX1861" fmla="*/ 431957 w 9154202"/>
                <a:gd name="connsiteY1861" fmla="*/ 659801 h 2112317"/>
                <a:gd name="connsiteX1862" fmla="*/ 431957 w 9154202"/>
                <a:gd name="connsiteY1862" fmla="*/ 660099 h 2112317"/>
                <a:gd name="connsiteX1863" fmla="*/ 431957 w 9154202"/>
                <a:gd name="connsiteY1863" fmla="*/ 661193 h 2112317"/>
                <a:gd name="connsiteX1864" fmla="*/ 432655 w 9154202"/>
                <a:gd name="connsiteY1864" fmla="*/ 661890 h 2112317"/>
                <a:gd name="connsiteX1865" fmla="*/ 435046 w 9154202"/>
                <a:gd name="connsiteY1865" fmla="*/ 661094 h 2112317"/>
                <a:gd name="connsiteX1866" fmla="*/ 437238 w 9154202"/>
                <a:gd name="connsiteY1866" fmla="*/ 658806 h 2112317"/>
                <a:gd name="connsiteX1867" fmla="*/ 438833 w 9154202"/>
                <a:gd name="connsiteY1867" fmla="*/ 657711 h 2112317"/>
                <a:gd name="connsiteX1868" fmla="*/ 439530 w 9154202"/>
                <a:gd name="connsiteY1868" fmla="*/ 660298 h 2112317"/>
                <a:gd name="connsiteX1869" fmla="*/ 438733 w 9154202"/>
                <a:gd name="connsiteY1869" fmla="*/ 663780 h 2112317"/>
                <a:gd name="connsiteX1870" fmla="*/ 438434 w 9154202"/>
                <a:gd name="connsiteY1870" fmla="*/ 667063 h 2112317"/>
                <a:gd name="connsiteX1871" fmla="*/ 438434 w 9154202"/>
                <a:gd name="connsiteY1871" fmla="*/ 669849 h 2112317"/>
                <a:gd name="connsiteX1872" fmla="*/ 440726 w 9154202"/>
                <a:gd name="connsiteY1872" fmla="*/ 672833 h 2112317"/>
                <a:gd name="connsiteX1873" fmla="*/ 444114 w 9154202"/>
                <a:gd name="connsiteY1873" fmla="*/ 673928 h 2112317"/>
                <a:gd name="connsiteX1874" fmla="*/ 447203 w 9154202"/>
                <a:gd name="connsiteY1874" fmla="*/ 672933 h 2112317"/>
                <a:gd name="connsiteX1875" fmla="*/ 450192 w 9154202"/>
                <a:gd name="connsiteY1875" fmla="*/ 671242 h 2112317"/>
                <a:gd name="connsiteX1876" fmla="*/ 453281 w 9154202"/>
                <a:gd name="connsiteY1876" fmla="*/ 670346 h 2112317"/>
                <a:gd name="connsiteX1877" fmla="*/ 458363 w 9154202"/>
                <a:gd name="connsiteY1877" fmla="*/ 670346 h 2112317"/>
                <a:gd name="connsiteX1878" fmla="*/ 458363 w 9154202"/>
                <a:gd name="connsiteY1878" fmla="*/ 671341 h 2112317"/>
                <a:gd name="connsiteX1879" fmla="*/ 455373 w 9154202"/>
                <a:gd name="connsiteY1879" fmla="*/ 673828 h 2112317"/>
                <a:gd name="connsiteX1880" fmla="*/ 446405 w 9154202"/>
                <a:gd name="connsiteY1880" fmla="*/ 678305 h 2112317"/>
                <a:gd name="connsiteX1881" fmla="*/ 443615 w 9154202"/>
                <a:gd name="connsiteY1881" fmla="*/ 681389 h 2112317"/>
                <a:gd name="connsiteX1882" fmla="*/ 441124 w 9154202"/>
                <a:gd name="connsiteY1882" fmla="*/ 683479 h 2112317"/>
                <a:gd name="connsiteX1883" fmla="*/ 435744 w 9154202"/>
                <a:gd name="connsiteY1883" fmla="*/ 684971 h 2112317"/>
                <a:gd name="connsiteX1884" fmla="*/ 433651 w 9154202"/>
                <a:gd name="connsiteY1884" fmla="*/ 687757 h 2112317"/>
                <a:gd name="connsiteX1885" fmla="*/ 435445 w 9154202"/>
                <a:gd name="connsiteY1885" fmla="*/ 690841 h 2112317"/>
                <a:gd name="connsiteX1886" fmla="*/ 438733 w 9154202"/>
                <a:gd name="connsiteY1886" fmla="*/ 690841 h 2112317"/>
                <a:gd name="connsiteX1887" fmla="*/ 454875 w 9154202"/>
                <a:gd name="connsiteY1887" fmla="*/ 688553 h 2112317"/>
                <a:gd name="connsiteX1888" fmla="*/ 456470 w 9154202"/>
                <a:gd name="connsiteY1888" fmla="*/ 687956 h 2112317"/>
                <a:gd name="connsiteX1889" fmla="*/ 459857 w 9154202"/>
                <a:gd name="connsiteY1889" fmla="*/ 684871 h 2112317"/>
                <a:gd name="connsiteX1890" fmla="*/ 461352 w 9154202"/>
                <a:gd name="connsiteY1890" fmla="*/ 683777 h 2112317"/>
                <a:gd name="connsiteX1891" fmla="*/ 464242 w 9154202"/>
                <a:gd name="connsiteY1891" fmla="*/ 683777 h 2112317"/>
                <a:gd name="connsiteX1892" fmla="*/ 465637 w 9154202"/>
                <a:gd name="connsiteY1892" fmla="*/ 685070 h 2112317"/>
                <a:gd name="connsiteX1893" fmla="*/ 466633 w 9154202"/>
                <a:gd name="connsiteY1893" fmla="*/ 687060 h 2112317"/>
                <a:gd name="connsiteX1894" fmla="*/ 468327 w 9154202"/>
                <a:gd name="connsiteY1894" fmla="*/ 688851 h 2112317"/>
                <a:gd name="connsiteX1895" fmla="*/ 470021 w 9154202"/>
                <a:gd name="connsiteY1895" fmla="*/ 688851 h 2112317"/>
                <a:gd name="connsiteX1896" fmla="*/ 472313 w 9154202"/>
                <a:gd name="connsiteY1896" fmla="*/ 688851 h 2112317"/>
                <a:gd name="connsiteX1897" fmla="*/ 474405 w 9154202"/>
                <a:gd name="connsiteY1897" fmla="*/ 688155 h 2112317"/>
                <a:gd name="connsiteX1898" fmla="*/ 475302 w 9154202"/>
                <a:gd name="connsiteY1898" fmla="*/ 686961 h 2112317"/>
                <a:gd name="connsiteX1899" fmla="*/ 477594 w 9154202"/>
                <a:gd name="connsiteY1899" fmla="*/ 684772 h 2112317"/>
                <a:gd name="connsiteX1900" fmla="*/ 491843 w 9154202"/>
                <a:gd name="connsiteY1900" fmla="*/ 683976 h 2112317"/>
                <a:gd name="connsiteX1901" fmla="*/ 491843 w 9154202"/>
                <a:gd name="connsiteY1901" fmla="*/ 685170 h 2112317"/>
                <a:gd name="connsiteX1902" fmla="*/ 494833 w 9154202"/>
                <a:gd name="connsiteY1902" fmla="*/ 683379 h 2112317"/>
                <a:gd name="connsiteX1903" fmla="*/ 499217 w 9154202"/>
                <a:gd name="connsiteY1903" fmla="*/ 676415 h 2112317"/>
                <a:gd name="connsiteX1904" fmla="*/ 502206 w 9154202"/>
                <a:gd name="connsiteY1904" fmla="*/ 673530 h 2112317"/>
                <a:gd name="connsiteX1905" fmla="*/ 504299 w 9154202"/>
                <a:gd name="connsiteY1905" fmla="*/ 673530 h 2112317"/>
                <a:gd name="connsiteX1906" fmla="*/ 505893 w 9154202"/>
                <a:gd name="connsiteY1906" fmla="*/ 673530 h 2112317"/>
                <a:gd name="connsiteX1907" fmla="*/ 506989 w 9154202"/>
                <a:gd name="connsiteY1907" fmla="*/ 672734 h 2112317"/>
                <a:gd name="connsiteX1908" fmla="*/ 508185 w 9154202"/>
                <a:gd name="connsiteY1908" fmla="*/ 670048 h 2112317"/>
                <a:gd name="connsiteX1909" fmla="*/ 507388 w 9154202"/>
                <a:gd name="connsiteY1909" fmla="*/ 669053 h 2112317"/>
                <a:gd name="connsiteX1910" fmla="*/ 503302 w 9154202"/>
                <a:gd name="connsiteY1910" fmla="*/ 666068 h 2112317"/>
                <a:gd name="connsiteX1911" fmla="*/ 503302 w 9154202"/>
                <a:gd name="connsiteY1911" fmla="*/ 664875 h 2112317"/>
                <a:gd name="connsiteX1912" fmla="*/ 503302 w 9154202"/>
                <a:gd name="connsiteY1912" fmla="*/ 662288 h 2112317"/>
                <a:gd name="connsiteX1913" fmla="*/ 503302 w 9154202"/>
                <a:gd name="connsiteY1913" fmla="*/ 659502 h 2112317"/>
                <a:gd name="connsiteX1914" fmla="*/ 503302 w 9154202"/>
                <a:gd name="connsiteY1914" fmla="*/ 657811 h 2112317"/>
                <a:gd name="connsiteX1915" fmla="*/ 504598 w 9154202"/>
                <a:gd name="connsiteY1915" fmla="*/ 656319 h 2112317"/>
                <a:gd name="connsiteX1916" fmla="*/ 506491 w 9154202"/>
                <a:gd name="connsiteY1916" fmla="*/ 654826 h 2112317"/>
                <a:gd name="connsiteX1917" fmla="*/ 508484 w 9154202"/>
                <a:gd name="connsiteY1917" fmla="*/ 653533 h 2112317"/>
                <a:gd name="connsiteX1918" fmla="*/ 509879 w 9154202"/>
                <a:gd name="connsiteY1918" fmla="*/ 653533 h 2112317"/>
                <a:gd name="connsiteX1919" fmla="*/ 513566 w 9154202"/>
                <a:gd name="connsiteY1919" fmla="*/ 653533 h 2112317"/>
                <a:gd name="connsiteX1920" fmla="*/ 516455 w 9154202"/>
                <a:gd name="connsiteY1920" fmla="*/ 652339 h 2112317"/>
                <a:gd name="connsiteX1921" fmla="*/ 518747 w 9154202"/>
                <a:gd name="connsiteY1921" fmla="*/ 650150 h 2112317"/>
                <a:gd name="connsiteX1922" fmla="*/ 520740 w 9154202"/>
                <a:gd name="connsiteY1922" fmla="*/ 646867 h 2112317"/>
                <a:gd name="connsiteX1923" fmla="*/ 519644 w 9154202"/>
                <a:gd name="connsiteY1923" fmla="*/ 645474 h 2112317"/>
                <a:gd name="connsiteX1924" fmla="*/ 516754 w 9154202"/>
                <a:gd name="connsiteY1924" fmla="*/ 643584 h 2112317"/>
                <a:gd name="connsiteX1925" fmla="*/ 515459 w 9154202"/>
                <a:gd name="connsiteY1925" fmla="*/ 642191 h 2112317"/>
                <a:gd name="connsiteX1926" fmla="*/ 512071 w 9154202"/>
                <a:gd name="connsiteY1926" fmla="*/ 633934 h 2112317"/>
                <a:gd name="connsiteX1927" fmla="*/ 509480 w 9154202"/>
                <a:gd name="connsiteY1927" fmla="*/ 625676 h 2112317"/>
                <a:gd name="connsiteX1928" fmla="*/ 508882 w 9154202"/>
                <a:gd name="connsiteY1928" fmla="*/ 622692 h 2112317"/>
                <a:gd name="connsiteX1929" fmla="*/ 508882 w 9154202"/>
                <a:gd name="connsiteY1929" fmla="*/ 618712 h 2112317"/>
                <a:gd name="connsiteX1930" fmla="*/ 516356 w 9154202"/>
                <a:gd name="connsiteY1930" fmla="*/ 624085 h 2112317"/>
                <a:gd name="connsiteX1931" fmla="*/ 518249 w 9154202"/>
                <a:gd name="connsiteY1931" fmla="*/ 626970 h 2112317"/>
                <a:gd name="connsiteX1932" fmla="*/ 521338 w 9154202"/>
                <a:gd name="connsiteY1932" fmla="*/ 636919 h 2112317"/>
                <a:gd name="connsiteX1933" fmla="*/ 523131 w 9154202"/>
                <a:gd name="connsiteY1933" fmla="*/ 640102 h 2112317"/>
                <a:gd name="connsiteX1934" fmla="*/ 523929 w 9154202"/>
                <a:gd name="connsiteY1934" fmla="*/ 641296 h 2112317"/>
                <a:gd name="connsiteX1935" fmla="*/ 524726 w 9154202"/>
                <a:gd name="connsiteY1935" fmla="*/ 642689 h 2112317"/>
                <a:gd name="connsiteX1936" fmla="*/ 524726 w 9154202"/>
                <a:gd name="connsiteY1936" fmla="*/ 644480 h 2112317"/>
                <a:gd name="connsiteX1937" fmla="*/ 524726 w 9154202"/>
                <a:gd name="connsiteY1937" fmla="*/ 646469 h 2112317"/>
                <a:gd name="connsiteX1938" fmla="*/ 524128 w 9154202"/>
                <a:gd name="connsiteY1938" fmla="*/ 648559 h 2112317"/>
                <a:gd name="connsiteX1939" fmla="*/ 523231 w 9154202"/>
                <a:gd name="connsiteY1939" fmla="*/ 649454 h 2112317"/>
                <a:gd name="connsiteX1940" fmla="*/ 522235 w 9154202"/>
                <a:gd name="connsiteY1940" fmla="*/ 649454 h 2112317"/>
                <a:gd name="connsiteX1941" fmla="*/ 521238 w 9154202"/>
                <a:gd name="connsiteY1941" fmla="*/ 650548 h 2112317"/>
                <a:gd name="connsiteX1942" fmla="*/ 519843 w 9154202"/>
                <a:gd name="connsiteY1942" fmla="*/ 654727 h 2112317"/>
                <a:gd name="connsiteX1943" fmla="*/ 519245 w 9154202"/>
                <a:gd name="connsiteY1943" fmla="*/ 657214 h 2112317"/>
                <a:gd name="connsiteX1944" fmla="*/ 518050 w 9154202"/>
                <a:gd name="connsiteY1944" fmla="*/ 658507 h 2112317"/>
                <a:gd name="connsiteX1945" fmla="*/ 509480 w 9154202"/>
                <a:gd name="connsiteY1945" fmla="*/ 659005 h 2112317"/>
                <a:gd name="connsiteX1946" fmla="*/ 507188 w 9154202"/>
                <a:gd name="connsiteY1946" fmla="*/ 660398 h 2112317"/>
                <a:gd name="connsiteX1947" fmla="*/ 506491 w 9154202"/>
                <a:gd name="connsiteY1947" fmla="*/ 663581 h 2112317"/>
                <a:gd name="connsiteX1948" fmla="*/ 507886 w 9154202"/>
                <a:gd name="connsiteY1948" fmla="*/ 666964 h 2112317"/>
                <a:gd name="connsiteX1949" fmla="*/ 510377 w 9154202"/>
                <a:gd name="connsiteY1949" fmla="*/ 669849 h 2112317"/>
                <a:gd name="connsiteX1950" fmla="*/ 511971 w 9154202"/>
                <a:gd name="connsiteY1950" fmla="*/ 673033 h 2112317"/>
                <a:gd name="connsiteX1951" fmla="*/ 510377 w 9154202"/>
                <a:gd name="connsiteY1951" fmla="*/ 676913 h 2112317"/>
                <a:gd name="connsiteX1952" fmla="*/ 508882 w 9154202"/>
                <a:gd name="connsiteY1952" fmla="*/ 678106 h 2112317"/>
                <a:gd name="connsiteX1953" fmla="*/ 505494 w 9154202"/>
                <a:gd name="connsiteY1953" fmla="*/ 679002 h 2112317"/>
                <a:gd name="connsiteX1954" fmla="*/ 503900 w 9154202"/>
                <a:gd name="connsiteY1954" fmla="*/ 679997 h 2112317"/>
                <a:gd name="connsiteX1955" fmla="*/ 503003 w 9154202"/>
                <a:gd name="connsiteY1955" fmla="*/ 681091 h 2112317"/>
                <a:gd name="connsiteX1956" fmla="*/ 502405 w 9154202"/>
                <a:gd name="connsiteY1956" fmla="*/ 682384 h 2112317"/>
                <a:gd name="connsiteX1957" fmla="*/ 500413 w 9154202"/>
                <a:gd name="connsiteY1957" fmla="*/ 688652 h 2112317"/>
                <a:gd name="connsiteX1958" fmla="*/ 499615 w 9154202"/>
                <a:gd name="connsiteY1958" fmla="*/ 689945 h 2112317"/>
                <a:gd name="connsiteX1959" fmla="*/ 498220 w 9154202"/>
                <a:gd name="connsiteY1959" fmla="*/ 689945 h 2112317"/>
                <a:gd name="connsiteX1960" fmla="*/ 496825 w 9154202"/>
                <a:gd name="connsiteY1960" fmla="*/ 689945 h 2112317"/>
                <a:gd name="connsiteX1961" fmla="*/ 495032 w 9154202"/>
                <a:gd name="connsiteY1961" fmla="*/ 689050 h 2112317"/>
                <a:gd name="connsiteX1962" fmla="*/ 493936 w 9154202"/>
                <a:gd name="connsiteY1962" fmla="*/ 689050 h 2112317"/>
                <a:gd name="connsiteX1963" fmla="*/ 483971 w 9154202"/>
                <a:gd name="connsiteY1963" fmla="*/ 690542 h 2112317"/>
                <a:gd name="connsiteX1964" fmla="*/ 472811 w 9154202"/>
                <a:gd name="connsiteY1964" fmla="*/ 694422 h 2112317"/>
                <a:gd name="connsiteX1965" fmla="*/ 469722 w 9154202"/>
                <a:gd name="connsiteY1965" fmla="*/ 694422 h 2112317"/>
                <a:gd name="connsiteX1966" fmla="*/ 459758 w 9154202"/>
                <a:gd name="connsiteY1966" fmla="*/ 691935 h 2112317"/>
                <a:gd name="connsiteX1967" fmla="*/ 455971 w 9154202"/>
                <a:gd name="connsiteY1967" fmla="*/ 691935 h 2112317"/>
                <a:gd name="connsiteX1968" fmla="*/ 447103 w 9154202"/>
                <a:gd name="connsiteY1968" fmla="*/ 694920 h 2112317"/>
                <a:gd name="connsiteX1969" fmla="*/ 434050 w 9154202"/>
                <a:gd name="connsiteY1969" fmla="*/ 695716 h 2112317"/>
                <a:gd name="connsiteX1970" fmla="*/ 430861 w 9154202"/>
                <a:gd name="connsiteY1970" fmla="*/ 696512 h 2112317"/>
                <a:gd name="connsiteX1971" fmla="*/ 428071 w 9154202"/>
                <a:gd name="connsiteY1971" fmla="*/ 697805 h 2112317"/>
                <a:gd name="connsiteX1972" fmla="*/ 426975 w 9154202"/>
                <a:gd name="connsiteY1972" fmla="*/ 698501 h 2112317"/>
                <a:gd name="connsiteX1973" fmla="*/ 428470 w 9154202"/>
                <a:gd name="connsiteY1973" fmla="*/ 699894 h 2112317"/>
                <a:gd name="connsiteX1974" fmla="*/ 429267 w 9154202"/>
                <a:gd name="connsiteY1974" fmla="*/ 700590 h 2112317"/>
                <a:gd name="connsiteX1975" fmla="*/ 430961 w 9154202"/>
                <a:gd name="connsiteY1975" fmla="*/ 703774 h 2112317"/>
                <a:gd name="connsiteX1976" fmla="*/ 431957 w 9154202"/>
                <a:gd name="connsiteY1976" fmla="*/ 704570 h 2112317"/>
                <a:gd name="connsiteX1977" fmla="*/ 442519 w 9154202"/>
                <a:gd name="connsiteY1977" fmla="*/ 704570 h 2112317"/>
                <a:gd name="connsiteX1978" fmla="*/ 446206 w 9154202"/>
                <a:gd name="connsiteY1978" fmla="*/ 703675 h 2112317"/>
                <a:gd name="connsiteX1979" fmla="*/ 454975 w 9154202"/>
                <a:gd name="connsiteY1979" fmla="*/ 699596 h 2112317"/>
                <a:gd name="connsiteX1980" fmla="*/ 458462 w 9154202"/>
                <a:gd name="connsiteY1980" fmla="*/ 699596 h 2112317"/>
                <a:gd name="connsiteX1981" fmla="*/ 464740 w 9154202"/>
                <a:gd name="connsiteY1981" fmla="*/ 697208 h 2112317"/>
                <a:gd name="connsiteX1982" fmla="*/ 467929 w 9154202"/>
                <a:gd name="connsiteY1982" fmla="*/ 697208 h 2112317"/>
                <a:gd name="connsiteX1983" fmla="*/ 470619 w 9154202"/>
                <a:gd name="connsiteY1983" fmla="*/ 699795 h 2112317"/>
                <a:gd name="connsiteX1984" fmla="*/ 468128 w 9154202"/>
                <a:gd name="connsiteY1984" fmla="*/ 701784 h 2112317"/>
                <a:gd name="connsiteX1985" fmla="*/ 465736 w 9154202"/>
                <a:gd name="connsiteY1985" fmla="*/ 702680 h 2112317"/>
                <a:gd name="connsiteX1986" fmla="*/ 454875 w 9154202"/>
                <a:gd name="connsiteY1986" fmla="*/ 704371 h 2112317"/>
                <a:gd name="connsiteX1987" fmla="*/ 451986 w 9154202"/>
                <a:gd name="connsiteY1987" fmla="*/ 706759 h 2112317"/>
                <a:gd name="connsiteX1988" fmla="*/ 451288 w 9154202"/>
                <a:gd name="connsiteY1988" fmla="*/ 706759 h 2112317"/>
                <a:gd name="connsiteX1989" fmla="*/ 450591 w 9154202"/>
                <a:gd name="connsiteY1989" fmla="*/ 706162 h 2112317"/>
                <a:gd name="connsiteX1990" fmla="*/ 449694 w 9154202"/>
                <a:gd name="connsiteY1990" fmla="*/ 706162 h 2112317"/>
                <a:gd name="connsiteX1991" fmla="*/ 448299 w 9154202"/>
                <a:gd name="connsiteY1991" fmla="*/ 706162 h 2112317"/>
                <a:gd name="connsiteX1992" fmla="*/ 445409 w 9154202"/>
                <a:gd name="connsiteY1992" fmla="*/ 708052 h 2112317"/>
                <a:gd name="connsiteX1993" fmla="*/ 441124 w 9154202"/>
                <a:gd name="connsiteY1993" fmla="*/ 708848 h 2112317"/>
                <a:gd name="connsiteX1994" fmla="*/ 440228 w 9154202"/>
                <a:gd name="connsiteY1994" fmla="*/ 708848 h 2112317"/>
                <a:gd name="connsiteX1995" fmla="*/ 439331 w 9154202"/>
                <a:gd name="connsiteY1995" fmla="*/ 710937 h 2112317"/>
                <a:gd name="connsiteX1996" fmla="*/ 439331 w 9154202"/>
                <a:gd name="connsiteY1996" fmla="*/ 713424 h 2112317"/>
                <a:gd name="connsiteX1997" fmla="*/ 440228 w 9154202"/>
                <a:gd name="connsiteY1997" fmla="*/ 718299 h 2112317"/>
                <a:gd name="connsiteX1998" fmla="*/ 436341 w 9154202"/>
                <a:gd name="connsiteY1998" fmla="*/ 715215 h 2112317"/>
                <a:gd name="connsiteX1999" fmla="*/ 433950 w 9154202"/>
                <a:gd name="connsiteY1999" fmla="*/ 714220 h 2112317"/>
                <a:gd name="connsiteX2000" fmla="*/ 431957 w 9154202"/>
                <a:gd name="connsiteY2000" fmla="*/ 715215 h 2112317"/>
                <a:gd name="connsiteX2001" fmla="*/ 429964 w 9154202"/>
                <a:gd name="connsiteY2001" fmla="*/ 716707 h 2112317"/>
                <a:gd name="connsiteX2002" fmla="*/ 427872 w 9154202"/>
                <a:gd name="connsiteY2002" fmla="*/ 717503 h 2112317"/>
                <a:gd name="connsiteX2003" fmla="*/ 427274 w 9154202"/>
                <a:gd name="connsiteY2003" fmla="*/ 718498 h 2112317"/>
                <a:gd name="connsiteX2004" fmla="*/ 429765 w 9154202"/>
                <a:gd name="connsiteY2004" fmla="*/ 720488 h 2112317"/>
                <a:gd name="connsiteX2005" fmla="*/ 432156 w 9154202"/>
                <a:gd name="connsiteY2005" fmla="*/ 721582 h 2112317"/>
                <a:gd name="connsiteX2006" fmla="*/ 446206 w 9154202"/>
                <a:gd name="connsiteY2006" fmla="*/ 723473 h 2112317"/>
                <a:gd name="connsiteX2007" fmla="*/ 448797 w 9154202"/>
                <a:gd name="connsiteY2007" fmla="*/ 723473 h 2112317"/>
                <a:gd name="connsiteX2008" fmla="*/ 451487 w 9154202"/>
                <a:gd name="connsiteY2008" fmla="*/ 721881 h 2112317"/>
                <a:gd name="connsiteX2009" fmla="*/ 455573 w 9154202"/>
                <a:gd name="connsiteY2009" fmla="*/ 725661 h 2112317"/>
                <a:gd name="connsiteX2010" fmla="*/ 461850 w 9154202"/>
                <a:gd name="connsiteY2010" fmla="*/ 726955 h 2112317"/>
                <a:gd name="connsiteX2011" fmla="*/ 466434 w 9154202"/>
                <a:gd name="connsiteY2011" fmla="*/ 726955 h 2112317"/>
                <a:gd name="connsiteX2012" fmla="*/ 467131 w 9154202"/>
                <a:gd name="connsiteY2012" fmla="*/ 726955 h 2112317"/>
                <a:gd name="connsiteX2013" fmla="*/ 467131 w 9154202"/>
                <a:gd name="connsiteY2013" fmla="*/ 726955 h 2112317"/>
                <a:gd name="connsiteX2014" fmla="*/ 468526 w 9154202"/>
                <a:gd name="connsiteY2014" fmla="*/ 726955 h 2112317"/>
                <a:gd name="connsiteX2015" fmla="*/ 480085 w 9154202"/>
                <a:gd name="connsiteY2015" fmla="*/ 722677 h 2112317"/>
                <a:gd name="connsiteX2016" fmla="*/ 481181 w 9154202"/>
                <a:gd name="connsiteY2016" fmla="*/ 721582 h 2112317"/>
                <a:gd name="connsiteX2017" fmla="*/ 482776 w 9154202"/>
                <a:gd name="connsiteY2017" fmla="*/ 718996 h 2112317"/>
                <a:gd name="connsiteX2018" fmla="*/ 483473 w 9154202"/>
                <a:gd name="connsiteY2018" fmla="*/ 718100 h 2112317"/>
                <a:gd name="connsiteX2019" fmla="*/ 486363 w 9154202"/>
                <a:gd name="connsiteY2019" fmla="*/ 717205 h 2112317"/>
                <a:gd name="connsiteX2020" fmla="*/ 489751 w 9154202"/>
                <a:gd name="connsiteY2020" fmla="*/ 717205 h 2112317"/>
                <a:gd name="connsiteX2021" fmla="*/ 495729 w 9154202"/>
                <a:gd name="connsiteY2021" fmla="*/ 719095 h 2112317"/>
                <a:gd name="connsiteX2022" fmla="*/ 494135 w 9154202"/>
                <a:gd name="connsiteY2022" fmla="*/ 721085 h 2112317"/>
                <a:gd name="connsiteX2023" fmla="*/ 489850 w 9154202"/>
                <a:gd name="connsiteY2023" fmla="*/ 721085 h 2112317"/>
                <a:gd name="connsiteX2024" fmla="*/ 488256 w 9154202"/>
                <a:gd name="connsiteY2024" fmla="*/ 721781 h 2112317"/>
                <a:gd name="connsiteX2025" fmla="*/ 490946 w 9154202"/>
                <a:gd name="connsiteY2025" fmla="*/ 722677 h 2112317"/>
                <a:gd name="connsiteX2026" fmla="*/ 498220 w 9154202"/>
                <a:gd name="connsiteY2026" fmla="*/ 729740 h 2112317"/>
                <a:gd name="connsiteX2027" fmla="*/ 498918 w 9154202"/>
                <a:gd name="connsiteY2027" fmla="*/ 729740 h 2112317"/>
                <a:gd name="connsiteX2028" fmla="*/ 499815 w 9154202"/>
                <a:gd name="connsiteY2028" fmla="*/ 729740 h 2112317"/>
                <a:gd name="connsiteX2029" fmla="*/ 502804 w 9154202"/>
                <a:gd name="connsiteY2029" fmla="*/ 729740 h 2112317"/>
                <a:gd name="connsiteX2030" fmla="*/ 503302 w 9154202"/>
                <a:gd name="connsiteY2030" fmla="*/ 729740 h 2112317"/>
                <a:gd name="connsiteX2031" fmla="*/ 504598 w 9154202"/>
                <a:gd name="connsiteY2031" fmla="*/ 729740 h 2112317"/>
                <a:gd name="connsiteX2032" fmla="*/ 506292 w 9154202"/>
                <a:gd name="connsiteY2032" fmla="*/ 729243 h 2112317"/>
                <a:gd name="connsiteX2033" fmla="*/ 508185 w 9154202"/>
                <a:gd name="connsiteY2033" fmla="*/ 729740 h 2112317"/>
                <a:gd name="connsiteX2034" fmla="*/ 509480 w 9154202"/>
                <a:gd name="connsiteY2034" fmla="*/ 728447 h 2112317"/>
                <a:gd name="connsiteX2035" fmla="*/ 511473 w 9154202"/>
                <a:gd name="connsiteY2035" fmla="*/ 725860 h 2112317"/>
                <a:gd name="connsiteX2036" fmla="*/ 512071 w 9154202"/>
                <a:gd name="connsiteY2036" fmla="*/ 724467 h 2112317"/>
                <a:gd name="connsiteX2037" fmla="*/ 512071 w 9154202"/>
                <a:gd name="connsiteY2037" fmla="*/ 722080 h 2112317"/>
                <a:gd name="connsiteX2038" fmla="*/ 511473 w 9154202"/>
                <a:gd name="connsiteY2038" fmla="*/ 721085 h 2112317"/>
                <a:gd name="connsiteX2039" fmla="*/ 510576 w 9154202"/>
                <a:gd name="connsiteY2039" fmla="*/ 719095 h 2112317"/>
                <a:gd name="connsiteX2040" fmla="*/ 510576 w 9154202"/>
                <a:gd name="connsiteY2040" fmla="*/ 717105 h 2112317"/>
                <a:gd name="connsiteX2041" fmla="*/ 515260 w 9154202"/>
                <a:gd name="connsiteY2041" fmla="*/ 715016 h 2112317"/>
                <a:gd name="connsiteX2042" fmla="*/ 516356 w 9154202"/>
                <a:gd name="connsiteY2042" fmla="*/ 712032 h 2112317"/>
                <a:gd name="connsiteX2043" fmla="*/ 516954 w 9154202"/>
                <a:gd name="connsiteY2043" fmla="*/ 708550 h 2112317"/>
                <a:gd name="connsiteX2044" fmla="*/ 518149 w 9154202"/>
                <a:gd name="connsiteY2044" fmla="*/ 705764 h 2112317"/>
                <a:gd name="connsiteX2045" fmla="*/ 517153 w 9154202"/>
                <a:gd name="connsiteY2045" fmla="*/ 702580 h 2112317"/>
                <a:gd name="connsiteX2046" fmla="*/ 517153 w 9154202"/>
                <a:gd name="connsiteY2046" fmla="*/ 697407 h 2112317"/>
                <a:gd name="connsiteX2047" fmla="*/ 518747 w 9154202"/>
                <a:gd name="connsiteY2047" fmla="*/ 692631 h 2112317"/>
                <a:gd name="connsiteX2048" fmla="*/ 521836 w 9154202"/>
                <a:gd name="connsiteY2048" fmla="*/ 690542 h 2112317"/>
                <a:gd name="connsiteX2049" fmla="*/ 525324 w 9154202"/>
                <a:gd name="connsiteY2049" fmla="*/ 688950 h 2112317"/>
                <a:gd name="connsiteX2050" fmla="*/ 528413 w 9154202"/>
                <a:gd name="connsiteY2050" fmla="*/ 685767 h 2112317"/>
                <a:gd name="connsiteX2051" fmla="*/ 531601 w 9154202"/>
                <a:gd name="connsiteY2051" fmla="*/ 683379 h 2112317"/>
                <a:gd name="connsiteX2052" fmla="*/ 535388 w 9154202"/>
                <a:gd name="connsiteY2052" fmla="*/ 684573 h 2112317"/>
                <a:gd name="connsiteX2053" fmla="*/ 534292 w 9154202"/>
                <a:gd name="connsiteY2053" fmla="*/ 685866 h 2112317"/>
                <a:gd name="connsiteX2054" fmla="*/ 532797 w 9154202"/>
                <a:gd name="connsiteY2054" fmla="*/ 688354 h 2112317"/>
                <a:gd name="connsiteX2055" fmla="*/ 531800 w 9154202"/>
                <a:gd name="connsiteY2055" fmla="*/ 689348 h 2112317"/>
                <a:gd name="connsiteX2056" fmla="*/ 530605 w 9154202"/>
                <a:gd name="connsiteY2056" fmla="*/ 690343 h 2112317"/>
                <a:gd name="connsiteX2057" fmla="*/ 527416 w 9154202"/>
                <a:gd name="connsiteY2057" fmla="*/ 691637 h 2112317"/>
                <a:gd name="connsiteX2058" fmla="*/ 525224 w 9154202"/>
                <a:gd name="connsiteY2058" fmla="*/ 693328 h 2112317"/>
                <a:gd name="connsiteX2059" fmla="*/ 523630 w 9154202"/>
                <a:gd name="connsiteY2059" fmla="*/ 695318 h 2112317"/>
                <a:gd name="connsiteX2060" fmla="*/ 522434 w 9154202"/>
                <a:gd name="connsiteY2060" fmla="*/ 697805 h 2112317"/>
                <a:gd name="connsiteX2061" fmla="*/ 521438 w 9154202"/>
                <a:gd name="connsiteY2061" fmla="*/ 700988 h 2112317"/>
                <a:gd name="connsiteX2062" fmla="*/ 520541 w 9154202"/>
                <a:gd name="connsiteY2062" fmla="*/ 705764 h 2112317"/>
                <a:gd name="connsiteX2063" fmla="*/ 520541 w 9154202"/>
                <a:gd name="connsiteY2063" fmla="*/ 707256 h 2112317"/>
                <a:gd name="connsiteX2064" fmla="*/ 521637 w 9154202"/>
                <a:gd name="connsiteY2064" fmla="*/ 709942 h 2112317"/>
                <a:gd name="connsiteX2065" fmla="*/ 521637 w 9154202"/>
                <a:gd name="connsiteY2065" fmla="*/ 711534 h 2112317"/>
                <a:gd name="connsiteX2066" fmla="*/ 521637 w 9154202"/>
                <a:gd name="connsiteY2066" fmla="*/ 713723 h 2112317"/>
                <a:gd name="connsiteX2067" fmla="*/ 520242 w 9154202"/>
                <a:gd name="connsiteY2067" fmla="*/ 719891 h 2112317"/>
                <a:gd name="connsiteX2068" fmla="*/ 519345 w 9154202"/>
                <a:gd name="connsiteY2068" fmla="*/ 722080 h 2112317"/>
                <a:gd name="connsiteX2069" fmla="*/ 517751 w 9154202"/>
                <a:gd name="connsiteY2069" fmla="*/ 723473 h 2112317"/>
                <a:gd name="connsiteX2070" fmla="*/ 516156 w 9154202"/>
                <a:gd name="connsiteY2070" fmla="*/ 724666 h 2112317"/>
                <a:gd name="connsiteX2071" fmla="*/ 515658 w 9154202"/>
                <a:gd name="connsiteY2071" fmla="*/ 725960 h 2112317"/>
                <a:gd name="connsiteX2072" fmla="*/ 517452 w 9154202"/>
                <a:gd name="connsiteY2072" fmla="*/ 727850 h 2112317"/>
                <a:gd name="connsiteX2073" fmla="*/ 518946 w 9154202"/>
                <a:gd name="connsiteY2073" fmla="*/ 727850 h 2112317"/>
                <a:gd name="connsiteX2074" fmla="*/ 518946 w 9154202"/>
                <a:gd name="connsiteY2074" fmla="*/ 727850 h 2112317"/>
                <a:gd name="connsiteX2075" fmla="*/ 521537 w 9154202"/>
                <a:gd name="connsiteY2075" fmla="*/ 727850 h 2112317"/>
                <a:gd name="connsiteX2076" fmla="*/ 523630 w 9154202"/>
                <a:gd name="connsiteY2076" fmla="*/ 728646 h 2112317"/>
                <a:gd name="connsiteX2077" fmla="*/ 533594 w 9154202"/>
                <a:gd name="connsiteY2077" fmla="*/ 727054 h 2112317"/>
                <a:gd name="connsiteX2078" fmla="*/ 535986 w 9154202"/>
                <a:gd name="connsiteY2078" fmla="*/ 725761 h 2112317"/>
                <a:gd name="connsiteX2079" fmla="*/ 538078 w 9154202"/>
                <a:gd name="connsiteY2079" fmla="*/ 723473 h 2112317"/>
                <a:gd name="connsiteX2080" fmla="*/ 538875 w 9154202"/>
                <a:gd name="connsiteY2080" fmla="*/ 721682 h 2112317"/>
                <a:gd name="connsiteX2081" fmla="*/ 539573 w 9154202"/>
                <a:gd name="connsiteY2081" fmla="*/ 719195 h 2112317"/>
                <a:gd name="connsiteX2082" fmla="*/ 539573 w 9154202"/>
                <a:gd name="connsiteY2082" fmla="*/ 716807 h 2112317"/>
                <a:gd name="connsiteX2083" fmla="*/ 539573 w 9154202"/>
                <a:gd name="connsiteY2083" fmla="*/ 715414 h 2112317"/>
                <a:gd name="connsiteX2084" fmla="*/ 543060 w 9154202"/>
                <a:gd name="connsiteY2084" fmla="*/ 713922 h 2112317"/>
                <a:gd name="connsiteX2085" fmla="*/ 544256 w 9154202"/>
                <a:gd name="connsiteY2085" fmla="*/ 717802 h 2112317"/>
                <a:gd name="connsiteX2086" fmla="*/ 544953 w 9154202"/>
                <a:gd name="connsiteY2086" fmla="*/ 723075 h 2112317"/>
                <a:gd name="connsiteX2087" fmla="*/ 547046 w 9154202"/>
                <a:gd name="connsiteY2087" fmla="*/ 725761 h 2112317"/>
                <a:gd name="connsiteX2088" fmla="*/ 548939 w 9154202"/>
                <a:gd name="connsiteY2088" fmla="*/ 725761 h 2112317"/>
                <a:gd name="connsiteX2089" fmla="*/ 549637 w 9154202"/>
                <a:gd name="connsiteY2089" fmla="*/ 726557 h 2112317"/>
                <a:gd name="connsiteX2090" fmla="*/ 550434 w 9154202"/>
                <a:gd name="connsiteY2090" fmla="*/ 726557 h 2112317"/>
                <a:gd name="connsiteX2091" fmla="*/ 552228 w 9154202"/>
                <a:gd name="connsiteY2091" fmla="*/ 724865 h 2112317"/>
                <a:gd name="connsiteX2092" fmla="*/ 554420 w 9154202"/>
                <a:gd name="connsiteY2092" fmla="*/ 721184 h 2112317"/>
                <a:gd name="connsiteX2093" fmla="*/ 555914 w 9154202"/>
                <a:gd name="connsiteY2093" fmla="*/ 719692 h 2112317"/>
                <a:gd name="connsiteX2094" fmla="*/ 558007 w 9154202"/>
                <a:gd name="connsiteY2094" fmla="*/ 719792 h 2112317"/>
                <a:gd name="connsiteX2095" fmla="*/ 558605 w 9154202"/>
                <a:gd name="connsiteY2095" fmla="*/ 721284 h 2112317"/>
                <a:gd name="connsiteX2096" fmla="*/ 558605 w 9154202"/>
                <a:gd name="connsiteY2096" fmla="*/ 722577 h 2112317"/>
                <a:gd name="connsiteX2097" fmla="*/ 557907 w 9154202"/>
                <a:gd name="connsiteY2097" fmla="*/ 723771 h 2112317"/>
                <a:gd name="connsiteX2098" fmla="*/ 557907 w 9154202"/>
                <a:gd name="connsiteY2098" fmla="*/ 725064 h 2112317"/>
                <a:gd name="connsiteX2099" fmla="*/ 557907 w 9154202"/>
                <a:gd name="connsiteY2099" fmla="*/ 726258 h 2112317"/>
                <a:gd name="connsiteX2100" fmla="*/ 560000 w 9154202"/>
                <a:gd name="connsiteY2100" fmla="*/ 728646 h 2112317"/>
                <a:gd name="connsiteX2101" fmla="*/ 562292 w 9154202"/>
                <a:gd name="connsiteY2101" fmla="*/ 733023 h 2112317"/>
                <a:gd name="connsiteX2102" fmla="*/ 563786 w 9154202"/>
                <a:gd name="connsiteY2102" fmla="*/ 734018 h 2112317"/>
                <a:gd name="connsiteX2103" fmla="*/ 566078 w 9154202"/>
                <a:gd name="connsiteY2103" fmla="*/ 734018 h 2112317"/>
                <a:gd name="connsiteX2104" fmla="*/ 569067 w 9154202"/>
                <a:gd name="connsiteY2104" fmla="*/ 733123 h 2112317"/>
                <a:gd name="connsiteX2105" fmla="*/ 572555 w 9154202"/>
                <a:gd name="connsiteY2105" fmla="*/ 731034 h 2112317"/>
                <a:gd name="connsiteX2106" fmla="*/ 574448 w 9154202"/>
                <a:gd name="connsiteY2106" fmla="*/ 727950 h 2112317"/>
                <a:gd name="connsiteX2107" fmla="*/ 573053 w 9154202"/>
                <a:gd name="connsiteY2107" fmla="*/ 724766 h 2112317"/>
                <a:gd name="connsiteX2108" fmla="*/ 575744 w 9154202"/>
                <a:gd name="connsiteY2108" fmla="*/ 720388 h 2112317"/>
                <a:gd name="connsiteX2109" fmla="*/ 583615 w 9154202"/>
                <a:gd name="connsiteY2109" fmla="*/ 714917 h 2112317"/>
                <a:gd name="connsiteX2110" fmla="*/ 585210 w 9154202"/>
                <a:gd name="connsiteY2110" fmla="*/ 710241 h 2112317"/>
                <a:gd name="connsiteX2111" fmla="*/ 592882 w 9154202"/>
                <a:gd name="connsiteY2111" fmla="*/ 704769 h 2112317"/>
                <a:gd name="connsiteX2112" fmla="*/ 592882 w 9154202"/>
                <a:gd name="connsiteY2112" fmla="*/ 703376 h 2112317"/>
                <a:gd name="connsiteX2113" fmla="*/ 592882 w 9154202"/>
                <a:gd name="connsiteY2113" fmla="*/ 702680 h 2112317"/>
                <a:gd name="connsiteX2114" fmla="*/ 593480 w 9154202"/>
                <a:gd name="connsiteY2114" fmla="*/ 702680 h 2112317"/>
                <a:gd name="connsiteX2115" fmla="*/ 593480 w 9154202"/>
                <a:gd name="connsiteY2115" fmla="*/ 702680 h 2112317"/>
                <a:gd name="connsiteX2116" fmla="*/ 593480 w 9154202"/>
                <a:gd name="connsiteY2116" fmla="*/ 703277 h 2112317"/>
                <a:gd name="connsiteX2117" fmla="*/ 593480 w 9154202"/>
                <a:gd name="connsiteY2117" fmla="*/ 703277 h 2112317"/>
                <a:gd name="connsiteX2118" fmla="*/ 594676 w 9154202"/>
                <a:gd name="connsiteY2118" fmla="*/ 703277 h 2112317"/>
                <a:gd name="connsiteX2119" fmla="*/ 595373 w 9154202"/>
                <a:gd name="connsiteY2119" fmla="*/ 702680 h 2112317"/>
                <a:gd name="connsiteX2120" fmla="*/ 598662 w 9154202"/>
                <a:gd name="connsiteY2120" fmla="*/ 698302 h 2112317"/>
                <a:gd name="connsiteX2121" fmla="*/ 598662 w 9154202"/>
                <a:gd name="connsiteY2121" fmla="*/ 696710 h 2112317"/>
                <a:gd name="connsiteX2122" fmla="*/ 597566 w 9154202"/>
                <a:gd name="connsiteY2122" fmla="*/ 695318 h 2112317"/>
                <a:gd name="connsiteX2123" fmla="*/ 596669 w 9154202"/>
                <a:gd name="connsiteY2123" fmla="*/ 693029 h 2112317"/>
                <a:gd name="connsiteX2124" fmla="*/ 596669 w 9154202"/>
                <a:gd name="connsiteY2124" fmla="*/ 691040 h 2112317"/>
                <a:gd name="connsiteX2125" fmla="*/ 598064 w 9154202"/>
                <a:gd name="connsiteY2125" fmla="*/ 684871 h 2112317"/>
                <a:gd name="connsiteX2126" fmla="*/ 599658 w 9154202"/>
                <a:gd name="connsiteY2126" fmla="*/ 679897 h 2112317"/>
                <a:gd name="connsiteX2127" fmla="*/ 598462 w 9154202"/>
                <a:gd name="connsiteY2127" fmla="*/ 677509 h 2112317"/>
                <a:gd name="connsiteX2128" fmla="*/ 596071 w 9154202"/>
                <a:gd name="connsiteY2128" fmla="*/ 676017 h 2112317"/>
                <a:gd name="connsiteX2129" fmla="*/ 593480 w 9154202"/>
                <a:gd name="connsiteY2129" fmla="*/ 676017 h 2112317"/>
                <a:gd name="connsiteX2130" fmla="*/ 593480 w 9154202"/>
                <a:gd name="connsiteY2130" fmla="*/ 675221 h 2112317"/>
                <a:gd name="connsiteX2131" fmla="*/ 593480 w 9154202"/>
                <a:gd name="connsiteY2131" fmla="*/ 670744 h 2112317"/>
                <a:gd name="connsiteX2132" fmla="*/ 593480 w 9154202"/>
                <a:gd name="connsiteY2132" fmla="*/ 669550 h 2112317"/>
                <a:gd name="connsiteX2133" fmla="*/ 592185 w 9154202"/>
                <a:gd name="connsiteY2133" fmla="*/ 668755 h 2112317"/>
                <a:gd name="connsiteX2134" fmla="*/ 589594 w 9154202"/>
                <a:gd name="connsiteY2134" fmla="*/ 667959 h 2112317"/>
                <a:gd name="connsiteX2135" fmla="*/ 591587 w 9154202"/>
                <a:gd name="connsiteY2135" fmla="*/ 665869 h 2112317"/>
                <a:gd name="connsiteX2136" fmla="*/ 596071 w 9154202"/>
                <a:gd name="connsiteY2136" fmla="*/ 663482 h 2112317"/>
                <a:gd name="connsiteX2137" fmla="*/ 598263 w 9154202"/>
                <a:gd name="connsiteY2137" fmla="*/ 661890 h 2112317"/>
                <a:gd name="connsiteX2138" fmla="*/ 603445 w 9154202"/>
                <a:gd name="connsiteY2138" fmla="*/ 654926 h 2112317"/>
                <a:gd name="connsiteX2139" fmla="*/ 604441 w 9154202"/>
                <a:gd name="connsiteY2139" fmla="*/ 653234 h 2112317"/>
                <a:gd name="connsiteX2140" fmla="*/ 604441 w 9154202"/>
                <a:gd name="connsiteY2140" fmla="*/ 649454 h 2112317"/>
                <a:gd name="connsiteX2141" fmla="*/ 605238 w 9154202"/>
                <a:gd name="connsiteY2141" fmla="*/ 647564 h 2112317"/>
                <a:gd name="connsiteX2142" fmla="*/ 606733 w 9154202"/>
                <a:gd name="connsiteY2142" fmla="*/ 646867 h 2112317"/>
                <a:gd name="connsiteX2143" fmla="*/ 608825 w 9154202"/>
                <a:gd name="connsiteY2143" fmla="*/ 646867 h 2112317"/>
                <a:gd name="connsiteX2144" fmla="*/ 611217 w 9154202"/>
                <a:gd name="connsiteY2144" fmla="*/ 647564 h 2112317"/>
                <a:gd name="connsiteX2145" fmla="*/ 612512 w 9154202"/>
                <a:gd name="connsiteY2145" fmla="*/ 649553 h 2112317"/>
                <a:gd name="connsiteX2146" fmla="*/ 614605 w 9154202"/>
                <a:gd name="connsiteY2146" fmla="*/ 654926 h 2112317"/>
                <a:gd name="connsiteX2147" fmla="*/ 611815 w 9154202"/>
                <a:gd name="connsiteY2147" fmla="*/ 655722 h 2112317"/>
                <a:gd name="connsiteX2148" fmla="*/ 609822 w 9154202"/>
                <a:gd name="connsiteY2148" fmla="*/ 657413 h 2112317"/>
                <a:gd name="connsiteX2149" fmla="*/ 606334 w 9154202"/>
                <a:gd name="connsiteY2149" fmla="*/ 662487 h 2112317"/>
                <a:gd name="connsiteX2150" fmla="*/ 604939 w 9154202"/>
                <a:gd name="connsiteY2150" fmla="*/ 663979 h 2112317"/>
                <a:gd name="connsiteX2151" fmla="*/ 602149 w 9154202"/>
                <a:gd name="connsiteY2151" fmla="*/ 666068 h 2112317"/>
                <a:gd name="connsiteX2152" fmla="*/ 599160 w 9154202"/>
                <a:gd name="connsiteY2152" fmla="*/ 669749 h 2112317"/>
                <a:gd name="connsiteX2153" fmla="*/ 599160 w 9154202"/>
                <a:gd name="connsiteY2153" fmla="*/ 670446 h 2112317"/>
                <a:gd name="connsiteX2154" fmla="*/ 599160 w 9154202"/>
                <a:gd name="connsiteY2154" fmla="*/ 671938 h 2112317"/>
                <a:gd name="connsiteX2155" fmla="*/ 599160 w 9154202"/>
                <a:gd name="connsiteY2155" fmla="*/ 673033 h 2112317"/>
                <a:gd name="connsiteX2156" fmla="*/ 600455 w 9154202"/>
                <a:gd name="connsiteY2156" fmla="*/ 673828 h 2112317"/>
                <a:gd name="connsiteX2157" fmla="*/ 608128 w 9154202"/>
                <a:gd name="connsiteY2157" fmla="*/ 677111 h 2112317"/>
                <a:gd name="connsiteX2158" fmla="*/ 609623 w 9154202"/>
                <a:gd name="connsiteY2158" fmla="*/ 680494 h 2112317"/>
                <a:gd name="connsiteX2159" fmla="*/ 609025 w 9154202"/>
                <a:gd name="connsiteY2159" fmla="*/ 682981 h 2112317"/>
                <a:gd name="connsiteX2160" fmla="*/ 605537 w 9154202"/>
                <a:gd name="connsiteY2160" fmla="*/ 687558 h 2112317"/>
                <a:gd name="connsiteX2161" fmla="*/ 604541 w 9154202"/>
                <a:gd name="connsiteY2161" fmla="*/ 691239 h 2112317"/>
                <a:gd name="connsiteX2162" fmla="*/ 604541 w 9154202"/>
                <a:gd name="connsiteY2162" fmla="*/ 698302 h 2112317"/>
                <a:gd name="connsiteX2163" fmla="*/ 603544 w 9154202"/>
                <a:gd name="connsiteY2163" fmla="*/ 701088 h 2112317"/>
                <a:gd name="connsiteX2164" fmla="*/ 603544 w 9154202"/>
                <a:gd name="connsiteY2164" fmla="*/ 702083 h 2112317"/>
                <a:gd name="connsiteX2165" fmla="*/ 603544 w 9154202"/>
                <a:gd name="connsiteY2165" fmla="*/ 705266 h 2112317"/>
                <a:gd name="connsiteX2166" fmla="*/ 603544 w 9154202"/>
                <a:gd name="connsiteY2166" fmla="*/ 706361 h 2112317"/>
                <a:gd name="connsiteX2167" fmla="*/ 603544 w 9154202"/>
                <a:gd name="connsiteY2167" fmla="*/ 707455 h 2112317"/>
                <a:gd name="connsiteX2168" fmla="*/ 601850 w 9154202"/>
                <a:gd name="connsiteY2168" fmla="*/ 710340 h 2112317"/>
                <a:gd name="connsiteX2169" fmla="*/ 601252 w 9154202"/>
                <a:gd name="connsiteY2169" fmla="*/ 711037 h 2112317"/>
                <a:gd name="connsiteX2170" fmla="*/ 595373 w 9154202"/>
                <a:gd name="connsiteY2170" fmla="*/ 712430 h 2112317"/>
                <a:gd name="connsiteX2171" fmla="*/ 593381 w 9154202"/>
                <a:gd name="connsiteY2171" fmla="*/ 714121 h 2112317"/>
                <a:gd name="connsiteX2172" fmla="*/ 592583 w 9154202"/>
                <a:gd name="connsiteY2172" fmla="*/ 718598 h 2112317"/>
                <a:gd name="connsiteX2173" fmla="*/ 591188 w 9154202"/>
                <a:gd name="connsiteY2173" fmla="*/ 720289 h 2112317"/>
                <a:gd name="connsiteX2174" fmla="*/ 582121 w 9154202"/>
                <a:gd name="connsiteY2174" fmla="*/ 722677 h 2112317"/>
                <a:gd name="connsiteX2175" fmla="*/ 580925 w 9154202"/>
                <a:gd name="connsiteY2175" fmla="*/ 723572 h 2112317"/>
                <a:gd name="connsiteX2176" fmla="*/ 580128 w 9154202"/>
                <a:gd name="connsiteY2176" fmla="*/ 724268 h 2112317"/>
                <a:gd name="connsiteX2177" fmla="*/ 580128 w 9154202"/>
                <a:gd name="connsiteY2177" fmla="*/ 725562 h 2112317"/>
                <a:gd name="connsiteX2178" fmla="*/ 580128 w 9154202"/>
                <a:gd name="connsiteY2178" fmla="*/ 729740 h 2112317"/>
                <a:gd name="connsiteX2179" fmla="*/ 580128 w 9154202"/>
                <a:gd name="connsiteY2179" fmla="*/ 731531 h 2112317"/>
                <a:gd name="connsiteX2180" fmla="*/ 580128 w 9154202"/>
                <a:gd name="connsiteY2180" fmla="*/ 733322 h 2112317"/>
                <a:gd name="connsiteX2181" fmla="*/ 580128 w 9154202"/>
                <a:gd name="connsiteY2181" fmla="*/ 734814 h 2112317"/>
                <a:gd name="connsiteX2182" fmla="*/ 580128 w 9154202"/>
                <a:gd name="connsiteY2182" fmla="*/ 735610 h 2112317"/>
                <a:gd name="connsiteX2183" fmla="*/ 580128 w 9154202"/>
                <a:gd name="connsiteY2183" fmla="*/ 741380 h 2112317"/>
                <a:gd name="connsiteX2184" fmla="*/ 579032 w 9154202"/>
                <a:gd name="connsiteY2184" fmla="*/ 742674 h 2112317"/>
                <a:gd name="connsiteX2185" fmla="*/ 577936 w 9154202"/>
                <a:gd name="connsiteY2185" fmla="*/ 742674 h 2112317"/>
                <a:gd name="connsiteX2186" fmla="*/ 577139 w 9154202"/>
                <a:gd name="connsiteY2186" fmla="*/ 743271 h 2112317"/>
                <a:gd name="connsiteX2187" fmla="*/ 576640 w 9154202"/>
                <a:gd name="connsiteY2187" fmla="*/ 745658 h 2112317"/>
                <a:gd name="connsiteX2188" fmla="*/ 577637 w 9154202"/>
                <a:gd name="connsiteY2188" fmla="*/ 749936 h 2112317"/>
                <a:gd name="connsiteX2189" fmla="*/ 580128 w 9154202"/>
                <a:gd name="connsiteY2189" fmla="*/ 749936 h 2112317"/>
                <a:gd name="connsiteX2190" fmla="*/ 583018 w 9154202"/>
                <a:gd name="connsiteY2190" fmla="*/ 747549 h 2112317"/>
                <a:gd name="connsiteX2191" fmla="*/ 588498 w 9154202"/>
                <a:gd name="connsiteY2191" fmla="*/ 744464 h 2112317"/>
                <a:gd name="connsiteX2192" fmla="*/ 589096 w 9154202"/>
                <a:gd name="connsiteY2192" fmla="*/ 740385 h 2112317"/>
                <a:gd name="connsiteX2193" fmla="*/ 588199 w 9154202"/>
                <a:gd name="connsiteY2193" fmla="*/ 735710 h 2112317"/>
                <a:gd name="connsiteX2194" fmla="*/ 587003 w 9154202"/>
                <a:gd name="connsiteY2194" fmla="*/ 732227 h 2112317"/>
                <a:gd name="connsiteX2195" fmla="*/ 589694 w 9154202"/>
                <a:gd name="connsiteY2195" fmla="*/ 733023 h 2112317"/>
                <a:gd name="connsiteX2196" fmla="*/ 592085 w 9154202"/>
                <a:gd name="connsiteY2196" fmla="*/ 735511 h 2112317"/>
                <a:gd name="connsiteX2197" fmla="*/ 593978 w 9154202"/>
                <a:gd name="connsiteY2197" fmla="*/ 738993 h 2112317"/>
                <a:gd name="connsiteX2198" fmla="*/ 594776 w 9154202"/>
                <a:gd name="connsiteY2198" fmla="*/ 742674 h 2112317"/>
                <a:gd name="connsiteX2199" fmla="*/ 594776 w 9154202"/>
                <a:gd name="connsiteY2199" fmla="*/ 744763 h 2112317"/>
                <a:gd name="connsiteX2200" fmla="*/ 593580 w 9154202"/>
                <a:gd name="connsiteY2200" fmla="*/ 746255 h 2112317"/>
                <a:gd name="connsiteX2201" fmla="*/ 593580 w 9154202"/>
                <a:gd name="connsiteY2201" fmla="*/ 747748 h 2112317"/>
                <a:gd name="connsiteX2202" fmla="*/ 594875 w 9154202"/>
                <a:gd name="connsiteY2202" fmla="*/ 749837 h 2112317"/>
                <a:gd name="connsiteX2203" fmla="*/ 596270 w 9154202"/>
                <a:gd name="connsiteY2203" fmla="*/ 749837 h 2112317"/>
                <a:gd name="connsiteX2204" fmla="*/ 601751 w 9154202"/>
                <a:gd name="connsiteY2204" fmla="*/ 749837 h 2112317"/>
                <a:gd name="connsiteX2205" fmla="*/ 604640 w 9154202"/>
                <a:gd name="connsiteY2205" fmla="*/ 749837 h 2112317"/>
                <a:gd name="connsiteX2206" fmla="*/ 607530 w 9154202"/>
                <a:gd name="connsiteY2206" fmla="*/ 750732 h 2112317"/>
                <a:gd name="connsiteX2207" fmla="*/ 610320 w 9154202"/>
                <a:gd name="connsiteY2207" fmla="*/ 750732 h 2112317"/>
                <a:gd name="connsiteX2208" fmla="*/ 613110 w 9154202"/>
                <a:gd name="connsiteY2208" fmla="*/ 749936 h 2112317"/>
                <a:gd name="connsiteX2209" fmla="*/ 620484 w 9154202"/>
                <a:gd name="connsiteY2209" fmla="*/ 744862 h 2112317"/>
                <a:gd name="connsiteX2210" fmla="*/ 621779 w 9154202"/>
                <a:gd name="connsiteY2210" fmla="*/ 743569 h 2112317"/>
                <a:gd name="connsiteX2211" fmla="*/ 622776 w 9154202"/>
                <a:gd name="connsiteY2211" fmla="*/ 741679 h 2112317"/>
                <a:gd name="connsiteX2212" fmla="*/ 627658 w 9154202"/>
                <a:gd name="connsiteY2212" fmla="*/ 736406 h 2112317"/>
                <a:gd name="connsiteX2213" fmla="*/ 628754 w 9154202"/>
                <a:gd name="connsiteY2213" fmla="*/ 733023 h 2112317"/>
                <a:gd name="connsiteX2214" fmla="*/ 630448 w 9154202"/>
                <a:gd name="connsiteY2214" fmla="*/ 731531 h 2112317"/>
                <a:gd name="connsiteX2215" fmla="*/ 640413 w 9154202"/>
                <a:gd name="connsiteY2215" fmla="*/ 732426 h 2112317"/>
                <a:gd name="connsiteX2216" fmla="*/ 651274 w 9154202"/>
                <a:gd name="connsiteY2216" fmla="*/ 730238 h 2112317"/>
                <a:gd name="connsiteX2217" fmla="*/ 661238 w 9154202"/>
                <a:gd name="connsiteY2217" fmla="*/ 725462 h 2112317"/>
                <a:gd name="connsiteX2218" fmla="*/ 666519 w 9154202"/>
                <a:gd name="connsiteY2218" fmla="*/ 720090 h 2112317"/>
                <a:gd name="connsiteX2219" fmla="*/ 669608 w 9154202"/>
                <a:gd name="connsiteY2219" fmla="*/ 718200 h 2112317"/>
                <a:gd name="connsiteX2220" fmla="*/ 670904 w 9154202"/>
                <a:gd name="connsiteY2220" fmla="*/ 720190 h 2112317"/>
                <a:gd name="connsiteX2221" fmla="*/ 669808 w 9154202"/>
                <a:gd name="connsiteY2221" fmla="*/ 722179 h 2112317"/>
                <a:gd name="connsiteX2222" fmla="*/ 662932 w 9154202"/>
                <a:gd name="connsiteY2222" fmla="*/ 729044 h 2112317"/>
                <a:gd name="connsiteX2223" fmla="*/ 660640 w 9154202"/>
                <a:gd name="connsiteY2223" fmla="*/ 730437 h 2112317"/>
                <a:gd name="connsiteX2224" fmla="*/ 654662 w 9154202"/>
                <a:gd name="connsiteY2224" fmla="*/ 733023 h 2112317"/>
                <a:gd name="connsiteX2225" fmla="*/ 652171 w 9154202"/>
                <a:gd name="connsiteY2225" fmla="*/ 733023 h 2112317"/>
                <a:gd name="connsiteX2226" fmla="*/ 650875 w 9154202"/>
                <a:gd name="connsiteY2226" fmla="*/ 733023 h 2112317"/>
                <a:gd name="connsiteX2227" fmla="*/ 648683 w 9154202"/>
                <a:gd name="connsiteY2227" fmla="*/ 735411 h 2112317"/>
                <a:gd name="connsiteX2228" fmla="*/ 647388 w 9154202"/>
                <a:gd name="connsiteY2228" fmla="*/ 736207 h 2112317"/>
                <a:gd name="connsiteX2229" fmla="*/ 645893 w 9154202"/>
                <a:gd name="connsiteY2229" fmla="*/ 736207 h 2112317"/>
                <a:gd name="connsiteX2230" fmla="*/ 642107 w 9154202"/>
                <a:gd name="connsiteY2230" fmla="*/ 734914 h 2112317"/>
                <a:gd name="connsiteX2231" fmla="*/ 639017 w 9154202"/>
                <a:gd name="connsiteY2231" fmla="*/ 734914 h 2112317"/>
                <a:gd name="connsiteX2232" fmla="*/ 634932 w 9154202"/>
                <a:gd name="connsiteY2232" fmla="*/ 735511 h 2112317"/>
                <a:gd name="connsiteX2233" fmla="*/ 631445 w 9154202"/>
                <a:gd name="connsiteY2233" fmla="*/ 737102 h 2112317"/>
                <a:gd name="connsiteX2234" fmla="*/ 629950 w 9154202"/>
                <a:gd name="connsiteY2234" fmla="*/ 740187 h 2112317"/>
                <a:gd name="connsiteX2235" fmla="*/ 629950 w 9154202"/>
                <a:gd name="connsiteY2235" fmla="*/ 742375 h 2112317"/>
                <a:gd name="connsiteX2236" fmla="*/ 629352 w 9154202"/>
                <a:gd name="connsiteY2236" fmla="*/ 743470 h 2112317"/>
                <a:gd name="connsiteX2237" fmla="*/ 626163 w 9154202"/>
                <a:gd name="connsiteY2237" fmla="*/ 746753 h 2112317"/>
                <a:gd name="connsiteX2238" fmla="*/ 625067 w 9154202"/>
                <a:gd name="connsiteY2238" fmla="*/ 746753 h 2112317"/>
                <a:gd name="connsiteX2239" fmla="*/ 625067 w 9154202"/>
                <a:gd name="connsiteY2239" fmla="*/ 746753 h 2112317"/>
                <a:gd name="connsiteX2240" fmla="*/ 626064 w 9154202"/>
                <a:gd name="connsiteY2240" fmla="*/ 748245 h 2112317"/>
                <a:gd name="connsiteX2241" fmla="*/ 628356 w 9154202"/>
                <a:gd name="connsiteY2241" fmla="*/ 749936 h 2112317"/>
                <a:gd name="connsiteX2242" fmla="*/ 631544 w 9154202"/>
                <a:gd name="connsiteY2242" fmla="*/ 751329 h 2112317"/>
                <a:gd name="connsiteX2243" fmla="*/ 634334 w 9154202"/>
                <a:gd name="connsiteY2243" fmla="*/ 753120 h 2112317"/>
                <a:gd name="connsiteX2244" fmla="*/ 635530 w 9154202"/>
                <a:gd name="connsiteY2244" fmla="*/ 755806 h 2112317"/>
                <a:gd name="connsiteX2245" fmla="*/ 636128 w 9154202"/>
                <a:gd name="connsiteY2245" fmla="*/ 757796 h 2112317"/>
                <a:gd name="connsiteX2246" fmla="*/ 638420 w 9154202"/>
                <a:gd name="connsiteY2246" fmla="*/ 760382 h 2112317"/>
                <a:gd name="connsiteX2247" fmla="*/ 639017 w 9154202"/>
                <a:gd name="connsiteY2247" fmla="*/ 762173 h 2112317"/>
                <a:gd name="connsiteX2248" fmla="*/ 639017 w 9154202"/>
                <a:gd name="connsiteY2248" fmla="*/ 763467 h 2112317"/>
                <a:gd name="connsiteX2249" fmla="*/ 636726 w 9154202"/>
                <a:gd name="connsiteY2249" fmla="*/ 768043 h 2112317"/>
                <a:gd name="connsiteX2250" fmla="*/ 637523 w 9154202"/>
                <a:gd name="connsiteY2250" fmla="*/ 770928 h 2112317"/>
                <a:gd name="connsiteX2251" fmla="*/ 636128 w 9154202"/>
                <a:gd name="connsiteY2251" fmla="*/ 774211 h 2112317"/>
                <a:gd name="connsiteX2252" fmla="*/ 633537 w 9154202"/>
                <a:gd name="connsiteY2252" fmla="*/ 776997 h 2112317"/>
                <a:gd name="connsiteX2253" fmla="*/ 630647 w 9154202"/>
                <a:gd name="connsiteY2253" fmla="*/ 778489 h 2112317"/>
                <a:gd name="connsiteX2254" fmla="*/ 631445 w 9154202"/>
                <a:gd name="connsiteY2254" fmla="*/ 781374 h 2112317"/>
                <a:gd name="connsiteX2255" fmla="*/ 630050 w 9154202"/>
                <a:gd name="connsiteY2255" fmla="*/ 782668 h 2112317"/>
                <a:gd name="connsiteX2256" fmla="*/ 627857 w 9154202"/>
                <a:gd name="connsiteY2256" fmla="*/ 783464 h 2112317"/>
                <a:gd name="connsiteX2257" fmla="*/ 626363 w 9154202"/>
                <a:gd name="connsiteY2257" fmla="*/ 785453 h 2112317"/>
                <a:gd name="connsiteX2258" fmla="*/ 629950 w 9154202"/>
                <a:gd name="connsiteY2258" fmla="*/ 787841 h 2112317"/>
                <a:gd name="connsiteX2259" fmla="*/ 630647 w 9154202"/>
                <a:gd name="connsiteY2259" fmla="*/ 788935 h 2112317"/>
                <a:gd name="connsiteX2260" fmla="*/ 630647 w 9154202"/>
                <a:gd name="connsiteY2260" fmla="*/ 790527 h 2112317"/>
                <a:gd name="connsiteX2261" fmla="*/ 630050 w 9154202"/>
                <a:gd name="connsiteY2261" fmla="*/ 792417 h 2112317"/>
                <a:gd name="connsiteX2262" fmla="*/ 629252 w 9154202"/>
                <a:gd name="connsiteY2262" fmla="*/ 794009 h 2112317"/>
                <a:gd name="connsiteX2263" fmla="*/ 628555 w 9154202"/>
                <a:gd name="connsiteY2263" fmla="*/ 794706 h 2112317"/>
                <a:gd name="connsiteX2264" fmla="*/ 626562 w 9154202"/>
                <a:gd name="connsiteY2264" fmla="*/ 795999 h 2112317"/>
                <a:gd name="connsiteX2265" fmla="*/ 626562 w 9154202"/>
                <a:gd name="connsiteY2265" fmla="*/ 798984 h 2112317"/>
                <a:gd name="connsiteX2266" fmla="*/ 628754 w 9154202"/>
                <a:gd name="connsiteY2266" fmla="*/ 805152 h 2112317"/>
                <a:gd name="connsiteX2267" fmla="*/ 626363 w 9154202"/>
                <a:gd name="connsiteY2267" fmla="*/ 803361 h 2112317"/>
                <a:gd name="connsiteX2268" fmla="*/ 621480 w 9154202"/>
                <a:gd name="connsiteY2268" fmla="*/ 798188 h 2112317"/>
                <a:gd name="connsiteX2269" fmla="*/ 619288 w 9154202"/>
                <a:gd name="connsiteY2269" fmla="*/ 799382 h 2112317"/>
                <a:gd name="connsiteX2270" fmla="*/ 617295 w 9154202"/>
                <a:gd name="connsiteY2270" fmla="*/ 797690 h 2112317"/>
                <a:gd name="connsiteX2271" fmla="*/ 614505 w 9154202"/>
                <a:gd name="connsiteY2271" fmla="*/ 794706 h 2112317"/>
                <a:gd name="connsiteX2272" fmla="*/ 612114 w 9154202"/>
                <a:gd name="connsiteY2272" fmla="*/ 793114 h 2112317"/>
                <a:gd name="connsiteX2273" fmla="*/ 611018 w 9154202"/>
                <a:gd name="connsiteY2273" fmla="*/ 795899 h 2112317"/>
                <a:gd name="connsiteX2274" fmla="*/ 611815 w 9154202"/>
                <a:gd name="connsiteY2274" fmla="*/ 798387 h 2112317"/>
                <a:gd name="connsiteX2275" fmla="*/ 619188 w 9154202"/>
                <a:gd name="connsiteY2275" fmla="*/ 809330 h 2112317"/>
                <a:gd name="connsiteX2276" fmla="*/ 623274 w 9154202"/>
                <a:gd name="connsiteY2276" fmla="*/ 813210 h 2112317"/>
                <a:gd name="connsiteX2277" fmla="*/ 630448 w 9154202"/>
                <a:gd name="connsiteY2277" fmla="*/ 817787 h 2112317"/>
                <a:gd name="connsiteX2278" fmla="*/ 632242 w 9154202"/>
                <a:gd name="connsiteY2278" fmla="*/ 817787 h 2112317"/>
                <a:gd name="connsiteX2279" fmla="*/ 633736 w 9154202"/>
                <a:gd name="connsiteY2279" fmla="*/ 818483 h 2112317"/>
                <a:gd name="connsiteX2280" fmla="*/ 635630 w 9154202"/>
                <a:gd name="connsiteY2280" fmla="*/ 821667 h 2112317"/>
                <a:gd name="connsiteX2281" fmla="*/ 636626 w 9154202"/>
                <a:gd name="connsiteY2281" fmla="*/ 822363 h 2112317"/>
                <a:gd name="connsiteX2282" fmla="*/ 639316 w 9154202"/>
                <a:gd name="connsiteY2282" fmla="*/ 823159 h 2112317"/>
                <a:gd name="connsiteX2283" fmla="*/ 642107 w 9154202"/>
                <a:gd name="connsiteY2283" fmla="*/ 824950 h 2112317"/>
                <a:gd name="connsiteX2284" fmla="*/ 648583 w 9154202"/>
                <a:gd name="connsiteY2284" fmla="*/ 831317 h 2112317"/>
                <a:gd name="connsiteX2285" fmla="*/ 648583 w 9154202"/>
                <a:gd name="connsiteY2285" fmla="*/ 832511 h 2112317"/>
                <a:gd name="connsiteX2286" fmla="*/ 648583 w 9154202"/>
                <a:gd name="connsiteY2286" fmla="*/ 836291 h 2112317"/>
                <a:gd name="connsiteX2287" fmla="*/ 649181 w 9154202"/>
                <a:gd name="connsiteY2287" fmla="*/ 837983 h 2112317"/>
                <a:gd name="connsiteX2288" fmla="*/ 650078 w 9154202"/>
                <a:gd name="connsiteY2288" fmla="*/ 839276 h 2112317"/>
                <a:gd name="connsiteX2289" fmla="*/ 654662 w 9154202"/>
                <a:gd name="connsiteY2289" fmla="*/ 840470 h 2112317"/>
                <a:gd name="connsiteX2290" fmla="*/ 660640 w 9154202"/>
                <a:gd name="connsiteY2290" fmla="*/ 843653 h 2112317"/>
                <a:gd name="connsiteX2291" fmla="*/ 663929 w 9154202"/>
                <a:gd name="connsiteY2291" fmla="*/ 844350 h 2112317"/>
                <a:gd name="connsiteX2292" fmla="*/ 670106 w 9154202"/>
                <a:gd name="connsiteY2292" fmla="*/ 843156 h 2112317"/>
                <a:gd name="connsiteX2293" fmla="*/ 673694 w 9154202"/>
                <a:gd name="connsiteY2293" fmla="*/ 843156 h 2112317"/>
                <a:gd name="connsiteX2294" fmla="*/ 676583 w 9154202"/>
                <a:gd name="connsiteY2294" fmla="*/ 846837 h 2112317"/>
                <a:gd name="connsiteX2295" fmla="*/ 677281 w 9154202"/>
                <a:gd name="connsiteY2295" fmla="*/ 846837 h 2112317"/>
                <a:gd name="connsiteX2296" fmla="*/ 677978 w 9154202"/>
                <a:gd name="connsiteY2296" fmla="*/ 846837 h 2112317"/>
                <a:gd name="connsiteX2297" fmla="*/ 679772 w 9154202"/>
                <a:gd name="connsiteY2297" fmla="*/ 846837 h 2112317"/>
                <a:gd name="connsiteX2298" fmla="*/ 680868 w 9154202"/>
                <a:gd name="connsiteY2298" fmla="*/ 847533 h 2112317"/>
                <a:gd name="connsiteX2299" fmla="*/ 680868 w 9154202"/>
                <a:gd name="connsiteY2299" fmla="*/ 847533 h 2112317"/>
                <a:gd name="connsiteX2300" fmla="*/ 680071 w 9154202"/>
                <a:gd name="connsiteY2300" fmla="*/ 843753 h 2112317"/>
                <a:gd name="connsiteX2301" fmla="*/ 683160 w 9154202"/>
                <a:gd name="connsiteY2301" fmla="*/ 842559 h 2112317"/>
                <a:gd name="connsiteX2302" fmla="*/ 693124 w 9154202"/>
                <a:gd name="connsiteY2302" fmla="*/ 842559 h 2112317"/>
                <a:gd name="connsiteX2303" fmla="*/ 696014 w 9154202"/>
                <a:gd name="connsiteY2303" fmla="*/ 841962 h 2112317"/>
                <a:gd name="connsiteX2304" fmla="*/ 701793 w 9154202"/>
                <a:gd name="connsiteY2304" fmla="*/ 839674 h 2112317"/>
                <a:gd name="connsiteX2305" fmla="*/ 704384 w 9154202"/>
                <a:gd name="connsiteY2305" fmla="*/ 837983 h 2112317"/>
                <a:gd name="connsiteX2306" fmla="*/ 703487 w 9154202"/>
                <a:gd name="connsiteY2306" fmla="*/ 835694 h 2112317"/>
                <a:gd name="connsiteX2307" fmla="*/ 703487 w 9154202"/>
                <a:gd name="connsiteY2307" fmla="*/ 834202 h 2112317"/>
                <a:gd name="connsiteX2308" fmla="*/ 704982 w 9154202"/>
                <a:gd name="connsiteY2308" fmla="*/ 833406 h 2112317"/>
                <a:gd name="connsiteX2309" fmla="*/ 706975 w 9154202"/>
                <a:gd name="connsiteY2309" fmla="*/ 833406 h 2112317"/>
                <a:gd name="connsiteX2310" fmla="*/ 708171 w 9154202"/>
                <a:gd name="connsiteY2310" fmla="*/ 832610 h 2112317"/>
                <a:gd name="connsiteX2311" fmla="*/ 707573 w 9154202"/>
                <a:gd name="connsiteY2311" fmla="*/ 830720 h 2112317"/>
                <a:gd name="connsiteX2312" fmla="*/ 707473 w 9154202"/>
                <a:gd name="connsiteY2312" fmla="*/ 828531 h 2112317"/>
                <a:gd name="connsiteX2313" fmla="*/ 706178 w 9154202"/>
                <a:gd name="connsiteY2313" fmla="*/ 827437 h 2112317"/>
                <a:gd name="connsiteX2314" fmla="*/ 709864 w 9154202"/>
                <a:gd name="connsiteY2314" fmla="*/ 819478 h 2112317"/>
                <a:gd name="connsiteX2315" fmla="*/ 710861 w 9154202"/>
                <a:gd name="connsiteY2315" fmla="*/ 818185 h 2112317"/>
                <a:gd name="connsiteX2316" fmla="*/ 712754 w 9154202"/>
                <a:gd name="connsiteY2316" fmla="*/ 818981 h 2112317"/>
                <a:gd name="connsiteX2317" fmla="*/ 712754 w 9154202"/>
                <a:gd name="connsiteY2317" fmla="*/ 821070 h 2112317"/>
                <a:gd name="connsiteX2318" fmla="*/ 712057 w 9154202"/>
                <a:gd name="connsiteY2318" fmla="*/ 823358 h 2112317"/>
                <a:gd name="connsiteX2319" fmla="*/ 710961 w 9154202"/>
                <a:gd name="connsiteY2319" fmla="*/ 825149 h 2112317"/>
                <a:gd name="connsiteX2320" fmla="*/ 711658 w 9154202"/>
                <a:gd name="connsiteY2320" fmla="*/ 826044 h 2112317"/>
                <a:gd name="connsiteX2321" fmla="*/ 713252 w 9154202"/>
                <a:gd name="connsiteY2321" fmla="*/ 827636 h 2112317"/>
                <a:gd name="connsiteX2322" fmla="*/ 713252 w 9154202"/>
                <a:gd name="connsiteY2322" fmla="*/ 828531 h 2112317"/>
                <a:gd name="connsiteX2323" fmla="*/ 713252 w 9154202"/>
                <a:gd name="connsiteY2323" fmla="*/ 830024 h 2112317"/>
                <a:gd name="connsiteX2324" fmla="*/ 713252 w 9154202"/>
                <a:gd name="connsiteY2324" fmla="*/ 830621 h 2112317"/>
                <a:gd name="connsiteX2325" fmla="*/ 713252 w 9154202"/>
                <a:gd name="connsiteY2325" fmla="*/ 830621 h 2112317"/>
                <a:gd name="connsiteX2326" fmla="*/ 713252 w 9154202"/>
                <a:gd name="connsiteY2326" fmla="*/ 831615 h 2112317"/>
                <a:gd name="connsiteX2327" fmla="*/ 713950 w 9154202"/>
                <a:gd name="connsiteY2327" fmla="*/ 835296 h 2112317"/>
                <a:gd name="connsiteX2328" fmla="*/ 714847 w 9154202"/>
                <a:gd name="connsiteY2328" fmla="*/ 836789 h 2112317"/>
                <a:gd name="connsiteX2329" fmla="*/ 716740 w 9154202"/>
                <a:gd name="connsiteY2329" fmla="*/ 837386 h 2112317"/>
                <a:gd name="connsiteX2330" fmla="*/ 717736 w 9154202"/>
                <a:gd name="connsiteY2330" fmla="*/ 837386 h 2112317"/>
                <a:gd name="connsiteX2331" fmla="*/ 717736 w 9154202"/>
                <a:gd name="connsiteY2331" fmla="*/ 837386 h 2112317"/>
                <a:gd name="connsiteX2332" fmla="*/ 717736 w 9154202"/>
                <a:gd name="connsiteY2332" fmla="*/ 837386 h 2112317"/>
                <a:gd name="connsiteX2333" fmla="*/ 718434 w 9154202"/>
                <a:gd name="connsiteY2333" fmla="*/ 837386 h 2112317"/>
                <a:gd name="connsiteX2334" fmla="*/ 718434 w 9154202"/>
                <a:gd name="connsiteY2334" fmla="*/ 837386 h 2112317"/>
                <a:gd name="connsiteX2335" fmla="*/ 721622 w 9154202"/>
                <a:gd name="connsiteY2335" fmla="*/ 835396 h 2112317"/>
                <a:gd name="connsiteX2336" fmla="*/ 722619 w 9154202"/>
                <a:gd name="connsiteY2336" fmla="*/ 833804 h 2112317"/>
                <a:gd name="connsiteX2337" fmla="*/ 724213 w 9154202"/>
                <a:gd name="connsiteY2337" fmla="*/ 829924 h 2112317"/>
                <a:gd name="connsiteX2338" fmla="*/ 725110 w 9154202"/>
                <a:gd name="connsiteY2338" fmla="*/ 828432 h 2112317"/>
                <a:gd name="connsiteX2339" fmla="*/ 723117 w 9154202"/>
                <a:gd name="connsiteY2339" fmla="*/ 825746 h 2112317"/>
                <a:gd name="connsiteX2340" fmla="*/ 718534 w 9154202"/>
                <a:gd name="connsiteY2340" fmla="*/ 822662 h 2112317"/>
                <a:gd name="connsiteX2341" fmla="*/ 718733 w 9154202"/>
                <a:gd name="connsiteY2341" fmla="*/ 819279 h 2112317"/>
                <a:gd name="connsiteX2342" fmla="*/ 717437 w 9154202"/>
                <a:gd name="connsiteY2342" fmla="*/ 816692 h 2112317"/>
                <a:gd name="connsiteX2343" fmla="*/ 716541 w 9154202"/>
                <a:gd name="connsiteY2343" fmla="*/ 813409 h 2112317"/>
                <a:gd name="connsiteX2344" fmla="*/ 716541 w 9154202"/>
                <a:gd name="connsiteY2344" fmla="*/ 809927 h 2112317"/>
                <a:gd name="connsiteX2345" fmla="*/ 716541 w 9154202"/>
                <a:gd name="connsiteY2345" fmla="*/ 806545 h 2112317"/>
                <a:gd name="connsiteX2346" fmla="*/ 717338 w 9154202"/>
                <a:gd name="connsiteY2346" fmla="*/ 803659 h 2112317"/>
                <a:gd name="connsiteX2347" fmla="*/ 718832 w 9154202"/>
                <a:gd name="connsiteY2347" fmla="*/ 801869 h 2112317"/>
                <a:gd name="connsiteX2348" fmla="*/ 732982 w 9154202"/>
                <a:gd name="connsiteY2348" fmla="*/ 796198 h 2112317"/>
                <a:gd name="connsiteX2349" fmla="*/ 737665 w 9154202"/>
                <a:gd name="connsiteY2349" fmla="*/ 792716 h 2112317"/>
                <a:gd name="connsiteX2350" fmla="*/ 739957 w 9154202"/>
                <a:gd name="connsiteY2350" fmla="*/ 790129 h 2112317"/>
                <a:gd name="connsiteX2351" fmla="*/ 740854 w 9154202"/>
                <a:gd name="connsiteY2351" fmla="*/ 788040 h 2112317"/>
                <a:gd name="connsiteX2352" fmla="*/ 740156 w 9154202"/>
                <a:gd name="connsiteY2352" fmla="*/ 787244 h 2112317"/>
                <a:gd name="connsiteX2353" fmla="*/ 737067 w 9154202"/>
                <a:gd name="connsiteY2353" fmla="*/ 785851 h 2112317"/>
                <a:gd name="connsiteX2354" fmla="*/ 736071 w 9154202"/>
                <a:gd name="connsiteY2354" fmla="*/ 785055 h 2112317"/>
                <a:gd name="connsiteX2355" fmla="*/ 735373 w 9154202"/>
                <a:gd name="connsiteY2355" fmla="*/ 784060 h 2112317"/>
                <a:gd name="connsiteX2356" fmla="*/ 734477 w 9154202"/>
                <a:gd name="connsiteY2356" fmla="*/ 781872 h 2112317"/>
                <a:gd name="connsiteX2357" fmla="*/ 733879 w 9154202"/>
                <a:gd name="connsiteY2357" fmla="*/ 781076 h 2112317"/>
                <a:gd name="connsiteX2358" fmla="*/ 731089 w 9154202"/>
                <a:gd name="connsiteY2358" fmla="*/ 779484 h 2112317"/>
                <a:gd name="connsiteX2359" fmla="*/ 725608 w 9154202"/>
                <a:gd name="connsiteY2359" fmla="*/ 777693 h 2112317"/>
                <a:gd name="connsiteX2360" fmla="*/ 723017 w 9154202"/>
                <a:gd name="connsiteY2360" fmla="*/ 776300 h 2112317"/>
                <a:gd name="connsiteX2361" fmla="*/ 721324 w 9154202"/>
                <a:gd name="connsiteY2361" fmla="*/ 774808 h 2112317"/>
                <a:gd name="connsiteX2362" fmla="*/ 719530 w 9154202"/>
                <a:gd name="connsiteY2362" fmla="*/ 772818 h 2112317"/>
                <a:gd name="connsiteX2363" fmla="*/ 718035 w 9154202"/>
                <a:gd name="connsiteY2363" fmla="*/ 770630 h 2112317"/>
                <a:gd name="connsiteX2364" fmla="*/ 716840 w 9154202"/>
                <a:gd name="connsiteY2364" fmla="*/ 768242 h 2112317"/>
                <a:gd name="connsiteX2365" fmla="*/ 719829 w 9154202"/>
                <a:gd name="connsiteY2365" fmla="*/ 769137 h 2112317"/>
                <a:gd name="connsiteX2366" fmla="*/ 725010 w 9154202"/>
                <a:gd name="connsiteY2366" fmla="*/ 773216 h 2112317"/>
                <a:gd name="connsiteX2367" fmla="*/ 730292 w 9154202"/>
                <a:gd name="connsiteY2367" fmla="*/ 774709 h 2112317"/>
                <a:gd name="connsiteX2368" fmla="*/ 737864 w 9154202"/>
                <a:gd name="connsiteY2368" fmla="*/ 778589 h 2112317"/>
                <a:gd name="connsiteX2369" fmla="*/ 739558 w 9154202"/>
                <a:gd name="connsiteY2369" fmla="*/ 780280 h 2112317"/>
                <a:gd name="connsiteX2370" fmla="*/ 744242 w 9154202"/>
                <a:gd name="connsiteY2370" fmla="*/ 786548 h 2112317"/>
                <a:gd name="connsiteX2371" fmla="*/ 746932 w 9154202"/>
                <a:gd name="connsiteY2371" fmla="*/ 788040 h 2112317"/>
                <a:gd name="connsiteX2372" fmla="*/ 747331 w 9154202"/>
                <a:gd name="connsiteY2372" fmla="*/ 789433 h 2112317"/>
                <a:gd name="connsiteX2373" fmla="*/ 745138 w 9154202"/>
                <a:gd name="connsiteY2373" fmla="*/ 792915 h 2112317"/>
                <a:gd name="connsiteX2374" fmla="*/ 740655 w 9154202"/>
                <a:gd name="connsiteY2374" fmla="*/ 798287 h 2112317"/>
                <a:gd name="connsiteX2375" fmla="*/ 739060 w 9154202"/>
                <a:gd name="connsiteY2375" fmla="*/ 798287 h 2112317"/>
                <a:gd name="connsiteX2376" fmla="*/ 733281 w 9154202"/>
                <a:gd name="connsiteY2376" fmla="*/ 798984 h 2112317"/>
                <a:gd name="connsiteX2377" fmla="*/ 731687 w 9154202"/>
                <a:gd name="connsiteY2377" fmla="*/ 798984 h 2112317"/>
                <a:gd name="connsiteX2378" fmla="*/ 729494 w 9154202"/>
                <a:gd name="connsiteY2378" fmla="*/ 801272 h 2112317"/>
                <a:gd name="connsiteX2379" fmla="*/ 724412 w 9154202"/>
                <a:gd name="connsiteY2379" fmla="*/ 803063 h 2112317"/>
                <a:gd name="connsiteX2380" fmla="*/ 722121 w 9154202"/>
                <a:gd name="connsiteY2380" fmla="*/ 806047 h 2112317"/>
                <a:gd name="connsiteX2381" fmla="*/ 722121 w 9154202"/>
                <a:gd name="connsiteY2381" fmla="*/ 809828 h 2112317"/>
                <a:gd name="connsiteX2382" fmla="*/ 723715 w 9154202"/>
                <a:gd name="connsiteY2382" fmla="*/ 813608 h 2112317"/>
                <a:gd name="connsiteX2383" fmla="*/ 725907 w 9154202"/>
                <a:gd name="connsiteY2383" fmla="*/ 815001 h 2112317"/>
                <a:gd name="connsiteX2384" fmla="*/ 728498 w 9154202"/>
                <a:gd name="connsiteY2384" fmla="*/ 815996 h 2112317"/>
                <a:gd name="connsiteX2385" fmla="*/ 730590 w 9154202"/>
                <a:gd name="connsiteY2385" fmla="*/ 817488 h 2112317"/>
                <a:gd name="connsiteX2386" fmla="*/ 731487 w 9154202"/>
                <a:gd name="connsiteY2386" fmla="*/ 820970 h 2112317"/>
                <a:gd name="connsiteX2387" fmla="*/ 731487 w 9154202"/>
                <a:gd name="connsiteY2387" fmla="*/ 827039 h 2112317"/>
                <a:gd name="connsiteX2388" fmla="*/ 731487 w 9154202"/>
                <a:gd name="connsiteY2388" fmla="*/ 830024 h 2112317"/>
                <a:gd name="connsiteX2389" fmla="*/ 730491 w 9154202"/>
                <a:gd name="connsiteY2389" fmla="*/ 833207 h 2112317"/>
                <a:gd name="connsiteX2390" fmla="*/ 726306 w 9154202"/>
                <a:gd name="connsiteY2390" fmla="*/ 838082 h 2112317"/>
                <a:gd name="connsiteX2391" fmla="*/ 724911 w 9154202"/>
                <a:gd name="connsiteY2391" fmla="*/ 840868 h 2112317"/>
                <a:gd name="connsiteX2392" fmla="*/ 725708 w 9154202"/>
                <a:gd name="connsiteY2392" fmla="*/ 844151 h 2112317"/>
                <a:gd name="connsiteX2393" fmla="*/ 726904 w 9154202"/>
                <a:gd name="connsiteY2393" fmla="*/ 845444 h 2112317"/>
                <a:gd name="connsiteX2394" fmla="*/ 731288 w 9154202"/>
                <a:gd name="connsiteY2394" fmla="*/ 848230 h 2112317"/>
                <a:gd name="connsiteX2395" fmla="*/ 738961 w 9154202"/>
                <a:gd name="connsiteY2395" fmla="*/ 858179 h 2112317"/>
                <a:gd name="connsiteX2396" fmla="*/ 740356 w 9154202"/>
                <a:gd name="connsiteY2396" fmla="*/ 860865 h 2112317"/>
                <a:gd name="connsiteX2397" fmla="*/ 740953 w 9154202"/>
                <a:gd name="connsiteY2397" fmla="*/ 864247 h 2112317"/>
                <a:gd name="connsiteX2398" fmla="*/ 742647 w 9154202"/>
                <a:gd name="connsiteY2398" fmla="*/ 864745 h 2112317"/>
                <a:gd name="connsiteX2399" fmla="*/ 759089 w 9154202"/>
                <a:gd name="connsiteY2399" fmla="*/ 862755 h 2112317"/>
                <a:gd name="connsiteX2400" fmla="*/ 775630 w 9154202"/>
                <a:gd name="connsiteY2400" fmla="*/ 854398 h 2112317"/>
                <a:gd name="connsiteX2401" fmla="*/ 773537 w 9154202"/>
                <a:gd name="connsiteY2401" fmla="*/ 859571 h 2112317"/>
                <a:gd name="connsiteX2402" fmla="*/ 768555 w 9154202"/>
                <a:gd name="connsiteY2402" fmla="*/ 863153 h 2112317"/>
                <a:gd name="connsiteX2403" fmla="*/ 762477 w 9154202"/>
                <a:gd name="connsiteY2403" fmla="*/ 865242 h 2112317"/>
                <a:gd name="connsiteX2404" fmla="*/ 755402 w 9154202"/>
                <a:gd name="connsiteY2404" fmla="*/ 866337 h 2112317"/>
                <a:gd name="connsiteX2405" fmla="*/ 754306 w 9154202"/>
                <a:gd name="connsiteY2405" fmla="*/ 867232 h 2112317"/>
                <a:gd name="connsiteX2406" fmla="*/ 753409 w 9154202"/>
                <a:gd name="connsiteY2406" fmla="*/ 868326 h 2112317"/>
                <a:gd name="connsiteX2407" fmla="*/ 752213 w 9154202"/>
                <a:gd name="connsiteY2407" fmla="*/ 869421 h 2112317"/>
                <a:gd name="connsiteX2408" fmla="*/ 748128 w 9154202"/>
                <a:gd name="connsiteY2408" fmla="*/ 870018 h 2112317"/>
                <a:gd name="connsiteX2409" fmla="*/ 746932 w 9154202"/>
                <a:gd name="connsiteY2409" fmla="*/ 870018 h 2112317"/>
                <a:gd name="connsiteX2410" fmla="*/ 745437 w 9154202"/>
                <a:gd name="connsiteY2410" fmla="*/ 872704 h 2112317"/>
                <a:gd name="connsiteX2411" fmla="*/ 745437 w 9154202"/>
                <a:gd name="connsiteY2411" fmla="*/ 875788 h 2112317"/>
                <a:gd name="connsiteX2412" fmla="*/ 746533 w 9154202"/>
                <a:gd name="connsiteY2412" fmla="*/ 878971 h 2112317"/>
                <a:gd name="connsiteX2413" fmla="*/ 747928 w 9154202"/>
                <a:gd name="connsiteY2413" fmla="*/ 881658 h 2112317"/>
                <a:gd name="connsiteX2414" fmla="*/ 746932 w 9154202"/>
                <a:gd name="connsiteY2414" fmla="*/ 883747 h 2112317"/>
                <a:gd name="connsiteX2415" fmla="*/ 746035 w 9154202"/>
                <a:gd name="connsiteY2415" fmla="*/ 886234 h 2112317"/>
                <a:gd name="connsiteX2416" fmla="*/ 744341 w 9154202"/>
                <a:gd name="connsiteY2416" fmla="*/ 888920 h 2112317"/>
                <a:gd name="connsiteX2417" fmla="*/ 742149 w 9154202"/>
                <a:gd name="connsiteY2417" fmla="*/ 887527 h 2112317"/>
                <a:gd name="connsiteX2418" fmla="*/ 740754 w 9154202"/>
                <a:gd name="connsiteY2418" fmla="*/ 884941 h 2112317"/>
                <a:gd name="connsiteX2419" fmla="*/ 738961 w 9154202"/>
                <a:gd name="connsiteY2419" fmla="*/ 878971 h 2112317"/>
                <a:gd name="connsiteX2420" fmla="*/ 737864 w 9154202"/>
                <a:gd name="connsiteY2420" fmla="*/ 876484 h 2112317"/>
                <a:gd name="connsiteX2421" fmla="*/ 737864 w 9154202"/>
                <a:gd name="connsiteY2421" fmla="*/ 874296 h 2112317"/>
                <a:gd name="connsiteX2422" fmla="*/ 736868 w 9154202"/>
                <a:gd name="connsiteY2422" fmla="*/ 867729 h 2112317"/>
                <a:gd name="connsiteX2423" fmla="*/ 736170 w 9154202"/>
                <a:gd name="connsiteY2423" fmla="*/ 867033 h 2112317"/>
                <a:gd name="connsiteX2424" fmla="*/ 732484 w 9154202"/>
                <a:gd name="connsiteY2424" fmla="*/ 861362 h 2112317"/>
                <a:gd name="connsiteX2425" fmla="*/ 726007 w 9154202"/>
                <a:gd name="connsiteY2425" fmla="*/ 853901 h 2112317"/>
                <a:gd name="connsiteX2426" fmla="*/ 725110 w 9154202"/>
                <a:gd name="connsiteY2426" fmla="*/ 852309 h 2112317"/>
                <a:gd name="connsiteX2427" fmla="*/ 724512 w 9154202"/>
                <a:gd name="connsiteY2427" fmla="*/ 850618 h 2112317"/>
                <a:gd name="connsiteX2428" fmla="*/ 723715 w 9154202"/>
                <a:gd name="connsiteY2428" fmla="*/ 849125 h 2112317"/>
                <a:gd name="connsiteX2429" fmla="*/ 721722 w 9154202"/>
                <a:gd name="connsiteY2429" fmla="*/ 849125 h 2112317"/>
                <a:gd name="connsiteX2430" fmla="*/ 717338 w 9154202"/>
                <a:gd name="connsiteY2430" fmla="*/ 849125 h 2112317"/>
                <a:gd name="connsiteX2431" fmla="*/ 715245 w 9154202"/>
                <a:gd name="connsiteY2431" fmla="*/ 849822 h 2112317"/>
                <a:gd name="connsiteX2432" fmla="*/ 713452 w 9154202"/>
                <a:gd name="connsiteY2432" fmla="*/ 851214 h 2112317"/>
                <a:gd name="connsiteX2433" fmla="*/ 712356 w 9154202"/>
                <a:gd name="connsiteY2433" fmla="*/ 853304 h 2112317"/>
                <a:gd name="connsiteX2434" fmla="*/ 710462 w 9154202"/>
                <a:gd name="connsiteY2434" fmla="*/ 858179 h 2112317"/>
                <a:gd name="connsiteX2435" fmla="*/ 709566 w 9154202"/>
                <a:gd name="connsiteY2435" fmla="*/ 859173 h 2112317"/>
                <a:gd name="connsiteX2436" fmla="*/ 707971 w 9154202"/>
                <a:gd name="connsiteY2436" fmla="*/ 860268 h 2112317"/>
                <a:gd name="connsiteX2437" fmla="*/ 707971 w 9154202"/>
                <a:gd name="connsiteY2437" fmla="*/ 863053 h 2112317"/>
                <a:gd name="connsiteX2438" fmla="*/ 707971 w 9154202"/>
                <a:gd name="connsiteY2438" fmla="*/ 866138 h 2112317"/>
                <a:gd name="connsiteX2439" fmla="*/ 708669 w 9154202"/>
                <a:gd name="connsiteY2439" fmla="*/ 868326 h 2112317"/>
                <a:gd name="connsiteX2440" fmla="*/ 709665 w 9154202"/>
                <a:gd name="connsiteY2440" fmla="*/ 869719 h 2112317"/>
                <a:gd name="connsiteX2441" fmla="*/ 712057 w 9154202"/>
                <a:gd name="connsiteY2441" fmla="*/ 871709 h 2112317"/>
                <a:gd name="connsiteX2442" fmla="*/ 712953 w 9154202"/>
                <a:gd name="connsiteY2442" fmla="*/ 873002 h 2112317"/>
                <a:gd name="connsiteX2443" fmla="*/ 717238 w 9154202"/>
                <a:gd name="connsiteY2443" fmla="*/ 881857 h 2112317"/>
                <a:gd name="connsiteX2444" fmla="*/ 719430 w 9154202"/>
                <a:gd name="connsiteY2444" fmla="*/ 885140 h 2112317"/>
                <a:gd name="connsiteX2445" fmla="*/ 720925 w 9154202"/>
                <a:gd name="connsiteY2445" fmla="*/ 886831 h 2112317"/>
                <a:gd name="connsiteX2446" fmla="*/ 721921 w 9154202"/>
                <a:gd name="connsiteY2446" fmla="*/ 886831 h 2112317"/>
                <a:gd name="connsiteX2447" fmla="*/ 723217 w 9154202"/>
                <a:gd name="connsiteY2447" fmla="*/ 886831 h 2112317"/>
                <a:gd name="connsiteX2448" fmla="*/ 725110 w 9154202"/>
                <a:gd name="connsiteY2448" fmla="*/ 887527 h 2112317"/>
                <a:gd name="connsiteX2449" fmla="*/ 726505 w 9154202"/>
                <a:gd name="connsiteY2449" fmla="*/ 888522 h 2112317"/>
                <a:gd name="connsiteX2450" fmla="*/ 727203 w 9154202"/>
                <a:gd name="connsiteY2450" fmla="*/ 889617 h 2112317"/>
                <a:gd name="connsiteX2451" fmla="*/ 727203 w 9154202"/>
                <a:gd name="connsiteY2451" fmla="*/ 890810 h 2112317"/>
                <a:gd name="connsiteX2452" fmla="*/ 728099 w 9154202"/>
                <a:gd name="connsiteY2452" fmla="*/ 892104 h 2112317"/>
                <a:gd name="connsiteX2453" fmla="*/ 730391 w 9154202"/>
                <a:gd name="connsiteY2453" fmla="*/ 893596 h 2112317"/>
                <a:gd name="connsiteX2454" fmla="*/ 732982 w 9154202"/>
                <a:gd name="connsiteY2454" fmla="*/ 894293 h 2112317"/>
                <a:gd name="connsiteX2455" fmla="*/ 740356 w 9154202"/>
                <a:gd name="connsiteY2455" fmla="*/ 894293 h 2112317"/>
                <a:gd name="connsiteX2456" fmla="*/ 743644 w 9154202"/>
                <a:gd name="connsiteY2456" fmla="*/ 895188 h 2112317"/>
                <a:gd name="connsiteX2457" fmla="*/ 771345 w 9154202"/>
                <a:gd name="connsiteY2457" fmla="*/ 907425 h 2112317"/>
                <a:gd name="connsiteX2458" fmla="*/ 773537 w 9154202"/>
                <a:gd name="connsiteY2458" fmla="*/ 905435 h 2112317"/>
                <a:gd name="connsiteX2459" fmla="*/ 775430 w 9154202"/>
                <a:gd name="connsiteY2459" fmla="*/ 904241 h 2112317"/>
                <a:gd name="connsiteX2460" fmla="*/ 777921 w 9154202"/>
                <a:gd name="connsiteY2460" fmla="*/ 903246 h 2112317"/>
                <a:gd name="connsiteX2461" fmla="*/ 780911 w 9154202"/>
                <a:gd name="connsiteY2461" fmla="*/ 903246 h 2112317"/>
                <a:gd name="connsiteX2462" fmla="*/ 781608 w 9154202"/>
                <a:gd name="connsiteY2462" fmla="*/ 903843 h 2112317"/>
                <a:gd name="connsiteX2463" fmla="*/ 782605 w 9154202"/>
                <a:gd name="connsiteY2463" fmla="*/ 900859 h 2112317"/>
                <a:gd name="connsiteX2464" fmla="*/ 781110 w 9154202"/>
                <a:gd name="connsiteY2464" fmla="*/ 896481 h 2112317"/>
                <a:gd name="connsiteX2465" fmla="*/ 778818 w 9154202"/>
                <a:gd name="connsiteY2465" fmla="*/ 899466 h 2112317"/>
                <a:gd name="connsiteX2466" fmla="*/ 774633 w 9154202"/>
                <a:gd name="connsiteY2466" fmla="*/ 900262 h 2112317"/>
                <a:gd name="connsiteX2467" fmla="*/ 775729 w 9154202"/>
                <a:gd name="connsiteY2467" fmla="*/ 897675 h 2112317"/>
                <a:gd name="connsiteX2468" fmla="*/ 774733 w 9154202"/>
                <a:gd name="connsiteY2468" fmla="*/ 895984 h 2112317"/>
                <a:gd name="connsiteX2469" fmla="*/ 772939 w 9154202"/>
                <a:gd name="connsiteY2469" fmla="*/ 895387 h 2112317"/>
                <a:gd name="connsiteX2470" fmla="*/ 771046 w 9154202"/>
                <a:gd name="connsiteY2470" fmla="*/ 895387 h 2112317"/>
                <a:gd name="connsiteX2471" fmla="*/ 769651 w 9154202"/>
                <a:gd name="connsiteY2471" fmla="*/ 896581 h 2112317"/>
                <a:gd name="connsiteX2472" fmla="*/ 768654 w 9154202"/>
                <a:gd name="connsiteY2472" fmla="*/ 897874 h 2112317"/>
                <a:gd name="connsiteX2473" fmla="*/ 767259 w 9154202"/>
                <a:gd name="connsiteY2473" fmla="*/ 898869 h 2112317"/>
                <a:gd name="connsiteX2474" fmla="*/ 765267 w 9154202"/>
                <a:gd name="connsiteY2474" fmla="*/ 898869 h 2112317"/>
                <a:gd name="connsiteX2475" fmla="*/ 765267 w 9154202"/>
                <a:gd name="connsiteY2475" fmla="*/ 896581 h 2112317"/>
                <a:gd name="connsiteX2476" fmla="*/ 764569 w 9154202"/>
                <a:gd name="connsiteY2476" fmla="*/ 894790 h 2112317"/>
                <a:gd name="connsiteX2477" fmla="*/ 764569 w 9154202"/>
                <a:gd name="connsiteY2477" fmla="*/ 893298 h 2112317"/>
                <a:gd name="connsiteX2478" fmla="*/ 766163 w 9154202"/>
                <a:gd name="connsiteY2478" fmla="*/ 892004 h 2112317"/>
                <a:gd name="connsiteX2479" fmla="*/ 766163 w 9154202"/>
                <a:gd name="connsiteY2479" fmla="*/ 890711 h 2112317"/>
                <a:gd name="connsiteX2480" fmla="*/ 765067 w 9154202"/>
                <a:gd name="connsiteY2480" fmla="*/ 888920 h 2112317"/>
                <a:gd name="connsiteX2481" fmla="*/ 766761 w 9154202"/>
                <a:gd name="connsiteY2481" fmla="*/ 886632 h 2112317"/>
                <a:gd name="connsiteX2482" fmla="*/ 769452 w 9154202"/>
                <a:gd name="connsiteY2482" fmla="*/ 885040 h 2112317"/>
                <a:gd name="connsiteX2483" fmla="*/ 772839 w 9154202"/>
                <a:gd name="connsiteY2483" fmla="*/ 884145 h 2112317"/>
                <a:gd name="connsiteX2484" fmla="*/ 774035 w 9154202"/>
                <a:gd name="connsiteY2484" fmla="*/ 883548 h 2112317"/>
                <a:gd name="connsiteX2485" fmla="*/ 775231 w 9154202"/>
                <a:gd name="connsiteY2485" fmla="*/ 883548 h 2112317"/>
                <a:gd name="connsiteX2486" fmla="*/ 776526 w 9154202"/>
                <a:gd name="connsiteY2486" fmla="*/ 883548 h 2112317"/>
                <a:gd name="connsiteX2487" fmla="*/ 777224 w 9154202"/>
                <a:gd name="connsiteY2487" fmla="*/ 884543 h 2112317"/>
                <a:gd name="connsiteX2488" fmla="*/ 779117 w 9154202"/>
                <a:gd name="connsiteY2488" fmla="*/ 889219 h 2112317"/>
                <a:gd name="connsiteX2489" fmla="*/ 779117 w 9154202"/>
                <a:gd name="connsiteY2489" fmla="*/ 889219 h 2112317"/>
                <a:gd name="connsiteX2490" fmla="*/ 780711 w 9154202"/>
                <a:gd name="connsiteY2490" fmla="*/ 887726 h 2112317"/>
                <a:gd name="connsiteX2491" fmla="*/ 785893 w 9154202"/>
                <a:gd name="connsiteY2491" fmla="*/ 885040 h 2112317"/>
                <a:gd name="connsiteX2492" fmla="*/ 787188 w 9154202"/>
                <a:gd name="connsiteY2492" fmla="*/ 884045 h 2112317"/>
                <a:gd name="connsiteX2493" fmla="*/ 790775 w 9154202"/>
                <a:gd name="connsiteY2493" fmla="*/ 882255 h 2112317"/>
                <a:gd name="connsiteX2494" fmla="*/ 791473 w 9154202"/>
                <a:gd name="connsiteY2494" fmla="*/ 881658 h 2112317"/>
                <a:gd name="connsiteX2495" fmla="*/ 792469 w 9154202"/>
                <a:gd name="connsiteY2495" fmla="*/ 880464 h 2112317"/>
                <a:gd name="connsiteX2496" fmla="*/ 794462 w 9154202"/>
                <a:gd name="connsiteY2496" fmla="*/ 880464 h 2112317"/>
                <a:gd name="connsiteX2497" fmla="*/ 797651 w 9154202"/>
                <a:gd name="connsiteY2497" fmla="*/ 880961 h 2112317"/>
                <a:gd name="connsiteX2498" fmla="*/ 798448 w 9154202"/>
                <a:gd name="connsiteY2498" fmla="*/ 880165 h 2112317"/>
                <a:gd name="connsiteX2499" fmla="*/ 800142 w 9154202"/>
                <a:gd name="connsiteY2499" fmla="*/ 877380 h 2112317"/>
                <a:gd name="connsiteX2500" fmla="*/ 801138 w 9154202"/>
                <a:gd name="connsiteY2500" fmla="*/ 876484 h 2112317"/>
                <a:gd name="connsiteX2501" fmla="*/ 802633 w 9154202"/>
                <a:gd name="connsiteY2501" fmla="*/ 876484 h 2112317"/>
                <a:gd name="connsiteX2502" fmla="*/ 806320 w 9154202"/>
                <a:gd name="connsiteY2502" fmla="*/ 876484 h 2112317"/>
                <a:gd name="connsiteX2503" fmla="*/ 808911 w 9154202"/>
                <a:gd name="connsiteY2503" fmla="*/ 874693 h 2112317"/>
                <a:gd name="connsiteX2504" fmla="*/ 810206 w 9154202"/>
                <a:gd name="connsiteY2504" fmla="*/ 874693 h 2112317"/>
                <a:gd name="connsiteX2505" fmla="*/ 811203 w 9154202"/>
                <a:gd name="connsiteY2505" fmla="*/ 873898 h 2112317"/>
                <a:gd name="connsiteX2506" fmla="*/ 811203 w 9154202"/>
                <a:gd name="connsiteY2506" fmla="*/ 871311 h 2112317"/>
                <a:gd name="connsiteX2507" fmla="*/ 811203 w 9154202"/>
                <a:gd name="connsiteY2507" fmla="*/ 869023 h 2112317"/>
                <a:gd name="connsiteX2508" fmla="*/ 810306 w 9154202"/>
                <a:gd name="connsiteY2508" fmla="*/ 864944 h 2112317"/>
                <a:gd name="connsiteX2509" fmla="*/ 811003 w 9154202"/>
                <a:gd name="connsiteY2509" fmla="*/ 863551 h 2112317"/>
                <a:gd name="connsiteX2510" fmla="*/ 812099 w 9154202"/>
                <a:gd name="connsiteY2510" fmla="*/ 861959 h 2112317"/>
                <a:gd name="connsiteX2511" fmla="*/ 813395 w 9154202"/>
                <a:gd name="connsiteY2511" fmla="*/ 860765 h 2112317"/>
                <a:gd name="connsiteX2512" fmla="*/ 815089 w 9154202"/>
                <a:gd name="connsiteY2512" fmla="*/ 860765 h 2112317"/>
                <a:gd name="connsiteX2513" fmla="*/ 817081 w 9154202"/>
                <a:gd name="connsiteY2513" fmla="*/ 859074 h 2112317"/>
                <a:gd name="connsiteX2514" fmla="*/ 818975 w 9154202"/>
                <a:gd name="connsiteY2514" fmla="*/ 857482 h 2112317"/>
                <a:gd name="connsiteX2515" fmla="*/ 821167 w 9154202"/>
                <a:gd name="connsiteY2515" fmla="*/ 855194 h 2112317"/>
                <a:gd name="connsiteX2516" fmla="*/ 823259 w 9154202"/>
                <a:gd name="connsiteY2516" fmla="*/ 857283 h 2112317"/>
                <a:gd name="connsiteX2517" fmla="*/ 821267 w 9154202"/>
                <a:gd name="connsiteY2517" fmla="*/ 860367 h 2112317"/>
                <a:gd name="connsiteX2518" fmla="*/ 815985 w 9154202"/>
                <a:gd name="connsiteY2518" fmla="*/ 864546 h 2112317"/>
                <a:gd name="connsiteX2519" fmla="*/ 816882 w 9154202"/>
                <a:gd name="connsiteY2519" fmla="*/ 866933 h 2112317"/>
                <a:gd name="connsiteX2520" fmla="*/ 817081 w 9154202"/>
                <a:gd name="connsiteY2520" fmla="*/ 869023 h 2112317"/>
                <a:gd name="connsiteX2521" fmla="*/ 815985 w 9154202"/>
                <a:gd name="connsiteY2521" fmla="*/ 871012 h 2112317"/>
                <a:gd name="connsiteX2522" fmla="*/ 814690 w 9154202"/>
                <a:gd name="connsiteY2522" fmla="*/ 872107 h 2112317"/>
                <a:gd name="connsiteX2523" fmla="*/ 814690 w 9154202"/>
                <a:gd name="connsiteY2523" fmla="*/ 872903 h 2112317"/>
                <a:gd name="connsiteX2524" fmla="*/ 814690 w 9154202"/>
                <a:gd name="connsiteY2524" fmla="*/ 872903 h 2112317"/>
                <a:gd name="connsiteX2525" fmla="*/ 815587 w 9154202"/>
                <a:gd name="connsiteY2525" fmla="*/ 872903 h 2112317"/>
                <a:gd name="connsiteX2526" fmla="*/ 814590 w 9154202"/>
                <a:gd name="connsiteY2526" fmla="*/ 874793 h 2112317"/>
                <a:gd name="connsiteX2527" fmla="*/ 812797 w 9154202"/>
                <a:gd name="connsiteY2527" fmla="*/ 879867 h 2112317"/>
                <a:gd name="connsiteX2528" fmla="*/ 811402 w 9154202"/>
                <a:gd name="connsiteY2528" fmla="*/ 885239 h 2112317"/>
                <a:gd name="connsiteX2529" fmla="*/ 811402 w 9154202"/>
                <a:gd name="connsiteY2529" fmla="*/ 887129 h 2112317"/>
                <a:gd name="connsiteX2530" fmla="*/ 812996 w 9154202"/>
                <a:gd name="connsiteY2530" fmla="*/ 898869 h 2112317"/>
                <a:gd name="connsiteX2531" fmla="*/ 812996 w 9154202"/>
                <a:gd name="connsiteY2531" fmla="*/ 901456 h 2112317"/>
                <a:gd name="connsiteX2532" fmla="*/ 812498 w 9154202"/>
                <a:gd name="connsiteY2532" fmla="*/ 904042 h 2112317"/>
                <a:gd name="connsiteX2533" fmla="*/ 811103 w 9154202"/>
                <a:gd name="connsiteY2533" fmla="*/ 906430 h 2112317"/>
                <a:gd name="connsiteX2534" fmla="*/ 807615 w 9154202"/>
                <a:gd name="connsiteY2534" fmla="*/ 908818 h 2112317"/>
                <a:gd name="connsiteX2535" fmla="*/ 806420 w 9154202"/>
                <a:gd name="connsiteY2535" fmla="*/ 910907 h 2112317"/>
                <a:gd name="connsiteX2536" fmla="*/ 807615 w 9154202"/>
                <a:gd name="connsiteY2536" fmla="*/ 912001 h 2112317"/>
                <a:gd name="connsiteX2537" fmla="*/ 808512 w 9154202"/>
                <a:gd name="connsiteY2537" fmla="*/ 913991 h 2112317"/>
                <a:gd name="connsiteX2538" fmla="*/ 809409 w 9154202"/>
                <a:gd name="connsiteY2538" fmla="*/ 916777 h 2112317"/>
                <a:gd name="connsiteX2539" fmla="*/ 814590 w 9154202"/>
                <a:gd name="connsiteY2539" fmla="*/ 915384 h 2112317"/>
                <a:gd name="connsiteX2540" fmla="*/ 816783 w 9154202"/>
                <a:gd name="connsiteY2540" fmla="*/ 915384 h 2112317"/>
                <a:gd name="connsiteX2541" fmla="*/ 840996 w 9154202"/>
                <a:gd name="connsiteY2541" fmla="*/ 921353 h 2112317"/>
                <a:gd name="connsiteX2542" fmla="*/ 850662 w 9154202"/>
                <a:gd name="connsiteY2542" fmla="*/ 918766 h 2112317"/>
                <a:gd name="connsiteX2543" fmla="*/ 857736 w 9154202"/>
                <a:gd name="connsiteY2543" fmla="*/ 905535 h 2112317"/>
                <a:gd name="connsiteX2544" fmla="*/ 857736 w 9154202"/>
                <a:gd name="connsiteY2544" fmla="*/ 903445 h 2112317"/>
                <a:gd name="connsiteX2545" fmla="*/ 857736 w 9154202"/>
                <a:gd name="connsiteY2545" fmla="*/ 898073 h 2112317"/>
                <a:gd name="connsiteX2546" fmla="*/ 857736 w 9154202"/>
                <a:gd name="connsiteY2546" fmla="*/ 896680 h 2112317"/>
                <a:gd name="connsiteX2547" fmla="*/ 858932 w 9154202"/>
                <a:gd name="connsiteY2547" fmla="*/ 896680 h 2112317"/>
                <a:gd name="connsiteX2548" fmla="*/ 860128 w 9154202"/>
                <a:gd name="connsiteY2548" fmla="*/ 897775 h 2112317"/>
                <a:gd name="connsiteX2549" fmla="*/ 860128 w 9154202"/>
                <a:gd name="connsiteY2549" fmla="*/ 899167 h 2112317"/>
                <a:gd name="connsiteX2550" fmla="*/ 860128 w 9154202"/>
                <a:gd name="connsiteY2550" fmla="*/ 902251 h 2112317"/>
                <a:gd name="connsiteX2551" fmla="*/ 859530 w 9154202"/>
                <a:gd name="connsiteY2551" fmla="*/ 905137 h 2112317"/>
                <a:gd name="connsiteX2552" fmla="*/ 856939 w 9154202"/>
                <a:gd name="connsiteY2552" fmla="*/ 917672 h 2112317"/>
                <a:gd name="connsiteX2553" fmla="*/ 853153 w 9154202"/>
                <a:gd name="connsiteY2553" fmla="*/ 923442 h 2112317"/>
                <a:gd name="connsiteX2554" fmla="*/ 848270 w 9154202"/>
                <a:gd name="connsiteY2554" fmla="*/ 926327 h 2112317"/>
                <a:gd name="connsiteX2555" fmla="*/ 842491 w 9154202"/>
                <a:gd name="connsiteY2555" fmla="*/ 925432 h 2112317"/>
                <a:gd name="connsiteX2556" fmla="*/ 840598 w 9154202"/>
                <a:gd name="connsiteY2556" fmla="*/ 924437 h 2112317"/>
                <a:gd name="connsiteX2557" fmla="*/ 838306 w 9154202"/>
                <a:gd name="connsiteY2557" fmla="*/ 924437 h 2112317"/>
                <a:gd name="connsiteX2558" fmla="*/ 836114 w 9154202"/>
                <a:gd name="connsiteY2558" fmla="*/ 924437 h 2112317"/>
                <a:gd name="connsiteX2559" fmla="*/ 834818 w 9154202"/>
                <a:gd name="connsiteY2559" fmla="*/ 925532 h 2112317"/>
                <a:gd name="connsiteX2560" fmla="*/ 833921 w 9154202"/>
                <a:gd name="connsiteY2560" fmla="*/ 924437 h 2112317"/>
                <a:gd name="connsiteX2561" fmla="*/ 831829 w 9154202"/>
                <a:gd name="connsiteY2561" fmla="*/ 925333 h 2112317"/>
                <a:gd name="connsiteX2562" fmla="*/ 829039 w 9154202"/>
                <a:gd name="connsiteY2562" fmla="*/ 925333 h 2112317"/>
                <a:gd name="connsiteX2563" fmla="*/ 827046 w 9154202"/>
                <a:gd name="connsiteY2563" fmla="*/ 924338 h 2112317"/>
                <a:gd name="connsiteX2564" fmla="*/ 826348 w 9154202"/>
                <a:gd name="connsiteY2564" fmla="*/ 922547 h 2112317"/>
                <a:gd name="connsiteX2565" fmla="*/ 825153 w 9154202"/>
                <a:gd name="connsiteY2565" fmla="*/ 921851 h 2112317"/>
                <a:gd name="connsiteX2566" fmla="*/ 823060 w 9154202"/>
                <a:gd name="connsiteY2566" fmla="*/ 921851 h 2112317"/>
                <a:gd name="connsiteX2567" fmla="*/ 822163 w 9154202"/>
                <a:gd name="connsiteY2567" fmla="*/ 923243 h 2112317"/>
                <a:gd name="connsiteX2568" fmla="*/ 824555 w 9154202"/>
                <a:gd name="connsiteY2568" fmla="*/ 926626 h 2112317"/>
                <a:gd name="connsiteX2569" fmla="*/ 820469 w 9154202"/>
                <a:gd name="connsiteY2569" fmla="*/ 927223 h 2112317"/>
                <a:gd name="connsiteX2570" fmla="*/ 815089 w 9154202"/>
                <a:gd name="connsiteY2570" fmla="*/ 927223 h 2112317"/>
                <a:gd name="connsiteX2571" fmla="*/ 811402 w 9154202"/>
                <a:gd name="connsiteY2571" fmla="*/ 928019 h 2112317"/>
                <a:gd name="connsiteX2572" fmla="*/ 812797 w 9154202"/>
                <a:gd name="connsiteY2572" fmla="*/ 932197 h 2112317"/>
                <a:gd name="connsiteX2573" fmla="*/ 815985 w 9154202"/>
                <a:gd name="connsiteY2573" fmla="*/ 934386 h 2112317"/>
                <a:gd name="connsiteX2574" fmla="*/ 820469 w 9154202"/>
                <a:gd name="connsiteY2574" fmla="*/ 936575 h 2112317"/>
                <a:gd name="connsiteX2575" fmla="*/ 824555 w 9154202"/>
                <a:gd name="connsiteY2575" fmla="*/ 939261 h 2112317"/>
                <a:gd name="connsiteX2576" fmla="*/ 825252 w 9154202"/>
                <a:gd name="connsiteY2576" fmla="*/ 941251 h 2112317"/>
                <a:gd name="connsiteX2577" fmla="*/ 822761 w 9154202"/>
                <a:gd name="connsiteY2577" fmla="*/ 939659 h 2112317"/>
                <a:gd name="connsiteX2578" fmla="*/ 819971 w 9154202"/>
                <a:gd name="connsiteY2578" fmla="*/ 938664 h 2112317"/>
                <a:gd name="connsiteX2579" fmla="*/ 817679 w 9154202"/>
                <a:gd name="connsiteY2579" fmla="*/ 939360 h 2112317"/>
                <a:gd name="connsiteX2580" fmla="*/ 816882 w 9154202"/>
                <a:gd name="connsiteY2580" fmla="*/ 942046 h 2112317"/>
                <a:gd name="connsiteX2581" fmla="*/ 817081 w 9154202"/>
                <a:gd name="connsiteY2581" fmla="*/ 948613 h 2112317"/>
                <a:gd name="connsiteX2582" fmla="*/ 815587 w 9154202"/>
                <a:gd name="connsiteY2582" fmla="*/ 950602 h 2112317"/>
                <a:gd name="connsiteX2583" fmla="*/ 815587 w 9154202"/>
                <a:gd name="connsiteY2583" fmla="*/ 951796 h 2112317"/>
                <a:gd name="connsiteX2584" fmla="*/ 821267 w 9154202"/>
                <a:gd name="connsiteY2584" fmla="*/ 954184 h 2112317"/>
                <a:gd name="connsiteX2585" fmla="*/ 827046 w 9154202"/>
                <a:gd name="connsiteY2585" fmla="*/ 954184 h 2112317"/>
                <a:gd name="connsiteX2586" fmla="*/ 832427 w 9154202"/>
                <a:gd name="connsiteY2586" fmla="*/ 952095 h 2112317"/>
                <a:gd name="connsiteX2587" fmla="*/ 837509 w 9154202"/>
                <a:gd name="connsiteY2587" fmla="*/ 948314 h 2112317"/>
                <a:gd name="connsiteX2588" fmla="*/ 835815 w 9154202"/>
                <a:gd name="connsiteY2588" fmla="*/ 952990 h 2112317"/>
                <a:gd name="connsiteX2589" fmla="*/ 833124 w 9154202"/>
                <a:gd name="connsiteY2589" fmla="*/ 955975 h 2112317"/>
                <a:gd name="connsiteX2590" fmla="*/ 826348 w 9154202"/>
                <a:gd name="connsiteY2590" fmla="*/ 961148 h 2112317"/>
                <a:gd name="connsiteX2591" fmla="*/ 824555 w 9154202"/>
                <a:gd name="connsiteY2591" fmla="*/ 963436 h 2112317"/>
                <a:gd name="connsiteX2592" fmla="*/ 825153 w 9154202"/>
                <a:gd name="connsiteY2592" fmla="*/ 964630 h 2112317"/>
                <a:gd name="connsiteX2593" fmla="*/ 826946 w 9154202"/>
                <a:gd name="connsiteY2593" fmla="*/ 965824 h 2112317"/>
                <a:gd name="connsiteX2594" fmla="*/ 829039 w 9154202"/>
                <a:gd name="connsiteY2594" fmla="*/ 968013 h 2112317"/>
                <a:gd name="connsiteX2595" fmla="*/ 829936 w 9154202"/>
                <a:gd name="connsiteY2595" fmla="*/ 970102 h 2112317"/>
                <a:gd name="connsiteX2596" fmla="*/ 830832 w 9154202"/>
                <a:gd name="connsiteY2596" fmla="*/ 972689 h 2112317"/>
                <a:gd name="connsiteX2597" fmla="*/ 830832 w 9154202"/>
                <a:gd name="connsiteY2597" fmla="*/ 974877 h 2112317"/>
                <a:gd name="connsiteX2598" fmla="*/ 837807 w 9154202"/>
                <a:gd name="connsiteY2598" fmla="*/ 974877 h 2112317"/>
                <a:gd name="connsiteX2599" fmla="*/ 837807 w 9154202"/>
                <a:gd name="connsiteY2599" fmla="*/ 974877 h 2112317"/>
                <a:gd name="connsiteX2600" fmla="*/ 837010 w 9154202"/>
                <a:gd name="connsiteY2600" fmla="*/ 970699 h 2112317"/>
                <a:gd name="connsiteX2601" fmla="*/ 837010 w 9154202"/>
                <a:gd name="connsiteY2601" fmla="*/ 967714 h 2112317"/>
                <a:gd name="connsiteX2602" fmla="*/ 838904 w 9154202"/>
                <a:gd name="connsiteY2602" fmla="*/ 965128 h 2112317"/>
                <a:gd name="connsiteX2603" fmla="*/ 848868 w 9154202"/>
                <a:gd name="connsiteY2603" fmla="*/ 959755 h 2112317"/>
                <a:gd name="connsiteX2604" fmla="*/ 851558 w 9154202"/>
                <a:gd name="connsiteY2604" fmla="*/ 959059 h 2112317"/>
                <a:gd name="connsiteX2605" fmla="*/ 854548 w 9154202"/>
                <a:gd name="connsiteY2605" fmla="*/ 959059 h 2112317"/>
                <a:gd name="connsiteX2606" fmla="*/ 857736 w 9154202"/>
                <a:gd name="connsiteY2606" fmla="*/ 959059 h 2112317"/>
                <a:gd name="connsiteX2607" fmla="*/ 859430 w 9154202"/>
                <a:gd name="connsiteY2607" fmla="*/ 960054 h 2112317"/>
                <a:gd name="connsiteX2608" fmla="*/ 859430 w 9154202"/>
                <a:gd name="connsiteY2608" fmla="*/ 961745 h 2112317"/>
                <a:gd name="connsiteX2609" fmla="*/ 858234 w 9154202"/>
                <a:gd name="connsiteY2609" fmla="*/ 964332 h 2112317"/>
                <a:gd name="connsiteX2610" fmla="*/ 858234 w 9154202"/>
                <a:gd name="connsiteY2610" fmla="*/ 967416 h 2112317"/>
                <a:gd name="connsiteX2611" fmla="*/ 861124 w 9154202"/>
                <a:gd name="connsiteY2611" fmla="*/ 970699 h 2112317"/>
                <a:gd name="connsiteX2612" fmla="*/ 864911 w 9154202"/>
                <a:gd name="connsiteY2612" fmla="*/ 972390 h 2112317"/>
                <a:gd name="connsiteX2613" fmla="*/ 867402 w 9154202"/>
                <a:gd name="connsiteY2613" fmla="*/ 971793 h 2112317"/>
                <a:gd name="connsiteX2614" fmla="*/ 870192 w 9154202"/>
                <a:gd name="connsiteY2614" fmla="*/ 970599 h 2112317"/>
                <a:gd name="connsiteX2615" fmla="*/ 872982 w 9154202"/>
                <a:gd name="connsiteY2615" fmla="*/ 973286 h 2112317"/>
                <a:gd name="connsiteX2616" fmla="*/ 873779 w 9154202"/>
                <a:gd name="connsiteY2616" fmla="*/ 974778 h 2112317"/>
                <a:gd name="connsiteX2617" fmla="*/ 4349066 w 9154202"/>
                <a:gd name="connsiteY2617" fmla="*/ 974778 h 2112317"/>
                <a:gd name="connsiteX2618" fmla="*/ 4350162 w 9154202"/>
                <a:gd name="connsiteY2618" fmla="*/ 974778 h 2112317"/>
                <a:gd name="connsiteX2619" fmla="*/ 4350959 w 9154202"/>
                <a:gd name="connsiteY2619" fmla="*/ 973683 h 2112317"/>
                <a:gd name="connsiteX2620" fmla="*/ 4350959 w 9154202"/>
                <a:gd name="connsiteY2620" fmla="*/ 971893 h 2112317"/>
                <a:gd name="connsiteX2621" fmla="*/ 4350959 w 9154202"/>
                <a:gd name="connsiteY2621" fmla="*/ 943837 h 2112317"/>
                <a:gd name="connsiteX2622" fmla="*/ 4353948 w 9154202"/>
                <a:gd name="connsiteY2622" fmla="*/ 941450 h 2112317"/>
                <a:gd name="connsiteX2623" fmla="*/ 4355443 w 9154202"/>
                <a:gd name="connsiteY2623" fmla="*/ 942643 h 2112317"/>
                <a:gd name="connsiteX2624" fmla="*/ 4355443 w 9154202"/>
                <a:gd name="connsiteY2624" fmla="*/ 943738 h 2112317"/>
                <a:gd name="connsiteX2625" fmla="*/ 4354945 w 9154202"/>
                <a:gd name="connsiteY2625" fmla="*/ 945031 h 2112317"/>
                <a:gd name="connsiteX2626" fmla="*/ 4354945 w 9154202"/>
                <a:gd name="connsiteY2626" fmla="*/ 946722 h 2112317"/>
                <a:gd name="connsiteX2627" fmla="*/ 4355443 w 9154202"/>
                <a:gd name="connsiteY2627" fmla="*/ 948314 h 2112317"/>
                <a:gd name="connsiteX2628" fmla="*/ 4356440 w 9154202"/>
                <a:gd name="connsiteY2628" fmla="*/ 948314 h 2112317"/>
                <a:gd name="connsiteX2629" fmla="*/ 4357735 w 9154202"/>
                <a:gd name="connsiteY2629" fmla="*/ 947618 h 2112317"/>
                <a:gd name="connsiteX2630" fmla="*/ 4358831 w 9154202"/>
                <a:gd name="connsiteY2630" fmla="*/ 947618 h 2112317"/>
                <a:gd name="connsiteX2631" fmla="*/ 4358831 w 9154202"/>
                <a:gd name="connsiteY2631" fmla="*/ 947618 h 2112317"/>
                <a:gd name="connsiteX2632" fmla="*/ 4362916 w 9154202"/>
                <a:gd name="connsiteY2632" fmla="*/ 945230 h 2112317"/>
                <a:gd name="connsiteX2633" fmla="*/ 4367101 w 9154202"/>
                <a:gd name="connsiteY2633" fmla="*/ 945230 h 2112317"/>
                <a:gd name="connsiteX2634" fmla="*/ 4371486 w 9154202"/>
                <a:gd name="connsiteY2634" fmla="*/ 943439 h 2112317"/>
                <a:gd name="connsiteX2635" fmla="*/ 4371486 w 9154202"/>
                <a:gd name="connsiteY2635" fmla="*/ 916180 h 2112317"/>
                <a:gd name="connsiteX2636" fmla="*/ 4366204 w 9154202"/>
                <a:gd name="connsiteY2636" fmla="*/ 917374 h 2112317"/>
                <a:gd name="connsiteX2637" fmla="*/ 4364212 w 9154202"/>
                <a:gd name="connsiteY2637" fmla="*/ 916777 h 2112317"/>
                <a:gd name="connsiteX2638" fmla="*/ 4363215 w 9154202"/>
                <a:gd name="connsiteY2638" fmla="*/ 916080 h 2112317"/>
                <a:gd name="connsiteX2639" fmla="*/ 4361820 w 9154202"/>
                <a:gd name="connsiteY2639" fmla="*/ 916080 h 2112317"/>
                <a:gd name="connsiteX2640" fmla="*/ 4360724 w 9154202"/>
                <a:gd name="connsiteY2640" fmla="*/ 916080 h 2112317"/>
                <a:gd name="connsiteX2641" fmla="*/ 4360724 w 9154202"/>
                <a:gd name="connsiteY2641" fmla="*/ 915085 h 2112317"/>
                <a:gd name="connsiteX2642" fmla="*/ 4371884 w 9154202"/>
                <a:gd name="connsiteY2642" fmla="*/ 915085 h 2112317"/>
                <a:gd name="connsiteX2643" fmla="*/ 4371884 w 9154202"/>
                <a:gd name="connsiteY2643" fmla="*/ 912797 h 2112317"/>
                <a:gd name="connsiteX2644" fmla="*/ 4379158 w 9154202"/>
                <a:gd name="connsiteY2644" fmla="*/ 915384 h 2112317"/>
                <a:gd name="connsiteX2645" fmla="*/ 4381151 w 9154202"/>
                <a:gd name="connsiteY2645" fmla="*/ 915384 h 2112317"/>
                <a:gd name="connsiteX2646" fmla="*/ 4381151 w 9154202"/>
                <a:gd name="connsiteY2646" fmla="*/ 915384 h 2112317"/>
                <a:gd name="connsiteX2647" fmla="*/ 4381650 w 9154202"/>
                <a:gd name="connsiteY2647" fmla="*/ 913494 h 2112317"/>
                <a:gd name="connsiteX2648" fmla="*/ 4383044 w 9154202"/>
                <a:gd name="connsiteY2648" fmla="*/ 912897 h 2112317"/>
                <a:gd name="connsiteX2649" fmla="*/ 4386333 w 9154202"/>
                <a:gd name="connsiteY2649" fmla="*/ 912897 h 2112317"/>
                <a:gd name="connsiteX2650" fmla="*/ 4389322 w 9154202"/>
                <a:gd name="connsiteY2650" fmla="*/ 912200 h 2112317"/>
                <a:gd name="connsiteX2651" fmla="*/ 4396994 w 9154202"/>
                <a:gd name="connsiteY2651" fmla="*/ 908619 h 2112317"/>
                <a:gd name="connsiteX2652" fmla="*/ 4397792 w 9154202"/>
                <a:gd name="connsiteY2652" fmla="*/ 909614 h 2112317"/>
                <a:gd name="connsiteX2653" fmla="*/ 4398987 w 9154202"/>
                <a:gd name="connsiteY2653" fmla="*/ 910509 h 2112317"/>
                <a:gd name="connsiteX2654" fmla="*/ 4400382 w 9154202"/>
                <a:gd name="connsiteY2654" fmla="*/ 910509 h 2112317"/>
                <a:gd name="connsiteX2655" fmla="*/ 4401578 w 9154202"/>
                <a:gd name="connsiteY2655" fmla="*/ 909813 h 2112317"/>
                <a:gd name="connsiteX2656" fmla="*/ 4402475 w 9154202"/>
                <a:gd name="connsiteY2656" fmla="*/ 908221 h 2112317"/>
                <a:gd name="connsiteX2657" fmla="*/ 4403073 w 9154202"/>
                <a:gd name="connsiteY2657" fmla="*/ 905933 h 2112317"/>
                <a:gd name="connsiteX2658" fmla="*/ 4403671 w 9154202"/>
                <a:gd name="connsiteY2658" fmla="*/ 904639 h 2112317"/>
                <a:gd name="connsiteX2659" fmla="*/ 4401578 w 9154202"/>
                <a:gd name="connsiteY2659" fmla="*/ 903744 h 2112317"/>
                <a:gd name="connsiteX2660" fmla="*/ 4400881 w 9154202"/>
                <a:gd name="connsiteY2660" fmla="*/ 902749 h 2112317"/>
                <a:gd name="connsiteX2661" fmla="*/ 4400881 w 9154202"/>
                <a:gd name="connsiteY2661" fmla="*/ 901555 h 2112317"/>
                <a:gd name="connsiteX2662" fmla="*/ 4402873 w 9154202"/>
                <a:gd name="connsiteY2662" fmla="*/ 897974 h 2112317"/>
                <a:gd name="connsiteX2663" fmla="*/ 4403771 w 9154202"/>
                <a:gd name="connsiteY2663" fmla="*/ 897178 h 2112317"/>
                <a:gd name="connsiteX2664" fmla="*/ 4406859 w 9154202"/>
                <a:gd name="connsiteY2664" fmla="*/ 896481 h 2112317"/>
                <a:gd name="connsiteX2665" fmla="*/ 4408155 w 9154202"/>
                <a:gd name="connsiteY2665" fmla="*/ 896481 h 2112317"/>
                <a:gd name="connsiteX2666" fmla="*/ 4409351 w 9154202"/>
                <a:gd name="connsiteY2666" fmla="*/ 896481 h 2112317"/>
                <a:gd name="connsiteX2667" fmla="*/ 4410446 w 9154202"/>
                <a:gd name="connsiteY2667" fmla="*/ 896481 h 2112317"/>
                <a:gd name="connsiteX2668" fmla="*/ 4411244 w 9154202"/>
                <a:gd name="connsiteY2668" fmla="*/ 894293 h 2112317"/>
                <a:gd name="connsiteX2669" fmla="*/ 4411244 w 9154202"/>
                <a:gd name="connsiteY2669" fmla="*/ 892502 h 2112317"/>
                <a:gd name="connsiteX2670" fmla="*/ 4410745 w 9154202"/>
                <a:gd name="connsiteY2670" fmla="*/ 891109 h 2112317"/>
                <a:gd name="connsiteX2671" fmla="*/ 4409948 w 9154202"/>
                <a:gd name="connsiteY2671" fmla="*/ 890214 h 2112317"/>
                <a:gd name="connsiteX2672" fmla="*/ 4408553 w 9154202"/>
                <a:gd name="connsiteY2672" fmla="*/ 890214 h 2112317"/>
                <a:gd name="connsiteX2673" fmla="*/ 4410148 w 9154202"/>
                <a:gd name="connsiteY2673" fmla="*/ 888224 h 2112317"/>
                <a:gd name="connsiteX2674" fmla="*/ 4411842 w 9154202"/>
                <a:gd name="connsiteY2674" fmla="*/ 887627 h 2112317"/>
                <a:gd name="connsiteX2675" fmla="*/ 4415429 w 9154202"/>
                <a:gd name="connsiteY2675" fmla="*/ 887627 h 2112317"/>
                <a:gd name="connsiteX2676" fmla="*/ 4416226 w 9154202"/>
                <a:gd name="connsiteY2676" fmla="*/ 887627 h 2112317"/>
                <a:gd name="connsiteX2677" fmla="*/ 4416724 w 9154202"/>
                <a:gd name="connsiteY2677" fmla="*/ 887627 h 2112317"/>
                <a:gd name="connsiteX2678" fmla="*/ 4417322 w 9154202"/>
                <a:gd name="connsiteY2678" fmla="*/ 887627 h 2112317"/>
                <a:gd name="connsiteX2679" fmla="*/ 4418518 w 9154202"/>
                <a:gd name="connsiteY2679" fmla="*/ 887627 h 2112317"/>
                <a:gd name="connsiteX2680" fmla="*/ 4419414 w 9154202"/>
                <a:gd name="connsiteY2680" fmla="*/ 887627 h 2112317"/>
                <a:gd name="connsiteX2681" fmla="*/ 4421108 w 9154202"/>
                <a:gd name="connsiteY2681" fmla="*/ 886035 h 2112317"/>
                <a:gd name="connsiteX2682" fmla="*/ 4422005 w 9154202"/>
                <a:gd name="connsiteY2682" fmla="*/ 886035 h 2112317"/>
                <a:gd name="connsiteX2683" fmla="*/ 4425094 w 9154202"/>
                <a:gd name="connsiteY2683" fmla="*/ 886035 h 2112317"/>
                <a:gd name="connsiteX2684" fmla="*/ 4428582 w 9154202"/>
                <a:gd name="connsiteY2684" fmla="*/ 884941 h 2112317"/>
                <a:gd name="connsiteX2685" fmla="*/ 4431671 w 9154202"/>
                <a:gd name="connsiteY2685" fmla="*/ 883050 h 2112317"/>
                <a:gd name="connsiteX2686" fmla="*/ 4434162 w 9154202"/>
                <a:gd name="connsiteY2686" fmla="*/ 878971 h 2112317"/>
                <a:gd name="connsiteX2687" fmla="*/ 4434162 w 9154202"/>
                <a:gd name="connsiteY2687" fmla="*/ 878275 h 2112317"/>
                <a:gd name="connsiteX2688" fmla="*/ 4433564 w 9154202"/>
                <a:gd name="connsiteY2688" fmla="*/ 876683 h 2112317"/>
                <a:gd name="connsiteX2689" fmla="*/ 4435955 w 9154202"/>
                <a:gd name="connsiteY2689" fmla="*/ 875390 h 2112317"/>
                <a:gd name="connsiteX2690" fmla="*/ 4439044 w 9154202"/>
                <a:gd name="connsiteY2690" fmla="*/ 872903 h 2112317"/>
                <a:gd name="connsiteX2691" fmla="*/ 4441236 w 9154202"/>
                <a:gd name="connsiteY2691" fmla="*/ 869819 h 2112317"/>
                <a:gd name="connsiteX2692" fmla="*/ 4441236 w 9154202"/>
                <a:gd name="connsiteY2692" fmla="*/ 866834 h 2112317"/>
                <a:gd name="connsiteX2693" fmla="*/ 4438745 w 9154202"/>
                <a:gd name="connsiteY2693" fmla="*/ 865242 h 2112317"/>
                <a:gd name="connsiteX2694" fmla="*/ 4434162 w 9154202"/>
                <a:gd name="connsiteY2694" fmla="*/ 865242 h 2112317"/>
                <a:gd name="connsiteX2695" fmla="*/ 4426290 w 9154202"/>
                <a:gd name="connsiteY2695" fmla="*/ 866734 h 2112317"/>
                <a:gd name="connsiteX2696" fmla="*/ 4423201 w 9154202"/>
                <a:gd name="connsiteY2696" fmla="*/ 867928 h 2112317"/>
                <a:gd name="connsiteX2697" fmla="*/ 4422005 w 9154202"/>
                <a:gd name="connsiteY2697" fmla="*/ 868724 h 2112317"/>
                <a:gd name="connsiteX2698" fmla="*/ 4421009 w 9154202"/>
                <a:gd name="connsiteY2698" fmla="*/ 870217 h 2112317"/>
                <a:gd name="connsiteX2699" fmla="*/ 4420511 w 9154202"/>
                <a:gd name="connsiteY2699" fmla="*/ 871709 h 2112317"/>
                <a:gd name="connsiteX2700" fmla="*/ 4419813 w 9154202"/>
                <a:gd name="connsiteY2700" fmla="*/ 872903 h 2112317"/>
                <a:gd name="connsiteX2701" fmla="*/ 4415329 w 9154202"/>
                <a:gd name="connsiteY2701" fmla="*/ 873898 h 2112317"/>
                <a:gd name="connsiteX2702" fmla="*/ 4412340 w 9154202"/>
                <a:gd name="connsiteY2702" fmla="*/ 875390 h 2112317"/>
                <a:gd name="connsiteX2703" fmla="*/ 4409749 w 9154202"/>
                <a:gd name="connsiteY2703" fmla="*/ 877579 h 2112317"/>
                <a:gd name="connsiteX2704" fmla="*/ 4408055 w 9154202"/>
                <a:gd name="connsiteY2704" fmla="*/ 880165 h 2112317"/>
                <a:gd name="connsiteX2705" fmla="*/ 4409251 w 9154202"/>
                <a:gd name="connsiteY2705" fmla="*/ 880165 h 2112317"/>
                <a:gd name="connsiteX2706" fmla="*/ 4409251 w 9154202"/>
                <a:gd name="connsiteY2706" fmla="*/ 880165 h 2112317"/>
                <a:gd name="connsiteX2707" fmla="*/ 4409251 w 9154202"/>
                <a:gd name="connsiteY2707" fmla="*/ 880862 h 2112317"/>
                <a:gd name="connsiteX2708" fmla="*/ 4409849 w 9154202"/>
                <a:gd name="connsiteY2708" fmla="*/ 881857 h 2112317"/>
                <a:gd name="connsiteX2709" fmla="*/ 4401479 w 9154202"/>
                <a:gd name="connsiteY2709" fmla="*/ 884742 h 2112317"/>
                <a:gd name="connsiteX2710" fmla="*/ 4397592 w 9154202"/>
                <a:gd name="connsiteY2710" fmla="*/ 885438 h 2112317"/>
                <a:gd name="connsiteX2711" fmla="*/ 4396397 w 9154202"/>
                <a:gd name="connsiteY2711" fmla="*/ 886234 h 2112317"/>
                <a:gd name="connsiteX2712" fmla="*/ 4395400 w 9154202"/>
                <a:gd name="connsiteY2712" fmla="*/ 887527 h 2112317"/>
                <a:gd name="connsiteX2713" fmla="*/ 4395400 w 9154202"/>
                <a:gd name="connsiteY2713" fmla="*/ 889318 h 2112317"/>
                <a:gd name="connsiteX2714" fmla="*/ 4394703 w 9154202"/>
                <a:gd name="connsiteY2714" fmla="*/ 890810 h 2112317"/>
                <a:gd name="connsiteX2715" fmla="*/ 4393308 w 9154202"/>
                <a:gd name="connsiteY2715" fmla="*/ 890810 h 2112317"/>
                <a:gd name="connsiteX2716" fmla="*/ 4391514 w 9154202"/>
                <a:gd name="connsiteY2716" fmla="*/ 890810 h 2112317"/>
                <a:gd name="connsiteX2717" fmla="*/ 4390119 w 9154202"/>
                <a:gd name="connsiteY2717" fmla="*/ 890810 h 2112317"/>
                <a:gd name="connsiteX2718" fmla="*/ 4388824 w 9154202"/>
                <a:gd name="connsiteY2718" fmla="*/ 891606 h 2112317"/>
                <a:gd name="connsiteX2719" fmla="*/ 4386233 w 9154202"/>
                <a:gd name="connsiteY2719" fmla="*/ 893497 h 2112317"/>
                <a:gd name="connsiteX2720" fmla="*/ 4384938 w 9154202"/>
                <a:gd name="connsiteY2720" fmla="*/ 894193 h 2112317"/>
                <a:gd name="connsiteX2721" fmla="*/ 4380254 w 9154202"/>
                <a:gd name="connsiteY2721" fmla="*/ 895387 h 2112317"/>
                <a:gd name="connsiteX2722" fmla="*/ 4376667 w 9154202"/>
                <a:gd name="connsiteY2722" fmla="*/ 897675 h 2112317"/>
                <a:gd name="connsiteX2723" fmla="*/ 4373678 w 9154202"/>
                <a:gd name="connsiteY2723" fmla="*/ 897675 h 2112317"/>
                <a:gd name="connsiteX2724" fmla="*/ 4371386 w 9154202"/>
                <a:gd name="connsiteY2724" fmla="*/ 895586 h 2112317"/>
                <a:gd name="connsiteX2725" fmla="*/ 4371386 w 9154202"/>
                <a:gd name="connsiteY2725" fmla="*/ 892104 h 2112317"/>
                <a:gd name="connsiteX2726" fmla="*/ 4372881 w 9154202"/>
                <a:gd name="connsiteY2726" fmla="*/ 890114 h 2112317"/>
                <a:gd name="connsiteX2727" fmla="*/ 4378062 w 9154202"/>
                <a:gd name="connsiteY2727" fmla="*/ 884841 h 2112317"/>
                <a:gd name="connsiteX2728" fmla="*/ 4379258 w 9154202"/>
                <a:gd name="connsiteY2728" fmla="*/ 882453 h 2112317"/>
                <a:gd name="connsiteX2729" fmla="*/ 4378561 w 9154202"/>
                <a:gd name="connsiteY2729" fmla="*/ 878872 h 2112317"/>
                <a:gd name="connsiteX2730" fmla="*/ 4376767 w 9154202"/>
                <a:gd name="connsiteY2730" fmla="*/ 877181 h 2112317"/>
                <a:gd name="connsiteX2731" fmla="*/ 4371386 w 9154202"/>
                <a:gd name="connsiteY2731" fmla="*/ 875091 h 2112317"/>
                <a:gd name="connsiteX2732" fmla="*/ 4368198 w 9154202"/>
                <a:gd name="connsiteY2732" fmla="*/ 872107 h 2112317"/>
                <a:gd name="connsiteX2733" fmla="*/ 4368198 w 9154202"/>
                <a:gd name="connsiteY2733" fmla="*/ 869719 h 2112317"/>
                <a:gd name="connsiteX2734" fmla="*/ 4376169 w 9154202"/>
                <a:gd name="connsiteY2734" fmla="*/ 862854 h 2112317"/>
                <a:gd name="connsiteX2735" fmla="*/ 4378461 w 9154202"/>
                <a:gd name="connsiteY2735" fmla="*/ 863451 h 2112317"/>
                <a:gd name="connsiteX2736" fmla="*/ 4380753 w 9154202"/>
                <a:gd name="connsiteY2736" fmla="*/ 865441 h 2112317"/>
                <a:gd name="connsiteX2737" fmla="*/ 4383144 w 9154202"/>
                <a:gd name="connsiteY2737" fmla="*/ 866734 h 2112317"/>
                <a:gd name="connsiteX2738" fmla="*/ 4392511 w 9154202"/>
                <a:gd name="connsiteY2738" fmla="*/ 865939 h 2112317"/>
                <a:gd name="connsiteX2739" fmla="*/ 4396098 w 9154202"/>
                <a:gd name="connsiteY2739" fmla="*/ 868326 h 2112317"/>
                <a:gd name="connsiteX2740" fmla="*/ 4397393 w 9154202"/>
                <a:gd name="connsiteY2740" fmla="*/ 868326 h 2112317"/>
                <a:gd name="connsiteX2741" fmla="*/ 4397393 w 9154202"/>
                <a:gd name="connsiteY2741" fmla="*/ 869023 h 2112317"/>
                <a:gd name="connsiteX2742" fmla="*/ 4396596 w 9154202"/>
                <a:gd name="connsiteY2742" fmla="*/ 871211 h 2112317"/>
                <a:gd name="connsiteX2743" fmla="*/ 4395699 w 9154202"/>
                <a:gd name="connsiteY2743" fmla="*/ 871908 h 2112317"/>
                <a:gd name="connsiteX2744" fmla="*/ 4391315 w 9154202"/>
                <a:gd name="connsiteY2744" fmla="*/ 873599 h 2112317"/>
                <a:gd name="connsiteX2745" fmla="*/ 4391315 w 9154202"/>
                <a:gd name="connsiteY2745" fmla="*/ 874793 h 2112317"/>
                <a:gd name="connsiteX2746" fmla="*/ 4391913 w 9154202"/>
                <a:gd name="connsiteY2746" fmla="*/ 875688 h 2112317"/>
                <a:gd name="connsiteX2747" fmla="*/ 4392610 w 9154202"/>
                <a:gd name="connsiteY2747" fmla="*/ 876484 h 2112317"/>
                <a:gd name="connsiteX2748" fmla="*/ 4393607 w 9154202"/>
                <a:gd name="connsiteY2748" fmla="*/ 877081 h 2112317"/>
                <a:gd name="connsiteX2749" fmla="*/ 4394404 w 9154202"/>
                <a:gd name="connsiteY2749" fmla="*/ 875887 h 2112317"/>
                <a:gd name="connsiteX2750" fmla="*/ 4395301 w 9154202"/>
                <a:gd name="connsiteY2750" fmla="*/ 877081 h 2112317"/>
                <a:gd name="connsiteX2751" fmla="*/ 4397293 w 9154202"/>
                <a:gd name="connsiteY2751" fmla="*/ 875987 h 2112317"/>
                <a:gd name="connsiteX2752" fmla="*/ 4402276 w 9154202"/>
                <a:gd name="connsiteY2752" fmla="*/ 877181 h 2112317"/>
                <a:gd name="connsiteX2753" fmla="*/ 4404767 w 9154202"/>
                <a:gd name="connsiteY2753" fmla="*/ 877181 h 2112317"/>
                <a:gd name="connsiteX2754" fmla="*/ 4406859 w 9154202"/>
                <a:gd name="connsiteY2754" fmla="*/ 875987 h 2112317"/>
                <a:gd name="connsiteX2755" fmla="*/ 4408753 w 9154202"/>
                <a:gd name="connsiteY2755" fmla="*/ 874296 h 2112317"/>
                <a:gd name="connsiteX2756" fmla="*/ 4413237 w 9154202"/>
                <a:gd name="connsiteY2756" fmla="*/ 868028 h 2112317"/>
                <a:gd name="connsiteX2757" fmla="*/ 4414034 w 9154202"/>
                <a:gd name="connsiteY2757" fmla="*/ 866536 h 2112317"/>
                <a:gd name="connsiteX2758" fmla="*/ 4413436 w 9154202"/>
                <a:gd name="connsiteY2758" fmla="*/ 865342 h 2112317"/>
                <a:gd name="connsiteX2759" fmla="*/ 4410945 w 9154202"/>
                <a:gd name="connsiteY2759" fmla="*/ 864446 h 2112317"/>
                <a:gd name="connsiteX2760" fmla="*/ 4408753 w 9154202"/>
                <a:gd name="connsiteY2760" fmla="*/ 864446 h 2112317"/>
                <a:gd name="connsiteX2761" fmla="*/ 4406660 w 9154202"/>
                <a:gd name="connsiteY2761" fmla="*/ 864446 h 2112317"/>
                <a:gd name="connsiteX2762" fmla="*/ 4404568 w 9154202"/>
                <a:gd name="connsiteY2762" fmla="*/ 864446 h 2112317"/>
                <a:gd name="connsiteX2763" fmla="*/ 4402276 w 9154202"/>
                <a:gd name="connsiteY2763" fmla="*/ 863451 h 2112317"/>
                <a:gd name="connsiteX2764" fmla="*/ 4412240 w 9154202"/>
                <a:gd name="connsiteY2764" fmla="*/ 856089 h 2112317"/>
                <a:gd name="connsiteX2765" fmla="*/ 4433365 w 9154202"/>
                <a:gd name="connsiteY2765" fmla="*/ 852906 h 2112317"/>
                <a:gd name="connsiteX2766" fmla="*/ 4447913 w 9154202"/>
                <a:gd name="connsiteY2766" fmla="*/ 855592 h 2112317"/>
                <a:gd name="connsiteX2767" fmla="*/ 4451101 w 9154202"/>
                <a:gd name="connsiteY2767" fmla="*/ 854696 h 2112317"/>
                <a:gd name="connsiteX2768" fmla="*/ 4451101 w 9154202"/>
                <a:gd name="connsiteY2768" fmla="*/ 852707 h 2112317"/>
                <a:gd name="connsiteX2769" fmla="*/ 4449108 w 9154202"/>
                <a:gd name="connsiteY2769" fmla="*/ 851214 h 2112317"/>
                <a:gd name="connsiteX2770" fmla="*/ 4445123 w 9154202"/>
                <a:gd name="connsiteY2770" fmla="*/ 849523 h 2112317"/>
                <a:gd name="connsiteX2771" fmla="*/ 4445123 w 9154202"/>
                <a:gd name="connsiteY2771" fmla="*/ 846936 h 2112317"/>
                <a:gd name="connsiteX2772" fmla="*/ 4446119 w 9154202"/>
                <a:gd name="connsiteY2772" fmla="*/ 844748 h 2112317"/>
                <a:gd name="connsiteX2773" fmla="*/ 4449108 w 9154202"/>
                <a:gd name="connsiteY2773" fmla="*/ 841365 h 2112317"/>
                <a:gd name="connsiteX2774" fmla="*/ 4447713 w 9154202"/>
                <a:gd name="connsiteY2774" fmla="*/ 839574 h 2112317"/>
                <a:gd name="connsiteX2775" fmla="*/ 4446318 w 9154202"/>
                <a:gd name="connsiteY2775" fmla="*/ 838878 h 2112317"/>
                <a:gd name="connsiteX2776" fmla="*/ 4447115 w 9154202"/>
                <a:gd name="connsiteY2776" fmla="*/ 839176 h 2112317"/>
                <a:gd name="connsiteX2777" fmla="*/ 4447115 w 9154202"/>
                <a:gd name="connsiteY2777" fmla="*/ 836391 h 2112317"/>
                <a:gd name="connsiteX2778" fmla="*/ 4446418 w 9154202"/>
                <a:gd name="connsiteY2778" fmla="*/ 833804 h 2112317"/>
                <a:gd name="connsiteX2779" fmla="*/ 4443329 w 9154202"/>
                <a:gd name="connsiteY2779" fmla="*/ 831118 h 2112317"/>
                <a:gd name="connsiteX2780" fmla="*/ 4442731 w 9154202"/>
                <a:gd name="connsiteY2780" fmla="*/ 829427 h 2112317"/>
                <a:gd name="connsiteX2781" fmla="*/ 4442133 w 9154202"/>
                <a:gd name="connsiteY2781" fmla="*/ 827238 h 2112317"/>
                <a:gd name="connsiteX2782" fmla="*/ 4440838 w 9154202"/>
                <a:gd name="connsiteY2782" fmla="*/ 825547 h 2112317"/>
                <a:gd name="connsiteX2783" fmla="*/ 4439244 w 9154202"/>
                <a:gd name="connsiteY2783" fmla="*/ 824552 h 2112317"/>
                <a:gd name="connsiteX2784" fmla="*/ 4437948 w 9154202"/>
                <a:gd name="connsiteY2784" fmla="*/ 824552 h 2112317"/>
                <a:gd name="connsiteX2785" fmla="*/ 4437351 w 9154202"/>
                <a:gd name="connsiteY2785" fmla="*/ 823656 h 2112317"/>
                <a:gd name="connsiteX2786" fmla="*/ 4430973 w 9154202"/>
                <a:gd name="connsiteY2786" fmla="*/ 819279 h 2112317"/>
                <a:gd name="connsiteX2787" fmla="*/ 4429479 w 9154202"/>
                <a:gd name="connsiteY2787" fmla="*/ 815299 h 2112317"/>
                <a:gd name="connsiteX2788" fmla="*/ 4430375 w 9154202"/>
                <a:gd name="connsiteY2788" fmla="*/ 811718 h 2112317"/>
                <a:gd name="connsiteX2789" fmla="*/ 4433066 w 9154202"/>
                <a:gd name="connsiteY2789" fmla="*/ 808833 h 2112317"/>
                <a:gd name="connsiteX2790" fmla="*/ 4436753 w 9154202"/>
                <a:gd name="connsiteY2790" fmla="*/ 807241 h 2112317"/>
                <a:gd name="connsiteX2791" fmla="*/ 4439941 w 9154202"/>
                <a:gd name="connsiteY2791" fmla="*/ 807241 h 2112317"/>
                <a:gd name="connsiteX2792" fmla="*/ 4443229 w 9154202"/>
                <a:gd name="connsiteY2792" fmla="*/ 808037 h 2112317"/>
                <a:gd name="connsiteX2793" fmla="*/ 4446318 w 9154202"/>
                <a:gd name="connsiteY2793" fmla="*/ 809629 h 2112317"/>
                <a:gd name="connsiteX2794" fmla="*/ 4451898 w 9154202"/>
                <a:gd name="connsiteY2794" fmla="*/ 815101 h 2112317"/>
                <a:gd name="connsiteX2795" fmla="*/ 4452995 w 9154202"/>
                <a:gd name="connsiteY2795" fmla="*/ 820274 h 2112317"/>
                <a:gd name="connsiteX2796" fmla="*/ 4451699 w 9154202"/>
                <a:gd name="connsiteY2796" fmla="*/ 825348 h 2112317"/>
                <a:gd name="connsiteX2797" fmla="*/ 4447913 w 9154202"/>
                <a:gd name="connsiteY2797" fmla="*/ 828233 h 2112317"/>
                <a:gd name="connsiteX2798" fmla="*/ 4447913 w 9154202"/>
                <a:gd name="connsiteY2798" fmla="*/ 829327 h 2112317"/>
                <a:gd name="connsiteX2799" fmla="*/ 4448909 w 9154202"/>
                <a:gd name="connsiteY2799" fmla="*/ 830521 h 2112317"/>
                <a:gd name="connsiteX2800" fmla="*/ 4450304 w 9154202"/>
                <a:gd name="connsiteY2800" fmla="*/ 833307 h 2112317"/>
                <a:gd name="connsiteX2801" fmla="*/ 4451400 w 9154202"/>
                <a:gd name="connsiteY2801" fmla="*/ 833904 h 2112317"/>
                <a:gd name="connsiteX2802" fmla="*/ 4453094 w 9154202"/>
                <a:gd name="connsiteY2802" fmla="*/ 833904 h 2112317"/>
                <a:gd name="connsiteX2803" fmla="*/ 4454489 w 9154202"/>
                <a:gd name="connsiteY2803" fmla="*/ 833904 h 2112317"/>
                <a:gd name="connsiteX2804" fmla="*/ 4455486 w 9154202"/>
                <a:gd name="connsiteY2804" fmla="*/ 835197 h 2112317"/>
                <a:gd name="connsiteX2805" fmla="*/ 4455486 w 9154202"/>
                <a:gd name="connsiteY2805" fmla="*/ 837386 h 2112317"/>
                <a:gd name="connsiteX2806" fmla="*/ 4455486 w 9154202"/>
                <a:gd name="connsiteY2806" fmla="*/ 840569 h 2112317"/>
                <a:gd name="connsiteX2807" fmla="*/ 4455984 w 9154202"/>
                <a:gd name="connsiteY2807" fmla="*/ 842659 h 2112317"/>
                <a:gd name="connsiteX2808" fmla="*/ 4460767 w 9154202"/>
                <a:gd name="connsiteY2808" fmla="*/ 850319 h 2112317"/>
                <a:gd name="connsiteX2809" fmla="*/ 4462162 w 9154202"/>
                <a:gd name="connsiteY2809" fmla="*/ 851612 h 2112317"/>
                <a:gd name="connsiteX2810" fmla="*/ 4463856 w 9154202"/>
                <a:gd name="connsiteY2810" fmla="*/ 851612 h 2112317"/>
                <a:gd name="connsiteX2811" fmla="*/ 4466945 w 9154202"/>
                <a:gd name="connsiteY2811" fmla="*/ 851612 h 2112317"/>
                <a:gd name="connsiteX2812" fmla="*/ 4469535 w 9154202"/>
                <a:gd name="connsiteY2812" fmla="*/ 852309 h 2112317"/>
                <a:gd name="connsiteX2813" fmla="*/ 4471628 w 9154202"/>
                <a:gd name="connsiteY2813" fmla="*/ 853503 h 2112317"/>
                <a:gd name="connsiteX2814" fmla="*/ 4473721 w 9154202"/>
                <a:gd name="connsiteY2814" fmla="*/ 853503 h 2112317"/>
                <a:gd name="connsiteX2815" fmla="*/ 4476112 w 9154202"/>
                <a:gd name="connsiteY2815" fmla="*/ 851413 h 2112317"/>
                <a:gd name="connsiteX2816" fmla="*/ 4479101 w 9154202"/>
                <a:gd name="connsiteY2816" fmla="*/ 855990 h 2112317"/>
                <a:gd name="connsiteX2817" fmla="*/ 4480696 w 9154202"/>
                <a:gd name="connsiteY2817" fmla="*/ 856985 h 2112317"/>
                <a:gd name="connsiteX2818" fmla="*/ 4483884 w 9154202"/>
                <a:gd name="connsiteY2818" fmla="*/ 856985 h 2112317"/>
                <a:gd name="connsiteX2819" fmla="*/ 4480995 w 9154202"/>
                <a:gd name="connsiteY2819" fmla="*/ 861362 h 2112317"/>
                <a:gd name="connsiteX2820" fmla="*/ 4477607 w 9154202"/>
                <a:gd name="connsiteY2820" fmla="*/ 863252 h 2112317"/>
                <a:gd name="connsiteX2821" fmla="*/ 4473920 w 9154202"/>
                <a:gd name="connsiteY2821" fmla="*/ 864446 h 2112317"/>
                <a:gd name="connsiteX2822" fmla="*/ 4470034 w 9154202"/>
                <a:gd name="connsiteY2822" fmla="*/ 866237 h 2112317"/>
                <a:gd name="connsiteX2823" fmla="*/ 4473222 w 9154202"/>
                <a:gd name="connsiteY2823" fmla="*/ 869023 h 2112317"/>
                <a:gd name="connsiteX2824" fmla="*/ 4483187 w 9154202"/>
                <a:gd name="connsiteY2824" fmla="*/ 870714 h 2112317"/>
                <a:gd name="connsiteX2825" fmla="*/ 4486176 w 9154202"/>
                <a:gd name="connsiteY2825" fmla="*/ 874296 h 2112317"/>
                <a:gd name="connsiteX2826" fmla="*/ 4468340 w 9154202"/>
                <a:gd name="connsiteY2826" fmla="*/ 871908 h 2112317"/>
                <a:gd name="connsiteX2827" fmla="*/ 4465450 w 9154202"/>
                <a:gd name="connsiteY2827" fmla="*/ 872505 h 2112317"/>
                <a:gd name="connsiteX2828" fmla="*/ 4465450 w 9154202"/>
                <a:gd name="connsiteY2828" fmla="*/ 874097 h 2112317"/>
                <a:gd name="connsiteX2829" fmla="*/ 4467244 w 9154202"/>
                <a:gd name="connsiteY2829" fmla="*/ 876086 h 2112317"/>
                <a:gd name="connsiteX2830" fmla="*/ 4471927 w 9154202"/>
                <a:gd name="connsiteY2830" fmla="*/ 879270 h 2112317"/>
                <a:gd name="connsiteX2831" fmla="*/ 4473521 w 9154202"/>
                <a:gd name="connsiteY2831" fmla="*/ 880762 h 2112317"/>
                <a:gd name="connsiteX2832" fmla="*/ 4476610 w 9154202"/>
                <a:gd name="connsiteY2832" fmla="*/ 884642 h 2112317"/>
                <a:gd name="connsiteX2833" fmla="*/ 4477208 w 9154202"/>
                <a:gd name="connsiteY2833" fmla="*/ 885737 h 2112317"/>
                <a:gd name="connsiteX2834" fmla="*/ 4477208 w 9154202"/>
                <a:gd name="connsiteY2834" fmla="*/ 886533 h 2112317"/>
                <a:gd name="connsiteX2835" fmla="*/ 4477806 w 9154202"/>
                <a:gd name="connsiteY2835" fmla="*/ 887328 h 2112317"/>
                <a:gd name="connsiteX2836" fmla="*/ 4479002 w 9154202"/>
                <a:gd name="connsiteY2836" fmla="*/ 888224 h 2112317"/>
                <a:gd name="connsiteX2837" fmla="*/ 4483984 w 9154202"/>
                <a:gd name="connsiteY2837" fmla="*/ 888224 h 2112317"/>
                <a:gd name="connsiteX2838" fmla="*/ 4486575 w 9154202"/>
                <a:gd name="connsiteY2838" fmla="*/ 888224 h 2112317"/>
                <a:gd name="connsiteX2839" fmla="*/ 4491258 w 9154202"/>
                <a:gd name="connsiteY2839" fmla="*/ 889716 h 2112317"/>
                <a:gd name="connsiteX2840" fmla="*/ 4493550 w 9154202"/>
                <a:gd name="connsiteY2840" fmla="*/ 889716 h 2112317"/>
                <a:gd name="connsiteX2841" fmla="*/ 4494247 w 9154202"/>
                <a:gd name="connsiteY2841" fmla="*/ 889716 h 2112317"/>
                <a:gd name="connsiteX2842" fmla="*/ 4496937 w 9154202"/>
                <a:gd name="connsiteY2842" fmla="*/ 892303 h 2112317"/>
                <a:gd name="connsiteX2843" fmla="*/ 4498133 w 9154202"/>
                <a:gd name="connsiteY2843" fmla="*/ 892999 h 2112317"/>
                <a:gd name="connsiteX2844" fmla="*/ 4502617 w 9154202"/>
                <a:gd name="connsiteY2844" fmla="*/ 892999 h 2112317"/>
                <a:gd name="connsiteX2845" fmla="*/ 4504909 w 9154202"/>
                <a:gd name="connsiteY2845" fmla="*/ 892999 h 2112317"/>
                <a:gd name="connsiteX2846" fmla="*/ 4506802 w 9154202"/>
                <a:gd name="connsiteY2846" fmla="*/ 893696 h 2112317"/>
                <a:gd name="connsiteX2847" fmla="*/ 4510389 w 9154202"/>
                <a:gd name="connsiteY2847" fmla="*/ 896083 h 2112317"/>
                <a:gd name="connsiteX2848" fmla="*/ 4506902 w 9154202"/>
                <a:gd name="connsiteY2848" fmla="*/ 896879 h 2112317"/>
                <a:gd name="connsiteX2849" fmla="*/ 4498930 w 9154202"/>
                <a:gd name="connsiteY2849" fmla="*/ 894790 h 2112317"/>
                <a:gd name="connsiteX2850" fmla="*/ 4496539 w 9154202"/>
                <a:gd name="connsiteY2850" fmla="*/ 897178 h 2112317"/>
                <a:gd name="connsiteX2851" fmla="*/ 4500026 w 9154202"/>
                <a:gd name="connsiteY2851" fmla="*/ 899864 h 2112317"/>
                <a:gd name="connsiteX2852" fmla="*/ 4506304 w 9154202"/>
                <a:gd name="connsiteY2852" fmla="*/ 906728 h 2112317"/>
                <a:gd name="connsiteX2853" fmla="*/ 4509592 w 9154202"/>
                <a:gd name="connsiteY2853" fmla="*/ 908718 h 2112317"/>
                <a:gd name="connsiteX2854" fmla="*/ 4514375 w 9154202"/>
                <a:gd name="connsiteY2854" fmla="*/ 909315 h 2112317"/>
                <a:gd name="connsiteX2855" fmla="*/ 4516866 w 9154202"/>
                <a:gd name="connsiteY2855" fmla="*/ 910111 h 2112317"/>
                <a:gd name="connsiteX2856" fmla="*/ 4516866 w 9154202"/>
                <a:gd name="connsiteY2856" fmla="*/ 911703 h 2112317"/>
                <a:gd name="connsiteX2857" fmla="*/ 4515671 w 9154202"/>
                <a:gd name="connsiteY2857" fmla="*/ 911703 h 2112317"/>
                <a:gd name="connsiteX2858" fmla="*/ 4513180 w 9154202"/>
                <a:gd name="connsiteY2858" fmla="*/ 910310 h 2112317"/>
                <a:gd name="connsiteX2859" fmla="*/ 4512183 w 9154202"/>
                <a:gd name="connsiteY2859" fmla="*/ 910310 h 2112317"/>
                <a:gd name="connsiteX2860" fmla="*/ 4511585 w 9154202"/>
                <a:gd name="connsiteY2860" fmla="*/ 911603 h 2112317"/>
                <a:gd name="connsiteX2861" fmla="*/ 4511585 w 9154202"/>
                <a:gd name="connsiteY2861" fmla="*/ 913096 h 2112317"/>
                <a:gd name="connsiteX2862" fmla="*/ 4512183 w 9154202"/>
                <a:gd name="connsiteY2862" fmla="*/ 914290 h 2112317"/>
                <a:gd name="connsiteX2863" fmla="*/ 4513379 w 9154202"/>
                <a:gd name="connsiteY2863" fmla="*/ 914886 h 2112317"/>
                <a:gd name="connsiteX2864" fmla="*/ 4515770 w 9154202"/>
                <a:gd name="connsiteY2864" fmla="*/ 917175 h 2112317"/>
                <a:gd name="connsiteX2865" fmla="*/ 4515770 w 9154202"/>
                <a:gd name="connsiteY2865" fmla="*/ 922447 h 2112317"/>
                <a:gd name="connsiteX2866" fmla="*/ 4514276 w 9154202"/>
                <a:gd name="connsiteY2866" fmla="*/ 928118 h 2112317"/>
                <a:gd name="connsiteX2867" fmla="*/ 4512781 w 9154202"/>
                <a:gd name="connsiteY2867" fmla="*/ 931501 h 2112317"/>
                <a:gd name="connsiteX2868" fmla="*/ 4510091 w 9154202"/>
                <a:gd name="connsiteY2868" fmla="*/ 934187 h 2112317"/>
                <a:gd name="connsiteX2869" fmla="*/ 4506005 w 9154202"/>
                <a:gd name="connsiteY2869" fmla="*/ 937371 h 2112317"/>
                <a:gd name="connsiteX2870" fmla="*/ 4501920 w 9154202"/>
                <a:gd name="connsiteY2870" fmla="*/ 938863 h 2112317"/>
                <a:gd name="connsiteX2871" fmla="*/ 4499329 w 9154202"/>
                <a:gd name="connsiteY2871" fmla="*/ 936575 h 2112317"/>
                <a:gd name="connsiteX2872" fmla="*/ 4501322 w 9154202"/>
                <a:gd name="connsiteY2872" fmla="*/ 934485 h 2112317"/>
                <a:gd name="connsiteX2873" fmla="*/ 4506105 w 9154202"/>
                <a:gd name="connsiteY2873" fmla="*/ 931501 h 2112317"/>
                <a:gd name="connsiteX2874" fmla="*/ 4507998 w 9154202"/>
                <a:gd name="connsiteY2874" fmla="*/ 929710 h 2112317"/>
                <a:gd name="connsiteX2875" fmla="*/ 4508995 w 9154202"/>
                <a:gd name="connsiteY2875" fmla="*/ 928417 h 2112317"/>
                <a:gd name="connsiteX2876" fmla="*/ 4509592 w 9154202"/>
                <a:gd name="connsiteY2876" fmla="*/ 927123 h 2112317"/>
                <a:gd name="connsiteX2877" fmla="*/ 4509592 w 9154202"/>
                <a:gd name="connsiteY2877" fmla="*/ 928715 h 2112317"/>
                <a:gd name="connsiteX2878" fmla="*/ 4508895 w 9154202"/>
                <a:gd name="connsiteY2878" fmla="*/ 927024 h 2112317"/>
                <a:gd name="connsiteX2879" fmla="*/ 4507699 w 9154202"/>
                <a:gd name="connsiteY2879" fmla="*/ 926327 h 2112317"/>
                <a:gd name="connsiteX2880" fmla="*/ 4504511 w 9154202"/>
                <a:gd name="connsiteY2880" fmla="*/ 926327 h 2112317"/>
                <a:gd name="connsiteX2881" fmla="*/ 4503215 w 9154202"/>
                <a:gd name="connsiteY2881" fmla="*/ 925532 h 2112317"/>
                <a:gd name="connsiteX2882" fmla="*/ 4500824 w 9154202"/>
                <a:gd name="connsiteY2882" fmla="*/ 923044 h 2112317"/>
                <a:gd name="connsiteX2883" fmla="*/ 4498632 w 9154202"/>
                <a:gd name="connsiteY2883" fmla="*/ 921851 h 2112317"/>
                <a:gd name="connsiteX2884" fmla="*/ 4496340 w 9154202"/>
                <a:gd name="connsiteY2884" fmla="*/ 921851 h 2112317"/>
                <a:gd name="connsiteX2885" fmla="*/ 4493649 w 9154202"/>
                <a:gd name="connsiteY2885" fmla="*/ 921851 h 2112317"/>
                <a:gd name="connsiteX2886" fmla="*/ 4491059 w 9154202"/>
                <a:gd name="connsiteY2886" fmla="*/ 920259 h 2112317"/>
                <a:gd name="connsiteX2887" fmla="*/ 4491059 w 9154202"/>
                <a:gd name="connsiteY2887" fmla="*/ 916677 h 2112317"/>
                <a:gd name="connsiteX2888" fmla="*/ 4492254 w 9154202"/>
                <a:gd name="connsiteY2888" fmla="*/ 912797 h 2112317"/>
                <a:gd name="connsiteX2889" fmla="*/ 4492254 w 9154202"/>
                <a:gd name="connsiteY2889" fmla="*/ 909216 h 2112317"/>
                <a:gd name="connsiteX2890" fmla="*/ 4492852 w 9154202"/>
                <a:gd name="connsiteY2890" fmla="*/ 909216 h 2112317"/>
                <a:gd name="connsiteX2891" fmla="*/ 4494048 w 9154202"/>
                <a:gd name="connsiteY2891" fmla="*/ 908320 h 2112317"/>
                <a:gd name="connsiteX2892" fmla="*/ 4491756 w 9154202"/>
                <a:gd name="connsiteY2892" fmla="*/ 906330 h 2112317"/>
                <a:gd name="connsiteX2893" fmla="*/ 4490760 w 9154202"/>
                <a:gd name="connsiteY2893" fmla="*/ 904938 h 2112317"/>
                <a:gd name="connsiteX2894" fmla="*/ 4489664 w 9154202"/>
                <a:gd name="connsiteY2894" fmla="*/ 904938 h 2112317"/>
                <a:gd name="connsiteX2895" fmla="*/ 4482489 w 9154202"/>
                <a:gd name="connsiteY2895" fmla="*/ 911006 h 2112317"/>
                <a:gd name="connsiteX2896" fmla="*/ 4479898 w 9154202"/>
                <a:gd name="connsiteY2896" fmla="*/ 912200 h 2112317"/>
                <a:gd name="connsiteX2897" fmla="*/ 4477407 w 9154202"/>
                <a:gd name="connsiteY2897" fmla="*/ 911603 h 2112317"/>
                <a:gd name="connsiteX2898" fmla="*/ 4478902 w 9154202"/>
                <a:gd name="connsiteY2898" fmla="*/ 909116 h 2112317"/>
                <a:gd name="connsiteX2899" fmla="*/ 4483685 w 9154202"/>
                <a:gd name="connsiteY2899" fmla="*/ 905634 h 2112317"/>
                <a:gd name="connsiteX2900" fmla="*/ 4485279 w 9154202"/>
                <a:gd name="connsiteY2900" fmla="*/ 903545 h 2112317"/>
                <a:gd name="connsiteX2901" fmla="*/ 4486276 w 9154202"/>
                <a:gd name="connsiteY2901" fmla="*/ 898073 h 2112317"/>
                <a:gd name="connsiteX2902" fmla="*/ 4487372 w 9154202"/>
                <a:gd name="connsiteY2902" fmla="*/ 896581 h 2112317"/>
                <a:gd name="connsiteX2903" fmla="*/ 4490560 w 9154202"/>
                <a:gd name="connsiteY2903" fmla="*/ 896581 h 2112317"/>
                <a:gd name="connsiteX2904" fmla="*/ 4484881 w 9154202"/>
                <a:gd name="connsiteY2904" fmla="*/ 893895 h 2112317"/>
                <a:gd name="connsiteX2905" fmla="*/ 4478603 w 9154202"/>
                <a:gd name="connsiteY2905" fmla="*/ 893099 h 2112317"/>
                <a:gd name="connsiteX2906" fmla="*/ 4454489 w 9154202"/>
                <a:gd name="connsiteY2906" fmla="*/ 895486 h 2112317"/>
                <a:gd name="connsiteX2907" fmla="*/ 4446219 w 9154202"/>
                <a:gd name="connsiteY2907" fmla="*/ 897775 h 2112317"/>
                <a:gd name="connsiteX2908" fmla="*/ 4443528 w 9154202"/>
                <a:gd name="connsiteY2908" fmla="*/ 897775 h 2112317"/>
                <a:gd name="connsiteX2909" fmla="*/ 4442034 w 9154202"/>
                <a:gd name="connsiteY2909" fmla="*/ 896979 h 2112317"/>
                <a:gd name="connsiteX2910" fmla="*/ 4441137 w 9154202"/>
                <a:gd name="connsiteY2910" fmla="*/ 896282 h 2112317"/>
                <a:gd name="connsiteX2911" fmla="*/ 4440141 w 9154202"/>
                <a:gd name="connsiteY2911" fmla="*/ 896282 h 2112317"/>
                <a:gd name="connsiteX2912" fmla="*/ 4438347 w 9154202"/>
                <a:gd name="connsiteY2912" fmla="*/ 896979 h 2112317"/>
                <a:gd name="connsiteX2913" fmla="*/ 4434162 w 9154202"/>
                <a:gd name="connsiteY2913" fmla="*/ 902251 h 2112317"/>
                <a:gd name="connsiteX2914" fmla="*/ 4432567 w 9154202"/>
                <a:gd name="connsiteY2914" fmla="*/ 903545 h 2112317"/>
                <a:gd name="connsiteX2915" fmla="*/ 4425194 w 9154202"/>
                <a:gd name="connsiteY2915" fmla="*/ 904440 h 2112317"/>
                <a:gd name="connsiteX2916" fmla="*/ 4422802 w 9154202"/>
                <a:gd name="connsiteY2916" fmla="*/ 905137 h 2112317"/>
                <a:gd name="connsiteX2917" fmla="*/ 4422204 w 9154202"/>
                <a:gd name="connsiteY2917" fmla="*/ 906231 h 2112317"/>
                <a:gd name="connsiteX2918" fmla="*/ 4421009 w 9154202"/>
                <a:gd name="connsiteY2918" fmla="*/ 910807 h 2112317"/>
                <a:gd name="connsiteX2919" fmla="*/ 4420012 w 9154202"/>
                <a:gd name="connsiteY2919" fmla="*/ 912598 h 2112317"/>
                <a:gd name="connsiteX2920" fmla="*/ 4417123 w 9154202"/>
                <a:gd name="connsiteY2920" fmla="*/ 916080 h 2112317"/>
                <a:gd name="connsiteX2921" fmla="*/ 4416425 w 9154202"/>
                <a:gd name="connsiteY2921" fmla="*/ 917971 h 2112317"/>
                <a:gd name="connsiteX2922" fmla="*/ 4417322 w 9154202"/>
                <a:gd name="connsiteY2922" fmla="*/ 919264 h 2112317"/>
                <a:gd name="connsiteX2923" fmla="*/ 4418617 w 9154202"/>
                <a:gd name="connsiteY2923" fmla="*/ 920458 h 2112317"/>
                <a:gd name="connsiteX2924" fmla="*/ 4419713 w 9154202"/>
                <a:gd name="connsiteY2924" fmla="*/ 922547 h 2112317"/>
                <a:gd name="connsiteX2925" fmla="*/ 4420610 w 9154202"/>
                <a:gd name="connsiteY2925" fmla="*/ 921453 h 2112317"/>
                <a:gd name="connsiteX2926" fmla="*/ 4421806 w 9154202"/>
                <a:gd name="connsiteY2926" fmla="*/ 918965 h 2112317"/>
                <a:gd name="connsiteX2927" fmla="*/ 4424197 w 9154202"/>
                <a:gd name="connsiteY2927" fmla="*/ 917175 h 2112317"/>
                <a:gd name="connsiteX2928" fmla="*/ 4425593 w 9154202"/>
                <a:gd name="connsiteY2928" fmla="*/ 916478 h 2112317"/>
                <a:gd name="connsiteX2929" fmla="*/ 4426290 w 9154202"/>
                <a:gd name="connsiteY2929" fmla="*/ 917175 h 2112317"/>
                <a:gd name="connsiteX2930" fmla="*/ 4426290 w 9154202"/>
                <a:gd name="connsiteY2930" fmla="*/ 919065 h 2112317"/>
                <a:gd name="connsiteX2931" fmla="*/ 4427187 w 9154202"/>
                <a:gd name="connsiteY2931" fmla="*/ 919562 h 2112317"/>
                <a:gd name="connsiteX2932" fmla="*/ 4428084 w 9154202"/>
                <a:gd name="connsiteY2932" fmla="*/ 918866 h 2112317"/>
                <a:gd name="connsiteX2933" fmla="*/ 4428084 w 9154202"/>
                <a:gd name="connsiteY2933" fmla="*/ 917175 h 2112317"/>
                <a:gd name="connsiteX2934" fmla="*/ 4429279 w 9154202"/>
                <a:gd name="connsiteY2934" fmla="*/ 913693 h 2112317"/>
                <a:gd name="connsiteX2935" fmla="*/ 4432169 w 9154202"/>
                <a:gd name="connsiteY2935" fmla="*/ 913693 h 2112317"/>
                <a:gd name="connsiteX2936" fmla="*/ 4438048 w 9154202"/>
                <a:gd name="connsiteY2936" fmla="*/ 915682 h 2112317"/>
                <a:gd name="connsiteX2937" fmla="*/ 4446219 w 9154202"/>
                <a:gd name="connsiteY2937" fmla="*/ 916876 h 2112317"/>
                <a:gd name="connsiteX2938" fmla="*/ 4447215 w 9154202"/>
                <a:gd name="connsiteY2938" fmla="*/ 917871 h 2112317"/>
                <a:gd name="connsiteX2939" fmla="*/ 4444724 w 9154202"/>
                <a:gd name="connsiteY2939" fmla="*/ 919463 h 2112317"/>
                <a:gd name="connsiteX2940" fmla="*/ 4441336 w 9154202"/>
                <a:gd name="connsiteY2940" fmla="*/ 919463 h 2112317"/>
                <a:gd name="connsiteX2941" fmla="*/ 4439343 w 9154202"/>
                <a:gd name="connsiteY2941" fmla="*/ 920259 h 2112317"/>
                <a:gd name="connsiteX2942" fmla="*/ 4441236 w 9154202"/>
                <a:gd name="connsiteY2942" fmla="*/ 923243 h 2112317"/>
                <a:gd name="connsiteX2943" fmla="*/ 4443329 w 9154202"/>
                <a:gd name="connsiteY2943" fmla="*/ 925034 h 2112317"/>
                <a:gd name="connsiteX2944" fmla="*/ 4448212 w 9154202"/>
                <a:gd name="connsiteY2944" fmla="*/ 927621 h 2112317"/>
                <a:gd name="connsiteX2945" fmla="*/ 4451500 w 9154202"/>
                <a:gd name="connsiteY2945" fmla="*/ 930705 h 2112317"/>
                <a:gd name="connsiteX2946" fmla="*/ 4452496 w 9154202"/>
                <a:gd name="connsiteY2946" fmla="*/ 931302 h 2112317"/>
                <a:gd name="connsiteX2947" fmla="*/ 4453094 w 9154202"/>
                <a:gd name="connsiteY2947" fmla="*/ 932098 h 2112317"/>
                <a:gd name="connsiteX2948" fmla="*/ 4453094 w 9154202"/>
                <a:gd name="connsiteY2948" fmla="*/ 934286 h 2112317"/>
                <a:gd name="connsiteX2949" fmla="*/ 4453792 w 9154202"/>
                <a:gd name="connsiteY2949" fmla="*/ 935281 h 2112317"/>
                <a:gd name="connsiteX2950" fmla="*/ 4455386 w 9154202"/>
                <a:gd name="connsiteY2950" fmla="*/ 935281 h 2112317"/>
                <a:gd name="connsiteX2951" fmla="*/ 4458774 w 9154202"/>
                <a:gd name="connsiteY2951" fmla="*/ 935281 h 2112317"/>
                <a:gd name="connsiteX2952" fmla="*/ 4461863 w 9154202"/>
                <a:gd name="connsiteY2952" fmla="*/ 934585 h 2112317"/>
                <a:gd name="connsiteX2953" fmla="*/ 4464155 w 9154202"/>
                <a:gd name="connsiteY2953" fmla="*/ 933192 h 2112317"/>
                <a:gd name="connsiteX2954" fmla="*/ 4468838 w 9154202"/>
                <a:gd name="connsiteY2954" fmla="*/ 929511 h 2112317"/>
                <a:gd name="connsiteX2955" fmla="*/ 4474219 w 9154202"/>
                <a:gd name="connsiteY2955" fmla="*/ 927123 h 2112317"/>
                <a:gd name="connsiteX2956" fmla="*/ 4477208 w 9154202"/>
                <a:gd name="connsiteY2956" fmla="*/ 927123 h 2112317"/>
                <a:gd name="connsiteX2957" fmla="*/ 4479201 w 9154202"/>
                <a:gd name="connsiteY2957" fmla="*/ 927720 h 2112317"/>
                <a:gd name="connsiteX2958" fmla="*/ 4479201 w 9154202"/>
                <a:gd name="connsiteY2958" fmla="*/ 928417 h 2112317"/>
                <a:gd name="connsiteX2959" fmla="*/ 4478603 w 9154202"/>
                <a:gd name="connsiteY2959" fmla="*/ 930008 h 2112317"/>
                <a:gd name="connsiteX2960" fmla="*/ 4480995 w 9154202"/>
                <a:gd name="connsiteY2960" fmla="*/ 931401 h 2112317"/>
                <a:gd name="connsiteX2961" fmla="*/ 4481891 w 9154202"/>
                <a:gd name="connsiteY2961" fmla="*/ 934983 h 2112317"/>
                <a:gd name="connsiteX2962" fmla="*/ 4482688 w 9154202"/>
                <a:gd name="connsiteY2962" fmla="*/ 936873 h 2112317"/>
                <a:gd name="connsiteX2963" fmla="*/ 4484681 w 9154202"/>
                <a:gd name="connsiteY2963" fmla="*/ 933391 h 2112317"/>
                <a:gd name="connsiteX2964" fmla="*/ 4485379 w 9154202"/>
                <a:gd name="connsiteY2964" fmla="*/ 935679 h 2112317"/>
                <a:gd name="connsiteX2965" fmla="*/ 4485379 w 9154202"/>
                <a:gd name="connsiteY2965" fmla="*/ 938664 h 2112317"/>
                <a:gd name="connsiteX2966" fmla="*/ 4486575 w 9154202"/>
                <a:gd name="connsiteY2966" fmla="*/ 939659 h 2112317"/>
                <a:gd name="connsiteX2967" fmla="*/ 4486575 w 9154202"/>
                <a:gd name="connsiteY2967" fmla="*/ 941251 h 2112317"/>
                <a:gd name="connsiteX2968" fmla="*/ 4485777 w 9154202"/>
                <a:gd name="connsiteY2968" fmla="*/ 942643 h 2112317"/>
                <a:gd name="connsiteX2969" fmla="*/ 4484781 w 9154202"/>
                <a:gd name="connsiteY2969" fmla="*/ 943638 h 2112317"/>
                <a:gd name="connsiteX2970" fmla="*/ 4483486 w 9154202"/>
                <a:gd name="connsiteY2970" fmla="*/ 944235 h 2112317"/>
                <a:gd name="connsiteX2971" fmla="*/ 4483486 w 9154202"/>
                <a:gd name="connsiteY2971" fmla="*/ 945529 h 2112317"/>
                <a:gd name="connsiteX2972" fmla="*/ 4487671 w 9154202"/>
                <a:gd name="connsiteY2972" fmla="*/ 944235 h 2112317"/>
                <a:gd name="connsiteX2973" fmla="*/ 4517564 w 9154202"/>
                <a:gd name="connsiteY2973" fmla="*/ 943240 h 2112317"/>
                <a:gd name="connsiteX2974" fmla="*/ 4517564 w 9154202"/>
                <a:gd name="connsiteY2974" fmla="*/ 944235 h 2112317"/>
                <a:gd name="connsiteX2975" fmla="*/ 4515770 w 9154202"/>
                <a:gd name="connsiteY2975" fmla="*/ 944235 h 2112317"/>
                <a:gd name="connsiteX2976" fmla="*/ 4513777 w 9154202"/>
                <a:gd name="connsiteY2976" fmla="*/ 945131 h 2112317"/>
                <a:gd name="connsiteX2977" fmla="*/ 4512382 w 9154202"/>
                <a:gd name="connsiteY2977" fmla="*/ 946424 h 2112317"/>
                <a:gd name="connsiteX2978" fmla="*/ 4512382 w 9154202"/>
                <a:gd name="connsiteY2978" fmla="*/ 948613 h 2112317"/>
                <a:gd name="connsiteX2979" fmla="*/ 4504511 w 9154202"/>
                <a:gd name="connsiteY2979" fmla="*/ 953885 h 2112317"/>
                <a:gd name="connsiteX2980" fmla="*/ 4502318 w 9154202"/>
                <a:gd name="connsiteY2980" fmla="*/ 956174 h 2112317"/>
                <a:gd name="connsiteX2981" fmla="*/ 4500026 w 9154202"/>
                <a:gd name="connsiteY2981" fmla="*/ 957865 h 2112317"/>
                <a:gd name="connsiteX2982" fmla="*/ 4497137 w 9154202"/>
                <a:gd name="connsiteY2982" fmla="*/ 957865 h 2112317"/>
                <a:gd name="connsiteX2983" fmla="*/ 4491856 w 9154202"/>
                <a:gd name="connsiteY2983" fmla="*/ 957865 h 2112317"/>
                <a:gd name="connsiteX2984" fmla="*/ 4491059 w 9154202"/>
                <a:gd name="connsiteY2984" fmla="*/ 957368 h 2112317"/>
                <a:gd name="connsiteX2985" fmla="*/ 4489564 w 9154202"/>
                <a:gd name="connsiteY2985" fmla="*/ 955278 h 2112317"/>
                <a:gd name="connsiteX2986" fmla="*/ 4488866 w 9154202"/>
                <a:gd name="connsiteY2986" fmla="*/ 954582 h 2112317"/>
                <a:gd name="connsiteX2987" fmla="*/ 4487471 w 9154202"/>
                <a:gd name="connsiteY2987" fmla="*/ 953786 h 2112317"/>
                <a:gd name="connsiteX2988" fmla="*/ 4486076 w 9154202"/>
                <a:gd name="connsiteY2988" fmla="*/ 953786 h 2112317"/>
                <a:gd name="connsiteX2989" fmla="*/ 4482788 w 9154202"/>
                <a:gd name="connsiteY2989" fmla="*/ 953786 h 2112317"/>
                <a:gd name="connsiteX2990" fmla="*/ 4479799 w 9154202"/>
                <a:gd name="connsiteY2990" fmla="*/ 954781 h 2112317"/>
                <a:gd name="connsiteX2991" fmla="*/ 4477806 w 9154202"/>
                <a:gd name="connsiteY2991" fmla="*/ 956472 h 2112317"/>
                <a:gd name="connsiteX2992" fmla="*/ 4477208 w 9154202"/>
                <a:gd name="connsiteY2992" fmla="*/ 959158 h 2112317"/>
                <a:gd name="connsiteX2993" fmla="*/ 4478404 w 9154202"/>
                <a:gd name="connsiteY2993" fmla="*/ 962839 h 2112317"/>
                <a:gd name="connsiteX2994" fmla="*/ 4467144 w 9154202"/>
                <a:gd name="connsiteY2994" fmla="*/ 973286 h 2112317"/>
                <a:gd name="connsiteX2995" fmla="*/ 4463856 w 9154202"/>
                <a:gd name="connsiteY2995" fmla="*/ 975375 h 2112317"/>
                <a:gd name="connsiteX2996" fmla="*/ 4462461 w 9154202"/>
                <a:gd name="connsiteY2996" fmla="*/ 976668 h 2112317"/>
                <a:gd name="connsiteX2997" fmla="*/ 4461963 w 9154202"/>
                <a:gd name="connsiteY2997" fmla="*/ 978459 h 2112317"/>
                <a:gd name="connsiteX2998" fmla="*/ 4461066 w 9154202"/>
                <a:gd name="connsiteY2998" fmla="*/ 979852 h 2112317"/>
                <a:gd name="connsiteX2999" fmla="*/ 4458973 w 9154202"/>
                <a:gd name="connsiteY2999" fmla="*/ 979852 h 2112317"/>
                <a:gd name="connsiteX3000" fmla="*/ 4454987 w 9154202"/>
                <a:gd name="connsiteY3000" fmla="*/ 979852 h 2112317"/>
                <a:gd name="connsiteX3001" fmla="*/ 4451500 w 9154202"/>
                <a:gd name="connsiteY3001" fmla="*/ 980449 h 2112317"/>
                <a:gd name="connsiteX3002" fmla="*/ 4447813 w 9154202"/>
                <a:gd name="connsiteY3002" fmla="*/ 981742 h 2112317"/>
                <a:gd name="connsiteX3003" fmla="*/ 4444126 w 9154202"/>
                <a:gd name="connsiteY3003" fmla="*/ 983831 h 2112317"/>
                <a:gd name="connsiteX3004" fmla="*/ 4441037 w 9154202"/>
                <a:gd name="connsiteY3004" fmla="*/ 986816 h 2112317"/>
                <a:gd name="connsiteX3005" fmla="*/ 4436753 w 9154202"/>
                <a:gd name="connsiteY3005" fmla="*/ 994974 h 2112317"/>
                <a:gd name="connsiteX3006" fmla="*/ 4433963 w 9154202"/>
                <a:gd name="connsiteY3006" fmla="*/ 997560 h 2112317"/>
                <a:gd name="connsiteX3007" fmla="*/ 4430674 w 9154202"/>
                <a:gd name="connsiteY3007" fmla="*/ 995869 h 2112317"/>
                <a:gd name="connsiteX3008" fmla="*/ 4428881 w 9154202"/>
                <a:gd name="connsiteY3008" fmla="*/ 996864 h 2112317"/>
                <a:gd name="connsiteX3009" fmla="*/ 4428881 w 9154202"/>
                <a:gd name="connsiteY3009" fmla="*/ 1003530 h 2112317"/>
                <a:gd name="connsiteX3010" fmla="*/ 4428881 w 9154202"/>
                <a:gd name="connsiteY3010" fmla="*/ 1006216 h 2112317"/>
                <a:gd name="connsiteX3011" fmla="*/ 4429977 w 9154202"/>
                <a:gd name="connsiteY3011" fmla="*/ 1009200 h 2112317"/>
                <a:gd name="connsiteX3012" fmla="*/ 4431671 w 9154202"/>
                <a:gd name="connsiteY3012" fmla="*/ 1010991 h 2112317"/>
                <a:gd name="connsiteX3013" fmla="*/ 4443827 w 9154202"/>
                <a:gd name="connsiteY3013" fmla="*/ 1019746 h 2112317"/>
                <a:gd name="connsiteX3014" fmla="*/ 4453194 w 9154202"/>
                <a:gd name="connsiteY3014" fmla="*/ 1023427 h 2112317"/>
                <a:gd name="connsiteX3015" fmla="*/ 4458176 w 9154202"/>
                <a:gd name="connsiteY3015" fmla="*/ 1024024 h 2112317"/>
                <a:gd name="connsiteX3016" fmla="*/ 4479500 w 9154202"/>
                <a:gd name="connsiteY3016" fmla="*/ 1021835 h 2112317"/>
                <a:gd name="connsiteX3017" fmla="*/ 4481891 w 9154202"/>
                <a:gd name="connsiteY3017" fmla="*/ 1021835 h 2112317"/>
                <a:gd name="connsiteX3018" fmla="*/ 4482987 w 9154202"/>
                <a:gd name="connsiteY3018" fmla="*/ 1021835 h 2112317"/>
                <a:gd name="connsiteX3019" fmla="*/ 4484183 w 9154202"/>
                <a:gd name="connsiteY3019" fmla="*/ 1022631 h 2112317"/>
                <a:gd name="connsiteX3020" fmla="*/ 4485279 w 9154202"/>
                <a:gd name="connsiteY3020" fmla="*/ 1023726 h 2112317"/>
                <a:gd name="connsiteX3021" fmla="*/ 4486276 w 9154202"/>
                <a:gd name="connsiteY3021" fmla="*/ 1024919 h 2112317"/>
                <a:gd name="connsiteX3022" fmla="*/ 4486276 w 9154202"/>
                <a:gd name="connsiteY3022" fmla="*/ 1026113 h 2112317"/>
                <a:gd name="connsiteX3023" fmla="*/ 4486276 w 9154202"/>
                <a:gd name="connsiteY3023" fmla="*/ 1029595 h 2112317"/>
                <a:gd name="connsiteX3024" fmla="*/ 4486276 w 9154202"/>
                <a:gd name="connsiteY3024" fmla="*/ 1030491 h 2112317"/>
                <a:gd name="connsiteX3025" fmla="*/ 4488667 w 9154202"/>
                <a:gd name="connsiteY3025" fmla="*/ 1031386 h 2112317"/>
                <a:gd name="connsiteX3026" fmla="*/ 4513678 w 9154202"/>
                <a:gd name="connsiteY3026" fmla="*/ 1032779 h 2112317"/>
                <a:gd name="connsiteX3027" fmla="*/ 4533607 w 9154202"/>
                <a:gd name="connsiteY3027" fmla="*/ 1033973 h 2112317"/>
                <a:gd name="connsiteX3028" fmla="*/ 4538589 w 9154202"/>
                <a:gd name="connsiteY3028" fmla="*/ 1037156 h 2112317"/>
                <a:gd name="connsiteX3029" fmla="*/ 4541977 w 9154202"/>
                <a:gd name="connsiteY3029" fmla="*/ 1049393 h 2112317"/>
                <a:gd name="connsiteX3030" fmla="*/ 4545863 w 9154202"/>
                <a:gd name="connsiteY3030" fmla="*/ 1053472 h 2112317"/>
                <a:gd name="connsiteX3031" fmla="*/ 4548653 w 9154202"/>
                <a:gd name="connsiteY3031" fmla="*/ 1053472 h 2112317"/>
                <a:gd name="connsiteX3032" fmla="*/ 4566389 w 9154202"/>
                <a:gd name="connsiteY3032" fmla="*/ 1051085 h 2112317"/>
                <a:gd name="connsiteX3033" fmla="*/ 4568482 w 9154202"/>
                <a:gd name="connsiteY3033" fmla="*/ 1051881 h 2112317"/>
                <a:gd name="connsiteX3034" fmla="*/ 4572767 w 9154202"/>
                <a:gd name="connsiteY3034" fmla="*/ 1049891 h 2112317"/>
                <a:gd name="connsiteX3035" fmla="*/ 4582233 w 9154202"/>
                <a:gd name="connsiteY3035" fmla="*/ 1049194 h 2112317"/>
                <a:gd name="connsiteX3036" fmla="*/ 4586219 w 9154202"/>
                <a:gd name="connsiteY3036" fmla="*/ 1046707 h 2112317"/>
                <a:gd name="connsiteX3037" fmla="*/ 4587215 w 9154202"/>
                <a:gd name="connsiteY3037" fmla="*/ 1044121 h 2112317"/>
                <a:gd name="connsiteX3038" fmla="*/ 4587215 w 9154202"/>
                <a:gd name="connsiteY3038" fmla="*/ 1041832 h 2112317"/>
                <a:gd name="connsiteX3039" fmla="*/ 4587215 w 9154202"/>
                <a:gd name="connsiteY3039" fmla="*/ 1040042 h 2112317"/>
                <a:gd name="connsiteX3040" fmla="*/ 4591599 w 9154202"/>
                <a:gd name="connsiteY3040" fmla="*/ 1038947 h 2112317"/>
                <a:gd name="connsiteX3041" fmla="*/ 4595585 w 9154202"/>
                <a:gd name="connsiteY3041" fmla="*/ 1037156 h 2112317"/>
                <a:gd name="connsiteX3042" fmla="*/ 4611728 w 9154202"/>
                <a:gd name="connsiteY3042" fmla="*/ 1034570 h 2112317"/>
                <a:gd name="connsiteX3043" fmla="*/ 4627770 w 9154202"/>
                <a:gd name="connsiteY3043" fmla="*/ 1035565 h 2112317"/>
                <a:gd name="connsiteX3044" fmla="*/ 4647001 w 9154202"/>
                <a:gd name="connsiteY3044" fmla="*/ 1036659 h 2112317"/>
                <a:gd name="connsiteX3045" fmla="*/ 4650091 w 9154202"/>
                <a:gd name="connsiteY3045" fmla="*/ 1037554 h 2112317"/>
                <a:gd name="connsiteX3046" fmla="*/ 4659059 w 9154202"/>
                <a:gd name="connsiteY3046" fmla="*/ 1042927 h 2112317"/>
                <a:gd name="connsiteX3047" fmla="*/ 4678987 w 9154202"/>
                <a:gd name="connsiteY3047" fmla="*/ 1048100 h 2112317"/>
                <a:gd name="connsiteX3048" fmla="*/ 4688952 w 9154202"/>
                <a:gd name="connsiteY3048" fmla="*/ 1050189 h 2112317"/>
                <a:gd name="connsiteX3049" fmla="*/ 4691343 w 9154202"/>
                <a:gd name="connsiteY3049" fmla="*/ 1053074 h 2112317"/>
                <a:gd name="connsiteX3050" fmla="*/ 4691343 w 9154202"/>
                <a:gd name="connsiteY3050" fmla="*/ 1055761 h 2112317"/>
                <a:gd name="connsiteX3051" fmla="*/ 4688952 w 9154202"/>
                <a:gd name="connsiteY3051" fmla="*/ 1056656 h 2112317"/>
                <a:gd name="connsiteX3052" fmla="*/ 4683272 w 9154202"/>
                <a:gd name="connsiteY3052" fmla="*/ 1057949 h 2112317"/>
                <a:gd name="connsiteX3053" fmla="*/ 4680781 w 9154202"/>
                <a:gd name="connsiteY3053" fmla="*/ 1059044 h 2112317"/>
                <a:gd name="connsiteX3054" fmla="*/ 4679784 w 9154202"/>
                <a:gd name="connsiteY3054" fmla="*/ 1062924 h 2112317"/>
                <a:gd name="connsiteX3055" fmla="*/ 4681678 w 9154202"/>
                <a:gd name="connsiteY3055" fmla="*/ 1065311 h 2112317"/>
                <a:gd name="connsiteX3056" fmla="*/ 4685066 w 9154202"/>
                <a:gd name="connsiteY3056" fmla="*/ 1065908 h 2112317"/>
                <a:gd name="connsiteX3057" fmla="*/ 4687557 w 9154202"/>
                <a:gd name="connsiteY3057" fmla="*/ 1066505 h 2112317"/>
                <a:gd name="connsiteX3058" fmla="*/ 4698617 w 9154202"/>
                <a:gd name="connsiteY3058" fmla="*/ 1065112 h 2112317"/>
                <a:gd name="connsiteX3059" fmla="*/ 4704098 w 9154202"/>
                <a:gd name="connsiteY3059" fmla="*/ 1065112 h 2112317"/>
                <a:gd name="connsiteX3060" fmla="*/ 4708681 w 9154202"/>
                <a:gd name="connsiteY3060" fmla="*/ 1067202 h 2112317"/>
                <a:gd name="connsiteX3061" fmla="*/ 4710774 w 9154202"/>
                <a:gd name="connsiteY3061" fmla="*/ 1070883 h 2112317"/>
                <a:gd name="connsiteX3062" fmla="*/ 4711571 w 9154202"/>
                <a:gd name="connsiteY3062" fmla="*/ 1073569 h 2112317"/>
                <a:gd name="connsiteX3063" fmla="*/ 4711571 w 9154202"/>
                <a:gd name="connsiteY3063" fmla="*/ 1080434 h 2112317"/>
                <a:gd name="connsiteX3064" fmla="*/ 4712169 w 9154202"/>
                <a:gd name="connsiteY3064" fmla="*/ 1084413 h 2112317"/>
                <a:gd name="connsiteX3065" fmla="*/ 4713564 w 9154202"/>
                <a:gd name="connsiteY3065" fmla="*/ 1087199 h 2112317"/>
                <a:gd name="connsiteX3066" fmla="*/ 4717849 w 9154202"/>
                <a:gd name="connsiteY3066" fmla="*/ 1092273 h 2112317"/>
                <a:gd name="connsiteX3067" fmla="*/ 4722034 w 9154202"/>
                <a:gd name="connsiteY3067" fmla="*/ 1100431 h 2112317"/>
                <a:gd name="connsiteX3068" fmla="*/ 4723628 w 9154202"/>
                <a:gd name="connsiteY3068" fmla="*/ 1102122 h 2112317"/>
                <a:gd name="connsiteX3069" fmla="*/ 4725920 w 9154202"/>
                <a:gd name="connsiteY3069" fmla="*/ 1102122 h 2112317"/>
                <a:gd name="connsiteX3070" fmla="*/ 4729208 w 9154202"/>
                <a:gd name="connsiteY3070" fmla="*/ 1101027 h 2112317"/>
                <a:gd name="connsiteX3071" fmla="*/ 4732297 w 9154202"/>
                <a:gd name="connsiteY3071" fmla="*/ 1099436 h 2112317"/>
                <a:gd name="connsiteX3072" fmla="*/ 4733891 w 9154202"/>
                <a:gd name="connsiteY3072" fmla="*/ 1097744 h 2112317"/>
                <a:gd name="connsiteX3073" fmla="*/ 4733891 w 9154202"/>
                <a:gd name="connsiteY3073" fmla="*/ 1094262 h 2112317"/>
                <a:gd name="connsiteX3074" fmla="*/ 4732695 w 9154202"/>
                <a:gd name="connsiteY3074" fmla="*/ 1090880 h 2112317"/>
                <a:gd name="connsiteX3075" fmla="*/ 4732695 w 9154202"/>
                <a:gd name="connsiteY3075" fmla="*/ 1087497 h 2112317"/>
                <a:gd name="connsiteX3076" fmla="*/ 4735386 w 9154202"/>
                <a:gd name="connsiteY3076" fmla="*/ 1084115 h 2112317"/>
                <a:gd name="connsiteX3077" fmla="*/ 4738275 w 9154202"/>
                <a:gd name="connsiteY3077" fmla="*/ 1082722 h 2112317"/>
                <a:gd name="connsiteX3078" fmla="*/ 4751429 w 9154202"/>
                <a:gd name="connsiteY3078" fmla="*/ 1081030 h 2112317"/>
                <a:gd name="connsiteX3079" fmla="*/ 4762190 w 9154202"/>
                <a:gd name="connsiteY3079" fmla="*/ 1081627 h 2112317"/>
                <a:gd name="connsiteX3080" fmla="*/ 4765578 w 9154202"/>
                <a:gd name="connsiteY3080" fmla="*/ 1083617 h 2112317"/>
                <a:gd name="connsiteX3081" fmla="*/ 4767272 w 9154202"/>
                <a:gd name="connsiteY3081" fmla="*/ 1087199 h 2112317"/>
                <a:gd name="connsiteX3082" fmla="*/ 4768368 w 9154202"/>
                <a:gd name="connsiteY3082" fmla="*/ 1091477 h 2112317"/>
                <a:gd name="connsiteX3083" fmla="*/ 4770062 w 9154202"/>
                <a:gd name="connsiteY3083" fmla="*/ 1095556 h 2112317"/>
                <a:gd name="connsiteX3084" fmla="*/ 4772055 w 9154202"/>
                <a:gd name="connsiteY3084" fmla="*/ 1098043 h 2112317"/>
                <a:gd name="connsiteX3085" fmla="*/ 4774147 w 9154202"/>
                <a:gd name="connsiteY3085" fmla="*/ 1099834 h 2112317"/>
                <a:gd name="connsiteX3086" fmla="*/ 4776539 w 9154202"/>
                <a:gd name="connsiteY3086" fmla="*/ 1101226 h 2112317"/>
                <a:gd name="connsiteX3087" fmla="*/ 4789792 w 9154202"/>
                <a:gd name="connsiteY3087" fmla="*/ 1106599 h 2112317"/>
                <a:gd name="connsiteX3088" fmla="*/ 4800852 w 9154202"/>
                <a:gd name="connsiteY3088" fmla="*/ 1107992 h 2112317"/>
                <a:gd name="connsiteX3089" fmla="*/ 4803543 w 9154202"/>
                <a:gd name="connsiteY3089" fmla="*/ 1109285 h 2112317"/>
                <a:gd name="connsiteX3090" fmla="*/ 4805635 w 9154202"/>
                <a:gd name="connsiteY3090" fmla="*/ 1111175 h 2112317"/>
                <a:gd name="connsiteX3091" fmla="*/ 4809720 w 9154202"/>
                <a:gd name="connsiteY3091" fmla="*/ 1116249 h 2112317"/>
                <a:gd name="connsiteX3092" fmla="*/ 4807030 w 9154202"/>
                <a:gd name="connsiteY3092" fmla="*/ 1120527 h 2112317"/>
                <a:gd name="connsiteX3093" fmla="*/ 4810119 w 9154202"/>
                <a:gd name="connsiteY3093" fmla="*/ 1122815 h 2112317"/>
                <a:gd name="connsiteX3094" fmla="*/ 4819386 w 9154202"/>
                <a:gd name="connsiteY3094" fmla="*/ 1124208 h 2112317"/>
                <a:gd name="connsiteX3095" fmla="*/ 4822774 w 9154202"/>
                <a:gd name="connsiteY3095" fmla="*/ 1124208 h 2112317"/>
                <a:gd name="connsiteX3096" fmla="*/ 4823770 w 9154202"/>
                <a:gd name="connsiteY3096" fmla="*/ 1124208 h 2112317"/>
                <a:gd name="connsiteX3097" fmla="*/ 4824866 w 9154202"/>
                <a:gd name="connsiteY3097" fmla="*/ 1125402 h 2112317"/>
                <a:gd name="connsiteX3098" fmla="*/ 4824866 w 9154202"/>
                <a:gd name="connsiteY3098" fmla="*/ 1127093 h 2112317"/>
                <a:gd name="connsiteX3099" fmla="*/ 4824169 w 9154202"/>
                <a:gd name="connsiteY3099" fmla="*/ 1128784 h 2112317"/>
                <a:gd name="connsiteX3100" fmla="*/ 4824169 w 9154202"/>
                <a:gd name="connsiteY3100" fmla="*/ 1130177 h 2112317"/>
                <a:gd name="connsiteX3101" fmla="*/ 4825664 w 9154202"/>
                <a:gd name="connsiteY3101" fmla="*/ 1130874 h 2112317"/>
                <a:gd name="connsiteX3102" fmla="*/ 4836824 w 9154202"/>
                <a:gd name="connsiteY3102" fmla="*/ 1129978 h 2112317"/>
                <a:gd name="connsiteX3103" fmla="*/ 4839614 w 9154202"/>
                <a:gd name="connsiteY3103" fmla="*/ 1130774 h 2112317"/>
                <a:gd name="connsiteX3104" fmla="*/ 4842005 w 9154202"/>
                <a:gd name="connsiteY3104" fmla="*/ 1132068 h 2112317"/>
                <a:gd name="connsiteX3105" fmla="*/ 4844297 w 9154202"/>
                <a:gd name="connsiteY3105" fmla="*/ 1132764 h 2112317"/>
                <a:gd name="connsiteX3106" fmla="*/ 4852169 w 9154202"/>
                <a:gd name="connsiteY3106" fmla="*/ 1129282 h 2112317"/>
                <a:gd name="connsiteX3107" fmla="*/ 4863528 w 9154202"/>
                <a:gd name="connsiteY3107" fmla="*/ 1128088 h 2112317"/>
                <a:gd name="connsiteX3108" fmla="*/ 4868411 w 9154202"/>
                <a:gd name="connsiteY3108" fmla="*/ 1125203 h 2112317"/>
                <a:gd name="connsiteX3109" fmla="*/ 4872696 w 9154202"/>
                <a:gd name="connsiteY3109" fmla="*/ 1121024 h 2112317"/>
                <a:gd name="connsiteX3110" fmla="*/ 4889535 w 9154202"/>
                <a:gd name="connsiteY3110" fmla="*/ 1110578 h 2112317"/>
                <a:gd name="connsiteX3111" fmla="*/ 4895016 w 9154202"/>
                <a:gd name="connsiteY3111" fmla="*/ 1108191 h 2112317"/>
                <a:gd name="connsiteX3112" fmla="*/ 4897507 w 9154202"/>
                <a:gd name="connsiteY3112" fmla="*/ 1106698 h 2112317"/>
                <a:gd name="connsiteX3113" fmla="*/ 4908268 w 9154202"/>
                <a:gd name="connsiteY3113" fmla="*/ 1101226 h 2112317"/>
                <a:gd name="connsiteX3114" fmla="*/ 4914546 w 9154202"/>
                <a:gd name="connsiteY3114" fmla="*/ 1100033 h 2112317"/>
                <a:gd name="connsiteX3115" fmla="*/ 4918731 w 9154202"/>
                <a:gd name="connsiteY3115" fmla="*/ 1102420 h 2112317"/>
                <a:gd name="connsiteX3116" fmla="*/ 4918731 w 9154202"/>
                <a:gd name="connsiteY3116" fmla="*/ 1104012 h 2112317"/>
                <a:gd name="connsiteX3117" fmla="*/ 4917436 w 9154202"/>
                <a:gd name="connsiteY3117" fmla="*/ 1106002 h 2112317"/>
                <a:gd name="connsiteX3118" fmla="*/ 4917436 w 9154202"/>
                <a:gd name="connsiteY3118" fmla="*/ 1107494 h 2112317"/>
                <a:gd name="connsiteX3119" fmla="*/ 4918233 w 9154202"/>
                <a:gd name="connsiteY3119" fmla="*/ 1109583 h 2112317"/>
                <a:gd name="connsiteX3120" fmla="*/ 4919329 w 9154202"/>
                <a:gd name="connsiteY3120" fmla="*/ 1110379 h 2112317"/>
                <a:gd name="connsiteX3121" fmla="*/ 4920624 w 9154202"/>
                <a:gd name="connsiteY3121" fmla="*/ 1110976 h 2112317"/>
                <a:gd name="connsiteX3122" fmla="*/ 4922119 w 9154202"/>
                <a:gd name="connsiteY3122" fmla="*/ 1112170 h 2112317"/>
                <a:gd name="connsiteX3123" fmla="*/ 4923315 w 9154202"/>
                <a:gd name="connsiteY3123" fmla="*/ 1114458 h 2112317"/>
                <a:gd name="connsiteX3124" fmla="*/ 4924112 w 9154202"/>
                <a:gd name="connsiteY3124" fmla="*/ 1119433 h 2112317"/>
                <a:gd name="connsiteX3125" fmla="*/ 4925407 w 9154202"/>
                <a:gd name="connsiteY3125" fmla="*/ 1122218 h 2112317"/>
                <a:gd name="connsiteX3126" fmla="*/ 4929991 w 9154202"/>
                <a:gd name="connsiteY3126" fmla="*/ 1124904 h 2112317"/>
                <a:gd name="connsiteX3127" fmla="*/ 4936169 w 9154202"/>
                <a:gd name="connsiteY3127" fmla="*/ 1124904 h 2112317"/>
                <a:gd name="connsiteX3128" fmla="*/ 4947628 w 9154202"/>
                <a:gd name="connsiteY3128" fmla="*/ 1121721 h 2112317"/>
                <a:gd name="connsiteX3129" fmla="*/ 4950717 w 9154202"/>
                <a:gd name="connsiteY3129" fmla="*/ 1121721 h 2112317"/>
                <a:gd name="connsiteX3130" fmla="*/ 4952411 w 9154202"/>
                <a:gd name="connsiteY3130" fmla="*/ 1122815 h 2112317"/>
                <a:gd name="connsiteX3131" fmla="*/ 4953806 w 9154202"/>
                <a:gd name="connsiteY3131" fmla="*/ 1124308 h 2112317"/>
                <a:gd name="connsiteX3132" fmla="*/ 4956396 w 9154202"/>
                <a:gd name="connsiteY3132" fmla="*/ 1125203 h 2112317"/>
                <a:gd name="connsiteX3133" fmla="*/ 4957692 w 9154202"/>
                <a:gd name="connsiteY3133" fmla="*/ 1125203 h 2112317"/>
                <a:gd name="connsiteX3134" fmla="*/ 4961478 w 9154202"/>
                <a:gd name="connsiteY3134" fmla="*/ 1123512 h 2112317"/>
                <a:gd name="connsiteX3135" fmla="*/ 4962973 w 9154202"/>
                <a:gd name="connsiteY3135" fmla="*/ 1123512 h 2112317"/>
                <a:gd name="connsiteX3136" fmla="*/ 4963870 w 9154202"/>
                <a:gd name="connsiteY3136" fmla="*/ 1123512 h 2112317"/>
                <a:gd name="connsiteX3137" fmla="*/ 4964567 w 9154202"/>
                <a:gd name="connsiteY3137" fmla="*/ 1123512 h 2112317"/>
                <a:gd name="connsiteX3138" fmla="*/ 4965464 w 9154202"/>
                <a:gd name="connsiteY3138" fmla="*/ 1123512 h 2112317"/>
                <a:gd name="connsiteX3139" fmla="*/ 5002432 w 9154202"/>
                <a:gd name="connsiteY3139" fmla="*/ 1119035 h 2112317"/>
                <a:gd name="connsiteX3140" fmla="*/ 5009806 w 9154202"/>
                <a:gd name="connsiteY3140" fmla="*/ 1119035 h 2112317"/>
                <a:gd name="connsiteX3141" fmla="*/ 5015784 w 9154202"/>
                <a:gd name="connsiteY3141" fmla="*/ 1121422 h 2112317"/>
                <a:gd name="connsiteX3142" fmla="*/ 5017379 w 9154202"/>
                <a:gd name="connsiteY3142" fmla="*/ 1123114 h 2112317"/>
                <a:gd name="connsiteX3143" fmla="*/ 5024055 w 9154202"/>
                <a:gd name="connsiteY3143" fmla="*/ 1133062 h 2112317"/>
                <a:gd name="connsiteX3144" fmla="*/ 5025649 w 9154202"/>
                <a:gd name="connsiteY3144" fmla="*/ 1134953 h 2112317"/>
                <a:gd name="connsiteX3145" fmla="*/ 5027542 w 9154202"/>
                <a:gd name="connsiteY3145" fmla="*/ 1136345 h 2112317"/>
                <a:gd name="connsiteX3146" fmla="*/ 5035215 w 9154202"/>
                <a:gd name="connsiteY3146" fmla="*/ 1140126 h 2112317"/>
                <a:gd name="connsiteX3147" fmla="*/ 5037507 w 9154202"/>
                <a:gd name="connsiteY3147" fmla="*/ 1140126 h 2112317"/>
                <a:gd name="connsiteX3148" fmla="*/ 5049962 w 9154202"/>
                <a:gd name="connsiteY3148" fmla="*/ 1135450 h 2112317"/>
                <a:gd name="connsiteX3149" fmla="*/ 5052852 w 9154202"/>
                <a:gd name="connsiteY3149" fmla="*/ 1134853 h 2112317"/>
                <a:gd name="connsiteX3150" fmla="*/ 5055144 w 9154202"/>
                <a:gd name="connsiteY3150" fmla="*/ 1134853 h 2112317"/>
                <a:gd name="connsiteX3151" fmla="*/ 5057336 w 9154202"/>
                <a:gd name="connsiteY3151" fmla="*/ 1135450 h 2112317"/>
                <a:gd name="connsiteX3152" fmla="*/ 5060026 w 9154202"/>
                <a:gd name="connsiteY3152" fmla="*/ 1136743 h 2112317"/>
                <a:gd name="connsiteX3153" fmla="*/ 5061521 w 9154202"/>
                <a:gd name="connsiteY3153" fmla="*/ 1136743 h 2112317"/>
                <a:gd name="connsiteX3154" fmla="*/ 5065806 w 9154202"/>
                <a:gd name="connsiteY3154" fmla="*/ 1135948 h 2112317"/>
                <a:gd name="connsiteX3155" fmla="*/ 5068596 w 9154202"/>
                <a:gd name="connsiteY3155" fmla="*/ 1135948 h 2112317"/>
                <a:gd name="connsiteX3156" fmla="*/ 5076667 w 9154202"/>
                <a:gd name="connsiteY3156" fmla="*/ 1137838 h 2112317"/>
                <a:gd name="connsiteX3157" fmla="*/ 5078062 w 9154202"/>
                <a:gd name="connsiteY3157" fmla="*/ 1137838 h 2112317"/>
                <a:gd name="connsiteX3158" fmla="*/ 5078560 w 9154202"/>
                <a:gd name="connsiteY3158" fmla="*/ 1137838 h 2112317"/>
                <a:gd name="connsiteX3159" fmla="*/ 5078560 w 9154202"/>
                <a:gd name="connsiteY3159" fmla="*/ 1137639 h 2112317"/>
                <a:gd name="connsiteX3160" fmla="*/ 5080354 w 9154202"/>
                <a:gd name="connsiteY3160" fmla="*/ 1136445 h 2112317"/>
                <a:gd name="connsiteX3161" fmla="*/ 5083244 w 9154202"/>
                <a:gd name="connsiteY3161" fmla="*/ 1135848 h 2112317"/>
                <a:gd name="connsiteX3162" fmla="*/ 5085934 w 9154202"/>
                <a:gd name="connsiteY3162" fmla="*/ 1134853 h 2112317"/>
                <a:gd name="connsiteX3163" fmla="*/ 5087129 w 9154202"/>
                <a:gd name="connsiteY3163" fmla="*/ 1132465 h 2112317"/>
                <a:gd name="connsiteX3164" fmla="*/ 5088525 w 9154202"/>
                <a:gd name="connsiteY3164" fmla="*/ 1131172 h 2112317"/>
                <a:gd name="connsiteX3165" fmla="*/ 5093606 w 9154202"/>
                <a:gd name="connsiteY3165" fmla="*/ 1131172 h 2112317"/>
                <a:gd name="connsiteX3166" fmla="*/ 5093606 w 9154202"/>
                <a:gd name="connsiteY3166" fmla="*/ 1129481 h 2112317"/>
                <a:gd name="connsiteX3167" fmla="*/ 5096994 w 9154202"/>
                <a:gd name="connsiteY3167" fmla="*/ 1127889 h 2112317"/>
                <a:gd name="connsiteX3168" fmla="*/ 5098987 w 9154202"/>
                <a:gd name="connsiteY3168" fmla="*/ 1126397 h 2112317"/>
                <a:gd name="connsiteX3169" fmla="*/ 5098489 w 9154202"/>
                <a:gd name="connsiteY3169" fmla="*/ 1125402 h 2112317"/>
                <a:gd name="connsiteX3170" fmla="*/ 5094503 w 9154202"/>
                <a:gd name="connsiteY3170" fmla="*/ 1124904 h 2112317"/>
                <a:gd name="connsiteX3171" fmla="*/ 5097293 w 9154202"/>
                <a:gd name="connsiteY3171" fmla="*/ 1122815 h 2112317"/>
                <a:gd name="connsiteX3172" fmla="*/ 5110048 w 9154202"/>
                <a:gd name="connsiteY3172" fmla="*/ 1119333 h 2112317"/>
                <a:gd name="connsiteX3173" fmla="*/ 5110048 w 9154202"/>
                <a:gd name="connsiteY3173" fmla="*/ 1118637 h 2112317"/>
                <a:gd name="connsiteX3174" fmla="*/ 5110048 w 9154202"/>
                <a:gd name="connsiteY3174" fmla="*/ 1118040 h 2112317"/>
                <a:gd name="connsiteX3175" fmla="*/ 5110048 w 9154202"/>
                <a:gd name="connsiteY3175" fmla="*/ 1118040 h 2112317"/>
                <a:gd name="connsiteX3176" fmla="*/ 5109250 w 9154202"/>
                <a:gd name="connsiteY3176" fmla="*/ 1118040 h 2112317"/>
                <a:gd name="connsiteX3177" fmla="*/ 5114332 w 9154202"/>
                <a:gd name="connsiteY3177" fmla="*/ 1112966 h 2112317"/>
                <a:gd name="connsiteX3178" fmla="*/ 5115728 w 9154202"/>
                <a:gd name="connsiteY3178" fmla="*/ 1109782 h 2112317"/>
                <a:gd name="connsiteX3179" fmla="*/ 5114432 w 9154202"/>
                <a:gd name="connsiteY3179" fmla="*/ 1106599 h 2112317"/>
                <a:gd name="connsiteX3180" fmla="*/ 5115229 w 9154202"/>
                <a:gd name="connsiteY3180" fmla="*/ 1105504 h 2112317"/>
                <a:gd name="connsiteX3181" fmla="*/ 5118318 w 9154202"/>
                <a:gd name="connsiteY3181" fmla="*/ 1107096 h 2112317"/>
                <a:gd name="connsiteX3182" fmla="*/ 5119315 w 9154202"/>
                <a:gd name="connsiteY3182" fmla="*/ 1105106 h 2112317"/>
                <a:gd name="connsiteX3183" fmla="*/ 5119315 w 9154202"/>
                <a:gd name="connsiteY3183" fmla="*/ 1105106 h 2112317"/>
                <a:gd name="connsiteX3184" fmla="*/ 5118219 w 9154202"/>
                <a:gd name="connsiteY3184" fmla="*/ 1105106 h 2112317"/>
                <a:gd name="connsiteX3185" fmla="*/ 5116824 w 9154202"/>
                <a:gd name="connsiteY3185" fmla="*/ 1105106 h 2112317"/>
                <a:gd name="connsiteX3186" fmla="*/ 5116126 w 9154202"/>
                <a:gd name="connsiteY3186" fmla="*/ 1104509 h 2112317"/>
                <a:gd name="connsiteX3187" fmla="*/ 5115528 w 9154202"/>
                <a:gd name="connsiteY3187" fmla="*/ 1103415 h 2112317"/>
                <a:gd name="connsiteX3188" fmla="*/ 5114731 w 9154202"/>
                <a:gd name="connsiteY3188" fmla="*/ 1103415 h 2112317"/>
                <a:gd name="connsiteX3189" fmla="*/ 5113236 w 9154202"/>
                <a:gd name="connsiteY3189" fmla="*/ 1104509 h 2112317"/>
                <a:gd name="connsiteX3190" fmla="*/ 5112339 w 9154202"/>
                <a:gd name="connsiteY3190" fmla="*/ 1103813 h 2112317"/>
                <a:gd name="connsiteX3191" fmla="*/ 5111742 w 9154202"/>
                <a:gd name="connsiteY3191" fmla="*/ 1103017 h 2112317"/>
                <a:gd name="connsiteX3192" fmla="*/ 5111144 w 9154202"/>
                <a:gd name="connsiteY3192" fmla="*/ 1102122 h 2112317"/>
                <a:gd name="connsiteX3193" fmla="*/ 5111144 w 9154202"/>
                <a:gd name="connsiteY3193" fmla="*/ 1100928 h 2112317"/>
                <a:gd name="connsiteX3194" fmla="*/ 5114133 w 9154202"/>
                <a:gd name="connsiteY3194" fmla="*/ 1099436 h 2112317"/>
                <a:gd name="connsiteX3195" fmla="*/ 5115628 w 9154202"/>
                <a:gd name="connsiteY3195" fmla="*/ 1098341 h 2112317"/>
                <a:gd name="connsiteX3196" fmla="*/ 5116824 w 9154202"/>
                <a:gd name="connsiteY3196" fmla="*/ 1097147 h 2112317"/>
                <a:gd name="connsiteX3197" fmla="*/ 5118517 w 9154202"/>
                <a:gd name="connsiteY3197" fmla="*/ 1095755 h 2112317"/>
                <a:gd name="connsiteX3198" fmla="*/ 5120311 w 9154202"/>
                <a:gd name="connsiteY3198" fmla="*/ 1095755 h 2112317"/>
                <a:gd name="connsiteX3199" fmla="*/ 5120311 w 9154202"/>
                <a:gd name="connsiteY3199" fmla="*/ 1095755 h 2112317"/>
                <a:gd name="connsiteX3200" fmla="*/ 5121308 w 9154202"/>
                <a:gd name="connsiteY3200" fmla="*/ 1094362 h 2112317"/>
                <a:gd name="connsiteX3201" fmla="*/ 5122204 w 9154202"/>
                <a:gd name="connsiteY3201" fmla="*/ 1093665 h 2112317"/>
                <a:gd name="connsiteX3202" fmla="*/ 5122902 w 9154202"/>
                <a:gd name="connsiteY3202" fmla="*/ 1092969 h 2112317"/>
                <a:gd name="connsiteX3203" fmla="*/ 5124397 w 9154202"/>
                <a:gd name="connsiteY3203" fmla="*/ 1087895 h 2112317"/>
                <a:gd name="connsiteX3204" fmla="*/ 5125692 w 9154202"/>
                <a:gd name="connsiteY3204" fmla="*/ 1086900 h 2112317"/>
                <a:gd name="connsiteX3205" fmla="*/ 5126688 w 9154202"/>
                <a:gd name="connsiteY3205" fmla="*/ 1086900 h 2112317"/>
                <a:gd name="connsiteX3206" fmla="*/ 5127286 w 9154202"/>
                <a:gd name="connsiteY3206" fmla="*/ 1086900 h 2112317"/>
                <a:gd name="connsiteX3207" fmla="*/ 5127884 w 9154202"/>
                <a:gd name="connsiteY3207" fmla="*/ 1084314 h 2112317"/>
                <a:gd name="connsiteX3208" fmla="*/ 5126290 w 9154202"/>
                <a:gd name="connsiteY3208" fmla="*/ 1080533 h 2112317"/>
                <a:gd name="connsiteX3209" fmla="*/ 5125692 w 9154202"/>
                <a:gd name="connsiteY3209" fmla="*/ 1079837 h 2112317"/>
                <a:gd name="connsiteX3210" fmla="*/ 5123300 w 9154202"/>
                <a:gd name="connsiteY3210" fmla="*/ 1078245 h 2112317"/>
                <a:gd name="connsiteX3211" fmla="*/ 5123300 w 9154202"/>
                <a:gd name="connsiteY3211" fmla="*/ 1074464 h 2112317"/>
                <a:gd name="connsiteX3212" fmla="*/ 5124595 w 9154202"/>
                <a:gd name="connsiteY3212" fmla="*/ 1070286 h 2112317"/>
                <a:gd name="connsiteX3213" fmla="*/ 5125991 w 9154202"/>
                <a:gd name="connsiteY3213" fmla="*/ 1067202 h 2112317"/>
                <a:gd name="connsiteX3214" fmla="*/ 5129479 w 9154202"/>
                <a:gd name="connsiteY3214" fmla="*/ 1063421 h 2112317"/>
                <a:gd name="connsiteX3215" fmla="*/ 5134461 w 9154202"/>
                <a:gd name="connsiteY3215" fmla="*/ 1060735 h 2112317"/>
                <a:gd name="connsiteX3216" fmla="*/ 5176610 w 9154202"/>
                <a:gd name="connsiteY3216" fmla="*/ 1046409 h 2112317"/>
                <a:gd name="connsiteX3217" fmla="*/ 5181193 w 9154202"/>
                <a:gd name="connsiteY3217" fmla="*/ 1043325 h 2112317"/>
                <a:gd name="connsiteX3218" fmla="*/ 5183386 w 9154202"/>
                <a:gd name="connsiteY3218" fmla="*/ 1044121 h 2112317"/>
                <a:gd name="connsiteX3219" fmla="*/ 5183984 w 9154202"/>
                <a:gd name="connsiteY3219" fmla="*/ 1046906 h 2112317"/>
                <a:gd name="connsiteX3220" fmla="*/ 5181991 w 9154202"/>
                <a:gd name="connsiteY3220" fmla="*/ 1050786 h 2112317"/>
                <a:gd name="connsiteX3221" fmla="*/ 5173820 w 9154202"/>
                <a:gd name="connsiteY3221" fmla="*/ 1060735 h 2112317"/>
                <a:gd name="connsiteX3222" fmla="*/ 5172923 w 9154202"/>
                <a:gd name="connsiteY3222" fmla="*/ 1066505 h 2112317"/>
                <a:gd name="connsiteX3223" fmla="*/ 5172226 w 9154202"/>
                <a:gd name="connsiteY3223" fmla="*/ 1068396 h 2112317"/>
                <a:gd name="connsiteX3224" fmla="*/ 5171528 w 9154202"/>
                <a:gd name="connsiteY3224" fmla="*/ 1069788 h 2112317"/>
                <a:gd name="connsiteX3225" fmla="*/ 5171528 w 9154202"/>
                <a:gd name="connsiteY3225" fmla="*/ 1071281 h 2112317"/>
                <a:gd name="connsiteX3226" fmla="*/ 5172425 w 9154202"/>
                <a:gd name="connsiteY3226" fmla="*/ 1073469 h 2112317"/>
                <a:gd name="connsiteX3227" fmla="*/ 5171329 w 9154202"/>
                <a:gd name="connsiteY3227" fmla="*/ 1074464 h 2112317"/>
                <a:gd name="connsiteX3228" fmla="*/ 5171329 w 9154202"/>
                <a:gd name="connsiteY3228" fmla="*/ 1075758 h 2112317"/>
                <a:gd name="connsiteX3229" fmla="*/ 5171329 w 9154202"/>
                <a:gd name="connsiteY3229" fmla="*/ 1076951 h 2112317"/>
                <a:gd name="connsiteX3230" fmla="*/ 5170830 w 9154202"/>
                <a:gd name="connsiteY3230" fmla="*/ 1077847 h 2112317"/>
                <a:gd name="connsiteX3231" fmla="*/ 5169635 w 9154202"/>
                <a:gd name="connsiteY3231" fmla="*/ 1077847 h 2112317"/>
                <a:gd name="connsiteX3232" fmla="*/ 5168439 w 9154202"/>
                <a:gd name="connsiteY3232" fmla="*/ 1077847 h 2112317"/>
                <a:gd name="connsiteX3233" fmla="*/ 5167243 w 9154202"/>
                <a:gd name="connsiteY3233" fmla="*/ 1077847 h 2112317"/>
                <a:gd name="connsiteX3234" fmla="*/ 5165749 w 9154202"/>
                <a:gd name="connsiteY3234" fmla="*/ 1078842 h 2112317"/>
                <a:gd name="connsiteX3235" fmla="*/ 5164553 w 9154202"/>
                <a:gd name="connsiteY3235" fmla="*/ 1080732 h 2112317"/>
                <a:gd name="connsiteX3236" fmla="*/ 5162759 w 9154202"/>
                <a:gd name="connsiteY3236" fmla="*/ 1085607 h 2112317"/>
                <a:gd name="connsiteX3237" fmla="*/ 5161364 w 9154202"/>
                <a:gd name="connsiteY3237" fmla="*/ 1087895 h 2112317"/>
                <a:gd name="connsiteX3238" fmla="*/ 5162759 w 9154202"/>
                <a:gd name="connsiteY3238" fmla="*/ 1088989 h 2112317"/>
                <a:gd name="connsiteX3239" fmla="*/ 5163457 w 9154202"/>
                <a:gd name="connsiteY3239" fmla="*/ 1088194 h 2112317"/>
                <a:gd name="connsiteX3240" fmla="*/ 5163955 w 9154202"/>
                <a:gd name="connsiteY3240" fmla="*/ 1086701 h 2112317"/>
                <a:gd name="connsiteX3241" fmla="*/ 5164852 w 9154202"/>
                <a:gd name="connsiteY3241" fmla="*/ 1085706 h 2112317"/>
                <a:gd name="connsiteX3242" fmla="*/ 5166147 w 9154202"/>
                <a:gd name="connsiteY3242" fmla="*/ 1085706 h 2112317"/>
                <a:gd name="connsiteX3243" fmla="*/ 5168738 w 9154202"/>
                <a:gd name="connsiteY3243" fmla="*/ 1085706 h 2112317"/>
                <a:gd name="connsiteX3244" fmla="*/ 5170133 w 9154202"/>
                <a:gd name="connsiteY3244" fmla="*/ 1085706 h 2112317"/>
                <a:gd name="connsiteX3245" fmla="*/ 5179001 w 9154202"/>
                <a:gd name="connsiteY3245" fmla="*/ 1083120 h 2112317"/>
                <a:gd name="connsiteX3246" fmla="*/ 5183286 w 9154202"/>
                <a:gd name="connsiteY3246" fmla="*/ 1080135 h 2112317"/>
                <a:gd name="connsiteX3247" fmla="*/ 5185877 w 9154202"/>
                <a:gd name="connsiteY3247" fmla="*/ 1079339 h 2112317"/>
                <a:gd name="connsiteX3248" fmla="*/ 5188168 w 9154202"/>
                <a:gd name="connsiteY3248" fmla="*/ 1077648 h 2112317"/>
                <a:gd name="connsiteX3249" fmla="*/ 5189065 w 9154202"/>
                <a:gd name="connsiteY3249" fmla="*/ 1073768 h 2112317"/>
                <a:gd name="connsiteX3250" fmla="*/ 5189065 w 9154202"/>
                <a:gd name="connsiteY3250" fmla="*/ 1070584 h 2112317"/>
                <a:gd name="connsiteX3251" fmla="*/ 5190261 w 9154202"/>
                <a:gd name="connsiteY3251" fmla="*/ 1066505 h 2112317"/>
                <a:gd name="connsiteX3252" fmla="*/ 5193051 w 9154202"/>
                <a:gd name="connsiteY3252" fmla="*/ 1059641 h 2112317"/>
                <a:gd name="connsiteX3253" fmla="*/ 5191756 w 9154202"/>
                <a:gd name="connsiteY3253" fmla="*/ 1057154 h 2112317"/>
                <a:gd name="connsiteX3254" fmla="*/ 5193848 w 9154202"/>
                <a:gd name="connsiteY3254" fmla="*/ 1056159 h 2112317"/>
                <a:gd name="connsiteX3255" fmla="*/ 5199130 w 9154202"/>
                <a:gd name="connsiteY3255" fmla="*/ 1055064 h 2112317"/>
                <a:gd name="connsiteX3256" fmla="*/ 5199727 w 9154202"/>
                <a:gd name="connsiteY3256" fmla="*/ 1052876 h 2112317"/>
                <a:gd name="connsiteX3257" fmla="*/ 5200823 w 9154202"/>
                <a:gd name="connsiteY3257" fmla="*/ 1040837 h 2112317"/>
                <a:gd name="connsiteX3258" fmla="*/ 5201521 w 9154202"/>
                <a:gd name="connsiteY3258" fmla="*/ 1037554 h 2112317"/>
                <a:gd name="connsiteX3259" fmla="*/ 5203315 w 9154202"/>
                <a:gd name="connsiteY3259" fmla="*/ 1036062 h 2112317"/>
                <a:gd name="connsiteX3260" fmla="*/ 5206005 w 9154202"/>
                <a:gd name="connsiteY3260" fmla="*/ 1036062 h 2112317"/>
                <a:gd name="connsiteX3261" fmla="*/ 5209094 w 9154202"/>
                <a:gd name="connsiteY3261" fmla="*/ 1036062 h 2112317"/>
                <a:gd name="connsiteX3262" fmla="*/ 5210888 w 9154202"/>
                <a:gd name="connsiteY3262" fmla="*/ 1034669 h 2112317"/>
                <a:gd name="connsiteX3263" fmla="*/ 5210888 w 9154202"/>
                <a:gd name="connsiteY3263" fmla="*/ 1031585 h 2112317"/>
                <a:gd name="connsiteX3264" fmla="*/ 5210290 w 9154202"/>
                <a:gd name="connsiteY3264" fmla="*/ 1028004 h 2112317"/>
                <a:gd name="connsiteX3265" fmla="*/ 5209194 w 9154202"/>
                <a:gd name="connsiteY3265" fmla="*/ 1025715 h 2112317"/>
                <a:gd name="connsiteX3266" fmla="*/ 5210489 w 9154202"/>
                <a:gd name="connsiteY3266" fmla="*/ 1024124 h 2112317"/>
                <a:gd name="connsiteX3267" fmla="*/ 5212083 w 9154202"/>
                <a:gd name="connsiteY3267" fmla="*/ 1023328 h 2112317"/>
                <a:gd name="connsiteX3268" fmla="*/ 5215372 w 9154202"/>
                <a:gd name="connsiteY3268" fmla="*/ 1022333 h 2112317"/>
                <a:gd name="connsiteX3269" fmla="*/ 5212482 w 9154202"/>
                <a:gd name="connsiteY3269" fmla="*/ 1020642 h 2112317"/>
                <a:gd name="connsiteX3270" fmla="*/ 5211186 w 9154202"/>
                <a:gd name="connsiteY3270" fmla="*/ 1018254 h 2112317"/>
                <a:gd name="connsiteX3271" fmla="*/ 5211186 w 9154202"/>
                <a:gd name="connsiteY3271" fmla="*/ 1015269 h 2112317"/>
                <a:gd name="connsiteX3272" fmla="*/ 5211186 w 9154202"/>
                <a:gd name="connsiteY3272" fmla="*/ 1011389 h 2112317"/>
                <a:gd name="connsiteX3273" fmla="*/ 5211784 w 9154202"/>
                <a:gd name="connsiteY3273" fmla="*/ 1010096 h 2112317"/>
                <a:gd name="connsiteX3274" fmla="*/ 5213179 w 9154202"/>
                <a:gd name="connsiteY3274" fmla="*/ 1008405 h 2112317"/>
                <a:gd name="connsiteX3275" fmla="*/ 5214774 w 9154202"/>
                <a:gd name="connsiteY3275" fmla="*/ 1006912 h 2112317"/>
                <a:gd name="connsiteX3276" fmla="*/ 5217265 w 9154202"/>
                <a:gd name="connsiteY3276" fmla="*/ 1005519 h 2112317"/>
                <a:gd name="connsiteX3277" fmla="*/ 5217265 w 9154202"/>
                <a:gd name="connsiteY3277" fmla="*/ 1003928 h 2112317"/>
                <a:gd name="connsiteX3278" fmla="*/ 5217265 w 9154202"/>
                <a:gd name="connsiteY3278" fmla="*/ 1001938 h 2112317"/>
                <a:gd name="connsiteX3279" fmla="*/ 5217265 w 9154202"/>
                <a:gd name="connsiteY3279" fmla="*/ 1000545 h 2112317"/>
                <a:gd name="connsiteX3280" fmla="*/ 5219855 w 9154202"/>
                <a:gd name="connsiteY3280" fmla="*/ 999252 h 2112317"/>
                <a:gd name="connsiteX3281" fmla="*/ 5223243 w 9154202"/>
                <a:gd name="connsiteY3281" fmla="*/ 999252 h 2112317"/>
                <a:gd name="connsiteX3282" fmla="*/ 5233208 w 9154202"/>
                <a:gd name="connsiteY3282" fmla="*/ 1001440 h 2112317"/>
                <a:gd name="connsiteX3283" fmla="*/ 5235300 w 9154202"/>
                <a:gd name="connsiteY3283" fmla="*/ 1003928 h 2112317"/>
                <a:gd name="connsiteX3284" fmla="*/ 5236596 w 9154202"/>
                <a:gd name="connsiteY3284" fmla="*/ 1007310 h 2112317"/>
                <a:gd name="connsiteX3285" fmla="*/ 5237393 w 9154202"/>
                <a:gd name="connsiteY3285" fmla="*/ 1010693 h 2112317"/>
                <a:gd name="connsiteX3286" fmla="*/ 5237393 w 9154202"/>
                <a:gd name="connsiteY3286" fmla="*/ 1011787 h 2112317"/>
                <a:gd name="connsiteX3287" fmla="*/ 5237990 w 9154202"/>
                <a:gd name="connsiteY3287" fmla="*/ 1012882 h 2112317"/>
                <a:gd name="connsiteX3288" fmla="*/ 5237990 w 9154202"/>
                <a:gd name="connsiteY3288" fmla="*/ 1014374 h 2112317"/>
                <a:gd name="connsiteX3289" fmla="*/ 5237990 w 9154202"/>
                <a:gd name="connsiteY3289" fmla="*/ 1016563 h 2112317"/>
                <a:gd name="connsiteX3290" fmla="*/ 5237990 w 9154202"/>
                <a:gd name="connsiteY3290" fmla="*/ 1018353 h 2112317"/>
                <a:gd name="connsiteX3291" fmla="*/ 5236895 w 9154202"/>
                <a:gd name="connsiteY3291" fmla="*/ 1021935 h 2112317"/>
                <a:gd name="connsiteX3292" fmla="*/ 5236895 w 9154202"/>
                <a:gd name="connsiteY3292" fmla="*/ 1023925 h 2112317"/>
                <a:gd name="connsiteX3293" fmla="*/ 5235898 w 9154202"/>
                <a:gd name="connsiteY3293" fmla="*/ 1026312 h 2112317"/>
                <a:gd name="connsiteX3294" fmla="*/ 5215970 w 9154202"/>
                <a:gd name="connsiteY3294" fmla="*/ 1046210 h 2112317"/>
                <a:gd name="connsiteX3295" fmla="*/ 5210389 w 9154202"/>
                <a:gd name="connsiteY3295" fmla="*/ 1049592 h 2112317"/>
                <a:gd name="connsiteX3296" fmla="*/ 5208496 w 9154202"/>
                <a:gd name="connsiteY3296" fmla="*/ 1051980 h 2112317"/>
                <a:gd name="connsiteX3297" fmla="*/ 5206204 w 9154202"/>
                <a:gd name="connsiteY3297" fmla="*/ 1057253 h 2112317"/>
                <a:gd name="connsiteX3298" fmla="*/ 5204311 w 9154202"/>
                <a:gd name="connsiteY3298" fmla="*/ 1059939 h 2112317"/>
                <a:gd name="connsiteX3299" fmla="*/ 5207699 w 9154202"/>
                <a:gd name="connsiteY3299" fmla="*/ 1059939 h 2112317"/>
                <a:gd name="connsiteX3300" fmla="*/ 5207001 w 9154202"/>
                <a:gd name="connsiteY3300" fmla="*/ 1062725 h 2112317"/>
                <a:gd name="connsiteX3301" fmla="*/ 5207599 w 9154202"/>
                <a:gd name="connsiteY3301" fmla="*/ 1064814 h 2112317"/>
                <a:gd name="connsiteX3302" fmla="*/ 5208496 w 9154202"/>
                <a:gd name="connsiteY3302" fmla="*/ 1067003 h 2112317"/>
                <a:gd name="connsiteX3303" fmla="*/ 5208496 w 9154202"/>
                <a:gd name="connsiteY3303" fmla="*/ 1069987 h 2112317"/>
                <a:gd name="connsiteX3304" fmla="*/ 5213777 w 9154202"/>
                <a:gd name="connsiteY3304" fmla="*/ 1067799 h 2112317"/>
                <a:gd name="connsiteX3305" fmla="*/ 5212581 w 9154202"/>
                <a:gd name="connsiteY3305" fmla="*/ 1066207 h 2112317"/>
                <a:gd name="connsiteX3306" fmla="*/ 5212581 w 9154202"/>
                <a:gd name="connsiteY3306" fmla="*/ 1064615 h 2112317"/>
                <a:gd name="connsiteX3307" fmla="*/ 5214973 w 9154202"/>
                <a:gd name="connsiteY3307" fmla="*/ 1062128 h 2112317"/>
                <a:gd name="connsiteX3308" fmla="*/ 5215471 w 9154202"/>
                <a:gd name="connsiteY3308" fmla="*/ 1062128 h 2112317"/>
                <a:gd name="connsiteX3309" fmla="*/ 5216069 w 9154202"/>
                <a:gd name="connsiteY3309" fmla="*/ 1062128 h 2112317"/>
                <a:gd name="connsiteX3310" fmla="*/ 5216866 w 9154202"/>
                <a:gd name="connsiteY3310" fmla="*/ 1062128 h 2112317"/>
                <a:gd name="connsiteX3311" fmla="*/ 5217564 w 9154202"/>
                <a:gd name="connsiteY3311" fmla="*/ 1061232 h 2112317"/>
                <a:gd name="connsiteX3312" fmla="*/ 5217564 w 9154202"/>
                <a:gd name="connsiteY3312" fmla="*/ 1060039 h 2112317"/>
                <a:gd name="connsiteX3313" fmla="*/ 5216866 w 9154202"/>
                <a:gd name="connsiteY3313" fmla="*/ 1059442 h 2112317"/>
                <a:gd name="connsiteX3314" fmla="*/ 5216069 w 9154202"/>
                <a:gd name="connsiteY3314" fmla="*/ 1058845 h 2112317"/>
                <a:gd name="connsiteX3315" fmla="*/ 5216069 w 9154202"/>
                <a:gd name="connsiteY3315" fmla="*/ 1057850 h 2112317"/>
                <a:gd name="connsiteX3316" fmla="*/ 5216667 w 9154202"/>
                <a:gd name="connsiteY3316" fmla="*/ 1055064 h 2112317"/>
                <a:gd name="connsiteX3317" fmla="*/ 5217564 w 9154202"/>
                <a:gd name="connsiteY3317" fmla="*/ 1053970 h 2112317"/>
                <a:gd name="connsiteX3318" fmla="*/ 5218759 w 9154202"/>
                <a:gd name="connsiteY3318" fmla="*/ 1053373 h 2112317"/>
                <a:gd name="connsiteX3319" fmla="*/ 5220453 w 9154202"/>
                <a:gd name="connsiteY3319" fmla="*/ 1052080 h 2112317"/>
                <a:gd name="connsiteX3320" fmla="*/ 5223443 w 9154202"/>
                <a:gd name="connsiteY3320" fmla="*/ 1046608 h 2112317"/>
                <a:gd name="connsiteX3321" fmla="*/ 5224837 w 9154202"/>
                <a:gd name="connsiteY3321" fmla="*/ 1045314 h 2112317"/>
                <a:gd name="connsiteX3322" fmla="*/ 5225635 w 9154202"/>
                <a:gd name="connsiteY3322" fmla="*/ 1048498 h 2112317"/>
                <a:gd name="connsiteX3323" fmla="*/ 5227328 w 9154202"/>
                <a:gd name="connsiteY3323" fmla="*/ 1049592 h 2112317"/>
                <a:gd name="connsiteX3324" fmla="*/ 5229521 w 9154202"/>
                <a:gd name="connsiteY3324" fmla="*/ 1049592 h 2112317"/>
                <a:gd name="connsiteX3325" fmla="*/ 5231713 w 9154202"/>
                <a:gd name="connsiteY3325" fmla="*/ 1048001 h 2112317"/>
                <a:gd name="connsiteX3326" fmla="*/ 5232311 w 9154202"/>
                <a:gd name="connsiteY3326" fmla="*/ 1047105 h 2112317"/>
                <a:gd name="connsiteX3327" fmla="*/ 5232311 w 9154202"/>
                <a:gd name="connsiteY3327" fmla="*/ 1045911 h 2112317"/>
                <a:gd name="connsiteX3328" fmla="*/ 5232909 w 9154202"/>
                <a:gd name="connsiteY3328" fmla="*/ 1044916 h 2112317"/>
                <a:gd name="connsiteX3329" fmla="*/ 5234304 w 9154202"/>
                <a:gd name="connsiteY3329" fmla="*/ 1044916 h 2112317"/>
                <a:gd name="connsiteX3330" fmla="*/ 5237492 w 9154202"/>
                <a:gd name="connsiteY3330" fmla="*/ 1044916 h 2112317"/>
                <a:gd name="connsiteX3331" fmla="*/ 5238788 w 9154202"/>
                <a:gd name="connsiteY3331" fmla="*/ 1044220 h 2112317"/>
                <a:gd name="connsiteX3332" fmla="*/ 5239983 w 9154202"/>
                <a:gd name="connsiteY3332" fmla="*/ 1042728 h 2112317"/>
                <a:gd name="connsiteX3333" fmla="*/ 5237194 w 9154202"/>
                <a:gd name="connsiteY3333" fmla="*/ 1040141 h 2112317"/>
                <a:gd name="connsiteX3334" fmla="*/ 5236097 w 9154202"/>
                <a:gd name="connsiteY3334" fmla="*/ 1035664 h 2112317"/>
                <a:gd name="connsiteX3335" fmla="*/ 5236596 w 9154202"/>
                <a:gd name="connsiteY3335" fmla="*/ 1032481 h 2112317"/>
                <a:gd name="connsiteX3336" fmla="*/ 5239087 w 9154202"/>
                <a:gd name="connsiteY3336" fmla="*/ 1033674 h 2112317"/>
                <a:gd name="connsiteX3337" fmla="*/ 5240083 w 9154202"/>
                <a:gd name="connsiteY3337" fmla="*/ 1035963 h 2112317"/>
                <a:gd name="connsiteX3338" fmla="*/ 5240083 w 9154202"/>
                <a:gd name="connsiteY3338" fmla="*/ 1038151 h 2112317"/>
                <a:gd name="connsiteX3339" fmla="*/ 5241079 w 9154202"/>
                <a:gd name="connsiteY3339" fmla="*/ 1039843 h 2112317"/>
                <a:gd name="connsiteX3340" fmla="*/ 5243372 w 9154202"/>
                <a:gd name="connsiteY3340" fmla="*/ 1040539 h 2112317"/>
                <a:gd name="connsiteX3341" fmla="*/ 5243969 w 9154202"/>
                <a:gd name="connsiteY3341" fmla="*/ 1039644 h 2112317"/>
                <a:gd name="connsiteX3342" fmla="*/ 5249051 w 9154202"/>
                <a:gd name="connsiteY3342" fmla="*/ 1034769 h 2112317"/>
                <a:gd name="connsiteX3343" fmla="*/ 5249051 w 9154202"/>
                <a:gd name="connsiteY3343" fmla="*/ 1036858 h 2112317"/>
                <a:gd name="connsiteX3344" fmla="*/ 5246859 w 9154202"/>
                <a:gd name="connsiteY3344" fmla="*/ 1040340 h 2112317"/>
                <a:gd name="connsiteX3345" fmla="*/ 5246161 w 9154202"/>
                <a:gd name="connsiteY3345" fmla="*/ 1042728 h 2112317"/>
                <a:gd name="connsiteX3346" fmla="*/ 5249948 w 9154202"/>
                <a:gd name="connsiteY3346" fmla="*/ 1042728 h 2112317"/>
                <a:gd name="connsiteX3347" fmla="*/ 5252738 w 9154202"/>
                <a:gd name="connsiteY3347" fmla="*/ 1040042 h 2112317"/>
                <a:gd name="connsiteX3348" fmla="*/ 5257321 w 9154202"/>
                <a:gd name="connsiteY3348" fmla="*/ 1032679 h 2112317"/>
                <a:gd name="connsiteX3349" fmla="*/ 5263001 w 9154202"/>
                <a:gd name="connsiteY3349" fmla="*/ 1026511 h 2112317"/>
                <a:gd name="connsiteX3350" fmla="*/ 5264695 w 9154202"/>
                <a:gd name="connsiteY3350" fmla="*/ 1023726 h 2112317"/>
                <a:gd name="connsiteX3351" fmla="*/ 5264695 w 9154202"/>
                <a:gd name="connsiteY3351" fmla="*/ 1022134 h 2112317"/>
                <a:gd name="connsiteX3352" fmla="*/ 5263998 w 9154202"/>
                <a:gd name="connsiteY3352" fmla="*/ 1020443 h 2112317"/>
                <a:gd name="connsiteX3353" fmla="*/ 5263400 w 9154202"/>
                <a:gd name="connsiteY3353" fmla="*/ 1017955 h 2112317"/>
                <a:gd name="connsiteX3354" fmla="*/ 5263400 w 9154202"/>
                <a:gd name="connsiteY3354" fmla="*/ 1015767 h 2112317"/>
                <a:gd name="connsiteX3355" fmla="*/ 5263400 w 9154202"/>
                <a:gd name="connsiteY3355" fmla="*/ 1015767 h 2112317"/>
                <a:gd name="connsiteX3356" fmla="*/ 5260112 w 9154202"/>
                <a:gd name="connsiteY3356" fmla="*/ 1016662 h 2112317"/>
                <a:gd name="connsiteX3357" fmla="*/ 5259016 w 9154202"/>
                <a:gd name="connsiteY3357" fmla="*/ 1016662 h 2112317"/>
                <a:gd name="connsiteX3358" fmla="*/ 5255628 w 9154202"/>
                <a:gd name="connsiteY3358" fmla="*/ 1019448 h 2112317"/>
                <a:gd name="connsiteX3359" fmla="*/ 5255628 w 9154202"/>
                <a:gd name="connsiteY3359" fmla="*/ 1021736 h 2112317"/>
                <a:gd name="connsiteX3360" fmla="*/ 5255628 w 9154202"/>
                <a:gd name="connsiteY3360" fmla="*/ 1023029 h 2112317"/>
                <a:gd name="connsiteX3361" fmla="*/ 5254631 w 9154202"/>
                <a:gd name="connsiteY3361" fmla="*/ 1023925 h 2112317"/>
                <a:gd name="connsiteX3362" fmla="*/ 5253336 w 9154202"/>
                <a:gd name="connsiteY3362" fmla="*/ 1023925 h 2112317"/>
                <a:gd name="connsiteX3363" fmla="*/ 5252041 w 9154202"/>
                <a:gd name="connsiteY3363" fmla="*/ 1023925 h 2112317"/>
                <a:gd name="connsiteX3364" fmla="*/ 5250346 w 9154202"/>
                <a:gd name="connsiteY3364" fmla="*/ 1023925 h 2112317"/>
                <a:gd name="connsiteX3365" fmla="*/ 5249450 w 9154202"/>
                <a:gd name="connsiteY3365" fmla="*/ 1023029 h 2112317"/>
                <a:gd name="connsiteX3366" fmla="*/ 5247257 w 9154202"/>
                <a:gd name="connsiteY3366" fmla="*/ 1016264 h 2112317"/>
                <a:gd name="connsiteX3367" fmla="*/ 5245863 w 9154202"/>
                <a:gd name="connsiteY3367" fmla="*/ 1009002 h 2112317"/>
                <a:gd name="connsiteX3368" fmla="*/ 5245863 w 9154202"/>
                <a:gd name="connsiteY3368" fmla="*/ 1005320 h 2112317"/>
                <a:gd name="connsiteX3369" fmla="*/ 5247357 w 9154202"/>
                <a:gd name="connsiteY3369" fmla="*/ 1003928 h 2112317"/>
                <a:gd name="connsiteX3370" fmla="*/ 5252738 w 9154202"/>
                <a:gd name="connsiteY3370" fmla="*/ 1000943 h 2112317"/>
                <a:gd name="connsiteX3371" fmla="*/ 5251543 w 9154202"/>
                <a:gd name="connsiteY3371" fmla="*/ 1000247 h 2112317"/>
                <a:gd name="connsiteX3372" fmla="*/ 5248154 w 9154202"/>
                <a:gd name="connsiteY3372" fmla="*/ 997560 h 2112317"/>
                <a:gd name="connsiteX3373" fmla="*/ 5245364 w 9154202"/>
                <a:gd name="connsiteY3373" fmla="*/ 993282 h 2112317"/>
                <a:gd name="connsiteX3374" fmla="*/ 5246959 w 9154202"/>
                <a:gd name="connsiteY3374" fmla="*/ 990397 h 2112317"/>
                <a:gd name="connsiteX3375" fmla="*/ 5247955 w 9154202"/>
                <a:gd name="connsiteY3375" fmla="*/ 988806 h 2112317"/>
                <a:gd name="connsiteX3376" fmla="*/ 5247955 w 9154202"/>
                <a:gd name="connsiteY3376" fmla="*/ 987711 h 2112317"/>
                <a:gd name="connsiteX3377" fmla="*/ 5247955 w 9154202"/>
                <a:gd name="connsiteY3377" fmla="*/ 987711 h 2112317"/>
                <a:gd name="connsiteX3378" fmla="*/ 5246859 w 9154202"/>
                <a:gd name="connsiteY3378" fmla="*/ 986716 h 2112317"/>
                <a:gd name="connsiteX3379" fmla="*/ 5246859 w 9154202"/>
                <a:gd name="connsiteY3379" fmla="*/ 985125 h 2112317"/>
                <a:gd name="connsiteX3380" fmla="*/ 5246859 w 9154202"/>
                <a:gd name="connsiteY3380" fmla="*/ 984229 h 2112317"/>
                <a:gd name="connsiteX3381" fmla="*/ 5244368 w 9154202"/>
                <a:gd name="connsiteY3381" fmla="*/ 979255 h 2112317"/>
                <a:gd name="connsiteX3382" fmla="*/ 5244368 w 9154202"/>
                <a:gd name="connsiteY3382" fmla="*/ 976668 h 2112317"/>
                <a:gd name="connsiteX3383" fmla="*/ 5246361 w 9154202"/>
                <a:gd name="connsiteY3383" fmla="*/ 974977 h 2112317"/>
                <a:gd name="connsiteX3384" fmla="*/ 5246959 w 9154202"/>
                <a:gd name="connsiteY3384" fmla="*/ 977663 h 2112317"/>
                <a:gd name="connsiteX3385" fmla="*/ 5248453 w 9154202"/>
                <a:gd name="connsiteY3385" fmla="*/ 979354 h 2112317"/>
                <a:gd name="connsiteX3386" fmla="*/ 5250247 w 9154202"/>
                <a:gd name="connsiteY3386" fmla="*/ 979354 h 2112317"/>
                <a:gd name="connsiteX3387" fmla="*/ 5252339 w 9154202"/>
                <a:gd name="connsiteY3387" fmla="*/ 978160 h 2112317"/>
                <a:gd name="connsiteX3388" fmla="*/ 5254232 w 9154202"/>
                <a:gd name="connsiteY3388" fmla="*/ 979354 h 2112317"/>
                <a:gd name="connsiteX3389" fmla="*/ 5256225 w 9154202"/>
                <a:gd name="connsiteY3389" fmla="*/ 979354 h 2112317"/>
                <a:gd name="connsiteX3390" fmla="*/ 5258318 w 9154202"/>
                <a:gd name="connsiteY3390" fmla="*/ 978459 h 2112317"/>
                <a:gd name="connsiteX3391" fmla="*/ 5260212 w 9154202"/>
                <a:gd name="connsiteY3391" fmla="*/ 977265 h 2112317"/>
                <a:gd name="connsiteX3392" fmla="*/ 5261307 w 9154202"/>
                <a:gd name="connsiteY3392" fmla="*/ 976171 h 2112317"/>
                <a:gd name="connsiteX3393" fmla="*/ 5262105 w 9154202"/>
                <a:gd name="connsiteY3393" fmla="*/ 975176 h 2112317"/>
                <a:gd name="connsiteX3394" fmla="*/ 5263001 w 9154202"/>
                <a:gd name="connsiteY3394" fmla="*/ 974280 h 2112317"/>
                <a:gd name="connsiteX3395" fmla="*/ 5264496 w 9154202"/>
                <a:gd name="connsiteY3395" fmla="*/ 974280 h 2112317"/>
                <a:gd name="connsiteX3396" fmla="*/ 5265592 w 9154202"/>
                <a:gd name="connsiteY3396" fmla="*/ 974280 h 2112317"/>
                <a:gd name="connsiteX3397" fmla="*/ 5267485 w 9154202"/>
                <a:gd name="connsiteY3397" fmla="*/ 975972 h 2112317"/>
                <a:gd name="connsiteX3398" fmla="*/ 5268382 w 9154202"/>
                <a:gd name="connsiteY3398" fmla="*/ 975972 h 2112317"/>
                <a:gd name="connsiteX3399" fmla="*/ 5269976 w 9154202"/>
                <a:gd name="connsiteY3399" fmla="*/ 974778 h 2112317"/>
                <a:gd name="connsiteX3400" fmla="*/ 5272368 w 9154202"/>
                <a:gd name="connsiteY3400" fmla="*/ 970400 h 2112317"/>
                <a:gd name="connsiteX3401" fmla="*/ 5274161 w 9154202"/>
                <a:gd name="connsiteY3401" fmla="*/ 970400 h 2112317"/>
                <a:gd name="connsiteX3402" fmla="*/ 5274759 w 9154202"/>
                <a:gd name="connsiteY3402" fmla="*/ 971395 h 2112317"/>
                <a:gd name="connsiteX3403" fmla="*/ 5274759 w 9154202"/>
                <a:gd name="connsiteY3403" fmla="*/ 972788 h 2112317"/>
                <a:gd name="connsiteX3404" fmla="*/ 5274759 w 9154202"/>
                <a:gd name="connsiteY3404" fmla="*/ 973882 h 2112317"/>
                <a:gd name="connsiteX3405" fmla="*/ 5274759 w 9154202"/>
                <a:gd name="connsiteY3405" fmla="*/ 973882 h 2112317"/>
                <a:gd name="connsiteX3406" fmla="*/ 5274759 w 9154202"/>
                <a:gd name="connsiteY3406" fmla="*/ 976270 h 2112317"/>
                <a:gd name="connsiteX3407" fmla="*/ 5276952 w 9154202"/>
                <a:gd name="connsiteY3407" fmla="*/ 976270 h 2112317"/>
                <a:gd name="connsiteX3408" fmla="*/ 5277649 w 9154202"/>
                <a:gd name="connsiteY3408" fmla="*/ 976270 h 2112317"/>
                <a:gd name="connsiteX3409" fmla="*/ 5279343 w 9154202"/>
                <a:gd name="connsiteY3409" fmla="*/ 977862 h 2112317"/>
                <a:gd name="connsiteX3410" fmla="*/ 5283030 w 9154202"/>
                <a:gd name="connsiteY3410" fmla="*/ 980349 h 2112317"/>
                <a:gd name="connsiteX3411" fmla="*/ 5284624 w 9154202"/>
                <a:gd name="connsiteY3411" fmla="*/ 981941 h 2112317"/>
                <a:gd name="connsiteX3412" fmla="*/ 5286617 w 9154202"/>
                <a:gd name="connsiteY3412" fmla="*/ 983334 h 2112317"/>
                <a:gd name="connsiteX3413" fmla="*/ 5289008 w 9154202"/>
                <a:gd name="connsiteY3413" fmla="*/ 983334 h 2112317"/>
                <a:gd name="connsiteX3414" fmla="*/ 5291101 w 9154202"/>
                <a:gd name="connsiteY3414" fmla="*/ 983334 h 2112317"/>
                <a:gd name="connsiteX3415" fmla="*/ 5293393 w 9154202"/>
                <a:gd name="connsiteY3415" fmla="*/ 983334 h 2112317"/>
                <a:gd name="connsiteX3416" fmla="*/ 5294190 w 9154202"/>
                <a:gd name="connsiteY3416" fmla="*/ 983334 h 2112317"/>
                <a:gd name="connsiteX3417" fmla="*/ 5295784 w 9154202"/>
                <a:gd name="connsiteY3417" fmla="*/ 984627 h 2112317"/>
                <a:gd name="connsiteX3418" fmla="*/ 5296781 w 9154202"/>
                <a:gd name="connsiteY3418" fmla="*/ 984627 h 2112317"/>
                <a:gd name="connsiteX3419" fmla="*/ 5297877 w 9154202"/>
                <a:gd name="connsiteY3419" fmla="*/ 984627 h 2112317"/>
                <a:gd name="connsiteX3420" fmla="*/ 5305150 w 9154202"/>
                <a:gd name="connsiteY3420" fmla="*/ 983931 h 2112317"/>
                <a:gd name="connsiteX3421" fmla="*/ 5306546 w 9154202"/>
                <a:gd name="connsiteY3421" fmla="*/ 984826 h 2112317"/>
                <a:gd name="connsiteX3422" fmla="*/ 5305549 w 9154202"/>
                <a:gd name="connsiteY3422" fmla="*/ 987811 h 2112317"/>
                <a:gd name="connsiteX3423" fmla="*/ 5308539 w 9154202"/>
                <a:gd name="connsiteY3423" fmla="*/ 987811 h 2112317"/>
                <a:gd name="connsiteX3424" fmla="*/ 5313919 w 9154202"/>
                <a:gd name="connsiteY3424" fmla="*/ 987114 h 2112317"/>
                <a:gd name="connsiteX3425" fmla="*/ 5316809 w 9154202"/>
                <a:gd name="connsiteY3425" fmla="*/ 987711 h 2112317"/>
                <a:gd name="connsiteX3426" fmla="*/ 5320297 w 9154202"/>
                <a:gd name="connsiteY3426" fmla="*/ 989402 h 2112317"/>
                <a:gd name="connsiteX3427" fmla="*/ 5321094 w 9154202"/>
                <a:gd name="connsiteY3427" fmla="*/ 989999 h 2112317"/>
                <a:gd name="connsiteX3428" fmla="*/ 5321094 w 9154202"/>
                <a:gd name="connsiteY3428" fmla="*/ 990994 h 2112317"/>
                <a:gd name="connsiteX3429" fmla="*/ 5321094 w 9154202"/>
                <a:gd name="connsiteY3429" fmla="*/ 993680 h 2112317"/>
                <a:gd name="connsiteX3430" fmla="*/ 5321094 w 9154202"/>
                <a:gd name="connsiteY3430" fmla="*/ 994576 h 2112317"/>
                <a:gd name="connsiteX3431" fmla="*/ 5323685 w 9154202"/>
                <a:gd name="connsiteY3431" fmla="*/ 995372 h 2112317"/>
                <a:gd name="connsiteX3432" fmla="*/ 5325877 w 9154202"/>
                <a:gd name="connsiteY3432" fmla="*/ 994675 h 2112317"/>
                <a:gd name="connsiteX3433" fmla="*/ 5327870 w 9154202"/>
                <a:gd name="connsiteY3433" fmla="*/ 993282 h 2112317"/>
                <a:gd name="connsiteX3434" fmla="*/ 5329763 w 9154202"/>
                <a:gd name="connsiteY3434" fmla="*/ 992387 h 2112317"/>
                <a:gd name="connsiteX3435" fmla="*/ 5331756 w 9154202"/>
                <a:gd name="connsiteY3435" fmla="*/ 992387 h 2112317"/>
                <a:gd name="connsiteX3436" fmla="*/ 5333549 w 9154202"/>
                <a:gd name="connsiteY3436" fmla="*/ 993183 h 2112317"/>
                <a:gd name="connsiteX3437" fmla="*/ 5334347 w 9154202"/>
                <a:gd name="connsiteY3437" fmla="*/ 994874 h 2112317"/>
                <a:gd name="connsiteX3438" fmla="*/ 5333150 w 9154202"/>
                <a:gd name="connsiteY3438" fmla="*/ 997958 h 2112317"/>
                <a:gd name="connsiteX3439" fmla="*/ 5335841 w 9154202"/>
                <a:gd name="connsiteY3439" fmla="*/ 1000048 h 2112317"/>
                <a:gd name="connsiteX3440" fmla="*/ 5339129 w 9154202"/>
                <a:gd name="connsiteY3440" fmla="*/ 1000048 h 2112317"/>
                <a:gd name="connsiteX3441" fmla="*/ 5345905 w 9154202"/>
                <a:gd name="connsiteY3441" fmla="*/ 998257 h 2112317"/>
                <a:gd name="connsiteX3442" fmla="*/ 5349392 w 9154202"/>
                <a:gd name="connsiteY3442" fmla="*/ 999152 h 2112317"/>
                <a:gd name="connsiteX3443" fmla="*/ 5355172 w 9154202"/>
                <a:gd name="connsiteY3443" fmla="*/ 1003629 h 2112317"/>
                <a:gd name="connsiteX3444" fmla="*/ 5358460 w 9154202"/>
                <a:gd name="connsiteY3444" fmla="*/ 1005221 h 2112317"/>
                <a:gd name="connsiteX3445" fmla="*/ 5364539 w 9154202"/>
                <a:gd name="connsiteY3445" fmla="*/ 1005221 h 2112317"/>
                <a:gd name="connsiteX3446" fmla="*/ 5365436 w 9154202"/>
                <a:gd name="connsiteY3446" fmla="*/ 1006514 h 2112317"/>
                <a:gd name="connsiteX3447" fmla="*/ 5366631 w 9154202"/>
                <a:gd name="connsiteY3447" fmla="*/ 1010096 h 2112317"/>
                <a:gd name="connsiteX3448" fmla="*/ 5367628 w 9154202"/>
                <a:gd name="connsiteY3448" fmla="*/ 1010792 h 2112317"/>
                <a:gd name="connsiteX3449" fmla="*/ 5374105 w 9154202"/>
                <a:gd name="connsiteY3449" fmla="*/ 1011887 h 2112317"/>
                <a:gd name="connsiteX3450" fmla="*/ 5376098 w 9154202"/>
                <a:gd name="connsiteY3450" fmla="*/ 1011887 h 2112317"/>
                <a:gd name="connsiteX3451" fmla="*/ 5381080 w 9154202"/>
                <a:gd name="connsiteY3451" fmla="*/ 1009996 h 2112317"/>
                <a:gd name="connsiteX3452" fmla="*/ 5391941 w 9154202"/>
                <a:gd name="connsiteY3452" fmla="*/ 1009996 h 2112317"/>
                <a:gd name="connsiteX3453" fmla="*/ 5394731 w 9154202"/>
                <a:gd name="connsiteY3453" fmla="*/ 1009399 h 2112317"/>
                <a:gd name="connsiteX3454" fmla="*/ 5397620 w 9154202"/>
                <a:gd name="connsiteY3454" fmla="*/ 1008206 h 2112317"/>
                <a:gd name="connsiteX3455" fmla="*/ 5399414 w 9154202"/>
                <a:gd name="connsiteY3455" fmla="*/ 1008206 h 2112317"/>
                <a:gd name="connsiteX3456" fmla="*/ 5400610 w 9154202"/>
                <a:gd name="connsiteY3456" fmla="*/ 1008902 h 2112317"/>
                <a:gd name="connsiteX3457" fmla="*/ 5401706 w 9154202"/>
                <a:gd name="connsiteY3457" fmla="*/ 1009897 h 2112317"/>
                <a:gd name="connsiteX3458" fmla="*/ 5402802 w 9154202"/>
                <a:gd name="connsiteY3458" fmla="*/ 1009897 h 2112317"/>
                <a:gd name="connsiteX3459" fmla="*/ 5405094 w 9154202"/>
                <a:gd name="connsiteY3459" fmla="*/ 1009101 h 2112317"/>
                <a:gd name="connsiteX3460" fmla="*/ 5405094 w 9154202"/>
                <a:gd name="connsiteY3460" fmla="*/ 1008305 h 2112317"/>
                <a:gd name="connsiteX3461" fmla="*/ 5404296 w 9154202"/>
                <a:gd name="connsiteY3461" fmla="*/ 1006912 h 2112317"/>
                <a:gd name="connsiteX3462" fmla="*/ 5404296 w 9154202"/>
                <a:gd name="connsiteY3462" fmla="*/ 1005718 h 2112317"/>
                <a:gd name="connsiteX3463" fmla="*/ 5406090 w 9154202"/>
                <a:gd name="connsiteY3463" fmla="*/ 1004724 h 2112317"/>
                <a:gd name="connsiteX3464" fmla="*/ 5407585 w 9154202"/>
                <a:gd name="connsiteY3464" fmla="*/ 1004724 h 2112317"/>
                <a:gd name="connsiteX3465" fmla="*/ 5408781 w 9154202"/>
                <a:gd name="connsiteY3465" fmla="*/ 1005718 h 2112317"/>
                <a:gd name="connsiteX3466" fmla="*/ 5410076 w 9154202"/>
                <a:gd name="connsiteY3466" fmla="*/ 1007310 h 2112317"/>
                <a:gd name="connsiteX3467" fmla="*/ 5412368 w 9154202"/>
                <a:gd name="connsiteY3467" fmla="*/ 1009499 h 2112317"/>
                <a:gd name="connsiteX3468" fmla="*/ 5415357 w 9154202"/>
                <a:gd name="connsiteY3468" fmla="*/ 1011290 h 2112317"/>
                <a:gd name="connsiteX3469" fmla="*/ 5420937 w 9154202"/>
                <a:gd name="connsiteY3469" fmla="*/ 1013578 h 2112317"/>
                <a:gd name="connsiteX3470" fmla="*/ 5423129 w 9154202"/>
                <a:gd name="connsiteY3470" fmla="*/ 1013578 h 2112317"/>
                <a:gd name="connsiteX3471" fmla="*/ 5424823 w 9154202"/>
                <a:gd name="connsiteY3471" fmla="*/ 1013578 h 2112317"/>
                <a:gd name="connsiteX3472" fmla="*/ 5428709 w 9154202"/>
                <a:gd name="connsiteY3472" fmla="*/ 1011489 h 2112317"/>
                <a:gd name="connsiteX3473" fmla="*/ 5435186 w 9154202"/>
                <a:gd name="connsiteY3473" fmla="*/ 1009300 h 2112317"/>
                <a:gd name="connsiteX3474" fmla="*/ 5437378 w 9154202"/>
                <a:gd name="connsiteY3474" fmla="*/ 1008106 h 2112317"/>
                <a:gd name="connsiteX3475" fmla="*/ 5439471 w 9154202"/>
                <a:gd name="connsiteY3475" fmla="*/ 1005221 h 2112317"/>
                <a:gd name="connsiteX3476" fmla="*/ 5440467 w 9154202"/>
                <a:gd name="connsiteY3476" fmla="*/ 1005221 h 2112317"/>
                <a:gd name="connsiteX3477" fmla="*/ 5441563 w 9154202"/>
                <a:gd name="connsiteY3477" fmla="*/ 1005221 h 2112317"/>
                <a:gd name="connsiteX3478" fmla="*/ 5442361 w 9154202"/>
                <a:gd name="connsiteY3478" fmla="*/ 1005917 h 2112317"/>
                <a:gd name="connsiteX3479" fmla="*/ 5442958 w 9154202"/>
                <a:gd name="connsiteY3479" fmla="*/ 1006713 h 2112317"/>
                <a:gd name="connsiteX3480" fmla="*/ 5442958 w 9154202"/>
                <a:gd name="connsiteY3480" fmla="*/ 1006713 h 2112317"/>
                <a:gd name="connsiteX3481" fmla="*/ 5450432 w 9154202"/>
                <a:gd name="connsiteY3481" fmla="*/ 1007808 h 2112317"/>
                <a:gd name="connsiteX3482" fmla="*/ 5452624 w 9154202"/>
                <a:gd name="connsiteY3482" fmla="*/ 1008902 h 2112317"/>
                <a:gd name="connsiteX3483" fmla="*/ 5450831 w 9154202"/>
                <a:gd name="connsiteY3483" fmla="*/ 1015866 h 2112317"/>
                <a:gd name="connsiteX3484" fmla="*/ 5452923 w 9154202"/>
                <a:gd name="connsiteY3484" fmla="*/ 1015866 h 2112317"/>
                <a:gd name="connsiteX3485" fmla="*/ 5459101 w 9154202"/>
                <a:gd name="connsiteY3485" fmla="*/ 1016961 h 2112317"/>
                <a:gd name="connsiteX3486" fmla="*/ 5460197 w 9154202"/>
                <a:gd name="connsiteY3486" fmla="*/ 1016961 h 2112317"/>
                <a:gd name="connsiteX3487" fmla="*/ 5460795 w 9154202"/>
                <a:gd name="connsiteY3487" fmla="*/ 1016961 h 2112317"/>
                <a:gd name="connsiteX3488" fmla="*/ 5462090 w 9154202"/>
                <a:gd name="connsiteY3488" fmla="*/ 1016264 h 2112317"/>
                <a:gd name="connsiteX3489" fmla="*/ 5462090 w 9154202"/>
                <a:gd name="connsiteY3489" fmla="*/ 1016264 h 2112317"/>
                <a:gd name="connsiteX3490" fmla="*/ 5462090 w 9154202"/>
                <a:gd name="connsiteY3490" fmla="*/ 1015568 h 2112317"/>
                <a:gd name="connsiteX3491" fmla="*/ 5462090 w 9154202"/>
                <a:gd name="connsiteY3491" fmla="*/ 1014473 h 2112317"/>
                <a:gd name="connsiteX3492" fmla="*/ 5462688 w 9154202"/>
                <a:gd name="connsiteY3492" fmla="*/ 1014473 h 2112317"/>
                <a:gd name="connsiteX3493" fmla="*/ 5464183 w 9154202"/>
                <a:gd name="connsiteY3493" fmla="*/ 1014473 h 2112317"/>
                <a:gd name="connsiteX3494" fmla="*/ 5472254 w 9154202"/>
                <a:gd name="connsiteY3494" fmla="*/ 1011887 h 2112317"/>
                <a:gd name="connsiteX3495" fmla="*/ 5475742 w 9154202"/>
                <a:gd name="connsiteY3495" fmla="*/ 1011887 h 2112317"/>
                <a:gd name="connsiteX3496" fmla="*/ 5475143 w 9154202"/>
                <a:gd name="connsiteY3496" fmla="*/ 1015369 h 2112317"/>
                <a:gd name="connsiteX3497" fmla="*/ 5478930 w 9154202"/>
                <a:gd name="connsiteY3497" fmla="*/ 1015369 h 2112317"/>
                <a:gd name="connsiteX3498" fmla="*/ 5480624 w 9154202"/>
                <a:gd name="connsiteY3498" fmla="*/ 1015369 h 2112317"/>
                <a:gd name="connsiteX3499" fmla="*/ 5481222 w 9154202"/>
                <a:gd name="connsiteY3499" fmla="*/ 1016463 h 2112317"/>
                <a:gd name="connsiteX3500" fmla="*/ 5481222 w 9154202"/>
                <a:gd name="connsiteY3500" fmla="*/ 1018453 h 2112317"/>
                <a:gd name="connsiteX3501" fmla="*/ 5480325 w 9154202"/>
                <a:gd name="connsiteY3501" fmla="*/ 1018453 h 2112317"/>
                <a:gd name="connsiteX3502" fmla="*/ 5479827 w 9154202"/>
                <a:gd name="connsiteY3502" fmla="*/ 1018453 h 2112317"/>
                <a:gd name="connsiteX3503" fmla="*/ 5480724 w 9154202"/>
                <a:gd name="connsiteY3503" fmla="*/ 1021039 h 2112317"/>
                <a:gd name="connsiteX3504" fmla="*/ 5480724 w 9154202"/>
                <a:gd name="connsiteY3504" fmla="*/ 1021039 h 2112317"/>
                <a:gd name="connsiteX3505" fmla="*/ 5482716 w 9154202"/>
                <a:gd name="connsiteY3505" fmla="*/ 1022731 h 2112317"/>
                <a:gd name="connsiteX3506" fmla="*/ 5483314 w 9154202"/>
                <a:gd name="connsiteY3506" fmla="*/ 1023626 h 2112317"/>
                <a:gd name="connsiteX3507" fmla="*/ 5483912 w 9154202"/>
                <a:gd name="connsiteY3507" fmla="*/ 1026113 h 2112317"/>
                <a:gd name="connsiteX3508" fmla="*/ 5483912 w 9154202"/>
                <a:gd name="connsiteY3508" fmla="*/ 1027208 h 2112317"/>
                <a:gd name="connsiteX3509" fmla="*/ 5485207 w 9154202"/>
                <a:gd name="connsiteY3509" fmla="*/ 1028799 h 2112317"/>
                <a:gd name="connsiteX3510" fmla="*/ 5486603 w 9154202"/>
                <a:gd name="connsiteY3510" fmla="*/ 1029695 h 2112317"/>
                <a:gd name="connsiteX3511" fmla="*/ 5488296 w 9154202"/>
                <a:gd name="connsiteY3511" fmla="*/ 1029695 h 2112317"/>
                <a:gd name="connsiteX3512" fmla="*/ 5490489 w 9154202"/>
                <a:gd name="connsiteY3512" fmla="*/ 1029695 h 2112317"/>
                <a:gd name="connsiteX3513" fmla="*/ 5490489 w 9154202"/>
                <a:gd name="connsiteY3513" fmla="*/ 1031187 h 2112317"/>
                <a:gd name="connsiteX3514" fmla="*/ 5489891 w 9154202"/>
                <a:gd name="connsiteY3514" fmla="*/ 1032481 h 2112317"/>
                <a:gd name="connsiteX3515" fmla="*/ 5489193 w 9154202"/>
                <a:gd name="connsiteY3515" fmla="*/ 1033674 h 2112317"/>
                <a:gd name="connsiteX3516" fmla="*/ 5488396 w 9154202"/>
                <a:gd name="connsiteY3516" fmla="*/ 1034371 h 2112317"/>
                <a:gd name="connsiteX3517" fmla="*/ 5493876 w 9154202"/>
                <a:gd name="connsiteY3517" fmla="*/ 1038450 h 2112317"/>
                <a:gd name="connsiteX3518" fmla="*/ 5496367 w 9154202"/>
                <a:gd name="connsiteY3518" fmla="*/ 1041434 h 2112317"/>
                <a:gd name="connsiteX3519" fmla="*/ 5496367 w 9154202"/>
                <a:gd name="connsiteY3519" fmla="*/ 1044618 h 2112317"/>
                <a:gd name="connsiteX3520" fmla="*/ 5497663 w 9154202"/>
                <a:gd name="connsiteY3520" fmla="*/ 1047205 h 2112317"/>
                <a:gd name="connsiteX3521" fmla="*/ 5498660 w 9154202"/>
                <a:gd name="connsiteY3521" fmla="*/ 1054169 h 2112317"/>
                <a:gd name="connsiteX3522" fmla="*/ 5499357 w 9154202"/>
                <a:gd name="connsiteY3522" fmla="*/ 1056656 h 2112317"/>
                <a:gd name="connsiteX3523" fmla="*/ 5500752 w 9154202"/>
                <a:gd name="connsiteY3523" fmla="*/ 1059044 h 2112317"/>
                <a:gd name="connsiteX3524" fmla="*/ 5501749 w 9154202"/>
                <a:gd name="connsiteY3524" fmla="*/ 1061829 h 2112317"/>
                <a:gd name="connsiteX3525" fmla="*/ 5501749 w 9154202"/>
                <a:gd name="connsiteY3525" fmla="*/ 1064814 h 2112317"/>
                <a:gd name="connsiteX3526" fmla="*/ 5501151 w 9154202"/>
                <a:gd name="connsiteY3526" fmla="*/ 1067301 h 2112317"/>
                <a:gd name="connsiteX3527" fmla="*/ 5507329 w 9154202"/>
                <a:gd name="connsiteY3527" fmla="*/ 1073071 h 2112317"/>
                <a:gd name="connsiteX3528" fmla="*/ 5505934 w 9154202"/>
                <a:gd name="connsiteY3528" fmla="*/ 1074066 h 2112317"/>
                <a:gd name="connsiteX3529" fmla="*/ 5505934 w 9154202"/>
                <a:gd name="connsiteY3529" fmla="*/ 1075360 h 2112317"/>
                <a:gd name="connsiteX3530" fmla="*/ 5506531 w 9154202"/>
                <a:gd name="connsiteY3530" fmla="*/ 1076752 h 2112317"/>
                <a:gd name="connsiteX3531" fmla="*/ 5507627 w 9154202"/>
                <a:gd name="connsiteY3531" fmla="*/ 1077747 h 2112317"/>
                <a:gd name="connsiteX3532" fmla="*/ 5506731 w 9154202"/>
                <a:gd name="connsiteY3532" fmla="*/ 1080732 h 2112317"/>
                <a:gd name="connsiteX3533" fmla="*/ 5507727 w 9154202"/>
                <a:gd name="connsiteY3533" fmla="*/ 1083418 h 2112317"/>
                <a:gd name="connsiteX3534" fmla="*/ 5511015 w 9154202"/>
                <a:gd name="connsiteY3534" fmla="*/ 1087895 h 2112317"/>
                <a:gd name="connsiteX3535" fmla="*/ 5512311 w 9154202"/>
                <a:gd name="connsiteY3535" fmla="*/ 1091079 h 2112317"/>
                <a:gd name="connsiteX3536" fmla="*/ 5513905 w 9154202"/>
                <a:gd name="connsiteY3536" fmla="*/ 1097247 h 2112317"/>
                <a:gd name="connsiteX3537" fmla="*/ 5515400 w 9154202"/>
                <a:gd name="connsiteY3537" fmla="*/ 1100431 h 2112317"/>
                <a:gd name="connsiteX3538" fmla="*/ 5516197 w 9154202"/>
                <a:gd name="connsiteY3538" fmla="*/ 1101326 h 2112317"/>
                <a:gd name="connsiteX3539" fmla="*/ 5517094 w 9154202"/>
                <a:gd name="connsiteY3539" fmla="*/ 1102022 h 2112317"/>
                <a:gd name="connsiteX3540" fmla="*/ 5517691 w 9154202"/>
                <a:gd name="connsiteY3540" fmla="*/ 1103117 h 2112317"/>
                <a:gd name="connsiteX3541" fmla="*/ 5517691 w 9154202"/>
                <a:gd name="connsiteY3541" fmla="*/ 1105504 h 2112317"/>
                <a:gd name="connsiteX3542" fmla="*/ 5520282 w 9154202"/>
                <a:gd name="connsiteY3542" fmla="*/ 1111772 h 2112317"/>
                <a:gd name="connsiteX3543" fmla="*/ 5528055 w 9154202"/>
                <a:gd name="connsiteY3543" fmla="*/ 1120328 h 2112317"/>
                <a:gd name="connsiteX3544" fmla="*/ 5529051 w 9154202"/>
                <a:gd name="connsiteY3544" fmla="*/ 1120925 h 2112317"/>
                <a:gd name="connsiteX3545" fmla="*/ 5529848 w 9154202"/>
                <a:gd name="connsiteY3545" fmla="*/ 1124009 h 2112317"/>
                <a:gd name="connsiteX3546" fmla="*/ 5537022 w 9154202"/>
                <a:gd name="connsiteY3546" fmla="*/ 1127989 h 2112317"/>
                <a:gd name="connsiteX3547" fmla="*/ 5537620 w 9154202"/>
                <a:gd name="connsiteY3547" fmla="*/ 1131073 h 2112317"/>
                <a:gd name="connsiteX3548" fmla="*/ 5541606 w 9154202"/>
                <a:gd name="connsiteY3548" fmla="*/ 1133361 h 2112317"/>
                <a:gd name="connsiteX3549" fmla="*/ 5542802 w 9154202"/>
                <a:gd name="connsiteY3549" fmla="*/ 1134455 h 2112317"/>
                <a:gd name="connsiteX3550" fmla="*/ 5543698 w 9154202"/>
                <a:gd name="connsiteY3550" fmla="*/ 1135649 h 2112317"/>
                <a:gd name="connsiteX3551" fmla="*/ 5545891 w 9154202"/>
                <a:gd name="connsiteY3551" fmla="*/ 1139529 h 2112317"/>
                <a:gd name="connsiteX3552" fmla="*/ 5547884 w 9154202"/>
                <a:gd name="connsiteY3552" fmla="*/ 1141320 h 2112317"/>
                <a:gd name="connsiteX3553" fmla="*/ 5562531 w 9154202"/>
                <a:gd name="connsiteY3553" fmla="*/ 1146692 h 2112317"/>
                <a:gd name="connsiteX3554" fmla="*/ 5589136 w 9154202"/>
                <a:gd name="connsiteY3554" fmla="*/ 1151070 h 2112317"/>
                <a:gd name="connsiteX3555" fmla="*/ 5602987 w 9154202"/>
                <a:gd name="connsiteY3555" fmla="*/ 1151070 h 2112317"/>
                <a:gd name="connsiteX3556" fmla="*/ 5621421 w 9154202"/>
                <a:gd name="connsiteY3556" fmla="*/ 1145996 h 2112317"/>
                <a:gd name="connsiteX3557" fmla="*/ 5665762 w 9154202"/>
                <a:gd name="connsiteY3557" fmla="*/ 1143708 h 2112317"/>
                <a:gd name="connsiteX3558" fmla="*/ 5666759 w 9154202"/>
                <a:gd name="connsiteY3558" fmla="*/ 1143708 h 2112317"/>
                <a:gd name="connsiteX3559" fmla="*/ 5667955 w 9154202"/>
                <a:gd name="connsiteY3559" fmla="*/ 1146095 h 2112317"/>
                <a:gd name="connsiteX3560" fmla="*/ 5669250 w 9154202"/>
                <a:gd name="connsiteY3560" fmla="*/ 1146095 h 2112317"/>
                <a:gd name="connsiteX3561" fmla="*/ 5669250 w 9154202"/>
                <a:gd name="connsiteY3561" fmla="*/ 1146095 h 2112317"/>
                <a:gd name="connsiteX3562" fmla="*/ 5669250 w 9154202"/>
                <a:gd name="connsiteY3562" fmla="*/ 1145299 h 2112317"/>
                <a:gd name="connsiteX3563" fmla="*/ 5670147 w 9154202"/>
                <a:gd name="connsiteY3563" fmla="*/ 1144503 h 2112317"/>
                <a:gd name="connsiteX3564" fmla="*/ 5671442 w 9154202"/>
                <a:gd name="connsiteY3564" fmla="*/ 1144503 h 2112317"/>
                <a:gd name="connsiteX3565" fmla="*/ 5673834 w 9154202"/>
                <a:gd name="connsiteY3565" fmla="*/ 1145200 h 2112317"/>
                <a:gd name="connsiteX3566" fmla="*/ 5675628 w 9154202"/>
                <a:gd name="connsiteY3566" fmla="*/ 1146991 h 2112317"/>
                <a:gd name="connsiteX3567" fmla="*/ 5676424 w 9154202"/>
                <a:gd name="connsiteY3567" fmla="*/ 1149478 h 2112317"/>
                <a:gd name="connsiteX3568" fmla="*/ 5675827 w 9154202"/>
                <a:gd name="connsiteY3568" fmla="*/ 1152462 h 2112317"/>
                <a:gd name="connsiteX3569" fmla="*/ 5674930 w 9154202"/>
                <a:gd name="connsiteY3569" fmla="*/ 1153457 h 2112317"/>
                <a:gd name="connsiteX3570" fmla="*/ 5671442 w 9154202"/>
                <a:gd name="connsiteY3570" fmla="*/ 1155845 h 2112317"/>
                <a:gd name="connsiteX3571" fmla="*/ 5669748 w 9154202"/>
                <a:gd name="connsiteY3571" fmla="*/ 1158432 h 2112317"/>
                <a:gd name="connsiteX3572" fmla="*/ 5668851 w 9154202"/>
                <a:gd name="connsiteY3572" fmla="*/ 1159327 h 2112317"/>
                <a:gd name="connsiteX3573" fmla="*/ 5665464 w 9154202"/>
                <a:gd name="connsiteY3573" fmla="*/ 1161615 h 2112317"/>
                <a:gd name="connsiteX3574" fmla="*/ 5664069 w 9154202"/>
                <a:gd name="connsiteY3574" fmla="*/ 1163307 h 2112317"/>
                <a:gd name="connsiteX3575" fmla="*/ 5664069 w 9154202"/>
                <a:gd name="connsiteY3575" fmla="*/ 1165993 h 2112317"/>
                <a:gd name="connsiteX3576" fmla="*/ 5664766 w 9154202"/>
                <a:gd name="connsiteY3576" fmla="*/ 1167982 h 2112317"/>
                <a:gd name="connsiteX3577" fmla="*/ 5666360 w 9154202"/>
                <a:gd name="connsiteY3577" fmla="*/ 1169873 h 2112317"/>
                <a:gd name="connsiteX3578" fmla="*/ 5668254 w 9154202"/>
                <a:gd name="connsiteY3578" fmla="*/ 1171166 h 2112317"/>
                <a:gd name="connsiteX3579" fmla="*/ 5670147 w 9154202"/>
                <a:gd name="connsiteY3579" fmla="*/ 1171166 h 2112317"/>
                <a:gd name="connsiteX3580" fmla="*/ 5668851 w 9154202"/>
                <a:gd name="connsiteY3580" fmla="*/ 1173355 h 2112317"/>
                <a:gd name="connsiteX3581" fmla="*/ 5664866 w 9154202"/>
                <a:gd name="connsiteY3581" fmla="*/ 1177832 h 2112317"/>
                <a:gd name="connsiteX3582" fmla="*/ 5663670 w 9154202"/>
                <a:gd name="connsiteY3582" fmla="*/ 1181015 h 2112317"/>
                <a:gd name="connsiteX3583" fmla="*/ 5662574 w 9154202"/>
                <a:gd name="connsiteY3583" fmla="*/ 1181015 h 2112317"/>
                <a:gd name="connsiteX3584" fmla="*/ 5660182 w 9154202"/>
                <a:gd name="connsiteY3584" fmla="*/ 1181015 h 2112317"/>
                <a:gd name="connsiteX3585" fmla="*/ 5659286 w 9154202"/>
                <a:gd name="connsiteY3585" fmla="*/ 1181612 h 2112317"/>
                <a:gd name="connsiteX3586" fmla="*/ 5658289 w 9154202"/>
                <a:gd name="connsiteY3586" fmla="*/ 1182906 h 2112317"/>
                <a:gd name="connsiteX3587" fmla="*/ 5659784 w 9154202"/>
                <a:gd name="connsiteY3587" fmla="*/ 1187383 h 2112317"/>
                <a:gd name="connsiteX3588" fmla="*/ 5662773 w 9154202"/>
                <a:gd name="connsiteY3588" fmla="*/ 1189273 h 2112317"/>
                <a:gd name="connsiteX3589" fmla="*/ 5662773 w 9154202"/>
                <a:gd name="connsiteY3589" fmla="*/ 1191163 h 2112317"/>
                <a:gd name="connsiteX3590" fmla="*/ 5659485 w 9154202"/>
                <a:gd name="connsiteY3590" fmla="*/ 1194645 h 2112317"/>
                <a:gd name="connsiteX3591" fmla="*/ 5658788 w 9154202"/>
                <a:gd name="connsiteY3591" fmla="*/ 1197033 h 2112317"/>
                <a:gd name="connsiteX3592" fmla="*/ 5658190 w 9154202"/>
                <a:gd name="connsiteY3592" fmla="*/ 1200117 h 2112317"/>
                <a:gd name="connsiteX3593" fmla="*/ 5657293 w 9154202"/>
                <a:gd name="connsiteY3593" fmla="*/ 1202306 h 2112317"/>
                <a:gd name="connsiteX3594" fmla="*/ 5655599 w 9154202"/>
                <a:gd name="connsiteY3594" fmla="*/ 1202306 h 2112317"/>
                <a:gd name="connsiteX3595" fmla="*/ 5656695 w 9154202"/>
                <a:gd name="connsiteY3595" fmla="*/ 1204992 h 2112317"/>
                <a:gd name="connsiteX3596" fmla="*/ 5659086 w 9154202"/>
                <a:gd name="connsiteY3596" fmla="*/ 1207479 h 2112317"/>
                <a:gd name="connsiteX3597" fmla="*/ 5662076 w 9154202"/>
                <a:gd name="connsiteY3597" fmla="*/ 1209469 h 2112317"/>
                <a:gd name="connsiteX3598" fmla="*/ 5664666 w 9154202"/>
                <a:gd name="connsiteY3598" fmla="*/ 1210265 h 2112317"/>
                <a:gd name="connsiteX3599" fmla="*/ 5665464 w 9154202"/>
                <a:gd name="connsiteY3599" fmla="*/ 1211060 h 2112317"/>
                <a:gd name="connsiteX3600" fmla="*/ 5665464 w 9154202"/>
                <a:gd name="connsiteY3600" fmla="*/ 1214940 h 2112317"/>
                <a:gd name="connsiteX3601" fmla="*/ 5665962 w 9154202"/>
                <a:gd name="connsiteY3601" fmla="*/ 1215836 h 2112317"/>
                <a:gd name="connsiteX3602" fmla="*/ 5666759 w 9154202"/>
                <a:gd name="connsiteY3602" fmla="*/ 1216433 h 2112317"/>
                <a:gd name="connsiteX3603" fmla="*/ 5669449 w 9154202"/>
                <a:gd name="connsiteY3603" fmla="*/ 1219417 h 2112317"/>
                <a:gd name="connsiteX3604" fmla="*/ 5670745 w 9154202"/>
                <a:gd name="connsiteY3604" fmla="*/ 1220412 h 2112317"/>
                <a:gd name="connsiteX3605" fmla="*/ 5680709 w 9154202"/>
                <a:gd name="connsiteY3605" fmla="*/ 1224292 h 2112317"/>
                <a:gd name="connsiteX3606" fmla="*/ 5683400 w 9154202"/>
                <a:gd name="connsiteY3606" fmla="*/ 1224292 h 2112317"/>
                <a:gd name="connsiteX3607" fmla="*/ 5684595 w 9154202"/>
                <a:gd name="connsiteY3607" fmla="*/ 1224889 h 2112317"/>
                <a:gd name="connsiteX3608" fmla="*/ 5687884 w 9154202"/>
                <a:gd name="connsiteY3608" fmla="*/ 1227774 h 2112317"/>
                <a:gd name="connsiteX3609" fmla="*/ 5693464 w 9154202"/>
                <a:gd name="connsiteY3609" fmla="*/ 1230958 h 2112317"/>
                <a:gd name="connsiteX3610" fmla="*/ 5695557 w 9154202"/>
                <a:gd name="connsiteY3610" fmla="*/ 1233545 h 2112317"/>
                <a:gd name="connsiteX3611" fmla="*/ 5697350 w 9154202"/>
                <a:gd name="connsiteY3611" fmla="*/ 1239713 h 2112317"/>
                <a:gd name="connsiteX3612" fmla="*/ 5699144 w 9154202"/>
                <a:gd name="connsiteY3612" fmla="*/ 1242897 h 2112317"/>
                <a:gd name="connsiteX3613" fmla="*/ 5700738 w 9154202"/>
                <a:gd name="connsiteY3613" fmla="*/ 1243593 h 2112317"/>
                <a:gd name="connsiteX3614" fmla="*/ 5704524 w 9154202"/>
                <a:gd name="connsiteY3614" fmla="*/ 1243593 h 2112317"/>
                <a:gd name="connsiteX3615" fmla="*/ 5706019 w 9154202"/>
                <a:gd name="connsiteY3615" fmla="*/ 1244389 h 2112317"/>
                <a:gd name="connsiteX3616" fmla="*/ 5707015 w 9154202"/>
                <a:gd name="connsiteY3616" fmla="*/ 1246080 h 2112317"/>
                <a:gd name="connsiteX3617" fmla="*/ 5709108 w 9154202"/>
                <a:gd name="connsiteY3617" fmla="*/ 1251651 h 2112317"/>
                <a:gd name="connsiteX3618" fmla="*/ 5709905 w 9154202"/>
                <a:gd name="connsiteY3618" fmla="*/ 1252447 h 2112317"/>
                <a:gd name="connsiteX3619" fmla="*/ 5710901 w 9154202"/>
                <a:gd name="connsiteY3619" fmla="*/ 1253144 h 2112317"/>
                <a:gd name="connsiteX3620" fmla="*/ 5711699 w 9154202"/>
                <a:gd name="connsiteY3620" fmla="*/ 1254238 h 2112317"/>
                <a:gd name="connsiteX3621" fmla="*/ 5711699 w 9154202"/>
                <a:gd name="connsiteY3621" fmla="*/ 1256228 h 2112317"/>
                <a:gd name="connsiteX3622" fmla="*/ 5710802 w 9154202"/>
                <a:gd name="connsiteY3622" fmla="*/ 1258019 h 2112317"/>
                <a:gd name="connsiteX3623" fmla="*/ 5709506 w 9154202"/>
                <a:gd name="connsiteY3623" fmla="*/ 1258715 h 2112317"/>
                <a:gd name="connsiteX3624" fmla="*/ 5708111 w 9154202"/>
                <a:gd name="connsiteY3624" fmla="*/ 1258715 h 2112317"/>
                <a:gd name="connsiteX3625" fmla="*/ 5706816 w 9154202"/>
                <a:gd name="connsiteY3625" fmla="*/ 1259610 h 2112317"/>
                <a:gd name="connsiteX3626" fmla="*/ 5700339 w 9154202"/>
                <a:gd name="connsiteY3626" fmla="*/ 1270355 h 2112317"/>
                <a:gd name="connsiteX3627" fmla="*/ 5699442 w 9154202"/>
                <a:gd name="connsiteY3627" fmla="*/ 1270952 h 2112317"/>
                <a:gd name="connsiteX3628" fmla="*/ 5698246 w 9154202"/>
                <a:gd name="connsiteY3628" fmla="*/ 1270952 h 2112317"/>
                <a:gd name="connsiteX3629" fmla="*/ 5697250 w 9154202"/>
                <a:gd name="connsiteY3629" fmla="*/ 1271648 h 2112317"/>
                <a:gd name="connsiteX3630" fmla="*/ 5696752 w 9154202"/>
                <a:gd name="connsiteY3630" fmla="*/ 1272743 h 2112317"/>
                <a:gd name="connsiteX3631" fmla="*/ 5696752 w 9154202"/>
                <a:gd name="connsiteY3631" fmla="*/ 1273738 h 2112317"/>
                <a:gd name="connsiteX3632" fmla="*/ 5696752 w 9154202"/>
                <a:gd name="connsiteY3632" fmla="*/ 1274235 h 2112317"/>
                <a:gd name="connsiteX3633" fmla="*/ 5696752 w 9154202"/>
                <a:gd name="connsiteY3633" fmla="*/ 1275031 h 2112317"/>
                <a:gd name="connsiteX3634" fmla="*/ 5696253 w 9154202"/>
                <a:gd name="connsiteY3634" fmla="*/ 1276722 h 2112317"/>
                <a:gd name="connsiteX3635" fmla="*/ 5695557 w 9154202"/>
                <a:gd name="connsiteY3635" fmla="*/ 1277319 h 2112317"/>
                <a:gd name="connsiteX3636" fmla="*/ 5694360 w 9154202"/>
                <a:gd name="connsiteY3636" fmla="*/ 1277319 h 2112317"/>
                <a:gd name="connsiteX3637" fmla="*/ 5693364 w 9154202"/>
                <a:gd name="connsiteY3637" fmla="*/ 1278016 h 2112317"/>
                <a:gd name="connsiteX3638" fmla="*/ 5692866 w 9154202"/>
                <a:gd name="connsiteY3638" fmla="*/ 1279209 h 2112317"/>
                <a:gd name="connsiteX3639" fmla="*/ 5692866 w 9154202"/>
                <a:gd name="connsiteY3639" fmla="*/ 1280204 h 2112317"/>
                <a:gd name="connsiteX3640" fmla="*/ 5694261 w 9154202"/>
                <a:gd name="connsiteY3640" fmla="*/ 1283487 h 2112317"/>
                <a:gd name="connsiteX3641" fmla="*/ 5694261 w 9154202"/>
                <a:gd name="connsiteY3641" fmla="*/ 1284184 h 2112317"/>
                <a:gd name="connsiteX3642" fmla="*/ 5694261 w 9154202"/>
                <a:gd name="connsiteY3642" fmla="*/ 1286870 h 2112317"/>
                <a:gd name="connsiteX3643" fmla="*/ 5693165 w 9154202"/>
                <a:gd name="connsiteY3643" fmla="*/ 1289158 h 2112317"/>
                <a:gd name="connsiteX3644" fmla="*/ 5691371 w 9154202"/>
                <a:gd name="connsiteY3644" fmla="*/ 1291446 h 2112317"/>
                <a:gd name="connsiteX3645" fmla="*/ 5687784 w 9154202"/>
                <a:gd name="connsiteY3645" fmla="*/ 1293436 h 2112317"/>
                <a:gd name="connsiteX3646" fmla="*/ 5686489 w 9154202"/>
                <a:gd name="connsiteY3646" fmla="*/ 1295923 h 2112317"/>
                <a:gd name="connsiteX3647" fmla="*/ 5686489 w 9154202"/>
                <a:gd name="connsiteY3647" fmla="*/ 1298908 h 2112317"/>
                <a:gd name="connsiteX3648" fmla="*/ 5687086 w 9154202"/>
                <a:gd name="connsiteY3648" fmla="*/ 1301594 h 2112317"/>
                <a:gd name="connsiteX3649" fmla="*/ 5684595 w 9154202"/>
                <a:gd name="connsiteY3649" fmla="*/ 1303584 h 2112317"/>
                <a:gd name="connsiteX3650" fmla="*/ 5685891 w 9154202"/>
                <a:gd name="connsiteY3650" fmla="*/ 1306568 h 2112317"/>
                <a:gd name="connsiteX3651" fmla="*/ 5689079 w 9154202"/>
                <a:gd name="connsiteY3651" fmla="*/ 1309255 h 2112317"/>
                <a:gd name="connsiteX3652" fmla="*/ 5691869 w 9154202"/>
                <a:gd name="connsiteY3652" fmla="*/ 1310448 h 2112317"/>
                <a:gd name="connsiteX3653" fmla="*/ 5697051 w 9154202"/>
                <a:gd name="connsiteY3653" fmla="*/ 1310448 h 2112317"/>
                <a:gd name="connsiteX3654" fmla="*/ 5699342 w 9154202"/>
                <a:gd name="connsiteY3654" fmla="*/ 1310448 h 2112317"/>
                <a:gd name="connsiteX3655" fmla="*/ 5700339 w 9154202"/>
                <a:gd name="connsiteY3655" fmla="*/ 1311344 h 2112317"/>
                <a:gd name="connsiteX3656" fmla="*/ 5700339 w 9154202"/>
                <a:gd name="connsiteY3656" fmla="*/ 1312737 h 2112317"/>
                <a:gd name="connsiteX3657" fmla="*/ 5701236 w 9154202"/>
                <a:gd name="connsiteY3657" fmla="*/ 1314527 h 2112317"/>
                <a:gd name="connsiteX3658" fmla="*/ 5703727 w 9154202"/>
                <a:gd name="connsiteY3658" fmla="*/ 1317512 h 2112317"/>
                <a:gd name="connsiteX3659" fmla="*/ 5705122 w 9154202"/>
                <a:gd name="connsiteY3659" fmla="*/ 1318606 h 2112317"/>
                <a:gd name="connsiteX3660" fmla="*/ 5706617 w 9154202"/>
                <a:gd name="connsiteY3660" fmla="*/ 1319104 h 2112317"/>
                <a:gd name="connsiteX3661" fmla="*/ 5708610 w 9154202"/>
                <a:gd name="connsiteY3661" fmla="*/ 1319104 h 2112317"/>
                <a:gd name="connsiteX3662" fmla="*/ 5708610 w 9154202"/>
                <a:gd name="connsiteY3662" fmla="*/ 1318109 h 2112317"/>
                <a:gd name="connsiteX3663" fmla="*/ 5708610 w 9154202"/>
                <a:gd name="connsiteY3663" fmla="*/ 1316816 h 2112317"/>
                <a:gd name="connsiteX3664" fmla="*/ 5708610 w 9154202"/>
                <a:gd name="connsiteY3664" fmla="*/ 1315124 h 2112317"/>
                <a:gd name="connsiteX3665" fmla="*/ 5711200 w 9154202"/>
                <a:gd name="connsiteY3665" fmla="*/ 1313035 h 2112317"/>
                <a:gd name="connsiteX3666" fmla="*/ 5713691 w 9154202"/>
                <a:gd name="connsiteY3666" fmla="*/ 1313035 h 2112317"/>
                <a:gd name="connsiteX3667" fmla="*/ 5716282 w 9154202"/>
                <a:gd name="connsiteY3667" fmla="*/ 1313931 h 2112317"/>
                <a:gd name="connsiteX3668" fmla="*/ 5719371 w 9154202"/>
                <a:gd name="connsiteY3668" fmla="*/ 1314527 h 2112317"/>
                <a:gd name="connsiteX3669" fmla="*/ 5725549 w 9154202"/>
                <a:gd name="connsiteY3669" fmla="*/ 1313532 h 2112317"/>
                <a:gd name="connsiteX3670" fmla="*/ 5728439 w 9154202"/>
                <a:gd name="connsiteY3670" fmla="*/ 1313532 h 2112317"/>
                <a:gd name="connsiteX3671" fmla="*/ 5733820 w 9154202"/>
                <a:gd name="connsiteY3671" fmla="*/ 1318208 h 2112317"/>
                <a:gd name="connsiteX3672" fmla="*/ 5736311 w 9154202"/>
                <a:gd name="connsiteY3672" fmla="*/ 1319800 h 2112317"/>
                <a:gd name="connsiteX3673" fmla="*/ 5738104 w 9154202"/>
                <a:gd name="connsiteY3673" fmla="*/ 1321392 h 2112317"/>
                <a:gd name="connsiteX3674" fmla="*/ 5738702 w 9154202"/>
                <a:gd name="connsiteY3674" fmla="*/ 1324277 h 2112317"/>
                <a:gd name="connsiteX3675" fmla="*/ 5738702 w 9154202"/>
                <a:gd name="connsiteY3675" fmla="*/ 1324775 h 2112317"/>
                <a:gd name="connsiteX3676" fmla="*/ 5736510 w 9154202"/>
                <a:gd name="connsiteY3676" fmla="*/ 1328754 h 2112317"/>
                <a:gd name="connsiteX3677" fmla="*/ 5734915 w 9154202"/>
                <a:gd name="connsiteY3677" fmla="*/ 1330047 h 2112317"/>
                <a:gd name="connsiteX3678" fmla="*/ 5733820 w 9154202"/>
                <a:gd name="connsiteY3678" fmla="*/ 1330047 h 2112317"/>
                <a:gd name="connsiteX3679" fmla="*/ 5730830 w 9154202"/>
                <a:gd name="connsiteY3679" fmla="*/ 1330047 h 2112317"/>
                <a:gd name="connsiteX3680" fmla="*/ 5727243 w 9154202"/>
                <a:gd name="connsiteY3680" fmla="*/ 1328157 h 2112317"/>
                <a:gd name="connsiteX3681" fmla="*/ 5725649 w 9154202"/>
                <a:gd name="connsiteY3681" fmla="*/ 1328157 h 2112317"/>
                <a:gd name="connsiteX3682" fmla="*/ 5723755 w 9154202"/>
                <a:gd name="connsiteY3682" fmla="*/ 1328157 h 2112317"/>
                <a:gd name="connsiteX3683" fmla="*/ 5722560 w 9154202"/>
                <a:gd name="connsiteY3683" fmla="*/ 1328655 h 2112317"/>
                <a:gd name="connsiteX3684" fmla="*/ 5721464 w 9154202"/>
                <a:gd name="connsiteY3684" fmla="*/ 1329351 h 2112317"/>
                <a:gd name="connsiteX3685" fmla="*/ 5715884 w 9154202"/>
                <a:gd name="connsiteY3685" fmla="*/ 1331540 h 2112317"/>
                <a:gd name="connsiteX3686" fmla="*/ 5714688 w 9154202"/>
                <a:gd name="connsiteY3686" fmla="*/ 1332336 h 2112317"/>
                <a:gd name="connsiteX3687" fmla="*/ 5715386 w 9154202"/>
                <a:gd name="connsiteY3687" fmla="*/ 1334922 h 2112317"/>
                <a:gd name="connsiteX3688" fmla="*/ 5715386 w 9154202"/>
                <a:gd name="connsiteY3688" fmla="*/ 1339101 h 2112317"/>
                <a:gd name="connsiteX3689" fmla="*/ 5714788 w 9154202"/>
                <a:gd name="connsiteY3689" fmla="*/ 1342881 h 2112317"/>
                <a:gd name="connsiteX3690" fmla="*/ 5713293 w 9154202"/>
                <a:gd name="connsiteY3690" fmla="*/ 1344672 h 2112317"/>
                <a:gd name="connsiteX3691" fmla="*/ 5712496 w 9154202"/>
                <a:gd name="connsiteY3691" fmla="*/ 1346463 h 2112317"/>
                <a:gd name="connsiteX3692" fmla="*/ 5713093 w 9154202"/>
                <a:gd name="connsiteY3692" fmla="*/ 1350343 h 2112317"/>
                <a:gd name="connsiteX3693" fmla="*/ 5714987 w 9154202"/>
                <a:gd name="connsiteY3693" fmla="*/ 1353526 h 2112317"/>
                <a:gd name="connsiteX3694" fmla="*/ 5719570 w 9154202"/>
                <a:gd name="connsiteY3694" fmla="*/ 1353526 h 2112317"/>
                <a:gd name="connsiteX3695" fmla="*/ 5720866 w 9154202"/>
                <a:gd name="connsiteY3695" fmla="*/ 1351238 h 2112317"/>
                <a:gd name="connsiteX3696" fmla="*/ 5721762 w 9154202"/>
                <a:gd name="connsiteY3696" fmla="*/ 1347955 h 2112317"/>
                <a:gd name="connsiteX3697" fmla="*/ 5723058 w 9154202"/>
                <a:gd name="connsiteY3697" fmla="*/ 1344871 h 2112317"/>
                <a:gd name="connsiteX3698" fmla="*/ 5725250 w 9154202"/>
                <a:gd name="connsiteY3698" fmla="*/ 1343478 h 2112317"/>
                <a:gd name="connsiteX3699" fmla="*/ 5727542 w 9154202"/>
                <a:gd name="connsiteY3699" fmla="*/ 1344374 h 2112317"/>
                <a:gd name="connsiteX3700" fmla="*/ 5729734 w 9154202"/>
                <a:gd name="connsiteY3700" fmla="*/ 1346463 h 2112317"/>
                <a:gd name="connsiteX3701" fmla="*/ 5731328 w 9154202"/>
                <a:gd name="connsiteY3701" fmla="*/ 1349050 h 2112317"/>
                <a:gd name="connsiteX3702" fmla="*/ 5731328 w 9154202"/>
                <a:gd name="connsiteY3702" fmla="*/ 1351238 h 2112317"/>
                <a:gd name="connsiteX3703" fmla="*/ 5730133 w 9154202"/>
                <a:gd name="connsiteY3703" fmla="*/ 1354123 h 2112317"/>
                <a:gd name="connsiteX3704" fmla="*/ 5723058 w 9154202"/>
                <a:gd name="connsiteY3704" fmla="*/ 1359794 h 2112317"/>
                <a:gd name="connsiteX3705" fmla="*/ 5713791 w 9154202"/>
                <a:gd name="connsiteY3705" fmla="*/ 1369146 h 2112317"/>
                <a:gd name="connsiteX3706" fmla="*/ 5712197 w 9154202"/>
                <a:gd name="connsiteY3706" fmla="*/ 1371633 h 2112317"/>
                <a:gd name="connsiteX3707" fmla="*/ 5710602 w 9154202"/>
                <a:gd name="connsiteY3707" fmla="*/ 1375414 h 2112317"/>
                <a:gd name="connsiteX3708" fmla="*/ 5710602 w 9154202"/>
                <a:gd name="connsiteY3708" fmla="*/ 1378796 h 2112317"/>
                <a:gd name="connsiteX3709" fmla="*/ 5716083 w 9154202"/>
                <a:gd name="connsiteY3709" fmla="*/ 1381383 h 2112317"/>
                <a:gd name="connsiteX3710" fmla="*/ 5717777 w 9154202"/>
                <a:gd name="connsiteY3710" fmla="*/ 1383671 h 2112317"/>
                <a:gd name="connsiteX3711" fmla="*/ 5719172 w 9154202"/>
                <a:gd name="connsiteY3711" fmla="*/ 1386357 h 2112317"/>
                <a:gd name="connsiteX3712" fmla="*/ 5720866 w 9154202"/>
                <a:gd name="connsiteY3712" fmla="*/ 1388148 h 2112317"/>
                <a:gd name="connsiteX3713" fmla="*/ 5722659 w 9154202"/>
                <a:gd name="connsiteY3713" fmla="*/ 1388845 h 2112317"/>
                <a:gd name="connsiteX3714" fmla="*/ 5722659 w 9154202"/>
                <a:gd name="connsiteY3714" fmla="*/ 1392526 h 2112317"/>
                <a:gd name="connsiteX3715" fmla="*/ 5724253 w 9154202"/>
                <a:gd name="connsiteY3715" fmla="*/ 1391133 h 2112317"/>
                <a:gd name="connsiteX3716" fmla="*/ 5725948 w 9154202"/>
                <a:gd name="connsiteY3716" fmla="*/ 1389242 h 2112317"/>
                <a:gd name="connsiteX3717" fmla="*/ 5728140 w 9154202"/>
                <a:gd name="connsiteY3717" fmla="*/ 1387352 h 2112317"/>
                <a:gd name="connsiteX3718" fmla="*/ 5731229 w 9154202"/>
                <a:gd name="connsiteY3718" fmla="*/ 1383771 h 2112317"/>
                <a:gd name="connsiteX3719" fmla="*/ 5735513 w 9154202"/>
                <a:gd name="connsiteY3719" fmla="*/ 1382378 h 2112317"/>
                <a:gd name="connsiteX3720" fmla="*/ 5740197 w 9154202"/>
                <a:gd name="connsiteY3720" fmla="*/ 1382378 h 2112317"/>
                <a:gd name="connsiteX3721" fmla="*/ 5746175 w 9154202"/>
                <a:gd name="connsiteY3721" fmla="*/ 1385860 h 2112317"/>
                <a:gd name="connsiteX3722" fmla="*/ 5754246 w 9154202"/>
                <a:gd name="connsiteY3722" fmla="*/ 1381781 h 2112317"/>
                <a:gd name="connsiteX3723" fmla="*/ 5759926 w 9154202"/>
                <a:gd name="connsiteY3723" fmla="*/ 1378498 h 2112317"/>
                <a:gd name="connsiteX3724" fmla="*/ 5766204 w 9154202"/>
                <a:gd name="connsiteY3724" fmla="*/ 1379294 h 2112317"/>
                <a:gd name="connsiteX3725" fmla="*/ 5770887 w 9154202"/>
                <a:gd name="connsiteY3725" fmla="*/ 1381781 h 2112317"/>
                <a:gd name="connsiteX3726" fmla="*/ 5764710 w 9154202"/>
                <a:gd name="connsiteY3726" fmla="*/ 1396903 h 2112317"/>
                <a:gd name="connsiteX3727" fmla="*/ 5766204 w 9154202"/>
                <a:gd name="connsiteY3727" fmla="*/ 1402375 h 2112317"/>
                <a:gd name="connsiteX3728" fmla="*/ 5768595 w 9154202"/>
                <a:gd name="connsiteY3728" fmla="*/ 1406354 h 2112317"/>
                <a:gd name="connsiteX3729" fmla="*/ 5771485 w 9154202"/>
                <a:gd name="connsiteY3729" fmla="*/ 1410831 h 2112317"/>
                <a:gd name="connsiteX3730" fmla="*/ 5771485 w 9154202"/>
                <a:gd name="connsiteY3730" fmla="*/ 1410831 h 2112317"/>
                <a:gd name="connsiteX3731" fmla="*/ 5774375 w 9154202"/>
                <a:gd name="connsiteY3731" fmla="*/ 1410831 h 2112317"/>
                <a:gd name="connsiteX3732" fmla="*/ 5779955 w 9154202"/>
                <a:gd name="connsiteY3732" fmla="*/ 1413120 h 2112317"/>
                <a:gd name="connsiteX3733" fmla="*/ 5796894 w 9154202"/>
                <a:gd name="connsiteY3733" fmla="*/ 1413120 h 2112317"/>
                <a:gd name="connsiteX3734" fmla="*/ 5799585 w 9154202"/>
                <a:gd name="connsiteY3734" fmla="*/ 1411727 h 2112317"/>
                <a:gd name="connsiteX3735" fmla="*/ 5799585 w 9154202"/>
                <a:gd name="connsiteY3735" fmla="*/ 1412523 h 2112317"/>
                <a:gd name="connsiteX3736" fmla="*/ 5800282 w 9154202"/>
                <a:gd name="connsiteY3736" fmla="*/ 1414015 h 2112317"/>
                <a:gd name="connsiteX3737" fmla="*/ 5800282 w 9154202"/>
                <a:gd name="connsiteY3737" fmla="*/ 1417099 h 2112317"/>
                <a:gd name="connsiteX3738" fmla="*/ 5805464 w 9154202"/>
                <a:gd name="connsiteY3738" fmla="*/ 1418492 h 2112317"/>
                <a:gd name="connsiteX3739" fmla="*/ 5816225 w 9154202"/>
                <a:gd name="connsiteY3739" fmla="*/ 1419586 h 2112317"/>
                <a:gd name="connsiteX3740" fmla="*/ 5820610 w 9154202"/>
                <a:gd name="connsiteY3740" fmla="*/ 1421874 h 2112317"/>
                <a:gd name="connsiteX3741" fmla="*/ 5822104 w 9154202"/>
                <a:gd name="connsiteY3741" fmla="*/ 1421874 h 2112317"/>
                <a:gd name="connsiteX3742" fmla="*/ 5833165 w 9154202"/>
                <a:gd name="connsiteY3742" fmla="*/ 1420283 h 2112317"/>
                <a:gd name="connsiteX3743" fmla="*/ 5834460 w 9154202"/>
                <a:gd name="connsiteY3743" fmla="*/ 1420283 h 2112317"/>
                <a:gd name="connsiteX3744" fmla="*/ 5836254 w 9154202"/>
                <a:gd name="connsiteY3744" fmla="*/ 1421377 h 2112317"/>
                <a:gd name="connsiteX3745" fmla="*/ 5838844 w 9154202"/>
                <a:gd name="connsiteY3745" fmla="*/ 1424859 h 2112317"/>
                <a:gd name="connsiteX3746" fmla="*/ 5839841 w 9154202"/>
                <a:gd name="connsiteY3746" fmla="*/ 1425854 h 2112317"/>
                <a:gd name="connsiteX3747" fmla="*/ 5841435 w 9154202"/>
                <a:gd name="connsiteY3747" fmla="*/ 1425854 h 2112317"/>
                <a:gd name="connsiteX3748" fmla="*/ 5845321 w 9154202"/>
                <a:gd name="connsiteY3748" fmla="*/ 1424561 h 2112317"/>
                <a:gd name="connsiteX3749" fmla="*/ 5849108 w 9154202"/>
                <a:gd name="connsiteY3749" fmla="*/ 1424561 h 2112317"/>
                <a:gd name="connsiteX3750" fmla="*/ 5863357 w 9154202"/>
                <a:gd name="connsiteY3750" fmla="*/ 1428540 h 2112317"/>
                <a:gd name="connsiteX3751" fmla="*/ 5872823 w 9154202"/>
                <a:gd name="connsiteY3751" fmla="*/ 1429734 h 2112317"/>
                <a:gd name="connsiteX3752" fmla="*/ 5881592 w 9154202"/>
                <a:gd name="connsiteY3752" fmla="*/ 1432719 h 2112317"/>
                <a:gd name="connsiteX3753" fmla="*/ 5889962 w 9154202"/>
                <a:gd name="connsiteY3753" fmla="*/ 1434012 h 2112317"/>
                <a:gd name="connsiteX3754" fmla="*/ 5893150 w 9154202"/>
                <a:gd name="connsiteY3754" fmla="*/ 1434907 h 2112317"/>
                <a:gd name="connsiteX3755" fmla="*/ 5896239 w 9154202"/>
                <a:gd name="connsiteY3755" fmla="*/ 1434907 h 2112317"/>
                <a:gd name="connsiteX3756" fmla="*/ 5899528 w 9154202"/>
                <a:gd name="connsiteY3756" fmla="*/ 1433216 h 2112317"/>
                <a:gd name="connsiteX3757" fmla="*/ 5902916 w 9154202"/>
                <a:gd name="connsiteY3757" fmla="*/ 1435405 h 2112317"/>
                <a:gd name="connsiteX3758" fmla="*/ 5906801 w 9154202"/>
                <a:gd name="connsiteY3758" fmla="*/ 1436698 h 2112317"/>
                <a:gd name="connsiteX3759" fmla="*/ 5914674 w 9154202"/>
                <a:gd name="connsiteY3759" fmla="*/ 1437792 h 2112317"/>
                <a:gd name="connsiteX3760" fmla="*/ 5916268 w 9154202"/>
                <a:gd name="connsiteY3760" fmla="*/ 1437792 h 2112317"/>
                <a:gd name="connsiteX3761" fmla="*/ 5919357 w 9154202"/>
                <a:gd name="connsiteY3761" fmla="*/ 1436400 h 2112317"/>
                <a:gd name="connsiteX3762" fmla="*/ 5921250 w 9154202"/>
                <a:gd name="connsiteY3762" fmla="*/ 1436400 h 2112317"/>
                <a:gd name="connsiteX3763" fmla="*/ 5949649 w 9154202"/>
                <a:gd name="connsiteY3763" fmla="*/ 1434708 h 2112317"/>
                <a:gd name="connsiteX3764" fmla="*/ 5959613 w 9154202"/>
                <a:gd name="connsiteY3764" fmla="*/ 1430928 h 2112317"/>
                <a:gd name="connsiteX3765" fmla="*/ 5958716 w 9154202"/>
                <a:gd name="connsiteY3765" fmla="*/ 1433116 h 2112317"/>
                <a:gd name="connsiteX3766" fmla="*/ 5953734 w 9154202"/>
                <a:gd name="connsiteY3766" fmla="*/ 1436101 h 2112317"/>
                <a:gd name="connsiteX3767" fmla="*/ 5951941 w 9154202"/>
                <a:gd name="connsiteY3767" fmla="*/ 1438588 h 2112317"/>
                <a:gd name="connsiteX3768" fmla="*/ 5954730 w 9154202"/>
                <a:gd name="connsiteY3768" fmla="*/ 1439782 h 2112317"/>
                <a:gd name="connsiteX3769" fmla="*/ 5971471 w 9154202"/>
                <a:gd name="connsiteY3769" fmla="*/ 1437593 h 2112317"/>
                <a:gd name="connsiteX3770" fmla="*/ 5979442 w 9154202"/>
                <a:gd name="connsiteY3770" fmla="*/ 1434509 h 2112317"/>
                <a:gd name="connsiteX3771" fmla="*/ 5983129 w 9154202"/>
                <a:gd name="connsiteY3771" fmla="*/ 1434012 h 2112317"/>
                <a:gd name="connsiteX3772" fmla="*/ 5983129 w 9154202"/>
                <a:gd name="connsiteY3772" fmla="*/ 1435305 h 2112317"/>
                <a:gd name="connsiteX3773" fmla="*/ 5982332 w 9154202"/>
                <a:gd name="connsiteY3773" fmla="*/ 1436996 h 2112317"/>
                <a:gd name="connsiteX3774" fmla="*/ 5984425 w 9154202"/>
                <a:gd name="connsiteY3774" fmla="*/ 1436996 h 2112317"/>
                <a:gd name="connsiteX3775" fmla="*/ 5988809 w 9154202"/>
                <a:gd name="connsiteY3775" fmla="*/ 1435504 h 2112317"/>
                <a:gd name="connsiteX3776" fmla="*/ 5996780 w 9154202"/>
                <a:gd name="connsiteY3776" fmla="*/ 1435504 h 2112317"/>
                <a:gd name="connsiteX3777" fmla="*/ 5998773 w 9154202"/>
                <a:gd name="connsiteY3777" fmla="*/ 1435504 h 2112317"/>
                <a:gd name="connsiteX3778" fmla="*/ 5999271 w 9154202"/>
                <a:gd name="connsiteY3778" fmla="*/ 1436499 h 2112317"/>
                <a:gd name="connsiteX3779" fmla="*/ 5999271 w 9154202"/>
                <a:gd name="connsiteY3779" fmla="*/ 1437693 h 2112317"/>
                <a:gd name="connsiteX3780" fmla="*/ 5994588 w 9154202"/>
                <a:gd name="connsiteY3780" fmla="*/ 1437693 h 2112317"/>
                <a:gd name="connsiteX3781" fmla="*/ 5993193 w 9154202"/>
                <a:gd name="connsiteY3781" fmla="*/ 1437693 h 2112317"/>
                <a:gd name="connsiteX3782" fmla="*/ 5991499 w 9154202"/>
                <a:gd name="connsiteY3782" fmla="*/ 1438290 h 2112317"/>
                <a:gd name="connsiteX3783" fmla="*/ 5991499 w 9154202"/>
                <a:gd name="connsiteY3783" fmla="*/ 1438290 h 2112317"/>
                <a:gd name="connsiteX3784" fmla="*/ 5994489 w 9154202"/>
                <a:gd name="connsiteY3784" fmla="*/ 1440180 h 2112317"/>
                <a:gd name="connsiteX3785" fmla="*/ 5998773 w 9154202"/>
                <a:gd name="connsiteY3785" fmla="*/ 1441672 h 2112317"/>
                <a:gd name="connsiteX3786" fmla="*/ 6000268 w 9154202"/>
                <a:gd name="connsiteY3786" fmla="*/ 1441672 h 2112317"/>
                <a:gd name="connsiteX3787" fmla="*/ 6001563 w 9154202"/>
                <a:gd name="connsiteY3787" fmla="*/ 1441672 h 2112317"/>
                <a:gd name="connsiteX3788" fmla="*/ 6002560 w 9154202"/>
                <a:gd name="connsiteY3788" fmla="*/ 1441175 h 2112317"/>
                <a:gd name="connsiteX3789" fmla="*/ 6003556 w 9154202"/>
                <a:gd name="connsiteY3789" fmla="*/ 1441175 h 2112317"/>
                <a:gd name="connsiteX3790" fmla="*/ 6006645 w 9154202"/>
                <a:gd name="connsiteY3790" fmla="*/ 1441175 h 2112317"/>
                <a:gd name="connsiteX3791" fmla="*/ 6010033 w 9154202"/>
                <a:gd name="connsiteY3791" fmla="*/ 1442070 h 2112317"/>
                <a:gd name="connsiteX3792" fmla="*/ 6013221 w 9154202"/>
                <a:gd name="connsiteY3792" fmla="*/ 1443662 h 2112317"/>
                <a:gd name="connsiteX3793" fmla="*/ 6015712 w 9154202"/>
                <a:gd name="connsiteY3793" fmla="*/ 1445851 h 2112317"/>
                <a:gd name="connsiteX3794" fmla="*/ 6017008 w 9154202"/>
                <a:gd name="connsiteY3794" fmla="*/ 1446746 h 2112317"/>
                <a:gd name="connsiteX3795" fmla="*/ 6019798 w 9154202"/>
                <a:gd name="connsiteY3795" fmla="*/ 1446746 h 2112317"/>
                <a:gd name="connsiteX3796" fmla="*/ 6022389 w 9154202"/>
                <a:gd name="connsiteY3796" fmla="*/ 1448139 h 2112317"/>
                <a:gd name="connsiteX3797" fmla="*/ 6023684 w 9154202"/>
                <a:gd name="connsiteY3797" fmla="*/ 1447443 h 2112317"/>
                <a:gd name="connsiteX3798" fmla="*/ 6024780 w 9154202"/>
                <a:gd name="connsiteY3798" fmla="*/ 1446149 h 2112317"/>
                <a:gd name="connsiteX3799" fmla="*/ 6025578 w 9154202"/>
                <a:gd name="connsiteY3799" fmla="*/ 1445453 h 2112317"/>
                <a:gd name="connsiteX3800" fmla="*/ 6028467 w 9154202"/>
                <a:gd name="connsiteY3800" fmla="*/ 1445453 h 2112317"/>
                <a:gd name="connsiteX3801" fmla="*/ 6037834 w 9154202"/>
                <a:gd name="connsiteY3801" fmla="*/ 1448537 h 2112317"/>
                <a:gd name="connsiteX3802" fmla="*/ 6075100 w 9154202"/>
                <a:gd name="connsiteY3802" fmla="*/ 1449731 h 2112317"/>
                <a:gd name="connsiteX3803" fmla="*/ 6075100 w 9154202"/>
                <a:gd name="connsiteY3803" fmla="*/ 1450726 h 2112317"/>
                <a:gd name="connsiteX3804" fmla="*/ 6069122 w 9154202"/>
                <a:gd name="connsiteY3804" fmla="*/ 1454506 h 2112317"/>
                <a:gd name="connsiteX3805" fmla="*/ 6067229 w 9154202"/>
                <a:gd name="connsiteY3805" fmla="*/ 1457590 h 2112317"/>
                <a:gd name="connsiteX3806" fmla="*/ 6068125 w 9154202"/>
                <a:gd name="connsiteY3806" fmla="*/ 1461868 h 2112317"/>
                <a:gd name="connsiteX3807" fmla="*/ 6069620 w 9154202"/>
                <a:gd name="connsiteY3807" fmla="*/ 1464057 h 2112317"/>
                <a:gd name="connsiteX3808" fmla="*/ 6070417 w 9154202"/>
                <a:gd name="connsiteY3808" fmla="*/ 1463460 h 2112317"/>
                <a:gd name="connsiteX3809" fmla="*/ 6071015 w 9154202"/>
                <a:gd name="connsiteY3809" fmla="*/ 1461371 h 2112317"/>
                <a:gd name="connsiteX3810" fmla="*/ 6072609 w 9154202"/>
                <a:gd name="connsiteY3810" fmla="*/ 1458287 h 2112317"/>
                <a:gd name="connsiteX3811" fmla="*/ 6072609 w 9154202"/>
                <a:gd name="connsiteY3811" fmla="*/ 1457590 h 2112317"/>
                <a:gd name="connsiteX3812" fmla="*/ 6072609 w 9154202"/>
                <a:gd name="connsiteY3812" fmla="*/ 1456894 h 2112317"/>
                <a:gd name="connsiteX3813" fmla="*/ 6072609 w 9154202"/>
                <a:gd name="connsiteY3813" fmla="*/ 1455800 h 2112317"/>
                <a:gd name="connsiteX3814" fmla="*/ 6072609 w 9154202"/>
                <a:gd name="connsiteY3814" fmla="*/ 1455800 h 2112317"/>
                <a:gd name="connsiteX3815" fmla="*/ 6076396 w 9154202"/>
                <a:gd name="connsiteY3815" fmla="*/ 1455800 h 2112317"/>
                <a:gd name="connsiteX3816" fmla="*/ 6080282 w 9154202"/>
                <a:gd name="connsiteY3816" fmla="*/ 1455800 h 2112317"/>
                <a:gd name="connsiteX3817" fmla="*/ 6081776 w 9154202"/>
                <a:gd name="connsiteY3817" fmla="*/ 1455103 h 2112317"/>
                <a:gd name="connsiteX3818" fmla="*/ 6082474 w 9154202"/>
                <a:gd name="connsiteY3818" fmla="*/ 1453511 h 2112317"/>
                <a:gd name="connsiteX3819" fmla="*/ 6082474 w 9154202"/>
                <a:gd name="connsiteY3819" fmla="*/ 1451124 h 2112317"/>
                <a:gd name="connsiteX3820" fmla="*/ 6083670 w 9154202"/>
                <a:gd name="connsiteY3820" fmla="*/ 1449034 h 2112317"/>
                <a:gd name="connsiteX3821" fmla="*/ 6085364 w 9154202"/>
                <a:gd name="connsiteY3821" fmla="*/ 1447841 h 2112317"/>
                <a:gd name="connsiteX3822" fmla="*/ 6087357 w 9154202"/>
                <a:gd name="connsiteY3822" fmla="*/ 1447841 h 2112317"/>
                <a:gd name="connsiteX3823" fmla="*/ 6090745 w 9154202"/>
                <a:gd name="connsiteY3823" fmla="*/ 1451124 h 2112317"/>
                <a:gd name="connsiteX3824" fmla="*/ 6093136 w 9154202"/>
                <a:gd name="connsiteY3824" fmla="*/ 1451920 h 2112317"/>
                <a:gd name="connsiteX3825" fmla="*/ 6095527 w 9154202"/>
                <a:gd name="connsiteY3825" fmla="*/ 1451920 h 2112317"/>
                <a:gd name="connsiteX3826" fmla="*/ 6097022 w 9154202"/>
                <a:gd name="connsiteY3826" fmla="*/ 1452516 h 2112317"/>
                <a:gd name="connsiteX3827" fmla="*/ 6096325 w 9154202"/>
                <a:gd name="connsiteY3827" fmla="*/ 1455601 h 2112317"/>
                <a:gd name="connsiteX3828" fmla="*/ 6097820 w 9154202"/>
                <a:gd name="connsiteY3828" fmla="*/ 1457590 h 2112317"/>
                <a:gd name="connsiteX3829" fmla="*/ 6092538 w 9154202"/>
                <a:gd name="connsiteY3829" fmla="*/ 1459978 h 2112317"/>
                <a:gd name="connsiteX3830" fmla="*/ 6081876 w 9154202"/>
                <a:gd name="connsiteY3830" fmla="*/ 1462963 h 2112317"/>
                <a:gd name="connsiteX3831" fmla="*/ 6076794 w 9154202"/>
                <a:gd name="connsiteY3831" fmla="*/ 1465350 h 2112317"/>
                <a:gd name="connsiteX3832" fmla="*/ 6089151 w 9154202"/>
                <a:gd name="connsiteY3832" fmla="*/ 1462266 h 2112317"/>
                <a:gd name="connsiteX3833" fmla="*/ 6102104 w 9154202"/>
                <a:gd name="connsiteY3833" fmla="*/ 1460874 h 2112317"/>
                <a:gd name="connsiteX3834" fmla="*/ 6098018 w 9154202"/>
                <a:gd name="connsiteY3834" fmla="*/ 1462565 h 2112317"/>
                <a:gd name="connsiteX3835" fmla="*/ 6088752 w 9154202"/>
                <a:gd name="connsiteY3835" fmla="*/ 1463560 h 2112317"/>
                <a:gd name="connsiteX3836" fmla="*/ 6084766 w 9154202"/>
                <a:gd name="connsiteY3836" fmla="*/ 1465350 h 2112317"/>
                <a:gd name="connsiteX3837" fmla="*/ 6086958 w 9154202"/>
                <a:gd name="connsiteY3837" fmla="*/ 1466246 h 2112317"/>
                <a:gd name="connsiteX3838" fmla="*/ 6089350 w 9154202"/>
                <a:gd name="connsiteY3838" fmla="*/ 1466246 h 2112317"/>
                <a:gd name="connsiteX3839" fmla="*/ 6094332 w 9154202"/>
                <a:gd name="connsiteY3839" fmla="*/ 1466246 h 2112317"/>
                <a:gd name="connsiteX3840" fmla="*/ 6091940 w 9154202"/>
                <a:gd name="connsiteY3840" fmla="*/ 1469330 h 2112317"/>
                <a:gd name="connsiteX3841" fmla="*/ 6080382 w 9154202"/>
                <a:gd name="connsiteY3841" fmla="*/ 1476194 h 2112317"/>
                <a:gd name="connsiteX3842" fmla="*/ 6084865 w 9154202"/>
                <a:gd name="connsiteY3842" fmla="*/ 1475299 h 2112317"/>
                <a:gd name="connsiteX3843" fmla="*/ 6098218 w 9154202"/>
                <a:gd name="connsiteY3843" fmla="*/ 1465947 h 2112317"/>
                <a:gd name="connsiteX3844" fmla="*/ 6102802 w 9154202"/>
                <a:gd name="connsiteY3844" fmla="*/ 1463858 h 2112317"/>
                <a:gd name="connsiteX3845" fmla="*/ 6104595 w 9154202"/>
                <a:gd name="connsiteY3845" fmla="*/ 1463858 h 2112317"/>
                <a:gd name="connsiteX3846" fmla="*/ 6103798 w 9154202"/>
                <a:gd name="connsiteY3846" fmla="*/ 1465649 h 2112317"/>
                <a:gd name="connsiteX3847" fmla="*/ 6102204 w 9154202"/>
                <a:gd name="connsiteY3847" fmla="*/ 1468235 h 2112317"/>
                <a:gd name="connsiteX3848" fmla="*/ 6102204 w 9154202"/>
                <a:gd name="connsiteY3848" fmla="*/ 1469728 h 2112317"/>
                <a:gd name="connsiteX3849" fmla="*/ 6103898 w 9154202"/>
                <a:gd name="connsiteY3849" fmla="*/ 1469728 h 2112317"/>
                <a:gd name="connsiteX3850" fmla="*/ 6106588 w 9154202"/>
                <a:gd name="connsiteY3850" fmla="*/ 1469728 h 2112317"/>
                <a:gd name="connsiteX3851" fmla="*/ 6107983 w 9154202"/>
                <a:gd name="connsiteY3851" fmla="*/ 1469131 h 2112317"/>
                <a:gd name="connsiteX3852" fmla="*/ 6108980 w 9154202"/>
                <a:gd name="connsiteY3852" fmla="*/ 1468335 h 2112317"/>
                <a:gd name="connsiteX3853" fmla="*/ 6110175 w 9154202"/>
                <a:gd name="connsiteY3853" fmla="*/ 1468335 h 2112317"/>
                <a:gd name="connsiteX3854" fmla="*/ 6111869 w 9154202"/>
                <a:gd name="connsiteY3854" fmla="*/ 1468335 h 2112317"/>
                <a:gd name="connsiteX3855" fmla="*/ 6113464 w 9154202"/>
                <a:gd name="connsiteY3855" fmla="*/ 1468335 h 2112317"/>
                <a:gd name="connsiteX3856" fmla="*/ 6116353 w 9154202"/>
                <a:gd name="connsiteY3856" fmla="*/ 1469827 h 2112317"/>
                <a:gd name="connsiteX3857" fmla="*/ 6133393 w 9154202"/>
                <a:gd name="connsiteY3857" fmla="*/ 1473110 h 2112317"/>
                <a:gd name="connsiteX3858" fmla="*/ 6137677 w 9154202"/>
                <a:gd name="connsiteY3858" fmla="*/ 1473110 h 2112317"/>
                <a:gd name="connsiteX3859" fmla="*/ 6141663 w 9154202"/>
                <a:gd name="connsiteY3859" fmla="*/ 1471320 h 2112317"/>
                <a:gd name="connsiteX3860" fmla="*/ 6145748 w 9154202"/>
                <a:gd name="connsiteY3860" fmla="*/ 1468534 h 2112317"/>
                <a:gd name="connsiteX3861" fmla="*/ 6143556 w 9154202"/>
                <a:gd name="connsiteY3861" fmla="*/ 1466146 h 2112317"/>
                <a:gd name="connsiteX3862" fmla="*/ 6140766 w 9154202"/>
                <a:gd name="connsiteY3862" fmla="*/ 1466743 h 2112317"/>
                <a:gd name="connsiteX3863" fmla="*/ 6137976 w 9154202"/>
                <a:gd name="connsiteY3863" fmla="*/ 1468733 h 2112317"/>
                <a:gd name="connsiteX3864" fmla="*/ 6136083 w 9154202"/>
                <a:gd name="connsiteY3864" fmla="*/ 1470623 h 2112317"/>
                <a:gd name="connsiteX3865" fmla="*/ 6135285 w 9154202"/>
                <a:gd name="connsiteY3865" fmla="*/ 1469529 h 2112317"/>
                <a:gd name="connsiteX3866" fmla="*/ 6139172 w 9154202"/>
                <a:gd name="connsiteY3866" fmla="*/ 1466644 h 2112317"/>
                <a:gd name="connsiteX3867" fmla="*/ 6143656 w 9154202"/>
                <a:gd name="connsiteY3867" fmla="*/ 1465251 h 2112317"/>
                <a:gd name="connsiteX3868" fmla="*/ 6146645 w 9154202"/>
                <a:gd name="connsiteY3868" fmla="*/ 1466544 h 2112317"/>
                <a:gd name="connsiteX3869" fmla="*/ 6145748 w 9154202"/>
                <a:gd name="connsiteY3869" fmla="*/ 1471718 h 2112317"/>
                <a:gd name="connsiteX3870" fmla="*/ 6144154 w 9154202"/>
                <a:gd name="connsiteY3870" fmla="*/ 1477090 h 2112317"/>
                <a:gd name="connsiteX3871" fmla="*/ 6145947 w 9154202"/>
                <a:gd name="connsiteY3871" fmla="*/ 1478383 h 2112317"/>
                <a:gd name="connsiteX3872" fmla="*/ 6158802 w 9154202"/>
                <a:gd name="connsiteY3872" fmla="*/ 1475200 h 2112317"/>
                <a:gd name="connsiteX3873" fmla="*/ 6163884 w 9154202"/>
                <a:gd name="connsiteY3873" fmla="*/ 1475200 h 2112317"/>
                <a:gd name="connsiteX3874" fmla="*/ 6172353 w 9154202"/>
                <a:gd name="connsiteY3874" fmla="*/ 1477189 h 2112317"/>
                <a:gd name="connsiteX3875" fmla="*/ 6175243 w 9154202"/>
                <a:gd name="connsiteY3875" fmla="*/ 1477189 h 2112317"/>
                <a:gd name="connsiteX3876" fmla="*/ 6176140 w 9154202"/>
                <a:gd name="connsiteY3876" fmla="*/ 1477189 h 2112317"/>
                <a:gd name="connsiteX3877" fmla="*/ 6178631 w 9154202"/>
                <a:gd name="connsiteY3877" fmla="*/ 1475797 h 2112317"/>
                <a:gd name="connsiteX3878" fmla="*/ 6178631 w 9154202"/>
                <a:gd name="connsiteY3878" fmla="*/ 1475797 h 2112317"/>
                <a:gd name="connsiteX3879" fmla="*/ 6179926 w 9154202"/>
                <a:gd name="connsiteY3879" fmla="*/ 1475797 h 2112317"/>
                <a:gd name="connsiteX3880" fmla="*/ 6181820 w 9154202"/>
                <a:gd name="connsiteY3880" fmla="*/ 1477886 h 2112317"/>
                <a:gd name="connsiteX3881" fmla="*/ 6182915 w 9154202"/>
                <a:gd name="connsiteY3881" fmla="*/ 1478582 h 2112317"/>
                <a:gd name="connsiteX3882" fmla="*/ 6185207 w 9154202"/>
                <a:gd name="connsiteY3882" fmla="*/ 1479179 h 2112317"/>
                <a:gd name="connsiteX3883" fmla="*/ 6187400 w 9154202"/>
                <a:gd name="connsiteY3883" fmla="*/ 1479179 h 2112317"/>
                <a:gd name="connsiteX3884" fmla="*/ 6189393 w 9154202"/>
                <a:gd name="connsiteY3884" fmla="*/ 1477886 h 2112317"/>
                <a:gd name="connsiteX3885" fmla="*/ 6190887 w 9154202"/>
                <a:gd name="connsiteY3885" fmla="*/ 1475797 h 2112317"/>
                <a:gd name="connsiteX3886" fmla="*/ 6191385 w 9154202"/>
                <a:gd name="connsiteY3886" fmla="*/ 1478184 h 2112317"/>
                <a:gd name="connsiteX3887" fmla="*/ 6191385 w 9154202"/>
                <a:gd name="connsiteY3887" fmla="*/ 1480473 h 2112317"/>
                <a:gd name="connsiteX3888" fmla="*/ 6191385 w 9154202"/>
                <a:gd name="connsiteY3888" fmla="*/ 1482164 h 2112317"/>
                <a:gd name="connsiteX3889" fmla="*/ 6192680 w 9154202"/>
                <a:gd name="connsiteY3889" fmla="*/ 1483358 h 2112317"/>
                <a:gd name="connsiteX3890" fmla="*/ 6192680 w 9154202"/>
                <a:gd name="connsiteY3890" fmla="*/ 1482761 h 2112317"/>
                <a:gd name="connsiteX3891" fmla="*/ 6193278 w 9154202"/>
                <a:gd name="connsiteY3891" fmla="*/ 1481666 h 2112317"/>
                <a:gd name="connsiteX3892" fmla="*/ 6194175 w 9154202"/>
                <a:gd name="connsiteY3892" fmla="*/ 1480572 h 2112317"/>
                <a:gd name="connsiteX3893" fmla="*/ 6194973 w 9154202"/>
                <a:gd name="connsiteY3893" fmla="*/ 1480075 h 2112317"/>
                <a:gd name="connsiteX3894" fmla="*/ 6196367 w 9154202"/>
                <a:gd name="connsiteY3894" fmla="*/ 1480075 h 2112317"/>
                <a:gd name="connsiteX3895" fmla="*/ 6197065 w 9154202"/>
                <a:gd name="connsiteY3895" fmla="*/ 1480075 h 2112317"/>
                <a:gd name="connsiteX3896" fmla="*/ 6197065 w 9154202"/>
                <a:gd name="connsiteY3896" fmla="*/ 1480771 h 2112317"/>
                <a:gd name="connsiteX3897" fmla="*/ 6197563 w 9154202"/>
                <a:gd name="connsiteY3897" fmla="*/ 1481865 h 2112317"/>
                <a:gd name="connsiteX3898" fmla="*/ 6198260 w 9154202"/>
                <a:gd name="connsiteY3898" fmla="*/ 1484253 h 2112317"/>
                <a:gd name="connsiteX3899" fmla="*/ 6199058 w 9154202"/>
                <a:gd name="connsiteY3899" fmla="*/ 1489028 h 2112317"/>
                <a:gd name="connsiteX3900" fmla="*/ 6200154 w 9154202"/>
                <a:gd name="connsiteY3900" fmla="*/ 1490720 h 2112317"/>
                <a:gd name="connsiteX3901" fmla="*/ 6202545 w 9154202"/>
                <a:gd name="connsiteY3901" fmla="*/ 1491814 h 2112317"/>
                <a:gd name="connsiteX3902" fmla="*/ 6204837 w 9154202"/>
                <a:gd name="connsiteY3902" fmla="*/ 1491814 h 2112317"/>
                <a:gd name="connsiteX3903" fmla="*/ 6205833 w 9154202"/>
                <a:gd name="connsiteY3903" fmla="*/ 1491814 h 2112317"/>
                <a:gd name="connsiteX3904" fmla="*/ 6204438 w 9154202"/>
                <a:gd name="connsiteY3904" fmla="*/ 1493605 h 2112317"/>
                <a:gd name="connsiteX3905" fmla="*/ 6204438 w 9154202"/>
                <a:gd name="connsiteY3905" fmla="*/ 1493605 h 2112317"/>
                <a:gd name="connsiteX3906" fmla="*/ 6203243 w 9154202"/>
                <a:gd name="connsiteY3906" fmla="*/ 1493605 h 2112317"/>
                <a:gd name="connsiteX3907" fmla="*/ 6202047 w 9154202"/>
                <a:gd name="connsiteY3907" fmla="*/ 1493605 h 2112317"/>
                <a:gd name="connsiteX3908" fmla="*/ 6201449 w 9154202"/>
                <a:gd name="connsiteY3908" fmla="*/ 1494699 h 2112317"/>
                <a:gd name="connsiteX3909" fmla="*/ 6201449 w 9154202"/>
                <a:gd name="connsiteY3909" fmla="*/ 1495993 h 2112317"/>
                <a:gd name="connsiteX3910" fmla="*/ 6202047 w 9154202"/>
                <a:gd name="connsiteY3910" fmla="*/ 1496589 h 2112317"/>
                <a:gd name="connsiteX3911" fmla="*/ 6202944 w 9154202"/>
                <a:gd name="connsiteY3911" fmla="*/ 1496589 h 2112317"/>
                <a:gd name="connsiteX3912" fmla="*/ 6203940 w 9154202"/>
                <a:gd name="connsiteY3912" fmla="*/ 1497186 h 2112317"/>
                <a:gd name="connsiteX3913" fmla="*/ 6205136 w 9154202"/>
                <a:gd name="connsiteY3913" fmla="*/ 1497186 h 2112317"/>
                <a:gd name="connsiteX3914" fmla="*/ 6206232 w 9154202"/>
                <a:gd name="connsiteY3914" fmla="*/ 1497186 h 2112317"/>
                <a:gd name="connsiteX3915" fmla="*/ 6207826 w 9154202"/>
                <a:gd name="connsiteY3915" fmla="*/ 1497186 h 2112317"/>
                <a:gd name="connsiteX3916" fmla="*/ 6208424 w 9154202"/>
                <a:gd name="connsiteY3916" fmla="*/ 1499873 h 2112317"/>
                <a:gd name="connsiteX3917" fmla="*/ 6208424 w 9154202"/>
                <a:gd name="connsiteY3917" fmla="*/ 1500469 h 2112317"/>
                <a:gd name="connsiteX3918" fmla="*/ 6208424 w 9154202"/>
                <a:gd name="connsiteY3918" fmla="*/ 1500469 h 2112317"/>
                <a:gd name="connsiteX3919" fmla="*/ 6208922 w 9154202"/>
                <a:gd name="connsiteY3919" fmla="*/ 1501066 h 2112317"/>
                <a:gd name="connsiteX3920" fmla="*/ 6209720 w 9154202"/>
                <a:gd name="connsiteY3920" fmla="*/ 1501962 h 2112317"/>
                <a:gd name="connsiteX3921" fmla="*/ 6210816 w 9154202"/>
                <a:gd name="connsiteY3921" fmla="*/ 1502658 h 2112317"/>
                <a:gd name="connsiteX3922" fmla="*/ 6211613 w 9154202"/>
                <a:gd name="connsiteY3922" fmla="*/ 1503554 h 2112317"/>
                <a:gd name="connsiteX3923" fmla="*/ 6211115 w 9154202"/>
                <a:gd name="connsiteY3923" fmla="*/ 1505046 h 2112317"/>
                <a:gd name="connsiteX3924" fmla="*/ 6210517 w 9154202"/>
                <a:gd name="connsiteY3924" fmla="*/ 1506240 h 2112317"/>
                <a:gd name="connsiteX3925" fmla="*/ 6210517 w 9154202"/>
                <a:gd name="connsiteY3925" fmla="*/ 1507434 h 2112317"/>
                <a:gd name="connsiteX3926" fmla="*/ 6210517 w 9154202"/>
                <a:gd name="connsiteY3926" fmla="*/ 1508727 h 2112317"/>
                <a:gd name="connsiteX3927" fmla="*/ 6210517 w 9154202"/>
                <a:gd name="connsiteY3927" fmla="*/ 1510020 h 2112317"/>
                <a:gd name="connsiteX3928" fmla="*/ 6211713 w 9154202"/>
                <a:gd name="connsiteY3928" fmla="*/ 1512308 h 2112317"/>
                <a:gd name="connsiteX3929" fmla="*/ 6213506 w 9154202"/>
                <a:gd name="connsiteY3929" fmla="*/ 1514099 h 2112317"/>
                <a:gd name="connsiteX3930" fmla="*/ 6215599 w 9154202"/>
                <a:gd name="connsiteY3930" fmla="*/ 1515492 h 2112317"/>
                <a:gd name="connsiteX3931" fmla="*/ 6217591 w 9154202"/>
                <a:gd name="connsiteY3931" fmla="*/ 1516586 h 2112317"/>
                <a:gd name="connsiteX3932" fmla="*/ 6215698 w 9154202"/>
                <a:gd name="connsiteY3932" fmla="*/ 1517382 h 2112317"/>
                <a:gd name="connsiteX3933" fmla="*/ 6214901 w 9154202"/>
                <a:gd name="connsiteY3933" fmla="*/ 1517382 h 2112317"/>
                <a:gd name="connsiteX3934" fmla="*/ 6214901 w 9154202"/>
                <a:gd name="connsiteY3934" fmla="*/ 1518576 h 2112317"/>
                <a:gd name="connsiteX3935" fmla="*/ 6216097 w 9154202"/>
                <a:gd name="connsiteY3935" fmla="*/ 1518576 h 2112317"/>
                <a:gd name="connsiteX3936" fmla="*/ 6217193 w 9154202"/>
                <a:gd name="connsiteY3936" fmla="*/ 1518576 h 2112317"/>
                <a:gd name="connsiteX3937" fmla="*/ 6219186 w 9154202"/>
                <a:gd name="connsiteY3937" fmla="*/ 1519472 h 2112317"/>
                <a:gd name="connsiteX3938" fmla="*/ 6218488 w 9154202"/>
                <a:gd name="connsiteY3938" fmla="*/ 1521760 h 2112317"/>
                <a:gd name="connsiteX3939" fmla="*/ 6219385 w 9154202"/>
                <a:gd name="connsiteY3939" fmla="*/ 1523451 h 2112317"/>
                <a:gd name="connsiteX3940" fmla="*/ 6221079 w 9154202"/>
                <a:gd name="connsiteY3940" fmla="*/ 1524545 h 2112317"/>
                <a:gd name="connsiteX3941" fmla="*/ 6225563 w 9154202"/>
                <a:gd name="connsiteY3941" fmla="*/ 1525441 h 2112317"/>
                <a:gd name="connsiteX3942" fmla="*/ 6226360 w 9154202"/>
                <a:gd name="connsiteY3942" fmla="*/ 1526933 h 2112317"/>
                <a:gd name="connsiteX3943" fmla="*/ 6226360 w 9154202"/>
                <a:gd name="connsiteY3943" fmla="*/ 1529122 h 2112317"/>
                <a:gd name="connsiteX3944" fmla="*/ 6225563 w 9154202"/>
                <a:gd name="connsiteY3944" fmla="*/ 1531609 h 2112317"/>
                <a:gd name="connsiteX3945" fmla="*/ 6227257 w 9154202"/>
                <a:gd name="connsiteY3945" fmla="*/ 1532106 h 2112317"/>
                <a:gd name="connsiteX3946" fmla="*/ 6227755 w 9154202"/>
                <a:gd name="connsiteY3946" fmla="*/ 1533499 h 2112317"/>
                <a:gd name="connsiteX3947" fmla="*/ 6227755 w 9154202"/>
                <a:gd name="connsiteY3947" fmla="*/ 1535091 h 2112317"/>
                <a:gd name="connsiteX3948" fmla="*/ 6227755 w 9154202"/>
                <a:gd name="connsiteY3948" fmla="*/ 1536086 h 2112317"/>
                <a:gd name="connsiteX3949" fmla="*/ 6229449 w 9154202"/>
                <a:gd name="connsiteY3949" fmla="*/ 1536086 h 2112317"/>
                <a:gd name="connsiteX3950" fmla="*/ 6230944 w 9154202"/>
                <a:gd name="connsiteY3950" fmla="*/ 1535389 h 2112317"/>
                <a:gd name="connsiteX3951" fmla="*/ 6232438 w 9154202"/>
                <a:gd name="connsiteY3951" fmla="*/ 1534295 h 2112317"/>
                <a:gd name="connsiteX3952" fmla="*/ 6233833 w 9154202"/>
                <a:gd name="connsiteY3952" fmla="*/ 1533599 h 2112317"/>
                <a:gd name="connsiteX3953" fmla="*/ 6237720 w 9154202"/>
                <a:gd name="connsiteY3953" fmla="*/ 1533599 h 2112317"/>
                <a:gd name="connsiteX3954" fmla="*/ 6239015 w 9154202"/>
                <a:gd name="connsiteY3954" fmla="*/ 1533599 h 2112317"/>
                <a:gd name="connsiteX3955" fmla="*/ 6239912 w 9154202"/>
                <a:gd name="connsiteY3955" fmla="*/ 1532604 h 2112317"/>
                <a:gd name="connsiteX3956" fmla="*/ 6239912 w 9154202"/>
                <a:gd name="connsiteY3956" fmla="*/ 1531211 h 2112317"/>
                <a:gd name="connsiteX3957" fmla="*/ 6239215 w 9154202"/>
                <a:gd name="connsiteY3957" fmla="*/ 1529719 h 2112317"/>
                <a:gd name="connsiteX3958" fmla="*/ 6237321 w 9154202"/>
                <a:gd name="connsiteY3958" fmla="*/ 1527132 h 2112317"/>
                <a:gd name="connsiteX3959" fmla="*/ 6239812 w 9154202"/>
                <a:gd name="connsiteY3959" fmla="*/ 1527132 h 2112317"/>
                <a:gd name="connsiteX3960" fmla="*/ 6241207 w 9154202"/>
                <a:gd name="connsiteY3960" fmla="*/ 1528724 h 2112317"/>
                <a:gd name="connsiteX3961" fmla="*/ 6242502 w 9154202"/>
                <a:gd name="connsiteY3961" fmla="*/ 1533499 h 2112317"/>
                <a:gd name="connsiteX3962" fmla="*/ 6243100 w 9154202"/>
                <a:gd name="connsiteY3962" fmla="*/ 1534892 h 2112317"/>
                <a:gd name="connsiteX3963" fmla="*/ 6243100 w 9154202"/>
                <a:gd name="connsiteY3963" fmla="*/ 1535688 h 2112317"/>
                <a:gd name="connsiteX3964" fmla="*/ 6243100 w 9154202"/>
                <a:gd name="connsiteY3964" fmla="*/ 1536484 h 2112317"/>
                <a:gd name="connsiteX3965" fmla="*/ 6243100 w 9154202"/>
                <a:gd name="connsiteY3965" fmla="*/ 1538076 h 2112317"/>
                <a:gd name="connsiteX3966" fmla="*/ 6243100 w 9154202"/>
                <a:gd name="connsiteY3966" fmla="*/ 1539966 h 2112317"/>
                <a:gd name="connsiteX3967" fmla="*/ 6243100 w 9154202"/>
                <a:gd name="connsiteY3967" fmla="*/ 1540961 h 2112317"/>
                <a:gd name="connsiteX3968" fmla="*/ 6243100 w 9154202"/>
                <a:gd name="connsiteY3968" fmla="*/ 1541856 h 2112317"/>
                <a:gd name="connsiteX3969" fmla="*/ 6241905 w 9154202"/>
                <a:gd name="connsiteY3969" fmla="*/ 1548024 h 2112317"/>
                <a:gd name="connsiteX3970" fmla="*/ 6241905 w 9154202"/>
                <a:gd name="connsiteY3970" fmla="*/ 1550611 h 2112317"/>
                <a:gd name="connsiteX3971" fmla="*/ 6242602 w 9154202"/>
                <a:gd name="connsiteY3971" fmla="*/ 1553397 h 2112317"/>
                <a:gd name="connsiteX3972" fmla="*/ 6246189 w 9154202"/>
                <a:gd name="connsiteY3972" fmla="*/ 1557874 h 2112317"/>
                <a:gd name="connsiteX3973" fmla="*/ 6246987 w 9154202"/>
                <a:gd name="connsiteY3973" fmla="*/ 1560062 h 2112317"/>
                <a:gd name="connsiteX3974" fmla="*/ 6245093 w 9154202"/>
                <a:gd name="connsiteY3974" fmla="*/ 1562152 h 2112317"/>
                <a:gd name="connsiteX3975" fmla="*/ 6245891 w 9154202"/>
                <a:gd name="connsiteY3975" fmla="*/ 1563843 h 2112317"/>
                <a:gd name="connsiteX3976" fmla="*/ 6246887 w 9154202"/>
                <a:gd name="connsiteY3976" fmla="*/ 1565136 h 2112317"/>
                <a:gd name="connsiteX3977" fmla="*/ 6248182 w 9154202"/>
                <a:gd name="connsiteY3977" fmla="*/ 1566131 h 2112317"/>
                <a:gd name="connsiteX3978" fmla="*/ 6249577 w 9154202"/>
                <a:gd name="connsiteY3978" fmla="*/ 1566629 h 2112317"/>
                <a:gd name="connsiteX3979" fmla="*/ 6250275 w 9154202"/>
                <a:gd name="connsiteY3979" fmla="*/ 1564340 h 2112317"/>
                <a:gd name="connsiteX3980" fmla="*/ 6250275 w 9154202"/>
                <a:gd name="connsiteY3980" fmla="*/ 1562052 h 2112317"/>
                <a:gd name="connsiteX3981" fmla="*/ 6249677 w 9154202"/>
                <a:gd name="connsiteY3981" fmla="*/ 1559764 h 2112317"/>
                <a:gd name="connsiteX3982" fmla="*/ 6248581 w 9154202"/>
                <a:gd name="connsiteY3982" fmla="*/ 1557774 h 2112317"/>
                <a:gd name="connsiteX3983" fmla="*/ 6249976 w 9154202"/>
                <a:gd name="connsiteY3983" fmla="*/ 1557774 h 2112317"/>
                <a:gd name="connsiteX3984" fmla="*/ 6251271 w 9154202"/>
                <a:gd name="connsiteY3984" fmla="*/ 1557774 h 2112317"/>
                <a:gd name="connsiteX3985" fmla="*/ 6252567 w 9154202"/>
                <a:gd name="connsiteY3985" fmla="*/ 1557774 h 2112317"/>
                <a:gd name="connsiteX3986" fmla="*/ 6253762 w 9154202"/>
                <a:gd name="connsiteY3986" fmla="*/ 1558272 h 2112317"/>
                <a:gd name="connsiteX3987" fmla="*/ 6252567 w 9154202"/>
                <a:gd name="connsiteY3987" fmla="*/ 1560560 h 2112317"/>
                <a:gd name="connsiteX3988" fmla="*/ 6252567 w 9154202"/>
                <a:gd name="connsiteY3988" fmla="*/ 1562450 h 2112317"/>
                <a:gd name="connsiteX3989" fmla="*/ 6253164 w 9154202"/>
                <a:gd name="connsiteY3989" fmla="*/ 1566629 h 2112317"/>
                <a:gd name="connsiteX3990" fmla="*/ 6253962 w 9154202"/>
                <a:gd name="connsiteY3990" fmla="*/ 1568519 h 2112317"/>
                <a:gd name="connsiteX3991" fmla="*/ 6255855 w 9154202"/>
                <a:gd name="connsiteY3991" fmla="*/ 1568519 h 2112317"/>
                <a:gd name="connsiteX3992" fmla="*/ 6259642 w 9154202"/>
                <a:gd name="connsiteY3992" fmla="*/ 1567922 h 2112317"/>
                <a:gd name="connsiteX3993" fmla="*/ 6261136 w 9154202"/>
                <a:gd name="connsiteY3993" fmla="*/ 1568419 h 2112317"/>
                <a:gd name="connsiteX3994" fmla="*/ 6262930 w 9154202"/>
                <a:gd name="connsiteY3994" fmla="*/ 1570608 h 2112317"/>
                <a:gd name="connsiteX3995" fmla="*/ 6269008 w 9154202"/>
                <a:gd name="connsiteY3995" fmla="*/ 1572001 h 2112317"/>
                <a:gd name="connsiteX3996" fmla="*/ 6270602 w 9154202"/>
                <a:gd name="connsiteY3996" fmla="*/ 1572001 h 2112317"/>
                <a:gd name="connsiteX3997" fmla="*/ 6271399 w 9154202"/>
                <a:gd name="connsiteY3997" fmla="*/ 1570509 h 2112317"/>
                <a:gd name="connsiteX3998" fmla="*/ 6270702 w 9154202"/>
                <a:gd name="connsiteY3998" fmla="*/ 1569215 h 2112317"/>
                <a:gd name="connsiteX3999" fmla="*/ 6269506 w 9154202"/>
                <a:gd name="connsiteY3999" fmla="*/ 1568419 h 2112317"/>
                <a:gd name="connsiteX4000" fmla="*/ 6268211 w 9154202"/>
                <a:gd name="connsiteY4000" fmla="*/ 1567524 h 2112317"/>
                <a:gd name="connsiteX4001" fmla="*/ 6268211 w 9154202"/>
                <a:gd name="connsiteY4001" fmla="*/ 1565634 h 2112317"/>
                <a:gd name="connsiteX4002" fmla="*/ 6269008 w 9154202"/>
                <a:gd name="connsiteY4002" fmla="*/ 1563544 h 2112317"/>
                <a:gd name="connsiteX4003" fmla="*/ 6270602 w 9154202"/>
                <a:gd name="connsiteY4003" fmla="*/ 1562351 h 2112317"/>
                <a:gd name="connsiteX4004" fmla="*/ 6274289 w 9154202"/>
                <a:gd name="connsiteY4004" fmla="*/ 1561157 h 2112317"/>
                <a:gd name="connsiteX4005" fmla="*/ 6277777 w 9154202"/>
                <a:gd name="connsiteY4005" fmla="*/ 1561157 h 2112317"/>
                <a:gd name="connsiteX4006" fmla="*/ 6281563 w 9154202"/>
                <a:gd name="connsiteY4006" fmla="*/ 1562052 h 2112317"/>
                <a:gd name="connsiteX4007" fmla="*/ 6284054 w 9154202"/>
                <a:gd name="connsiteY4007" fmla="*/ 1564440 h 2112317"/>
                <a:gd name="connsiteX4008" fmla="*/ 6284054 w 9154202"/>
                <a:gd name="connsiteY4008" fmla="*/ 1568220 h 2112317"/>
                <a:gd name="connsiteX4009" fmla="*/ 6285748 w 9154202"/>
                <a:gd name="connsiteY4009" fmla="*/ 1569116 h 2112317"/>
                <a:gd name="connsiteX4010" fmla="*/ 6286944 w 9154202"/>
                <a:gd name="connsiteY4010" fmla="*/ 1570708 h 2112317"/>
                <a:gd name="connsiteX4011" fmla="*/ 6287741 w 9154202"/>
                <a:gd name="connsiteY4011" fmla="*/ 1572697 h 2112317"/>
                <a:gd name="connsiteX4012" fmla="*/ 6288439 w 9154202"/>
                <a:gd name="connsiteY4012" fmla="*/ 1574787 h 2112317"/>
                <a:gd name="connsiteX4013" fmla="*/ 6283457 w 9154202"/>
                <a:gd name="connsiteY4013" fmla="*/ 1582348 h 2112317"/>
                <a:gd name="connsiteX4014" fmla="*/ 6281862 w 9154202"/>
                <a:gd name="connsiteY4014" fmla="*/ 1583542 h 2112317"/>
                <a:gd name="connsiteX4015" fmla="*/ 6279171 w 9154202"/>
                <a:gd name="connsiteY4015" fmla="*/ 1584536 h 2112317"/>
                <a:gd name="connsiteX4016" fmla="*/ 6276979 w 9154202"/>
                <a:gd name="connsiteY4016" fmla="*/ 1586924 h 2112317"/>
                <a:gd name="connsiteX4017" fmla="*/ 6276382 w 9154202"/>
                <a:gd name="connsiteY4017" fmla="*/ 1589511 h 2112317"/>
                <a:gd name="connsiteX4018" fmla="*/ 6278873 w 9154202"/>
                <a:gd name="connsiteY4018" fmla="*/ 1591202 h 2112317"/>
                <a:gd name="connsiteX4019" fmla="*/ 6278075 w 9154202"/>
                <a:gd name="connsiteY4019" fmla="*/ 1592893 h 2112317"/>
                <a:gd name="connsiteX4020" fmla="*/ 6278075 w 9154202"/>
                <a:gd name="connsiteY4020" fmla="*/ 1595281 h 2112317"/>
                <a:gd name="connsiteX4021" fmla="*/ 6278673 w 9154202"/>
                <a:gd name="connsiteY4021" fmla="*/ 1596574 h 2112317"/>
                <a:gd name="connsiteX4022" fmla="*/ 6279969 w 9154202"/>
                <a:gd name="connsiteY4022" fmla="*/ 1597569 h 2112317"/>
                <a:gd name="connsiteX4023" fmla="*/ 6280467 w 9154202"/>
                <a:gd name="connsiteY4023" fmla="*/ 1596077 h 2112317"/>
                <a:gd name="connsiteX4024" fmla="*/ 6281164 w 9154202"/>
                <a:gd name="connsiteY4024" fmla="*/ 1595281 h 2112317"/>
                <a:gd name="connsiteX4025" fmla="*/ 6282859 w 9154202"/>
                <a:gd name="connsiteY4025" fmla="*/ 1593689 h 2112317"/>
                <a:gd name="connsiteX4026" fmla="*/ 6284353 w 9154202"/>
                <a:gd name="connsiteY4026" fmla="*/ 1592993 h 2112317"/>
                <a:gd name="connsiteX4027" fmla="*/ 6285150 w 9154202"/>
                <a:gd name="connsiteY4027" fmla="*/ 1593988 h 2112317"/>
                <a:gd name="connsiteX4028" fmla="*/ 6285848 w 9154202"/>
                <a:gd name="connsiteY4028" fmla="*/ 1595579 h 2112317"/>
                <a:gd name="connsiteX4029" fmla="*/ 6286744 w 9154202"/>
                <a:gd name="connsiteY4029" fmla="*/ 1596475 h 2112317"/>
                <a:gd name="connsiteX4030" fmla="*/ 6288040 w 9154202"/>
                <a:gd name="connsiteY4030" fmla="*/ 1596475 h 2112317"/>
                <a:gd name="connsiteX4031" fmla="*/ 6288937 w 9154202"/>
                <a:gd name="connsiteY4031" fmla="*/ 1596475 h 2112317"/>
                <a:gd name="connsiteX4032" fmla="*/ 6289634 w 9154202"/>
                <a:gd name="connsiteY4032" fmla="*/ 1596475 h 2112317"/>
                <a:gd name="connsiteX4033" fmla="*/ 6290332 w 9154202"/>
                <a:gd name="connsiteY4033" fmla="*/ 1597072 h 2112317"/>
                <a:gd name="connsiteX4034" fmla="*/ 6290332 w 9154202"/>
                <a:gd name="connsiteY4034" fmla="*/ 1597569 h 2112317"/>
                <a:gd name="connsiteX4035" fmla="*/ 6292324 w 9154202"/>
                <a:gd name="connsiteY4035" fmla="*/ 1601051 h 2112317"/>
                <a:gd name="connsiteX4036" fmla="*/ 6292823 w 9154202"/>
                <a:gd name="connsiteY4036" fmla="*/ 1601051 h 2112317"/>
                <a:gd name="connsiteX4037" fmla="*/ 6292126 w 9154202"/>
                <a:gd name="connsiteY4037" fmla="*/ 1605130 h 2112317"/>
                <a:gd name="connsiteX4038" fmla="*/ 6288737 w 9154202"/>
                <a:gd name="connsiteY4038" fmla="*/ 1606623 h 2112317"/>
                <a:gd name="connsiteX4039" fmla="*/ 6284154 w 9154202"/>
                <a:gd name="connsiteY4039" fmla="*/ 1606623 h 2112317"/>
                <a:gd name="connsiteX4040" fmla="*/ 6279869 w 9154202"/>
                <a:gd name="connsiteY4040" fmla="*/ 1605727 h 2112317"/>
                <a:gd name="connsiteX4041" fmla="*/ 6280467 w 9154202"/>
                <a:gd name="connsiteY4041" fmla="*/ 1607319 h 2112317"/>
                <a:gd name="connsiteX4042" fmla="*/ 6281464 w 9154202"/>
                <a:gd name="connsiteY4042" fmla="*/ 1608612 h 2112317"/>
                <a:gd name="connsiteX4043" fmla="*/ 6282659 w 9154202"/>
                <a:gd name="connsiteY4043" fmla="*/ 1609508 h 2112317"/>
                <a:gd name="connsiteX4044" fmla="*/ 6284054 w 9154202"/>
                <a:gd name="connsiteY4044" fmla="*/ 1609508 h 2112317"/>
                <a:gd name="connsiteX4045" fmla="*/ 6283157 w 9154202"/>
                <a:gd name="connsiteY4045" fmla="*/ 1609508 h 2112317"/>
                <a:gd name="connsiteX4046" fmla="*/ 6283157 w 9154202"/>
                <a:gd name="connsiteY4046" fmla="*/ 1609508 h 2112317"/>
                <a:gd name="connsiteX4047" fmla="*/ 6283157 w 9154202"/>
                <a:gd name="connsiteY4047" fmla="*/ 1610105 h 2112317"/>
                <a:gd name="connsiteX4048" fmla="*/ 6284054 w 9154202"/>
                <a:gd name="connsiteY4048" fmla="*/ 1610801 h 2112317"/>
                <a:gd name="connsiteX4049" fmla="*/ 6285748 w 9154202"/>
                <a:gd name="connsiteY4049" fmla="*/ 1612791 h 2112317"/>
                <a:gd name="connsiteX4050" fmla="*/ 6286645 w 9154202"/>
                <a:gd name="connsiteY4050" fmla="*/ 1613487 h 2112317"/>
                <a:gd name="connsiteX4051" fmla="*/ 6291627 w 9154202"/>
                <a:gd name="connsiteY4051" fmla="*/ 1615079 h 2112317"/>
                <a:gd name="connsiteX4052" fmla="*/ 6293122 w 9154202"/>
                <a:gd name="connsiteY4052" fmla="*/ 1616273 h 2112317"/>
                <a:gd name="connsiteX4053" fmla="*/ 6293720 w 9154202"/>
                <a:gd name="connsiteY4053" fmla="*/ 1617566 h 2112317"/>
                <a:gd name="connsiteX4054" fmla="*/ 6293720 w 9154202"/>
                <a:gd name="connsiteY4054" fmla="*/ 1619058 h 2112317"/>
                <a:gd name="connsiteX4055" fmla="*/ 6293720 w 9154202"/>
                <a:gd name="connsiteY4055" fmla="*/ 1620650 h 2112317"/>
                <a:gd name="connsiteX4056" fmla="*/ 6295215 w 9154202"/>
                <a:gd name="connsiteY4056" fmla="*/ 1622342 h 2112317"/>
                <a:gd name="connsiteX4057" fmla="*/ 6296809 w 9154202"/>
                <a:gd name="connsiteY4057" fmla="*/ 1622342 h 2112317"/>
                <a:gd name="connsiteX4058" fmla="*/ 6300495 w 9154202"/>
                <a:gd name="connsiteY4058" fmla="*/ 1622342 h 2112317"/>
                <a:gd name="connsiteX4059" fmla="*/ 6301791 w 9154202"/>
                <a:gd name="connsiteY4059" fmla="*/ 1623137 h 2112317"/>
                <a:gd name="connsiteX4060" fmla="*/ 6302389 w 9154202"/>
                <a:gd name="connsiteY4060" fmla="*/ 1625824 h 2112317"/>
                <a:gd name="connsiteX4061" fmla="*/ 6302389 w 9154202"/>
                <a:gd name="connsiteY4061" fmla="*/ 1629007 h 2112317"/>
                <a:gd name="connsiteX4062" fmla="*/ 6302389 w 9154202"/>
                <a:gd name="connsiteY4062" fmla="*/ 1631793 h 2112317"/>
                <a:gd name="connsiteX4063" fmla="*/ 6304680 w 9154202"/>
                <a:gd name="connsiteY4063" fmla="*/ 1633683 h 2112317"/>
                <a:gd name="connsiteX4064" fmla="*/ 6306075 w 9154202"/>
                <a:gd name="connsiteY4064" fmla="*/ 1633186 h 2112317"/>
                <a:gd name="connsiteX4065" fmla="*/ 6309264 w 9154202"/>
                <a:gd name="connsiteY4065" fmla="*/ 1631494 h 2112317"/>
                <a:gd name="connsiteX4066" fmla="*/ 6309962 w 9154202"/>
                <a:gd name="connsiteY4066" fmla="*/ 1631494 h 2112317"/>
                <a:gd name="connsiteX4067" fmla="*/ 6310559 w 9154202"/>
                <a:gd name="connsiteY4067" fmla="*/ 1632489 h 2112317"/>
                <a:gd name="connsiteX4068" fmla="*/ 6312054 w 9154202"/>
                <a:gd name="connsiteY4068" fmla="*/ 1633385 h 2112317"/>
                <a:gd name="connsiteX4069" fmla="*/ 6313748 w 9154202"/>
                <a:gd name="connsiteY4069" fmla="*/ 1633982 h 2112317"/>
                <a:gd name="connsiteX4070" fmla="*/ 6315143 w 9154202"/>
                <a:gd name="connsiteY4070" fmla="*/ 1633982 h 2112317"/>
                <a:gd name="connsiteX4071" fmla="*/ 6314147 w 9154202"/>
                <a:gd name="connsiteY4071" fmla="*/ 1636867 h 2112317"/>
                <a:gd name="connsiteX4072" fmla="*/ 6314147 w 9154202"/>
                <a:gd name="connsiteY4072" fmla="*/ 1638558 h 2112317"/>
                <a:gd name="connsiteX4073" fmla="*/ 6316538 w 9154202"/>
                <a:gd name="connsiteY4073" fmla="*/ 1640747 h 2112317"/>
                <a:gd name="connsiteX4074" fmla="*/ 6317335 w 9154202"/>
                <a:gd name="connsiteY4074" fmla="*/ 1640747 h 2112317"/>
                <a:gd name="connsiteX4075" fmla="*/ 6318033 w 9154202"/>
                <a:gd name="connsiteY4075" fmla="*/ 1640747 h 2112317"/>
                <a:gd name="connsiteX4076" fmla="*/ 6318730 w 9154202"/>
                <a:gd name="connsiteY4076" fmla="*/ 1640747 h 2112317"/>
                <a:gd name="connsiteX4077" fmla="*/ 6318730 w 9154202"/>
                <a:gd name="connsiteY4077" fmla="*/ 1642140 h 2112317"/>
                <a:gd name="connsiteX4078" fmla="*/ 6318730 w 9154202"/>
                <a:gd name="connsiteY4078" fmla="*/ 1642836 h 2112317"/>
                <a:gd name="connsiteX4079" fmla="*/ 6317634 w 9154202"/>
                <a:gd name="connsiteY4079" fmla="*/ 1643532 h 2112317"/>
                <a:gd name="connsiteX4080" fmla="*/ 6316339 w 9154202"/>
                <a:gd name="connsiteY4080" fmla="*/ 1643532 h 2112317"/>
                <a:gd name="connsiteX4081" fmla="*/ 6315641 w 9154202"/>
                <a:gd name="connsiteY4081" fmla="*/ 1643532 h 2112317"/>
                <a:gd name="connsiteX4082" fmla="*/ 6317634 w 9154202"/>
                <a:gd name="connsiteY4082" fmla="*/ 1644527 h 2112317"/>
                <a:gd name="connsiteX4083" fmla="*/ 6319428 w 9154202"/>
                <a:gd name="connsiteY4083" fmla="*/ 1645025 h 2112317"/>
                <a:gd name="connsiteX4084" fmla="*/ 6320823 w 9154202"/>
                <a:gd name="connsiteY4084" fmla="*/ 1645821 h 2112317"/>
                <a:gd name="connsiteX4085" fmla="*/ 6321720 w 9154202"/>
                <a:gd name="connsiteY4085" fmla="*/ 1648009 h 2112317"/>
                <a:gd name="connsiteX4086" fmla="*/ 6321720 w 9154202"/>
                <a:gd name="connsiteY4086" fmla="*/ 1649900 h 2112317"/>
                <a:gd name="connsiteX4087" fmla="*/ 6320823 w 9154202"/>
                <a:gd name="connsiteY4087" fmla="*/ 1651093 h 2112317"/>
                <a:gd name="connsiteX4088" fmla="*/ 6320823 w 9154202"/>
                <a:gd name="connsiteY4088" fmla="*/ 1652188 h 2112317"/>
                <a:gd name="connsiteX4089" fmla="*/ 6323015 w 9154202"/>
                <a:gd name="connsiteY4089" fmla="*/ 1653481 h 2112317"/>
                <a:gd name="connsiteX4090" fmla="*/ 6326403 w 9154202"/>
                <a:gd name="connsiteY4090" fmla="*/ 1653481 h 2112317"/>
                <a:gd name="connsiteX4091" fmla="*/ 6328993 w 9154202"/>
                <a:gd name="connsiteY4091" fmla="*/ 1651093 h 2112317"/>
                <a:gd name="connsiteX4092" fmla="*/ 6328993 w 9154202"/>
                <a:gd name="connsiteY4092" fmla="*/ 1647810 h 2112317"/>
                <a:gd name="connsiteX4093" fmla="*/ 6326104 w 9154202"/>
                <a:gd name="connsiteY4093" fmla="*/ 1644826 h 2112317"/>
                <a:gd name="connsiteX4094" fmla="*/ 6331385 w 9154202"/>
                <a:gd name="connsiteY4094" fmla="*/ 1642140 h 2112317"/>
                <a:gd name="connsiteX4095" fmla="*/ 6332082 w 9154202"/>
                <a:gd name="connsiteY4095" fmla="*/ 1641543 h 2112317"/>
                <a:gd name="connsiteX4096" fmla="*/ 6333179 w 9154202"/>
                <a:gd name="connsiteY4096" fmla="*/ 1643234 h 2112317"/>
                <a:gd name="connsiteX4097" fmla="*/ 6333179 w 9154202"/>
                <a:gd name="connsiteY4097" fmla="*/ 1645721 h 2112317"/>
                <a:gd name="connsiteX4098" fmla="*/ 6333179 w 9154202"/>
                <a:gd name="connsiteY4098" fmla="*/ 1648208 h 2112317"/>
                <a:gd name="connsiteX4099" fmla="*/ 6332581 w 9154202"/>
                <a:gd name="connsiteY4099" fmla="*/ 1649800 h 2112317"/>
                <a:gd name="connsiteX4100" fmla="*/ 6329193 w 9154202"/>
                <a:gd name="connsiteY4100" fmla="*/ 1652984 h 2112317"/>
                <a:gd name="connsiteX4101" fmla="*/ 6327897 w 9154202"/>
                <a:gd name="connsiteY4101" fmla="*/ 1655272 h 2112317"/>
                <a:gd name="connsiteX4102" fmla="*/ 6327897 w 9154202"/>
                <a:gd name="connsiteY4102" fmla="*/ 1657461 h 2112317"/>
                <a:gd name="connsiteX4103" fmla="*/ 6329791 w 9154202"/>
                <a:gd name="connsiteY4103" fmla="*/ 1658853 h 2112317"/>
                <a:gd name="connsiteX4104" fmla="*/ 6334175 w 9154202"/>
                <a:gd name="connsiteY4104" fmla="*/ 1660744 h 2112317"/>
                <a:gd name="connsiteX4105" fmla="*/ 6335271 w 9154202"/>
                <a:gd name="connsiteY4105" fmla="*/ 1662336 h 2112317"/>
                <a:gd name="connsiteX4106" fmla="*/ 6325307 w 9154202"/>
                <a:gd name="connsiteY4106" fmla="*/ 1662833 h 2112317"/>
                <a:gd name="connsiteX4107" fmla="*/ 6322019 w 9154202"/>
                <a:gd name="connsiteY4107" fmla="*/ 1660943 h 2112317"/>
                <a:gd name="connsiteX4108" fmla="*/ 6320624 w 9154202"/>
                <a:gd name="connsiteY4108" fmla="*/ 1660943 h 2112317"/>
                <a:gd name="connsiteX4109" fmla="*/ 6318631 w 9154202"/>
                <a:gd name="connsiteY4109" fmla="*/ 1662037 h 2112317"/>
                <a:gd name="connsiteX4110" fmla="*/ 6317734 w 9154202"/>
                <a:gd name="connsiteY4110" fmla="*/ 1662037 h 2112317"/>
                <a:gd name="connsiteX4111" fmla="*/ 6317734 w 9154202"/>
                <a:gd name="connsiteY4111" fmla="*/ 1664922 h 2112317"/>
                <a:gd name="connsiteX4112" fmla="*/ 6317235 w 9154202"/>
                <a:gd name="connsiteY4112" fmla="*/ 1664922 h 2112317"/>
                <a:gd name="connsiteX4113" fmla="*/ 6308368 w 9154202"/>
                <a:gd name="connsiteY4113" fmla="*/ 1664922 h 2112317"/>
                <a:gd name="connsiteX4114" fmla="*/ 6307271 w 9154202"/>
                <a:gd name="connsiteY4114" fmla="*/ 1664922 h 2112317"/>
                <a:gd name="connsiteX4115" fmla="*/ 6307271 w 9154202"/>
                <a:gd name="connsiteY4115" fmla="*/ 1663330 h 2112317"/>
                <a:gd name="connsiteX4116" fmla="*/ 6307969 w 9154202"/>
                <a:gd name="connsiteY4116" fmla="*/ 1661142 h 2112317"/>
                <a:gd name="connsiteX4117" fmla="*/ 6307969 w 9154202"/>
                <a:gd name="connsiteY4117" fmla="*/ 1659052 h 2112317"/>
                <a:gd name="connsiteX4118" fmla="*/ 6306573 w 9154202"/>
                <a:gd name="connsiteY4118" fmla="*/ 1658257 h 2112317"/>
                <a:gd name="connsiteX4119" fmla="*/ 6301392 w 9154202"/>
                <a:gd name="connsiteY4119" fmla="*/ 1658257 h 2112317"/>
                <a:gd name="connsiteX4120" fmla="*/ 6299499 w 9154202"/>
                <a:gd name="connsiteY4120" fmla="*/ 1658257 h 2112317"/>
                <a:gd name="connsiteX4121" fmla="*/ 6299499 w 9154202"/>
                <a:gd name="connsiteY4121" fmla="*/ 1657560 h 2112317"/>
                <a:gd name="connsiteX4122" fmla="*/ 6300296 w 9154202"/>
                <a:gd name="connsiteY4122" fmla="*/ 1656565 h 2112317"/>
                <a:gd name="connsiteX4123" fmla="*/ 6300993 w 9154202"/>
                <a:gd name="connsiteY4123" fmla="*/ 1655272 h 2112317"/>
                <a:gd name="connsiteX4124" fmla="*/ 6301591 w 9154202"/>
                <a:gd name="connsiteY4124" fmla="*/ 1654476 h 2112317"/>
                <a:gd name="connsiteX4125" fmla="*/ 6302389 w 9154202"/>
                <a:gd name="connsiteY4125" fmla="*/ 1653680 h 2112317"/>
                <a:gd name="connsiteX4126" fmla="*/ 6302389 w 9154202"/>
                <a:gd name="connsiteY4126" fmla="*/ 1652586 h 2112317"/>
                <a:gd name="connsiteX4127" fmla="*/ 6301392 w 9154202"/>
                <a:gd name="connsiteY4127" fmla="*/ 1650795 h 2112317"/>
                <a:gd name="connsiteX4128" fmla="*/ 6300097 w 9154202"/>
                <a:gd name="connsiteY4128" fmla="*/ 1649800 h 2112317"/>
                <a:gd name="connsiteX4129" fmla="*/ 6298303 w 9154202"/>
                <a:gd name="connsiteY4129" fmla="*/ 1649800 h 2112317"/>
                <a:gd name="connsiteX4130" fmla="*/ 6293421 w 9154202"/>
                <a:gd name="connsiteY4130" fmla="*/ 1649800 h 2112317"/>
                <a:gd name="connsiteX4131" fmla="*/ 6290930 w 9154202"/>
                <a:gd name="connsiteY4131" fmla="*/ 1650497 h 2112317"/>
                <a:gd name="connsiteX4132" fmla="*/ 6289734 w 9154202"/>
                <a:gd name="connsiteY4132" fmla="*/ 1650497 h 2112317"/>
                <a:gd name="connsiteX4133" fmla="*/ 6288140 w 9154202"/>
                <a:gd name="connsiteY4133" fmla="*/ 1651193 h 2112317"/>
                <a:gd name="connsiteX4134" fmla="*/ 6287243 w 9154202"/>
                <a:gd name="connsiteY4134" fmla="*/ 1652884 h 2112317"/>
                <a:gd name="connsiteX4135" fmla="*/ 6286546 w 9154202"/>
                <a:gd name="connsiteY4135" fmla="*/ 1654774 h 2112317"/>
                <a:gd name="connsiteX4136" fmla="*/ 6285848 w 9154202"/>
                <a:gd name="connsiteY4136" fmla="*/ 1656068 h 2112317"/>
                <a:gd name="connsiteX4137" fmla="*/ 6283955 w 9154202"/>
                <a:gd name="connsiteY4137" fmla="*/ 1657262 h 2112317"/>
                <a:gd name="connsiteX4138" fmla="*/ 6283058 w 9154202"/>
                <a:gd name="connsiteY4138" fmla="*/ 1657262 h 2112317"/>
                <a:gd name="connsiteX4139" fmla="*/ 6282161 w 9154202"/>
                <a:gd name="connsiteY4139" fmla="*/ 1656565 h 2112317"/>
                <a:gd name="connsiteX4140" fmla="*/ 6280567 w 9154202"/>
                <a:gd name="connsiteY4140" fmla="*/ 1656565 h 2112317"/>
                <a:gd name="connsiteX4141" fmla="*/ 6279072 w 9154202"/>
                <a:gd name="connsiteY4141" fmla="*/ 1656565 h 2112317"/>
                <a:gd name="connsiteX4142" fmla="*/ 6277976 w 9154202"/>
                <a:gd name="connsiteY4142" fmla="*/ 1656565 h 2112317"/>
                <a:gd name="connsiteX4143" fmla="*/ 6277378 w 9154202"/>
                <a:gd name="connsiteY4143" fmla="*/ 1657660 h 2112317"/>
                <a:gd name="connsiteX4144" fmla="*/ 6277378 w 9154202"/>
                <a:gd name="connsiteY4144" fmla="*/ 1659749 h 2112317"/>
                <a:gd name="connsiteX4145" fmla="*/ 6277378 w 9154202"/>
                <a:gd name="connsiteY4145" fmla="*/ 1664126 h 2112317"/>
                <a:gd name="connsiteX4146" fmla="*/ 6278175 w 9154202"/>
                <a:gd name="connsiteY4146" fmla="*/ 1666514 h 2112317"/>
                <a:gd name="connsiteX4147" fmla="*/ 6279969 w 9154202"/>
                <a:gd name="connsiteY4147" fmla="*/ 1667807 h 2112317"/>
                <a:gd name="connsiteX4148" fmla="*/ 6283257 w 9154202"/>
                <a:gd name="connsiteY4148" fmla="*/ 1669001 h 2112317"/>
                <a:gd name="connsiteX4149" fmla="*/ 6285648 w 9154202"/>
                <a:gd name="connsiteY4149" fmla="*/ 1670493 h 2112317"/>
                <a:gd name="connsiteX4150" fmla="*/ 6290730 w 9154202"/>
                <a:gd name="connsiteY4150" fmla="*/ 1674771 h 2112317"/>
                <a:gd name="connsiteX4151" fmla="*/ 6292424 w 9154202"/>
                <a:gd name="connsiteY4151" fmla="*/ 1675567 h 2112317"/>
                <a:gd name="connsiteX4152" fmla="*/ 6292424 w 9154202"/>
                <a:gd name="connsiteY4152" fmla="*/ 1677259 h 2112317"/>
                <a:gd name="connsiteX4153" fmla="*/ 6290730 w 9154202"/>
                <a:gd name="connsiteY4153" fmla="*/ 1687207 h 2112317"/>
                <a:gd name="connsiteX4154" fmla="*/ 6290730 w 9154202"/>
                <a:gd name="connsiteY4154" fmla="*/ 1699743 h 2112317"/>
                <a:gd name="connsiteX4155" fmla="*/ 6289734 w 9154202"/>
                <a:gd name="connsiteY4155" fmla="*/ 1702528 h 2112317"/>
                <a:gd name="connsiteX4156" fmla="*/ 6287442 w 9154202"/>
                <a:gd name="connsiteY4156" fmla="*/ 1705115 h 2112317"/>
                <a:gd name="connsiteX4157" fmla="*/ 6282859 w 9154202"/>
                <a:gd name="connsiteY4157" fmla="*/ 1708995 h 2112317"/>
                <a:gd name="connsiteX4158" fmla="*/ 6277577 w 9154202"/>
                <a:gd name="connsiteY4158" fmla="*/ 1711383 h 2112317"/>
                <a:gd name="connsiteX4159" fmla="*/ 6272296 w 9154202"/>
                <a:gd name="connsiteY4159" fmla="*/ 1709592 h 2112317"/>
                <a:gd name="connsiteX4160" fmla="*/ 6266617 w 9154202"/>
                <a:gd name="connsiteY4160" fmla="*/ 1706110 h 2112317"/>
                <a:gd name="connsiteX4161" fmla="*/ 6260339 w 9154202"/>
                <a:gd name="connsiteY4161" fmla="*/ 1703523 h 2112317"/>
                <a:gd name="connsiteX4162" fmla="*/ 6250375 w 9154202"/>
                <a:gd name="connsiteY4162" fmla="*/ 1702429 h 2112317"/>
                <a:gd name="connsiteX4163" fmla="*/ 6245193 w 9154202"/>
                <a:gd name="connsiteY4163" fmla="*/ 1699146 h 2112317"/>
                <a:gd name="connsiteX4164" fmla="*/ 6237520 w 9154202"/>
                <a:gd name="connsiteY4164" fmla="*/ 1698051 h 2112317"/>
                <a:gd name="connsiteX4165" fmla="*/ 6234332 w 9154202"/>
                <a:gd name="connsiteY4165" fmla="*/ 1696957 h 2112317"/>
                <a:gd name="connsiteX4166" fmla="*/ 6228751 w 9154202"/>
                <a:gd name="connsiteY4166" fmla="*/ 1691684 h 2112317"/>
                <a:gd name="connsiteX4167" fmla="*/ 6226560 w 9154202"/>
                <a:gd name="connsiteY4167" fmla="*/ 1690491 h 2112317"/>
                <a:gd name="connsiteX4168" fmla="*/ 6223570 w 9154202"/>
                <a:gd name="connsiteY4168" fmla="*/ 1689893 h 2112317"/>
                <a:gd name="connsiteX4169" fmla="*/ 6220880 w 9154202"/>
                <a:gd name="connsiteY4169" fmla="*/ 1689893 h 2112317"/>
                <a:gd name="connsiteX4170" fmla="*/ 6218289 w 9154202"/>
                <a:gd name="connsiteY4170" fmla="*/ 1689396 h 2112317"/>
                <a:gd name="connsiteX4171" fmla="*/ 6215698 w 9154202"/>
                <a:gd name="connsiteY4171" fmla="*/ 1687506 h 2112317"/>
                <a:gd name="connsiteX4172" fmla="*/ 6213407 w 9154202"/>
                <a:gd name="connsiteY4172" fmla="*/ 1682432 h 2112317"/>
                <a:gd name="connsiteX4173" fmla="*/ 6212410 w 9154202"/>
                <a:gd name="connsiteY4173" fmla="*/ 1676861 h 2112317"/>
                <a:gd name="connsiteX4174" fmla="*/ 6210517 w 9154202"/>
                <a:gd name="connsiteY4174" fmla="*/ 1672483 h 2112317"/>
                <a:gd name="connsiteX4175" fmla="*/ 6205236 w 9154202"/>
                <a:gd name="connsiteY4175" fmla="*/ 1670593 h 2112317"/>
                <a:gd name="connsiteX4176" fmla="*/ 6195271 w 9154202"/>
                <a:gd name="connsiteY4176" fmla="*/ 1672284 h 2112317"/>
                <a:gd name="connsiteX4177" fmla="*/ 6187300 w 9154202"/>
                <a:gd name="connsiteY4177" fmla="*/ 1676861 h 2112317"/>
                <a:gd name="connsiteX4178" fmla="*/ 6173151 w 9154202"/>
                <a:gd name="connsiteY4178" fmla="*/ 1692381 h 2112317"/>
                <a:gd name="connsiteX4179" fmla="*/ 6172553 w 9154202"/>
                <a:gd name="connsiteY4179" fmla="*/ 1686809 h 2112317"/>
                <a:gd name="connsiteX4180" fmla="*/ 6179328 w 9154202"/>
                <a:gd name="connsiteY4180" fmla="*/ 1666912 h 2112317"/>
                <a:gd name="connsiteX4181" fmla="*/ 6178232 w 9154202"/>
                <a:gd name="connsiteY4181" fmla="*/ 1660644 h 2112317"/>
                <a:gd name="connsiteX4182" fmla="*/ 6173549 w 9154202"/>
                <a:gd name="connsiteY4182" fmla="*/ 1657461 h 2112317"/>
                <a:gd name="connsiteX4183" fmla="*/ 6167072 w 9154202"/>
                <a:gd name="connsiteY4183" fmla="*/ 1656764 h 2112317"/>
                <a:gd name="connsiteX4184" fmla="*/ 6161093 w 9154202"/>
                <a:gd name="connsiteY4184" fmla="*/ 1658257 h 2112317"/>
                <a:gd name="connsiteX4185" fmla="*/ 6155314 w 9154202"/>
                <a:gd name="connsiteY4185" fmla="*/ 1661738 h 2112317"/>
                <a:gd name="connsiteX4186" fmla="*/ 6150133 w 9154202"/>
                <a:gd name="connsiteY4186" fmla="*/ 1666414 h 2112317"/>
                <a:gd name="connsiteX4187" fmla="*/ 6149136 w 9154202"/>
                <a:gd name="connsiteY4187" fmla="*/ 1666414 h 2112317"/>
                <a:gd name="connsiteX4188" fmla="*/ 6148638 w 9154202"/>
                <a:gd name="connsiteY4188" fmla="*/ 1664823 h 2112317"/>
                <a:gd name="connsiteX4189" fmla="*/ 6148638 w 9154202"/>
                <a:gd name="connsiteY4189" fmla="*/ 1662634 h 2112317"/>
                <a:gd name="connsiteX4190" fmla="*/ 6149236 w 9154202"/>
                <a:gd name="connsiteY4190" fmla="*/ 1660843 h 2112317"/>
                <a:gd name="connsiteX4191" fmla="*/ 6150332 w 9154202"/>
                <a:gd name="connsiteY4191" fmla="*/ 1659848 h 2112317"/>
                <a:gd name="connsiteX4192" fmla="*/ 6158702 w 9154202"/>
                <a:gd name="connsiteY4192" fmla="*/ 1655471 h 2112317"/>
                <a:gd name="connsiteX4193" fmla="*/ 6160595 w 9154202"/>
                <a:gd name="connsiteY4193" fmla="*/ 1653978 h 2112317"/>
                <a:gd name="connsiteX4194" fmla="*/ 6164482 w 9154202"/>
                <a:gd name="connsiteY4194" fmla="*/ 1649303 h 2112317"/>
                <a:gd name="connsiteX4195" fmla="*/ 6165179 w 9154202"/>
                <a:gd name="connsiteY4195" fmla="*/ 1647910 h 2112317"/>
                <a:gd name="connsiteX4196" fmla="*/ 6165179 w 9154202"/>
                <a:gd name="connsiteY4196" fmla="*/ 1646517 h 2112317"/>
                <a:gd name="connsiteX4197" fmla="*/ 6165179 w 9154202"/>
                <a:gd name="connsiteY4197" fmla="*/ 1644726 h 2112317"/>
                <a:gd name="connsiteX4198" fmla="*/ 6164382 w 9154202"/>
                <a:gd name="connsiteY4198" fmla="*/ 1641344 h 2112317"/>
                <a:gd name="connsiteX4199" fmla="*/ 6164382 w 9154202"/>
                <a:gd name="connsiteY4199" fmla="*/ 1639453 h 2112317"/>
                <a:gd name="connsiteX4200" fmla="*/ 6166773 w 9154202"/>
                <a:gd name="connsiteY4200" fmla="*/ 1636668 h 2112317"/>
                <a:gd name="connsiteX4201" fmla="*/ 6169962 w 9154202"/>
                <a:gd name="connsiteY4201" fmla="*/ 1633882 h 2112317"/>
                <a:gd name="connsiteX4202" fmla="*/ 6171058 w 9154202"/>
                <a:gd name="connsiteY4202" fmla="*/ 1631693 h 2112317"/>
                <a:gd name="connsiteX4203" fmla="*/ 6166973 w 9154202"/>
                <a:gd name="connsiteY4203" fmla="*/ 1630599 h 2112317"/>
                <a:gd name="connsiteX4204" fmla="*/ 6164182 w 9154202"/>
                <a:gd name="connsiteY4204" fmla="*/ 1630599 h 2112317"/>
                <a:gd name="connsiteX4205" fmla="*/ 6161093 w 9154202"/>
                <a:gd name="connsiteY4205" fmla="*/ 1631992 h 2112317"/>
                <a:gd name="connsiteX4206" fmla="*/ 6159499 w 9154202"/>
                <a:gd name="connsiteY4206" fmla="*/ 1634479 h 2112317"/>
                <a:gd name="connsiteX4207" fmla="*/ 6160994 w 9154202"/>
                <a:gd name="connsiteY4207" fmla="*/ 1637961 h 2112317"/>
                <a:gd name="connsiteX4208" fmla="*/ 6158802 w 9154202"/>
                <a:gd name="connsiteY4208" fmla="*/ 1637961 h 2112317"/>
                <a:gd name="connsiteX4209" fmla="*/ 6156111 w 9154202"/>
                <a:gd name="connsiteY4209" fmla="*/ 1640647 h 2112317"/>
                <a:gd name="connsiteX4210" fmla="*/ 6154018 w 9154202"/>
                <a:gd name="connsiteY4210" fmla="*/ 1640647 h 2112317"/>
                <a:gd name="connsiteX4211" fmla="*/ 6154018 w 9154202"/>
                <a:gd name="connsiteY4211" fmla="*/ 1637961 h 2112317"/>
                <a:gd name="connsiteX4212" fmla="*/ 6151727 w 9154202"/>
                <a:gd name="connsiteY4212" fmla="*/ 1637961 h 2112317"/>
                <a:gd name="connsiteX4213" fmla="*/ 6146147 w 9154202"/>
                <a:gd name="connsiteY4213" fmla="*/ 1639652 h 2112317"/>
                <a:gd name="connsiteX4214" fmla="*/ 6146147 w 9154202"/>
                <a:gd name="connsiteY4214" fmla="*/ 1638458 h 2112317"/>
                <a:gd name="connsiteX4215" fmla="*/ 6149036 w 9154202"/>
                <a:gd name="connsiteY4215" fmla="*/ 1636170 h 2112317"/>
                <a:gd name="connsiteX4216" fmla="*/ 6150731 w 9154202"/>
                <a:gd name="connsiteY4216" fmla="*/ 1633683 h 2112317"/>
                <a:gd name="connsiteX4217" fmla="*/ 6150731 w 9154202"/>
                <a:gd name="connsiteY4217" fmla="*/ 1631693 h 2112317"/>
                <a:gd name="connsiteX4218" fmla="*/ 6140069 w 9154202"/>
                <a:gd name="connsiteY4218" fmla="*/ 1629604 h 2112317"/>
                <a:gd name="connsiteX4219" fmla="*/ 6140069 w 9154202"/>
                <a:gd name="connsiteY4219" fmla="*/ 1629007 h 2112317"/>
                <a:gd name="connsiteX4220" fmla="*/ 6141663 w 9154202"/>
                <a:gd name="connsiteY4220" fmla="*/ 1625824 h 2112317"/>
                <a:gd name="connsiteX4221" fmla="*/ 6141663 w 9154202"/>
                <a:gd name="connsiteY4221" fmla="*/ 1624232 h 2112317"/>
                <a:gd name="connsiteX4222" fmla="*/ 6139172 w 9154202"/>
                <a:gd name="connsiteY4222" fmla="*/ 1623137 h 2112317"/>
                <a:gd name="connsiteX4223" fmla="*/ 6135983 w 9154202"/>
                <a:gd name="connsiteY4223" fmla="*/ 1624729 h 2112317"/>
                <a:gd name="connsiteX4224" fmla="*/ 6133193 w 9154202"/>
                <a:gd name="connsiteY4224" fmla="*/ 1625724 h 2112317"/>
                <a:gd name="connsiteX4225" fmla="*/ 6132097 w 9154202"/>
                <a:gd name="connsiteY4225" fmla="*/ 1622541 h 2112317"/>
                <a:gd name="connsiteX4226" fmla="*/ 6132097 w 9154202"/>
                <a:gd name="connsiteY4226" fmla="*/ 1611796 h 2112317"/>
                <a:gd name="connsiteX4227" fmla="*/ 6132097 w 9154202"/>
                <a:gd name="connsiteY4227" fmla="*/ 1608712 h 2112317"/>
                <a:gd name="connsiteX4228" fmla="*/ 6130303 w 9154202"/>
                <a:gd name="connsiteY4228" fmla="*/ 1606324 h 2112317"/>
                <a:gd name="connsiteX4229" fmla="*/ 6127713 w 9154202"/>
                <a:gd name="connsiteY4229" fmla="*/ 1604533 h 2112317"/>
                <a:gd name="connsiteX4230" fmla="*/ 6125321 w 9154202"/>
                <a:gd name="connsiteY4230" fmla="*/ 1602146 h 2112317"/>
                <a:gd name="connsiteX4231" fmla="*/ 6124225 w 9154202"/>
                <a:gd name="connsiteY4231" fmla="*/ 1598365 h 2112317"/>
                <a:gd name="connsiteX4232" fmla="*/ 6125321 w 9154202"/>
                <a:gd name="connsiteY4232" fmla="*/ 1595182 h 2112317"/>
                <a:gd name="connsiteX4233" fmla="*/ 6129606 w 9154202"/>
                <a:gd name="connsiteY4233" fmla="*/ 1590704 h 2112317"/>
                <a:gd name="connsiteX4234" fmla="*/ 6130403 w 9154202"/>
                <a:gd name="connsiteY4234" fmla="*/ 1587919 h 2112317"/>
                <a:gd name="connsiteX4235" fmla="*/ 6127513 w 9154202"/>
                <a:gd name="connsiteY4235" fmla="*/ 1585531 h 2112317"/>
                <a:gd name="connsiteX4236" fmla="*/ 6088851 w 9154202"/>
                <a:gd name="connsiteY4236" fmla="*/ 1585531 h 2112317"/>
                <a:gd name="connsiteX4237" fmla="*/ 6086062 w 9154202"/>
                <a:gd name="connsiteY4237" fmla="*/ 1584636 h 2112317"/>
                <a:gd name="connsiteX4238" fmla="*/ 6086062 w 9154202"/>
                <a:gd name="connsiteY4238" fmla="*/ 1582348 h 2112317"/>
                <a:gd name="connsiteX4239" fmla="*/ 6084567 w 9154202"/>
                <a:gd name="connsiteY4239" fmla="*/ 1581253 h 2112317"/>
                <a:gd name="connsiteX4240" fmla="*/ 6083371 w 9154202"/>
                <a:gd name="connsiteY4240" fmla="*/ 1581253 h 2112317"/>
                <a:gd name="connsiteX4241" fmla="*/ 6080780 w 9154202"/>
                <a:gd name="connsiteY4241" fmla="*/ 1583143 h 2112317"/>
                <a:gd name="connsiteX4242" fmla="*/ 6078289 w 9154202"/>
                <a:gd name="connsiteY4242" fmla="*/ 1583143 h 2112317"/>
                <a:gd name="connsiteX4243" fmla="*/ 6077592 w 9154202"/>
                <a:gd name="connsiteY4243" fmla="*/ 1583939 h 2112317"/>
                <a:gd name="connsiteX4244" fmla="*/ 6078588 w 9154202"/>
                <a:gd name="connsiteY4244" fmla="*/ 1586427 h 2112317"/>
                <a:gd name="connsiteX4245" fmla="*/ 6075599 w 9154202"/>
                <a:gd name="connsiteY4245" fmla="*/ 1587322 h 2112317"/>
                <a:gd name="connsiteX4246" fmla="*/ 6075001 w 9154202"/>
                <a:gd name="connsiteY4246" fmla="*/ 1589610 h 2112317"/>
                <a:gd name="connsiteX4247" fmla="*/ 6076097 w 9154202"/>
                <a:gd name="connsiteY4247" fmla="*/ 1591998 h 2112317"/>
                <a:gd name="connsiteX4248" fmla="*/ 6078189 w 9154202"/>
                <a:gd name="connsiteY4248" fmla="*/ 1593092 h 2112317"/>
                <a:gd name="connsiteX4249" fmla="*/ 6081278 w 9154202"/>
                <a:gd name="connsiteY4249" fmla="*/ 1591799 h 2112317"/>
                <a:gd name="connsiteX4250" fmla="*/ 6082972 w 9154202"/>
                <a:gd name="connsiteY4250" fmla="*/ 1591799 h 2112317"/>
                <a:gd name="connsiteX4251" fmla="*/ 6083769 w 9154202"/>
                <a:gd name="connsiteY4251" fmla="*/ 1593590 h 2112317"/>
                <a:gd name="connsiteX4252" fmla="*/ 6084467 w 9154202"/>
                <a:gd name="connsiteY4252" fmla="*/ 1594286 h 2112317"/>
                <a:gd name="connsiteX4253" fmla="*/ 6088353 w 9154202"/>
                <a:gd name="connsiteY4253" fmla="*/ 1595281 h 2112317"/>
                <a:gd name="connsiteX4254" fmla="*/ 6089848 w 9154202"/>
                <a:gd name="connsiteY4254" fmla="*/ 1596375 h 2112317"/>
                <a:gd name="connsiteX4255" fmla="*/ 6090645 w 9154202"/>
                <a:gd name="connsiteY4255" fmla="*/ 1595579 h 2112317"/>
                <a:gd name="connsiteX4256" fmla="*/ 6093236 w 9154202"/>
                <a:gd name="connsiteY4256" fmla="*/ 1594187 h 2112317"/>
                <a:gd name="connsiteX4257" fmla="*/ 6093236 w 9154202"/>
                <a:gd name="connsiteY4257" fmla="*/ 1595977 h 2112317"/>
                <a:gd name="connsiteX4258" fmla="*/ 6091642 w 9154202"/>
                <a:gd name="connsiteY4258" fmla="*/ 1598863 h 2112317"/>
                <a:gd name="connsiteX4259" fmla="*/ 6090844 w 9154202"/>
                <a:gd name="connsiteY4259" fmla="*/ 1600653 h 2112317"/>
                <a:gd name="connsiteX4260" fmla="*/ 6093734 w 9154202"/>
                <a:gd name="connsiteY4260" fmla="*/ 1601151 h 2112317"/>
                <a:gd name="connsiteX4261" fmla="*/ 6097222 w 9154202"/>
                <a:gd name="connsiteY4261" fmla="*/ 1606026 h 2112317"/>
                <a:gd name="connsiteX4262" fmla="*/ 6100011 w 9154202"/>
                <a:gd name="connsiteY4262" fmla="*/ 1607219 h 2112317"/>
                <a:gd name="connsiteX4263" fmla="*/ 6100011 w 9154202"/>
                <a:gd name="connsiteY4263" fmla="*/ 1608015 h 2112317"/>
                <a:gd name="connsiteX4264" fmla="*/ 6102005 w 9154202"/>
                <a:gd name="connsiteY4264" fmla="*/ 1611597 h 2112317"/>
                <a:gd name="connsiteX4265" fmla="*/ 6103100 w 9154202"/>
                <a:gd name="connsiteY4265" fmla="*/ 1612791 h 2112317"/>
                <a:gd name="connsiteX4266" fmla="*/ 6103898 w 9154202"/>
                <a:gd name="connsiteY4266" fmla="*/ 1612791 h 2112317"/>
                <a:gd name="connsiteX4267" fmla="*/ 6103898 w 9154202"/>
                <a:gd name="connsiteY4267" fmla="*/ 1613288 h 2112317"/>
                <a:gd name="connsiteX4268" fmla="*/ 6103898 w 9154202"/>
                <a:gd name="connsiteY4268" fmla="*/ 1615278 h 2112317"/>
                <a:gd name="connsiteX4269" fmla="*/ 6104496 w 9154202"/>
                <a:gd name="connsiteY4269" fmla="*/ 1616074 h 2112317"/>
                <a:gd name="connsiteX4270" fmla="*/ 6106787 w 9154202"/>
                <a:gd name="connsiteY4270" fmla="*/ 1617268 h 2112317"/>
                <a:gd name="connsiteX4271" fmla="*/ 6107385 w 9154202"/>
                <a:gd name="connsiteY4271" fmla="*/ 1618561 h 2112317"/>
                <a:gd name="connsiteX4272" fmla="*/ 6107385 w 9154202"/>
                <a:gd name="connsiteY4272" fmla="*/ 1619655 h 2112317"/>
                <a:gd name="connsiteX4273" fmla="*/ 6110275 w 9154202"/>
                <a:gd name="connsiteY4273" fmla="*/ 1626918 h 2112317"/>
                <a:gd name="connsiteX4274" fmla="*/ 6111172 w 9154202"/>
                <a:gd name="connsiteY4274" fmla="*/ 1628211 h 2112317"/>
                <a:gd name="connsiteX4275" fmla="*/ 6111172 w 9154202"/>
                <a:gd name="connsiteY4275" fmla="*/ 1627316 h 2112317"/>
                <a:gd name="connsiteX4276" fmla="*/ 6111172 w 9154202"/>
                <a:gd name="connsiteY4276" fmla="*/ 1625525 h 2112317"/>
                <a:gd name="connsiteX4277" fmla="*/ 6111969 w 9154202"/>
                <a:gd name="connsiteY4277" fmla="*/ 1625525 h 2112317"/>
                <a:gd name="connsiteX4278" fmla="*/ 6112766 w 9154202"/>
                <a:gd name="connsiteY4278" fmla="*/ 1626122 h 2112317"/>
                <a:gd name="connsiteX4279" fmla="*/ 6113464 w 9154202"/>
                <a:gd name="connsiteY4279" fmla="*/ 1627316 h 2112317"/>
                <a:gd name="connsiteX4280" fmla="*/ 6114958 w 9154202"/>
                <a:gd name="connsiteY4280" fmla="*/ 1625923 h 2112317"/>
                <a:gd name="connsiteX4281" fmla="*/ 6116353 w 9154202"/>
                <a:gd name="connsiteY4281" fmla="*/ 1625227 h 2112317"/>
                <a:gd name="connsiteX4282" fmla="*/ 6117748 w 9154202"/>
                <a:gd name="connsiteY4282" fmla="*/ 1625227 h 2112317"/>
                <a:gd name="connsiteX4283" fmla="*/ 6118645 w 9154202"/>
                <a:gd name="connsiteY4283" fmla="*/ 1627017 h 2112317"/>
                <a:gd name="connsiteX4284" fmla="*/ 6118645 w 9154202"/>
                <a:gd name="connsiteY4284" fmla="*/ 1627017 h 2112317"/>
                <a:gd name="connsiteX4285" fmla="*/ 6118047 w 9154202"/>
                <a:gd name="connsiteY4285" fmla="*/ 1628012 h 2112317"/>
                <a:gd name="connsiteX4286" fmla="*/ 6117449 w 9154202"/>
                <a:gd name="connsiteY4286" fmla="*/ 1628709 h 2112317"/>
                <a:gd name="connsiteX4287" fmla="*/ 6118247 w 9154202"/>
                <a:gd name="connsiteY4287" fmla="*/ 1628709 h 2112317"/>
                <a:gd name="connsiteX4288" fmla="*/ 6120040 w 9154202"/>
                <a:gd name="connsiteY4288" fmla="*/ 1628709 h 2112317"/>
                <a:gd name="connsiteX4289" fmla="*/ 6120937 w 9154202"/>
                <a:gd name="connsiteY4289" fmla="*/ 1628709 h 2112317"/>
                <a:gd name="connsiteX4290" fmla="*/ 6119741 w 9154202"/>
                <a:gd name="connsiteY4290" fmla="*/ 1632290 h 2112317"/>
                <a:gd name="connsiteX4291" fmla="*/ 6118944 w 9154202"/>
                <a:gd name="connsiteY4291" fmla="*/ 1637862 h 2112317"/>
                <a:gd name="connsiteX4292" fmla="*/ 6118944 w 9154202"/>
                <a:gd name="connsiteY4292" fmla="*/ 1642935 h 2112317"/>
                <a:gd name="connsiteX4293" fmla="*/ 6121036 w 9154202"/>
                <a:gd name="connsiteY4293" fmla="*/ 1645124 h 2112317"/>
                <a:gd name="connsiteX4294" fmla="*/ 6122930 w 9154202"/>
                <a:gd name="connsiteY4294" fmla="*/ 1645721 h 2112317"/>
                <a:gd name="connsiteX4295" fmla="*/ 6122930 w 9154202"/>
                <a:gd name="connsiteY4295" fmla="*/ 1647412 h 2112317"/>
                <a:gd name="connsiteX4296" fmla="*/ 6122930 w 9154202"/>
                <a:gd name="connsiteY4296" fmla="*/ 1649502 h 2112317"/>
                <a:gd name="connsiteX4297" fmla="*/ 6123827 w 9154202"/>
                <a:gd name="connsiteY4297" fmla="*/ 1651790 h 2112317"/>
                <a:gd name="connsiteX4298" fmla="*/ 6125122 w 9154202"/>
                <a:gd name="connsiteY4298" fmla="*/ 1652785 h 2112317"/>
                <a:gd name="connsiteX4299" fmla="*/ 6128011 w 9154202"/>
                <a:gd name="connsiteY4299" fmla="*/ 1653780 h 2112317"/>
                <a:gd name="connsiteX4300" fmla="*/ 6129107 w 9154202"/>
                <a:gd name="connsiteY4300" fmla="*/ 1655073 h 2112317"/>
                <a:gd name="connsiteX4301" fmla="*/ 6128311 w 9154202"/>
                <a:gd name="connsiteY4301" fmla="*/ 1658953 h 2112317"/>
                <a:gd name="connsiteX4302" fmla="*/ 6129407 w 9154202"/>
                <a:gd name="connsiteY4302" fmla="*/ 1664524 h 2112317"/>
                <a:gd name="connsiteX4303" fmla="*/ 6129407 w 9154202"/>
                <a:gd name="connsiteY4303" fmla="*/ 1669797 h 2112317"/>
                <a:gd name="connsiteX4304" fmla="*/ 6128111 w 9154202"/>
                <a:gd name="connsiteY4304" fmla="*/ 1674871 h 2112317"/>
                <a:gd name="connsiteX4305" fmla="*/ 6130702 w 9154202"/>
                <a:gd name="connsiteY4305" fmla="*/ 1678950 h 2112317"/>
                <a:gd name="connsiteX4306" fmla="*/ 6131898 w 9154202"/>
                <a:gd name="connsiteY4306" fmla="*/ 1681338 h 2112317"/>
                <a:gd name="connsiteX4307" fmla="*/ 6132396 w 9154202"/>
                <a:gd name="connsiteY4307" fmla="*/ 1684223 h 2112317"/>
                <a:gd name="connsiteX4308" fmla="*/ 6131898 w 9154202"/>
                <a:gd name="connsiteY4308" fmla="*/ 1687506 h 2112317"/>
                <a:gd name="connsiteX4309" fmla="*/ 6130702 w 9154202"/>
                <a:gd name="connsiteY4309" fmla="*/ 1690291 h 2112317"/>
                <a:gd name="connsiteX4310" fmla="*/ 6118147 w 9154202"/>
                <a:gd name="connsiteY4310" fmla="*/ 1705314 h 2112317"/>
                <a:gd name="connsiteX4311" fmla="*/ 6116951 w 9154202"/>
                <a:gd name="connsiteY4311" fmla="*/ 1708199 h 2112317"/>
                <a:gd name="connsiteX4312" fmla="*/ 6115556 w 9154202"/>
                <a:gd name="connsiteY4312" fmla="*/ 1714467 h 2112317"/>
                <a:gd name="connsiteX4313" fmla="*/ 6114360 w 9154202"/>
                <a:gd name="connsiteY4313" fmla="*/ 1716855 h 2112317"/>
                <a:gd name="connsiteX4314" fmla="*/ 6111769 w 9154202"/>
                <a:gd name="connsiteY4314" fmla="*/ 1718148 h 2112317"/>
                <a:gd name="connsiteX4315" fmla="*/ 6105791 w 9154202"/>
                <a:gd name="connsiteY4315" fmla="*/ 1719143 h 2112317"/>
                <a:gd name="connsiteX4316" fmla="*/ 6103400 w 9154202"/>
                <a:gd name="connsiteY4316" fmla="*/ 1720635 h 2112317"/>
                <a:gd name="connsiteX4317" fmla="*/ 6097820 w 9154202"/>
                <a:gd name="connsiteY4317" fmla="*/ 1728992 h 2112317"/>
                <a:gd name="connsiteX4318" fmla="*/ 6095926 w 9154202"/>
                <a:gd name="connsiteY4318" fmla="*/ 1730982 h 2112317"/>
                <a:gd name="connsiteX4319" fmla="*/ 6094731 w 9154202"/>
                <a:gd name="connsiteY4319" fmla="*/ 1731579 h 2112317"/>
                <a:gd name="connsiteX4320" fmla="*/ 6093634 w 9154202"/>
                <a:gd name="connsiteY4320" fmla="*/ 1731579 h 2112317"/>
                <a:gd name="connsiteX4321" fmla="*/ 6092638 w 9154202"/>
                <a:gd name="connsiteY4321" fmla="*/ 1731579 h 2112317"/>
                <a:gd name="connsiteX4322" fmla="*/ 6091741 w 9154202"/>
                <a:gd name="connsiteY4322" fmla="*/ 1732673 h 2112317"/>
                <a:gd name="connsiteX4323" fmla="*/ 6090944 w 9154202"/>
                <a:gd name="connsiteY4323" fmla="*/ 1734663 h 2112317"/>
                <a:gd name="connsiteX4324" fmla="*/ 6090944 w 9154202"/>
                <a:gd name="connsiteY4324" fmla="*/ 1736354 h 2112317"/>
                <a:gd name="connsiteX4325" fmla="*/ 6090944 w 9154202"/>
                <a:gd name="connsiteY4325" fmla="*/ 1737846 h 2112317"/>
                <a:gd name="connsiteX4326" fmla="*/ 6090944 w 9154202"/>
                <a:gd name="connsiteY4326" fmla="*/ 1739737 h 2112317"/>
                <a:gd name="connsiteX4327" fmla="*/ 6090944 w 9154202"/>
                <a:gd name="connsiteY4327" fmla="*/ 1742224 h 2112317"/>
                <a:gd name="connsiteX4328" fmla="*/ 6087755 w 9154202"/>
                <a:gd name="connsiteY4328" fmla="*/ 1751178 h 2112317"/>
                <a:gd name="connsiteX4329" fmla="*/ 6082175 w 9154202"/>
                <a:gd name="connsiteY4329" fmla="*/ 1761126 h 2112317"/>
                <a:gd name="connsiteX4330" fmla="*/ 6074303 w 9154202"/>
                <a:gd name="connsiteY4330" fmla="*/ 1767693 h 2112317"/>
                <a:gd name="connsiteX4331" fmla="*/ 6072211 w 9154202"/>
                <a:gd name="connsiteY4331" fmla="*/ 1770379 h 2112317"/>
                <a:gd name="connsiteX4332" fmla="*/ 6071713 w 9154202"/>
                <a:gd name="connsiteY4332" fmla="*/ 1772966 h 2112317"/>
                <a:gd name="connsiteX4333" fmla="*/ 6073407 w 9154202"/>
                <a:gd name="connsiteY4333" fmla="*/ 1786297 h 2112317"/>
                <a:gd name="connsiteX4334" fmla="*/ 6075599 w 9154202"/>
                <a:gd name="connsiteY4334" fmla="*/ 1795450 h 2112317"/>
                <a:gd name="connsiteX4335" fmla="*/ 6075599 w 9154202"/>
                <a:gd name="connsiteY4335" fmla="*/ 1799031 h 2112317"/>
                <a:gd name="connsiteX4336" fmla="*/ 6074503 w 9154202"/>
                <a:gd name="connsiteY4336" fmla="*/ 1808980 h 2112317"/>
                <a:gd name="connsiteX4337" fmla="*/ 6074503 w 9154202"/>
                <a:gd name="connsiteY4337" fmla="*/ 1836240 h 2112317"/>
                <a:gd name="connsiteX4338" fmla="*/ 6077392 w 9154202"/>
                <a:gd name="connsiteY4338" fmla="*/ 1862902 h 2112317"/>
                <a:gd name="connsiteX4339" fmla="*/ 6077392 w 9154202"/>
                <a:gd name="connsiteY4339" fmla="*/ 1869866 h 2112317"/>
                <a:gd name="connsiteX4340" fmla="*/ 6076097 w 9154202"/>
                <a:gd name="connsiteY4340" fmla="*/ 1876631 h 2112317"/>
                <a:gd name="connsiteX4341" fmla="*/ 6073705 w 9154202"/>
                <a:gd name="connsiteY4341" fmla="*/ 1883894 h 2112317"/>
                <a:gd name="connsiteX4342" fmla="*/ 6070916 w 9154202"/>
                <a:gd name="connsiteY4342" fmla="*/ 1888968 h 2112317"/>
                <a:gd name="connsiteX4343" fmla="*/ 6067329 w 9154202"/>
                <a:gd name="connsiteY4343" fmla="*/ 1892947 h 2112317"/>
                <a:gd name="connsiteX4344" fmla="*/ 6054773 w 9154202"/>
                <a:gd name="connsiteY4344" fmla="*/ 1903692 h 2112317"/>
                <a:gd name="connsiteX4345" fmla="*/ 6051285 w 9154202"/>
                <a:gd name="connsiteY4345" fmla="*/ 1904985 h 2112317"/>
                <a:gd name="connsiteX4346" fmla="*/ 6045805 w 9154202"/>
                <a:gd name="connsiteY4346" fmla="*/ 1908268 h 2112317"/>
                <a:gd name="connsiteX4347" fmla="*/ 6042816 w 9154202"/>
                <a:gd name="connsiteY4347" fmla="*/ 1908268 h 2112317"/>
                <a:gd name="connsiteX4348" fmla="*/ 6041421 w 9154202"/>
                <a:gd name="connsiteY4348" fmla="*/ 1908268 h 2112317"/>
                <a:gd name="connsiteX4349" fmla="*/ 6038930 w 9154202"/>
                <a:gd name="connsiteY4349" fmla="*/ 1910059 h 2112317"/>
                <a:gd name="connsiteX4350" fmla="*/ 6027471 w 9154202"/>
                <a:gd name="connsiteY4350" fmla="*/ 1924684 h 2112317"/>
                <a:gd name="connsiteX4351" fmla="*/ 6024880 w 9154202"/>
                <a:gd name="connsiteY4351" fmla="*/ 1926674 h 2112317"/>
                <a:gd name="connsiteX4352" fmla="*/ 6020296 w 9154202"/>
                <a:gd name="connsiteY4352" fmla="*/ 1929360 h 2112317"/>
                <a:gd name="connsiteX4353" fmla="*/ 5991698 w 9154202"/>
                <a:gd name="connsiteY4353" fmla="*/ 1939905 h 2112317"/>
                <a:gd name="connsiteX4354" fmla="*/ 5986816 w 9154202"/>
                <a:gd name="connsiteY4354" fmla="*/ 1940701 h 2112317"/>
                <a:gd name="connsiteX4355" fmla="*/ 5986816 w 9154202"/>
                <a:gd name="connsiteY4355" fmla="*/ 1940701 h 2112317"/>
                <a:gd name="connsiteX4356" fmla="*/ 5986816 w 9154202"/>
                <a:gd name="connsiteY4356" fmla="*/ 1946074 h 2112317"/>
                <a:gd name="connsiteX4357" fmla="*/ 5984823 w 9154202"/>
                <a:gd name="connsiteY4357" fmla="*/ 1951048 h 2112317"/>
                <a:gd name="connsiteX4358" fmla="*/ 5981934 w 9154202"/>
                <a:gd name="connsiteY4358" fmla="*/ 1956122 h 2112317"/>
                <a:gd name="connsiteX4359" fmla="*/ 5980439 w 9154202"/>
                <a:gd name="connsiteY4359" fmla="*/ 1961693 h 2112317"/>
                <a:gd name="connsiteX4360" fmla="*/ 5980439 w 9154202"/>
                <a:gd name="connsiteY4360" fmla="*/ 1964777 h 2112317"/>
                <a:gd name="connsiteX4361" fmla="*/ 5978645 w 9154202"/>
                <a:gd name="connsiteY4361" fmla="*/ 1969354 h 2112317"/>
                <a:gd name="connsiteX4362" fmla="*/ 5978645 w 9154202"/>
                <a:gd name="connsiteY4362" fmla="*/ 1971940 h 2112317"/>
                <a:gd name="connsiteX4363" fmla="*/ 5980239 w 9154202"/>
                <a:gd name="connsiteY4363" fmla="*/ 1975124 h 2112317"/>
                <a:gd name="connsiteX4364" fmla="*/ 5980239 w 9154202"/>
                <a:gd name="connsiteY4364" fmla="*/ 1976218 h 2112317"/>
                <a:gd name="connsiteX4365" fmla="*/ 5980239 w 9154202"/>
                <a:gd name="connsiteY4365" fmla="*/ 1977910 h 2112317"/>
                <a:gd name="connsiteX4366" fmla="*/ 5979542 w 9154202"/>
                <a:gd name="connsiteY4366" fmla="*/ 1980795 h 2112317"/>
                <a:gd name="connsiteX4367" fmla="*/ 5978745 w 9154202"/>
                <a:gd name="connsiteY4367" fmla="*/ 1987460 h 2112317"/>
                <a:gd name="connsiteX4368" fmla="*/ 5975158 w 9154202"/>
                <a:gd name="connsiteY4368" fmla="*/ 1998802 h 2112317"/>
                <a:gd name="connsiteX4369" fmla="*/ 5973265 w 9154202"/>
                <a:gd name="connsiteY4369" fmla="*/ 2002980 h 2112317"/>
                <a:gd name="connsiteX4370" fmla="*/ 5970374 w 9154202"/>
                <a:gd name="connsiteY4370" fmla="*/ 2007557 h 2112317"/>
                <a:gd name="connsiteX4371" fmla="*/ 5966987 w 9154202"/>
                <a:gd name="connsiteY4371" fmla="*/ 2010542 h 2112317"/>
                <a:gd name="connsiteX4372" fmla="*/ 5962901 w 9154202"/>
                <a:gd name="connsiteY4372" fmla="*/ 2012233 h 2112317"/>
                <a:gd name="connsiteX4373" fmla="*/ 5958318 w 9154202"/>
                <a:gd name="connsiteY4373" fmla="*/ 2012730 h 2112317"/>
                <a:gd name="connsiteX4374" fmla="*/ 5958318 w 9154202"/>
                <a:gd name="connsiteY4374" fmla="*/ 2012730 h 2112317"/>
                <a:gd name="connsiteX4375" fmla="*/ 5958318 w 9154202"/>
                <a:gd name="connsiteY4375" fmla="*/ 2013725 h 2112317"/>
                <a:gd name="connsiteX4376" fmla="*/ 5959414 w 9154202"/>
                <a:gd name="connsiteY4376" fmla="*/ 2015217 h 2112317"/>
                <a:gd name="connsiteX4377" fmla="*/ 5963599 w 9154202"/>
                <a:gd name="connsiteY4377" fmla="*/ 2019296 h 2112317"/>
                <a:gd name="connsiteX4378" fmla="*/ 5964894 w 9154202"/>
                <a:gd name="connsiteY4378" fmla="*/ 2020192 h 2112317"/>
                <a:gd name="connsiteX4379" fmla="*/ 5973862 w 9154202"/>
                <a:gd name="connsiteY4379" fmla="*/ 2019694 h 2112317"/>
                <a:gd name="connsiteX4380" fmla="*/ 5978346 w 9154202"/>
                <a:gd name="connsiteY4380" fmla="*/ 2020888 h 2112317"/>
                <a:gd name="connsiteX4381" fmla="*/ 5980937 w 9154202"/>
                <a:gd name="connsiteY4381" fmla="*/ 2024470 h 2112317"/>
                <a:gd name="connsiteX4382" fmla="*/ 5983428 w 9154202"/>
                <a:gd name="connsiteY4382" fmla="*/ 2022182 h 2112317"/>
                <a:gd name="connsiteX4383" fmla="*/ 5984823 w 9154202"/>
                <a:gd name="connsiteY4383" fmla="*/ 2021485 h 2112317"/>
                <a:gd name="connsiteX4384" fmla="*/ 5986616 w 9154202"/>
                <a:gd name="connsiteY4384" fmla="*/ 2021485 h 2112317"/>
                <a:gd name="connsiteX4385" fmla="*/ 5987314 w 9154202"/>
                <a:gd name="connsiteY4385" fmla="*/ 2022380 h 2112317"/>
                <a:gd name="connsiteX4386" fmla="*/ 5987314 w 9154202"/>
                <a:gd name="connsiteY4386" fmla="*/ 2024470 h 2112317"/>
                <a:gd name="connsiteX4387" fmla="*/ 5986616 w 9154202"/>
                <a:gd name="connsiteY4387" fmla="*/ 2026658 h 2112317"/>
                <a:gd name="connsiteX4388" fmla="*/ 5985521 w 9154202"/>
                <a:gd name="connsiteY4388" fmla="*/ 2027952 h 2112317"/>
                <a:gd name="connsiteX4389" fmla="*/ 5987115 w 9154202"/>
                <a:gd name="connsiteY4389" fmla="*/ 2030538 h 2112317"/>
                <a:gd name="connsiteX4390" fmla="*/ 5988211 w 9154202"/>
                <a:gd name="connsiteY4390" fmla="*/ 2033822 h 2112317"/>
                <a:gd name="connsiteX4391" fmla="*/ 5988211 w 9154202"/>
                <a:gd name="connsiteY4391" fmla="*/ 2037204 h 2112317"/>
                <a:gd name="connsiteX4392" fmla="*/ 5988211 w 9154202"/>
                <a:gd name="connsiteY4392" fmla="*/ 2040587 h 2112317"/>
                <a:gd name="connsiteX4393" fmla="*/ 5984623 w 9154202"/>
                <a:gd name="connsiteY4393" fmla="*/ 2047053 h 2112317"/>
                <a:gd name="connsiteX4394" fmla="*/ 5979641 w 9154202"/>
                <a:gd name="connsiteY4394" fmla="*/ 2049242 h 2112317"/>
                <a:gd name="connsiteX4395" fmla="*/ 5966688 w 9154202"/>
                <a:gd name="connsiteY4395" fmla="*/ 2049242 h 2112317"/>
                <a:gd name="connsiteX4396" fmla="*/ 5965094 w 9154202"/>
                <a:gd name="connsiteY4396" fmla="*/ 2049242 h 2112317"/>
                <a:gd name="connsiteX4397" fmla="*/ 5962005 w 9154202"/>
                <a:gd name="connsiteY4397" fmla="*/ 2050734 h 2112317"/>
                <a:gd name="connsiteX4398" fmla="*/ 5960211 w 9154202"/>
                <a:gd name="connsiteY4398" fmla="*/ 2050734 h 2112317"/>
                <a:gd name="connsiteX4399" fmla="*/ 5941578 w 9154202"/>
                <a:gd name="connsiteY4399" fmla="*/ 2050734 h 2112317"/>
                <a:gd name="connsiteX4400" fmla="*/ 5932211 w 9154202"/>
                <a:gd name="connsiteY4400" fmla="*/ 2047849 h 2112317"/>
                <a:gd name="connsiteX4401" fmla="*/ 5919456 w 9154202"/>
                <a:gd name="connsiteY4401" fmla="*/ 2045760 h 2112317"/>
                <a:gd name="connsiteX4402" fmla="*/ 5916368 w 9154202"/>
                <a:gd name="connsiteY4402" fmla="*/ 2046457 h 2112317"/>
                <a:gd name="connsiteX4403" fmla="*/ 5913478 w 9154202"/>
                <a:gd name="connsiteY4403" fmla="*/ 2048645 h 2112317"/>
                <a:gd name="connsiteX4404" fmla="*/ 5911883 w 9154202"/>
                <a:gd name="connsiteY4404" fmla="*/ 2049441 h 2112317"/>
                <a:gd name="connsiteX4405" fmla="*/ 5910588 w 9154202"/>
                <a:gd name="connsiteY4405" fmla="*/ 2049441 h 2112317"/>
                <a:gd name="connsiteX4406" fmla="*/ 5908994 w 9154202"/>
                <a:gd name="connsiteY4406" fmla="*/ 2048446 h 2112317"/>
                <a:gd name="connsiteX4407" fmla="*/ 5907399 w 9154202"/>
                <a:gd name="connsiteY4407" fmla="*/ 2049143 h 2112317"/>
                <a:gd name="connsiteX4408" fmla="*/ 5905905 w 9154202"/>
                <a:gd name="connsiteY4408" fmla="*/ 2050436 h 2112317"/>
                <a:gd name="connsiteX4409" fmla="*/ 5903115 w 9154202"/>
                <a:gd name="connsiteY4409" fmla="*/ 2052127 h 2112317"/>
                <a:gd name="connsiteX4410" fmla="*/ 5903115 w 9154202"/>
                <a:gd name="connsiteY4410" fmla="*/ 2052127 h 2112317"/>
                <a:gd name="connsiteX4411" fmla="*/ 5901620 w 9154202"/>
                <a:gd name="connsiteY4411" fmla="*/ 2054913 h 2112317"/>
                <a:gd name="connsiteX4412" fmla="*/ 5900624 w 9154202"/>
                <a:gd name="connsiteY4412" fmla="*/ 2058494 h 2112317"/>
                <a:gd name="connsiteX4413" fmla="*/ 5900026 w 9154202"/>
                <a:gd name="connsiteY4413" fmla="*/ 2061479 h 2112317"/>
                <a:gd name="connsiteX4414" fmla="*/ 5898730 w 9154202"/>
                <a:gd name="connsiteY4414" fmla="*/ 2077894 h 2112317"/>
                <a:gd name="connsiteX4415" fmla="*/ 5897336 w 9154202"/>
                <a:gd name="connsiteY4415" fmla="*/ 2085356 h 2112317"/>
                <a:gd name="connsiteX4416" fmla="*/ 5897336 w 9154202"/>
                <a:gd name="connsiteY4416" fmla="*/ 2088142 h 2112317"/>
                <a:gd name="connsiteX4417" fmla="*/ 5899428 w 9154202"/>
                <a:gd name="connsiteY4417" fmla="*/ 2090728 h 2112317"/>
                <a:gd name="connsiteX4418" fmla="*/ 5906403 w 9154202"/>
                <a:gd name="connsiteY4418" fmla="*/ 2092420 h 2112317"/>
                <a:gd name="connsiteX4419" fmla="*/ 5909990 w 9154202"/>
                <a:gd name="connsiteY4419" fmla="*/ 2094608 h 2112317"/>
                <a:gd name="connsiteX4420" fmla="*/ 5911585 w 9154202"/>
                <a:gd name="connsiteY4420" fmla="*/ 2095205 h 2112317"/>
                <a:gd name="connsiteX4421" fmla="*/ 5914275 w 9154202"/>
                <a:gd name="connsiteY4421" fmla="*/ 2095205 h 2112317"/>
                <a:gd name="connsiteX4422" fmla="*/ 5914972 w 9154202"/>
                <a:gd name="connsiteY4422" fmla="*/ 2095703 h 2112317"/>
                <a:gd name="connsiteX4423" fmla="*/ 5918161 w 9154202"/>
                <a:gd name="connsiteY4423" fmla="*/ 2098389 h 2112317"/>
                <a:gd name="connsiteX4424" fmla="*/ 5923243 w 9154202"/>
                <a:gd name="connsiteY4424" fmla="*/ 2100677 h 2112317"/>
                <a:gd name="connsiteX4425" fmla="*/ 5928823 w 9154202"/>
                <a:gd name="connsiteY4425" fmla="*/ 2101274 h 2112317"/>
                <a:gd name="connsiteX4426" fmla="*/ 5934603 w 9154202"/>
                <a:gd name="connsiteY4426" fmla="*/ 2100478 h 2112317"/>
                <a:gd name="connsiteX4427" fmla="*/ 5949350 w 9154202"/>
                <a:gd name="connsiteY4427" fmla="*/ 2093415 h 2112317"/>
                <a:gd name="connsiteX4428" fmla="*/ 5955029 w 9154202"/>
                <a:gd name="connsiteY4428" fmla="*/ 2092022 h 2112317"/>
                <a:gd name="connsiteX4429" fmla="*/ 5960809 w 9154202"/>
                <a:gd name="connsiteY4429" fmla="*/ 2093017 h 2112317"/>
                <a:gd name="connsiteX4430" fmla="*/ 5965890 w 9154202"/>
                <a:gd name="connsiteY4430" fmla="*/ 2096300 h 2112317"/>
                <a:gd name="connsiteX4431" fmla="*/ 5970176 w 9154202"/>
                <a:gd name="connsiteY4431" fmla="*/ 2100876 h 2112317"/>
                <a:gd name="connsiteX4432" fmla="*/ 5973364 w 9154202"/>
                <a:gd name="connsiteY4432" fmla="*/ 2106348 h 2112317"/>
                <a:gd name="connsiteX4433" fmla="*/ 5975456 w 9154202"/>
                <a:gd name="connsiteY4433" fmla="*/ 2112317 h 2112317"/>
                <a:gd name="connsiteX4434" fmla="*/ 5976453 w 9154202"/>
                <a:gd name="connsiteY4434" fmla="*/ 2112317 h 2112317"/>
                <a:gd name="connsiteX4435" fmla="*/ 5976453 w 9154202"/>
                <a:gd name="connsiteY4435" fmla="*/ 2110825 h 2112317"/>
                <a:gd name="connsiteX4436" fmla="*/ 5975855 w 9154202"/>
                <a:gd name="connsiteY4436" fmla="*/ 2110029 h 2112317"/>
                <a:gd name="connsiteX4437" fmla="*/ 5976852 w 9154202"/>
                <a:gd name="connsiteY4437" fmla="*/ 2105851 h 2112317"/>
                <a:gd name="connsiteX4438" fmla="*/ 5978446 w 9154202"/>
                <a:gd name="connsiteY4438" fmla="*/ 2093415 h 2112317"/>
                <a:gd name="connsiteX4439" fmla="*/ 5980738 w 9154202"/>
                <a:gd name="connsiteY4439" fmla="*/ 2090828 h 2112317"/>
                <a:gd name="connsiteX4440" fmla="*/ 5982132 w 9154202"/>
                <a:gd name="connsiteY4440" fmla="*/ 2088639 h 2112317"/>
                <a:gd name="connsiteX4441" fmla="*/ 5991001 w 9154202"/>
                <a:gd name="connsiteY4441" fmla="*/ 2079287 h 2112317"/>
                <a:gd name="connsiteX4442" fmla="*/ 5993193 w 9154202"/>
                <a:gd name="connsiteY4442" fmla="*/ 2077596 h 2112317"/>
                <a:gd name="connsiteX4443" fmla="*/ 6024481 w 9154202"/>
                <a:gd name="connsiteY4443" fmla="*/ 2062175 h 2112317"/>
                <a:gd name="connsiteX4444" fmla="*/ 6029364 w 9154202"/>
                <a:gd name="connsiteY4444" fmla="*/ 2059191 h 2112317"/>
                <a:gd name="connsiteX4445" fmla="*/ 6032353 w 9154202"/>
                <a:gd name="connsiteY4445" fmla="*/ 2058196 h 2112317"/>
                <a:gd name="connsiteX4446" fmla="*/ 6049791 w 9154202"/>
                <a:gd name="connsiteY4446" fmla="*/ 2058196 h 2112317"/>
                <a:gd name="connsiteX4447" fmla="*/ 6049791 w 9154202"/>
                <a:gd name="connsiteY4447" fmla="*/ 2057500 h 2112317"/>
                <a:gd name="connsiteX4448" fmla="*/ 6049791 w 9154202"/>
                <a:gd name="connsiteY4448" fmla="*/ 2055709 h 2112317"/>
                <a:gd name="connsiteX4449" fmla="*/ 6049791 w 9154202"/>
                <a:gd name="connsiteY4449" fmla="*/ 2055012 h 2112317"/>
                <a:gd name="connsiteX4450" fmla="*/ 6059756 w 9154202"/>
                <a:gd name="connsiteY4450" fmla="*/ 2048645 h 2112317"/>
                <a:gd name="connsiteX4451" fmla="*/ 6059756 w 9154202"/>
                <a:gd name="connsiteY4451" fmla="*/ 2052326 h 2112317"/>
                <a:gd name="connsiteX4452" fmla="*/ 6058161 w 9154202"/>
                <a:gd name="connsiteY4452" fmla="*/ 2054515 h 2112317"/>
                <a:gd name="connsiteX4453" fmla="*/ 6056168 w 9154202"/>
                <a:gd name="connsiteY4453" fmla="*/ 2056405 h 2112317"/>
                <a:gd name="connsiteX4454" fmla="*/ 6054972 w 9154202"/>
                <a:gd name="connsiteY4454" fmla="*/ 2059390 h 2112317"/>
                <a:gd name="connsiteX4455" fmla="*/ 6057862 w 9154202"/>
                <a:gd name="connsiteY4455" fmla="*/ 2060285 h 2112317"/>
                <a:gd name="connsiteX4456" fmla="*/ 6060054 w 9154202"/>
                <a:gd name="connsiteY4456" fmla="*/ 2058892 h 2112317"/>
                <a:gd name="connsiteX4457" fmla="*/ 6061449 w 9154202"/>
                <a:gd name="connsiteY4457" fmla="*/ 2056107 h 2112317"/>
                <a:gd name="connsiteX4458" fmla="*/ 6062445 w 9154202"/>
                <a:gd name="connsiteY4458" fmla="*/ 2049043 h 2112317"/>
                <a:gd name="connsiteX4459" fmla="*/ 6064837 w 9154202"/>
                <a:gd name="connsiteY4459" fmla="*/ 2043273 h 2112317"/>
                <a:gd name="connsiteX4460" fmla="*/ 6065435 w 9154202"/>
                <a:gd name="connsiteY4460" fmla="*/ 2040587 h 2112317"/>
                <a:gd name="connsiteX4461" fmla="*/ 6068125 w 9154202"/>
                <a:gd name="connsiteY4461" fmla="*/ 2036209 h 2112317"/>
                <a:gd name="connsiteX4462" fmla="*/ 6085364 w 9154202"/>
                <a:gd name="connsiteY4462" fmla="*/ 2024072 h 2112317"/>
                <a:gd name="connsiteX4463" fmla="*/ 6088054 w 9154202"/>
                <a:gd name="connsiteY4463" fmla="*/ 2020988 h 2112317"/>
                <a:gd name="connsiteX4464" fmla="*/ 6096723 w 9154202"/>
                <a:gd name="connsiteY4464" fmla="*/ 2013427 h 2112317"/>
                <a:gd name="connsiteX4465" fmla="*/ 6098816 w 9154202"/>
                <a:gd name="connsiteY4465" fmla="*/ 2011138 h 2112317"/>
                <a:gd name="connsiteX4466" fmla="*/ 6100211 w 9154202"/>
                <a:gd name="connsiteY4466" fmla="*/ 2010144 h 2112317"/>
                <a:gd name="connsiteX4467" fmla="*/ 6104595 w 9154202"/>
                <a:gd name="connsiteY4467" fmla="*/ 2008452 h 2112317"/>
                <a:gd name="connsiteX4468" fmla="*/ 6107883 w 9154202"/>
                <a:gd name="connsiteY4468" fmla="*/ 2005667 h 2112317"/>
                <a:gd name="connsiteX4469" fmla="*/ 6110574 w 9154202"/>
                <a:gd name="connsiteY4469" fmla="*/ 2004274 h 2112317"/>
                <a:gd name="connsiteX4470" fmla="*/ 6115755 w 9154202"/>
                <a:gd name="connsiteY4470" fmla="*/ 2002583 h 2112317"/>
                <a:gd name="connsiteX4471" fmla="*/ 6123129 w 9154202"/>
                <a:gd name="connsiteY4471" fmla="*/ 1998006 h 2112317"/>
                <a:gd name="connsiteX4472" fmla="*/ 6139571 w 9154202"/>
                <a:gd name="connsiteY4472" fmla="*/ 1994823 h 2112317"/>
                <a:gd name="connsiteX4473" fmla="*/ 6177236 w 9154202"/>
                <a:gd name="connsiteY4473" fmla="*/ 1994823 h 2112317"/>
                <a:gd name="connsiteX4474" fmla="*/ 6196666 w 9154202"/>
                <a:gd name="connsiteY4474" fmla="*/ 1999598 h 2112317"/>
                <a:gd name="connsiteX4475" fmla="*/ 6199656 w 9154202"/>
                <a:gd name="connsiteY4475" fmla="*/ 1999598 h 2112317"/>
                <a:gd name="connsiteX4476" fmla="*/ 6206232 w 9154202"/>
                <a:gd name="connsiteY4476" fmla="*/ 2003179 h 2112317"/>
                <a:gd name="connsiteX4477" fmla="*/ 6222175 w 9154202"/>
                <a:gd name="connsiteY4477" fmla="*/ 2006463 h 2112317"/>
                <a:gd name="connsiteX4478" fmla="*/ 6225264 w 9154202"/>
                <a:gd name="connsiteY4478" fmla="*/ 2007756 h 2112317"/>
                <a:gd name="connsiteX4479" fmla="*/ 6230546 w 9154202"/>
                <a:gd name="connsiteY4479" fmla="*/ 2009348 h 2112317"/>
                <a:gd name="connsiteX4480" fmla="*/ 6250474 w 9154202"/>
                <a:gd name="connsiteY4480" fmla="*/ 2008253 h 2112317"/>
                <a:gd name="connsiteX4481" fmla="*/ 6253862 w 9154202"/>
                <a:gd name="connsiteY4481" fmla="*/ 2008253 h 2112317"/>
                <a:gd name="connsiteX4482" fmla="*/ 6263826 w 9154202"/>
                <a:gd name="connsiteY4482" fmla="*/ 2011039 h 2112317"/>
                <a:gd name="connsiteX4483" fmla="*/ 6276382 w 9154202"/>
                <a:gd name="connsiteY4483" fmla="*/ 2012133 h 2112317"/>
                <a:gd name="connsiteX4484" fmla="*/ 6279869 w 9154202"/>
                <a:gd name="connsiteY4484" fmla="*/ 2013228 h 2112317"/>
                <a:gd name="connsiteX4485" fmla="*/ 6281762 w 9154202"/>
                <a:gd name="connsiteY4485" fmla="*/ 2013228 h 2112317"/>
                <a:gd name="connsiteX4486" fmla="*/ 6284553 w 9154202"/>
                <a:gd name="connsiteY4486" fmla="*/ 2011536 h 2112317"/>
                <a:gd name="connsiteX4487" fmla="*/ 6286346 w 9154202"/>
                <a:gd name="connsiteY4487" fmla="*/ 2010939 h 2112317"/>
                <a:gd name="connsiteX4488" fmla="*/ 6288239 w 9154202"/>
                <a:gd name="connsiteY4488" fmla="*/ 2010939 h 2112317"/>
                <a:gd name="connsiteX4489" fmla="*/ 6287542 w 9154202"/>
                <a:gd name="connsiteY4489" fmla="*/ 2010939 h 2112317"/>
                <a:gd name="connsiteX4490" fmla="*/ 6281264 w 9154202"/>
                <a:gd name="connsiteY4490" fmla="*/ 2008950 h 2112317"/>
                <a:gd name="connsiteX4491" fmla="*/ 6255357 w 9154202"/>
                <a:gd name="connsiteY4491" fmla="*/ 2007159 h 2112317"/>
                <a:gd name="connsiteX4492" fmla="*/ 6251769 w 9154202"/>
                <a:gd name="connsiteY4492" fmla="*/ 2006164 h 2112317"/>
                <a:gd name="connsiteX4493" fmla="*/ 6250175 w 9154202"/>
                <a:gd name="connsiteY4493" fmla="*/ 2003975 h 2112317"/>
                <a:gd name="connsiteX4494" fmla="*/ 6237222 w 9154202"/>
                <a:gd name="connsiteY4494" fmla="*/ 2003975 h 2112317"/>
                <a:gd name="connsiteX4495" fmla="*/ 6235826 w 9154202"/>
                <a:gd name="connsiteY4495" fmla="*/ 2001090 h 2112317"/>
                <a:gd name="connsiteX4496" fmla="*/ 6237122 w 9154202"/>
                <a:gd name="connsiteY4496" fmla="*/ 1998106 h 2112317"/>
                <a:gd name="connsiteX4497" fmla="*/ 6242204 w 9154202"/>
                <a:gd name="connsiteY4497" fmla="*/ 1992634 h 2112317"/>
                <a:gd name="connsiteX4498" fmla="*/ 6244396 w 9154202"/>
                <a:gd name="connsiteY4498" fmla="*/ 1991539 h 2112317"/>
                <a:gd name="connsiteX4499" fmla="*/ 6245293 w 9154202"/>
                <a:gd name="connsiteY4499" fmla="*/ 1990644 h 2112317"/>
                <a:gd name="connsiteX4500" fmla="*/ 6246488 w 9154202"/>
                <a:gd name="connsiteY4500" fmla="*/ 1990147 h 2112317"/>
                <a:gd name="connsiteX4501" fmla="*/ 6247983 w 9154202"/>
                <a:gd name="connsiteY4501" fmla="*/ 1992833 h 2112317"/>
                <a:gd name="connsiteX4502" fmla="*/ 6249278 w 9154202"/>
                <a:gd name="connsiteY4502" fmla="*/ 1992833 h 2112317"/>
                <a:gd name="connsiteX4503" fmla="*/ 6250973 w 9154202"/>
                <a:gd name="connsiteY4503" fmla="*/ 1990943 h 2112317"/>
                <a:gd name="connsiteX4504" fmla="*/ 6253065 w 9154202"/>
                <a:gd name="connsiteY4504" fmla="*/ 1984575 h 2112317"/>
                <a:gd name="connsiteX4505" fmla="*/ 6254958 w 9154202"/>
                <a:gd name="connsiteY4505" fmla="*/ 1983182 h 2112317"/>
                <a:gd name="connsiteX4506" fmla="*/ 6256951 w 9154202"/>
                <a:gd name="connsiteY4506" fmla="*/ 1982188 h 2112317"/>
                <a:gd name="connsiteX4507" fmla="*/ 6264026 w 9154202"/>
                <a:gd name="connsiteY4507" fmla="*/ 1975621 h 2112317"/>
                <a:gd name="connsiteX4508" fmla="*/ 6269606 w 9154202"/>
                <a:gd name="connsiteY4508" fmla="*/ 1973234 h 2112317"/>
                <a:gd name="connsiteX4509" fmla="*/ 6309464 w 9154202"/>
                <a:gd name="connsiteY4509" fmla="*/ 1967065 h 2112317"/>
                <a:gd name="connsiteX4510" fmla="*/ 6314545 w 9154202"/>
                <a:gd name="connsiteY4510" fmla="*/ 1967065 h 2112317"/>
                <a:gd name="connsiteX4511" fmla="*/ 6319428 w 9154202"/>
                <a:gd name="connsiteY4511" fmla="*/ 1964976 h 2112317"/>
                <a:gd name="connsiteX4512" fmla="*/ 6322118 w 9154202"/>
                <a:gd name="connsiteY4512" fmla="*/ 1964479 h 2112317"/>
                <a:gd name="connsiteX4513" fmla="*/ 6327200 w 9154202"/>
                <a:gd name="connsiteY4513" fmla="*/ 1962191 h 2112317"/>
                <a:gd name="connsiteX4514" fmla="*/ 6329392 w 9154202"/>
                <a:gd name="connsiteY4514" fmla="*/ 1961594 h 2112317"/>
                <a:gd name="connsiteX4515" fmla="*/ 6332182 w 9154202"/>
                <a:gd name="connsiteY4515" fmla="*/ 1962290 h 2112317"/>
                <a:gd name="connsiteX4516" fmla="*/ 6338859 w 9154202"/>
                <a:gd name="connsiteY4516" fmla="*/ 1965076 h 2112317"/>
                <a:gd name="connsiteX4517" fmla="*/ 6341150 w 9154202"/>
                <a:gd name="connsiteY4517" fmla="*/ 1964379 h 2112317"/>
                <a:gd name="connsiteX4518" fmla="*/ 6343542 w 9154202"/>
                <a:gd name="connsiteY4518" fmla="*/ 1962887 h 2112317"/>
                <a:gd name="connsiteX4519" fmla="*/ 6346930 w 9154202"/>
                <a:gd name="connsiteY4519" fmla="*/ 1962887 h 2112317"/>
                <a:gd name="connsiteX4520" fmla="*/ 6357492 w 9154202"/>
                <a:gd name="connsiteY4520" fmla="*/ 1963484 h 2112317"/>
                <a:gd name="connsiteX4521" fmla="*/ 6358986 w 9154202"/>
                <a:gd name="connsiteY4521" fmla="*/ 1963484 h 2112317"/>
                <a:gd name="connsiteX4522" fmla="*/ 6359983 w 9154202"/>
                <a:gd name="connsiteY4522" fmla="*/ 1962688 h 2112317"/>
                <a:gd name="connsiteX4523" fmla="*/ 6360880 w 9154202"/>
                <a:gd name="connsiteY4523" fmla="*/ 1961594 h 2112317"/>
                <a:gd name="connsiteX4524" fmla="*/ 6361976 w 9154202"/>
                <a:gd name="connsiteY4524" fmla="*/ 1960599 h 2112317"/>
                <a:gd name="connsiteX4525" fmla="*/ 6363670 w 9154202"/>
                <a:gd name="connsiteY4525" fmla="*/ 1960599 h 2112317"/>
                <a:gd name="connsiteX4526" fmla="*/ 6373634 w 9154202"/>
                <a:gd name="connsiteY4526" fmla="*/ 1961892 h 2112317"/>
                <a:gd name="connsiteX4527" fmla="*/ 6394659 w 9154202"/>
                <a:gd name="connsiteY4527" fmla="*/ 1960798 h 2112317"/>
                <a:gd name="connsiteX4528" fmla="*/ 6400538 w 9154202"/>
                <a:gd name="connsiteY4528" fmla="*/ 1961793 h 2112317"/>
                <a:gd name="connsiteX4529" fmla="*/ 6406019 w 9154202"/>
                <a:gd name="connsiteY4529" fmla="*/ 1964877 h 2112317"/>
                <a:gd name="connsiteX4530" fmla="*/ 6408310 w 9154202"/>
                <a:gd name="connsiteY4530" fmla="*/ 1965474 h 2112317"/>
                <a:gd name="connsiteX4531" fmla="*/ 6409307 w 9154202"/>
                <a:gd name="connsiteY4531" fmla="*/ 1963384 h 2112317"/>
                <a:gd name="connsiteX4532" fmla="*/ 6410602 w 9154202"/>
                <a:gd name="connsiteY4532" fmla="*/ 1962290 h 2112317"/>
                <a:gd name="connsiteX4533" fmla="*/ 6424752 w 9154202"/>
                <a:gd name="connsiteY4533" fmla="*/ 1959206 h 2112317"/>
                <a:gd name="connsiteX4534" fmla="*/ 6427542 w 9154202"/>
                <a:gd name="connsiteY4534" fmla="*/ 1957813 h 2112317"/>
                <a:gd name="connsiteX4535" fmla="*/ 6429734 w 9154202"/>
                <a:gd name="connsiteY4535" fmla="*/ 1955823 h 2112317"/>
                <a:gd name="connsiteX4536" fmla="*/ 6431129 w 9154202"/>
                <a:gd name="connsiteY4536" fmla="*/ 1952640 h 2112317"/>
                <a:gd name="connsiteX4537" fmla="*/ 6429634 w 9154202"/>
                <a:gd name="connsiteY4537" fmla="*/ 1950451 h 2112317"/>
                <a:gd name="connsiteX4538" fmla="*/ 6424054 w 9154202"/>
                <a:gd name="connsiteY4538" fmla="*/ 1947864 h 2112317"/>
                <a:gd name="connsiteX4539" fmla="*/ 6417777 w 9154202"/>
                <a:gd name="connsiteY4539" fmla="*/ 1943586 h 2112317"/>
                <a:gd name="connsiteX4540" fmla="*/ 6414986 w 9154202"/>
                <a:gd name="connsiteY4540" fmla="*/ 1940403 h 2112317"/>
                <a:gd name="connsiteX4541" fmla="*/ 6414986 w 9154202"/>
                <a:gd name="connsiteY4541" fmla="*/ 1937617 h 2112317"/>
                <a:gd name="connsiteX4542" fmla="*/ 6416282 w 9154202"/>
                <a:gd name="connsiteY4542" fmla="*/ 1933240 h 2112317"/>
                <a:gd name="connsiteX4543" fmla="*/ 6413592 w 9154202"/>
                <a:gd name="connsiteY4543" fmla="*/ 1930355 h 2112317"/>
                <a:gd name="connsiteX4544" fmla="*/ 6410801 w 9154202"/>
                <a:gd name="connsiteY4544" fmla="*/ 1927967 h 2112317"/>
                <a:gd name="connsiteX4545" fmla="*/ 6411997 w 9154202"/>
                <a:gd name="connsiteY4545" fmla="*/ 1925181 h 2112317"/>
                <a:gd name="connsiteX4546" fmla="*/ 6411997 w 9154202"/>
                <a:gd name="connsiteY4546" fmla="*/ 1925181 h 2112317"/>
                <a:gd name="connsiteX4547" fmla="*/ 6411997 w 9154202"/>
                <a:gd name="connsiteY4547" fmla="*/ 1922993 h 2112317"/>
                <a:gd name="connsiteX4548" fmla="*/ 6412595 w 9154202"/>
                <a:gd name="connsiteY4548" fmla="*/ 1921401 h 2112317"/>
                <a:gd name="connsiteX4549" fmla="*/ 6413293 w 9154202"/>
                <a:gd name="connsiteY4549" fmla="*/ 1920107 h 2112317"/>
                <a:gd name="connsiteX4550" fmla="*/ 6413293 w 9154202"/>
                <a:gd name="connsiteY4550" fmla="*/ 1918715 h 2112317"/>
                <a:gd name="connsiteX4551" fmla="*/ 6413293 w 9154202"/>
                <a:gd name="connsiteY4551" fmla="*/ 1916725 h 2112317"/>
                <a:gd name="connsiteX4552" fmla="*/ 6413293 w 9154202"/>
                <a:gd name="connsiteY4552" fmla="*/ 1915034 h 2112317"/>
                <a:gd name="connsiteX4553" fmla="*/ 6412595 w 9154202"/>
                <a:gd name="connsiteY4553" fmla="*/ 1900906 h 2112317"/>
                <a:gd name="connsiteX4554" fmla="*/ 6411997 w 9154202"/>
                <a:gd name="connsiteY4554" fmla="*/ 1898121 h 2112317"/>
                <a:gd name="connsiteX4555" fmla="*/ 6411997 w 9154202"/>
                <a:gd name="connsiteY4555" fmla="*/ 1898121 h 2112317"/>
                <a:gd name="connsiteX4556" fmla="*/ 6409506 w 9154202"/>
                <a:gd name="connsiteY4556" fmla="*/ 1899215 h 2112317"/>
                <a:gd name="connsiteX4557" fmla="*/ 6397350 w 9154202"/>
                <a:gd name="connsiteY4557" fmla="*/ 1901006 h 2112317"/>
                <a:gd name="connsiteX4558" fmla="*/ 6394659 w 9154202"/>
                <a:gd name="connsiteY4558" fmla="*/ 1902598 h 2112317"/>
                <a:gd name="connsiteX4559" fmla="*/ 6390275 w 9154202"/>
                <a:gd name="connsiteY4559" fmla="*/ 1905881 h 2112317"/>
                <a:gd name="connsiteX4560" fmla="*/ 6382503 w 9154202"/>
                <a:gd name="connsiteY4560" fmla="*/ 1908766 h 2112317"/>
                <a:gd name="connsiteX4561" fmla="*/ 6380211 w 9154202"/>
                <a:gd name="connsiteY4561" fmla="*/ 1910557 h 2112317"/>
                <a:gd name="connsiteX4562" fmla="*/ 6377620 w 9154202"/>
                <a:gd name="connsiteY4562" fmla="*/ 1911949 h 2112317"/>
                <a:gd name="connsiteX4563" fmla="*/ 6374730 w 9154202"/>
                <a:gd name="connsiteY4563" fmla="*/ 1911353 h 2112317"/>
                <a:gd name="connsiteX4564" fmla="*/ 6369350 w 9154202"/>
                <a:gd name="connsiteY4564" fmla="*/ 1908865 h 2112317"/>
                <a:gd name="connsiteX4565" fmla="*/ 6363072 w 9154202"/>
                <a:gd name="connsiteY4565" fmla="*/ 1908268 h 2112317"/>
                <a:gd name="connsiteX4566" fmla="*/ 6350317 w 9154202"/>
                <a:gd name="connsiteY4566" fmla="*/ 1908865 h 2112317"/>
                <a:gd name="connsiteX4567" fmla="*/ 6344239 w 9154202"/>
                <a:gd name="connsiteY4567" fmla="*/ 1907870 h 2112317"/>
                <a:gd name="connsiteX4568" fmla="*/ 6331684 w 9154202"/>
                <a:gd name="connsiteY4568" fmla="*/ 1903891 h 2112317"/>
                <a:gd name="connsiteX4569" fmla="*/ 6325606 w 9154202"/>
                <a:gd name="connsiteY4569" fmla="*/ 1900608 h 2112317"/>
                <a:gd name="connsiteX4570" fmla="*/ 6321520 w 9154202"/>
                <a:gd name="connsiteY4570" fmla="*/ 1895932 h 2112317"/>
                <a:gd name="connsiteX4571" fmla="*/ 6321520 w 9154202"/>
                <a:gd name="connsiteY4571" fmla="*/ 1890062 h 2112317"/>
                <a:gd name="connsiteX4572" fmla="*/ 6324908 w 9154202"/>
                <a:gd name="connsiteY4572" fmla="*/ 1884889 h 2112317"/>
                <a:gd name="connsiteX4573" fmla="*/ 6333179 w 9154202"/>
                <a:gd name="connsiteY4573" fmla="*/ 1876532 h 2112317"/>
                <a:gd name="connsiteX4574" fmla="*/ 6341549 w 9154202"/>
                <a:gd name="connsiteY4574" fmla="*/ 1864096 h 2112317"/>
                <a:gd name="connsiteX4575" fmla="*/ 6342246 w 9154202"/>
                <a:gd name="connsiteY4575" fmla="*/ 1860713 h 2112317"/>
                <a:gd name="connsiteX4576" fmla="*/ 6342246 w 9154202"/>
                <a:gd name="connsiteY4576" fmla="*/ 1857331 h 2112317"/>
                <a:gd name="connsiteX4577" fmla="*/ 6343243 w 9154202"/>
                <a:gd name="connsiteY4577" fmla="*/ 1853849 h 2112317"/>
                <a:gd name="connsiteX4578" fmla="*/ 6344737 w 9154202"/>
                <a:gd name="connsiteY4578" fmla="*/ 1851959 h 2112317"/>
                <a:gd name="connsiteX4579" fmla="*/ 6347129 w 9154202"/>
                <a:gd name="connsiteY4579" fmla="*/ 1850168 h 2112317"/>
                <a:gd name="connsiteX4580" fmla="*/ 6349819 w 9154202"/>
                <a:gd name="connsiteY4580" fmla="*/ 1848874 h 2112317"/>
                <a:gd name="connsiteX4581" fmla="*/ 6352410 w 9154202"/>
                <a:gd name="connsiteY4581" fmla="*/ 1848377 h 2112317"/>
                <a:gd name="connsiteX4582" fmla="*/ 6355001 w 9154202"/>
                <a:gd name="connsiteY4582" fmla="*/ 1847382 h 2112317"/>
                <a:gd name="connsiteX4583" fmla="*/ 6356695 w 9154202"/>
                <a:gd name="connsiteY4583" fmla="*/ 1844895 h 2112317"/>
                <a:gd name="connsiteX4584" fmla="*/ 6357990 w 9154202"/>
                <a:gd name="connsiteY4584" fmla="*/ 1842010 h 2112317"/>
                <a:gd name="connsiteX4585" fmla="*/ 6359784 w 9154202"/>
                <a:gd name="connsiteY4585" fmla="*/ 1839722 h 2112317"/>
                <a:gd name="connsiteX4586" fmla="*/ 6362773 w 9154202"/>
                <a:gd name="connsiteY4586" fmla="*/ 1839125 h 2112317"/>
                <a:gd name="connsiteX4587" fmla="*/ 6370446 w 9154202"/>
                <a:gd name="connsiteY4587" fmla="*/ 1840319 h 2112317"/>
                <a:gd name="connsiteX4588" fmla="*/ 6372339 w 9154202"/>
                <a:gd name="connsiteY4588" fmla="*/ 1840319 h 2112317"/>
                <a:gd name="connsiteX4589" fmla="*/ 6374431 w 9154202"/>
                <a:gd name="connsiteY4589" fmla="*/ 1837931 h 2112317"/>
                <a:gd name="connsiteX4590" fmla="*/ 6376624 w 9154202"/>
                <a:gd name="connsiteY4590" fmla="*/ 1836240 h 2112317"/>
                <a:gd name="connsiteX4591" fmla="*/ 6383897 w 9154202"/>
                <a:gd name="connsiteY4591" fmla="*/ 1831663 h 2112317"/>
                <a:gd name="connsiteX4592" fmla="*/ 6393862 w 9154202"/>
                <a:gd name="connsiteY4592" fmla="*/ 1823008 h 2112317"/>
                <a:gd name="connsiteX4593" fmla="*/ 6399542 w 9154202"/>
                <a:gd name="connsiteY4593" fmla="*/ 1820023 h 2112317"/>
                <a:gd name="connsiteX4594" fmla="*/ 6402232 w 9154202"/>
                <a:gd name="connsiteY4594" fmla="*/ 1818232 h 2112317"/>
                <a:gd name="connsiteX4595" fmla="*/ 6403029 w 9154202"/>
                <a:gd name="connsiteY4595" fmla="*/ 1817038 h 2112317"/>
                <a:gd name="connsiteX4596" fmla="*/ 6404524 w 9154202"/>
                <a:gd name="connsiteY4596" fmla="*/ 1813954 h 2112317"/>
                <a:gd name="connsiteX4597" fmla="*/ 6405719 w 9154202"/>
                <a:gd name="connsiteY4597" fmla="*/ 1812661 h 2112317"/>
                <a:gd name="connsiteX4598" fmla="*/ 6407115 w 9154202"/>
                <a:gd name="connsiteY4598" fmla="*/ 1811766 h 2112317"/>
                <a:gd name="connsiteX4599" fmla="*/ 6408111 w 9154202"/>
                <a:gd name="connsiteY4599" fmla="*/ 1811766 h 2112317"/>
                <a:gd name="connsiteX4600" fmla="*/ 6411399 w 9154202"/>
                <a:gd name="connsiteY4600" fmla="*/ 1811766 h 2112317"/>
                <a:gd name="connsiteX4601" fmla="*/ 6414190 w 9154202"/>
                <a:gd name="connsiteY4601" fmla="*/ 1811169 h 2112317"/>
                <a:gd name="connsiteX4602" fmla="*/ 6422261 w 9154202"/>
                <a:gd name="connsiteY4602" fmla="*/ 1806294 h 2112317"/>
                <a:gd name="connsiteX4603" fmla="*/ 6425350 w 9154202"/>
                <a:gd name="connsiteY4603" fmla="*/ 1805398 h 2112317"/>
                <a:gd name="connsiteX4604" fmla="*/ 6435314 w 9154202"/>
                <a:gd name="connsiteY4604" fmla="*/ 1806294 h 2112317"/>
                <a:gd name="connsiteX4605" fmla="*/ 6438303 w 9154202"/>
                <a:gd name="connsiteY4605" fmla="*/ 1806294 h 2112317"/>
                <a:gd name="connsiteX4606" fmla="*/ 6443784 w 9154202"/>
                <a:gd name="connsiteY4606" fmla="*/ 1804205 h 2112317"/>
                <a:gd name="connsiteX4607" fmla="*/ 6461620 w 9154202"/>
                <a:gd name="connsiteY4607" fmla="*/ 1800921 h 2112317"/>
                <a:gd name="connsiteX4608" fmla="*/ 6469592 w 9154202"/>
                <a:gd name="connsiteY4608" fmla="*/ 1798036 h 2112317"/>
                <a:gd name="connsiteX4609" fmla="*/ 6472780 w 9154202"/>
                <a:gd name="connsiteY4609" fmla="*/ 1798036 h 2112317"/>
                <a:gd name="connsiteX4610" fmla="*/ 6482745 w 9154202"/>
                <a:gd name="connsiteY4610" fmla="*/ 1800126 h 2112317"/>
                <a:gd name="connsiteX4611" fmla="*/ 6485435 w 9154202"/>
                <a:gd name="connsiteY4611" fmla="*/ 1799628 h 2112317"/>
                <a:gd name="connsiteX4612" fmla="*/ 6492808 w 9154202"/>
                <a:gd name="connsiteY4612" fmla="*/ 1795649 h 2112317"/>
                <a:gd name="connsiteX4613" fmla="*/ 6510844 w 9154202"/>
                <a:gd name="connsiteY4613" fmla="*/ 1790973 h 2112317"/>
                <a:gd name="connsiteX4614" fmla="*/ 6543727 w 9154202"/>
                <a:gd name="connsiteY4614" fmla="*/ 1787988 h 2112317"/>
                <a:gd name="connsiteX4615" fmla="*/ 6546118 w 9154202"/>
                <a:gd name="connsiteY4615" fmla="*/ 1787292 h 2112317"/>
                <a:gd name="connsiteX4616" fmla="*/ 6558175 w 9154202"/>
                <a:gd name="connsiteY4616" fmla="*/ 1786695 h 2112317"/>
                <a:gd name="connsiteX4617" fmla="*/ 6571228 w 9154202"/>
                <a:gd name="connsiteY4617" fmla="*/ 1781422 h 2112317"/>
                <a:gd name="connsiteX4618" fmla="*/ 6573919 w 9154202"/>
                <a:gd name="connsiteY4618" fmla="*/ 1781422 h 2112317"/>
                <a:gd name="connsiteX4619" fmla="*/ 6581990 w 9154202"/>
                <a:gd name="connsiteY4619" fmla="*/ 1783511 h 2112317"/>
                <a:gd name="connsiteX4620" fmla="*/ 6587470 w 9154202"/>
                <a:gd name="connsiteY4620" fmla="*/ 1784208 h 2112317"/>
                <a:gd name="connsiteX4621" fmla="*/ 6586274 w 9154202"/>
                <a:gd name="connsiteY4621" fmla="*/ 1782516 h 2112317"/>
                <a:gd name="connsiteX4622" fmla="*/ 6584182 w 9154202"/>
                <a:gd name="connsiteY4622" fmla="*/ 1781720 h 2112317"/>
                <a:gd name="connsiteX4623" fmla="*/ 6579599 w 9154202"/>
                <a:gd name="connsiteY4623" fmla="*/ 1780825 h 2112317"/>
                <a:gd name="connsiteX4624" fmla="*/ 6580994 w 9154202"/>
                <a:gd name="connsiteY4624" fmla="*/ 1778835 h 2112317"/>
                <a:gd name="connsiteX4625" fmla="*/ 6583186 w 9154202"/>
                <a:gd name="connsiteY4625" fmla="*/ 1777741 h 2112317"/>
                <a:gd name="connsiteX4626" fmla="*/ 6585577 w 9154202"/>
                <a:gd name="connsiteY4626" fmla="*/ 1777741 h 2112317"/>
                <a:gd name="connsiteX4627" fmla="*/ 6587470 w 9154202"/>
                <a:gd name="connsiteY4627" fmla="*/ 1779532 h 2112317"/>
                <a:gd name="connsiteX4628" fmla="*/ 6589264 w 9154202"/>
                <a:gd name="connsiteY4628" fmla="*/ 1778636 h 2112317"/>
                <a:gd name="connsiteX4629" fmla="*/ 6594943 w 9154202"/>
                <a:gd name="connsiteY4629" fmla="*/ 1777343 h 2112317"/>
                <a:gd name="connsiteX4630" fmla="*/ 6596936 w 9154202"/>
                <a:gd name="connsiteY4630" fmla="*/ 1777343 h 2112317"/>
                <a:gd name="connsiteX4631" fmla="*/ 6605605 w 9154202"/>
                <a:gd name="connsiteY4631" fmla="*/ 1781720 h 2112317"/>
                <a:gd name="connsiteX4632" fmla="*/ 6604410 w 9154202"/>
                <a:gd name="connsiteY4632" fmla="*/ 1782914 h 2112317"/>
                <a:gd name="connsiteX4633" fmla="*/ 6602915 w 9154202"/>
                <a:gd name="connsiteY4633" fmla="*/ 1783611 h 2112317"/>
                <a:gd name="connsiteX4634" fmla="*/ 6601321 w 9154202"/>
                <a:gd name="connsiteY4634" fmla="*/ 1783611 h 2112317"/>
                <a:gd name="connsiteX4635" fmla="*/ 6599627 w 9154202"/>
                <a:gd name="connsiteY4635" fmla="*/ 1783611 h 2112317"/>
                <a:gd name="connsiteX4636" fmla="*/ 6601620 w 9154202"/>
                <a:gd name="connsiteY4636" fmla="*/ 1785700 h 2112317"/>
                <a:gd name="connsiteX4637" fmla="*/ 6610687 w 9154202"/>
                <a:gd name="connsiteY4637" fmla="*/ 1791868 h 2112317"/>
                <a:gd name="connsiteX4638" fmla="*/ 6612581 w 9154202"/>
                <a:gd name="connsiteY4638" fmla="*/ 1791868 h 2112317"/>
                <a:gd name="connsiteX4639" fmla="*/ 6617363 w 9154202"/>
                <a:gd name="connsiteY4639" fmla="*/ 1791868 h 2112317"/>
                <a:gd name="connsiteX4640" fmla="*/ 6627328 w 9154202"/>
                <a:gd name="connsiteY4640" fmla="*/ 1788884 h 2112317"/>
                <a:gd name="connsiteX4641" fmla="*/ 6632609 w 9154202"/>
                <a:gd name="connsiteY4641" fmla="*/ 1788287 h 2112317"/>
                <a:gd name="connsiteX4642" fmla="*/ 6635997 w 9154202"/>
                <a:gd name="connsiteY4642" fmla="*/ 1790774 h 2112317"/>
                <a:gd name="connsiteX4643" fmla="*/ 6638488 w 9154202"/>
                <a:gd name="connsiteY4643" fmla="*/ 1789381 h 2112317"/>
                <a:gd name="connsiteX4644" fmla="*/ 6641178 w 9154202"/>
                <a:gd name="connsiteY4644" fmla="*/ 1788585 h 2112317"/>
                <a:gd name="connsiteX4645" fmla="*/ 6639485 w 9154202"/>
                <a:gd name="connsiteY4645" fmla="*/ 1792167 h 2112317"/>
                <a:gd name="connsiteX4646" fmla="*/ 6636994 w 9154202"/>
                <a:gd name="connsiteY4646" fmla="*/ 1792167 h 2112317"/>
                <a:gd name="connsiteX4647" fmla="*/ 6631613 w 9154202"/>
                <a:gd name="connsiteY4647" fmla="*/ 1789480 h 2112317"/>
                <a:gd name="connsiteX4648" fmla="*/ 6634901 w 9154202"/>
                <a:gd name="connsiteY4648" fmla="*/ 1795748 h 2112317"/>
                <a:gd name="connsiteX4649" fmla="*/ 6640481 w 9154202"/>
                <a:gd name="connsiteY4649" fmla="*/ 1795748 h 2112317"/>
                <a:gd name="connsiteX4650" fmla="*/ 6646659 w 9154202"/>
                <a:gd name="connsiteY4650" fmla="*/ 1792962 h 2112317"/>
                <a:gd name="connsiteX4651" fmla="*/ 6651641 w 9154202"/>
                <a:gd name="connsiteY4651" fmla="*/ 1790077 h 2112317"/>
                <a:gd name="connsiteX4652" fmla="*/ 6649947 w 9154202"/>
                <a:gd name="connsiteY4652" fmla="*/ 1793360 h 2112317"/>
                <a:gd name="connsiteX4653" fmla="*/ 6643072 w 9154202"/>
                <a:gd name="connsiteY4653" fmla="*/ 1802115 h 2112317"/>
                <a:gd name="connsiteX4654" fmla="*/ 6645065 w 9154202"/>
                <a:gd name="connsiteY4654" fmla="*/ 1802812 h 2112317"/>
                <a:gd name="connsiteX4655" fmla="*/ 6651641 w 9154202"/>
                <a:gd name="connsiteY4655" fmla="*/ 1802812 h 2112317"/>
                <a:gd name="connsiteX4656" fmla="*/ 6651641 w 9154202"/>
                <a:gd name="connsiteY4656" fmla="*/ 1804801 h 2112317"/>
                <a:gd name="connsiteX4657" fmla="*/ 6651641 w 9154202"/>
                <a:gd name="connsiteY4657" fmla="*/ 1804801 h 2112317"/>
                <a:gd name="connsiteX4658" fmla="*/ 6656025 w 9154202"/>
                <a:gd name="connsiteY4658" fmla="*/ 1804801 h 2112317"/>
                <a:gd name="connsiteX4659" fmla="*/ 6657022 w 9154202"/>
                <a:gd name="connsiteY4659" fmla="*/ 1804801 h 2112317"/>
                <a:gd name="connsiteX4660" fmla="*/ 6657819 w 9154202"/>
                <a:gd name="connsiteY4660" fmla="*/ 1804205 h 2112317"/>
                <a:gd name="connsiteX4661" fmla="*/ 6658516 w 9154202"/>
                <a:gd name="connsiteY4661" fmla="*/ 1803309 h 2112317"/>
                <a:gd name="connsiteX4662" fmla="*/ 6661705 w 9154202"/>
                <a:gd name="connsiteY4662" fmla="*/ 1800722 h 2112317"/>
                <a:gd name="connsiteX4663" fmla="*/ 6675556 w 9154202"/>
                <a:gd name="connsiteY4663" fmla="*/ 1796246 h 2112317"/>
                <a:gd name="connsiteX4664" fmla="*/ 6682132 w 9154202"/>
                <a:gd name="connsiteY4664" fmla="*/ 1792863 h 2112317"/>
                <a:gd name="connsiteX4665" fmla="*/ 6684225 w 9154202"/>
                <a:gd name="connsiteY4665" fmla="*/ 1792067 h 2112317"/>
                <a:gd name="connsiteX4666" fmla="*/ 6689705 w 9154202"/>
                <a:gd name="connsiteY4666" fmla="*/ 1792067 h 2112317"/>
                <a:gd name="connsiteX4667" fmla="*/ 6691598 w 9154202"/>
                <a:gd name="connsiteY4667" fmla="*/ 1791371 h 2112317"/>
                <a:gd name="connsiteX4668" fmla="*/ 6690702 w 9154202"/>
                <a:gd name="connsiteY4668" fmla="*/ 1789381 h 2112317"/>
                <a:gd name="connsiteX4669" fmla="*/ 6686816 w 9154202"/>
                <a:gd name="connsiteY4669" fmla="*/ 1788386 h 2112317"/>
                <a:gd name="connsiteX4670" fmla="*/ 6676253 w 9154202"/>
                <a:gd name="connsiteY4670" fmla="*/ 1790674 h 2112317"/>
                <a:gd name="connsiteX4671" fmla="*/ 6672069 w 9154202"/>
                <a:gd name="connsiteY4671" fmla="*/ 1788884 h 2112317"/>
                <a:gd name="connsiteX4672" fmla="*/ 6668780 w 9154202"/>
                <a:gd name="connsiteY4672" fmla="*/ 1792366 h 2112317"/>
                <a:gd name="connsiteX4673" fmla="*/ 6667285 w 9154202"/>
                <a:gd name="connsiteY4673" fmla="*/ 1792366 h 2112317"/>
                <a:gd name="connsiteX4674" fmla="*/ 6667285 w 9154202"/>
                <a:gd name="connsiteY4674" fmla="*/ 1789480 h 2112317"/>
                <a:gd name="connsiteX4675" fmla="*/ 6668381 w 9154202"/>
                <a:gd name="connsiteY4675" fmla="*/ 1787192 h 2112317"/>
                <a:gd name="connsiteX4676" fmla="*/ 6671271 w 9154202"/>
                <a:gd name="connsiteY4676" fmla="*/ 1784506 h 2112317"/>
                <a:gd name="connsiteX4677" fmla="*/ 6671271 w 9154202"/>
                <a:gd name="connsiteY4677" fmla="*/ 1783014 h 2112317"/>
                <a:gd name="connsiteX4678" fmla="*/ 6674560 w 9154202"/>
                <a:gd name="connsiteY4678" fmla="*/ 1780527 h 2112317"/>
                <a:gd name="connsiteX4679" fmla="*/ 6682631 w 9154202"/>
                <a:gd name="connsiteY4679" fmla="*/ 1777343 h 2112317"/>
                <a:gd name="connsiteX4680" fmla="*/ 6685919 w 9154202"/>
                <a:gd name="connsiteY4680" fmla="*/ 1774358 h 2112317"/>
                <a:gd name="connsiteX4681" fmla="*/ 6685919 w 9154202"/>
                <a:gd name="connsiteY4681" fmla="*/ 1773264 h 2112317"/>
                <a:gd name="connsiteX4682" fmla="*/ 6685919 w 9154202"/>
                <a:gd name="connsiteY4682" fmla="*/ 1770777 h 2112317"/>
                <a:gd name="connsiteX4683" fmla="*/ 6686616 w 9154202"/>
                <a:gd name="connsiteY4683" fmla="*/ 1769483 h 2112317"/>
                <a:gd name="connsiteX4684" fmla="*/ 6687413 w 9154202"/>
                <a:gd name="connsiteY4684" fmla="*/ 1768687 h 2112317"/>
                <a:gd name="connsiteX4685" fmla="*/ 6689107 w 9154202"/>
                <a:gd name="connsiteY4685" fmla="*/ 1767295 h 2112317"/>
                <a:gd name="connsiteX4686" fmla="*/ 6691399 w 9154202"/>
                <a:gd name="connsiteY4686" fmla="*/ 1764708 h 2112317"/>
                <a:gd name="connsiteX4687" fmla="*/ 6691399 w 9154202"/>
                <a:gd name="connsiteY4687" fmla="*/ 1764211 h 2112317"/>
                <a:gd name="connsiteX4688" fmla="*/ 6688011 w 9154202"/>
                <a:gd name="connsiteY4688" fmla="*/ 1764211 h 2112317"/>
                <a:gd name="connsiteX4689" fmla="*/ 6686318 w 9154202"/>
                <a:gd name="connsiteY4689" fmla="*/ 1765006 h 2112317"/>
                <a:gd name="connsiteX4690" fmla="*/ 6682531 w 9154202"/>
                <a:gd name="connsiteY4690" fmla="*/ 1768787 h 2112317"/>
                <a:gd name="connsiteX4691" fmla="*/ 6671271 w 9154202"/>
                <a:gd name="connsiteY4691" fmla="*/ 1774259 h 2112317"/>
                <a:gd name="connsiteX4692" fmla="*/ 6668780 w 9154202"/>
                <a:gd name="connsiteY4692" fmla="*/ 1774259 h 2112317"/>
                <a:gd name="connsiteX4693" fmla="*/ 6664495 w 9154202"/>
                <a:gd name="connsiteY4693" fmla="*/ 1773165 h 2112317"/>
                <a:gd name="connsiteX4694" fmla="*/ 6662104 w 9154202"/>
                <a:gd name="connsiteY4694" fmla="*/ 1773662 h 2112317"/>
                <a:gd name="connsiteX4695" fmla="*/ 6657122 w 9154202"/>
                <a:gd name="connsiteY4695" fmla="*/ 1775353 h 2112317"/>
                <a:gd name="connsiteX4696" fmla="*/ 6656225 w 9154202"/>
                <a:gd name="connsiteY4696" fmla="*/ 1775353 h 2112317"/>
                <a:gd name="connsiteX4697" fmla="*/ 6659513 w 9154202"/>
                <a:gd name="connsiteY4697" fmla="*/ 1770976 h 2112317"/>
                <a:gd name="connsiteX4698" fmla="*/ 6661605 w 9154202"/>
                <a:gd name="connsiteY4698" fmla="*/ 1765802 h 2112317"/>
                <a:gd name="connsiteX4699" fmla="*/ 6664894 w 9154202"/>
                <a:gd name="connsiteY4699" fmla="*/ 1753665 h 2112317"/>
                <a:gd name="connsiteX4700" fmla="*/ 6662801 w 9154202"/>
                <a:gd name="connsiteY4700" fmla="*/ 1753665 h 2112317"/>
                <a:gd name="connsiteX4701" fmla="*/ 6655328 w 9154202"/>
                <a:gd name="connsiteY4701" fmla="*/ 1756152 h 2112317"/>
                <a:gd name="connsiteX4702" fmla="*/ 6651542 w 9154202"/>
                <a:gd name="connsiteY4702" fmla="*/ 1758241 h 2112317"/>
                <a:gd name="connsiteX4703" fmla="*/ 6649748 w 9154202"/>
                <a:gd name="connsiteY4703" fmla="*/ 1758241 h 2112317"/>
                <a:gd name="connsiteX4704" fmla="*/ 6641976 w 9154202"/>
                <a:gd name="connsiteY4704" fmla="*/ 1758241 h 2112317"/>
                <a:gd name="connsiteX4705" fmla="*/ 6639983 w 9154202"/>
                <a:gd name="connsiteY4705" fmla="*/ 1758838 h 2112317"/>
                <a:gd name="connsiteX4706" fmla="*/ 6636794 w 9154202"/>
                <a:gd name="connsiteY4706" fmla="*/ 1761624 h 2112317"/>
                <a:gd name="connsiteX4707" fmla="*/ 6635300 w 9154202"/>
                <a:gd name="connsiteY4707" fmla="*/ 1762619 h 2112317"/>
                <a:gd name="connsiteX4708" fmla="*/ 6635300 w 9154202"/>
                <a:gd name="connsiteY4708" fmla="*/ 1763813 h 2112317"/>
                <a:gd name="connsiteX4709" fmla="*/ 6636396 w 9154202"/>
                <a:gd name="connsiteY4709" fmla="*/ 1763813 h 2112317"/>
                <a:gd name="connsiteX4710" fmla="*/ 6639783 w 9154202"/>
                <a:gd name="connsiteY4710" fmla="*/ 1763813 h 2112317"/>
                <a:gd name="connsiteX4711" fmla="*/ 6639783 w 9154202"/>
                <a:gd name="connsiteY4711" fmla="*/ 1764807 h 2112317"/>
                <a:gd name="connsiteX4712" fmla="*/ 6634403 w 9154202"/>
                <a:gd name="connsiteY4712" fmla="*/ 1766797 h 2112317"/>
                <a:gd name="connsiteX4713" fmla="*/ 6631712 w 9154202"/>
                <a:gd name="connsiteY4713" fmla="*/ 1766797 h 2112317"/>
                <a:gd name="connsiteX4714" fmla="*/ 6630118 w 9154202"/>
                <a:gd name="connsiteY4714" fmla="*/ 1764907 h 2112317"/>
                <a:gd name="connsiteX4715" fmla="*/ 6631214 w 9154202"/>
                <a:gd name="connsiteY4715" fmla="*/ 1764310 h 2112317"/>
                <a:gd name="connsiteX4716" fmla="*/ 6631812 w 9154202"/>
                <a:gd name="connsiteY4716" fmla="*/ 1763713 h 2112317"/>
                <a:gd name="connsiteX4717" fmla="*/ 6632809 w 9154202"/>
                <a:gd name="connsiteY4717" fmla="*/ 1761723 h 2112317"/>
                <a:gd name="connsiteX4718" fmla="*/ 6632111 w 9154202"/>
                <a:gd name="connsiteY4718" fmla="*/ 1761723 h 2112317"/>
                <a:gd name="connsiteX4719" fmla="*/ 6632111 w 9154202"/>
                <a:gd name="connsiteY4719" fmla="*/ 1761126 h 2112317"/>
                <a:gd name="connsiteX4720" fmla="*/ 6632111 w 9154202"/>
                <a:gd name="connsiteY4720" fmla="*/ 1760530 h 2112317"/>
                <a:gd name="connsiteX4721" fmla="*/ 6632111 w 9154202"/>
                <a:gd name="connsiteY4721" fmla="*/ 1760032 h 2112317"/>
                <a:gd name="connsiteX4722" fmla="*/ 6633107 w 9154202"/>
                <a:gd name="connsiteY4722" fmla="*/ 1760032 h 2112317"/>
                <a:gd name="connsiteX4723" fmla="*/ 6635598 w 9154202"/>
                <a:gd name="connsiteY4723" fmla="*/ 1759037 h 2112317"/>
                <a:gd name="connsiteX4724" fmla="*/ 6635598 w 9154202"/>
                <a:gd name="connsiteY4724" fmla="*/ 1758042 h 2112317"/>
                <a:gd name="connsiteX4725" fmla="*/ 6625036 w 9154202"/>
                <a:gd name="connsiteY4725" fmla="*/ 1759137 h 2112317"/>
                <a:gd name="connsiteX4726" fmla="*/ 6622745 w 9154202"/>
                <a:gd name="connsiteY4726" fmla="*/ 1759137 h 2112317"/>
                <a:gd name="connsiteX4727" fmla="*/ 6621748 w 9154202"/>
                <a:gd name="connsiteY4727" fmla="*/ 1759137 h 2112317"/>
                <a:gd name="connsiteX4728" fmla="*/ 6620552 w 9154202"/>
                <a:gd name="connsiteY4728" fmla="*/ 1759933 h 2112317"/>
                <a:gd name="connsiteX4729" fmla="*/ 6618260 w 9154202"/>
                <a:gd name="connsiteY4729" fmla="*/ 1762022 h 2112317"/>
                <a:gd name="connsiteX4730" fmla="*/ 6616965 w 9154202"/>
                <a:gd name="connsiteY4730" fmla="*/ 1762022 h 2112317"/>
                <a:gd name="connsiteX4731" fmla="*/ 6612282 w 9154202"/>
                <a:gd name="connsiteY4731" fmla="*/ 1763017 h 2112317"/>
                <a:gd name="connsiteX4732" fmla="*/ 6604310 w 9154202"/>
                <a:gd name="connsiteY4732" fmla="*/ 1767892 h 2112317"/>
                <a:gd name="connsiteX4733" fmla="*/ 6600025 w 9154202"/>
                <a:gd name="connsiteY4733" fmla="*/ 1769583 h 2112317"/>
                <a:gd name="connsiteX4734" fmla="*/ 6600025 w 9154202"/>
                <a:gd name="connsiteY4734" fmla="*/ 1766399 h 2112317"/>
                <a:gd name="connsiteX4735" fmla="*/ 6601321 w 9154202"/>
                <a:gd name="connsiteY4735" fmla="*/ 1764012 h 2112317"/>
                <a:gd name="connsiteX4736" fmla="*/ 6603513 w 9154202"/>
                <a:gd name="connsiteY4736" fmla="*/ 1762519 h 2112317"/>
                <a:gd name="connsiteX4737" fmla="*/ 6609492 w 9154202"/>
                <a:gd name="connsiteY4737" fmla="*/ 1761723 h 2112317"/>
                <a:gd name="connsiteX4738" fmla="*/ 6626232 w 9154202"/>
                <a:gd name="connsiteY4738" fmla="*/ 1754859 h 2112317"/>
                <a:gd name="connsiteX4739" fmla="*/ 6630118 w 9154202"/>
                <a:gd name="connsiteY4739" fmla="*/ 1753963 h 2112317"/>
                <a:gd name="connsiteX4740" fmla="*/ 6631314 w 9154202"/>
                <a:gd name="connsiteY4740" fmla="*/ 1753963 h 2112317"/>
                <a:gd name="connsiteX4741" fmla="*/ 6632509 w 9154202"/>
                <a:gd name="connsiteY4741" fmla="*/ 1753963 h 2112317"/>
                <a:gd name="connsiteX4742" fmla="*/ 6633905 w 9154202"/>
                <a:gd name="connsiteY4742" fmla="*/ 1755356 h 2112317"/>
                <a:gd name="connsiteX4743" fmla="*/ 6635100 w 9154202"/>
                <a:gd name="connsiteY4743" fmla="*/ 1755953 h 2112317"/>
                <a:gd name="connsiteX4744" fmla="*/ 6636296 w 9154202"/>
                <a:gd name="connsiteY4744" fmla="*/ 1755953 h 2112317"/>
                <a:gd name="connsiteX4745" fmla="*/ 6639086 w 9154202"/>
                <a:gd name="connsiteY4745" fmla="*/ 1754958 h 2112317"/>
                <a:gd name="connsiteX4746" fmla="*/ 6640182 w 9154202"/>
                <a:gd name="connsiteY4746" fmla="*/ 1754063 h 2112317"/>
                <a:gd name="connsiteX4747" fmla="*/ 6641278 w 9154202"/>
                <a:gd name="connsiteY4747" fmla="*/ 1752969 h 2112317"/>
                <a:gd name="connsiteX4748" fmla="*/ 6642274 w 9154202"/>
                <a:gd name="connsiteY4748" fmla="*/ 1752073 h 2112317"/>
                <a:gd name="connsiteX4749" fmla="*/ 6643670 w 9154202"/>
                <a:gd name="connsiteY4749" fmla="*/ 1752073 h 2112317"/>
                <a:gd name="connsiteX4750" fmla="*/ 6645065 w 9154202"/>
                <a:gd name="connsiteY4750" fmla="*/ 1752869 h 2112317"/>
                <a:gd name="connsiteX4751" fmla="*/ 6647556 w 9154202"/>
                <a:gd name="connsiteY4751" fmla="*/ 1755655 h 2112317"/>
                <a:gd name="connsiteX4752" fmla="*/ 6649150 w 9154202"/>
                <a:gd name="connsiteY4752" fmla="*/ 1756351 h 2112317"/>
                <a:gd name="connsiteX4753" fmla="*/ 6651940 w 9154202"/>
                <a:gd name="connsiteY4753" fmla="*/ 1755754 h 2112317"/>
                <a:gd name="connsiteX4754" fmla="*/ 6668680 w 9154202"/>
                <a:gd name="connsiteY4754" fmla="*/ 1748890 h 2112317"/>
                <a:gd name="connsiteX4755" fmla="*/ 6671769 w 9154202"/>
                <a:gd name="connsiteY4755" fmla="*/ 1748890 h 2112317"/>
                <a:gd name="connsiteX4756" fmla="*/ 6673563 w 9154202"/>
                <a:gd name="connsiteY4756" fmla="*/ 1748890 h 2112317"/>
                <a:gd name="connsiteX4757" fmla="*/ 6673563 w 9154202"/>
                <a:gd name="connsiteY4757" fmla="*/ 1749685 h 2112317"/>
                <a:gd name="connsiteX4758" fmla="*/ 6671171 w 9154202"/>
                <a:gd name="connsiteY4758" fmla="*/ 1751476 h 2112317"/>
                <a:gd name="connsiteX4759" fmla="*/ 6669478 w 9154202"/>
                <a:gd name="connsiteY4759" fmla="*/ 1753366 h 2112317"/>
                <a:gd name="connsiteX4760" fmla="*/ 6668780 w 9154202"/>
                <a:gd name="connsiteY4760" fmla="*/ 1754361 h 2112317"/>
                <a:gd name="connsiteX4761" fmla="*/ 6668182 w 9154202"/>
                <a:gd name="connsiteY4761" fmla="*/ 1756351 h 2112317"/>
                <a:gd name="connsiteX4762" fmla="*/ 6667584 w 9154202"/>
                <a:gd name="connsiteY4762" fmla="*/ 1760629 h 2112317"/>
                <a:gd name="connsiteX4763" fmla="*/ 6668880 w 9154202"/>
                <a:gd name="connsiteY4763" fmla="*/ 1761425 h 2112317"/>
                <a:gd name="connsiteX4764" fmla="*/ 6671072 w 9154202"/>
                <a:gd name="connsiteY4764" fmla="*/ 1760331 h 2112317"/>
                <a:gd name="connsiteX4765" fmla="*/ 6683727 w 9154202"/>
                <a:gd name="connsiteY4765" fmla="*/ 1750879 h 2112317"/>
                <a:gd name="connsiteX4766" fmla="*/ 6684623 w 9154202"/>
                <a:gd name="connsiteY4766" fmla="*/ 1752272 h 2112317"/>
                <a:gd name="connsiteX4767" fmla="*/ 6685620 w 9154202"/>
                <a:gd name="connsiteY4767" fmla="*/ 1753267 h 2112317"/>
                <a:gd name="connsiteX4768" fmla="*/ 6686816 w 9154202"/>
                <a:gd name="connsiteY4768" fmla="*/ 1753963 h 2112317"/>
                <a:gd name="connsiteX4769" fmla="*/ 6688111 w 9154202"/>
                <a:gd name="connsiteY4769" fmla="*/ 1753963 h 2112317"/>
                <a:gd name="connsiteX4770" fmla="*/ 6688111 w 9154202"/>
                <a:gd name="connsiteY4770" fmla="*/ 1754461 h 2112317"/>
                <a:gd name="connsiteX4771" fmla="*/ 6689805 w 9154202"/>
                <a:gd name="connsiteY4771" fmla="*/ 1753963 h 2112317"/>
                <a:gd name="connsiteX4772" fmla="*/ 6696880 w 9154202"/>
                <a:gd name="connsiteY4772" fmla="*/ 1751078 h 2112317"/>
                <a:gd name="connsiteX4773" fmla="*/ 6699869 w 9154202"/>
                <a:gd name="connsiteY4773" fmla="*/ 1751078 h 2112317"/>
                <a:gd name="connsiteX4774" fmla="*/ 6699869 w 9154202"/>
                <a:gd name="connsiteY4774" fmla="*/ 1754859 h 2112317"/>
                <a:gd name="connsiteX4775" fmla="*/ 6698773 w 9154202"/>
                <a:gd name="connsiteY4775" fmla="*/ 1755754 h 2112317"/>
                <a:gd name="connsiteX4776" fmla="*/ 6700666 w 9154202"/>
                <a:gd name="connsiteY4776" fmla="*/ 1755257 h 2112317"/>
                <a:gd name="connsiteX4777" fmla="*/ 6708040 w 9154202"/>
                <a:gd name="connsiteY4777" fmla="*/ 1750481 h 2112317"/>
                <a:gd name="connsiteX4778" fmla="*/ 6713221 w 9154202"/>
                <a:gd name="connsiteY4778" fmla="*/ 1748193 h 2112317"/>
                <a:gd name="connsiteX4779" fmla="*/ 6717805 w 9154202"/>
                <a:gd name="connsiteY4779" fmla="*/ 1747198 h 2112317"/>
                <a:gd name="connsiteX4780" fmla="*/ 6718901 w 9154202"/>
                <a:gd name="connsiteY4780" fmla="*/ 1746601 h 2112317"/>
                <a:gd name="connsiteX4781" fmla="*/ 6720495 w 9154202"/>
                <a:gd name="connsiteY4781" fmla="*/ 1745209 h 2112317"/>
                <a:gd name="connsiteX4782" fmla="*/ 6721492 w 9154202"/>
                <a:gd name="connsiteY4782" fmla="*/ 1745209 h 2112317"/>
                <a:gd name="connsiteX4783" fmla="*/ 6722289 w 9154202"/>
                <a:gd name="connsiteY4783" fmla="*/ 1746203 h 2112317"/>
                <a:gd name="connsiteX4784" fmla="*/ 6723285 w 9154202"/>
                <a:gd name="connsiteY4784" fmla="*/ 1746800 h 2112317"/>
                <a:gd name="connsiteX4785" fmla="*/ 6729164 w 9154202"/>
                <a:gd name="connsiteY4785" fmla="*/ 1746800 h 2112317"/>
                <a:gd name="connsiteX4786" fmla="*/ 6732951 w 9154202"/>
                <a:gd name="connsiteY4786" fmla="*/ 1745407 h 2112317"/>
                <a:gd name="connsiteX4787" fmla="*/ 6735442 w 9154202"/>
                <a:gd name="connsiteY4787" fmla="*/ 1744811 h 2112317"/>
                <a:gd name="connsiteX4788" fmla="*/ 6735940 w 9154202"/>
                <a:gd name="connsiteY4788" fmla="*/ 1744811 h 2112317"/>
                <a:gd name="connsiteX4789" fmla="*/ 6736538 w 9154202"/>
                <a:gd name="connsiteY4789" fmla="*/ 1744811 h 2112317"/>
                <a:gd name="connsiteX4790" fmla="*/ 6738631 w 9154202"/>
                <a:gd name="connsiteY4790" fmla="*/ 1742423 h 2112317"/>
                <a:gd name="connsiteX4791" fmla="*/ 6739826 w 9154202"/>
                <a:gd name="connsiteY4791" fmla="*/ 1741627 h 2112317"/>
                <a:gd name="connsiteX4792" fmla="*/ 6740922 w 9154202"/>
                <a:gd name="connsiteY4792" fmla="*/ 1742224 h 2112317"/>
                <a:gd name="connsiteX4793" fmla="*/ 6741918 w 9154202"/>
                <a:gd name="connsiteY4793" fmla="*/ 1743418 h 2112317"/>
                <a:gd name="connsiteX4794" fmla="*/ 6742915 w 9154202"/>
                <a:gd name="connsiteY4794" fmla="*/ 1744114 h 2112317"/>
                <a:gd name="connsiteX4795" fmla="*/ 6744310 w 9154202"/>
                <a:gd name="connsiteY4795" fmla="*/ 1744114 h 2112317"/>
                <a:gd name="connsiteX4796" fmla="*/ 6748595 w 9154202"/>
                <a:gd name="connsiteY4796" fmla="*/ 1741229 h 2112317"/>
                <a:gd name="connsiteX4797" fmla="*/ 6758559 w 9154202"/>
                <a:gd name="connsiteY4797" fmla="*/ 1736752 h 2112317"/>
                <a:gd name="connsiteX4798" fmla="*/ 6759855 w 9154202"/>
                <a:gd name="connsiteY4798" fmla="*/ 1735658 h 2112317"/>
                <a:gd name="connsiteX4799" fmla="*/ 6760751 w 9154202"/>
                <a:gd name="connsiteY4799" fmla="*/ 1734563 h 2112317"/>
                <a:gd name="connsiteX4800" fmla="*/ 6761748 w 9154202"/>
                <a:gd name="connsiteY4800" fmla="*/ 1733867 h 2112317"/>
                <a:gd name="connsiteX4801" fmla="*/ 6767727 w 9154202"/>
                <a:gd name="connsiteY4801" fmla="*/ 1732375 h 2112317"/>
                <a:gd name="connsiteX4802" fmla="*/ 6770816 w 9154202"/>
                <a:gd name="connsiteY4802" fmla="*/ 1730484 h 2112317"/>
                <a:gd name="connsiteX4803" fmla="*/ 6779385 w 9154202"/>
                <a:gd name="connsiteY4803" fmla="*/ 1730484 h 2112317"/>
                <a:gd name="connsiteX4804" fmla="*/ 6781478 w 9154202"/>
                <a:gd name="connsiteY4804" fmla="*/ 1729390 h 2112317"/>
                <a:gd name="connsiteX4805" fmla="*/ 6786958 w 9154202"/>
                <a:gd name="connsiteY4805" fmla="*/ 1725709 h 2112317"/>
                <a:gd name="connsiteX4806" fmla="*/ 6789449 w 9154202"/>
                <a:gd name="connsiteY4806" fmla="*/ 1724913 h 2112317"/>
                <a:gd name="connsiteX4807" fmla="*/ 6799413 w 9154202"/>
                <a:gd name="connsiteY4807" fmla="*/ 1723819 h 2112317"/>
                <a:gd name="connsiteX4808" fmla="*/ 6803897 w 9154202"/>
                <a:gd name="connsiteY4808" fmla="*/ 1722028 h 2112317"/>
                <a:gd name="connsiteX4809" fmla="*/ 6807983 w 9154202"/>
                <a:gd name="connsiteY4809" fmla="*/ 1719541 h 2112317"/>
                <a:gd name="connsiteX4810" fmla="*/ 6820338 w 9154202"/>
                <a:gd name="connsiteY4810" fmla="*/ 1705812 h 2112317"/>
                <a:gd name="connsiteX4811" fmla="*/ 6824424 w 9154202"/>
                <a:gd name="connsiteY4811" fmla="*/ 1703125 h 2112317"/>
                <a:gd name="connsiteX4812" fmla="*/ 6827015 w 9154202"/>
                <a:gd name="connsiteY4812" fmla="*/ 1704220 h 2112317"/>
                <a:gd name="connsiteX4813" fmla="*/ 6827015 w 9154202"/>
                <a:gd name="connsiteY4813" fmla="*/ 1704220 h 2112317"/>
                <a:gd name="connsiteX4814" fmla="*/ 6831598 w 9154202"/>
                <a:gd name="connsiteY4814" fmla="*/ 1699345 h 2112317"/>
                <a:gd name="connsiteX4815" fmla="*/ 6838573 w 9154202"/>
                <a:gd name="connsiteY4815" fmla="*/ 1690689 h 2112317"/>
                <a:gd name="connsiteX4816" fmla="*/ 6853919 w 9154202"/>
                <a:gd name="connsiteY4816" fmla="*/ 1677955 h 2112317"/>
                <a:gd name="connsiteX4817" fmla="*/ 6869463 w 9154202"/>
                <a:gd name="connsiteY4817" fmla="*/ 1665121 h 2112317"/>
                <a:gd name="connsiteX4818" fmla="*/ 6883911 w 9154202"/>
                <a:gd name="connsiteY4818" fmla="*/ 1653183 h 2112317"/>
                <a:gd name="connsiteX4819" fmla="*/ 6892979 w 9154202"/>
                <a:gd name="connsiteY4819" fmla="*/ 1645622 h 2112317"/>
                <a:gd name="connsiteX4820" fmla="*/ 6910815 w 9154202"/>
                <a:gd name="connsiteY4820" fmla="*/ 1635673 h 2112317"/>
                <a:gd name="connsiteX4821" fmla="*/ 6917691 w 9154202"/>
                <a:gd name="connsiteY4821" fmla="*/ 1634081 h 2112317"/>
                <a:gd name="connsiteX4822" fmla="*/ 6919784 w 9154202"/>
                <a:gd name="connsiteY4822" fmla="*/ 1633186 h 2112317"/>
                <a:gd name="connsiteX4823" fmla="*/ 6925364 w 9154202"/>
                <a:gd name="connsiteY4823" fmla="*/ 1629206 h 2112317"/>
                <a:gd name="connsiteX4824" fmla="*/ 6927456 w 9154202"/>
                <a:gd name="connsiteY4824" fmla="*/ 1628112 h 2112317"/>
                <a:gd name="connsiteX4825" fmla="*/ 6934830 w 9154202"/>
                <a:gd name="connsiteY4825" fmla="*/ 1625724 h 2112317"/>
                <a:gd name="connsiteX4826" fmla="*/ 6939413 w 9154202"/>
                <a:gd name="connsiteY4826" fmla="*/ 1622938 h 2112317"/>
                <a:gd name="connsiteX4827" fmla="*/ 6941606 w 9154202"/>
                <a:gd name="connsiteY4827" fmla="*/ 1622242 h 2112317"/>
                <a:gd name="connsiteX4828" fmla="*/ 6943897 w 9154202"/>
                <a:gd name="connsiteY4828" fmla="*/ 1622242 h 2112317"/>
                <a:gd name="connsiteX4829" fmla="*/ 6960040 w 9154202"/>
                <a:gd name="connsiteY4829" fmla="*/ 1624033 h 2112317"/>
                <a:gd name="connsiteX4830" fmla="*/ 6963627 w 9154202"/>
                <a:gd name="connsiteY4830" fmla="*/ 1624033 h 2112317"/>
                <a:gd name="connsiteX4831" fmla="*/ 6971200 w 9154202"/>
                <a:gd name="connsiteY4831" fmla="*/ 1617168 h 2112317"/>
                <a:gd name="connsiteX4832" fmla="*/ 6984552 w 9154202"/>
                <a:gd name="connsiteY4832" fmla="*/ 1611099 h 2112317"/>
                <a:gd name="connsiteX4833" fmla="*/ 6987342 w 9154202"/>
                <a:gd name="connsiteY4833" fmla="*/ 1609408 h 2112317"/>
                <a:gd name="connsiteX4834" fmla="*/ 6988438 w 9154202"/>
                <a:gd name="connsiteY4834" fmla="*/ 1607219 h 2112317"/>
                <a:gd name="connsiteX4835" fmla="*/ 6989335 w 9154202"/>
                <a:gd name="connsiteY4835" fmla="*/ 1603936 h 2112317"/>
                <a:gd name="connsiteX4836" fmla="*/ 6991428 w 9154202"/>
                <a:gd name="connsiteY4836" fmla="*/ 1600554 h 2112317"/>
                <a:gd name="connsiteX4837" fmla="*/ 6994019 w 9154202"/>
                <a:gd name="connsiteY4837" fmla="*/ 1597569 h 2112317"/>
                <a:gd name="connsiteX4838" fmla="*/ 6996410 w 9154202"/>
                <a:gd name="connsiteY4838" fmla="*/ 1595778 h 2112317"/>
                <a:gd name="connsiteX4839" fmla="*/ 6997705 w 9154202"/>
                <a:gd name="connsiteY4839" fmla="*/ 1595778 h 2112317"/>
                <a:gd name="connsiteX4840" fmla="*/ 7001591 w 9154202"/>
                <a:gd name="connsiteY4840" fmla="*/ 1595182 h 2112317"/>
                <a:gd name="connsiteX4841" fmla="*/ 7002986 w 9154202"/>
                <a:gd name="connsiteY4841" fmla="*/ 1594485 h 2112317"/>
                <a:gd name="connsiteX4842" fmla="*/ 7005975 w 9154202"/>
                <a:gd name="connsiteY4842" fmla="*/ 1592296 h 2112317"/>
                <a:gd name="connsiteX4843" fmla="*/ 7006474 w 9154202"/>
                <a:gd name="connsiteY4843" fmla="*/ 1591799 h 2112317"/>
                <a:gd name="connsiteX4844" fmla="*/ 7007869 w 9154202"/>
                <a:gd name="connsiteY4844" fmla="*/ 1591302 h 2112317"/>
                <a:gd name="connsiteX4845" fmla="*/ 7010061 w 9154202"/>
                <a:gd name="connsiteY4845" fmla="*/ 1589013 h 2112317"/>
                <a:gd name="connsiteX4846" fmla="*/ 7011655 w 9154202"/>
                <a:gd name="connsiteY4846" fmla="*/ 1588416 h 2112317"/>
                <a:gd name="connsiteX4847" fmla="*/ 7013250 w 9154202"/>
                <a:gd name="connsiteY4847" fmla="*/ 1588416 h 2112317"/>
                <a:gd name="connsiteX4848" fmla="*/ 7014246 w 9154202"/>
                <a:gd name="connsiteY4848" fmla="*/ 1587919 h 2112317"/>
                <a:gd name="connsiteX4849" fmla="*/ 7015043 w 9154202"/>
                <a:gd name="connsiteY4849" fmla="*/ 1587123 h 2112317"/>
                <a:gd name="connsiteX4850" fmla="*/ 7021321 w 9154202"/>
                <a:gd name="connsiteY4850" fmla="*/ 1583939 h 2112317"/>
                <a:gd name="connsiteX4851" fmla="*/ 7016039 w 9154202"/>
                <a:gd name="connsiteY4851" fmla="*/ 1583939 h 2112317"/>
                <a:gd name="connsiteX4852" fmla="*/ 7015143 w 9154202"/>
                <a:gd name="connsiteY4852" fmla="*/ 1583939 h 2112317"/>
                <a:gd name="connsiteX4853" fmla="*/ 7014246 w 9154202"/>
                <a:gd name="connsiteY4853" fmla="*/ 1583939 h 2112317"/>
                <a:gd name="connsiteX4854" fmla="*/ 7013548 w 9154202"/>
                <a:gd name="connsiteY4854" fmla="*/ 1583243 h 2112317"/>
                <a:gd name="connsiteX4855" fmla="*/ 7012752 w 9154202"/>
                <a:gd name="connsiteY4855" fmla="*/ 1581651 h 2112317"/>
                <a:gd name="connsiteX4856" fmla="*/ 7012752 w 9154202"/>
                <a:gd name="connsiteY4856" fmla="*/ 1580159 h 2112317"/>
                <a:gd name="connsiteX4857" fmla="*/ 7012752 w 9154202"/>
                <a:gd name="connsiteY4857" fmla="*/ 1578766 h 2112317"/>
                <a:gd name="connsiteX4858" fmla="*/ 7013848 w 9154202"/>
                <a:gd name="connsiteY4858" fmla="*/ 1577572 h 2112317"/>
                <a:gd name="connsiteX4859" fmla="*/ 7015442 w 9154202"/>
                <a:gd name="connsiteY4859" fmla="*/ 1576478 h 2112317"/>
                <a:gd name="connsiteX4860" fmla="*/ 7017135 w 9154202"/>
                <a:gd name="connsiteY4860" fmla="*/ 1575582 h 2112317"/>
                <a:gd name="connsiteX4861" fmla="*/ 7018032 w 9154202"/>
                <a:gd name="connsiteY4861" fmla="*/ 1575582 h 2112317"/>
                <a:gd name="connsiteX4862" fmla="*/ 7027997 w 9154202"/>
                <a:gd name="connsiteY4862" fmla="*/ 1576080 h 2112317"/>
                <a:gd name="connsiteX4863" fmla="*/ 7029392 w 9154202"/>
                <a:gd name="connsiteY4863" fmla="*/ 1576080 h 2112317"/>
                <a:gd name="connsiteX4864" fmla="*/ 7033278 w 9154202"/>
                <a:gd name="connsiteY4864" fmla="*/ 1574588 h 2112317"/>
                <a:gd name="connsiteX4865" fmla="*/ 7034075 w 9154202"/>
                <a:gd name="connsiteY4865" fmla="*/ 1573991 h 2112317"/>
                <a:gd name="connsiteX4866" fmla="*/ 7035072 w 9154202"/>
                <a:gd name="connsiteY4866" fmla="*/ 1573294 h 2112317"/>
                <a:gd name="connsiteX4867" fmla="*/ 7035670 w 9154202"/>
                <a:gd name="connsiteY4867" fmla="*/ 1573294 h 2112317"/>
                <a:gd name="connsiteX4868" fmla="*/ 7043541 w 9154202"/>
                <a:gd name="connsiteY4868" fmla="*/ 1572100 h 2112317"/>
                <a:gd name="connsiteX4869" fmla="*/ 7043541 w 9154202"/>
                <a:gd name="connsiteY4869" fmla="*/ 1573095 h 2112317"/>
                <a:gd name="connsiteX4870" fmla="*/ 7052310 w 9154202"/>
                <a:gd name="connsiteY4870" fmla="*/ 1573095 h 2112317"/>
                <a:gd name="connsiteX4871" fmla="*/ 7057093 w 9154202"/>
                <a:gd name="connsiteY4871" fmla="*/ 1570011 h 2112317"/>
                <a:gd name="connsiteX4872" fmla="*/ 7057093 w 9154202"/>
                <a:gd name="connsiteY4872" fmla="*/ 1570011 h 2112317"/>
                <a:gd name="connsiteX4873" fmla="*/ 7057093 w 9154202"/>
                <a:gd name="connsiteY4873" fmla="*/ 1570011 h 2112317"/>
                <a:gd name="connsiteX4874" fmla="*/ 7057990 w 9154202"/>
                <a:gd name="connsiteY4874" fmla="*/ 1570011 h 2112317"/>
                <a:gd name="connsiteX4875" fmla="*/ 7055598 w 9154202"/>
                <a:gd name="connsiteY4875" fmla="*/ 1567225 h 2112317"/>
                <a:gd name="connsiteX4876" fmla="*/ 7052908 w 9154202"/>
                <a:gd name="connsiteY4876" fmla="*/ 1563246 h 2112317"/>
                <a:gd name="connsiteX4877" fmla="*/ 7051214 w 9154202"/>
                <a:gd name="connsiteY4877" fmla="*/ 1559366 h 2112317"/>
                <a:gd name="connsiteX4878" fmla="*/ 7052011 w 9154202"/>
                <a:gd name="connsiteY4878" fmla="*/ 1556779 h 2112317"/>
                <a:gd name="connsiteX4879" fmla="*/ 7051214 w 9154202"/>
                <a:gd name="connsiteY4879" fmla="*/ 1554989 h 2112317"/>
                <a:gd name="connsiteX4880" fmla="*/ 7049919 w 9154202"/>
                <a:gd name="connsiteY4880" fmla="*/ 1554989 h 2112317"/>
                <a:gd name="connsiteX4881" fmla="*/ 7048324 w 9154202"/>
                <a:gd name="connsiteY4881" fmla="*/ 1556083 h 2112317"/>
                <a:gd name="connsiteX4882" fmla="*/ 7047527 w 9154202"/>
                <a:gd name="connsiteY4882" fmla="*/ 1556083 h 2112317"/>
                <a:gd name="connsiteX4883" fmla="*/ 7042346 w 9154202"/>
                <a:gd name="connsiteY4883" fmla="*/ 1557675 h 2112317"/>
                <a:gd name="connsiteX4884" fmla="*/ 7038061 w 9154202"/>
                <a:gd name="connsiteY4884" fmla="*/ 1557675 h 2112317"/>
                <a:gd name="connsiteX4885" fmla="*/ 7036766 w 9154202"/>
                <a:gd name="connsiteY4885" fmla="*/ 1556680 h 2112317"/>
                <a:gd name="connsiteX4886" fmla="*/ 7036766 w 9154202"/>
                <a:gd name="connsiteY4886" fmla="*/ 1556680 h 2112317"/>
                <a:gd name="connsiteX4887" fmla="*/ 7036766 w 9154202"/>
                <a:gd name="connsiteY4887" fmla="*/ 1556680 h 2112317"/>
                <a:gd name="connsiteX4888" fmla="*/ 7036766 w 9154202"/>
                <a:gd name="connsiteY4888" fmla="*/ 1556680 h 2112317"/>
                <a:gd name="connsiteX4889" fmla="*/ 7036766 w 9154202"/>
                <a:gd name="connsiteY4889" fmla="*/ 1556680 h 2112317"/>
                <a:gd name="connsiteX4890" fmla="*/ 7038161 w 9154202"/>
                <a:gd name="connsiteY4890" fmla="*/ 1555983 h 2112317"/>
                <a:gd name="connsiteX4891" fmla="*/ 7041349 w 9154202"/>
                <a:gd name="connsiteY4891" fmla="*/ 1553795 h 2112317"/>
                <a:gd name="connsiteX4892" fmla="*/ 7041349 w 9154202"/>
                <a:gd name="connsiteY4892" fmla="*/ 1553795 h 2112317"/>
                <a:gd name="connsiteX4893" fmla="*/ 7038161 w 9154202"/>
                <a:gd name="connsiteY4893" fmla="*/ 1553795 h 2112317"/>
                <a:gd name="connsiteX4894" fmla="*/ 7019029 w 9154202"/>
                <a:gd name="connsiteY4894" fmla="*/ 1547825 h 2112317"/>
                <a:gd name="connsiteX4895" fmla="*/ 7015342 w 9154202"/>
                <a:gd name="connsiteY4895" fmla="*/ 1547825 h 2112317"/>
                <a:gd name="connsiteX4896" fmla="*/ 7012452 w 9154202"/>
                <a:gd name="connsiteY4896" fmla="*/ 1547029 h 2112317"/>
                <a:gd name="connsiteX4897" fmla="*/ 7010759 w 9154202"/>
                <a:gd name="connsiteY4897" fmla="*/ 1544940 h 2112317"/>
                <a:gd name="connsiteX4898" fmla="*/ 7009463 w 9154202"/>
                <a:gd name="connsiteY4898" fmla="*/ 1542354 h 2112317"/>
                <a:gd name="connsiteX4899" fmla="*/ 7007869 w 9154202"/>
                <a:gd name="connsiteY4899" fmla="*/ 1540065 h 2112317"/>
                <a:gd name="connsiteX4900" fmla="*/ 7006075 w 9154202"/>
                <a:gd name="connsiteY4900" fmla="*/ 1538673 h 2112317"/>
                <a:gd name="connsiteX4901" fmla="*/ 7008666 w 9154202"/>
                <a:gd name="connsiteY4901" fmla="*/ 1538673 h 2112317"/>
                <a:gd name="connsiteX4902" fmla="*/ 7011755 w 9154202"/>
                <a:gd name="connsiteY4902" fmla="*/ 1542254 h 2112317"/>
                <a:gd name="connsiteX4903" fmla="*/ 7013449 w 9154202"/>
                <a:gd name="connsiteY4903" fmla="*/ 1543647 h 2112317"/>
                <a:gd name="connsiteX4904" fmla="*/ 7015342 w 9154202"/>
                <a:gd name="connsiteY4904" fmla="*/ 1543647 h 2112317"/>
                <a:gd name="connsiteX4905" fmla="*/ 7027001 w 9154202"/>
                <a:gd name="connsiteY4905" fmla="*/ 1542553 h 2112317"/>
                <a:gd name="connsiteX4906" fmla="*/ 7028993 w 9154202"/>
                <a:gd name="connsiteY4906" fmla="*/ 1542553 h 2112317"/>
                <a:gd name="connsiteX4907" fmla="*/ 7030090 w 9154202"/>
                <a:gd name="connsiteY4907" fmla="*/ 1543050 h 2112317"/>
                <a:gd name="connsiteX4908" fmla="*/ 7032182 w 9154202"/>
                <a:gd name="connsiteY4908" fmla="*/ 1544642 h 2112317"/>
                <a:gd name="connsiteX4909" fmla="*/ 7035570 w 9154202"/>
                <a:gd name="connsiteY4909" fmla="*/ 1548422 h 2112317"/>
                <a:gd name="connsiteX4910" fmla="*/ 7036965 w 9154202"/>
                <a:gd name="connsiteY4910" fmla="*/ 1549019 h 2112317"/>
                <a:gd name="connsiteX4911" fmla="*/ 7038261 w 9154202"/>
                <a:gd name="connsiteY4911" fmla="*/ 1549019 h 2112317"/>
                <a:gd name="connsiteX4912" fmla="*/ 7040950 w 9154202"/>
                <a:gd name="connsiteY4912" fmla="*/ 1549815 h 2112317"/>
                <a:gd name="connsiteX4913" fmla="*/ 7046929 w 9154202"/>
                <a:gd name="connsiteY4913" fmla="*/ 1549815 h 2112317"/>
                <a:gd name="connsiteX4914" fmla="*/ 7049719 w 9154202"/>
                <a:gd name="connsiteY4914" fmla="*/ 1548422 h 2112317"/>
                <a:gd name="connsiteX4915" fmla="*/ 7050217 w 9154202"/>
                <a:gd name="connsiteY4915" fmla="*/ 1548422 h 2112317"/>
                <a:gd name="connsiteX4916" fmla="*/ 7052310 w 9154202"/>
                <a:gd name="connsiteY4916" fmla="*/ 1545139 h 2112317"/>
                <a:gd name="connsiteX4917" fmla="*/ 7052908 w 9154202"/>
                <a:gd name="connsiteY4917" fmla="*/ 1544443 h 2112317"/>
                <a:gd name="connsiteX4918" fmla="*/ 7053705 w 9154202"/>
                <a:gd name="connsiteY4918" fmla="*/ 1544443 h 2112317"/>
                <a:gd name="connsiteX4919" fmla="*/ 7056196 w 9154202"/>
                <a:gd name="connsiteY4919" fmla="*/ 1544443 h 2112317"/>
                <a:gd name="connsiteX4920" fmla="*/ 7058886 w 9154202"/>
                <a:gd name="connsiteY4920" fmla="*/ 1543945 h 2112317"/>
                <a:gd name="connsiteX4921" fmla="*/ 7059584 w 9154202"/>
                <a:gd name="connsiteY4921" fmla="*/ 1543945 h 2112317"/>
                <a:gd name="connsiteX4922" fmla="*/ 7060979 w 9154202"/>
                <a:gd name="connsiteY4922" fmla="*/ 1543945 h 2112317"/>
                <a:gd name="connsiteX4923" fmla="*/ 7060979 w 9154202"/>
                <a:gd name="connsiteY4923" fmla="*/ 1543945 h 2112317"/>
                <a:gd name="connsiteX4924" fmla="*/ 7062474 w 9154202"/>
                <a:gd name="connsiteY4924" fmla="*/ 1543050 h 2112317"/>
                <a:gd name="connsiteX4925" fmla="*/ 7065563 w 9154202"/>
                <a:gd name="connsiteY4925" fmla="*/ 1542254 h 2112317"/>
                <a:gd name="connsiteX4926" fmla="*/ 7066459 w 9154202"/>
                <a:gd name="connsiteY4926" fmla="*/ 1541259 h 2112317"/>
                <a:gd name="connsiteX4927" fmla="*/ 7067556 w 9154202"/>
                <a:gd name="connsiteY4927" fmla="*/ 1538772 h 2112317"/>
                <a:gd name="connsiteX4928" fmla="*/ 7065762 w 9154202"/>
                <a:gd name="connsiteY4928" fmla="*/ 1539369 h 2112317"/>
                <a:gd name="connsiteX4929" fmla="*/ 7061677 w 9154202"/>
                <a:gd name="connsiteY4929" fmla="*/ 1540264 h 2112317"/>
                <a:gd name="connsiteX4930" fmla="*/ 7053705 w 9154202"/>
                <a:gd name="connsiteY4930" fmla="*/ 1540264 h 2112317"/>
                <a:gd name="connsiteX4931" fmla="*/ 7051912 w 9154202"/>
                <a:gd name="connsiteY4931" fmla="*/ 1539668 h 2112317"/>
                <a:gd name="connsiteX4932" fmla="*/ 7050915 w 9154202"/>
                <a:gd name="connsiteY4932" fmla="*/ 1538872 h 2112317"/>
                <a:gd name="connsiteX4933" fmla="*/ 7050915 w 9154202"/>
                <a:gd name="connsiteY4933" fmla="*/ 1537877 h 2112317"/>
                <a:gd name="connsiteX4934" fmla="*/ 7050915 w 9154202"/>
                <a:gd name="connsiteY4934" fmla="*/ 1536683 h 2112317"/>
                <a:gd name="connsiteX4935" fmla="*/ 7052808 w 9154202"/>
                <a:gd name="connsiteY4935" fmla="*/ 1534096 h 2112317"/>
                <a:gd name="connsiteX4936" fmla="*/ 7055499 w 9154202"/>
                <a:gd name="connsiteY4936" fmla="*/ 1531410 h 2112317"/>
                <a:gd name="connsiteX4937" fmla="*/ 7058288 w 9154202"/>
                <a:gd name="connsiteY4937" fmla="*/ 1529420 h 2112317"/>
                <a:gd name="connsiteX4938" fmla="*/ 7064168 w 9154202"/>
                <a:gd name="connsiteY4938" fmla="*/ 1523053 h 2112317"/>
                <a:gd name="connsiteX4939" fmla="*/ 7066559 w 9154202"/>
                <a:gd name="connsiteY4939" fmla="*/ 1521163 h 2112317"/>
                <a:gd name="connsiteX4940" fmla="*/ 7069449 w 9154202"/>
                <a:gd name="connsiteY4940" fmla="*/ 1519273 h 2112317"/>
                <a:gd name="connsiteX4941" fmla="*/ 7074730 w 9154202"/>
                <a:gd name="connsiteY4941" fmla="*/ 1516984 h 2112317"/>
                <a:gd name="connsiteX4942" fmla="*/ 7076025 w 9154202"/>
                <a:gd name="connsiteY4942" fmla="*/ 1516984 h 2112317"/>
                <a:gd name="connsiteX4943" fmla="*/ 7076823 w 9154202"/>
                <a:gd name="connsiteY4943" fmla="*/ 1516984 h 2112317"/>
                <a:gd name="connsiteX4944" fmla="*/ 7078616 w 9154202"/>
                <a:gd name="connsiteY4944" fmla="*/ 1516984 h 2112317"/>
                <a:gd name="connsiteX4945" fmla="*/ 7079513 w 9154202"/>
                <a:gd name="connsiteY4945" fmla="*/ 1516984 h 2112317"/>
                <a:gd name="connsiteX4946" fmla="*/ 7086189 w 9154202"/>
                <a:gd name="connsiteY4946" fmla="*/ 1515094 h 2112317"/>
                <a:gd name="connsiteX4947" fmla="*/ 7087584 w 9154202"/>
                <a:gd name="connsiteY4947" fmla="*/ 1515094 h 2112317"/>
                <a:gd name="connsiteX4948" fmla="*/ 7088780 w 9154202"/>
                <a:gd name="connsiteY4948" fmla="*/ 1515592 h 2112317"/>
                <a:gd name="connsiteX4949" fmla="*/ 7088780 w 9154202"/>
                <a:gd name="connsiteY4949" fmla="*/ 1516586 h 2112317"/>
                <a:gd name="connsiteX4950" fmla="*/ 7087584 w 9154202"/>
                <a:gd name="connsiteY4950" fmla="*/ 1517581 h 2112317"/>
                <a:gd name="connsiteX4951" fmla="*/ 7084994 w 9154202"/>
                <a:gd name="connsiteY4951" fmla="*/ 1518875 h 2112317"/>
                <a:gd name="connsiteX4952" fmla="*/ 7082502 w 9154202"/>
                <a:gd name="connsiteY4952" fmla="*/ 1520466 h 2112317"/>
                <a:gd name="connsiteX4953" fmla="*/ 7079513 w 9154202"/>
                <a:gd name="connsiteY4953" fmla="*/ 1523451 h 2112317"/>
                <a:gd name="connsiteX4954" fmla="*/ 7078815 w 9154202"/>
                <a:gd name="connsiteY4954" fmla="*/ 1524446 h 2112317"/>
                <a:gd name="connsiteX4955" fmla="*/ 7078815 w 9154202"/>
                <a:gd name="connsiteY4955" fmla="*/ 1524943 h 2112317"/>
                <a:gd name="connsiteX4956" fmla="*/ 7078815 w 9154202"/>
                <a:gd name="connsiteY4956" fmla="*/ 1524943 h 2112317"/>
                <a:gd name="connsiteX4957" fmla="*/ 7085192 w 9154202"/>
                <a:gd name="connsiteY4957" fmla="*/ 1518676 h 2112317"/>
                <a:gd name="connsiteX4958" fmla="*/ 7095157 w 9154202"/>
                <a:gd name="connsiteY4958" fmla="*/ 1513502 h 2112317"/>
                <a:gd name="connsiteX4959" fmla="*/ 7097648 w 9154202"/>
                <a:gd name="connsiteY4959" fmla="*/ 1513502 h 2112317"/>
                <a:gd name="connsiteX4960" fmla="*/ 7099940 w 9154202"/>
                <a:gd name="connsiteY4960" fmla="*/ 1512806 h 2112317"/>
                <a:gd name="connsiteX4961" fmla="*/ 7101036 w 9154202"/>
                <a:gd name="connsiteY4961" fmla="*/ 1512806 h 2112317"/>
                <a:gd name="connsiteX4962" fmla="*/ 7118274 w 9154202"/>
                <a:gd name="connsiteY4962" fmla="*/ 1510418 h 2112317"/>
                <a:gd name="connsiteX4963" fmla="*/ 7128239 w 9154202"/>
                <a:gd name="connsiteY4963" fmla="*/ 1504449 h 2112317"/>
                <a:gd name="connsiteX4964" fmla="*/ 7134317 w 9154202"/>
                <a:gd name="connsiteY4964" fmla="*/ 1496987 h 2112317"/>
                <a:gd name="connsiteX4965" fmla="*/ 7134915 w 9154202"/>
                <a:gd name="connsiteY4965" fmla="*/ 1495595 h 2112317"/>
                <a:gd name="connsiteX4966" fmla="*/ 7134915 w 9154202"/>
                <a:gd name="connsiteY4966" fmla="*/ 1494301 h 2112317"/>
                <a:gd name="connsiteX4967" fmla="*/ 7134915 w 9154202"/>
                <a:gd name="connsiteY4967" fmla="*/ 1491118 h 2112317"/>
                <a:gd name="connsiteX4968" fmla="*/ 7135812 w 9154202"/>
                <a:gd name="connsiteY4968" fmla="*/ 1489327 h 2112317"/>
                <a:gd name="connsiteX4969" fmla="*/ 7138602 w 9154202"/>
                <a:gd name="connsiteY4969" fmla="*/ 1485745 h 2112317"/>
                <a:gd name="connsiteX4970" fmla="*/ 7139299 w 9154202"/>
                <a:gd name="connsiteY4970" fmla="*/ 1483955 h 2112317"/>
                <a:gd name="connsiteX4971" fmla="*/ 7139299 w 9154202"/>
                <a:gd name="connsiteY4971" fmla="*/ 1482064 h 2112317"/>
                <a:gd name="connsiteX4972" fmla="*/ 7139299 w 9154202"/>
                <a:gd name="connsiteY4972" fmla="*/ 1480572 h 2112317"/>
                <a:gd name="connsiteX4973" fmla="*/ 7139997 w 9154202"/>
                <a:gd name="connsiteY4973" fmla="*/ 1479378 h 2112317"/>
                <a:gd name="connsiteX4974" fmla="*/ 7140794 w 9154202"/>
                <a:gd name="connsiteY4974" fmla="*/ 1478284 h 2112317"/>
                <a:gd name="connsiteX4975" fmla="*/ 7142887 w 9154202"/>
                <a:gd name="connsiteY4975" fmla="*/ 1476891 h 2112317"/>
                <a:gd name="connsiteX4976" fmla="*/ 7151655 w 9154202"/>
                <a:gd name="connsiteY4976" fmla="*/ 1475200 h 2112317"/>
                <a:gd name="connsiteX4977" fmla="*/ 7155043 w 9154202"/>
                <a:gd name="connsiteY4977" fmla="*/ 1469131 h 2112317"/>
                <a:gd name="connsiteX4978" fmla="*/ 7157236 w 9154202"/>
                <a:gd name="connsiteY4978" fmla="*/ 1463460 h 2112317"/>
                <a:gd name="connsiteX4979" fmla="*/ 7157833 w 9154202"/>
                <a:gd name="connsiteY4979" fmla="*/ 1460874 h 2112317"/>
                <a:gd name="connsiteX4980" fmla="*/ 7157833 w 9154202"/>
                <a:gd name="connsiteY4980" fmla="*/ 1457889 h 2112317"/>
                <a:gd name="connsiteX4981" fmla="*/ 7160424 w 9154202"/>
                <a:gd name="connsiteY4981" fmla="*/ 1454407 h 2112317"/>
                <a:gd name="connsiteX4982" fmla="*/ 7167100 w 9154202"/>
                <a:gd name="connsiteY4982" fmla="*/ 1452417 h 2112317"/>
                <a:gd name="connsiteX4983" fmla="*/ 7171485 w 9154202"/>
                <a:gd name="connsiteY4983" fmla="*/ 1451920 h 2112317"/>
                <a:gd name="connsiteX4984" fmla="*/ 7177762 w 9154202"/>
                <a:gd name="connsiteY4984" fmla="*/ 1448736 h 2112317"/>
                <a:gd name="connsiteX4985" fmla="*/ 7179954 w 9154202"/>
                <a:gd name="connsiteY4985" fmla="*/ 1443662 h 2112317"/>
                <a:gd name="connsiteX4986" fmla="*/ 7182345 w 9154202"/>
                <a:gd name="connsiteY4986" fmla="*/ 1434808 h 2112317"/>
                <a:gd name="connsiteX4987" fmla="*/ 7181250 w 9154202"/>
                <a:gd name="connsiteY4987" fmla="*/ 1432321 h 2112317"/>
                <a:gd name="connsiteX4988" fmla="*/ 7191214 w 9154202"/>
                <a:gd name="connsiteY4988" fmla="*/ 1427147 h 2112317"/>
                <a:gd name="connsiteX4989" fmla="*/ 7199983 w 9154202"/>
                <a:gd name="connsiteY4989" fmla="*/ 1423566 h 2112317"/>
                <a:gd name="connsiteX4990" fmla="*/ 7209249 w 9154202"/>
                <a:gd name="connsiteY4990" fmla="*/ 1420979 h 2112317"/>
                <a:gd name="connsiteX4991" fmla="*/ 7213534 w 9154202"/>
                <a:gd name="connsiteY4991" fmla="*/ 1420084 h 2112317"/>
                <a:gd name="connsiteX4992" fmla="*/ 7222403 w 9154202"/>
                <a:gd name="connsiteY4992" fmla="*/ 1420084 h 2112317"/>
                <a:gd name="connsiteX4993" fmla="*/ 7225192 w 9154202"/>
                <a:gd name="connsiteY4993" fmla="*/ 1420084 h 2112317"/>
                <a:gd name="connsiteX4994" fmla="*/ 7230673 w 9154202"/>
                <a:gd name="connsiteY4994" fmla="*/ 1417696 h 2112317"/>
                <a:gd name="connsiteX4995" fmla="*/ 7248410 w 9154202"/>
                <a:gd name="connsiteY4995" fmla="*/ 1401280 h 2112317"/>
                <a:gd name="connsiteX4996" fmla="*/ 7251200 w 9154202"/>
                <a:gd name="connsiteY4996" fmla="*/ 1399689 h 2112317"/>
                <a:gd name="connsiteX4997" fmla="*/ 7257178 w 9154202"/>
                <a:gd name="connsiteY4997" fmla="*/ 1398495 h 2112317"/>
                <a:gd name="connsiteX4998" fmla="*/ 7261762 w 9154202"/>
                <a:gd name="connsiteY4998" fmla="*/ 1395709 h 2112317"/>
                <a:gd name="connsiteX4999" fmla="*/ 7264253 w 9154202"/>
                <a:gd name="connsiteY4999" fmla="*/ 1394515 h 2112317"/>
                <a:gd name="connsiteX5000" fmla="*/ 7269434 w 9154202"/>
                <a:gd name="connsiteY5000" fmla="*/ 1393321 h 2112317"/>
                <a:gd name="connsiteX5001" fmla="*/ 7274317 w 9154202"/>
                <a:gd name="connsiteY5001" fmla="*/ 1390138 h 2112317"/>
                <a:gd name="connsiteX5002" fmla="*/ 7275114 w 9154202"/>
                <a:gd name="connsiteY5002" fmla="*/ 1388248 h 2112317"/>
                <a:gd name="connsiteX5003" fmla="*/ 7277007 w 9154202"/>
                <a:gd name="connsiteY5003" fmla="*/ 1379493 h 2112317"/>
                <a:gd name="connsiteX5004" fmla="*/ 7278103 w 9154202"/>
                <a:gd name="connsiteY5004" fmla="*/ 1376707 h 2112317"/>
                <a:gd name="connsiteX5005" fmla="*/ 7280096 w 9154202"/>
                <a:gd name="connsiteY5005" fmla="*/ 1375414 h 2112317"/>
                <a:gd name="connsiteX5006" fmla="*/ 7289064 w 9154202"/>
                <a:gd name="connsiteY5006" fmla="*/ 1372230 h 2112317"/>
                <a:gd name="connsiteX5007" fmla="*/ 7299925 w 9154202"/>
                <a:gd name="connsiteY5007" fmla="*/ 1370041 h 2112317"/>
                <a:gd name="connsiteX5008" fmla="*/ 7305307 w 9154202"/>
                <a:gd name="connsiteY5008" fmla="*/ 1367853 h 2112317"/>
                <a:gd name="connsiteX5009" fmla="*/ 7310587 w 9154202"/>
                <a:gd name="connsiteY5009" fmla="*/ 1364271 h 2112317"/>
                <a:gd name="connsiteX5010" fmla="*/ 7322146 w 9154202"/>
                <a:gd name="connsiteY5010" fmla="*/ 1354322 h 2112317"/>
                <a:gd name="connsiteX5011" fmla="*/ 7324637 w 9154202"/>
                <a:gd name="connsiteY5011" fmla="*/ 1354322 h 2112317"/>
                <a:gd name="connsiteX5012" fmla="*/ 7327228 w 9154202"/>
                <a:gd name="connsiteY5012" fmla="*/ 1355118 h 2112317"/>
                <a:gd name="connsiteX5013" fmla="*/ 7330716 w 9154202"/>
                <a:gd name="connsiteY5013" fmla="*/ 1355616 h 2112317"/>
                <a:gd name="connsiteX5014" fmla="*/ 7331911 w 9154202"/>
                <a:gd name="connsiteY5014" fmla="*/ 1355616 h 2112317"/>
                <a:gd name="connsiteX5015" fmla="*/ 7334502 w 9154202"/>
                <a:gd name="connsiteY5015" fmla="*/ 1357108 h 2112317"/>
                <a:gd name="connsiteX5016" fmla="*/ 7335897 w 9154202"/>
                <a:gd name="connsiteY5016" fmla="*/ 1357108 h 2112317"/>
                <a:gd name="connsiteX5017" fmla="*/ 7342474 w 9154202"/>
                <a:gd name="connsiteY5017" fmla="*/ 1357108 h 2112317"/>
                <a:gd name="connsiteX5018" fmla="*/ 7345862 w 9154202"/>
                <a:gd name="connsiteY5018" fmla="*/ 1356412 h 2112317"/>
                <a:gd name="connsiteX5019" fmla="*/ 7352139 w 9154202"/>
                <a:gd name="connsiteY5019" fmla="*/ 1353327 h 2112317"/>
                <a:gd name="connsiteX5020" fmla="*/ 7358616 w 9154202"/>
                <a:gd name="connsiteY5020" fmla="*/ 1352034 h 2112317"/>
                <a:gd name="connsiteX5021" fmla="*/ 7368580 w 9154202"/>
                <a:gd name="connsiteY5021" fmla="*/ 1348154 h 2112317"/>
                <a:gd name="connsiteX5022" fmla="*/ 7375157 w 9154202"/>
                <a:gd name="connsiteY5022" fmla="*/ 1346562 h 2112317"/>
                <a:gd name="connsiteX5023" fmla="*/ 7389007 w 9154202"/>
                <a:gd name="connsiteY5023" fmla="*/ 1345866 h 2112317"/>
                <a:gd name="connsiteX5024" fmla="*/ 7390602 w 9154202"/>
                <a:gd name="connsiteY5024" fmla="*/ 1345269 h 2112317"/>
                <a:gd name="connsiteX5025" fmla="*/ 7393591 w 9154202"/>
                <a:gd name="connsiteY5025" fmla="*/ 1342981 h 2112317"/>
                <a:gd name="connsiteX5026" fmla="*/ 7395484 w 9154202"/>
                <a:gd name="connsiteY5026" fmla="*/ 1342981 h 2112317"/>
                <a:gd name="connsiteX5027" fmla="*/ 7402858 w 9154202"/>
                <a:gd name="connsiteY5027" fmla="*/ 1338106 h 2112317"/>
                <a:gd name="connsiteX5028" fmla="*/ 7404452 w 9154202"/>
                <a:gd name="connsiteY5028" fmla="*/ 1336514 h 2112317"/>
                <a:gd name="connsiteX5029" fmla="*/ 7405149 w 9154202"/>
                <a:gd name="connsiteY5029" fmla="*/ 1334624 h 2112317"/>
                <a:gd name="connsiteX5030" fmla="*/ 7405149 w 9154202"/>
                <a:gd name="connsiteY5030" fmla="*/ 1333927 h 2112317"/>
                <a:gd name="connsiteX5031" fmla="*/ 7408139 w 9154202"/>
                <a:gd name="connsiteY5031" fmla="*/ 1328456 h 2112317"/>
                <a:gd name="connsiteX5032" fmla="*/ 7409235 w 9154202"/>
                <a:gd name="connsiteY5032" fmla="*/ 1326764 h 2112317"/>
                <a:gd name="connsiteX5033" fmla="*/ 7411427 w 9154202"/>
                <a:gd name="connsiteY5033" fmla="*/ 1324775 h 2112317"/>
                <a:gd name="connsiteX5034" fmla="*/ 7409135 w 9154202"/>
                <a:gd name="connsiteY5034" fmla="*/ 1326068 h 2112317"/>
                <a:gd name="connsiteX5035" fmla="*/ 7404054 w 9154202"/>
                <a:gd name="connsiteY5035" fmla="*/ 1326764 h 2112317"/>
                <a:gd name="connsiteX5036" fmla="*/ 7398673 w 9154202"/>
                <a:gd name="connsiteY5036" fmla="*/ 1326764 h 2112317"/>
                <a:gd name="connsiteX5037" fmla="*/ 7397278 w 9154202"/>
                <a:gd name="connsiteY5037" fmla="*/ 1323780 h 2112317"/>
                <a:gd name="connsiteX5038" fmla="*/ 7402360 w 9154202"/>
                <a:gd name="connsiteY5038" fmla="*/ 1319104 h 2112317"/>
                <a:gd name="connsiteX5039" fmla="*/ 7413918 w 9154202"/>
                <a:gd name="connsiteY5039" fmla="*/ 1311841 h 2112317"/>
                <a:gd name="connsiteX5040" fmla="*/ 7422787 w 9154202"/>
                <a:gd name="connsiteY5040" fmla="*/ 1303186 h 2112317"/>
                <a:gd name="connsiteX5041" fmla="*/ 7427669 w 9154202"/>
                <a:gd name="connsiteY5041" fmla="*/ 1299405 h 2112317"/>
                <a:gd name="connsiteX5042" fmla="*/ 7432951 w 9154202"/>
                <a:gd name="connsiteY5042" fmla="*/ 1298311 h 2112317"/>
                <a:gd name="connsiteX5043" fmla="*/ 7434844 w 9154202"/>
                <a:gd name="connsiteY5043" fmla="*/ 1298808 h 2112317"/>
                <a:gd name="connsiteX5044" fmla="*/ 7436538 w 9154202"/>
                <a:gd name="connsiteY5044" fmla="*/ 1299903 h 2112317"/>
                <a:gd name="connsiteX5045" fmla="*/ 7437235 w 9154202"/>
                <a:gd name="connsiteY5045" fmla="*/ 1301495 h 2112317"/>
                <a:gd name="connsiteX5046" fmla="*/ 7437235 w 9154202"/>
                <a:gd name="connsiteY5046" fmla="*/ 1301495 h 2112317"/>
                <a:gd name="connsiteX5047" fmla="*/ 7439029 w 9154202"/>
                <a:gd name="connsiteY5047" fmla="*/ 1300002 h 2112317"/>
                <a:gd name="connsiteX5048" fmla="*/ 7443613 w 9154202"/>
                <a:gd name="connsiteY5048" fmla="*/ 1297217 h 2112317"/>
                <a:gd name="connsiteX5049" fmla="*/ 7459954 w 9154202"/>
                <a:gd name="connsiteY5049" fmla="*/ 1291446 h 2112317"/>
                <a:gd name="connsiteX5050" fmla="*/ 7465135 w 9154202"/>
                <a:gd name="connsiteY5050" fmla="*/ 1288362 h 2112317"/>
                <a:gd name="connsiteX5051" fmla="*/ 7469719 w 9154202"/>
                <a:gd name="connsiteY5051" fmla="*/ 1284084 h 2112317"/>
                <a:gd name="connsiteX5052" fmla="*/ 7473406 w 9154202"/>
                <a:gd name="connsiteY5052" fmla="*/ 1278911 h 2112317"/>
                <a:gd name="connsiteX5053" fmla="*/ 7479883 w 9154202"/>
                <a:gd name="connsiteY5053" fmla="*/ 1267569 h 2112317"/>
                <a:gd name="connsiteX5054" fmla="*/ 7482075 w 9154202"/>
                <a:gd name="connsiteY5054" fmla="*/ 1266077 h 2112317"/>
                <a:gd name="connsiteX5055" fmla="*/ 7484566 w 9154202"/>
                <a:gd name="connsiteY5055" fmla="*/ 1262496 h 2112317"/>
                <a:gd name="connsiteX5056" fmla="*/ 7488253 w 9154202"/>
                <a:gd name="connsiteY5056" fmla="*/ 1255332 h 2112317"/>
                <a:gd name="connsiteX5057" fmla="*/ 7490844 w 9154202"/>
                <a:gd name="connsiteY5057" fmla="*/ 1247970 h 2112317"/>
                <a:gd name="connsiteX5058" fmla="*/ 7492637 w 9154202"/>
                <a:gd name="connsiteY5058" fmla="*/ 1244389 h 2112317"/>
                <a:gd name="connsiteX5059" fmla="*/ 7494730 w 9154202"/>
                <a:gd name="connsiteY5059" fmla="*/ 1242897 h 2112317"/>
                <a:gd name="connsiteX5060" fmla="*/ 7496025 w 9154202"/>
                <a:gd name="connsiteY5060" fmla="*/ 1241106 h 2112317"/>
                <a:gd name="connsiteX5061" fmla="*/ 7496822 w 9154202"/>
                <a:gd name="connsiteY5061" fmla="*/ 1236131 h 2112317"/>
                <a:gd name="connsiteX5062" fmla="*/ 7492538 w 9154202"/>
                <a:gd name="connsiteY5062" fmla="*/ 1240409 h 2112317"/>
                <a:gd name="connsiteX5063" fmla="*/ 7490146 w 9154202"/>
                <a:gd name="connsiteY5063" fmla="*/ 1242200 h 2112317"/>
                <a:gd name="connsiteX5064" fmla="*/ 7487755 w 9154202"/>
                <a:gd name="connsiteY5064" fmla="*/ 1242697 h 2112317"/>
                <a:gd name="connsiteX5065" fmla="*/ 7485762 w 9154202"/>
                <a:gd name="connsiteY5065" fmla="*/ 1242697 h 2112317"/>
                <a:gd name="connsiteX5066" fmla="*/ 7484766 w 9154202"/>
                <a:gd name="connsiteY5066" fmla="*/ 1241902 h 2112317"/>
                <a:gd name="connsiteX5067" fmla="*/ 7484766 w 9154202"/>
                <a:gd name="connsiteY5067" fmla="*/ 1240310 h 2112317"/>
                <a:gd name="connsiteX5068" fmla="*/ 7484766 w 9154202"/>
                <a:gd name="connsiteY5068" fmla="*/ 1238718 h 2112317"/>
                <a:gd name="connsiteX5069" fmla="*/ 7485762 w 9154202"/>
                <a:gd name="connsiteY5069" fmla="*/ 1237226 h 2112317"/>
                <a:gd name="connsiteX5070" fmla="*/ 7487555 w 9154202"/>
                <a:gd name="connsiteY5070" fmla="*/ 1235733 h 2112317"/>
                <a:gd name="connsiteX5071" fmla="*/ 7490146 w 9154202"/>
                <a:gd name="connsiteY5071" fmla="*/ 1234341 h 2112317"/>
                <a:gd name="connsiteX5072" fmla="*/ 7492837 w 9154202"/>
                <a:gd name="connsiteY5072" fmla="*/ 1233644 h 2112317"/>
                <a:gd name="connsiteX5073" fmla="*/ 7496922 w 9154202"/>
                <a:gd name="connsiteY5073" fmla="*/ 1233644 h 2112317"/>
                <a:gd name="connsiteX5074" fmla="*/ 7496922 w 9154202"/>
                <a:gd name="connsiteY5074" fmla="*/ 1233644 h 2112317"/>
                <a:gd name="connsiteX5075" fmla="*/ 7498217 w 9154202"/>
                <a:gd name="connsiteY5075" fmla="*/ 1231157 h 2112317"/>
                <a:gd name="connsiteX5076" fmla="*/ 7499015 w 9154202"/>
                <a:gd name="connsiteY5076" fmla="*/ 1231853 h 2112317"/>
                <a:gd name="connsiteX5077" fmla="*/ 7500808 w 9154202"/>
                <a:gd name="connsiteY5077" fmla="*/ 1232749 h 2112317"/>
                <a:gd name="connsiteX5078" fmla="*/ 7501705 w 9154202"/>
                <a:gd name="connsiteY5078" fmla="*/ 1233445 h 2112317"/>
                <a:gd name="connsiteX5079" fmla="*/ 7504495 w 9154202"/>
                <a:gd name="connsiteY5079" fmla="*/ 1231555 h 2112317"/>
                <a:gd name="connsiteX5080" fmla="*/ 7508281 w 9154202"/>
                <a:gd name="connsiteY5080" fmla="*/ 1229764 h 2112317"/>
                <a:gd name="connsiteX5081" fmla="*/ 7512367 w 9154202"/>
                <a:gd name="connsiteY5081" fmla="*/ 1228371 h 2112317"/>
                <a:gd name="connsiteX5082" fmla="*/ 7519641 w 9154202"/>
                <a:gd name="connsiteY5082" fmla="*/ 1227575 h 2112317"/>
                <a:gd name="connsiteX5083" fmla="*/ 7521633 w 9154202"/>
                <a:gd name="connsiteY5083" fmla="*/ 1227575 h 2112317"/>
                <a:gd name="connsiteX5084" fmla="*/ 7524623 w 9154202"/>
                <a:gd name="connsiteY5084" fmla="*/ 1225486 h 2112317"/>
                <a:gd name="connsiteX5085" fmla="*/ 7528509 w 9154202"/>
                <a:gd name="connsiteY5085" fmla="*/ 1224292 h 2112317"/>
                <a:gd name="connsiteX5086" fmla="*/ 7529904 w 9154202"/>
                <a:gd name="connsiteY5086" fmla="*/ 1223297 h 2112317"/>
                <a:gd name="connsiteX5087" fmla="*/ 7532395 w 9154202"/>
                <a:gd name="connsiteY5087" fmla="*/ 1219716 h 2112317"/>
                <a:gd name="connsiteX5088" fmla="*/ 7533292 w 9154202"/>
                <a:gd name="connsiteY5088" fmla="*/ 1217925 h 2112317"/>
                <a:gd name="connsiteX5089" fmla="*/ 7533292 w 9154202"/>
                <a:gd name="connsiteY5089" fmla="*/ 1215935 h 2112317"/>
                <a:gd name="connsiteX5090" fmla="*/ 7533292 w 9154202"/>
                <a:gd name="connsiteY5090" fmla="*/ 1213846 h 2112317"/>
                <a:gd name="connsiteX5091" fmla="*/ 7533292 w 9154202"/>
                <a:gd name="connsiteY5091" fmla="*/ 1211757 h 2112317"/>
                <a:gd name="connsiteX5092" fmla="*/ 7533292 w 9154202"/>
                <a:gd name="connsiteY5092" fmla="*/ 1209369 h 2112317"/>
                <a:gd name="connsiteX5093" fmla="*/ 7534089 w 9154202"/>
                <a:gd name="connsiteY5093" fmla="*/ 1206882 h 2112317"/>
                <a:gd name="connsiteX5094" fmla="*/ 7536381 w 9154202"/>
                <a:gd name="connsiteY5094" fmla="*/ 1204494 h 2112317"/>
                <a:gd name="connsiteX5095" fmla="*/ 7539769 w 9154202"/>
                <a:gd name="connsiteY5095" fmla="*/ 1201808 h 2112317"/>
                <a:gd name="connsiteX5096" fmla="*/ 7542061 w 9154202"/>
                <a:gd name="connsiteY5096" fmla="*/ 1199122 h 2112317"/>
                <a:gd name="connsiteX5097" fmla="*/ 7541064 w 9154202"/>
                <a:gd name="connsiteY5097" fmla="*/ 1196834 h 2112317"/>
                <a:gd name="connsiteX5098" fmla="*/ 7542858 w 9154202"/>
                <a:gd name="connsiteY5098" fmla="*/ 1195043 h 2112317"/>
                <a:gd name="connsiteX5099" fmla="*/ 7544851 w 9154202"/>
                <a:gd name="connsiteY5099" fmla="*/ 1195043 h 2112317"/>
                <a:gd name="connsiteX5100" fmla="*/ 7546744 w 9154202"/>
                <a:gd name="connsiteY5100" fmla="*/ 1195043 h 2112317"/>
                <a:gd name="connsiteX5101" fmla="*/ 7548438 w 9154202"/>
                <a:gd name="connsiteY5101" fmla="*/ 1194148 h 2112317"/>
                <a:gd name="connsiteX5102" fmla="*/ 7549833 w 9154202"/>
                <a:gd name="connsiteY5102" fmla="*/ 1192854 h 2112317"/>
                <a:gd name="connsiteX5103" fmla="*/ 7555015 w 9154202"/>
                <a:gd name="connsiteY5103" fmla="*/ 1190268 h 2112317"/>
                <a:gd name="connsiteX5104" fmla="*/ 7557306 w 9154202"/>
                <a:gd name="connsiteY5104" fmla="*/ 1188477 h 2112317"/>
                <a:gd name="connsiteX5105" fmla="*/ 7561990 w 9154202"/>
                <a:gd name="connsiteY5105" fmla="*/ 1182209 h 2112317"/>
                <a:gd name="connsiteX5106" fmla="*/ 7563484 w 9154202"/>
                <a:gd name="connsiteY5106" fmla="*/ 1180816 h 2112317"/>
                <a:gd name="connsiteX5107" fmla="*/ 7566673 w 9154202"/>
                <a:gd name="connsiteY5107" fmla="*/ 1179026 h 2112317"/>
                <a:gd name="connsiteX5108" fmla="*/ 7568068 w 9154202"/>
                <a:gd name="connsiteY5108" fmla="*/ 1177832 h 2112317"/>
                <a:gd name="connsiteX5109" fmla="*/ 7569662 w 9154202"/>
                <a:gd name="connsiteY5109" fmla="*/ 1174648 h 2112317"/>
                <a:gd name="connsiteX5110" fmla="*/ 7571356 w 9154202"/>
                <a:gd name="connsiteY5110" fmla="*/ 1167684 h 2112317"/>
                <a:gd name="connsiteX5111" fmla="*/ 7572851 w 9154202"/>
                <a:gd name="connsiteY5111" fmla="*/ 1164898 h 2112317"/>
                <a:gd name="connsiteX5112" fmla="*/ 7578830 w 9154202"/>
                <a:gd name="connsiteY5112" fmla="*/ 1156840 h 2112317"/>
                <a:gd name="connsiteX5113" fmla="*/ 7580324 w 9154202"/>
                <a:gd name="connsiteY5113" fmla="*/ 1154054 h 2112317"/>
                <a:gd name="connsiteX5114" fmla="*/ 7581420 w 9154202"/>
                <a:gd name="connsiteY5114" fmla="*/ 1150274 h 2112317"/>
                <a:gd name="connsiteX5115" fmla="*/ 7581420 w 9154202"/>
                <a:gd name="connsiteY5115" fmla="*/ 1148085 h 2112317"/>
                <a:gd name="connsiteX5116" fmla="*/ 7581420 w 9154202"/>
                <a:gd name="connsiteY5116" fmla="*/ 1146692 h 2112317"/>
                <a:gd name="connsiteX5117" fmla="*/ 7581420 w 9154202"/>
                <a:gd name="connsiteY5117" fmla="*/ 1145299 h 2112317"/>
                <a:gd name="connsiteX5118" fmla="*/ 7582815 w 9154202"/>
                <a:gd name="connsiteY5118" fmla="*/ 1144006 h 2112317"/>
                <a:gd name="connsiteX5119" fmla="*/ 7584509 w 9154202"/>
                <a:gd name="connsiteY5119" fmla="*/ 1143011 h 2112317"/>
                <a:gd name="connsiteX5120" fmla="*/ 7585306 w 9154202"/>
                <a:gd name="connsiteY5120" fmla="*/ 1142215 h 2112317"/>
                <a:gd name="connsiteX5121" fmla="*/ 7585306 w 9154202"/>
                <a:gd name="connsiteY5121" fmla="*/ 1139231 h 2112317"/>
                <a:gd name="connsiteX5122" fmla="*/ 7586801 w 9154202"/>
                <a:gd name="connsiteY5122" fmla="*/ 1130774 h 2112317"/>
                <a:gd name="connsiteX5123" fmla="*/ 7587598 w 9154202"/>
                <a:gd name="connsiteY5123" fmla="*/ 1127989 h 2112317"/>
                <a:gd name="connsiteX5124" fmla="*/ 7591684 w 9154202"/>
                <a:gd name="connsiteY5124" fmla="*/ 1122915 h 2112317"/>
                <a:gd name="connsiteX5125" fmla="*/ 7592481 w 9154202"/>
                <a:gd name="connsiteY5125" fmla="*/ 1120030 h 2112317"/>
                <a:gd name="connsiteX5126" fmla="*/ 7589392 w 9154202"/>
                <a:gd name="connsiteY5126" fmla="*/ 1118836 h 2112317"/>
                <a:gd name="connsiteX5127" fmla="*/ 7582117 w 9154202"/>
                <a:gd name="connsiteY5127" fmla="*/ 1118040 h 2112317"/>
                <a:gd name="connsiteX5128" fmla="*/ 7578431 w 9154202"/>
                <a:gd name="connsiteY5128" fmla="*/ 1116746 h 2112317"/>
                <a:gd name="connsiteX5129" fmla="*/ 7575541 w 9154202"/>
                <a:gd name="connsiteY5129" fmla="*/ 1114359 h 2112317"/>
                <a:gd name="connsiteX5130" fmla="*/ 7570858 w 9154202"/>
                <a:gd name="connsiteY5130" fmla="*/ 1106002 h 2112317"/>
                <a:gd name="connsiteX5131" fmla="*/ 7568566 w 9154202"/>
                <a:gd name="connsiteY5131" fmla="*/ 1103614 h 2112317"/>
                <a:gd name="connsiteX5132" fmla="*/ 7565278 w 9154202"/>
                <a:gd name="connsiteY5132" fmla="*/ 1102122 h 2112317"/>
                <a:gd name="connsiteX5133" fmla="*/ 7558502 w 9154202"/>
                <a:gd name="connsiteY5133" fmla="*/ 1100232 h 2112317"/>
                <a:gd name="connsiteX5134" fmla="*/ 7555513 w 9154202"/>
                <a:gd name="connsiteY5134" fmla="*/ 1098441 h 2112317"/>
                <a:gd name="connsiteX5135" fmla="*/ 7547242 w 9154202"/>
                <a:gd name="connsiteY5135" fmla="*/ 1101425 h 2112317"/>
                <a:gd name="connsiteX5136" fmla="*/ 7538374 w 9154202"/>
                <a:gd name="connsiteY5136" fmla="*/ 1099734 h 2112317"/>
                <a:gd name="connsiteX5137" fmla="*/ 7529804 w 9154202"/>
                <a:gd name="connsiteY5137" fmla="*/ 1095158 h 2112317"/>
                <a:gd name="connsiteX5138" fmla="*/ 7522530 w 9154202"/>
                <a:gd name="connsiteY5138" fmla="*/ 1089387 h 2112317"/>
                <a:gd name="connsiteX5139" fmla="*/ 7521335 w 9154202"/>
                <a:gd name="connsiteY5139" fmla="*/ 1090183 h 2112317"/>
                <a:gd name="connsiteX5140" fmla="*/ 7519541 w 9154202"/>
                <a:gd name="connsiteY5140" fmla="*/ 1090780 h 2112317"/>
                <a:gd name="connsiteX5141" fmla="*/ 7517947 w 9154202"/>
                <a:gd name="connsiteY5141" fmla="*/ 1090780 h 2112317"/>
                <a:gd name="connsiteX5142" fmla="*/ 7516651 w 9154202"/>
                <a:gd name="connsiteY5142" fmla="*/ 1087398 h 2112317"/>
                <a:gd name="connsiteX5143" fmla="*/ 7515157 w 9154202"/>
                <a:gd name="connsiteY5143" fmla="*/ 1086602 h 2112317"/>
                <a:gd name="connsiteX5144" fmla="*/ 7513463 w 9154202"/>
                <a:gd name="connsiteY5144" fmla="*/ 1086602 h 2112317"/>
                <a:gd name="connsiteX5145" fmla="*/ 7509278 w 9154202"/>
                <a:gd name="connsiteY5145" fmla="*/ 1085010 h 2112317"/>
                <a:gd name="connsiteX5146" fmla="*/ 7502801 w 9154202"/>
                <a:gd name="connsiteY5146" fmla="*/ 1084214 h 2112317"/>
                <a:gd name="connsiteX5147" fmla="*/ 7500409 w 9154202"/>
                <a:gd name="connsiteY5147" fmla="*/ 1082722 h 2112317"/>
                <a:gd name="connsiteX5148" fmla="*/ 7498517 w 9154202"/>
                <a:gd name="connsiteY5148" fmla="*/ 1082025 h 2112317"/>
                <a:gd name="connsiteX5149" fmla="*/ 7489947 w 9154202"/>
                <a:gd name="connsiteY5149" fmla="*/ 1080931 h 2112317"/>
                <a:gd name="connsiteX5150" fmla="*/ 7482872 w 9154202"/>
                <a:gd name="connsiteY5150" fmla="*/ 1082025 h 2112317"/>
                <a:gd name="connsiteX5151" fmla="*/ 7464637 w 9154202"/>
                <a:gd name="connsiteY5151" fmla="*/ 1082025 h 2112317"/>
                <a:gd name="connsiteX5152" fmla="*/ 7459954 w 9154202"/>
                <a:gd name="connsiteY5152" fmla="*/ 1083219 h 2112317"/>
                <a:gd name="connsiteX5153" fmla="*/ 7454175 w 9154202"/>
                <a:gd name="connsiteY5153" fmla="*/ 1087000 h 2112317"/>
                <a:gd name="connsiteX5154" fmla="*/ 7452082 w 9154202"/>
                <a:gd name="connsiteY5154" fmla="*/ 1087696 h 2112317"/>
                <a:gd name="connsiteX5155" fmla="*/ 7449292 w 9154202"/>
                <a:gd name="connsiteY5155" fmla="*/ 1087199 h 2112317"/>
                <a:gd name="connsiteX5156" fmla="*/ 7448196 w 9154202"/>
                <a:gd name="connsiteY5156" fmla="*/ 1085607 h 2112317"/>
                <a:gd name="connsiteX5157" fmla="*/ 7447598 w 9154202"/>
                <a:gd name="connsiteY5157" fmla="*/ 1083319 h 2112317"/>
                <a:gd name="connsiteX5158" fmla="*/ 7446004 w 9154202"/>
                <a:gd name="connsiteY5158" fmla="*/ 1080831 h 2112317"/>
                <a:gd name="connsiteX5159" fmla="*/ 7452780 w 9154202"/>
                <a:gd name="connsiteY5159" fmla="*/ 1080831 h 2112317"/>
                <a:gd name="connsiteX5160" fmla="*/ 7456168 w 9154202"/>
                <a:gd name="connsiteY5160" fmla="*/ 1080036 h 2112317"/>
                <a:gd name="connsiteX5161" fmla="*/ 7458659 w 9154202"/>
                <a:gd name="connsiteY5161" fmla="*/ 1078344 h 2112317"/>
                <a:gd name="connsiteX5162" fmla="*/ 7458659 w 9154202"/>
                <a:gd name="connsiteY5162" fmla="*/ 1075658 h 2112317"/>
                <a:gd name="connsiteX5163" fmla="*/ 7456466 w 9154202"/>
                <a:gd name="connsiteY5163" fmla="*/ 1073668 h 2112317"/>
                <a:gd name="connsiteX5164" fmla="*/ 7453078 w 9154202"/>
                <a:gd name="connsiteY5164" fmla="*/ 1072475 h 2112317"/>
                <a:gd name="connsiteX5165" fmla="*/ 7446104 w 9154202"/>
                <a:gd name="connsiteY5165" fmla="*/ 1071380 h 2112317"/>
                <a:gd name="connsiteX5166" fmla="*/ 7435242 w 9154202"/>
                <a:gd name="connsiteY5166" fmla="*/ 1066406 h 2112317"/>
                <a:gd name="connsiteX5167" fmla="*/ 7432153 w 9154202"/>
                <a:gd name="connsiteY5167" fmla="*/ 1066406 h 2112317"/>
                <a:gd name="connsiteX5168" fmla="*/ 7422986 w 9154202"/>
                <a:gd name="connsiteY5168" fmla="*/ 1067799 h 2112317"/>
                <a:gd name="connsiteX5169" fmla="*/ 7425776 w 9154202"/>
                <a:gd name="connsiteY5169" fmla="*/ 1067102 h 2112317"/>
                <a:gd name="connsiteX5170" fmla="*/ 7430459 w 9154202"/>
                <a:gd name="connsiteY5170" fmla="*/ 1064914 h 2112317"/>
                <a:gd name="connsiteX5171" fmla="*/ 7433449 w 9154202"/>
                <a:gd name="connsiteY5171" fmla="*/ 1064914 h 2112317"/>
                <a:gd name="connsiteX5172" fmla="*/ 7447399 w 9154202"/>
                <a:gd name="connsiteY5172" fmla="*/ 1067500 h 2112317"/>
                <a:gd name="connsiteX5173" fmla="*/ 7452580 w 9154202"/>
                <a:gd name="connsiteY5173" fmla="*/ 1069987 h 2112317"/>
                <a:gd name="connsiteX5174" fmla="*/ 7454175 w 9154202"/>
                <a:gd name="connsiteY5174" fmla="*/ 1069987 h 2112317"/>
                <a:gd name="connsiteX5175" fmla="*/ 7455470 w 9154202"/>
                <a:gd name="connsiteY5175" fmla="*/ 1069987 h 2112317"/>
                <a:gd name="connsiteX5176" fmla="*/ 7456766 w 9154202"/>
                <a:gd name="connsiteY5176" fmla="*/ 1069390 h 2112317"/>
                <a:gd name="connsiteX5177" fmla="*/ 7458260 w 9154202"/>
                <a:gd name="connsiteY5177" fmla="*/ 1069390 h 2112317"/>
                <a:gd name="connsiteX5178" fmla="*/ 7461449 w 9154202"/>
                <a:gd name="connsiteY5178" fmla="*/ 1069390 h 2112317"/>
                <a:gd name="connsiteX5179" fmla="*/ 7463940 w 9154202"/>
                <a:gd name="connsiteY5179" fmla="*/ 1070684 h 2112317"/>
                <a:gd name="connsiteX5180" fmla="*/ 7468324 w 9154202"/>
                <a:gd name="connsiteY5180" fmla="*/ 1074663 h 2112317"/>
                <a:gd name="connsiteX5181" fmla="*/ 7470815 w 9154202"/>
                <a:gd name="connsiteY5181" fmla="*/ 1076454 h 2112317"/>
                <a:gd name="connsiteX5182" fmla="*/ 7472708 w 9154202"/>
                <a:gd name="connsiteY5182" fmla="*/ 1076454 h 2112317"/>
                <a:gd name="connsiteX5183" fmla="*/ 7478189 w 9154202"/>
                <a:gd name="connsiteY5183" fmla="*/ 1075559 h 2112317"/>
                <a:gd name="connsiteX5184" fmla="*/ 7503499 w 9154202"/>
                <a:gd name="connsiteY5184" fmla="*/ 1081229 h 2112317"/>
                <a:gd name="connsiteX5185" fmla="*/ 7505990 w 9154202"/>
                <a:gd name="connsiteY5185" fmla="*/ 1080732 h 2112317"/>
                <a:gd name="connsiteX5186" fmla="*/ 7508780 w 9154202"/>
                <a:gd name="connsiteY5186" fmla="*/ 1078842 h 2112317"/>
                <a:gd name="connsiteX5187" fmla="*/ 7511868 w 9154202"/>
                <a:gd name="connsiteY5187" fmla="*/ 1078842 h 2112317"/>
                <a:gd name="connsiteX5188" fmla="*/ 7522730 w 9154202"/>
                <a:gd name="connsiteY5188" fmla="*/ 1085607 h 2112317"/>
                <a:gd name="connsiteX5189" fmla="*/ 7525819 w 9154202"/>
                <a:gd name="connsiteY5189" fmla="*/ 1087000 h 2112317"/>
                <a:gd name="connsiteX5190" fmla="*/ 7529008 w 9154202"/>
                <a:gd name="connsiteY5190" fmla="*/ 1087597 h 2112317"/>
                <a:gd name="connsiteX5191" fmla="*/ 7531897 w 9154202"/>
                <a:gd name="connsiteY5191" fmla="*/ 1088691 h 2112317"/>
                <a:gd name="connsiteX5192" fmla="*/ 7537377 w 9154202"/>
                <a:gd name="connsiteY5192" fmla="*/ 1093964 h 2112317"/>
                <a:gd name="connsiteX5193" fmla="*/ 7540267 w 9154202"/>
                <a:gd name="connsiteY5193" fmla="*/ 1095556 h 2112317"/>
                <a:gd name="connsiteX5194" fmla="*/ 7546744 w 9154202"/>
                <a:gd name="connsiteY5194" fmla="*/ 1095556 h 2112317"/>
                <a:gd name="connsiteX5195" fmla="*/ 7553819 w 9154202"/>
                <a:gd name="connsiteY5195" fmla="*/ 1094561 h 2112317"/>
                <a:gd name="connsiteX5196" fmla="*/ 7562986 w 9154202"/>
                <a:gd name="connsiteY5196" fmla="*/ 1094561 h 2112317"/>
                <a:gd name="connsiteX5197" fmla="*/ 7568068 w 9154202"/>
                <a:gd name="connsiteY5197" fmla="*/ 1097744 h 2112317"/>
                <a:gd name="connsiteX5198" fmla="*/ 7573448 w 9154202"/>
                <a:gd name="connsiteY5198" fmla="*/ 1102122 h 2112317"/>
                <a:gd name="connsiteX5199" fmla="*/ 7576039 w 9154202"/>
                <a:gd name="connsiteY5199" fmla="*/ 1104012 h 2112317"/>
                <a:gd name="connsiteX5200" fmla="*/ 7578431 w 9154202"/>
                <a:gd name="connsiteY5200" fmla="*/ 1106698 h 2112317"/>
                <a:gd name="connsiteX5201" fmla="*/ 7581819 w 9154202"/>
                <a:gd name="connsiteY5201" fmla="*/ 1111673 h 2112317"/>
                <a:gd name="connsiteX5202" fmla="*/ 7583911 w 9154202"/>
                <a:gd name="connsiteY5202" fmla="*/ 1113762 h 2112317"/>
                <a:gd name="connsiteX5203" fmla="*/ 7586701 w 9154202"/>
                <a:gd name="connsiteY5203" fmla="*/ 1114657 h 2112317"/>
                <a:gd name="connsiteX5204" fmla="*/ 7591285 w 9154202"/>
                <a:gd name="connsiteY5204" fmla="*/ 1114657 h 2112317"/>
                <a:gd name="connsiteX5205" fmla="*/ 7593178 w 9154202"/>
                <a:gd name="connsiteY5205" fmla="*/ 1114657 h 2112317"/>
                <a:gd name="connsiteX5206" fmla="*/ 7597562 w 9154202"/>
                <a:gd name="connsiteY5206" fmla="*/ 1116746 h 2112317"/>
                <a:gd name="connsiteX5207" fmla="*/ 7599257 w 9154202"/>
                <a:gd name="connsiteY5207" fmla="*/ 1116746 h 2112317"/>
                <a:gd name="connsiteX5208" fmla="*/ 7602146 w 9154202"/>
                <a:gd name="connsiteY5208" fmla="*/ 1115752 h 2112317"/>
                <a:gd name="connsiteX5209" fmla="*/ 7604936 w 9154202"/>
                <a:gd name="connsiteY5209" fmla="*/ 1113563 h 2112317"/>
                <a:gd name="connsiteX5210" fmla="*/ 7614103 w 9154202"/>
                <a:gd name="connsiteY5210" fmla="*/ 1103614 h 2112317"/>
                <a:gd name="connsiteX5211" fmla="*/ 7614103 w 9154202"/>
                <a:gd name="connsiteY5211" fmla="*/ 1102918 h 2112317"/>
                <a:gd name="connsiteX5212" fmla="*/ 7614103 w 9154202"/>
                <a:gd name="connsiteY5212" fmla="*/ 1101127 h 2112317"/>
                <a:gd name="connsiteX5213" fmla="*/ 7614103 w 9154202"/>
                <a:gd name="connsiteY5213" fmla="*/ 1100331 h 2112317"/>
                <a:gd name="connsiteX5214" fmla="*/ 7614901 w 9154202"/>
                <a:gd name="connsiteY5214" fmla="*/ 1100331 h 2112317"/>
                <a:gd name="connsiteX5215" fmla="*/ 7616794 w 9154202"/>
                <a:gd name="connsiteY5215" fmla="*/ 1100331 h 2112317"/>
                <a:gd name="connsiteX5216" fmla="*/ 7617591 w 9154202"/>
                <a:gd name="connsiteY5216" fmla="*/ 1100331 h 2112317"/>
                <a:gd name="connsiteX5217" fmla="*/ 7619883 w 9154202"/>
                <a:gd name="connsiteY5217" fmla="*/ 1098540 h 2112317"/>
                <a:gd name="connsiteX5218" fmla="*/ 7622175 w 9154202"/>
                <a:gd name="connsiteY5218" fmla="*/ 1096252 h 2112317"/>
                <a:gd name="connsiteX5219" fmla="*/ 7624666 w 9154202"/>
                <a:gd name="connsiteY5219" fmla="*/ 1094262 h 2112317"/>
                <a:gd name="connsiteX5220" fmla="*/ 7627555 w 9154202"/>
                <a:gd name="connsiteY5220" fmla="*/ 1093367 h 2112317"/>
                <a:gd name="connsiteX5221" fmla="*/ 7630445 w 9154202"/>
                <a:gd name="connsiteY5221" fmla="*/ 1091875 h 2112317"/>
                <a:gd name="connsiteX5222" fmla="*/ 7632537 w 9154202"/>
                <a:gd name="connsiteY5222" fmla="*/ 1088293 h 2112317"/>
                <a:gd name="connsiteX5223" fmla="*/ 7635826 w 9154202"/>
                <a:gd name="connsiteY5223" fmla="*/ 1080831 h 2112317"/>
                <a:gd name="connsiteX5224" fmla="*/ 7645790 w 9154202"/>
                <a:gd name="connsiteY5224" fmla="*/ 1070883 h 2112317"/>
                <a:gd name="connsiteX5225" fmla="*/ 7650374 w 9154202"/>
                <a:gd name="connsiteY5225" fmla="*/ 1064317 h 2112317"/>
                <a:gd name="connsiteX5226" fmla="*/ 7650374 w 9154202"/>
                <a:gd name="connsiteY5226" fmla="*/ 1058546 h 2112317"/>
                <a:gd name="connsiteX5227" fmla="*/ 7651270 w 9154202"/>
                <a:gd name="connsiteY5227" fmla="*/ 1056557 h 2112317"/>
                <a:gd name="connsiteX5228" fmla="*/ 7652965 w 9154202"/>
                <a:gd name="connsiteY5228" fmla="*/ 1051184 h 2112317"/>
                <a:gd name="connsiteX5229" fmla="*/ 7657748 w 9154202"/>
                <a:gd name="connsiteY5229" fmla="*/ 1043126 h 2112317"/>
                <a:gd name="connsiteX5230" fmla="*/ 7658943 w 9154202"/>
                <a:gd name="connsiteY5230" fmla="*/ 1042429 h 2112317"/>
                <a:gd name="connsiteX5231" fmla="*/ 7660139 w 9154202"/>
                <a:gd name="connsiteY5231" fmla="*/ 1042429 h 2112317"/>
                <a:gd name="connsiteX5232" fmla="*/ 7661434 w 9154202"/>
                <a:gd name="connsiteY5232" fmla="*/ 1043126 h 2112317"/>
                <a:gd name="connsiteX5233" fmla="*/ 7662630 w 9154202"/>
                <a:gd name="connsiteY5233" fmla="*/ 1043126 h 2112317"/>
                <a:gd name="connsiteX5234" fmla="*/ 7668608 w 9154202"/>
                <a:gd name="connsiteY5234" fmla="*/ 1041136 h 2112317"/>
                <a:gd name="connsiteX5235" fmla="*/ 7671897 w 9154202"/>
                <a:gd name="connsiteY5235" fmla="*/ 1036062 h 2112317"/>
                <a:gd name="connsiteX5236" fmla="*/ 7678075 w 9154202"/>
                <a:gd name="connsiteY5236" fmla="*/ 1015170 h 2112317"/>
                <a:gd name="connsiteX5237" fmla="*/ 7679769 w 9154202"/>
                <a:gd name="connsiteY5237" fmla="*/ 1012285 h 2112317"/>
                <a:gd name="connsiteX5238" fmla="*/ 7682161 w 9154202"/>
                <a:gd name="connsiteY5238" fmla="*/ 1011190 h 2112317"/>
                <a:gd name="connsiteX5239" fmla="*/ 7687939 w 9154202"/>
                <a:gd name="connsiteY5239" fmla="*/ 1011190 h 2112317"/>
                <a:gd name="connsiteX5240" fmla="*/ 7690132 w 9154202"/>
                <a:gd name="connsiteY5240" fmla="*/ 1010195 h 2112317"/>
                <a:gd name="connsiteX5241" fmla="*/ 7692025 w 9154202"/>
                <a:gd name="connsiteY5241" fmla="*/ 1008007 h 2112317"/>
                <a:gd name="connsiteX5242" fmla="*/ 7692025 w 9154202"/>
                <a:gd name="connsiteY5242" fmla="*/ 1006415 h 2112317"/>
                <a:gd name="connsiteX5243" fmla="*/ 7692025 w 9154202"/>
                <a:gd name="connsiteY5243" fmla="*/ 1004923 h 2112317"/>
                <a:gd name="connsiteX5244" fmla="*/ 7692025 w 9154202"/>
                <a:gd name="connsiteY5244" fmla="*/ 1003928 h 2112317"/>
                <a:gd name="connsiteX5245" fmla="*/ 7695214 w 9154202"/>
                <a:gd name="connsiteY5245" fmla="*/ 1003132 h 2112317"/>
                <a:gd name="connsiteX5246" fmla="*/ 7697505 w 9154202"/>
                <a:gd name="connsiteY5246" fmla="*/ 1001540 h 2112317"/>
                <a:gd name="connsiteX5247" fmla="*/ 7700495 w 9154202"/>
                <a:gd name="connsiteY5247" fmla="*/ 1000346 h 2112317"/>
                <a:gd name="connsiteX5248" fmla="*/ 7709164 w 9154202"/>
                <a:gd name="connsiteY5248" fmla="*/ 994377 h 2112317"/>
                <a:gd name="connsiteX5249" fmla="*/ 7709861 w 9154202"/>
                <a:gd name="connsiteY5249" fmla="*/ 993183 h 2112317"/>
                <a:gd name="connsiteX5250" fmla="*/ 7710659 w 9154202"/>
                <a:gd name="connsiteY5250" fmla="*/ 991591 h 2112317"/>
                <a:gd name="connsiteX5251" fmla="*/ 7711555 w 9154202"/>
                <a:gd name="connsiteY5251" fmla="*/ 990298 h 2112317"/>
                <a:gd name="connsiteX5252" fmla="*/ 7713050 w 9154202"/>
                <a:gd name="connsiteY5252" fmla="*/ 989701 h 2112317"/>
                <a:gd name="connsiteX5253" fmla="*/ 7730886 w 9154202"/>
                <a:gd name="connsiteY5253" fmla="*/ 988507 h 2112317"/>
                <a:gd name="connsiteX5254" fmla="*/ 7729392 w 9154202"/>
                <a:gd name="connsiteY5254" fmla="*/ 986517 h 2112317"/>
                <a:gd name="connsiteX5255" fmla="*/ 7725107 w 9154202"/>
                <a:gd name="connsiteY5255" fmla="*/ 986517 h 2112317"/>
                <a:gd name="connsiteX5256" fmla="*/ 7723812 w 9154202"/>
                <a:gd name="connsiteY5256" fmla="*/ 984428 h 2112317"/>
                <a:gd name="connsiteX5257" fmla="*/ 7731783 w 9154202"/>
                <a:gd name="connsiteY5257" fmla="*/ 980946 h 2112317"/>
                <a:gd name="connsiteX5258" fmla="*/ 7730687 w 9154202"/>
                <a:gd name="connsiteY5258" fmla="*/ 976668 h 2112317"/>
                <a:gd name="connsiteX5259" fmla="*/ 7731983 w 9154202"/>
                <a:gd name="connsiteY5259" fmla="*/ 972390 h 2112317"/>
                <a:gd name="connsiteX5260" fmla="*/ 7734474 w 9154202"/>
                <a:gd name="connsiteY5260" fmla="*/ 968610 h 2112317"/>
                <a:gd name="connsiteX5261" fmla="*/ 7736965 w 9154202"/>
                <a:gd name="connsiteY5261" fmla="*/ 966023 h 2112317"/>
                <a:gd name="connsiteX5262" fmla="*/ 7739555 w 9154202"/>
                <a:gd name="connsiteY5262" fmla="*/ 965028 h 2112317"/>
                <a:gd name="connsiteX5263" fmla="*/ 7747128 w 9154202"/>
                <a:gd name="connsiteY5263" fmla="*/ 963536 h 2112317"/>
                <a:gd name="connsiteX5264" fmla="*/ 7749519 w 9154202"/>
                <a:gd name="connsiteY5264" fmla="*/ 962043 h 2112317"/>
                <a:gd name="connsiteX5265" fmla="*/ 7750716 w 9154202"/>
                <a:gd name="connsiteY5265" fmla="*/ 961148 h 2112317"/>
                <a:gd name="connsiteX5266" fmla="*/ 7755100 w 9154202"/>
                <a:gd name="connsiteY5266" fmla="*/ 959158 h 2112317"/>
                <a:gd name="connsiteX5267" fmla="*/ 7759484 w 9154202"/>
                <a:gd name="connsiteY5267" fmla="*/ 955179 h 2112317"/>
                <a:gd name="connsiteX5268" fmla="*/ 7760779 w 9154202"/>
                <a:gd name="connsiteY5268" fmla="*/ 954582 h 2112317"/>
                <a:gd name="connsiteX5269" fmla="*/ 7760779 w 9154202"/>
                <a:gd name="connsiteY5269" fmla="*/ 952791 h 2112317"/>
                <a:gd name="connsiteX5270" fmla="*/ 7759783 w 9154202"/>
                <a:gd name="connsiteY5270" fmla="*/ 948712 h 2112317"/>
                <a:gd name="connsiteX5271" fmla="*/ 7758189 w 9154202"/>
                <a:gd name="connsiteY5271" fmla="*/ 944434 h 2112317"/>
                <a:gd name="connsiteX5272" fmla="*/ 7756395 w 9154202"/>
                <a:gd name="connsiteY5272" fmla="*/ 942046 h 2112317"/>
                <a:gd name="connsiteX5273" fmla="*/ 7757790 w 9154202"/>
                <a:gd name="connsiteY5273" fmla="*/ 942046 h 2112317"/>
                <a:gd name="connsiteX5274" fmla="*/ 7761577 w 9154202"/>
                <a:gd name="connsiteY5274" fmla="*/ 944036 h 2112317"/>
                <a:gd name="connsiteX5275" fmla="*/ 7761577 w 9154202"/>
                <a:gd name="connsiteY5275" fmla="*/ 947518 h 2112317"/>
                <a:gd name="connsiteX5276" fmla="*/ 7765961 w 9154202"/>
                <a:gd name="connsiteY5276" fmla="*/ 951398 h 2112317"/>
                <a:gd name="connsiteX5277" fmla="*/ 7765961 w 9154202"/>
                <a:gd name="connsiteY5277" fmla="*/ 955577 h 2112317"/>
                <a:gd name="connsiteX5278" fmla="*/ 7764367 w 9154202"/>
                <a:gd name="connsiteY5278" fmla="*/ 958163 h 2112317"/>
                <a:gd name="connsiteX5279" fmla="*/ 7756495 w 9154202"/>
                <a:gd name="connsiteY5279" fmla="*/ 964630 h 2112317"/>
                <a:gd name="connsiteX5280" fmla="*/ 7762274 w 9154202"/>
                <a:gd name="connsiteY5280" fmla="*/ 964630 h 2112317"/>
                <a:gd name="connsiteX5281" fmla="*/ 7764367 w 9154202"/>
                <a:gd name="connsiteY5281" fmla="*/ 964630 h 2112317"/>
                <a:gd name="connsiteX5282" fmla="*/ 7766359 w 9154202"/>
                <a:gd name="connsiteY5282" fmla="*/ 963735 h 2112317"/>
                <a:gd name="connsiteX5283" fmla="*/ 7770644 w 9154202"/>
                <a:gd name="connsiteY5283" fmla="*/ 960253 h 2112317"/>
                <a:gd name="connsiteX5284" fmla="*/ 7772836 w 9154202"/>
                <a:gd name="connsiteY5284" fmla="*/ 958860 h 2112317"/>
                <a:gd name="connsiteX5285" fmla="*/ 7786288 w 9154202"/>
                <a:gd name="connsiteY5285" fmla="*/ 956572 h 2112317"/>
                <a:gd name="connsiteX5286" fmla="*/ 7791171 w 9154202"/>
                <a:gd name="connsiteY5286" fmla="*/ 954482 h 2112317"/>
                <a:gd name="connsiteX5287" fmla="*/ 7791171 w 9154202"/>
                <a:gd name="connsiteY5287" fmla="*/ 951299 h 2112317"/>
                <a:gd name="connsiteX5288" fmla="*/ 7791171 w 9154202"/>
                <a:gd name="connsiteY5288" fmla="*/ 948613 h 2112317"/>
                <a:gd name="connsiteX5289" fmla="*/ 7790274 w 9154202"/>
                <a:gd name="connsiteY5289" fmla="*/ 945927 h 2112317"/>
                <a:gd name="connsiteX5290" fmla="*/ 7788680 w 9154202"/>
                <a:gd name="connsiteY5290" fmla="*/ 945927 h 2112317"/>
                <a:gd name="connsiteX5291" fmla="*/ 7784594 w 9154202"/>
                <a:gd name="connsiteY5291" fmla="*/ 946921 h 2112317"/>
                <a:gd name="connsiteX5292" fmla="*/ 7782203 w 9154202"/>
                <a:gd name="connsiteY5292" fmla="*/ 946921 h 2112317"/>
                <a:gd name="connsiteX5293" fmla="*/ 7776225 w 9154202"/>
                <a:gd name="connsiteY5293" fmla="*/ 942743 h 2112317"/>
                <a:gd name="connsiteX5294" fmla="*/ 7776225 w 9154202"/>
                <a:gd name="connsiteY5294" fmla="*/ 941748 h 2112317"/>
                <a:gd name="connsiteX5295" fmla="*/ 7778416 w 9154202"/>
                <a:gd name="connsiteY5295" fmla="*/ 942345 h 2112317"/>
                <a:gd name="connsiteX5296" fmla="*/ 7785392 w 9154202"/>
                <a:gd name="connsiteY5296" fmla="*/ 942345 h 2112317"/>
                <a:gd name="connsiteX5297" fmla="*/ 7786587 w 9154202"/>
                <a:gd name="connsiteY5297" fmla="*/ 942345 h 2112317"/>
                <a:gd name="connsiteX5298" fmla="*/ 7788281 w 9154202"/>
                <a:gd name="connsiteY5298" fmla="*/ 940853 h 2112317"/>
                <a:gd name="connsiteX5299" fmla="*/ 7789377 w 9154202"/>
                <a:gd name="connsiteY5299" fmla="*/ 940853 h 2112317"/>
                <a:gd name="connsiteX5300" fmla="*/ 7790374 w 9154202"/>
                <a:gd name="connsiteY5300" fmla="*/ 940853 h 2112317"/>
                <a:gd name="connsiteX5301" fmla="*/ 7792566 w 9154202"/>
                <a:gd name="connsiteY5301" fmla="*/ 940853 h 2112317"/>
                <a:gd name="connsiteX5302" fmla="*/ 7793563 w 9154202"/>
                <a:gd name="connsiteY5302" fmla="*/ 940853 h 2112317"/>
                <a:gd name="connsiteX5303" fmla="*/ 7796252 w 9154202"/>
                <a:gd name="connsiteY5303" fmla="*/ 937072 h 2112317"/>
                <a:gd name="connsiteX5304" fmla="*/ 7797249 w 9154202"/>
                <a:gd name="connsiteY5304" fmla="*/ 932496 h 2112317"/>
                <a:gd name="connsiteX5305" fmla="*/ 7798943 w 9154202"/>
                <a:gd name="connsiteY5305" fmla="*/ 929909 h 2112317"/>
                <a:gd name="connsiteX5306" fmla="*/ 7803925 w 9154202"/>
                <a:gd name="connsiteY5306" fmla="*/ 931700 h 2112317"/>
                <a:gd name="connsiteX5307" fmla="*/ 7806118 w 9154202"/>
                <a:gd name="connsiteY5307" fmla="*/ 929511 h 2112317"/>
                <a:gd name="connsiteX5308" fmla="*/ 7807014 w 9154202"/>
                <a:gd name="connsiteY5308" fmla="*/ 928019 h 2112317"/>
                <a:gd name="connsiteX5309" fmla="*/ 7807014 w 9154202"/>
                <a:gd name="connsiteY5309" fmla="*/ 926029 h 2112317"/>
                <a:gd name="connsiteX5310" fmla="*/ 7810601 w 9154202"/>
                <a:gd name="connsiteY5310" fmla="*/ 927322 h 2112317"/>
                <a:gd name="connsiteX5311" fmla="*/ 7814388 w 9154202"/>
                <a:gd name="connsiteY5311" fmla="*/ 927322 h 2112317"/>
                <a:gd name="connsiteX5312" fmla="*/ 7820965 w 9154202"/>
                <a:gd name="connsiteY5312" fmla="*/ 926128 h 2112317"/>
                <a:gd name="connsiteX5313" fmla="*/ 7824352 w 9154202"/>
                <a:gd name="connsiteY5313" fmla="*/ 926128 h 2112317"/>
                <a:gd name="connsiteX5314" fmla="*/ 7831427 w 9154202"/>
                <a:gd name="connsiteY5314" fmla="*/ 927919 h 2112317"/>
                <a:gd name="connsiteX5315" fmla="*/ 7837505 w 9154202"/>
                <a:gd name="connsiteY5315" fmla="*/ 927919 h 2112317"/>
                <a:gd name="connsiteX5316" fmla="*/ 7838801 w 9154202"/>
                <a:gd name="connsiteY5316" fmla="*/ 927919 h 2112317"/>
                <a:gd name="connsiteX5317" fmla="*/ 7839996 w 9154202"/>
                <a:gd name="connsiteY5317" fmla="*/ 927123 h 2112317"/>
                <a:gd name="connsiteX5318" fmla="*/ 7841392 w 9154202"/>
                <a:gd name="connsiteY5318" fmla="*/ 925233 h 2112317"/>
                <a:gd name="connsiteX5319" fmla="*/ 7842487 w 9154202"/>
                <a:gd name="connsiteY5319" fmla="*/ 924338 h 2112317"/>
                <a:gd name="connsiteX5320" fmla="*/ 7846075 w 9154202"/>
                <a:gd name="connsiteY5320" fmla="*/ 922746 h 2112317"/>
                <a:gd name="connsiteX5321" fmla="*/ 7847470 w 9154202"/>
                <a:gd name="connsiteY5321" fmla="*/ 922746 h 2112317"/>
                <a:gd name="connsiteX5322" fmla="*/ 7855242 w 9154202"/>
                <a:gd name="connsiteY5322" fmla="*/ 922746 h 2112317"/>
                <a:gd name="connsiteX5323" fmla="*/ 7858929 w 9154202"/>
                <a:gd name="connsiteY5323" fmla="*/ 921851 h 2112317"/>
                <a:gd name="connsiteX5324" fmla="*/ 7860922 w 9154202"/>
                <a:gd name="connsiteY5324" fmla="*/ 921851 h 2112317"/>
                <a:gd name="connsiteX5325" fmla="*/ 7862716 w 9154202"/>
                <a:gd name="connsiteY5325" fmla="*/ 922945 h 2112317"/>
                <a:gd name="connsiteX5326" fmla="*/ 7866701 w 9154202"/>
                <a:gd name="connsiteY5326" fmla="*/ 920856 h 2112317"/>
                <a:gd name="connsiteX5327" fmla="*/ 7871085 w 9154202"/>
                <a:gd name="connsiteY5327" fmla="*/ 920259 h 2112317"/>
                <a:gd name="connsiteX5328" fmla="*/ 7889818 w 9154202"/>
                <a:gd name="connsiteY5328" fmla="*/ 920259 h 2112317"/>
                <a:gd name="connsiteX5329" fmla="*/ 7893007 w 9154202"/>
                <a:gd name="connsiteY5329" fmla="*/ 918667 h 2112317"/>
                <a:gd name="connsiteX5330" fmla="*/ 7906658 w 9154202"/>
                <a:gd name="connsiteY5330" fmla="*/ 902848 h 2112317"/>
                <a:gd name="connsiteX5331" fmla="*/ 7909548 w 9154202"/>
                <a:gd name="connsiteY5331" fmla="*/ 898570 h 2112317"/>
                <a:gd name="connsiteX5332" fmla="*/ 7910744 w 9154202"/>
                <a:gd name="connsiteY5332" fmla="*/ 894790 h 2112317"/>
                <a:gd name="connsiteX5333" fmla="*/ 7911242 w 9154202"/>
                <a:gd name="connsiteY5333" fmla="*/ 889318 h 2112317"/>
                <a:gd name="connsiteX5334" fmla="*/ 7911242 w 9154202"/>
                <a:gd name="connsiteY5334" fmla="*/ 883946 h 2112317"/>
                <a:gd name="connsiteX5335" fmla="*/ 7909747 w 9154202"/>
                <a:gd name="connsiteY5335" fmla="*/ 880165 h 2112317"/>
                <a:gd name="connsiteX5336" fmla="*/ 7911641 w 9154202"/>
                <a:gd name="connsiteY5336" fmla="*/ 872903 h 2112317"/>
                <a:gd name="connsiteX5337" fmla="*/ 7912338 w 9154202"/>
                <a:gd name="connsiteY5337" fmla="*/ 870913 h 2112317"/>
                <a:gd name="connsiteX5338" fmla="*/ 7913833 w 9154202"/>
                <a:gd name="connsiteY5338" fmla="*/ 868525 h 2112317"/>
                <a:gd name="connsiteX5339" fmla="*/ 7918018 w 9154202"/>
                <a:gd name="connsiteY5339" fmla="*/ 863750 h 2112317"/>
                <a:gd name="connsiteX5340" fmla="*/ 7919313 w 9154202"/>
                <a:gd name="connsiteY5340" fmla="*/ 861760 h 2112317"/>
                <a:gd name="connsiteX5341" fmla="*/ 7919313 w 9154202"/>
                <a:gd name="connsiteY5341" fmla="*/ 858875 h 2112317"/>
                <a:gd name="connsiteX5342" fmla="*/ 7918616 w 9154202"/>
                <a:gd name="connsiteY5342" fmla="*/ 856487 h 2112317"/>
                <a:gd name="connsiteX5343" fmla="*/ 7917719 w 9154202"/>
                <a:gd name="connsiteY5343" fmla="*/ 854199 h 2112317"/>
                <a:gd name="connsiteX5344" fmla="*/ 7917719 w 9154202"/>
                <a:gd name="connsiteY5344" fmla="*/ 851413 h 2112317"/>
                <a:gd name="connsiteX5345" fmla="*/ 7917719 w 9154202"/>
                <a:gd name="connsiteY5345" fmla="*/ 848727 h 2112317"/>
                <a:gd name="connsiteX5346" fmla="*/ 7918616 w 9154202"/>
                <a:gd name="connsiteY5346" fmla="*/ 845942 h 2112317"/>
                <a:gd name="connsiteX5347" fmla="*/ 7919712 w 9154202"/>
                <a:gd name="connsiteY5347" fmla="*/ 843156 h 2112317"/>
                <a:gd name="connsiteX5348" fmla="*/ 7922203 w 9154202"/>
                <a:gd name="connsiteY5348" fmla="*/ 838480 h 2112317"/>
                <a:gd name="connsiteX5349" fmla="*/ 7924096 w 9154202"/>
                <a:gd name="connsiteY5349" fmla="*/ 835893 h 2112317"/>
                <a:gd name="connsiteX5350" fmla="*/ 7926487 w 9154202"/>
                <a:gd name="connsiteY5350" fmla="*/ 833705 h 2112317"/>
                <a:gd name="connsiteX5351" fmla="*/ 7929178 w 9154202"/>
                <a:gd name="connsiteY5351" fmla="*/ 832809 h 2112317"/>
                <a:gd name="connsiteX5352" fmla="*/ 7932167 w 9154202"/>
                <a:gd name="connsiteY5352" fmla="*/ 833804 h 2112317"/>
                <a:gd name="connsiteX5353" fmla="*/ 7933662 w 9154202"/>
                <a:gd name="connsiteY5353" fmla="*/ 835694 h 2112317"/>
                <a:gd name="connsiteX5354" fmla="*/ 7935057 w 9154202"/>
                <a:gd name="connsiteY5354" fmla="*/ 836391 h 2112317"/>
                <a:gd name="connsiteX5355" fmla="*/ 7937449 w 9154202"/>
                <a:gd name="connsiteY5355" fmla="*/ 834003 h 2112317"/>
                <a:gd name="connsiteX5356" fmla="*/ 7938843 w 9154202"/>
                <a:gd name="connsiteY5356" fmla="*/ 830820 h 2112317"/>
                <a:gd name="connsiteX5357" fmla="*/ 7940238 w 9154202"/>
                <a:gd name="connsiteY5357" fmla="*/ 826939 h 2112317"/>
                <a:gd name="connsiteX5358" fmla="*/ 7941833 w 9154202"/>
                <a:gd name="connsiteY5358" fmla="*/ 823756 h 2112317"/>
                <a:gd name="connsiteX5359" fmla="*/ 7945022 w 9154202"/>
                <a:gd name="connsiteY5359" fmla="*/ 821667 h 2112317"/>
                <a:gd name="connsiteX5360" fmla="*/ 7945022 w 9154202"/>
                <a:gd name="connsiteY5360" fmla="*/ 820075 h 2112317"/>
                <a:gd name="connsiteX5361" fmla="*/ 7944224 w 9154202"/>
                <a:gd name="connsiteY5361" fmla="*/ 818085 h 2112317"/>
                <a:gd name="connsiteX5362" fmla="*/ 7944224 w 9154202"/>
                <a:gd name="connsiteY5362" fmla="*/ 816692 h 2112317"/>
                <a:gd name="connsiteX5363" fmla="*/ 7944224 w 9154202"/>
                <a:gd name="connsiteY5363" fmla="*/ 814902 h 2112317"/>
                <a:gd name="connsiteX5364" fmla="*/ 7945121 w 9154202"/>
                <a:gd name="connsiteY5364" fmla="*/ 813011 h 2112317"/>
                <a:gd name="connsiteX5365" fmla="*/ 7947313 w 9154202"/>
                <a:gd name="connsiteY5365" fmla="*/ 809629 h 2112317"/>
                <a:gd name="connsiteX5366" fmla="*/ 7952196 w 9154202"/>
                <a:gd name="connsiteY5366" fmla="*/ 805450 h 2112317"/>
                <a:gd name="connsiteX5367" fmla="*/ 7964651 w 9154202"/>
                <a:gd name="connsiteY5367" fmla="*/ 802665 h 2112317"/>
                <a:gd name="connsiteX5368" fmla="*/ 7970729 w 9154202"/>
                <a:gd name="connsiteY5368" fmla="*/ 800376 h 2112317"/>
                <a:gd name="connsiteX5369" fmla="*/ 7973320 w 9154202"/>
                <a:gd name="connsiteY5369" fmla="*/ 798287 h 2112317"/>
                <a:gd name="connsiteX5370" fmla="*/ 7979000 w 9154202"/>
                <a:gd name="connsiteY5370" fmla="*/ 789333 h 2112317"/>
                <a:gd name="connsiteX5371" fmla="*/ 7983384 w 9154202"/>
                <a:gd name="connsiteY5371" fmla="*/ 784558 h 2112317"/>
                <a:gd name="connsiteX5372" fmla="*/ 7986174 w 9154202"/>
                <a:gd name="connsiteY5372" fmla="*/ 782568 h 2112317"/>
                <a:gd name="connsiteX5373" fmla="*/ 7988964 w 9154202"/>
                <a:gd name="connsiteY5373" fmla="*/ 781772 h 2112317"/>
                <a:gd name="connsiteX5374" fmla="*/ 7987968 w 9154202"/>
                <a:gd name="connsiteY5374" fmla="*/ 780578 h 2112317"/>
                <a:gd name="connsiteX5375" fmla="*/ 7987370 w 9154202"/>
                <a:gd name="connsiteY5375" fmla="*/ 779285 h 2112317"/>
                <a:gd name="connsiteX5376" fmla="*/ 7987370 w 9154202"/>
                <a:gd name="connsiteY5376" fmla="*/ 777693 h 2112317"/>
                <a:gd name="connsiteX5377" fmla="*/ 7987370 w 9154202"/>
                <a:gd name="connsiteY5377" fmla="*/ 776002 h 2112317"/>
                <a:gd name="connsiteX5378" fmla="*/ 7989562 w 9154202"/>
                <a:gd name="connsiteY5378" fmla="*/ 776997 h 2112317"/>
                <a:gd name="connsiteX5379" fmla="*/ 7993050 w 9154202"/>
                <a:gd name="connsiteY5379" fmla="*/ 779484 h 2112317"/>
                <a:gd name="connsiteX5380" fmla="*/ 7995142 w 9154202"/>
                <a:gd name="connsiteY5380" fmla="*/ 780479 h 2112317"/>
                <a:gd name="connsiteX5381" fmla="*/ 7996537 w 9154202"/>
                <a:gd name="connsiteY5381" fmla="*/ 780479 h 2112317"/>
                <a:gd name="connsiteX5382" fmla="*/ 7999029 w 9154202"/>
                <a:gd name="connsiteY5382" fmla="*/ 780479 h 2112317"/>
                <a:gd name="connsiteX5383" fmla="*/ 8000324 w 9154202"/>
                <a:gd name="connsiteY5383" fmla="*/ 780479 h 2112317"/>
                <a:gd name="connsiteX5384" fmla="*/ 8004907 w 9154202"/>
                <a:gd name="connsiteY5384" fmla="*/ 782568 h 2112317"/>
                <a:gd name="connsiteX5385" fmla="*/ 8008793 w 9154202"/>
                <a:gd name="connsiteY5385" fmla="*/ 783165 h 2112317"/>
                <a:gd name="connsiteX5386" fmla="*/ 8009491 w 9154202"/>
                <a:gd name="connsiteY5386" fmla="*/ 783165 h 2112317"/>
                <a:gd name="connsiteX5387" fmla="*/ 8010687 w 9154202"/>
                <a:gd name="connsiteY5387" fmla="*/ 782071 h 2112317"/>
                <a:gd name="connsiteX5388" fmla="*/ 8012779 w 9154202"/>
                <a:gd name="connsiteY5388" fmla="*/ 780976 h 2112317"/>
                <a:gd name="connsiteX5389" fmla="*/ 8013576 w 9154202"/>
                <a:gd name="connsiteY5389" fmla="*/ 779981 h 2112317"/>
                <a:gd name="connsiteX5390" fmla="*/ 8013576 w 9154202"/>
                <a:gd name="connsiteY5390" fmla="*/ 778489 h 2112317"/>
                <a:gd name="connsiteX5391" fmla="*/ 8011684 w 9154202"/>
                <a:gd name="connsiteY5391" fmla="*/ 777892 h 2112317"/>
                <a:gd name="connsiteX5392" fmla="*/ 8008395 w 9154202"/>
                <a:gd name="connsiteY5392" fmla="*/ 777892 h 2112317"/>
                <a:gd name="connsiteX5393" fmla="*/ 8005007 w 9154202"/>
                <a:gd name="connsiteY5393" fmla="*/ 778688 h 2112317"/>
                <a:gd name="connsiteX5394" fmla="*/ 8003213 w 9154202"/>
                <a:gd name="connsiteY5394" fmla="*/ 779484 h 2112317"/>
                <a:gd name="connsiteX5395" fmla="*/ 7999527 w 9154202"/>
                <a:gd name="connsiteY5395" fmla="*/ 776101 h 2112317"/>
                <a:gd name="connsiteX5396" fmla="*/ 7998431 w 9154202"/>
                <a:gd name="connsiteY5396" fmla="*/ 773714 h 2112317"/>
                <a:gd name="connsiteX5397" fmla="*/ 7999228 w 9154202"/>
                <a:gd name="connsiteY5397" fmla="*/ 770729 h 2112317"/>
                <a:gd name="connsiteX5398" fmla="*/ 8001022 w 9154202"/>
                <a:gd name="connsiteY5398" fmla="*/ 768341 h 2112317"/>
                <a:gd name="connsiteX5399" fmla="*/ 8004907 w 9154202"/>
                <a:gd name="connsiteY5399" fmla="*/ 764561 h 2112317"/>
                <a:gd name="connsiteX5400" fmla="*/ 8008793 w 9154202"/>
                <a:gd name="connsiteY5400" fmla="*/ 761875 h 2112317"/>
                <a:gd name="connsiteX5401" fmla="*/ 8011285 w 9154202"/>
                <a:gd name="connsiteY5401" fmla="*/ 761079 h 2112317"/>
                <a:gd name="connsiteX5402" fmla="*/ 8013676 w 9154202"/>
                <a:gd name="connsiteY5402" fmla="*/ 761079 h 2112317"/>
                <a:gd name="connsiteX5403" fmla="*/ 8015769 w 9154202"/>
                <a:gd name="connsiteY5403" fmla="*/ 762571 h 2112317"/>
                <a:gd name="connsiteX5404" fmla="*/ 8016267 w 9154202"/>
                <a:gd name="connsiteY5404" fmla="*/ 763765 h 2112317"/>
                <a:gd name="connsiteX5405" fmla="*/ 8016267 w 9154202"/>
                <a:gd name="connsiteY5405" fmla="*/ 765556 h 2112317"/>
                <a:gd name="connsiteX5406" fmla="*/ 8016267 w 9154202"/>
                <a:gd name="connsiteY5406" fmla="*/ 767347 h 2112317"/>
                <a:gd name="connsiteX5407" fmla="*/ 8016267 w 9154202"/>
                <a:gd name="connsiteY5407" fmla="*/ 768540 h 2112317"/>
                <a:gd name="connsiteX5408" fmla="*/ 8016267 w 9154202"/>
                <a:gd name="connsiteY5408" fmla="*/ 769734 h 2112317"/>
                <a:gd name="connsiteX5409" fmla="*/ 8016865 w 9154202"/>
                <a:gd name="connsiteY5409" fmla="*/ 770431 h 2112317"/>
                <a:gd name="connsiteX5410" fmla="*/ 8022844 w 9154202"/>
                <a:gd name="connsiteY5410" fmla="*/ 773216 h 2112317"/>
                <a:gd name="connsiteX5411" fmla="*/ 8027128 w 9154202"/>
                <a:gd name="connsiteY5411" fmla="*/ 772520 h 2112317"/>
                <a:gd name="connsiteX5412" fmla="*/ 8031313 w 9154202"/>
                <a:gd name="connsiteY5412" fmla="*/ 769535 h 2112317"/>
                <a:gd name="connsiteX5413" fmla="*/ 8035897 w 9154202"/>
                <a:gd name="connsiteY5413" fmla="*/ 768640 h 2112317"/>
                <a:gd name="connsiteX5414" fmla="*/ 8040779 w 9154202"/>
                <a:gd name="connsiteY5414" fmla="*/ 768640 h 2112317"/>
                <a:gd name="connsiteX5415" fmla="*/ 8043071 w 9154202"/>
                <a:gd name="connsiteY5415" fmla="*/ 769436 h 2112317"/>
                <a:gd name="connsiteX5416" fmla="*/ 8044964 w 9154202"/>
                <a:gd name="connsiteY5416" fmla="*/ 771127 h 2112317"/>
                <a:gd name="connsiteX5417" fmla="*/ 8047356 w 9154202"/>
                <a:gd name="connsiteY5417" fmla="*/ 772321 h 2112317"/>
                <a:gd name="connsiteX5418" fmla="*/ 8053933 w 9154202"/>
                <a:gd name="connsiteY5418" fmla="*/ 772321 h 2112317"/>
                <a:gd name="connsiteX5419" fmla="*/ 8056722 w 9154202"/>
                <a:gd name="connsiteY5419" fmla="*/ 773216 h 2112317"/>
                <a:gd name="connsiteX5420" fmla="*/ 8055527 w 9154202"/>
                <a:gd name="connsiteY5420" fmla="*/ 770530 h 2112317"/>
                <a:gd name="connsiteX5421" fmla="*/ 8054530 w 9154202"/>
                <a:gd name="connsiteY5421" fmla="*/ 767148 h 2112317"/>
                <a:gd name="connsiteX5422" fmla="*/ 8054530 w 9154202"/>
                <a:gd name="connsiteY5422" fmla="*/ 764362 h 2112317"/>
                <a:gd name="connsiteX5423" fmla="*/ 8057420 w 9154202"/>
                <a:gd name="connsiteY5423" fmla="*/ 764362 h 2112317"/>
                <a:gd name="connsiteX5424" fmla="*/ 8056523 w 9154202"/>
                <a:gd name="connsiteY5424" fmla="*/ 767048 h 2112317"/>
                <a:gd name="connsiteX5425" fmla="*/ 8057619 w 9154202"/>
                <a:gd name="connsiteY5425" fmla="*/ 768441 h 2112317"/>
                <a:gd name="connsiteX5426" fmla="*/ 8059612 w 9154202"/>
                <a:gd name="connsiteY5426" fmla="*/ 768441 h 2112317"/>
                <a:gd name="connsiteX5427" fmla="*/ 8061704 w 9154202"/>
                <a:gd name="connsiteY5427" fmla="*/ 767645 h 2112317"/>
                <a:gd name="connsiteX5428" fmla="*/ 8063199 w 9154202"/>
                <a:gd name="connsiteY5428" fmla="*/ 766053 h 2112317"/>
                <a:gd name="connsiteX5429" fmla="*/ 8068281 w 9154202"/>
                <a:gd name="connsiteY5429" fmla="*/ 758890 h 2112317"/>
                <a:gd name="connsiteX5430" fmla="*/ 8072167 w 9154202"/>
                <a:gd name="connsiteY5430" fmla="*/ 756303 h 2112317"/>
                <a:gd name="connsiteX5431" fmla="*/ 8076551 w 9154202"/>
                <a:gd name="connsiteY5431" fmla="*/ 756303 h 2112317"/>
                <a:gd name="connsiteX5432" fmla="*/ 8081135 w 9154202"/>
                <a:gd name="connsiteY5432" fmla="*/ 757995 h 2112317"/>
                <a:gd name="connsiteX5433" fmla="*/ 8085121 w 9154202"/>
                <a:gd name="connsiteY5433" fmla="*/ 760482 h 2112317"/>
                <a:gd name="connsiteX5434" fmla="*/ 8088110 w 9154202"/>
                <a:gd name="connsiteY5434" fmla="*/ 761775 h 2112317"/>
                <a:gd name="connsiteX5435" fmla="*/ 8100964 w 9154202"/>
                <a:gd name="connsiteY5435" fmla="*/ 761775 h 2112317"/>
                <a:gd name="connsiteX5436" fmla="*/ 8115213 w 9154202"/>
                <a:gd name="connsiteY5436" fmla="*/ 758393 h 2112317"/>
                <a:gd name="connsiteX5437" fmla="*/ 8126971 w 9154202"/>
                <a:gd name="connsiteY5437" fmla="*/ 757199 h 2112317"/>
                <a:gd name="connsiteX5438" fmla="*/ 8136438 w 9154202"/>
                <a:gd name="connsiteY5438" fmla="*/ 754214 h 2112317"/>
                <a:gd name="connsiteX5439" fmla="*/ 8156366 w 9154202"/>
                <a:gd name="connsiteY5439" fmla="*/ 753020 h 2112317"/>
                <a:gd name="connsiteX5440" fmla="*/ 8157762 w 9154202"/>
                <a:gd name="connsiteY5440" fmla="*/ 753020 h 2112317"/>
                <a:gd name="connsiteX5441" fmla="*/ 8160651 w 9154202"/>
                <a:gd name="connsiteY5441" fmla="*/ 751528 h 2112317"/>
                <a:gd name="connsiteX5442" fmla="*/ 8161648 w 9154202"/>
                <a:gd name="connsiteY5442" fmla="*/ 751528 h 2112317"/>
                <a:gd name="connsiteX5443" fmla="*/ 8166829 w 9154202"/>
                <a:gd name="connsiteY5443" fmla="*/ 755607 h 2112317"/>
                <a:gd name="connsiteX5444" fmla="*/ 8170117 w 9154202"/>
                <a:gd name="connsiteY5444" fmla="*/ 757497 h 2112317"/>
                <a:gd name="connsiteX5445" fmla="*/ 8172509 w 9154202"/>
                <a:gd name="connsiteY5445" fmla="*/ 756801 h 2112317"/>
                <a:gd name="connsiteX5446" fmla="*/ 8175199 w 9154202"/>
                <a:gd name="connsiteY5446" fmla="*/ 755508 h 2112317"/>
                <a:gd name="connsiteX5447" fmla="*/ 8179584 w 9154202"/>
                <a:gd name="connsiteY5447" fmla="*/ 755508 h 2112317"/>
                <a:gd name="connsiteX5448" fmla="*/ 8189548 w 9154202"/>
                <a:gd name="connsiteY5448" fmla="*/ 757696 h 2112317"/>
                <a:gd name="connsiteX5449" fmla="*/ 8201804 w 9154202"/>
                <a:gd name="connsiteY5449" fmla="*/ 757696 h 2112317"/>
                <a:gd name="connsiteX5450" fmla="*/ 8204495 w 9154202"/>
                <a:gd name="connsiteY5450" fmla="*/ 756801 h 2112317"/>
                <a:gd name="connsiteX5451" fmla="*/ 8206288 w 9154202"/>
                <a:gd name="connsiteY5451" fmla="*/ 756801 h 2112317"/>
                <a:gd name="connsiteX5452" fmla="*/ 8205591 w 9154202"/>
                <a:gd name="connsiteY5452" fmla="*/ 756801 h 2112317"/>
                <a:gd name="connsiteX5453" fmla="*/ 8206188 w 9154202"/>
                <a:gd name="connsiteY5453" fmla="*/ 757497 h 2112317"/>
                <a:gd name="connsiteX5454" fmla="*/ 8207982 w 9154202"/>
                <a:gd name="connsiteY5454" fmla="*/ 758890 h 2112317"/>
                <a:gd name="connsiteX5455" fmla="*/ 8208879 w 9154202"/>
                <a:gd name="connsiteY5455" fmla="*/ 758890 h 2112317"/>
                <a:gd name="connsiteX5456" fmla="*/ 8209477 w 9154202"/>
                <a:gd name="connsiteY5456" fmla="*/ 758890 h 2112317"/>
                <a:gd name="connsiteX5457" fmla="*/ 8210672 w 9154202"/>
                <a:gd name="connsiteY5457" fmla="*/ 758890 h 2112317"/>
                <a:gd name="connsiteX5458" fmla="*/ 8240566 w 9154202"/>
                <a:gd name="connsiteY5458" fmla="*/ 757298 h 2112317"/>
                <a:gd name="connsiteX5459" fmla="*/ 8252822 w 9154202"/>
                <a:gd name="connsiteY5459" fmla="*/ 754811 h 2112317"/>
                <a:gd name="connsiteX5460" fmla="*/ 8258003 w 9154202"/>
                <a:gd name="connsiteY5460" fmla="*/ 751926 h 2112317"/>
                <a:gd name="connsiteX5461" fmla="*/ 8260694 w 9154202"/>
                <a:gd name="connsiteY5461" fmla="*/ 750732 h 2112317"/>
                <a:gd name="connsiteX5462" fmla="*/ 8263883 w 9154202"/>
                <a:gd name="connsiteY5462" fmla="*/ 750732 h 2112317"/>
                <a:gd name="connsiteX5463" fmla="*/ 8267470 w 9154202"/>
                <a:gd name="connsiteY5463" fmla="*/ 751528 h 2112317"/>
                <a:gd name="connsiteX5464" fmla="*/ 8270957 w 9154202"/>
                <a:gd name="connsiteY5464" fmla="*/ 752921 h 2112317"/>
                <a:gd name="connsiteX5465" fmla="*/ 8273348 w 9154202"/>
                <a:gd name="connsiteY5465" fmla="*/ 754911 h 2112317"/>
                <a:gd name="connsiteX5466" fmla="*/ 8276139 w 9154202"/>
                <a:gd name="connsiteY5466" fmla="*/ 756701 h 2112317"/>
                <a:gd name="connsiteX5467" fmla="*/ 8288993 w 9154202"/>
                <a:gd name="connsiteY5467" fmla="*/ 759587 h 2112317"/>
                <a:gd name="connsiteX5468" fmla="*/ 8301946 w 9154202"/>
                <a:gd name="connsiteY5468" fmla="*/ 759587 h 2112317"/>
                <a:gd name="connsiteX5469" fmla="*/ 8303242 w 9154202"/>
                <a:gd name="connsiteY5469" fmla="*/ 759587 h 2112317"/>
                <a:gd name="connsiteX5470" fmla="*/ 8306730 w 9154202"/>
                <a:gd name="connsiteY5470" fmla="*/ 756701 h 2112317"/>
                <a:gd name="connsiteX5471" fmla="*/ 8308125 w 9154202"/>
                <a:gd name="connsiteY5471" fmla="*/ 756104 h 2112317"/>
                <a:gd name="connsiteX5472" fmla="*/ 8315996 w 9154202"/>
                <a:gd name="connsiteY5472" fmla="*/ 755010 h 2112317"/>
                <a:gd name="connsiteX5473" fmla="*/ 8321676 w 9154202"/>
                <a:gd name="connsiteY5473" fmla="*/ 753319 h 2112317"/>
                <a:gd name="connsiteX5474" fmla="*/ 8344494 w 9154202"/>
                <a:gd name="connsiteY5474" fmla="*/ 751926 h 2112317"/>
                <a:gd name="connsiteX5475" fmla="*/ 8345690 w 9154202"/>
                <a:gd name="connsiteY5475" fmla="*/ 751926 h 2112317"/>
                <a:gd name="connsiteX5476" fmla="*/ 8348181 w 9154202"/>
                <a:gd name="connsiteY5476" fmla="*/ 753518 h 2112317"/>
                <a:gd name="connsiteX5477" fmla="*/ 8349776 w 9154202"/>
                <a:gd name="connsiteY5477" fmla="*/ 753518 h 2112317"/>
                <a:gd name="connsiteX5478" fmla="*/ 8355555 w 9154202"/>
                <a:gd name="connsiteY5478" fmla="*/ 753518 h 2112317"/>
                <a:gd name="connsiteX5479" fmla="*/ 8357149 w 9154202"/>
                <a:gd name="connsiteY5479" fmla="*/ 753518 h 2112317"/>
                <a:gd name="connsiteX5480" fmla="*/ 8358345 w 9154202"/>
                <a:gd name="connsiteY5480" fmla="*/ 754612 h 2112317"/>
                <a:gd name="connsiteX5481" fmla="*/ 8359740 w 9154202"/>
                <a:gd name="connsiteY5481" fmla="*/ 757298 h 2112317"/>
                <a:gd name="connsiteX5482" fmla="*/ 8360537 w 9154202"/>
                <a:gd name="connsiteY5482" fmla="*/ 758194 h 2112317"/>
                <a:gd name="connsiteX5483" fmla="*/ 8362132 w 9154202"/>
                <a:gd name="connsiteY5483" fmla="*/ 758890 h 2112317"/>
                <a:gd name="connsiteX5484" fmla="*/ 8363327 w 9154202"/>
                <a:gd name="connsiteY5484" fmla="*/ 758890 h 2112317"/>
                <a:gd name="connsiteX5485" fmla="*/ 8364623 w 9154202"/>
                <a:gd name="connsiteY5485" fmla="*/ 758890 h 2112317"/>
                <a:gd name="connsiteX5486" fmla="*/ 8366217 w 9154202"/>
                <a:gd name="connsiteY5486" fmla="*/ 758890 h 2112317"/>
                <a:gd name="connsiteX5487" fmla="*/ 8367712 w 9154202"/>
                <a:gd name="connsiteY5487" fmla="*/ 759487 h 2112317"/>
                <a:gd name="connsiteX5488" fmla="*/ 8369605 w 9154202"/>
                <a:gd name="connsiteY5488" fmla="*/ 761775 h 2112317"/>
                <a:gd name="connsiteX5489" fmla="*/ 8370601 w 9154202"/>
                <a:gd name="connsiteY5489" fmla="*/ 762372 h 2112317"/>
                <a:gd name="connsiteX5490" fmla="*/ 8379071 w 9154202"/>
                <a:gd name="connsiteY5490" fmla="*/ 760183 h 2112317"/>
                <a:gd name="connsiteX5491" fmla="*/ 8382359 w 9154202"/>
                <a:gd name="connsiteY5491" fmla="*/ 760183 h 2112317"/>
                <a:gd name="connsiteX5492" fmla="*/ 8385548 w 9154202"/>
                <a:gd name="connsiteY5492" fmla="*/ 760979 h 2112317"/>
                <a:gd name="connsiteX5493" fmla="*/ 8388338 w 9154202"/>
                <a:gd name="connsiteY5493" fmla="*/ 762372 h 2112317"/>
                <a:gd name="connsiteX5494" fmla="*/ 8390331 w 9154202"/>
                <a:gd name="connsiteY5494" fmla="*/ 764561 h 2112317"/>
                <a:gd name="connsiteX5495" fmla="*/ 8391028 w 9154202"/>
                <a:gd name="connsiteY5495" fmla="*/ 767844 h 2112317"/>
                <a:gd name="connsiteX5496" fmla="*/ 8391925 w 9154202"/>
                <a:gd name="connsiteY5496" fmla="*/ 767844 h 2112317"/>
                <a:gd name="connsiteX5497" fmla="*/ 8393718 w 9154202"/>
                <a:gd name="connsiteY5497" fmla="*/ 767844 h 2112317"/>
                <a:gd name="connsiteX5498" fmla="*/ 8397007 w 9154202"/>
                <a:gd name="connsiteY5498" fmla="*/ 767844 h 2112317"/>
                <a:gd name="connsiteX5499" fmla="*/ 8398003 w 9154202"/>
                <a:gd name="connsiteY5499" fmla="*/ 767048 h 2112317"/>
                <a:gd name="connsiteX5500" fmla="*/ 8400096 w 9154202"/>
                <a:gd name="connsiteY5500" fmla="*/ 764362 h 2112317"/>
                <a:gd name="connsiteX5501" fmla="*/ 8401391 w 9154202"/>
                <a:gd name="connsiteY5501" fmla="*/ 763367 h 2112317"/>
                <a:gd name="connsiteX5502" fmla="*/ 8404580 w 9154202"/>
                <a:gd name="connsiteY5502" fmla="*/ 762671 h 2112317"/>
                <a:gd name="connsiteX5503" fmla="*/ 8415341 w 9154202"/>
                <a:gd name="connsiteY5503" fmla="*/ 764362 h 2112317"/>
                <a:gd name="connsiteX5504" fmla="*/ 8421320 w 9154202"/>
                <a:gd name="connsiteY5504" fmla="*/ 763566 h 2112317"/>
                <a:gd name="connsiteX5505" fmla="*/ 8424608 w 9154202"/>
                <a:gd name="connsiteY5505" fmla="*/ 762472 h 2112317"/>
                <a:gd name="connsiteX5506" fmla="*/ 8426601 w 9154202"/>
                <a:gd name="connsiteY5506" fmla="*/ 760880 h 2112317"/>
                <a:gd name="connsiteX5507" fmla="*/ 8426003 w 9154202"/>
                <a:gd name="connsiteY5507" fmla="*/ 759686 h 2112317"/>
                <a:gd name="connsiteX5508" fmla="*/ 8424807 w 9154202"/>
                <a:gd name="connsiteY5508" fmla="*/ 757696 h 2112317"/>
                <a:gd name="connsiteX5509" fmla="*/ 8424807 w 9154202"/>
                <a:gd name="connsiteY5509" fmla="*/ 755905 h 2112317"/>
                <a:gd name="connsiteX5510" fmla="*/ 8427099 w 9154202"/>
                <a:gd name="connsiteY5510" fmla="*/ 755110 h 2112317"/>
                <a:gd name="connsiteX5511" fmla="*/ 8433178 w 9154202"/>
                <a:gd name="connsiteY5511" fmla="*/ 755110 h 2112317"/>
                <a:gd name="connsiteX5512" fmla="*/ 8438558 w 9154202"/>
                <a:gd name="connsiteY5512" fmla="*/ 756602 h 2112317"/>
                <a:gd name="connsiteX5513" fmla="*/ 8440551 w 9154202"/>
                <a:gd name="connsiteY5513" fmla="*/ 756602 h 2112317"/>
                <a:gd name="connsiteX5514" fmla="*/ 8441448 w 9154202"/>
                <a:gd name="connsiteY5514" fmla="*/ 755707 h 2112317"/>
                <a:gd name="connsiteX5515" fmla="*/ 8443540 w 9154202"/>
                <a:gd name="connsiteY5515" fmla="*/ 752821 h 2112317"/>
                <a:gd name="connsiteX5516" fmla="*/ 8444936 w 9154202"/>
                <a:gd name="connsiteY5516" fmla="*/ 751827 h 2112317"/>
                <a:gd name="connsiteX5517" fmla="*/ 8446929 w 9154202"/>
                <a:gd name="connsiteY5517" fmla="*/ 751827 h 2112317"/>
                <a:gd name="connsiteX5518" fmla="*/ 8448025 w 9154202"/>
                <a:gd name="connsiteY5518" fmla="*/ 752423 h 2112317"/>
                <a:gd name="connsiteX5519" fmla="*/ 8449718 w 9154202"/>
                <a:gd name="connsiteY5519" fmla="*/ 755010 h 2112317"/>
                <a:gd name="connsiteX5520" fmla="*/ 8451014 w 9154202"/>
                <a:gd name="connsiteY5520" fmla="*/ 756204 h 2112317"/>
                <a:gd name="connsiteX5521" fmla="*/ 8452309 w 9154202"/>
                <a:gd name="connsiteY5521" fmla="*/ 756204 h 2112317"/>
                <a:gd name="connsiteX5522" fmla="*/ 8455796 w 9154202"/>
                <a:gd name="connsiteY5522" fmla="*/ 756204 h 2112317"/>
                <a:gd name="connsiteX5523" fmla="*/ 8465761 w 9154202"/>
                <a:gd name="connsiteY5523" fmla="*/ 755010 h 2112317"/>
                <a:gd name="connsiteX5524" fmla="*/ 8468252 w 9154202"/>
                <a:gd name="connsiteY5524" fmla="*/ 756204 h 2112317"/>
                <a:gd name="connsiteX5525" fmla="*/ 8471341 w 9154202"/>
                <a:gd name="connsiteY5525" fmla="*/ 755010 h 2112317"/>
                <a:gd name="connsiteX5526" fmla="*/ 8472636 w 9154202"/>
                <a:gd name="connsiteY5526" fmla="*/ 754214 h 2112317"/>
                <a:gd name="connsiteX5527" fmla="*/ 8473434 w 9154202"/>
                <a:gd name="connsiteY5527" fmla="*/ 752523 h 2112317"/>
                <a:gd name="connsiteX5528" fmla="*/ 8475227 w 9154202"/>
                <a:gd name="connsiteY5528" fmla="*/ 753617 h 2112317"/>
                <a:gd name="connsiteX5529" fmla="*/ 8478117 w 9154202"/>
                <a:gd name="connsiteY5529" fmla="*/ 753617 h 2112317"/>
                <a:gd name="connsiteX5530" fmla="*/ 8483996 w 9154202"/>
                <a:gd name="connsiteY5530" fmla="*/ 751926 h 2112317"/>
                <a:gd name="connsiteX5531" fmla="*/ 8483996 w 9154202"/>
                <a:gd name="connsiteY5531" fmla="*/ 753020 h 2112317"/>
                <a:gd name="connsiteX5532" fmla="*/ 8478615 w 9154202"/>
                <a:gd name="connsiteY5532" fmla="*/ 755408 h 2112317"/>
                <a:gd name="connsiteX5533" fmla="*/ 8478615 w 9154202"/>
                <a:gd name="connsiteY5533" fmla="*/ 756701 h 2112317"/>
                <a:gd name="connsiteX5534" fmla="*/ 8498544 w 9154202"/>
                <a:gd name="connsiteY5534" fmla="*/ 758393 h 2112317"/>
                <a:gd name="connsiteX5535" fmla="*/ 8513192 w 9154202"/>
                <a:gd name="connsiteY5535" fmla="*/ 757696 h 2112317"/>
                <a:gd name="connsiteX5536" fmla="*/ 8514886 w 9154202"/>
                <a:gd name="connsiteY5536" fmla="*/ 758293 h 2112317"/>
                <a:gd name="connsiteX5537" fmla="*/ 8515882 w 9154202"/>
                <a:gd name="connsiteY5537" fmla="*/ 759487 h 2112317"/>
                <a:gd name="connsiteX5538" fmla="*/ 8516878 w 9154202"/>
                <a:gd name="connsiteY5538" fmla="*/ 760382 h 2112317"/>
                <a:gd name="connsiteX5539" fmla="*/ 8518871 w 9154202"/>
                <a:gd name="connsiteY5539" fmla="*/ 760382 h 2112317"/>
                <a:gd name="connsiteX5540" fmla="*/ 8519868 w 9154202"/>
                <a:gd name="connsiteY5540" fmla="*/ 759487 h 2112317"/>
                <a:gd name="connsiteX5541" fmla="*/ 8520765 w 9154202"/>
                <a:gd name="connsiteY5541" fmla="*/ 757895 h 2112317"/>
                <a:gd name="connsiteX5542" fmla="*/ 8521761 w 9154202"/>
                <a:gd name="connsiteY5542" fmla="*/ 756502 h 2112317"/>
                <a:gd name="connsiteX5543" fmla="*/ 8523256 w 9154202"/>
                <a:gd name="connsiteY5543" fmla="*/ 755806 h 2112317"/>
                <a:gd name="connsiteX5544" fmla="*/ 8524551 w 9154202"/>
                <a:gd name="connsiteY5544" fmla="*/ 755806 h 2112317"/>
                <a:gd name="connsiteX5545" fmla="*/ 8524551 w 9154202"/>
                <a:gd name="connsiteY5545" fmla="*/ 756403 h 2112317"/>
                <a:gd name="connsiteX5546" fmla="*/ 8524551 w 9154202"/>
                <a:gd name="connsiteY5546" fmla="*/ 757398 h 2112317"/>
                <a:gd name="connsiteX5547" fmla="*/ 8524551 w 9154202"/>
                <a:gd name="connsiteY5547" fmla="*/ 758592 h 2112317"/>
                <a:gd name="connsiteX5548" fmla="*/ 8525049 w 9154202"/>
                <a:gd name="connsiteY5548" fmla="*/ 758592 h 2112317"/>
                <a:gd name="connsiteX5549" fmla="*/ 8526444 w 9154202"/>
                <a:gd name="connsiteY5549" fmla="*/ 757995 h 2112317"/>
                <a:gd name="connsiteX5550" fmla="*/ 8528636 w 9154202"/>
                <a:gd name="connsiteY5550" fmla="*/ 757398 h 2112317"/>
                <a:gd name="connsiteX5551" fmla="*/ 8530231 w 9154202"/>
                <a:gd name="connsiteY5551" fmla="*/ 756801 h 2112317"/>
                <a:gd name="connsiteX5552" fmla="*/ 8531825 w 9154202"/>
                <a:gd name="connsiteY5552" fmla="*/ 756801 h 2112317"/>
                <a:gd name="connsiteX5553" fmla="*/ 8533320 w 9154202"/>
                <a:gd name="connsiteY5553" fmla="*/ 757597 h 2112317"/>
                <a:gd name="connsiteX5554" fmla="*/ 8535213 w 9154202"/>
                <a:gd name="connsiteY5554" fmla="*/ 759388 h 2112317"/>
                <a:gd name="connsiteX5555" fmla="*/ 8537704 w 9154202"/>
                <a:gd name="connsiteY5555" fmla="*/ 761178 h 2112317"/>
                <a:gd name="connsiteX5556" fmla="*/ 8543184 w 9154202"/>
                <a:gd name="connsiteY5556" fmla="*/ 764063 h 2112317"/>
                <a:gd name="connsiteX5557" fmla="*/ 8546273 w 9154202"/>
                <a:gd name="connsiteY5557" fmla="*/ 764760 h 2112317"/>
                <a:gd name="connsiteX5558" fmla="*/ 8556238 w 9154202"/>
                <a:gd name="connsiteY5558" fmla="*/ 764760 h 2112317"/>
                <a:gd name="connsiteX5559" fmla="*/ 8570188 w 9154202"/>
                <a:gd name="connsiteY5559" fmla="*/ 767148 h 2112317"/>
                <a:gd name="connsiteX5560" fmla="*/ 8573676 w 9154202"/>
                <a:gd name="connsiteY5560" fmla="*/ 767148 h 2112317"/>
                <a:gd name="connsiteX5561" fmla="*/ 8575369 w 9154202"/>
                <a:gd name="connsiteY5561" fmla="*/ 767148 h 2112317"/>
                <a:gd name="connsiteX5562" fmla="*/ 8576764 w 9154202"/>
                <a:gd name="connsiteY5562" fmla="*/ 766053 h 2112317"/>
                <a:gd name="connsiteX5563" fmla="*/ 8578060 w 9154202"/>
                <a:gd name="connsiteY5563" fmla="*/ 765357 h 2112317"/>
                <a:gd name="connsiteX5564" fmla="*/ 8579655 w 9154202"/>
                <a:gd name="connsiteY5564" fmla="*/ 765357 h 2112317"/>
                <a:gd name="connsiteX5565" fmla="*/ 8581348 w 9154202"/>
                <a:gd name="connsiteY5565" fmla="*/ 766153 h 2112317"/>
                <a:gd name="connsiteX5566" fmla="*/ 8582743 w 9154202"/>
                <a:gd name="connsiteY5566" fmla="*/ 766153 h 2112317"/>
                <a:gd name="connsiteX5567" fmla="*/ 8587825 w 9154202"/>
                <a:gd name="connsiteY5567" fmla="*/ 766153 h 2112317"/>
                <a:gd name="connsiteX5568" fmla="*/ 8590515 w 9154202"/>
                <a:gd name="connsiteY5568" fmla="*/ 766750 h 2112317"/>
                <a:gd name="connsiteX5569" fmla="*/ 8592807 w 9154202"/>
                <a:gd name="connsiteY5569" fmla="*/ 768540 h 2112317"/>
                <a:gd name="connsiteX5570" fmla="*/ 8593604 w 9154202"/>
                <a:gd name="connsiteY5570" fmla="*/ 771028 h 2112317"/>
                <a:gd name="connsiteX5571" fmla="*/ 8596594 w 9154202"/>
                <a:gd name="connsiteY5571" fmla="*/ 773515 h 2112317"/>
                <a:gd name="connsiteX5572" fmla="*/ 8598985 w 9154202"/>
                <a:gd name="connsiteY5572" fmla="*/ 776599 h 2112317"/>
                <a:gd name="connsiteX5573" fmla="*/ 8597989 w 9154202"/>
                <a:gd name="connsiteY5573" fmla="*/ 781374 h 2112317"/>
                <a:gd name="connsiteX5574" fmla="*/ 8601576 w 9154202"/>
                <a:gd name="connsiteY5574" fmla="*/ 783066 h 2112317"/>
                <a:gd name="connsiteX5575" fmla="*/ 8605163 w 9154202"/>
                <a:gd name="connsiteY5575" fmla="*/ 782369 h 2112317"/>
                <a:gd name="connsiteX5576" fmla="*/ 8611839 w 9154202"/>
                <a:gd name="connsiteY5576" fmla="*/ 778887 h 2112317"/>
                <a:gd name="connsiteX5577" fmla="*/ 8619213 w 9154202"/>
                <a:gd name="connsiteY5577" fmla="*/ 777594 h 2112317"/>
                <a:gd name="connsiteX5578" fmla="*/ 8622501 w 9154202"/>
                <a:gd name="connsiteY5578" fmla="*/ 776201 h 2112317"/>
                <a:gd name="connsiteX5579" fmla="*/ 8624893 w 9154202"/>
                <a:gd name="connsiteY5579" fmla="*/ 773216 h 2112317"/>
                <a:gd name="connsiteX5580" fmla="*/ 8626985 w 9154202"/>
                <a:gd name="connsiteY5580" fmla="*/ 774012 h 2112317"/>
                <a:gd name="connsiteX5581" fmla="*/ 8626985 w 9154202"/>
                <a:gd name="connsiteY5581" fmla="*/ 776002 h 2112317"/>
                <a:gd name="connsiteX5582" fmla="*/ 8625989 w 9154202"/>
                <a:gd name="connsiteY5582" fmla="*/ 777992 h 2112317"/>
                <a:gd name="connsiteX5583" fmla="*/ 8624195 w 9154202"/>
                <a:gd name="connsiteY5583" fmla="*/ 778887 h 2112317"/>
                <a:gd name="connsiteX5584" fmla="*/ 8622102 w 9154202"/>
                <a:gd name="connsiteY5584" fmla="*/ 778887 h 2112317"/>
                <a:gd name="connsiteX5585" fmla="*/ 8610245 w 9154202"/>
                <a:gd name="connsiteY5585" fmla="*/ 782966 h 2112317"/>
                <a:gd name="connsiteX5586" fmla="*/ 8608551 w 9154202"/>
                <a:gd name="connsiteY5586" fmla="*/ 782966 h 2112317"/>
                <a:gd name="connsiteX5587" fmla="*/ 8606458 w 9154202"/>
                <a:gd name="connsiteY5587" fmla="*/ 783662 h 2112317"/>
                <a:gd name="connsiteX5588" fmla="*/ 8602871 w 9154202"/>
                <a:gd name="connsiteY5588" fmla="*/ 786249 h 2112317"/>
                <a:gd name="connsiteX5589" fmla="*/ 8600280 w 9154202"/>
                <a:gd name="connsiteY5589" fmla="*/ 786249 h 2112317"/>
                <a:gd name="connsiteX5590" fmla="*/ 8600280 w 9154202"/>
                <a:gd name="connsiteY5590" fmla="*/ 787443 h 2112317"/>
                <a:gd name="connsiteX5591" fmla="*/ 8608651 w 9154202"/>
                <a:gd name="connsiteY5591" fmla="*/ 787443 h 2112317"/>
                <a:gd name="connsiteX5592" fmla="*/ 8611540 w 9154202"/>
                <a:gd name="connsiteY5592" fmla="*/ 787443 h 2112317"/>
                <a:gd name="connsiteX5593" fmla="*/ 8618416 w 9154202"/>
                <a:gd name="connsiteY5593" fmla="*/ 784359 h 2112317"/>
                <a:gd name="connsiteX5594" fmla="*/ 8625491 w 9154202"/>
                <a:gd name="connsiteY5594" fmla="*/ 782867 h 2112317"/>
                <a:gd name="connsiteX5595" fmla="*/ 8635455 w 9154202"/>
                <a:gd name="connsiteY5595" fmla="*/ 778091 h 2112317"/>
                <a:gd name="connsiteX5596" fmla="*/ 8645419 w 9154202"/>
                <a:gd name="connsiteY5596" fmla="*/ 776300 h 2112317"/>
                <a:gd name="connsiteX5597" fmla="*/ 8660167 w 9154202"/>
                <a:gd name="connsiteY5597" fmla="*/ 771127 h 2112317"/>
                <a:gd name="connsiteX5598" fmla="*/ 8671128 w 9154202"/>
                <a:gd name="connsiteY5598" fmla="*/ 770033 h 2112317"/>
                <a:gd name="connsiteX5599" fmla="*/ 8673718 w 9154202"/>
                <a:gd name="connsiteY5599" fmla="*/ 770729 h 2112317"/>
                <a:gd name="connsiteX5600" fmla="*/ 8678700 w 9154202"/>
                <a:gd name="connsiteY5600" fmla="*/ 773515 h 2112317"/>
                <a:gd name="connsiteX5601" fmla="*/ 8680295 w 9154202"/>
                <a:gd name="connsiteY5601" fmla="*/ 773515 h 2112317"/>
                <a:gd name="connsiteX5602" fmla="*/ 8679299 w 9154202"/>
                <a:gd name="connsiteY5602" fmla="*/ 770729 h 2112317"/>
                <a:gd name="connsiteX5603" fmla="*/ 8680793 w 9154202"/>
                <a:gd name="connsiteY5603" fmla="*/ 770729 h 2112317"/>
                <a:gd name="connsiteX5604" fmla="*/ 8684579 w 9154202"/>
                <a:gd name="connsiteY5604" fmla="*/ 772520 h 2112317"/>
                <a:gd name="connsiteX5605" fmla="*/ 8685377 w 9154202"/>
                <a:gd name="connsiteY5605" fmla="*/ 772520 h 2112317"/>
                <a:gd name="connsiteX5606" fmla="*/ 8685975 w 9154202"/>
                <a:gd name="connsiteY5606" fmla="*/ 771824 h 2112317"/>
                <a:gd name="connsiteX5607" fmla="*/ 8685975 w 9154202"/>
                <a:gd name="connsiteY5607" fmla="*/ 771028 h 2112317"/>
                <a:gd name="connsiteX5608" fmla="*/ 8685975 w 9154202"/>
                <a:gd name="connsiteY5608" fmla="*/ 771028 h 2112317"/>
                <a:gd name="connsiteX5609" fmla="*/ 8689462 w 9154202"/>
                <a:gd name="connsiteY5609" fmla="*/ 769933 h 2112317"/>
                <a:gd name="connsiteX5610" fmla="*/ 8692053 w 9154202"/>
                <a:gd name="connsiteY5610" fmla="*/ 771028 h 2112317"/>
                <a:gd name="connsiteX5611" fmla="*/ 8692950 w 9154202"/>
                <a:gd name="connsiteY5611" fmla="*/ 771028 h 2112317"/>
                <a:gd name="connsiteX5612" fmla="*/ 8692950 w 9154202"/>
                <a:gd name="connsiteY5612" fmla="*/ 769535 h 2112317"/>
                <a:gd name="connsiteX5613" fmla="*/ 8692950 w 9154202"/>
                <a:gd name="connsiteY5613" fmla="*/ 768441 h 2112317"/>
                <a:gd name="connsiteX5614" fmla="*/ 8693548 w 9154202"/>
                <a:gd name="connsiteY5614" fmla="*/ 767645 h 2112317"/>
                <a:gd name="connsiteX5615" fmla="*/ 8695740 w 9154202"/>
                <a:gd name="connsiteY5615" fmla="*/ 767645 h 2112317"/>
                <a:gd name="connsiteX5616" fmla="*/ 8697633 w 9154202"/>
                <a:gd name="connsiteY5616" fmla="*/ 768441 h 2112317"/>
                <a:gd name="connsiteX5617" fmla="*/ 8699426 w 9154202"/>
                <a:gd name="connsiteY5617" fmla="*/ 769436 h 2112317"/>
                <a:gd name="connsiteX5618" fmla="*/ 8701320 w 9154202"/>
                <a:gd name="connsiteY5618" fmla="*/ 770232 h 2112317"/>
                <a:gd name="connsiteX5619" fmla="*/ 8702117 w 9154202"/>
                <a:gd name="connsiteY5619" fmla="*/ 770232 h 2112317"/>
                <a:gd name="connsiteX5620" fmla="*/ 8703811 w 9154202"/>
                <a:gd name="connsiteY5620" fmla="*/ 769137 h 2112317"/>
                <a:gd name="connsiteX5621" fmla="*/ 8704807 w 9154202"/>
                <a:gd name="connsiteY5621" fmla="*/ 769137 h 2112317"/>
                <a:gd name="connsiteX5622" fmla="*/ 8704807 w 9154202"/>
                <a:gd name="connsiteY5622" fmla="*/ 769137 h 2112317"/>
                <a:gd name="connsiteX5623" fmla="*/ 8704807 w 9154202"/>
                <a:gd name="connsiteY5623" fmla="*/ 769137 h 2112317"/>
                <a:gd name="connsiteX5624" fmla="*/ 8704807 w 9154202"/>
                <a:gd name="connsiteY5624" fmla="*/ 769137 h 2112317"/>
                <a:gd name="connsiteX5625" fmla="*/ 8704807 w 9154202"/>
                <a:gd name="connsiteY5625" fmla="*/ 769137 h 2112317"/>
                <a:gd name="connsiteX5626" fmla="*/ 8704807 w 9154202"/>
                <a:gd name="connsiteY5626" fmla="*/ 770232 h 2112317"/>
                <a:gd name="connsiteX5627" fmla="*/ 8705306 w 9154202"/>
                <a:gd name="connsiteY5627" fmla="*/ 771028 h 2112317"/>
                <a:gd name="connsiteX5628" fmla="*/ 8706302 w 9154202"/>
                <a:gd name="connsiteY5628" fmla="*/ 771028 h 2112317"/>
                <a:gd name="connsiteX5629" fmla="*/ 8706302 w 9154202"/>
                <a:gd name="connsiteY5629" fmla="*/ 770431 h 2112317"/>
                <a:gd name="connsiteX5630" fmla="*/ 8718359 w 9154202"/>
                <a:gd name="connsiteY5630" fmla="*/ 761377 h 2112317"/>
                <a:gd name="connsiteX5631" fmla="*/ 8722444 w 9154202"/>
                <a:gd name="connsiteY5631" fmla="*/ 759587 h 2112317"/>
                <a:gd name="connsiteX5632" fmla="*/ 8725733 w 9154202"/>
                <a:gd name="connsiteY5632" fmla="*/ 760581 h 2112317"/>
                <a:gd name="connsiteX5633" fmla="*/ 8723341 w 9154202"/>
                <a:gd name="connsiteY5633" fmla="*/ 761377 h 2112317"/>
                <a:gd name="connsiteX5634" fmla="*/ 8720850 w 9154202"/>
                <a:gd name="connsiteY5634" fmla="*/ 762571 h 2112317"/>
                <a:gd name="connsiteX5635" fmla="*/ 8718857 w 9154202"/>
                <a:gd name="connsiteY5635" fmla="*/ 764561 h 2112317"/>
                <a:gd name="connsiteX5636" fmla="*/ 8717960 w 9154202"/>
                <a:gd name="connsiteY5636" fmla="*/ 767546 h 2112317"/>
                <a:gd name="connsiteX5637" fmla="*/ 8720152 w 9154202"/>
                <a:gd name="connsiteY5637" fmla="*/ 767546 h 2112317"/>
                <a:gd name="connsiteX5638" fmla="*/ 8723540 w 9154202"/>
                <a:gd name="connsiteY5638" fmla="*/ 770530 h 2112317"/>
                <a:gd name="connsiteX5639" fmla="*/ 8725334 w 9154202"/>
                <a:gd name="connsiteY5639" fmla="*/ 769734 h 2112317"/>
                <a:gd name="connsiteX5640" fmla="*/ 8727128 w 9154202"/>
                <a:gd name="connsiteY5640" fmla="*/ 767347 h 2112317"/>
                <a:gd name="connsiteX5641" fmla="*/ 8728921 w 9154202"/>
                <a:gd name="connsiteY5641" fmla="*/ 765456 h 2112317"/>
                <a:gd name="connsiteX5642" fmla="*/ 8730914 w 9154202"/>
                <a:gd name="connsiteY5642" fmla="*/ 764461 h 2112317"/>
                <a:gd name="connsiteX5643" fmla="*/ 8733604 w 9154202"/>
                <a:gd name="connsiteY5643" fmla="*/ 764461 h 2112317"/>
                <a:gd name="connsiteX5644" fmla="*/ 8733604 w 9154202"/>
                <a:gd name="connsiteY5644" fmla="*/ 765058 h 2112317"/>
                <a:gd name="connsiteX5645" fmla="*/ 8733604 w 9154202"/>
                <a:gd name="connsiteY5645" fmla="*/ 765655 h 2112317"/>
                <a:gd name="connsiteX5646" fmla="*/ 8733604 w 9154202"/>
                <a:gd name="connsiteY5646" fmla="*/ 765655 h 2112317"/>
                <a:gd name="connsiteX5647" fmla="*/ 8733604 w 9154202"/>
                <a:gd name="connsiteY5647" fmla="*/ 766352 h 2112317"/>
                <a:gd name="connsiteX5648" fmla="*/ 8740579 w 9154202"/>
                <a:gd name="connsiteY5648" fmla="*/ 766352 h 2112317"/>
                <a:gd name="connsiteX5649" fmla="*/ 8742572 w 9154202"/>
                <a:gd name="connsiteY5649" fmla="*/ 765556 h 2112317"/>
                <a:gd name="connsiteX5650" fmla="*/ 8743968 w 9154202"/>
                <a:gd name="connsiteY5650" fmla="*/ 764461 h 2112317"/>
                <a:gd name="connsiteX5651" fmla="*/ 8746757 w 9154202"/>
                <a:gd name="connsiteY5651" fmla="*/ 761676 h 2112317"/>
                <a:gd name="connsiteX5652" fmla="*/ 8746259 w 9154202"/>
                <a:gd name="connsiteY5652" fmla="*/ 766949 h 2112317"/>
                <a:gd name="connsiteX5653" fmla="*/ 8749049 w 9154202"/>
                <a:gd name="connsiteY5653" fmla="*/ 768043 h 2112317"/>
                <a:gd name="connsiteX5654" fmla="*/ 8756622 w 9154202"/>
                <a:gd name="connsiteY5654" fmla="*/ 766352 h 2112317"/>
                <a:gd name="connsiteX5655" fmla="*/ 8757917 w 9154202"/>
                <a:gd name="connsiteY5655" fmla="*/ 765655 h 2112317"/>
                <a:gd name="connsiteX5656" fmla="*/ 8760708 w 9154202"/>
                <a:gd name="connsiteY5656" fmla="*/ 762372 h 2112317"/>
                <a:gd name="connsiteX5657" fmla="*/ 8761804 w 9154202"/>
                <a:gd name="connsiteY5657" fmla="*/ 761676 h 2112317"/>
                <a:gd name="connsiteX5658" fmla="*/ 8765690 w 9154202"/>
                <a:gd name="connsiteY5658" fmla="*/ 761676 h 2112317"/>
                <a:gd name="connsiteX5659" fmla="*/ 8769177 w 9154202"/>
                <a:gd name="connsiteY5659" fmla="*/ 760780 h 2112317"/>
                <a:gd name="connsiteX5660" fmla="*/ 8768380 w 9154202"/>
                <a:gd name="connsiteY5660" fmla="*/ 763268 h 2112317"/>
                <a:gd name="connsiteX5661" fmla="*/ 8769576 w 9154202"/>
                <a:gd name="connsiteY5661" fmla="*/ 763964 h 2112317"/>
                <a:gd name="connsiteX5662" fmla="*/ 8770572 w 9154202"/>
                <a:gd name="connsiteY5662" fmla="*/ 763964 h 2112317"/>
                <a:gd name="connsiteX5663" fmla="*/ 8771469 w 9154202"/>
                <a:gd name="connsiteY5663" fmla="*/ 763964 h 2112317"/>
                <a:gd name="connsiteX5664" fmla="*/ 8772266 w 9154202"/>
                <a:gd name="connsiteY5664" fmla="*/ 762969 h 2112317"/>
                <a:gd name="connsiteX5665" fmla="*/ 8773263 w 9154202"/>
                <a:gd name="connsiteY5665" fmla="*/ 762273 h 2112317"/>
                <a:gd name="connsiteX5666" fmla="*/ 8774159 w 9154202"/>
                <a:gd name="connsiteY5666" fmla="*/ 762273 h 2112317"/>
                <a:gd name="connsiteX5667" fmla="*/ 8774857 w 9154202"/>
                <a:gd name="connsiteY5667" fmla="*/ 762969 h 2112317"/>
                <a:gd name="connsiteX5668" fmla="*/ 8775754 w 9154202"/>
                <a:gd name="connsiteY5668" fmla="*/ 762969 h 2112317"/>
                <a:gd name="connsiteX5669" fmla="*/ 8776650 w 9154202"/>
                <a:gd name="connsiteY5669" fmla="*/ 762969 h 2112317"/>
                <a:gd name="connsiteX5670" fmla="*/ 8777647 w 9154202"/>
                <a:gd name="connsiteY5670" fmla="*/ 765456 h 2112317"/>
                <a:gd name="connsiteX5671" fmla="*/ 8778843 w 9154202"/>
                <a:gd name="connsiteY5671" fmla="*/ 765456 h 2112317"/>
                <a:gd name="connsiteX5672" fmla="*/ 8780039 w 9154202"/>
                <a:gd name="connsiteY5672" fmla="*/ 765456 h 2112317"/>
                <a:gd name="connsiteX5673" fmla="*/ 8780039 w 9154202"/>
                <a:gd name="connsiteY5673" fmla="*/ 764561 h 2112317"/>
                <a:gd name="connsiteX5674" fmla="*/ 8779541 w 9154202"/>
                <a:gd name="connsiteY5674" fmla="*/ 763566 h 2112317"/>
                <a:gd name="connsiteX5675" fmla="*/ 8778643 w 9154202"/>
                <a:gd name="connsiteY5675" fmla="*/ 762472 h 2112317"/>
                <a:gd name="connsiteX5676" fmla="*/ 8780537 w 9154202"/>
                <a:gd name="connsiteY5676" fmla="*/ 761278 h 2112317"/>
                <a:gd name="connsiteX5677" fmla="*/ 8782928 w 9154202"/>
                <a:gd name="connsiteY5677" fmla="*/ 761278 h 2112317"/>
                <a:gd name="connsiteX5678" fmla="*/ 8787711 w 9154202"/>
                <a:gd name="connsiteY5678" fmla="*/ 762273 h 2112317"/>
                <a:gd name="connsiteX5679" fmla="*/ 8788708 w 9154202"/>
                <a:gd name="connsiteY5679" fmla="*/ 761079 h 2112317"/>
                <a:gd name="connsiteX5680" fmla="*/ 8788708 w 9154202"/>
                <a:gd name="connsiteY5680" fmla="*/ 755707 h 2112317"/>
                <a:gd name="connsiteX5681" fmla="*/ 8789903 w 9154202"/>
                <a:gd name="connsiteY5681" fmla="*/ 754015 h 2112317"/>
                <a:gd name="connsiteX5682" fmla="*/ 8789903 w 9154202"/>
                <a:gd name="connsiteY5682" fmla="*/ 756602 h 2112317"/>
                <a:gd name="connsiteX5683" fmla="*/ 8791099 w 9154202"/>
                <a:gd name="connsiteY5683" fmla="*/ 758094 h 2112317"/>
                <a:gd name="connsiteX5684" fmla="*/ 8792693 w 9154202"/>
                <a:gd name="connsiteY5684" fmla="*/ 758094 h 2112317"/>
                <a:gd name="connsiteX5685" fmla="*/ 8794586 w 9154202"/>
                <a:gd name="connsiteY5685" fmla="*/ 757199 h 2112317"/>
                <a:gd name="connsiteX5686" fmla="*/ 8793988 w 9154202"/>
                <a:gd name="connsiteY5686" fmla="*/ 759089 h 2112317"/>
                <a:gd name="connsiteX5687" fmla="*/ 8792893 w 9154202"/>
                <a:gd name="connsiteY5687" fmla="*/ 760681 h 2112317"/>
                <a:gd name="connsiteX5688" fmla="*/ 8791597 w 9154202"/>
                <a:gd name="connsiteY5688" fmla="*/ 761974 h 2112317"/>
                <a:gd name="connsiteX5689" fmla="*/ 8790202 w 9154202"/>
                <a:gd name="connsiteY5689" fmla="*/ 762969 h 2112317"/>
                <a:gd name="connsiteX5690" fmla="*/ 8793192 w 9154202"/>
                <a:gd name="connsiteY5690" fmla="*/ 763964 h 2112317"/>
                <a:gd name="connsiteX5691" fmla="*/ 8796181 w 9154202"/>
                <a:gd name="connsiteY5691" fmla="*/ 760979 h 2112317"/>
                <a:gd name="connsiteX5692" fmla="*/ 8799170 w 9154202"/>
                <a:gd name="connsiteY5692" fmla="*/ 757000 h 2112317"/>
                <a:gd name="connsiteX5693" fmla="*/ 8802060 w 9154202"/>
                <a:gd name="connsiteY5693" fmla="*/ 755010 h 2112317"/>
                <a:gd name="connsiteX5694" fmla="*/ 8804950 w 9154202"/>
                <a:gd name="connsiteY5694" fmla="*/ 755010 h 2112317"/>
                <a:gd name="connsiteX5695" fmla="*/ 8804950 w 9154202"/>
                <a:gd name="connsiteY5695" fmla="*/ 759388 h 2112317"/>
                <a:gd name="connsiteX5696" fmla="*/ 8804950 w 9154202"/>
                <a:gd name="connsiteY5696" fmla="*/ 761377 h 2112317"/>
                <a:gd name="connsiteX5697" fmla="*/ 8804152 w 9154202"/>
                <a:gd name="connsiteY5697" fmla="*/ 763168 h 2112317"/>
                <a:gd name="connsiteX5698" fmla="*/ 8802657 w 9154202"/>
                <a:gd name="connsiteY5698" fmla="*/ 764461 h 2112317"/>
                <a:gd name="connsiteX5699" fmla="*/ 8807839 w 9154202"/>
                <a:gd name="connsiteY5699" fmla="*/ 764461 h 2112317"/>
                <a:gd name="connsiteX5700" fmla="*/ 8806843 w 9154202"/>
                <a:gd name="connsiteY5700" fmla="*/ 767446 h 2112317"/>
                <a:gd name="connsiteX5701" fmla="*/ 8807541 w 9154202"/>
                <a:gd name="connsiteY5701" fmla="*/ 767446 h 2112317"/>
                <a:gd name="connsiteX5702" fmla="*/ 8809035 w 9154202"/>
                <a:gd name="connsiteY5702" fmla="*/ 766451 h 2112317"/>
                <a:gd name="connsiteX5703" fmla="*/ 8810430 w 9154202"/>
                <a:gd name="connsiteY5703" fmla="*/ 765158 h 2112317"/>
                <a:gd name="connsiteX5704" fmla="*/ 8810928 w 9154202"/>
                <a:gd name="connsiteY5704" fmla="*/ 764660 h 2112317"/>
                <a:gd name="connsiteX5705" fmla="*/ 8811725 w 9154202"/>
                <a:gd name="connsiteY5705" fmla="*/ 763367 h 2112317"/>
                <a:gd name="connsiteX5706" fmla="*/ 8811725 w 9154202"/>
                <a:gd name="connsiteY5706" fmla="*/ 762770 h 2112317"/>
                <a:gd name="connsiteX5707" fmla="*/ 8812921 w 9154202"/>
                <a:gd name="connsiteY5707" fmla="*/ 762770 h 2112317"/>
                <a:gd name="connsiteX5708" fmla="*/ 8814017 w 9154202"/>
                <a:gd name="connsiteY5708" fmla="*/ 762770 h 2112317"/>
                <a:gd name="connsiteX5709" fmla="*/ 8815113 w 9154202"/>
                <a:gd name="connsiteY5709" fmla="*/ 762770 h 2112317"/>
                <a:gd name="connsiteX5710" fmla="*/ 8816210 w 9154202"/>
                <a:gd name="connsiteY5710" fmla="*/ 761377 h 2112317"/>
                <a:gd name="connsiteX5711" fmla="*/ 8819199 w 9154202"/>
                <a:gd name="connsiteY5711" fmla="*/ 763168 h 2112317"/>
                <a:gd name="connsiteX5712" fmla="*/ 8822088 w 9154202"/>
                <a:gd name="connsiteY5712" fmla="*/ 763168 h 2112317"/>
                <a:gd name="connsiteX5713" fmla="*/ 8824679 w 9154202"/>
                <a:gd name="connsiteY5713" fmla="*/ 761477 h 2112317"/>
                <a:gd name="connsiteX5714" fmla="*/ 8826971 w 9154202"/>
                <a:gd name="connsiteY5714" fmla="*/ 758791 h 2112317"/>
                <a:gd name="connsiteX5715" fmla="*/ 8828466 w 9154202"/>
                <a:gd name="connsiteY5715" fmla="*/ 758791 h 2112317"/>
                <a:gd name="connsiteX5716" fmla="*/ 8829960 w 9154202"/>
                <a:gd name="connsiteY5716" fmla="*/ 760183 h 2112317"/>
                <a:gd name="connsiteX5717" fmla="*/ 8831355 w 9154202"/>
                <a:gd name="connsiteY5717" fmla="*/ 760183 h 2112317"/>
                <a:gd name="connsiteX5718" fmla="*/ 8831854 w 9154202"/>
                <a:gd name="connsiteY5718" fmla="*/ 757398 h 2112317"/>
                <a:gd name="connsiteX5719" fmla="*/ 8832452 w 9154202"/>
                <a:gd name="connsiteY5719" fmla="*/ 756303 h 2112317"/>
                <a:gd name="connsiteX5720" fmla="*/ 8834046 w 9154202"/>
                <a:gd name="connsiteY5720" fmla="*/ 755508 h 2112317"/>
                <a:gd name="connsiteX5721" fmla="*/ 8837035 w 9154202"/>
                <a:gd name="connsiteY5721" fmla="*/ 754513 h 2112317"/>
                <a:gd name="connsiteX5722" fmla="*/ 8843113 w 9154202"/>
                <a:gd name="connsiteY5722" fmla="*/ 751329 h 2112317"/>
                <a:gd name="connsiteX5723" fmla="*/ 8846103 w 9154202"/>
                <a:gd name="connsiteY5723" fmla="*/ 748941 h 2112317"/>
                <a:gd name="connsiteX5724" fmla="*/ 8847398 w 9154202"/>
                <a:gd name="connsiteY5724" fmla="*/ 745758 h 2112317"/>
                <a:gd name="connsiteX5725" fmla="*/ 8846800 w 9154202"/>
                <a:gd name="connsiteY5725" fmla="*/ 744067 h 2112317"/>
                <a:gd name="connsiteX5726" fmla="*/ 8845505 w 9154202"/>
                <a:gd name="connsiteY5726" fmla="*/ 745360 h 2112317"/>
                <a:gd name="connsiteX5727" fmla="*/ 8844408 w 9154202"/>
                <a:gd name="connsiteY5727" fmla="*/ 747648 h 2112317"/>
                <a:gd name="connsiteX5728" fmla="*/ 8844408 w 9154202"/>
                <a:gd name="connsiteY5728" fmla="*/ 749638 h 2112317"/>
                <a:gd name="connsiteX5729" fmla="*/ 8842615 w 9154202"/>
                <a:gd name="connsiteY5729" fmla="*/ 749041 h 2112317"/>
                <a:gd name="connsiteX5730" fmla="*/ 8841718 w 9154202"/>
                <a:gd name="connsiteY5730" fmla="*/ 747549 h 2112317"/>
                <a:gd name="connsiteX5731" fmla="*/ 8841718 w 9154202"/>
                <a:gd name="connsiteY5731" fmla="*/ 745658 h 2112317"/>
                <a:gd name="connsiteX5732" fmla="*/ 8842416 w 9154202"/>
                <a:gd name="connsiteY5732" fmla="*/ 743569 h 2112317"/>
                <a:gd name="connsiteX5733" fmla="*/ 8839925 w 9154202"/>
                <a:gd name="connsiteY5733" fmla="*/ 742574 h 2112317"/>
                <a:gd name="connsiteX5734" fmla="*/ 8838928 w 9154202"/>
                <a:gd name="connsiteY5734" fmla="*/ 742574 h 2112317"/>
                <a:gd name="connsiteX5735" fmla="*/ 8838928 w 9154202"/>
                <a:gd name="connsiteY5735" fmla="*/ 741480 h 2112317"/>
                <a:gd name="connsiteX5736" fmla="*/ 8841917 w 9154202"/>
                <a:gd name="connsiteY5736" fmla="*/ 739092 h 2112317"/>
                <a:gd name="connsiteX5737" fmla="*/ 8846800 w 9154202"/>
                <a:gd name="connsiteY5737" fmla="*/ 732327 h 2112317"/>
                <a:gd name="connsiteX5738" fmla="*/ 8849391 w 9154202"/>
                <a:gd name="connsiteY5738" fmla="*/ 729840 h 2112317"/>
                <a:gd name="connsiteX5739" fmla="*/ 8850885 w 9154202"/>
                <a:gd name="connsiteY5739" fmla="*/ 730735 h 2112317"/>
                <a:gd name="connsiteX5740" fmla="*/ 8853775 w 9154202"/>
                <a:gd name="connsiteY5740" fmla="*/ 729939 h 2112317"/>
                <a:gd name="connsiteX5741" fmla="*/ 8855370 w 9154202"/>
                <a:gd name="connsiteY5741" fmla="*/ 731034 h 2112317"/>
                <a:gd name="connsiteX5742" fmla="*/ 8856864 w 9154202"/>
                <a:gd name="connsiteY5742" fmla="*/ 729939 h 2112317"/>
                <a:gd name="connsiteX5743" fmla="*/ 8858060 w 9154202"/>
                <a:gd name="connsiteY5743" fmla="*/ 728745 h 2112317"/>
                <a:gd name="connsiteX5744" fmla="*/ 8859256 w 9154202"/>
                <a:gd name="connsiteY5744" fmla="*/ 727850 h 2112317"/>
                <a:gd name="connsiteX5745" fmla="*/ 8863241 w 9154202"/>
                <a:gd name="connsiteY5745" fmla="*/ 727154 h 2112317"/>
                <a:gd name="connsiteX5746" fmla="*/ 8868523 w 9154202"/>
                <a:gd name="connsiteY5746" fmla="*/ 725064 h 2112317"/>
                <a:gd name="connsiteX5747" fmla="*/ 8875896 w 9154202"/>
                <a:gd name="connsiteY5747" fmla="*/ 724070 h 2112317"/>
                <a:gd name="connsiteX5748" fmla="*/ 8877490 w 9154202"/>
                <a:gd name="connsiteY5748" fmla="*/ 723274 h 2112317"/>
                <a:gd name="connsiteX5749" fmla="*/ 8878587 w 9154202"/>
                <a:gd name="connsiteY5749" fmla="*/ 721284 h 2112317"/>
                <a:gd name="connsiteX5750" fmla="*/ 8879483 w 9154202"/>
                <a:gd name="connsiteY5750" fmla="*/ 718996 h 2112317"/>
                <a:gd name="connsiteX5751" fmla="*/ 8880579 w 9154202"/>
                <a:gd name="connsiteY5751" fmla="*/ 717105 h 2112317"/>
                <a:gd name="connsiteX5752" fmla="*/ 8882174 w 9154202"/>
                <a:gd name="connsiteY5752" fmla="*/ 715912 h 2112317"/>
                <a:gd name="connsiteX5753" fmla="*/ 8883569 w 9154202"/>
                <a:gd name="connsiteY5753" fmla="*/ 715215 h 2112317"/>
                <a:gd name="connsiteX5754" fmla="*/ 8884565 w 9154202"/>
                <a:gd name="connsiteY5754" fmla="*/ 714121 h 2112317"/>
                <a:gd name="connsiteX5755" fmla="*/ 8885263 w 9154202"/>
                <a:gd name="connsiteY5755" fmla="*/ 713325 h 2112317"/>
                <a:gd name="connsiteX5756" fmla="*/ 8885263 w 9154202"/>
                <a:gd name="connsiteY5756" fmla="*/ 713325 h 2112317"/>
                <a:gd name="connsiteX5757" fmla="*/ 8885263 w 9154202"/>
                <a:gd name="connsiteY5757" fmla="*/ 712131 h 2112317"/>
                <a:gd name="connsiteX5758" fmla="*/ 8885861 w 9154202"/>
                <a:gd name="connsiteY5758" fmla="*/ 709942 h 2112317"/>
                <a:gd name="connsiteX5759" fmla="*/ 8889547 w 9154202"/>
                <a:gd name="connsiteY5759" fmla="*/ 702083 h 2112317"/>
                <a:gd name="connsiteX5760" fmla="*/ 8888152 w 9154202"/>
                <a:gd name="connsiteY5760" fmla="*/ 701088 h 2112317"/>
                <a:gd name="connsiteX5761" fmla="*/ 8887256 w 9154202"/>
                <a:gd name="connsiteY5761" fmla="*/ 701685 h 2112317"/>
                <a:gd name="connsiteX5762" fmla="*/ 8887256 w 9154202"/>
                <a:gd name="connsiteY5762" fmla="*/ 702680 h 2112317"/>
                <a:gd name="connsiteX5763" fmla="*/ 8887256 w 9154202"/>
                <a:gd name="connsiteY5763" fmla="*/ 703277 h 2112317"/>
                <a:gd name="connsiteX5764" fmla="*/ 8885661 w 9154202"/>
                <a:gd name="connsiteY5764" fmla="*/ 703277 h 2112317"/>
                <a:gd name="connsiteX5765" fmla="*/ 8885661 w 9154202"/>
                <a:gd name="connsiteY5765" fmla="*/ 703277 h 2112317"/>
                <a:gd name="connsiteX5766" fmla="*/ 8885661 w 9154202"/>
                <a:gd name="connsiteY5766" fmla="*/ 702580 h 2112317"/>
                <a:gd name="connsiteX5767" fmla="*/ 8884665 w 9154202"/>
                <a:gd name="connsiteY5767" fmla="*/ 700889 h 2112317"/>
                <a:gd name="connsiteX5768" fmla="*/ 8883668 w 9154202"/>
                <a:gd name="connsiteY5768" fmla="*/ 697705 h 2112317"/>
                <a:gd name="connsiteX5769" fmla="*/ 8884565 w 9154202"/>
                <a:gd name="connsiteY5769" fmla="*/ 695417 h 2112317"/>
                <a:gd name="connsiteX5770" fmla="*/ 8886658 w 9154202"/>
                <a:gd name="connsiteY5770" fmla="*/ 694820 h 2112317"/>
                <a:gd name="connsiteX5771" fmla="*/ 8889448 w 9154202"/>
                <a:gd name="connsiteY5771" fmla="*/ 696710 h 2112317"/>
                <a:gd name="connsiteX5772" fmla="*/ 8892437 w 9154202"/>
                <a:gd name="connsiteY5772" fmla="*/ 703774 h 2112317"/>
                <a:gd name="connsiteX5773" fmla="*/ 8893334 w 9154202"/>
                <a:gd name="connsiteY5773" fmla="*/ 704968 h 2112317"/>
                <a:gd name="connsiteX5774" fmla="*/ 8893334 w 9154202"/>
                <a:gd name="connsiteY5774" fmla="*/ 704968 h 2112317"/>
                <a:gd name="connsiteX5775" fmla="*/ 8894430 w 9154202"/>
                <a:gd name="connsiteY5775" fmla="*/ 701386 h 2112317"/>
                <a:gd name="connsiteX5776" fmla="*/ 8895327 w 9154202"/>
                <a:gd name="connsiteY5776" fmla="*/ 699695 h 2112317"/>
                <a:gd name="connsiteX5777" fmla="*/ 8896721 w 9154202"/>
                <a:gd name="connsiteY5777" fmla="*/ 698999 h 2112317"/>
                <a:gd name="connsiteX5778" fmla="*/ 8898316 w 9154202"/>
                <a:gd name="connsiteY5778" fmla="*/ 698999 h 2112317"/>
                <a:gd name="connsiteX5779" fmla="*/ 8899810 w 9154202"/>
                <a:gd name="connsiteY5779" fmla="*/ 698999 h 2112317"/>
                <a:gd name="connsiteX5780" fmla="*/ 8901007 w 9154202"/>
                <a:gd name="connsiteY5780" fmla="*/ 696909 h 2112317"/>
                <a:gd name="connsiteX5781" fmla="*/ 8899612 w 9154202"/>
                <a:gd name="connsiteY5781" fmla="*/ 696313 h 2112317"/>
                <a:gd name="connsiteX5782" fmla="*/ 8898714 w 9154202"/>
                <a:gd name="connsiteY5782" fmla="*/ 695517 h 2112317"/>
                <a:gd name="connsiteX5783" fmla="*/ 8898714 w 9154202"/>
                <a:gd name="connsiteY5783" fmla="*/ 694522 h 2112317"/>
                <a:gd name="connsiteX5784" fmla="*/ 8899412 w 9154202"/>
                <a:gd name="connsiteY5784" fmla="*/ 693427 h 2112317"/>
                <a:gd name="connsiteX5785" fmla="*/ 8900608 w 9154202"/>
                <a:gd name="connsiteY5785" fmla="*/ 693427 h 2112317"/>
                <a:gd name="connsiteX5786" fmla="*/ 8904594 w 9154202"/>
                <a:gd name="connsiteY5786" fmla="*/ 693427 h 2112317"/>
                <a:gd name="connsiteX5787" fmla="*/ 8908181 w 9154202"/>
                <a:gd name="connsiteY5787" fmla="*/ 693427 h 2112317"/>
                <a:gd name="connsiteX5788" fmla="*/ 8910772 w 9154202"/>
                <a:gd name="connsiteY5788" fmla="*/ 691637 h 2112317"/>
                <a:gd name="connsiteX5789" fmla="*/ 8914259 w 9154202"/>
                <a:gd name="connsiteY5789" fmla="*/ 687060 h 2112317"/>
                <a:gd name="connsiteX5790" fmla="*/ 8916950 w 9154202"/>
                <a:gd name="connsiteY5790" fmla="*/ 685070 h 2112317"/>
                <a:gd name="connsiteX5791" fmla="*/ 8918444 w 9154202"/>
                <a:gd name="connsiteY5791" fmla="*/ 685070 h 2112317"/>
                <a:gd name="connsiteX5792" fmla="*/ 8919441 w 9154202"/>
                <a:gd name="connsiteY5792" fmla="*/ 685070 h 2112317"/>
                <a:gd name="connsiteX5793" fmla="*/ 8920238 w 9154202"/>
                <a:gd name="connsiteY5793" fmla="*/ 685070 h 2112317"/>
                <a:gd name="connsiteX5794" fmla="*/ 8921234 w 9154202"/>
                <a:gd name="connsiteY5794" fmla="*/ 683678 h 2112317"/>
                <a:gd name="connsiteX5795" fmla="*/ 8921234 w 9154202"/>
                <a:gd name="connsiteY5795" fmla="*/ 682086 h 2112317"/>
                <a:gd name="connsiteX5796" fmla="*/ 8921234 w 9154202"/>
                <a:gd name="connsiteY5796" fmla="*/ 680395 h 2112317"/>
                <a:gd name="connsiteX5797" fmla="*/ 8921234 w 9154202"/>
                <a:gd name="connsiteY5797" fmla="*/ 678902 h 2112317"/>
                <a:gd name="connsiteX5798" fmla="*/ 8922131 w 9154202"/>
                <a:gd name="connsiteY5798" fmla="*/ 677907 h 2112317"/>
                <a:gd name="connsiteX5799" fmla="*/ 8924223 w 9154202"/>
                <a:gd name="connsiteY5799" fmla="*/ 678803 h 2112317"/>
                <a:gd name="connsiteX5800" fmla="*/ 8926516 w 9154202"/>
                <a:gd name="connsiteY5800" fmla="*/ 681389 h 2112317"/>
                <a:gd name="connsiteX5801" fmla="*/ 8928707 w 9154202"/>
                <a:gd name="connsiteY5801" fmla="*/ 682882 h 2112317"/>
                <a:gd name="connsiteX5802" fmla="*/ 8930800 w 9154202"/>
                <a:gd name="connsiteY5802" fmla="*/ 680196 h 2112317"/>
                <a:gd name="connsiteX5803" fmla="*/ 8930800 w 9154202"/>
                <a:gd name="connsiteY5803" fmla="*/ 678405 h 2112317"/>
                <a:gd name="connsiteX5804" fmla="*/ 8938472 w 9154202"/>
                <a:gd name="connsiteY5804" fmla="*/ 670844 h 2112317"/>
                <a:gd name="connsiteX5805" fmla="*/ 8940167 w 9154202"/>
                <a:gd name="connsiteY5805" fmla="*/ 666765 h 2112317"/>
                <a:gd name="connsiteX5806" fmla="*/ 8941861 w 9154202"/>
                <a:gd name="connsiteY5806" fmla="*/ 659005 h 2112317"/>
                <a:gd name="connsiteX5807" fmla="*/ 8943256 w 9154202"/>
                <a:gd name="connsiteY5807" fmla="*/ 656219 h 2112317"/>
                <a:gd name="connsiteX5808" fmla="*/ 8945049 w 9154202"/>
                <a:gd name="connsiteY5808" fmla="*/ 655125 h 2112317"/>
                <a:gd name="connsiteX5809" fmla="*/ 8946045 w 9154202"/>
                <a:gd name="connsiteY5809" fmla="*/ 656219 h 2112317"/>
                <a:gd name="connsiteX5810" fmla="*/ 8946045 w 9154202"/>
                <a:gd name="connsiteY5810" fmla="*/ 658308 h 2112317"/>
                <a:gd name="connsiteX5811" fmla="*/ 8946045 w 9154202"/>
                <a:gd name="connsiteY5811" fmla="*/ 660398 h 2112317"/>
                <a:gd name="connsiteX5812" fmla="*/ 8945149 w 9154202"/>
                <a:gd name="connsiteY5812" fmla="*/ 662586 h 2112317"/>
                <a:gd name="connsiteX5813" fmla="*/ 8942259 w 9154202"/>
                <a:gd name="connsiteY5813" fmla="*/ 666864 h 2112317"/>
                <a:gd name="connsiteX5814" fmla="*/ 8941661 w 9154202"/>
                <a:gd name="connsiteY5814" fmla="*/ 669153 h 2112317"/>
                <a:gd name="connsiteX5815" fmla="*/ 8942757 w 9154202"/>
                <a:gd name="connsiteY5815" fmla="*/ 673828 h 2112317"/>
                <a:gd name="connsiteX5816" fmla="*/ 8945547 w 9154202"/>
                <a:gd name="connsiteY5816" fmla="*/ 677609 h 2112317"/>
                <a:gd name="connsiteX5817" fmla="*/ 8949334 w 9154202"/>
                <a:gd name="connsiteY5817" fmla="*/ 679300 h 2112317"/>
                <a:gd name="connsiteX5818" fmla="*/ 8953021 w 9154202"/>
                <a:gd name="connsiteY5818" fmla="*/ 677907 h 2112317"/>
                <a:gd name="connsiteX5819" fmla="*/ 8952024 w 9154202"/>
                <a:gd name="connsiteY5819" fmla="*/ 677310 h 2112317"/>
                <a:gd name="connsiteX5820" fmla="*/ 8951327 w 9154202"/>
                <a:gd name="connsiteY5820" fmla="*/ 676614 h 2112317"/>
                <a:gd name="connsiteX5821" fmla="*/ 8951327 w 9154202"/>
                <a:gd name="connsiteY5821" fmla="*/ 675719 h 2112317"/>
                <a:gd name="connsiteX5822" fmla="*/ 8950829 w 9154202"/>
                <a:gd name="connsiteY5822" fmla="*/ 674525 h 2112317"/>
                <a:gd name="connsiteX5823" fmla="*/ 8950829 w 9154202"/>
                <a:gd name="connsiteY5823" fmla="*/ 674525 h 2112317"/>
                <a:gd name="connsiteX5824" fmla="*/ 8949134 w 9154202"/>
                <a:gd name="connsiteY5824" fmla="*/ 673928 h 2112317"/>
                <a:gd name="connsiteX5825" fmla="*/ 8948537 w 9154202"/>
                <a:gd name="connsiteY5825" fmla="*/ 672336 h 2112317"/>
                <a:gd name="connsiteX5826" fmla="*/ 8951625 w 9154202"/>
                <a:gd name="connsiteY5826" fmla="*/ 665670 h 2112317"/>
                <a:gd name="connsiteX5827" fmla="*/ 8952821 w 9154202"/>
                <a:gd name="connsiteY5827" fmla="*/ 669153 h 2112317"/>
                <a:gd name="connsiteX5828" fmla="*/ 8953519 w 9154202"/>
                <a:gd name="connsiteY5828" fmla="*/ 673132 h 2112317"/>
                <a:gd name="connsiteX5829" fmla="*/ 8952423 w 9154202"/>
                <a:gd name="connsiteY5829" fmla="*/ 674127 h 2112317"/>
                <a:gd name="connsiteX5830" fmla="*/ 8953718 w 9154202"/>
                <a:gd name="connsiteY5830" fmla="*/ 674127 h 2112317"/>
                <a:gd name="connsiteX5831" fmla="*/ 8955213 w 9154202"/>
                <a:gd name="connsiteY5831" fmla="*/ 673132 h 2112317"/>
                <a:gd name="connsiteX5832" fmla="*/ 8955910 w 9154202"/>
                <a:gd name="connsiteY5832" fmla="*/ 671839 h 2112317"/>
                <a:gd name="connsiteX5833" fmla="*/ 8956508 w 9154202"/>
                <a:gd name="connsiteY5833" fmla="*/ 669849 h 2112317"/>
                <a:gd name="connsiteX5834" fmla="*/ 8957803 w 9154202"/>
                <a:gd name="connsiteY5834" fmla="*/ 668854 h 2112317"/>
                <a:gd name="connsiteX5835" fmla="*/ 8959298 w 9154202"/>
                <a:gd name="connsiteY5835" fmla="*/ 668058 h 2112317"/>
                <a:gd name="connsiteX5836" fmla="*/ 8960195 w 9154202"/>
                <a:gd name="connsiteY5836" fmla="*/ 666566 h 2112317"/>
                <a:gd name="connsiteX5837" fmla="*/ 8959597 w 9154202"/>
                <a:gd name="connsiteY5837" fmla="*/ 664377 h 2112317"/>
                <a:gd name="connsiteX5838" fmla="*/ 8958302 w 9154202"/>
                <a:gd name="connsiteY5838" fmla="*/ 661293 h 2112317"/>
                <a:gd name="connsiteX5839" fmla="*/ 8958302 w 9154202"/>
                <a:gd name="connsiteY5839" fmla="*/ 658408 h 2112317"/>
                <a:gd name="connsiteX5840" fmla="*/ 8961690 w 9154202"/>
                <a:gd name="connsiteY5840" fmla="*/ 657214 h 2112317"/>
                <a:gd name="connsiteX5841" fmla="*/ 8960394 w 9154202"/>
                <a:gd name="connsiteY5841" fmla="*/ 655523 h 2112317"/>
                <a:gd name="connsiteX5842" fmla="*/ 8959597 w 9154202"/>
                <a:gd name="connsiteY5842" fmla="*/ 655523 h 2112317"/>
                <a:gd name="connsiteX5843" fmla="*/ 8958401 w 9154202"/>
                <a:gd name="connsiteY5843" fmla="*/ 655523 h 2112317"/>
                <a:gd name="connsiteX5844" fmla="*/ 8959199 w 9154202"/>
                <a:gd name="connsiteY5844" fmla="*/ 653831 h 2112317"/>
                <a:gd name="connsiteX5845" fmla="*/ 8959199 w 9154202"/>
                <a:gd name="connsiteY5845" fmla="*/ 652140 h 2112317"/>
                <a:gd name="connsiteX5846" fmla="*/ 8959199 w 9154202"/>
                <a:gd name="connsiteY5846" fmla="*/ 650349 h 2112317"/>
                <a:gd name="connsiteX5847" fmla="*/ 8959199 w 9154202"/>
                <a:gd name="connsiteY5847" fmla="*/ 648559 h 2112317"/>
                <a:gd name="connsiteX5848" fmla="*/ 8959199 w 9154202"/>
                <a:gd name="connsiteY5848" fmla="*/ 647663 h 2112317"/>
                <a:gd name="connsiteX5849" fmla="*/ 8957405 w 9154202"/>
                <a:gd name="connsiteY5849" fmla="*/ 646967 h 2112317"/>
                <a:gd name="connsiteX5850" fmla="*/ 8957405 w 9154202"/>
                <a:gd name="connsiteY5850" fmla="*/ 646071 h 2112317"/>
                <a:gd name="connsiteX5851" fmla="*/ 8957405 w 9154202"/>
                <a:gd name="connsiteY5851" fmla="*/ 645276 h 2112317"/>
                <a:gd name="connsiteX5852" fmla="*/ 8958103 w 9154202"/>
                <a:gd name="connsiteY5852" fmla="*/ 644082 h 2112317"/>
                <a:gd name="connsiteX5853" fmla="*/ 8958103 w 9154202"/>
                <a:gd name="connsiteY5853" fmla="*/ 643286 h 2112317"/>
                <a:gd name="connsiteX5854" fmla="*/ 8959298 w 9154202"/>
                <a:gd name="connsiteY5854" fmla="*/ 639605 h 2112317"/>
                <a:gd name="connsiteX5855" fmla="*/ 8959298 w 9154202"/>
                <a:gd name="connsiteY5855" fmla="*/ 637615 h 2112317"/>
                <a:gd name="connsiteX5856" fmla="*/ 8958202 w 9154202"/>
                <a:gd name="connsiteY5856" fmla="*/ 636720 h 2112317"/>
                <a:gd name="connsiteX5857" fmla="*/ 8956608 w 9154202"/>
                <a:gd name="connsiteY5857" fmla="*/ 636720 h 2112317"/>
                <a:gd name="connsiteX5858" fmla="*/ 8955312 w 9154202"/>
                <a:gd name="connsiteY5858" fmla="*/ 636720 h 2112317"/>
                <a:gd name="connsiteX5859" fmla="*/ 8954017 w 9154202"/>
                <a:gd name="connsiteY5859" fmla="*/ 636720 h 2112317"/>
                <a:gd name="connsiteX5860" fmla="*/ 8952523 w 9154202"/>
                <a:gd name="connsiteY5860" fmla="*/ 634929 h 2112317"/>
                <a:gd name="connsiteX5861" fmla="*/ 8953818 w 9154202"/>
                <a:gd name="connsiteY5861" fmla="*/ 633635 h 2112317"/>
                <a:gd name="connsiteX5862" fmla="*/ 8954814 w 9154202"/>
                <a:gd name="connsiteY5862" fmla="*/ 633635 h 2112317"/>
                <a:gd name="connsiteX5863" fmla="*/ 8955811 w 9154202"/>
                <a:gd name="connsiteY5863" fmla="*/ 633635 h 2112317"/>
                <a:gd name="connsiteX5864" fmla="*/ 8956807 w 9154202"/>
                <a:gd name="connsiteY5864" fmla="*/ 633635 h 2112317"/>
                <a:gd name="connsiteX5865" fmla="*/ 8957903 w 9154202"/>
                <a:gd name="connsiteY5865" fmla="*/ 632740 h 2112317"/>
                <a:gd name="connsiteX5866" fmla="*/ 8959298 w 9154202"/>
                <a:gd name="connsiteY5866" fmla="*/ 630949 h 2112317"/>
                <a:gd name="connsiteX5867" fmla="*/ 8960195 w 9154202"/>
                <a:gd name="connsiteY5867" fmla="*/ 630054 h 2112317"/>
                <a:gd name="connsiteX5868" fmla="*/ 8962088 w 9154202"/>
                <a:gd name="connsiteY5868" fmla="*/ 628860 h 2112317"/>
                <a:gd name="connsiteX5869" fmla="*/ 8964579 w 9154202"/>
                <a:gd name="connsiteY5869" fmla="*/ 627766 h 2112317"/>
                <a:gd name="connsiteX5870" fmla="*/ 8967967 w 9154202"/>
                <a:gd name="connsiteY5870" fmla="*/ 627766 h 2112317"/>
                <a:gd name="connsiteX5871" fmla="*/ 8969362 w 9154202"/>
                <a:gd name="connsiteY5871" fmla="*/ 629954 h 2112317"/>
                <a:gd name="connsiteX5872" fmla="*/ 8966572 w 9154202"/>
                <a:gd name="connsiteY5872" fmla="*/ 634829 h 2112317"/>
                <a:gd name="connsiteX5873" fmla="*/ 8965974 w 9154202"/>
                <a:gd name="connsiteY5873" fmla="*/ 637416 h 2112317"/>
                <a:gd name="connsiteX5874" fmla="*/ 8968366 w 9154202"/>
                <a:gd name="connsiteY5874" fmla="*/ 638112 h 2112317"/>
                <a:gd name="connsiteX5875" fmla="*/ 8969263 w 9154202"/>
                <a:gd name="connsiteY5875" fmla="*/ 637416 h 2112317"/>
                <a:gd name="connsiteX5876" fmla="*/ 8971953 w 9154202"/>
                <a:gd name="connsiteY5876" fmla="*/ 633536 h 2112317"/>
                <a:gd name="connsiteX5877" fmla="*/ 8974045 w 9154202"/>
                <a:gd name="connsiteY5877" fmla="*/ 631546 h 2112317"/>
                <a:gd name="connsiteX5878" fmla="*/ 8976238 w 9154202"/>
                <a:gd name="connsiteY5878" fmla="*/ 629954 h 2112317"/>
                <a:gd name="connsiteX5879" fmla="*/ 8976238 w 9154202"/>
                <a:gd name="connsiteY5879" fmla="*/ 628661 h 2112317"/>
                <a:gd name="connsiteX5880" fmla="*/ 8975740 w 9154202"/>
                <a:gd name="connsiteY5880" fmla="*/ 628064 h 2112317"/>
                <a:gd name="connsiteX5881" fmla="*/ 8974942 w 9154202"/>
                <a:gd name="connsiteY5881" fmla="*/ 628064 h 2112317"/>
                <a:gd name="connsiteX5882" fmla="*/ 8973847 w 9154202"/>
                <a:gd name="connsiteY5882" fmla="*/ 628064 h 2112317"/>
                <a:gd name="connsiteX5883" fmla="*/ 8973847 w 9154202"/>
                <a:gd name="connsiteY5883" fmla="*/ 625279 h 2112317"/>
                <a:gd name="connsiteX5884" fmla="*/ 8974643 w 9154202"/>
                <a:gd name="connsiteY5884" fmla="*/ 623587 h 2112317"/>
                <a:gd name="connsiteX5885" fmla="*/ 8975939 w 9154202"/>
                <a:gd name="connsiteY5885" fmla="*/ 622095 h 2112317"/>
                <a:gd name="connsiteX5886" fmla="*/ 8977035 w 9154202"/>
                <a:gd name="connsiteY5886" fmla="*/ 624184 h 2112317"/>
                <a:gd name="connsiteX5887" fmla="*/ 8978529 w 9154202"/>
                <a:gd name="connsiteY5887" fmla="*/ 624184 h 2112317"/>
                <a:gd name="connsiteX5888" fmla="*/ 8980124 w 9154202"/>
                <a:gd name="connsiteY5888" fmla="*/ 622791 h 2112317"/>
                <a:gd name="connsiteX5889" fmla="*/ 8981120 w 9154202"/>
                <a:gd name="connsiteY5889" fmla="*/ 620901 h 2112317"/>
                <a:gd name="connsiteX5890" fmla="*/ 8982416 w 9154202"/>
                <a:gd name="connsiteY5890" fmla="*/ 620901 h 2112317"/>
                <a:gd name="connsiteX5891" fmla="*/ 8986501 w 9154202"/>
                <a:gd name="connsiteY5891" fmla="*/ 616424 h 2112317"/>
                <a:gd name="connsiteX5892" fmla="*/ 8991583 w 9154202"/>
                <a:gd name="connsiteY5892" fmla="*/ 611151 h 2112317"/>
                <a:gd name="connsiteX5893" fmla="*/ 9002245 w 9154202"/>
                <a:gd name="connsiteY5893" fmla="*/ 606774 h 2112317"/>
                <a:gd name="connsiteX5894" fmla="*/ 9003740 w 9154202"/>
                <a:gd name="connsiteY5894" fmla="*/ 607271 h 2112317"/>
                <a:gd name="connsiteX5895" fmla="*/ 9003740 w 9154202"/>
                <a:gd name="connsiteY5895" fmla="*/ 607271 h 2112317"/>
                <a:gd name="connsiteX5896" fmla="*/ 9004636 w 9154202"/>
                <a:gd name="connsiteY5896" fmla="*/ 605679 h 2112317"/>
                <a:gd name="connsiteX5897" fmla="*/ 9006430 w 9154202"/>
                <a:gd name="connsiteY5897" fmla="*/ 605679 h 2112317"/>
                <a:gd name="connsiteX5898" fmla="*/ 9000651 w 9154202"/>
                <a:gd name="connsiteY5898" fmla="*/ 603192 h 2112317"/>
                <a:gd name="connsiteX5899" fmla="*/ 8997960 w 9154202"/>
                <a:gd name="connsiteY5899" fmla="*/ 601402 h 2112317"/>
                <a:gd name="connsiteX5900" fmla="*/ 8996167 w 9154202"/>
                <a:gd name="connsiteY5900" fmla="*/ 598815 h 2112317"/>
                <a:gd name="connsiteX5901" fmla="*/ 8989590 w 9154202"/>
                <a:gd name="connsiteY5901" fmla="*/ 597522 h 2112317"/>
                <a:gd name="connsiteX5902" fmla="*/ 8990686 w 9154202"/>
                <a:gd name="connsiteY5902" fmla="*/ 595532 h 2112317"/>
                <a:gd name="connsiteX5903" fmla="*/ 8992978 w 9154202"/>
                <a:gd name="connsiteY5903" fmla="*/ 593244 h 2112317"/>
                <a:gd name="connsiteX5904" fmla="*/ 8997263 w 9154202"/>
                <a:gd name="connsiteY5904" fmla="*/ 590358 h 2112317"/>
                <a:gd name="connsiteX5905" fmla="*/ 9000152 w 9154202"/>
                <a:gd name="connsiteY5905" fmla="*/ 589861 h 2112317"/>
                <a:gd name="connsiteX5906" fmla="*/ 9004038 w 9154202"/>
                <a:gd name="connsiteY5906" fmla="*/ 589861 h 2112317"/>
                <a:gd name="connsiteX5907" fmla="*/ 9004038 w 9154202"/>
                <a:gd name="connsiteY5907" fmla="*/ 589861 h 2112317"/>
                <a:gd name="connsiteX5908" fmla="*/ 9005633 w 9154202"/>
                <a:gd name="connsiteY5908" fmla="*/ 589861 h 2112317"/>
                <a:gd name="connsiteX5909" fmla="*/ 9008423 w 9154202"/>
                <a:gd name="connsiteY5909" fmla="*/ 588866 h 2112317"/>
                <a:gd name="connsiteX5910" fmla="*/ 9008423 w 9154202"/>
                <a:gd name="connsiteY5910" fmla="*/ 591254 h 2112317"/>
                <a:gd name="connsiteX5911" fmla="*/ 9008423 w 9154202"/>
                <a:gd name="connsiteY5911" fmla="*/ 591950 h 2112317"/>
                <a:gd name="connsiteX5912" fmla="*/ 9008423 w 9154202"/>
                <a:gd name="connsiteY5912" fmla="*/ 592746 h 2112317"/>
                <a:gd name="connsiteX5913" fmla="*/ 9023071 w 9154202"/>
                <a:gd name="connsiteY5913" fmla="*/ 582797 h 2112317"/>
                <a:gd name="connsiteX5914" fmla="*/ 9028252 w 9154202"/>
                <a:gd name="connsiteY5914" fmla="*/ 584190 h 2112317"/>
                <a:gd name="connsiteX5915" fmla="*/ 9038216 w 9154202"/>
                <a:gd name="connsiteY5915" fmla="*/ 589463 h 2112317"/>
                <a:gd name="connsiteX5916" fmla="*/ 9043796 w 9154202"/>
                <a:gd name="connsiteY5916" fmla="*/ 589463 h 2112317"/>
                <a:gd name="connsiteX5917" fmla="*/ 9042501 w 9154202"/>
                <a:gd name="connsiteY5917" fmla="*/ 586677 h 2112317"/>
                <a:gd name="connsiteX5918" fmla="*/ 9046088 w 9154202"/>
                <a:gd name="connsiteY5918" fmla="*/ 580410 h 2112317"/>
                <a:gd name="connsiteX5919" fmla="*/ 9043796 w 9154202"/>
                <a:gd name="connsiteY5919" fmla="*/ 578917 h 2112317"/>
                <a:gd name="connsiteX5920" fmla="*/ 9047383 w 9154202"/>
                <a:gd name="connsiteY5920" fmla="*/ 578917 h 2112317"/>
                <a:gd name="connsiteX5921" fmla="*/ 9048081 w 9154202"/>
                <a:gd name="connsiteY5921" fmla="*/ 579912 h 2112317"/>
                <a:gd name="connsiteX5922" fmla="*/ 9047483 w 9154202"/>
                <a:gd name="connsiteY5922" fmla="*/ 582001 h 2112317"/>
                <a:gd name="connsiteX5923" fmla="*/ 9047483 w 9154202"/>
                <a:gd name="connsiteY5923" fmla="*/ 585583 h 2112317"/>
                <a:gd name="connsiteX5924" fmla="*/ 9048679 w 9154202"/>
                <a:gd name="connsiteY5924" fmla="*/ 588269 h 2112317"/>
                <a:gd name="connsiteX5925" fmla="*/ 9050971 w 9154202"/>
                <a:gd name="connsiteY5925" fmla="*/ 588866 h 2112317"/>
                <a:gd name="connsiteX5926" fmla="*/ 9057547 w 9154202"/>
                <a:gd name="connsiteY5926" fmla="*/ 587573 h 2112317"/>
                <a:gd name="connsiteX5927" fmla="*/ 9060038 w 9154202"/>
                <a:gd name="connsiteY5927" fmla="*/ 585384 h 2112317"/>
                <a:gd name="connsiteX5928" fmla="*/ 9061334 w 9154202"/>
                <a:gd name="connsiteY5928" fmla="*/ 584489 h 2112317"/>
                <a:gd name="connsiteX5929" fmla="*/ 9061932 w 9154202"/>
                <a:gd name="connsiteY5929" fmla="*/ 584489 h 2112317"/>
                <a:gd name="connsiteX5930" fmla="*/ 9063725 w 9154202"/>
                <a:gd name="connsiteY5930" fmla="*/ 585384 h 2112317"/>
                <a:gd name="connsiteX5931" fmla="*/ 9064821 w 9154202"/>
                <a:gd name="connsiteY5931" fmla="*/ 585384 h 2112317"/>
                <a:gd name="connsiteX5932" fmla="*/ 9073092 w 9154202"/>
                <a:gd name="connsiteY5932" fmla="*/ 582598 h 2112317"/>
                <a:gd name="connsiteX5933" fmla="*/ 9074387 w 9154202"/>
                <a:gd name="connsiteY5933" fmla="*/ 581305 h 2112317"/>
                <a:gd name="connsiteX5934" fmla="*/ 9075483 w 9154202"/>
                <a:gd name="connsiteY5934" fmla="*/ 582399 h 2112317"/>
                <a:gd name="connsiteX5935" fmla="*/ 9083455 w 9154202"/>
                <a:gd name="connsiteY5935" fmla="*/ 579614 h 2112317"/>
                <a:gd name="connsiteX5936" fmla="*/ 9084651 w 9154202"/>
                <a:gd name="connsiteY5936" fmla="*/ 578619 h 2112317"/>
                <a:gd name="connsiteX5937" fmla="*/ 9090031 w 9154202"/>
                <a:gd name="connsiteY5937" fmla="*/ 572550 h 2112317"/>
                <a:gd name="connsiteX5938" fmla="*/ 9096209 w 9154202"/>
                <a:gd name="connsiteY5938" fmla="*/ 567377 h 2112317"/>
                <a:gd name="connsiteX5939" fmla="*/ 9100693 w 9154202"/>
                <a:gd name="connsiteY5939" fmla="*/ 565885 h 2112317"/>
                <a:gd name="connsiteX5940" fmla="*/ 9104280 w 9154202"/>
                <a:gd name="connsiteY5940" fmla="*/ 561905 h 2112317"/>
                <a:gd name="connsiteX5941" fmla="*/ 9106572 w 9154202"/>
                <a:gd name="connsiteY5941" fmla="*/ 560711 h 2112317"/>
                <a:gd name="connsiteX5942" fmla="*/ 9105875 w 9154202"/>
                <a:gd name="connsiteY5942" fmla="*/ 562800 h 2112317"/>
                <a:gd name="connsiteX5943" fmla="*/ 9105875 w 9154202"/>
                <a:gd name="connsiteY5943" fmla="*/ 564691 h 2112317"/>
                <a:gd name="connsiteX5944" fmla="*/ 9106771 w 9154202"/>
                <a:gd name="connsiteY5944" fmla="*/ 566183 h 2112317"/>
                <a:gd name="connsiteX5945" fmla="*/ 9108465 w 9154202"/>
                <a:gd name="connsiteY5945" fmla="*/ 566680 h 2112317"/>
                <a:gd name="connsiteX5946" fmla="*/ 9109462 w 9154202"/>
                <a:gd name="connsiteY5946" fmla="*/ 566083 h 2112317"/>
                <a:gd name="connsiteX5947" fmla="*/ 9110060 w 9154202"/>
                <a:gd name="connsiteY5947" fmla="*/ 564591 h 2112317"/>
                <a:gd name="connsiteX5948" fmla="*/ 9110658 w 9154202"/>
                <a:gd name="connsiteY5948" fmla="*/ 560711 h 2112317"/>
                <a:gd name="connsiteX5949" fmla="*/ 9112252 w 9154202"/>
                <a:gd name="connsiteY5949" fmla="*/ 556632 h 2112317"/>
                <a:gd name="connsiteX5950" fmla="*/ 9114344 w 9154202"/>
                <a:gd name="connsiteY5950" fmla="*/ 555339 h 2112317"/>
                <a:gd name="connsiteX5951" fmla="*/ 9116935 w 9154202"/>
                <a:gd name="connsiteY5951" fmla="*/ 555339 h 2112317"/>
                <a:gd name="connsiteX5952" fmla="*/ 9120224 w 9154202"/>
                <a:gd name="connsiteY5952" fmla="*/ 554046 h 2112317"/>
                <a:gd name="connsiteX5953" fmla="*/ 9119625 w 9154202"/>
                <a:gd name="connsiteY5953" fmla="*/ 555637 h 2112317"/>
                <a:gd name="connsiteX5954" fmla="*/ 9119625 w 9154202"/>
                <a:gd name="connsiteY5954" fmla="*/ 557528 h 2112317"/>
                <a:gd name="connsiteX5955" fmla="*/ 9119625 w 9154202"/>
                <a:gd name="connsiteY5955" fmla="*/ 559418 h 2112317"/>
                <a:gd name="connsiteX5956" fmla="*/ 9120224 w 9154202"/>
                <a:gd name="connsiteY5956" fmla="*/ 561010 h 2112317"/>
                <a:gd name="connsiteX5957" fmla="*/ 9121220 w 9154202"/>
                <a:gd name="connsiteY5957" fmla="*/ 561905 h 2112317"/>
                <a:gd name="connsiteX5958" fmla="*/ 9122216 w 9154202"/>
                <a:gd name="connsiteY5958" fmla="*/ 561905 h 2112317"/>
                <a:gd name="connsiteX5959" fmla="*/ 9127796 w 9154202"/>
                <a:gd name="connsiteY5959" fmla="*/ 560214 h 2112317"/>
                <a:gd name="connsiteX5960" fmla="*/ 9131682 w 9154202"/>
                <a:gd name="connsiteY5960" fmla="*/ 556632 h 2112317"/>
                <a:gd name="connsiteX5961" fmla="*/ 9134174 w 9154202"/>
                <a:gd name="connsiteY5961" fmla="*/ 556632 h 2112317"/>
                <a:gd name="connsiteX5962" fmla="*/ 9133376 w 9154202"/>
                <a:gd name="connsiteY5962" fmla="*/ 558224 h 2112317"/>
                <a:gd name="connsiteX5963" fmla="*/ 9131483 w 9154202"/>
                <a:gd name="connsiteY5963" fmla="*/ 560711 h 2112317"/>
                <a:gd name="connsiteX5964" fmla="*/ 9130686 w 9154202"/>
                <a:gd name="connsiteY5964" fmla="*/ 562601 h 2112317"/>
                <a:gd name="connsiteX5965" fmla="*/ 9143640 w 9154202"/>
                <a:gd name="connsiteY5965" fmla="*/ 559119 h 2112317"/>
                <a:gd name="connsiteX5966" fmla="*/ 9144238 w 9154202"/>
                <a:gd name="connsiteY5966" fmla="*/ 558522 h 2112317"/>
                <a:gd name="connsiteX5967" fmla="*/ 9144238 w 9154202"/>
                <a:gd name="connsiteY5967" fmla="*/ 557727 h 2112317"/>
                <a:gd name="connsiteX5968" fmla="*/ 9144238 w 9154202"/>
                <a:gd name="connsiteY5968" fmla="*/ 556931 h 2112317"/>
                <a:gd name="connsiteX5969" fmla="*/ 9145035 w 9154202"/>
                <a:gd name="connsiteY5969" fmla="*/ 556931 h 2112317"/>
                <a:gd name="connsiteX5970" fmla="*/ 9145931 w 9154202"/>
                <a:gd name="connsiteY5970" fmla="*/ 557528 h 2112317"/>
                <a:gd name="connsiteX5971" fmla="*/ 9146629 w 9154202"/>
                <a:gd name="connsiteY5971" fmla="*/ 560015 h 2112317"/>
                <a:gd name="connsiteX5972" fmla="*/ 9147327 w 9154202"/>
                <a:gd name="connsiteY5972" fmla="*/ 560711 h 2112317"/>
                <a:gd name="connsiteX5973" fmla="*/ 9149419 w 9154202"/>
                <a:gd name="connsiteY5973" fmla="*/ 560114 h 2112317"/>
                <a:gd name="connsiteX5974" fmla="*/ 9150416 w 9154202"/>
                <a:gd name="connsiteY5974" fmla="*/ 558721 h 2112317"/>
                <a:gd name="connsiteX5975" fmla="*/ 9150416 w 9154202"/>
                <a:gd name="connsiteY5975" fmla="*/ 556831 h 2112317"/>
                <a:gd name="connsiteX5976" fmla="*/ 9148921 w 9154202"/>
                <a:gd name="connsiteY5976" fmla="*/ 554742 h 2112317"/>
                <a:gd name="connsiteX5977" fmla="*/ 9151013 w 9154202"/>
                <a:gd name="connsiteY5977" fmla="*/ 553747 h 2112317"/>
                <a:gd name="connsiteX5978" fmla="*/ 9152109 w 9154202"/>
                <a:gd name="connsiteY5978" fmla="*/ 553747 h 2112317"/>
                <a:gd name="connsiteX5979" fmla="*/ 9152109 w 9154202"/>
                <a:gd name="connsiteY5979" fmla="*/ 183355 h 2112317"/>
                <a:gd name="connsiteX5980" fmla="*/ 9148921 w 9154202"/>
                <a:gd name="connsiteY5980" fmla="*/ 183355 h 2112317"/>
                <a:gd name="connsiteX5981" fmla="*/ 9149917 w 9154202"/>
                <a:gd name="connsiteY5981" fmla="*/ 182261 h 2112317"/>
                <a:gd name="connsiteX5982" fmla="*/ 9149917 w 9154202"/>
                <a:gd name="connsiteY5982" fmla="*/ 181067 h 2112317"/>
                <a:gd name="connsiteX5983" fmla="*/ 9149917 w 9154202"/>
                <a:gd name="connsiteY5983" fmla="*/ 179873 h 2112317"/>
                <a:gd name="connsiteX5984" fmla="*/ 9149320 w 9154202"/>
                <a:gd name="connsiteY5984" fmla="*/ 178480 h 2112317"/>
                <a:gd name="connsiteX5985" fmla="*/ 9142842 w 9154202"/>
                <a:gd name="connsiteY5985" fmla="*/ 182360 h 2112317"/>
                <a:gd name="connsiteX5986" fmla="*/ 9136266 w 9154202"/>
                <a:gd name="connsiteY5986" fmla="*/ 184649 h 2112317"/>
                <a:gd name="connsiteX5987" fmla="*/ 9140252 w 9154202"/>
                <a:gd name="connsiteY5987" fmla="*/ 178381 h 2112317"/>
                <a:gd name="connsiteX5988" fmla="*/ 9147924 w 9154202"/>
                <a:gd name="connsiteY5988" fmla="*/ 174401 h 2112317"/>
                <a:gd name="connsiteX5989" fmla="*/ 9151511 w 9154202"/>
                <a:gd name="connsiteY5989" fmla="*/ 173407 h 2112317"/>
                <a:gd name="connsiteX5990" fmla="*/ 9151511 w 9154202"/>
                <a:gd name="connsiteY5990" fmla="*/ 80485 h 2112317"/>
                <a:gd name="connsiteX5991" fmla="*/ 9151511 w 9154202"/>
                <a:gd name="connsiteY5991" fmla="*/ 80485 h 2112317"/>
                <a:gd name="connsiteX5992" fmla="*/ 9147825 w 9154202"/>
                <a:gd name="connsiteY5992" fmla="*/ 78396 h 2112317"/>
                <a:gd name="connsiteX5993" fmla="*/ 9146828 w 9154202"/>
                <a:gd name="connsiteY5993" fmla="*/ 76705 h 2112317"/>
                <a:gd name="connsiteX5994" fmla="*/ 9138857 w 9154202"/>
                <a:gd name="connsiteY5994" fmla="*/ 81381 h 2112317"/>
                <a:gd name="connsiteX5995" fmla="*/ 9136366 w 9154202"/>
                <a:gd name="connsiteY5995" fmla="*/ 78993 h 2112317"/>
                <a:gd name="connsiteX5996" fmla="*/ 9133576 w 9154202"/>
                <a:gd name="connsiteY5996" fmla="*/ 80087 h 2112317"/>
                <a:gd name="connsiteX5997" fmla="*/ 9130686 w 9154202"/>
                <a:gd name="connsiteY5997" fmla="*/ 81978 h 2112317"/>
                <a:gd name="connsiteX5998" fmla="*/ 9127697 w 9154202"/>
                <a:gd name="connsiteY5998" fmla="*/ 82674 h 2112317"/>
                <a:gd name="connsiteX5999" fmla="*/ 9128793 w 9154202"/>
                <a:gd name="connsiteY5999" fmla="*/ 79888 h 2112317"/>
                <a:gd name="connsiteX6000" fmla="*/ 9129391 w 9154202"/>
                <a:gd name="connsiteY6000" fmla="*/ 78993 h 2112317"/>
                <a:gd name="connsiteX6001" fmla="*/ 9117134 w 9154202"/>
                <a:gd name="connsiteY6001" fmla="*/ 76705 h 2112317"/>
                <a:gd name="connsiteX6002" fmla="*/ 9111056 w 9154202"/>
                <a:gd name="connsiteY6002" fmla="*/ 77401 h 2112317"/>
                <a:gd name="connsiteX6003" fmla="*/ 9108266 w 9154202"/>
                <a:gd name="connsiteY6003" fmla="*/ 77401 h 2112317"/>
                <a:gd name="connsiteX6004" fmla="*/ 9106771 w 9154202"/>
                <a:gd name="connsiteY6004" fmla="*/ 75511 h 2112317"/>
                <a:gd name="connsiteX6005" fmla="*/ 9108565 w 9154202"/>
                <a:gd name="connsiteY6005" fmla="*/ 74317 h 2112317"/>
                <a:gd name="connsiteX6006" fmla="*/ 9100593 w 9154202"/>
                <a:gd name="connsiteY6006" fmla="*/ 76108 h 2112317"/>
                <a:gd name="connsiteX6007" fmla="*/ 9096707 w 9154202"/>
                <a:gd name="connsiteY6007" fmla="*/ 76108 h 2112317"/>
                <a:gd name="connsiteX6008" fmla="*/ 9097505 w 9154202"/>
                <a:gd name="connsiteY6008" fmla="*/ 74118 h 2112317"/>
                <a:gd name="connsiteX6009" fmla="*/ 9094615 w 9154202"/>
                <a:gd name="connsiteY6009" fmla="*/ 75014 h 2112317"/>
                <a:gd name="connsiteX6010" fmla="*/ 9090231 w 9154202"/>
                <a:gd name="connsiteY6010" fmla="*/ 75014 h 2112317"/>
                <a:gd name="connsiteX6011" fmla="*/ 9085547 w 9154202"/>
                <a:gd name="connsiteY6011" fmla="*/ 73123 h 2112317"/>
                <a:gd name="connsiteX6012" fmla="*/ 9082757 w 9154202"/>
                <a:gd name="connsiteY6012" fmla="*/ 71034 h 2112317"/>
                <a:gd name="connsiteX6013" fmla="*/ 9080167 w 9154202"/>
                <a:gd name="connsiteY6013" fmla="*/ 69542 h 2112317"/>
                <a:gd name="connsiteX6014" fmla="*/ 9076181 w 9154202"/>
                <a:gd name="connsiteY6014" fmla="*/ 69542 h 2112317"/>
                <a:gd name="connsiteX6015" fmla="*/ 9072195 w 9154202"/>
                <a:gd name="connsiteY6015" fmla="*/ 70338 h 2112317"/>
                <a:gd name="connsiteX6016" fmla="*/ 9069305 w 9154202"/>
                <a:gd name="connsiteY6016" fmla="*/ 71830 h 2112317"/>
                <a:gd name="connsiteX6017" fmla="*/ 9067611 w 9154202"/>
                <a:gd name="connsiteY6017" fmla="*/ 70736 h 2112317"/>
                <a:gd name="connsiteX6018" fmla="*/ 9056252 w 9154202"/>
                <a:gd name="connsiteY6018" fmla="*/ 69542 h 2112317"/>
                <a:gd name="connsiteX6019" fmla="*/ 9052465 w 9154202"/>
                <a:gd name="connsiteY6019" fmla="*/ 70338 h 2112317"/>
                <a:gd name="connsiteX6020" fmla="*/ 9050771 w 9154202"/>
                <a:gd name="connsiteY6020" fmla="*/ 73422 h 2112317"/>
                <a:gd name="connsiteX6021" fmla="*/ 9049476 w 9154202"/>
                <a:gd name="connsiteY6021" fmla="*/ 75014 h 2112317"/>
                <a:gd name="connsiteX6022" fmla="*/ 9039512 w 9154202"/>
                <a:gd name="connsiteY6022" fmla="*/ 74118 h 2112317"/>
                <a:gd name="connsiteX6023" fmla="*/ 9036223 w 9154202"/>
                <a:gd name="connsiteY6023" fmla="*/ 75014 h 2112317"/>
                <a:gd name="connsiteX6024" fmla="*/ 9033832 w 9154202"/>
                <a:gd name="connsiteY6024" fmla="*/ 76804 h 2112317"/>
                <a:gd name="connsiteX6025" fmla="*/ 9031740 w 9154202"/>
                <a:gd name="connsiteY6025" fmla="*/ 79490 h 2112317"/>
                <a:gd name="connsiteX6026" fmla="*/ 9029747 w 9154202"/>
                <a:gd name="connsiteY6026" fmla="*/ 83072 h 2112317"/>
                <a:gd name="connsiteX6027" fmla="*/ 9028949 w 9154202"/>
                <a:gd name="connsiteY6027" fmla="*/ 87051 h 2112317"/>
                <a:gd name="connsiteX6028" fmla="*/ 9031341 w 9154202"/>
                <a:gd name="connsiteY6028" fmla="*/ 89340 h 2112317"/>
                <a:gd name="connsiteX6029" fmla="*/ 9037918 w 9154202"/>
                <a:gd name="connsiteY6029" fmla="*/ 92125 h 2112317"/>
                <a:gd name="connsiteX6030" fmla="*/ 9039213 w 9154202"/>
                <a:gd name="connsiteY6030" fmla="*/ 93518 h 2112317"/>
                <a:gd name="connsiteX6031" fmla="*/ 9039910 w 9154202"/>
                <a:gd name="connsiteY6031" fmla="*/ 94712 h 2112317"/>
                <a:gd name="connsiteX6032" fmla="*/ 9040907 w 9154202"/>
                <a:gd name="connsiteY6032" fmla="*/ 95607 h 2112317"/>
                <a:gd name="connsiteX6033" fmla="*/ 9042700 w 9154202"/>
                <a:gd name="connsiteY6033" fmla="*/ 95607 h 2112317"/>
                <a:gd name="connsiteX6034" fmla="*/ 9044594 w 9154202"/>
                <a:gd name="connsiteY6034" fmla="*/ 95607 h 2112317"/>
                <a:gd name="connsiteX6035" fmla="*/ 9045889 w 9154202"/>
                <a:gd name="connsiteY6035" fmla="*/ 95607 h 2112317"/>
                <a:gd name="connsiteX6036" fmla="*/ 9046885 w 9154202"/>
                <a:gd name="connsiteY6036" fmla="*/ 94613 h 2112317"/>
                <a:gd name="connsiteX6037" fmla="*/ 9047683 w 9154202"/>
                <a:gd name="connsiteY6037" fmla="*/ 93021 h 2112317"/>
                <a:gd name="connsiteX6038" fmla="*/ 9049676 w 9154202"/>
                <a:gd name="connsiteY6038" fmla="*/ 91031 h 2112317"/>
                <a:gd name="connsiteX6039" fmla="*/ 9052565 w 9154202"/>
                <a:gd name="connsiteY6039" fmla="*/ 89439 h 2112317"/>
                <a:gd name="connsiteX6040" fmla="*/ 9058544 w 9154202"/>
                <a:gd name="connsiteY6040" fmla="*/ 87449 h 2112317"/>
                <a:gd name="connsiteX6041" fmla="*/ 9062131 w 9154202"/>
                <a:gd name="connsiteY6041" fmla="*/ 87449 h 2112317"/>
                <a:gd name="connsiteX6042" fmla="*/ 9076380 w 9154202"/>
                <a:gd name="connsiteY6042" fmla="*/ 89439 h 2112317"/>
                <a:gd name="connsiteX6043" fmla="*/ 9084551 w 9154202"/>
                <a:gd name="connsiteY6043" fmla="*/ 93817 h 2112317"/>
                <a:gd name="connsiteX6044" fmla="*/ 9087440 w 9154202"/>
                <a:gd name="connsiteY6044" fmla="*/ 94414 h 2112317"/>
                <a:gd name="connsiteX6045" fmla="*/ 9097405 w 9154202"/>
                <a:gd name="connsiteY6045" fmla="*/ 93817 h 2112317"/>
                <a:gd name="connsiteX6046" fmla="*/ 9100394 w 9154202"/>
                <a:gd name="connsiteY6046" fmla="*/ 94414 h 2112317"/>
                <a:gd name="connsiteX6047" fmla="*/ 9104380 w 9154202"/>
                <a:gd name="connsiteY6047" fmla="*/ 95707 h 2112317"/>
                <a:gd name="connsiteX6048" fmla="*/ 9107469 w 9154202"/>
                <a:gd name="connsiteY6048" fmla="*/ 97597 h 2112317"/>
                <a:gd name="connsiteX6049" fmla="*/ 9107469 w 9154202"/>
                <a:gd name="connsiteY6049" fmla="*/ 99786 h 2112317"/>
                <a:gd name="connsiteX6050" fmla="*/ 9104480 w 9154202"/>
                <a:gd name="connsiteY6050" fmla="*/ 100681 h 2112317"/>
                <a:gd name="connsiteX6051" fmla="*/ 9065320 w 9154202"/>
                <a:gd name="connsiteY6051" fmla="*/ 95010 h 2112317"/>
                <a:gd name="connsiteX6052" fmla="*/ 9061732 w 9154202"/>
                <a:gd name="connsiteY6052" fmla="*/ 95806 h 2112317"/>
                <a:gd name="connsiteX6053" fmla="*/ 9053562 w 9154202"/>
                <a:gd name="connsiteY6053" fmla="*/ 101079 h 2112317"/>
                <a:gd name="connsiteX6054" fmla="*/ 9050971 w 9154202"/>
                <a:gd name="connsiteY6054" fmla="*/ 101079 h 2112317"/>
                <a:gd name="connsiteX6055" fmla="*/ 9044892 w 9154202"/>
                <a:gd name="connsiteY6055" fmla="*/ 100482 h 2112317"/>
                <a:gd name="connsiteX6056" fmla="*/ 9042601 w 9154202"/>
                <a:gd name="connsiteY6056" fmla="*/ 101577 h 2112317"/>
                <a:gd name="connsiteX6057" fmla="*/ 9040608 w 9154202"/>
                <a:gd name="connsiteY6057" fmla="*/ 102969 h 2112317"/>
                <a:gd name="connsiteX6058" fmla="*/ 9014700 w 9154202"/>
                <a:gd name="connsiteY6058" fmla="*/ 109635 h 2112317"/>
                <a:gd name="connsiteX6059" fmla="*/ 8998160 w 9154202"/>
                <a:gd name="connsiteY6059" fmla="*/ 117097 h 2112317"/>
                <a:gd name="connsiteX6060" fmla="*/ 8986601 w 9154202"/>
                <a:gd name="connsiteY6060" fmla="*/ 120479 h 2112317"/>
                <a:gd name="connsiteX6061" fmla="*/ 8974942 w 9154202"/>
                <a:gd name="connsiteY6061" fmla="*/ 121673 h 2112317"/>
                <a:gd name="connsiteX6062" fmla="*/ 8973348 w 9154202"/>
                <a:gd name="connsiteY6062" fmla="*/ 122569 h 2112317"/>
                <a:gd name="connsiteX6063" fmla="*/ 8972451 w 9154202"/>
                <a:gd name="connsiteY6063" fmla="*/ 124658 h 2112317"/>
                <a:gd name="connsiteX6064" fmla="*/ 8971754 w 9154202"/>
                <a:gd name="connsiteY6064" fmla="*/ 127145 h 2112317"/>
                <a:gd name="connsiteX6065" fmla="*/ 8971056 w 9154202"/>
                <a:gd name="connsiteY6065" fmla="*/ 128936 h 2112317"/>
                <a:gd name="connsiteX6066" fmla="*/ 8969960 w 9154202"/>
                <a:gd name="connsiteY6066" fmla="*/ 130528 h 2112317"/>
                <a:gd name="connsiteX6067" fmla="*/ 8969163 w 9154202"/>
                <a:gd name="connsiteY6067" fmla="*/ 131224 h 2112317"/>
                <a:gd name="connsiteX6068" fmla="*/ 8959199 w 9154202"/>
                <a:gd name="connsiteY6068" fmla="*/ 138188 h 2112317"/>
                <a:gd name="connsiteX6069" fmla="*/ 8957106 w 9154202"/>
                <a:gd name="connsiteY6069" fmla="*/ 140476 h 2112317"/>
                <a:gd name="connsiteX6070" fmla="*/ 8954714 w 9154202"/>
                <a:gd name="connsiteY6070" fmla="*/ 142565 h 2112317"/>
                <a:gd name="connsiteX6071" fmla="*/ 8948836 w 9154202"/>
                <a:gd name="connsiteY6071" fmla="*/ 145451 h 2112317"/>
                <a:gd name="connsiteX6072" fmla="*/ 8946245 w 9154202"/>
                <a:gd name="connsiteY6072" fmla="*/ 148435 h 2112317"/>
                <a:gd name="connsiteX6073" fmla="*/ 8947739 w 9154202"/>
                <a:gd name="connsiteY6073" fmla="*/ 149331 h 2112317"/>
                <a:gd name="connsiteX6074" fmla="*/ 8948935 w 9154202"/>
                <a:gd name="connsiteY6074" fmla="*/ 151022 h 2112317"/>
                <a:gd name="connsiteX6075" fmla="*/ 8949533 w 9154202"/>
                <a:gd name="connsiteY6075" fmla="*/ 153111 h 2112317"/>
                <a:gd name="connsiteX6076" fmla="*/ 8948836 w 9154202"/>
                <a:gd name="connsiteY6076" fmla="*/ 155698 h 2112317"/>
                <a:gd name="connsiteX6077" fmla="*/ 8951526 w 9154202"/>
                <a:gd name="connsiteY6077" fmla="*/ 156494 h 2112317"/>
                <a:gd name="connsiteX6078" fmla="*/ 8954117 w 9154202"/>
                <a:gd name="connsiteY6078" fmla="*/ 156494 h 2112317"/>
                <a:gd name="connsiteX6079" fmla="*/ 8953220 w 9154202"/>
                <a:gd name="connsiteY6079" fmla="*/ 156494 h 2112317"/>
                <a:gd name="connsiteX6080" fmla="*/ 8953220 w 9154202"/>
                <a:gd name="connsiteY6080" fmla="*/ 157290 h 2112317"/>
                <a:gd name="connsiteX6081" fmla="*/ 8952721 w 9154202"/>
                <a:gd name="connsiteY6081" fmla="*/ 158682 h 2112317"/>
                <a:gd name="connsiteX6082" fmla="*/ 8952721 w 9154202"/>
                <a:gd name="connsiteY6082" fmla="*/ 160473 h 2112317"/>
                <a:gd name="connsiteX6083" fmla="*/ 8952721 w 9154202"/>
                <a:gd name="connsiteY6083" fmla="*/ 162662 h 2112317"/>
                <a:gd name="connsiteX6084" fmla="*/ 8951227 w 9154202"/>
                <a:gd name="connsiteY6084" fmla="*/ 162662 h 2112317"/>
                <a:gd name="connsiteX6085" fmla="*/ 8948636 w 9154202"/>
                <a:gd name="connsiteY6085" fmla="*/ 161866 h 2112317"/>
                <a:gd name="connsiteX6086" fmla="*/ 8947042 w 9154202"/>
                <a:gd name="connsiteY6086" fmla="*/ 161866 h 2112317"/>
                <a:gd name="connsiteX6087" fmla="*/ 8947042 w 9154202"/>
                <a:gd name="connsiteY6087" fmla="*/ 162662 h 2112317"/>
                <a:gd name="connsiteX6088" fmla="*/ 8947042 w 9154202"/>
                <a:gd name="connsiteY6088" fmla="*/ 166741 h 2112317"/>
                <a:gd name="connsiteX6089" fmla="*/ 8947042 w 9154202"/>
                <a:gd name="connsiteY6089" fmla="*/ 167935 h 2112317"/>
                <a:gd name="connsiteX6090" fmla="*/ 8945547 w 9154202"/>
                <a:gd name="connsiteY6090" fmla="*/ 167935 h 2112317"/>
                <a:gd name="connsiteX6091" fmla="*/ 8941861 w 9154202"/>
                <a:gd name="connsiteY6091" fmla="*/ 167338 h 2112317"/>
                <a:gd name="connsiteX6092" fmla="*/ 8940465 w 9154202"/>
                <a:gd name="connsiteY6092" fmla="*/ 168134 h 2112317"/>
                <a:gd name="connsiteX6093" fmla="*/ 8939270 w 9154202"/>
                <a:gd name="connsiteY6093" fmla="*/ 169129 h 2112317"/>
                <a:gd name="connsiteX6094" fmla="*/ 8937576 w 9154202"/>
                <a:gd name="connsiteY6094" fmla="*/ 169726 h 2112317"/>
                <a:gd name="connsiteX6095" fmla="*/ 8934387 w 9154202"/>
                <a:gd name="connsiteY6095" fmla="*/ 169726 h 2112317"/>
                <a:gd name="connsiteX6096" fmla="*/ 8932892 w 9154202"/>
                <a:gd name="connsiteY6096" fmla="*/ 169129 h 2112317"/>
                <a:gd name="connsiteX6097" fmla="*/ 8931996 w 9154202"/>
                <a:gd name="connsiteY6097" fmla="*/ 167835 h 2112317"/>
                <a:gd name="connsiteX6098" fmla="*/ 8931199 w 9154202"/>
                <a:gd name="connsiteY6098" fmla="*/ 166542 h 2112317"/>
                <a:gd name="connsiteX6099" fmla="*/ 8930501 w 9154202"/>
                <a:gd name="connsiteY6099" fmla="*/ 165846 h 2112317"/>
                <a:gd name="connsiteX6100" fmla="*/ 8929106 w 9154202"/>
                <a:gd name="connsiteY6100" fmla="*/ 165846 h 2112317"/>
                <a:gd name="connsiteX6101" fmla="*/ 8927412 w 9154202"/>
                <a:gd name="connsiteY6101" fmla="*/ 166641 h 2112317"/>
                <a:gd name="connsiteX6102" fmla="*/ 8925918 w 9154202"/>
                <a:gd name="connsiteY6102" fmla="*/ 167736 h 2112317"/>
                <a:gd name="connsiteX6103" fmla="*/ 8924821 w 9154202"/>
                <a:gd name="connsiteY6103" fmla="*/ 168830 h 2112317"/>
                <a:gd name="connsiteX6104" fmla="*/ 8922629 w 9154202"/>
                <a:gd name="connsiteY6104" fmla="*/ 170820 h 2112317"/>
                <a:gd name="connsiteX6105" fmla="*/ 8919341 w 9154202"/>
                <a:gd name="connsiteY6105" fmla="*/ 166940 h 2112317"/>
                <a:gd name="connsiteX6106" fmla="*/ 8916551 w 9154202"/>
                <a:gd name="connsiteY6106" fmla="*/ 166940 h 2112317"/>
                <a:gd name="connsiteX6107" fmla="*/ 8915754 w 9154202"/>
                <a:gd name="connsiteY6107" fmla="*/ 168333 h 2112317"/>
                <a:gd name="connsiteX6108" fmla="*/ 8915754 w 9154202"/>
                <a:gd name="connsiteY6108" fmla="*/ 170422 h 2112317"/>
                <a:gd name="connsiteX6109" fmla="*/ 8915754 w 9154202"/>
                <a:gd name="connsiteY6109" fmla="*/ 172113 h 2112317"/>
                <a:gd name="connsiteX6110" fmla="*/ 8913960 w 9154202"/>
                <a:gd name="connsiteY6110" fmla="*/ 172909 h 2112317"/>
                <a:gd name="connsiteX6111" fmla="*/ 8908181 w 9154202"/>
                <a:gd name="connsiteY6111" fmla="*/ 172909 h 2112317"/>
                <a:gd name="connsiteX6112" fmla="*/ 8907185 w 9154202"/>
                <a:gd name="connsiteY6112" fmla="*/ 173805 h 2112317"/>
                <a:gd name="connsiteX6113" fmla="*/ 8907185 w 9154202"/>
                <a:gd name="connsiteY6113" fmla="*/ 175894 h 2112317"/>
                <a:gd name="connsiteX6114" fmla="*/ 8905789 w 9154202"/>
                <a:gd name="connsiteY6114" fmla="*/ 177386 h 2112317"/>
                <a:gd name="connsiteX6115" fmla="*/ 8897619 w 9154202"/>
                <a:gd name="connsiteY6115" fmla="*/ 182559 h 2112317"/>
                <a:gd name="connsiteX6116" fmla="*/ 8893134 w 9154202"/>
                <a:gd name="connsiteY6116" fmla="*/ 187733 h 2112317"/>
                <a:gd name="connsiteX6117" fmla="*/ 8890444 w 9154202"/>
                <a:gd name="connsiteY6117" fmla="*/ 190021 h 2112317"/>
                <a:gd name="connsiteX6118" fmla="*/ 8887654 w 9154202"/>
                <a:gd name="connsiteY6118" fmla="*/ 191016 h 2112317"/>
                <a:gd name="connsiteX6119" fmla="*/ 8884366 w 9154202"/>
                <a:gd name="connsiteY6119" fmla="*/ 191513 h 2112317"/>
                <a:gd name="connsiteX6120" fmla="*/ 8878188 w 9154202"/>
                <a:gd name="connsiteY6120" fmla="*/ 193901 h 2112317"/>
                <a:gd name="connsiteX6121" fmla="*/ 8859455 w 9154202"/>
                <a:gd name="connsiteY6121" fmla="*/ 195592 h 2112317"/>
                <a:gd name="connsiteX6122" fmla="*/ 8846701 w 9154202"/>
                <a:gd name="connsiteY6122" fmla="*/ 193006 h 2112317"/>
                <a:gd name="connsiteX6123" fmla="*/ 8843711 w 9154202"/>
                <a:gd name="connsiteY6123" fmla="*/ 193006 h 2112317"/>
                <a:gd name="connsiteX6124" fmla="*/ 8842216 w 9154202"/>
                <a:gd name="connsiteY6124" fmla="*/ 194299 h 2112317"/>
                <a:gd name="connsiteX6125" fmla="*/ 8843312 w 9154202"/>
                <a:gd name="connsiteY6125" fmla="*/ 197582 h 2112317"/>
                <a:gd name="connsiteX6126" fmla="*/ 8846103 w 9154202"/>
                <a:gd name="connsiteY6126" fmla="*/ 199771 h 2112317"/>
                <a:gd name="connsiteX6127" fmla="*/ 8852679 w 9154202"/>
                <a:gd name="connsiteY6127" fmla="*/ 200666 h 2112317"/>
                <a:gd name="connsiteX6128" fmla="*/ 8855868 w 9154202"/>
                <a:gd name="connsiteY6128" fmla="*/ 201761 h 2112317"/>
                <a:gd name="connsiteX6129" fmla="*/ 8855868 w 9154202"/>
                <a:gd name="connsiteY6129" fmla="*/ 203054 h 2112317"/>
                <a:gd name="connsiteX6130" fmla="*/ 8852579 w 9154202"/>
                <a:gd name="connsiteY6130" fmla="*/ 204248 h 2112317"/>
                <a:gd name="connsiteX6131" fmla="*/ 8849690 w 9154202"/>
                <a:gd name="connsiteY6131" fmla="*/ 203551 h 2112317"/>
                <a:gd name="connsiteX6132" fmla="*/ 8846800 w 9154202"/>
                <a:gd name="connsiteY6132" fmla="*/ 202258 h 2112317"/>
                <a:gd name="connsiteX6133" fmla="*/ 8844508 w 9154202"/>
                <a:gd name="connsiteY6133" fmla="*/ 202258 h 2112317"/>
                <a:gd name="connsiteX6134" fmla="*/ 8843113 w 9154202"/>
                <a:gd name="connsiteY6134" fmla="*/ 203352 h 2112317"/>
                <a:gd name="connsiteX6135" fmla="*/ 8843113 w 9154202"/>
                <a:gd name="connsiteY6135" fmla="*/ 204447 h 2112317"/>
                <a:gd name="connsiteX6136" fmla="*/ 8843910 w 9154202"/>
                <a:gd name="connsiteY6136" fmla="*/ 205740 h 2112317"/>
                <a:gd name="connsiteX6137" fmla="*/ 8844408 w 9154202"/>
                <a:gd name="connsiteY6137" fmla="*/ 207730 h 2112317"/>
                <a:gd name="connsiteX6138" fmla="*/ 8844408 w 9154202"/>
                <a:gd name="connsiteY6138" fmla="*/ 209521 h 2112317"/>
                <a:gd name="connsiteX6139" fmla="*/ 8843412 w 9154202"/>
                <a:gd name="connsiteY6139" fmla="*/ 209023 h 2112317"/>
                <a:gd name="connsiteX6140" fmla="*/ 8842316 w 9154202"/>
                <a:gd name="connsiteY6140" fmla="*/ 207630 h 2112317"/>
                <a:gd name="connsiteX6141" fmla="*/ 8841319 w 9154202"/>
                <a:gd name="connsiteY6141" fmla="*/ 207033 h 2112317"/>
                <a:gd name="connsiteX6142" fmla="*/ 8839925 w 9154202"/>
                <a:gd name="connsiteY6142" fmla="*/ 208227 h 2112317"/>
                <a:gd name="connsiteX6143" fmla="*/ 8837533 w 9154202"/>
                <a:gd name="connsiteY6143" fmla="*/ 212207 h 2112317"/>
                <a:gd name="connsiteX6144" fmla="*/ 8836537 w 9154202"/>
                <a:gd name="connsiteY6144" fmla="*/ 213003 h 2112317"/>
                <a:gd name="connsiteX6145" fmla="*/ 8836537 w 9154202"/>
                <a:gd name="connsiteY6145" fmla="*/ 213699 h 2112317"/>
                <a:gd name="connsiteX6146" fmla="*/ 8832452 w 9154202"/>
                <a:gd name="connsiteY6146" fmla="*/ 217281 h 2112317"/>
                <a:gd name="connsiteX6147" fmla="*/ 8830657 w 9154202"/>
                <a:gd name="connsiteY6147" fmla="*/ 219569 h 2112317"/>
                <a:gd name="connsiteX6148" fmla="*/ 8825277 w 9154202"/>
                <a:gd name="connsiteY6148" fmla="*/ 225140 h 2112317"/>
                <a:gd name="connsiteX6149" fmla="*/ 8822985 w 9154202"/>
                <a:gd name="connsiteY6149" fmla="*/ 226234 h 2112317"/>
                <a:gd name="connsiteX6150" fmla="*/ 8821291 w 9154202"/>
                <a:gd name="connsiteY6150" fmla="*/ 226234 h 2112317"/>
                <a:gd name="connsiteX6151" fmla="*/ 8815612 w 9154202"/>
                <a:gd name="connsiteY6151" fmla="*/ 228423 h 2112317"/>
                <a:gd name="connsiteX6152" fmla="*/ 8812224 w 9154202"/>
                <a:gd name="connsiteY6152" fmla="*/ 228423 h 2112317"/>
                <a:gd name="connsiteX6153" fmla="*/ 8810828 w 9154202"/>
                <a:gd name="connsiteY6153" fmla="*/ 229020 h 2112317"/>
                <a:gd name="connsiteX6154" fmla="*/ 8808537 w 9154202"/>
                <a:gd name="connsiteY6154" fmla="*/ 232303 h 2112317"/>
                <a:gd name="connsiteX6155" fmla="*/ 8810230 w 9154202"/>
                <a:gd name="connsiteY6155" fmla="*/ 233696 h 2112317"/>
                <a:gd name="connsiteX6156" fmla="*/ 8816408 w 9154202"/>
                <a:gd name="connsiteY6156" fmla="*/ 235387 h 2112317"/>
                <a:gd name="connsiteX6157" fmla="*/ 8816408 w 9154202"/>
                <a:gd name="connsiteY6157" fmla="*/ 237775 h 2112317"/>
                <a:gd name="connsiteX6158" fmla="*/ 8815312 w 9154202"/>
                <a:gd name="connsiteY6158" fmla="*/ 239466 h 2112317"/>
                <a:gd name="connsiteX6159" fmla="*/ 8813818 w 9154202"/>
                <a:gd name="connsiteY6159" fmla="*/ 240461 h 2112317"/>
                <a:gd name="connsiteX6160" fmla="*/ 8812024 w 9154202"/>
                <a:gd name="connsiteY6160" fmla="*/ 240461 h 2112317"/>
                <a:gd name="connsiteX6161" fmla="*/ 8812024 w 9154202"/>
                <a:gd name="connsiteY6161" fmla="*/ 239864 h 2112317"/>
                <a:gd name="connsiteX6162" fmla="*/ 8809732 w 9154202"/>
                <a:gd name="connsiteY6162" fmla="*/ 236780 h 2112317"/>
                <a:gd name="connsiteX6163" fmla="*/ 8808437 w 9154202"/>
                <a:gd name="connsiteY6163" fmla="*/ 235686 h 2112317"/>
                <a:gd name="connsiteX6164" fmla="*/ 8807142 w 9154202"/>
                <a:gd name="connsiteY6164" fmla="*/ 235686 h 2112317"/>
                <a:gd name="connsiteX6165" fmla="*/ 8806444 w 9154202"/>
                <a:gd name="connsiteY6165" fmla="*/ 235686 h 2112317"/>
                <a:gd name="connsiteX6166" fmla="*/ 8804152 w 9154202"/>
                <a:gd name="connsiteY6166" fmla="*/ 237278 h 2112317"/>
                <a:gd name="connsiteX6167" fmla="*/ 8797277 w 9154202"/>
                <a:gd name="connsiteY6167" fmla="*/ 240163 h 2112317"/>
                <a:gd name="connsiteX6168" fmla="*/ 8790401 w 9154202"/>
                <a:gd name="connsiteY6168" fmla="*/ 241555 h 2112317"/>
                <a:gd name="connsiteX6169" fmla="*/ 8775355 w 9154202"/>
                <a:gd name="connsiteY6169" fmla="*/ 242152 h 2112317"/>
                <a:gd name="connsiteX6170" fmla="*/ 8775355 w 9154202"/>
                <a:gd name="connsiteY6170" fmla="*/ 240859 h 2112317"/>
                <a:gd name="connsiteX6171" fmla="*/ 8784722 w 9154202"/>
                <a:gd name="connsiteY6171" fmla="*/ 239864 h 2112317"/>
                <a:gd name="connsiteX6172" fmla="*/ 8793690 w 9154202"/>
                <a:gd name="connsiteY6172" fmla="*/ 237278 h 2112317"/>
                <a:gd name="connsiteX6173" fmla="*/ 8802359 w 9154202"/>
                <a:gd name="connsiteY6173" fmla="*/ 233099 h 2112317"/>
                <a:gd name="connsiteX6174" fmla="*/ 8805746 w 9154202"/>
                <a:gd name="connsiteY6174" fmla="*/ 230214 h 2112317"/>
                <a:gd name="connsiteX6175" fmla="*/ 8804850 w 9154202"/>
                <a:gd name="connsiteY6175" fmla="*/ 227428 h 2112317"/>
                <a:gd name="connsiteX6176" fmla="*/ 8802757 w 9154202"/>
                <a:gd name="connsiteY6176" fmla="*/ 227428 h 2112317"/>
                <a:gd name="connsiteX6177" fmla="*/ 8795782 w 9154202"/>
                <a:gd name="connsiteY6177" fmla="*/ 229219 h 2112317"/>
                <a:gd name="connsiteX6178" fmla="*/ 8780337 w 9154202"/>
                <a:gd name="connsiteY6178" fmla="*/ 230512 h 2112317"/>
                <a:gd name="connsiteX6179" fmla="*/ 8778344 w 9154202"/>
                <a:gd name="connsiteY6179" fmla="*/ 230015 h 2112317"/>
                <a:gd name="connsiteX6180" fmla="*/ 8776750 w 9154202"/>
                <a:gd name="connsiteY6180" fmla="*/ 228523 h 2112317"/>
                <a:gd name="connsiteX6181" fmla="*/ 8776750 w 9154202"/>
                <a:gd name="connsiteY6181" fmla="*/ 226732 h 2112317"/>
                <a:gd name="connsiteX6182" fmla="*/ 8777548 w 9154202"/>
                <a:gd name="connsiteY6182" fmla="*/ 225339 h 2112317"/>
                <a:gd name="connsiteX6183" fmla="*/ 8778643 w 9154202"/>
                <a:gd name="connsiteY6183" fmla="*/ 224643 h 2112317"/>
                <a:gd name="connsiteX6184" fmla="*/ 8779241 w 9154202"/>
                <a:gd name="connsiteY6184" fmla="*/ 224643 h 2112317"/>
                <a:gd name="connsiteX6185" fmla="*/ 8779241 w 9154202"/>
                <a:gd name="connsiteY6185" fmla="*/ 225240 h 2112317"/>
                <a:gd name="connsiteX6186" fmla="*/ 8782330 w 9154202"/>
                <a:gd name="connsiteY6186" fmla="*/ 227428 h 2112317"/>
                <a:gd name="connsiteX6187" fmla="*/ 8783326 w 9154202"/>
                <a:gd name="connsiteY6187" fmla="*/ 224344 h 2112317"/>
                <a:gd name="connsiteX6188" fmla="*/ 8784821 w 9154202"/>
                <a:gd name="connsiteY6188" fmla="*/ 222056 h 2112317"/>
                <a:gd name="connsiteX6189" fmla="*/ 8787014 w 9154202"/>
                <a:gd name="connsiteY6189" fmla="*/ 220763 h 2112317"/>
                <a:gd name="connsiteX6190" fmla="*/ 8790103 w 9154202"/>
                <a:gd name="connsiteY6190" fmla="*/ 220265 h 2112317"/>
                <a:gd name="connsiteX6191" fmla="*/ 8792394 w 9154202"/>
                <a:gd name="connsiteY6191" fmla="*/ 219469 h 2112317"/>
                <a:gd name="connsiteX6192" fmla="*/ 8798971 w 9154202"/>
                <a:gd name="connsiteY6192" fmla="*/ 215490 h 2112317"/>
                <a:gd name="connsiteX6193" fmla="*/ 8803056 w 9154202"/>
                <a:gd name="connsiteY6193" fmla="*/ 211908 h 2112317"/>
                <a:gd name="connsiteX6194" fmla="*/ 8811825 w 9154202"/>
                <a:gd name="connsiteY6194" fmla="*/ 208227 h 2112317"/>
                <a:gd name="connsiteX6195" fmla="*/ 8815213 w 9154202"/>
                <a:gd name="connsiteY6195" fmla="*/ 208227 h 2112317"/>
                <a:gd name="connsiteX6196" fmla="*/ 8818302 w 9154202"/>
                <a:gd name="connsiteY6196" fmla="*/ 208824 h 2112317"/>
                <a:gd name="connsiteX6197" fmla="*/ 8821192 w 9154202"/>
                <a:gd name="connsiteY6197" fmla="*/ 210316 h 2112317"/>
                <a:gd name="connsiteX6198" fmla="*/ 8823882 w 9154202"/>
                <a:gd name="connsiteY6198" fmla="*/ 212306 h 2112317"/>
                <a:gd name="connsiteX6199" fmla="*/ 8823882 w 9154202"/>
                <a:gd name="connsiteY6199" fmla="*/ 208824 h 2112317"/>
                <a:gd name="connsiteX6200" fmla="*/ 8823882 w 9154202"/>
                <a:gd name="connsiteY6200" fmla="*/ 205243 h 2112317"/>
                <a:gd name="connsiteX6201" fmla="*/ 8822786 w 9154202"/>
                <a:gd name="connsiteY6201" fmla="*/ 202158 h 2112317"/>
                <a:gd name="connsiteX6202" fmla="*/ 8821092 w 9154202"/>
                <a:gd name="connsiteY6202" fmla="*/ 200169 h 2112317"/>
                <a:gd name="connsiteX6203" fmla="*/ 8820195 w 9154202"/>
                <a:gd name="connsiteY6203" fmla="*/ 200169 h 2112317"/>
                <a:gd name="connsiteX6204" fmla="*/ 8816210 w 9154202"/>
                <a:gd name="connsiteY6204" fmla="*/ 201363 h 2112317"/>
                <a:gd name="connsiteX6205" fmla="*/ 8806245 w 9154202"/>
                <a:gd name="connsiteY6205" fmla="*/ 194498 h 2112317"/>
                <a:gd name="connsiteX6206" fmla="*/ 8797177 w 9154202"/>
                <a:gd name="connsiteY6206" fmla="*/ 192110 h 2112317"/>
                <a:gd name="connsiteX6207" fmla="*/ 8794387 w 9154202"/>
                <a:gd name="connsiteY6207" fmla="*/ 190817 h 2112317"/>
                <a:gd name="connsiteX6208" fmla="*/ 8784423 w 9154202"/>
                <a:gd name="connsiteY6208" fmla="*/ 182758 h 2112317"/>
                <a:gd name="connsiteX6209" fmla="*/ 8781732 w 9154202"/>
                <a:gd name="connsiteY6209" fmla="*/ 181366 h 2112317"/>
                <a:gd name="connsiteX6210" fmla="*/ 8778544 w 9154202"/>
                <a:gd name="connsiteY6210" fmla="*/ 180868 h 2112317"/>
                <a:gd name="connsiteX6211" fmla="*/ 8777548 w 9154202"/>
                <a:gd name="connsiteY6211" fmla="*/ 180172 h 2112317"/>
                <a:gd name="connsiteX6212" fmla="*/ 8773661 w 9154202"/>
                <a:gd name="connsiteY6212" fmla="*/ 175894 h 2112317"/>
                <a:gd name="connsiteX6213" fmla="*/ 8748950 w 9154202"/>
                <a:gd name="connsiteY6213" fmla="*/ 165945 h 2112317"/>
                <a:gd name="connsiteX6214" fmla="*/ 8738088 w 9154202"/>
                <a:gd name="connsiteY6214" fmla="*/ 165249 h 2112317"/>
                <a:gd name="connsiteX6215" fmla="*/ 8727526 w 9154202"/>
                <a:gd name="connsiteY6215" fmla="*/ 162065 h 2112317"/>
                <a:gd name="connsiteX6216" fmla="*/ 8723740 w 9154202"/>
                <a:gd name="connsiteY6216" fmla="*/ 162065 h 2112317"/>
                <a:gd name="connsiteX6217" fmla="*/ 8715569 w 9154202"/>
                <a:gd name="connsiteY6217" fmla="*/ 165149 h 2112317"/>
                <a:gd name="connsiteX6218" fmla="*/ 8712978 w 9154202"/>
                <a:gd name="connsiteY6218" fmla="*/ 164552 h 2112317"/>
                <a:gd name="connsiteX6219" fmla="*/ 8711184 w 9154202"/>
                <a:gd name="connsiteY6219" fmla="*/ 162065 h 2112317"/>
                <a:gd name="connsiteX6220" fmla="*/ 8712579 w 9154202"/>
                <a:gd name="connsiteY6220" fmla="*/ 160175 h 2112317"/>
                <a:gd name="connsiteX6221" fmla="*/ 8717661 w 9154202"/>
                <a:gd name="connsiteY6221" fmla="*/ 156693 h 2112317"/>
                <a:gd name="connsiteX6222" fmla="*/ 8719455 w 9154202"/>
                <a:gd name="connsiteY6222" fmla="*/ 153708 h 2112317"/>
                <a:gd name="connsiteX6223" fmla="*/ 8720451 w 9154202"/>
                <a:gd name="connsiteY6223" fmla="*/ 150127 h 2112317"/>
                <a:gd name="connsiteX6224" fmla="*/ 8720451 w 9154202"/>
                <a:gd name="connsiteY6224" fmla="*/ 146644 h 2112317"/>
                <a:gd name="connsiteX6225" fmla="*/ 8718459 w 9154202"/>
                <a:gd name="connsiteY6225" fmla="*/ 143859 h 2112317"/>
                <a:gd name="connsiteX6226" fmla="*/ 8720950 w 9154202"/>
                <a:gd name="connsiteY6226" fmla="*/ 143162 h 2112317"/>
                <a:gd name="connsiteX6227" fmla="*/ 8722743 w 9154202"/>
                <a:gd name="connsiteY6227" fmla="*/ 145650 h 2112317"/>
                <a:gd name="connsiteX6228" fmla="*/ 8725832 w 9154202"/>
                <a:gd name="connsiteY6228" fmla="*/ 152912 h 2112317"/>
                <a:gd name="connsiteX6229" fmla="*/ 8728323 w 9154202"/>
                <a:gd name="connsiteY6229" fmla="*/ 154305 h 2112317"/>
                <a:gd name="connsiteX6230" fmla="*/ 8736594 w 9154202"/>
                <a:gd name="connsiteY6230" fmla="*/ 156792 h 2112317"/>
                <a:gd name="connsiteX6231" fmla="*/ 8742273 w 9154202"/>
                <a:gd name="connsiteY6231" fmla="*/ 160274 h 2112317"/>
                <a:gd name="connsiteX6232" fmla="*/ 8766188 w 9154202"/>
                <a:gd name="connsiteY6232" fmla="*/ 165647 h 2112317"/>
                <a:gd name="connsiteX6233" fmla="*/ 8774359 w 9154202"/>
                <a:gd name="connsiteY6233" fmla="*/ 171118 h 2112317"/>
                <a:gd name="connsiteX6234" fmla="*/ 8780636 w 9154202"/>
                <a:gd name="connsiteY6234" fmla="*/ 172810 h 2112317"/>
                <a:gd name="connsiteX6235" fmla="*/ 8782828 w 9154202"/>
                <a:gd name="connsiteY6235" fmla="*/ 174899 h 2112317"/>
                <a:gd name="connsiteX6236" fmla="*/ 8784622 w 9154202"/>
                <a:gd name="connsiteY6236" fmla="*/ 177585 h 2112317"/>
                <a:gd name="connsiteX6237" fmla="*/ 8787014 w 9154202"/>
                <a:gd name="connsiteY6237" fmla="*/ 180271 h 2112317"/>
                <a:gd name="connsiteX6238" fmla="*/ 8795384 w 9154202"/>
                <a:gd name="connsiteY6238" fmla="*/ 184748 h 2112317"/>
                <a:gd name="connsiteX6239" fmla="*/ 8800764 w 9154202"/>
                <a:gd name="connsiteY6239" fmla="*/ 189225 h 2112317"/>
                <a:gd name="connsiteX6240" fmla="*/ 8806743 w 9154202"/>
                <a:gd name="connsiteY6240" fmla="*/ 190916 h 2112317"/>
                <a:gd name="connsiteX6241" fmla="*/ 8809633 w 9154202"/>
                <a:gd name="connsiteY6241" fmla="*/ 192409 h 2112317"/>
                <a:gd name="connsiteX6242" fmla="*/ 8810430 w 9154202"/>
                <a:gd name="connsiteY6242" fmla="*/ 192409 h 2112317"/>
                <a:gd name="connsiteX6243" fmla="*/ 8811028 w 9154202"/>
                <a:gd name="connsiteY6243" fmla="*/ 192409 h 2112317"/>
                <a:gd name="connsiteX6244" fmla="*/ 8811028 w 9154202"/>
                <a:gd name="connsiteY6244" fmla="*/ 192409 h 2112317"/>
                <a:gd name="connsiteX6245" fmla="*/ 8811028 w 9154202"/>
                <a:gd name="connsiteY6245" fmla="*/ 194796 h 2112317"/>
                <a:gd name="connsiteX6246" fmla="*/ 8811028 w 9154202"/>
                <a:gd name="connsiteY6246" fmla="*/ 195791 h 2112317"/>
                <a:gd name="connsiteX6247" fmla="*/ 8811028 w 9154202"/>
                <a:gd name="connsiteY6247" fmla="*/ 196488 h 2112317"/>
                <a:gd name="connsiteX6248" fmla="*/ 8811725 w 9154202"/>
                <a:gd name="connsiteY6248" fmla="*/ 196488 h 2112317"/>
                <a:gd name="connsiteX6249" fmla="*/ 8812523 w 9154202"/>
                <a:gd name="connsiteY6249" fmla="*/ 195891 h 2112317"/>
                <a:gd name="connsiteX6250" fmla="*/ 8814814 w 9154202"/>
                <a:gd name="connsiteY6250" fmla="*/ 193404 h 2112317"/>
                <a:gd name="connsiteX6251" fmla="*/ 8816110 w 9154202"/>
                <a:gd name="connsiteY6251" fmla="*/ 192807 h 2112317"/>
                <a:gd name="connsiteX6252" fmla="*/ 8819597 w 9154202"/>
                <a:gd name="connsiteY6252" fmla="*/ 192011 h 2112317"/>
                <a:gd name="connsiteX6253" fmla="*/ 8819597 w 9154202"/>
                <a:gd name="connsiteY6253" fmla="*/ 189922 h 2112317"/>
                <a:gd name="connsiteX6254" fmla="*/ 8818202 w 9154202"/>
                <a:gd name="connsiteY6254" fmla="*/ 187136 h 2112317"/>
                <a:gd name="connsiteX6255" fmla="*/ 8816110 w 9154202"/>
                <a:gd name="connsiteY6255" fmla="*/ 184350 h 2112317"/>
                <a:gd name="connsiteX6256" fmla="*/ 8814416 w 9154202"/>
                <a:gd name="connsiteY6256" fmla="*/ 180868 h 2112317"/>
                <a:gd name="connsiteX6257" fmla="*/ 8814416 w 9154202"/>
                <a:gd name="connsiteY6257" fmla="*/ 177983 h 2112317"/>
                <a:gd name="connsiteX6258" fmla="*/ 8815014 w 9154202"/>
                <a:gd name="connsiteY6258" fmla="*/ 174700 h 2112317"/>
                <a:gd name="connsiteX6259" fmla="*/ 8815014 w 9154202"/>
                <a:gd name="connsiteY6259" fmla="*/ 170422 h 2112317"/>
                <a:gd name="connsiteX6260" fmla="*/ 8816408 w 9154202"/>
                <a:gd name="connsiteY6260" fmla="*/ 166244 h 2112317"/>
                <a:gd name="connsiteX6261" fmla="*/ 8819597 w 9154202"/>
                <a:gd name="connsiteY6261" fmla="*/ 164652 h 2112317"/>
                <a:gd name="connsiteX6262" fmla="*/ 8826274 w 9154202"/>
                <a:gd name="connsiteY6262" fmla="*/ 164652 h 2112317"/>
                <a:gd name="connsiteX6263" fmla="*/ 8826274 w 9154202"/>
                <a:gd name="connsiteY6263" fmla="*/ 162662 h 2112317"/>
                <a:gd name="connsiteX6264" fmla="*/ 8822686 w 9154202"/>
                <a:gd name="connsiteY6264" fmla="*/ 161468 h 2112317"/>
                <a:gd name="connsiteX6265" fmla="*/ 8818401 w 9154202"/>
                <a:gd name="connsiteY6265" fmla="*/ 158583 h 2112317"/>
                <a:gd name="connsiteX6266" fmla="*/ 8814615 w 9154202"/>
                <a:gd name="connsiteY6266" fmla="*/ 155001 h 2112317"/>
                <a:gd name="connsiteX6267" fmla="*/ 8812423 w 9154202"/>
                <a:gd name="connsiteY6267" fmla="*/ 151619 h 2112317"/>
                <a:gd name="connsiteX6268" fmla="*/ 8812423 w 9154202"/>
                <a:gd name="connsiteY6268" fmla="*/ 151619 h 2112317"/>
                <a:gd name="connsiteX6269" fmla="*/ 8812423 w 9154202"/>
                <a:gd name="connsiteY6269" fmla="*/ 151619 h 2112317"/>
                <a:gd name="connsiteX6270" fmla="*/ 8812423 w 9154202"/>
                <a:gd name="connsiteY6270" fmla="*/ 151619 h 2112317"/>
                <a:gd name="connsiteX6271" fmla="*/ 8812423 w 9154202"/>
                <a:gd name="connsiteY6271" fmla="*/ 150226 h 2112317"/>
                <a:gd name="connsiteX6272" fmla="*/ 8818701 w 9154202"/>
                <a:gd name="connsiteY6272" fmla="*/ 153609 h 2112317"/>
                <a:gd name="connsiteX6273" fmla="*/ 8821192 w 9154202"/>
                <a:gd name="connsiteY6273" fmla="*/ 153609 h 2112317"/>
                <a:gd name="connsiteX6274" fmla="*/ 8823882 w 9154202"/>
                <a:gd name="connsiteY6274" fmla="*/ 152912 h 2112317"/>
                <a:gd name="connsiteX6275" fmla="*/ 8828964 w 9154202"/>
                <a:gd name="connsiteY6275" fmla="*/ 150425 h 2112317"/>
                <a:gd name="connsiteX6276" fmla="*/ 8841917 w 9154202"/>
                <a:gd name="connsiteY6276" fmla="*/ 147639 h 2112317"/>
                <a:gd name="connsiteX6277" fmla="*/ 8851882 w 9154202"/>
                <a:gd name="connsiteY6277" fmla="*/ 148137 h 2112317"/>
                <a:gd name="connsiteX6278" fmla="*/ 8853875 w 9154202"/>
                <a:gd name="connsiteY6278" fmla="*/ 147142 h 2112317"/>
                <a:gd name="connsiteX6279" fmla="*/ 8852978 w 9154202"/>
                <a:gd name="connsiteY6279" fmla="*/ 144456 h 2112317"/>
                <a:gd name="connsiteX6280" fmla="*/ 8851284 w 9154202"/>
                <a:gd name="connsiteY6280" fmla="*/ 143759 h 2112317"/>
                <a:gd name="connsiteX6281" fmla="*/ 8846103 w 9154202"/>
                <a:gd name="connsiteY6281" fmla="*/ 143759 h 2112317"/>
                <a:gd name="connsiteX6282" fmla="*/ 8844807 w 9154202"/>
                <a:gd name="connsiteY6282" fmla="*/ 142565 h 2112317"/>
                <a:gd name="connsiteX6283" fmla="*/ 8844807 w 9154202"/>
                <a:gd name="connsiteY6283" fmla="*/ 140974 h 2112317"/>
                <a:gd name="connsiteX6284" fmla="*/ 8846103 w 9154202"/>
                <a:gd name="connsiteY6284" fmla="*/ 139979 h 2112317"/>
                <a:gd name="connsiteX6285" fmla="*/ 8848892 w 9154202"/>
                <a:gd name="connsiteY6285" fmla="*/ 138984 h 2112317"/>
                <a:gd name="connsiteX6286" fmla="*/ 8855568 w 9154202"/>
                <a:gd name="connsiteY6286" fmla="*/ 138387 h 2112317"/>
                <a:gd name="connsiteX6287" fmla="*/ 8874899 w 9154202"/>
                <a:gd name="connsiteY6287" fmla="*/ 142565 h 2112317"/>
                <a:gd name="connsiteX6288" fmla="*/ 8888451 w 9154202"/>
                <a:gd name="connsiteY6288" fmla="*/ 142565 h 2112317"/>
                <a:gd name="connsiteX6289" fmla="*/ 8895725 w 9154202"/>
                <a:gd name="connsiteY6289" fmla="*/ 141372 h 2112317"/>
                <a:gd name="connsiteX6290" fmla="*/ 8899910 w 9154202"/>
                <a:gd name="connsiteY6290" fmla="*/ 138487 h 2112317"/>
                <a:gd name="connsiteX6291" fmla="*/ 8901704 w 9154202"/>
                <a:gd name="connsiteY6291" fmla="*/ 138487 h 2112317"/>
                <a:gd name="connsiteX6292" fmla="*/ 8909576 w 9154202"/>
                <a:gd name="connsiteY6292" fmla="*/ 132318 h 2112317"/>
                <a:gd name="connsiteX6293" fmla="*/ 8911967 w 9154202"/>
                <a:gd name="connsiteY6293" fmla="*/ 131224 h 2112317"/>
                <a:gd name="connsiteX6294" fmla="*/ 8917547 w 9154202"/>
                <a:gd name="connsiteY6294" fmla="*/ 129632 h 2112317"/>
                <a:gd name="connsiteX6295" fmla="*/ 8921732 w 9154202"/>
                <a:gd name="connsiteY6295" fmla="*/ 126449 h 2112317"/>
                <a:gd name="connsiteX6296" fmla="*/ 8928409 w 9154202"/>
                <a:gd name="connsiteY6296" fmla="*/ 123165 h 2112317"/>
                <a:gd name="connsiteX6297" fmla="*/ 8938871 w 9154202"/>
                <a:gd name="connsiteY6297" fmla="*/ 120380 h 2112317"/>
                <a:gd name="connsiteX6298" fmla="*/ 8941661 w 9154202"/>
                <a:gd name="connsiteY6298" fmla="*/ 120380 h 2112317"/>
                <a:gd name="connsiteX6299" fmla="*/ 8942857 w 9154202"/>
                <a:gd name="connsiteY6299" fmla="*/ 119385 h 2112317"/>
                <a:gd name="connsiteX6300" fmla="*/ 8951526 w 9154202"/>
                <a:gd name="connsiteY6300" fmla="*/ 119385 h 2112317"/>
                <a:gd name="connsiteX6301" fmla="*/ 8954416 w 9154202"/>
                <a:gd name="connsiteY6301" fmla="*/ 118390 h 2112317"/>
                <a:gd name="connsiteX6302" fmla="*/ 8955711 w 9154202"/>
                <a:gd name="connsiteY6302" fmla="*/ 117296 h 2112317"/>
                <a:gd name="connsiteX6303" fmla="*/ 8959099 w 9154202"/>
                <a:gd name="connsiteY6303" fmla="*/ 115903 h 2112317"/>
                <a:gd name="connsiteX6304" fmla="*/ 8960494 w 9154202"/>
                <a:gd name="connsiteY6304" fmla="*/ 114709 h 2112317"/>
                <a:gd name="connsiteX6305" fmla="*/ 8966074 w 9154202"/>
                <a:gd name="connsiteY6305" fmla="*/ 108043 h 2112317"/>
                <a:gd name="connsiteX6306" fmla="*/ 8950430 w 9154202"/>
                <a:gd name="connsiteY6306" fmla="*/ 106850 h 2112317"/>
                <a:gd name="connsiteX6307" fmla="*/ 8950430 w 9154202"/>
                <a:gd name="connsiteY6307" fmla="*/ 106949 h 2112317"/>
                <a:gd name="connsiteX6308" fmla="*/ 8973847 w 9154202"/>
                <a:gd name="connsiteY6308" fmla="*/ 103367 h 2112317"/>
                <a:gd name="connsiteX6309" fmla="*/ 8993177 w 9154202"/>
                <a:gd name="connsiteY6309" fmla="*/ 106452 h 2112317"/>
                <a:gd name="connsiteX6310" fmla="*/ 8999853 w 9154202"/>
                <a:gd name="connsiteY6310" fmla="*/ 105755 h 2112317"/>
                <a:gd name="connsiteX6311" fmla="*/ 9003241 w 9154202"/>
                <a:gd name="connsiteY6311" fmla="*/ 104362 h 2112317"/>
                <a:gd name="connsiteX6312" fmla="*/ 9006131 w 9154202"/>
                <a:gd name="connsiteY6312" fmla="*/ 102373 h 2112317"/>
                <a:gd name="connsiteX6313" fmla="*/ 9011312 w 9154202"/>
                <a:gd name="connsiteY6313" fmla="*/ 97199 h 2112317"/>
                <a:gd name="connsiteX6314" fmla="*/ 9013305 w 9154202"/>
                <a:gd name="connsiteY6314" fmla="*/ 94414 h 2112317"/>
                <a:gd name="connsiteX6315" fmla="*/ 9014700 w 9154202"/>
                <a:gd name="connsiteY6315" fmla="*/ 91727 h 2112317"/>
                <a:gd name="connsiteX6316" fmla="*/ 9016294 w 9154202"/>
                <a:gd name="connsiteY6316" fmla="*/ 89439 h 2112317"/>
                <a:gd name="connsiteX6317" fmla="*/ 9018985 w 9154202"/>
                <a:gd name="connsiteY6317" fmla="*/ 87449 h 2112317"/>
                <a:gd name="connsiteX6318" fmla="*/ 9023768 w 9154202"/>
                <a:gd name="connsiteY6318" fmla="*/ 84962 h 2112317"/>
                <a:gd name="connsiteX6319" fmla="*/ 9025263 w 9154202"/>
                <a:gd name="connsiteY6319" fmla="*/ 83271 h 2112317"/>
                <a:gd name="connsiteX6320" fmla="*/ 9028551 w 9154202"/>
                <a:gd name="connsiteY6320" fmla="*/ 77401 h 2112317"/>
                <a:gd name="connsiteX6321" fmla="*/ 9030544 w 9154202"/>
                <a:gd name="connsiteY6321" fmla="*/ 75113 h 2112317"/>
                <a:gd name="connsiteX6322" fmla="*/ 9032935 w 9154202"/>
                <a:gd name="connsiteY6322" fmla="*/ 73223 h 2112317"/>
                <a:gd name="connsiteX6323" fmla="*/ 9035526 w 9154202"/>
                <a:gd name="connsiteY6323" fmla="*/ 71631 h 2112317"/>
                <a:gd name="connsiteX6324" fmla="*/ 9032536 w 9154202"/>
                <a:gd name="connsiteY6324" fmla="*/ 70139 h 2112317"/>
                <a:gd name="connsiteX6325" fmla="*/ 9030345 w 9154202"/>
                <a:gd name="connsiteY6325" fmla="*/ 71233 h 2112317"/>
                <a:gd name="connsiteX6326" fmla="*/ 9026956 w 9154202"/>
                <a:gd name="connsiteY6326" fmla="*/ 75312 h 2112317"/>
                <a:gd name="connsiteX6327" fmla="*/ 9024764 w 9154202"/>
                <a:gd name="connsiteY6327" fmla="*/ 76605 h 2112317"/>
                <a:gd name="connsiteX6328" fmla="*/ 9022373 w 9154202"/>
                <a:gd name="connsiteY6328" fmla="*/ 77401 h 2112317"/>
                <a:gd name="connsiteX6329" fmla="*/ 9019782 w 9154202"/>
                <a:gd name="connsiteY6329" fmla="*/ 77401 h 2112317"/>
                <a:gd name="connsiteX6330" fmla="*/ 9018089 w 9154202"/>
                <a:gd name="connsiteY6330" fmla="*/ 77401 h 2112317"/>
                <a:gd name="connsiteX6331" fmla="*/ 9016992 w 9154202"/>
                <a:gd name="connsiteY6331" fmla="*/ 77401 h 2112317"/>
                <a:gd name="connsiteX6332" fmla="*/ 9014900 w 9154202"/>
                <a:gd name="connsiteY6332" fmla="*/ 77401 h 2112317"/>
                <a:gd name="connsiteX6333" fmla="*/ 9013803 w 9154202"/>
                <a:gd name="connsiteY6333" fmla="*/ 77401 h 2112317"/>
                <a:gd name="connsiteX6334" fmla="*/ 9009818 w 9154202"/>
                <a:gd name="connsiteY6334" fmla="*/ 80784 h 2112317"/>
                <a:gd name="connsiteX6335" fmla="*/ 8999853 w 9154202"/>
                <a:gd name="connsiteY6335" fmla="*/ 85460 h 2112317"/>
                <a:gd name="connsiteX6336" fmla="*/ 8996067 w 9154202"/>
                <a:gd name="connsiteY6336" fmla="*/ 89041 h 2112317"/>
                <a:gd name="connsiteX6337" fmla="*/ 8994174 w 9154202"/>
                <a:gd name="connsiteY6337" fmla="*/ 89837 h 2112317"/>
                <a:gd name="connsiteX6338" fmla="*/ 8987697 w 9154202"/>
                <a:gd name="connsiteY6338" fmla="*/ 89837 h 2112317"/>
                <a:gd name="connsiteX6339" fmla="*/ 8985205 w 9154202"/>
                <a:gd name="connsiteY6339" fmla="*/ 89837 h 2112317"/>
                <a:gd name="connsiteX6340" fmla="*/ 8978829 w 9154202"/>
                <a:gd name="connsiteY6340" fmla="*/ 91628 h 2112317"/>
                <a:gd name="connsiteX6341" fmla="*/ 8960394 w 9154202"/>
                <a:gd name="connsiteY6341" fmla="*/ 98891 h 2112317"/>
                <a:gd name="connsiteX6342" fmla="*/ 8940465 w 9154202"/>
                <a:gd name="connsiteY6342" fmla="*/ 102273 h 2112317"/>
                <a:gd name="connsiteX6343" fmla="*/ 8917348 w 9154202"/>
                <a:gd name="connsiteY6343" fmla="*/ 108839 h 2112317"/>
                <a:gd name="connsiteX6344" fmla="*/ 8899810 w 9154202"/>
                <a:gd name="connsiteY6344" fmla="*/ 108839 h 2112317"/>
                <a:gd name="connsiteX6345" fmla="*/ 8891042 w 9154202"/>
                <a:gd name="connsiteY6345" fmla="*/ 111426 h 2112317"/>
                <a:gd name="connsiteX6346" fmla="*/ 8889547 w 9154202"/>
                <a:gd name="connsiteY6346" fmla="*/ 110730 h 2112317"/>
                <a:gd name="connsiteX6347" fmla="*/ 8889547 w 9154202"/>
                <a:gd name="connsiteY6347" fmla="*/ 107844 h 2112317"/>
                <a:gd name="connsiteX6348" fmla="*/ 8889547 w 9154202"/>
                <a:gd name="connsiteY6348" fmla="*/ 106949 h 2112317"/>
                <a:gd name="connsiteX6349" fmla="*/ 8888451 w 9154202"/>
                <a:gd name="connsiteY6349" fmla="*/ 106949 h 2112317"/>
                <a:gd name="connsiteX6350" fmla="*/ 8882074 w 9154202"/>
                <a:gd name="connsiteY6350" fmla="*/ 104860 h 2112317"/>
                <a:gd name="connsiteX6351" fmla="*/ 8880978 w 9154202"/>
                <a:gd name="connsiteY6351" fmla="*/ 103865 h 2112317"/>
                <a:gd name="connsiteX6352" fmla="*/ 8881875 w 9154202"/>
                <a:gd name="connsiteY6352" fmla="*/ 103865 h 2112317"/>
                <a:gd name="connsiteX6353" fmla="*/ 8882472 w 9154202"/>
                <a:gd name="connsiteY6353" fmla="*/ 102671 h 2112317"/>
                <a:gd name="connsiteX6354" fmla="*/ 8884964 w 9154202"/>
                <a:gd name="connsiteY6354" fmla="*/ 101577 h 2112317"/>
                <a:gd name="connsiteX6355" fmla="*/ 8890643 w 9154202"/>
                <a:gd name="connsiteY6355" fmla="*/ 100283 h 2112317"/>
                <a:gd name="connsiteX6356" fmla="*/ 8902800 w 9154202"/>
                <a:gd name="connsiteY6356" fmla="*/ 102771 h 2112317"/>
                <a:gd name="connsiteX6357" fmla="*/ 8905490 w 9154202"/>
                <a:gd name="connsiteY6357" fmla="*/ 102771 h 2112317"/>
                <a:gd name="connsiteX6358" fmla="*/ 8922031 w 9154202"/>
                <a:gd name="connsiteY6358" fmla="*/ 99686 h 2112317"/>
                <a:gd name="connsiteX6359" fmla="*/ 8926316 w 9154202"/>
                <a:gd name="connsiteY6359" fmla="*/ 96901 h 2112317"/>
                <a:gd name="connsiteX6360" fmla="*/ 8932294 w 9154202"/>
                <a:gd name="connsiteY6360" fmla="*/ 96105 h 2112317"/>
                <a:gd name="connsiteX6361" fmla="*/ 8936380 w 9154202"/>
                <a:gd name="connsiteY6361" fmla="*/ 93518 h 2112317"/>
                <a:gd name="connsiteX6362" fmla="*/ 8939369 w 9154202"/>
                <a:gd name="connsiteY6362" fmla="*/ 92523 h 2112317"/>
                <a:gd name="connsiteX6363" fmla="*/ 8955811 w 9154202"/>
                <a:gd name="connsiteY6363" fmla="*/ 90136 h 2112317"/>
                <a:gd name="connsiteX6364" fmla="*/ 8971355 w 9154202"/>
                <a:gd name="connsiteY6364" fmla="*/ 85360 h 2112317"/>
                <a:gd name="connsiteX6365" fmla="*/ 8990487 w 9154202"/>
                <a:gd name="connsiteY6365" fmla="*/ 85360 h 2112317"/>
                <a:gd name="connsiteX6366" fmla="*/ 8996366 w 9154202"/>
                <a:gd name="connsiteY6366" fmla="*/ 83370 h 2112317"/>
                <a:gd name="connsiteX6367" fmla="*/ 9011412 w 9154202"/>
                <a:gd name="connsiteY6367" fmla="*/ 74317 h 2112317"/>
                <a:gd name="connsiteX6368" fmla="*/ 9023369 w 9154202"/>
                <a:gd name="connsiteY6368" fmla="*/ 69741 h 2112317"/>
                <a:gd name="connsiteX6369" fmla="*/ 9041505 w 9154202"/>
                <a:gd name="connsiteY6369" fmla="*/ 66259 h 2112317"/>
                <a:gd name="connsiteX6370" fmla="*/ 9051469 w 9154202"/>
                <a:gd name="connsiteY6370" fmla="*/ 66259 h 2112317"/>
                <a:gd name="connsiteX6371" fmla="*/ 9053263 w 9154202"/>
                <a:gd name="connsiteY6371" fmla="*/ 66259 h 2112317"/>
                <a:gd name="connsiteX6372" fmla="*/ 9054358 w 9154202"/>
                <a:gd name="connsiteY6372" fmla="*/ 65065 h 2112317"/>
                <a:gd name="connsiteX6373" fmla="*/ 9054358 w 9154202"/>
                <a:gd name="connsiteY6373" fmla="*/ 64269 h 2112317"/>
                <a:gd name="connsiteX6374" fmla="*/ 9052665 w 9154202"/>
                <a:gd name="connsiteY6374" fmla="*/ 61483 h 2112317"/>
                <a:gd name="connsiteX6375" fmla="*/ 9052067 w 9154202"/>
                <a:gd name="connsiteY6375" fmla="*/ 60190 h 2112317"/>
                <a:gd name="connsiteX6376" fmla="*/ 9056451 w 9154202"/>
                <a:gd name="connsiteY6376" fmla="*/ 58200 h 2112317"/>
                <a:gd name="connsiteX6377" fmla="*/ 9058743 w 9154202"/>
                <a:gd name="connsiteY6377" fmla="*/ 58200 h 2112317"/>
                <a:gd name="connsiteX6378" fmla="*/ 9060736 w 9154202"/>
                <a:gd name="connsiteY6378" fmla="*/ 59394 h 2112317"/>
                <a:gd name="connsiteX6379" fmla="*/ 9063327 w 9154202"/>
                <a:gd name="connsiteY6379" fmla="*/ 57802 h 2112317"/>
                <a:gd name="connsiteX6380" fmla="*/ 9068807 w 9154202"/>
                <a:gd name="connsiteY6380" fmla="*/ 55414 h 2112317"/>
                <a:gd name="connsiteX6381" fmla="*/ 9071099 w 9154202"/>
                <a:gd name="connsiteY6381" fmla="*/ 53226 h 2112317"/>
                <a:gd name="connsiteX6382" fmla="*/ 9066017 w 9154202"/>
                <a:gd name="connsiteY6382" fmla="*/ 53226 h 2112317"/>
                <a:gd name="connsiteX6383" fmla="*/ 9055455 w 9154202"/>
                <a:gd name="connsiteY6383" fmla="*/ 56608 h 2112317"/>
                <a:gd name="connsiteX6384" fmla="*/ 9050273 w 9154202"/>
                <a:gd name="connsiteY6384" fmla="*/ 56608 h 2112317"/>
                <a:gd name="connsiteX6385" fmla="*/ 9052665 w 9154202"/>
                <a:gd name="connsiteY6385" fmla="*/ 54022 h 2112317"/>
                <a:gd name="connsiteX6386" fmla="*/ 9059640 w 9154202"/>
                <a:gd name="connsiteY6386" fmla="*/ 50540 h 2112317"/>
                <a:gd name="connsiteX6387" fmla="*/ 9059640 w 9154202"/>
                <a:gd name="connsiteY6387" fmla="*/ 47953 h 2112317"/>
                <a:gd name="connsiteX6388" fmla="*/ 9093718 w 9154202"/>
                <a:gd name="connsiteY6388" fmla="*/ 43277 h 2112317"/>
                <a:gd name="connsiteX6389" fmla="*/ 9095313 w 9154202"/>
                <a:gd name="connsiteY6389" fmla="*/ 42581 h 2112317"/>
                <a:gd name="connsiteX6390" fmla="*/ 9096907 w 9154202"/>
                <a:gd name="connsiteY6390" fmla="*/ 42581 h 2112317"/>
                <a:gd name="connsiteX6391" fmla="*/ 9098402 w 9154202"/>
                <a:gd name="connsiteY6391" fmla="*/ 43377 h 2112317"/>
                <a:gd name="connsiteX6392" fmla="*/ 9099298 w 9154202"/>
                <a:gd name="connsiteY6392" fmla="*/ 44272 h 2112317"/>
                <a:gd name="connsiteX6393" fmla="*/ 9100095 w 9154202"/>
                <a:gd name="connsiteY6393" fmla="*/ 44869 h 2112317"/>
                <a:gd name="connsiteX6394" fmla="*/ 9100992 w 9154202"/>
                <a:gd name="connsiteY6394" fmla="*/ 44869 h 2112317"/>
                <a:gd name="connsiteX6395" fmla="*/ 9102287 w 9154202"/>
                <a:gd name="connsiteY6395" fmla="*/ 44869 h 2112317"/>
                <a:gd name="connsiteX6396" fmla="*/ 9103882 w 9154202"/>
                <a:gd name="connsiteY6396" fmla="*/ 44869 h 2112317"/>
                <a:gd name="connsiteX6397" fmla="*/ 9106174 w 9154202"/>
                <a:gd name="connsiteY6397" fmla="*/ 43377 h 2112317"/>
                <a:gd name="connsiteX6398" fmla="*/ 9107569 w 9154202"/>
                <a:gd name="connsiteY6398" fmla="*/ 43377 h 2112317"/>
                <a:gd name="connsiteX6399" fmla="*/ 9108964 w 9154202"/>
                <a:gd name="connsiteY6399" fmla="*/ 43377 h 2112317"/>
                <a:gd name="connsiteX6400" fmla="*/ 9111355 w 9154202"/>
                <a:gd name="connsiteY6400" fmla="*/ 44172 h 2112317"/>
                <a:gd name="connsiteX6401" fmla="*/ 9122416 w 9154202"/>
                <a:gd name="connsiteY6401" fmla="*/ 45963 h 2112317"/>
                <a:gd name="connsiteX6402" fmla="*/ 9125704 w 9154202"/>
                <a:gd name="connsiteY6402" fmla="*/ 45963 h 2112317"/>
                <a:gd name="connsiteX6403" fmla="*/ 9127996 w 9154202"/>
                <a:gd name="connsiteY6403" fmla="*/ 45267 h 2112317"/>
                <a:gd name="connsiteX6404" fmla="*/ 9133974 w 9154202"/>
                <a:gd name="connsiteY6404" fmla="*/ 42183 h 2112317"/>
                <a:gd name="connsiteX6405" fmla="*/ 9135768 w 9154202"/>
                <a:gd name="connsiteY6405" fmla="*/ 40491 h 2112317"/>
                <a:gd name="connsiteX6406" fmla="*/ 9141049 w 9154202"/>
                <a:gd name="connsiteY6406" fmla="*/ 37905 h 2112317"/>
                <a:gd name="connsiteX6407" fmla="*/ 9142544 w 9154202"/>
                <a:gd name="connsiteY6407" fmla="*/ 36114 h 2112317"/>
                <a:gd name="connsiteX6408" fmla="*/ 9139654 w 9154202"/>
                <a:gd name="connsiteY6408" fmla="*/ 33826 h 2112317"/>
                <a:gd name="connsiteX6409" fmla="*/ 9141149 w 9154202"/>
                <a:gd name="connsiteY6409" fmla="*/ 32731 h 2112317"/>
                <a:gd name="connsiteX6410" fmla="*/ 9144935 w 9154202"/>
                <a:gd name="connsiteY6410" fmla="*/ 30841 h 2112317"/>
                <a:gd name="connsiteX6411" fmla="*/ 9147027 w 9154202"/>
                <a:gd name="connsiteY6411" fmla="*/ 30841 h 2112317"/>
                <a:gd name="connsiteX6412" fmla="*/ 9149818 w 9154202"/>
                <a:gd name="connsiteY6412" fmla="*/ 30841 h 2112317"/>
                <a:gd name="connsiteX6413" fmla="*/ 9151313 w 9154202"/>
                <a:gd name="connsiteY6413" fmla="*/ 32532 h 2112317"/>
                <a:gd name="connsiteX6414" fmla="*/ 9153006 w 9154202"/>
                <a:gd name="connsiteY6414" fmla="*/ 33229 h 2112317"/>
                <a:gd name="connsiteX6415" fmla="*/ 9154003 w 9154202"/>
                <a:gd name="connsiteY6415" fmla="*/ 32333 h 2112317"/>
                <a:gd name="connsiteX6416" fmla="*/ 9154003 w 9154202"/>
                <a:gd name="connsiteY6416" fmla="*/ 30045 h 2112317"/>
                <a:gd name="connsiteX6417" fmla="*/ 9154003 w 9154202"/>
                <a:gd name="connsiteY6417" fmla="*/ 30045 h 2112317"/>
                <a:gd name="connsiteX6418" fmla="*/ 9151412 w 9154202"/>
                <a:gd name="connsiteY6418" fmla="*/ 28752 h 2112317"/>
                <a:gd name="connsiteX6419" fmla="*/ 9147327 w 9154202"/>
                <a:gd name="connsiteY6419" fmla="*/ 28752 h 2112317"/>
                <a:gd name="connsiteX6420" fmla="*/ 9121519 w 9154202"/>
                <a:gd name="connsiteY6420" fmla="*/ 28752 h 2112317"/>
                <a:gd name="connsiteX6421" fmla="*/ 9118928 w 9154202"/>
                <a:gd name="connsiteY6421" fmla="*/ 27061 h 2112317"/>
                <a:gd name="connsiteX6422" fmla="*/ 9125006 w 9154202"/>
                <a:gd name="connsiteY6422" fmla="*/ 24673 h 2112317"/>
                <a:gd name="connsiteX6423" fmla="*/ 9152907 w 9154202"/>
                <a:gd name="connsiteY6423" fmla="*/ 24673 h 2112317"/>
                <a:gd name="connsiteX6424" fmla="*/ 9154202 w 9154202"/>
                <a:gd name="connsiteY6424" fmla="*/ 24673 h 2112317"/>
                <a:gd name="connsiteX6425" fmla="*/ 9154202 w 9154202"/>
                <a:gd name="connsiteY6425" fmla="*/ 22484 h 2112317"/>
                <a:gd name="connsiteX6426" fmla="*/ 9151313 w 9154202"/>
                <a:gd name="connsiteY6426" fmla="*/ 22484 h 2112317"/>
                <a:gd name="connsiteX6427" fmla="*/ 9145135 w 9154202"/>
                <a:gd name="connsiteY6427" fmla="*/ 22484 h 2112317"/>
                <a:gd name="connsiteX6428" fmla="*/ 9142344 w 9154202"/>
                <a:gd name="connsiteY6428" fmla="*/ 21390 h 2112317"/>
                <a:gd name="connsiteX6429" fmla="*/ 9141846 w 9154202"/>
                <a:gd name="connsiteY6429" fmla="*/ 18505 h 2112317"/>
                <a:gd name="connsiteX6430" fmla="*/ 9144038 w 9154202"/>
                <a:gd name="connsiteY6430" fmla="*/ 15321 h 2112317"/>
                <a:gd name="connsiteX6431" fmla="*/ 9144038 w 9154202"/>
                <a:gd name="connsiteY6431" fmla="*/ 12834 h 2112317"/>
                <a:gd name="connsiteX6432" fmla="*/ 9149518 w 9154202"/>
                <a:gd name="connsiteY6432" fmla="*/ 9352 h 2112317"/>
                <a:gd name="connsiteX6433" fmla="*/ 9153206 w 9154202"/>
                <a:gd name="connsiteY6433" fmla="*/ 8456 h 2112317"/>
                <a:gd name="connsiteX6434" fmla="*/ 9153206 w 9154202"/>
                <a:gd name="connsiteY6434" fmla="*/ 10745 h 2112317"/>
                <a:gd name="connsiteX6435" fmla="*/ 9151711 w 9154202"/>
                <a:gd name="connsiteY6435" fmla="*/ 12635 h 2112317"/>
                <a:gd name="connsiteX6436" fmla="*/ 9153405 w 9154202"/>
                <a:gd name="connsiteY6436" fmla="*/ 14625 h 2112317"/>
                <a:gd name="connsiteX6437" fmla="*/ 9153405 w 9154202"/>
                <a:gd name="connsiteY6437" fmla="*/ 14625 h 2112317"/>
                <a:gd name="connsiteX6438" fmla="*/ 9153405 w 9154202"/>
                <a:gd name="connsiteY6438" fmla="*/ 13630 h 2112317"/>
                <a:gd name="connsiteX6439" fmla="*/ 9153405 w 9154202"/>
                <a:gd name="connsiteY6439" fmla="*/ 13630 h 2112317"/>
                <a:gd name="connsiteX6440" fmla="*/ 9153405 w 9154202"/>
                <a:gd name="connsiteY6440" fmla="*/ 12834 h 2112317"/>
                <a:gd name="connsiteX6441" fmla="*/ 9153405 w 9154202"/>
                <a:gd name="connsiteY6441" fmla="*/ 12834 h 2112317"/>
                <a:gd name="connsiteX6442" fmla="*/ 9153405 w 9154202"/>
                <a:gd name="connsiteY6442" fmla="*/ 796 h 2112317"/>
                <a:gd name="connsiteX6443" fmla="*/ 9152409 w 9154202"/>
                <a:gd name="connsiteY6443" fmla="*/ 796 h 2112317"/>
                <a:gd name="connsiteX6444" fmla="*/ 9151213 w 9154202"/>
                <a:gd name="connsiteY6444" fmla="*/ 796 h 2112317"/>
                <a:gd name="connsiteX6445" fmla="*/ 9151213 w 9154202"/>
                <a:gd name="connsiteY6445" fmla="*/ 796 h 2112317"/>
                <a:gd name="connsiteX6446" fmla="*/ 6344638 w 9154202"/>
                <a:gd name="connsiteY6446" fmla="*/ 796 h 2112317"/>
                <a:gd name="connsiteX6447" fmla="*/ 4231685 w 9154202"/>
                <a:gd name="connsiteY6447" fmla="*/ 600407 h 2112317"/>
                <a:gd name="connsiteX6448" fmla="*/ 4230589 w 9154202"/>
                <a:gd name="connsiteY6448" fmla="*/ 600407 h 2112317"/>
                <a:gd name="connsiteX6449" fmla="*/ 4227799 w 9154202"/>
                <a:gd name="connsiteY6449" fmla="*/ 599710 h 2112317"/>
                <a:gd name="connsiteX6450" fmla="*/ 4224909 w 9154202"/>
                <a:gd name="connsiteY6450" fmla="*/ 600407 h 2112317"/>
                <a:gd name="connsiteX6451" fmla="*/ 4222418 w 9154202"/>
                <a:gd name="connsiteY6451" fmla="*/ 601600 h 2112317"/>
                <a:gd name="connsiteX6452" fmla="*/ 4220525 w 9154202"/>
                <a:gd name="connsiteY6452" fmla="*/ 603690 h 2112317"/>
                <a:gd name="connsiteX6453" fmla="*/ 4219130 w 9154202"/>
                <a:gd name="connsiteY6453" fmla="*/ 607072 h 2112317"/>
                <a:gd name="connsiteX6454" fmla="*/ 4221422 w 9154202"/>
                <a:gd name="connsiteY6454" fmla="*/ 608266 h 2112317"/>
                <a:gd name="connsiteX6455" fmla="*/ 4223315 w 9154202"/>
                <a:gd name="connsiteY6455" fmla="*/ 610256 h 2112317"/>
                <a:gd name="connsiteX6456" fmla="*/ 4224710 w 9154202"/>
                <a:gd name="connsiteY6456" fmla="*/ 612843 h 2112317"/>
                <a:gd name="connsiteX6457" fmla="*/ 4225906 w 9154202"/>
                <a:gd name="connsiteY6457" fmla="*/ 615131 h 2112317"/>
                <a:gd name="connsiteX6458" fmla="*/ 4215941 w 9154202"/>
                <a:gd name="connsiteY6458" fmla="*/ 614434 h 2112317"/>
                <a:gd name="connsiteX6459" fmla="*/ 4213450 w 9154202"/>
                <a:gd name="connsiteY6459" fmla="*/ 615131 h 2112317"/>
                <a:gd name="connsiteX6460" fmla="*/ 4211358 w 9154202"/>
                <a:gd name="connsiteY6460" fmla="*/ 617916 h 2112317"/>
                <a:gd name="connsiteX6461" fmla="*/ 4211358 w 9154202"/>
                <a:gd name="connsiteY6461" fmla="*/ 621001 h 2112317"/>
                <a:gd name="connsiteX6462" fmla="*/ 4213450 w 9154202"/>
                <a:gd name="connsiteY6462" fmla="*/ 626970 h 2112317"/>
                <a:gd name="connsiteX6463" fmla="*/ 4215045 w 9154202"/>
                <a:gd name="connsiteY6463" fmla="*/ 633735 h 2112317"/>
                <a:gd name="connsiteX6464" fmla="*/ 4220226 w 9154202"/>
                <a:gd name="connsiteY6464" fmla="*/ 673530 h 2112317"/>
                <a:gd name="connsiteX6465" fmla="*/ 4220226 w 9154202"/>
                <a:gd name="connsiteY6465" fmla="*/ 677509 h 2112317"/>
                <a:gd name="connsiteX6466" fmla="*/ 4217037 w 9154202"/>
                <a:gd name="connsiteY6466" fmla="*/ 682484 h 2112317"/>
                <a:gd name="connsiteX6467" fmla="*/ 4216439 w 9154202"/>
                <a:gd name="connsiteY6467" fmla="*/ 684175 h 2112317"/>
                <a:gd name="connsiteX6468" fmla="*/ 4216938 w 9154202"/>
                <a:gd name="connsiteY6468" fmla="*/ 685966 h 2112317"/>
                <a:gd name="connsiteX6469" fmla="*/ 4220625 w 9154202"/>
                <a:gd name="connsiteY6469" fmla="*/ 691736 h 2112317"/>
                <a:gd name="connsiteX6470" fmla="*/ 4227301 w 9154202"/>
                <a:gd name="connsiteY6470" fmla="*/ 699496 h 2112317"/>
                <a:gd name="connsiteX6471" fmla="*/ 4214945 w 9154202"/>
                <a:gd name="connsiteY6471" fmla="*/ 699496 h 2112317"/>
                <a:gd name="connsiteX6472" fmla="*/ 4211258 w 9154202"/>
                <a:gd name="connsiteY6472" fmla="*/ 698501 h 2112317"/>
                <a:gd name="connsiteX6473" fmla="*/ 4207870 w 9154202"/>
                <a:gd name="connsiteY6473" fmla="*/ 696412 h 2112317"/>
                <a:gd name="connsiteX6474" fmla="*/ 4204183 w 9154202"/>
                <a:gd name="connsiteY6474" fmla="*/ 693029 h 2112317"/>
                <a:gd name="connsiteX6475" fmla="*/ 4201094 w 9154202"/>
                <a:gd name="connsiteY6475" fmla="*/ 688652 h 2112317"/>
                <a:gd name="connsiteX6476" fmla="*/ 4199101 w 9154202"/>
                <a:gd name="connsiteY6476" fmla="*/ 681190 h 2112317"/>
                <a:gd name="connsiteX6477" fmla="*/ 4197108 w 9154202"/>
                <a:gd name="connsiteY6477" fmla="*/ 681190 h 2112317"/>
                <a:gd name="connsiteX6478" fmla="*/ 4195116 w 9154202"/>
                <a:gd name="connsiteY6478" fmla="*/ 682484 h 2112317"/>
                <a:gd name="connsiteX6479" fmla="*/ 4193820 w 9154202"/>
                <a:gd name="connsiteY6479" fmla="*/ 684474 h 2112317"/>
                <a:gd name="connsiteX6480" fmla="*/ 4193820 w 9154202"/>
                <a:gd name="connsiteY6480" fmla="*/ 686762 h 2112317"/>
                <a:gd name="connsiteX6481" fmla="*/ 4194318 w 9154202"/>
                <a:gd name="connsiteY6481" fmla="*/ 689547 h 2112317"/>
                <a:gd name="connsiteX6482" fmla="*/ 4194318 w 9154202"/>
                <a:gd name="connsiteY6482" fmla="*/ 691836 h 2112317"/>
                <a:gd name="connsiteX6483" fmla="*/ 4192625 w 9154202"/>
                <a:gd name="connsiteY6483" fmla="*/ 692830 h 2112317"/>
                <a:gd name="connsiteX6484" fmla="*/ 4190133 w 9154202"/>
                <a:gd name="connsiteY6484" fmla="*/ 692830 h 2112317"/>
                <a:gd name="connsiteX6485" fmla="*/ 4189336 w 9154202"/>
                <a:gd name="connsiteY6485" fmla="*/ 693427 h 2112317"/>
                <a:gd name="connsiteX6486" fmla="*/ 4189336 w 9154202"/>
                <a:gd name="connsiteY6486" fmla="*/ 702083 h 2112317"/>
                <a:gd name="connsiteX6487" fmla="*/ 4189336 w 9154202"/>
                <a:gd name="connsiteY6487" fmla="*/ 704073 h 2112317"/>
                <a:gd name="connsiteX6488" fmla="*/ 4190432 w 9154202"/>
                <a:gd name="connsiteY6488" fmla="*/ 706659 h 2112317"/>
                <a:gd name="connsiteX6489" fmla="*/ 4187642 w 9154202"/>
                <a:gd name="connsiteY6489" fmla="*/ 709345 h 2112317"/>
                <a:gd name="connsiteX6490" fmla="*/ 4186447 w 9154202"/>
                <a:gd name="connsiteY6490" fmla="*/ 711236 h 2112317"/>
                <a:gd name="connsiteX6491" fmla="*/ 4186447 w 9154202"/>
                <a:gd name="connsiteY6491" fmla="*/ 713723 h 2112317"/>
                <a:gd name="connsiteX6492" fmla="*/ 4192724 w 9154202"/>
                <a:gd name="connsiteY6492" fmla="*/ 723672 h 2112317"/>
                <a:gd name="connsiteX6493" fmla="*/ 4192724 w 9154202"/>
                <a:gd name="connsiteY6493" fmla="*/ 726457 h 2112317"/>
                <a:gd name="connsiteX6494" fmla="*/ 4188041 w 9154202"/>
                <a:gd name="connsiteY6494" fmla="*/ 732625 h 2112317"/>
                <a:gd name="connsiteX6495" fmla="*/ 4182361 w 9154202"/>
                <a:gd name="connsiteY6495" fmla="*/ 737500 h 2112317"/>
                <a:gd name="connsiteX6496" fmla="*/ 4175087 w 9154202"/>
                <a:gd name="connsiteY6496" fmla="*/ 739689 h 2112317"/>
                <a:gd name="connsiteX6497" fmla="*/ 4167415 w 9154202"/>
                <a:gd name="connsiteY6497" fmla="*/ 739689 h 2112317"/>
                <a:gd name="connsiteX6498" fmla="*/ 4150276 w 9154202"/>
                <a:gd name="connsiteY6498" fmla="*/ 734416 h 2112317"/>
                <a:gd name="connsiteX6499" fmla="*/ 4148681 w 9154202"/>
                <a:gd name="connsiteY6499" fmla="*/ 732824 h 2112317"/>
                <a:gd name="connsiteX6500" fmla="*/ 4146888 w 9154202"/>
                <a:gd name="connsiteY6500" fmla="*/ 726358 h 2112317"/>
                <a:gd name="connsiteX6501" fmla="*/ 4146390 w 9154202"/>
                <a:gd name="connsiteY6501" fmla="*/ 721682 h 2112317"/>
                <a:gd name="connsiteX6502" fmla="*/ 4146390 w 9154202"/>
                <a:gd name="connsiteY6502" fmla="*/ 720488 h 2112317"/>
                <a:gd name="connsiteX6503" fmla="*/ 4142404 w 9154202"/>
                <a:gd name="connsiteY6503" fmla="*/ 710539 h 2112317"/>
                <a:gd name="connsiteX6504" fmla="*/ 4142404 w 9154202"/>
                <a:gd name="connsiteY6504" fmla="*/ 708848 h 2112317"/>
                <a:gd name="connsiteX6505" fmla="*/ 4143201 w 9154202"/>
                <a:gd name="connsiteY6505" fmla="*/ 708152 h 2112317"/>
                <a:gd name="connsiteX6506" fmla="*/ 4144596 w 9154202"/>
                <a:gd name="connsiteY6506" fmla="*/ 706560 h 2112317"/>
                <a:gd name="connsiteX6507" fmla="*/ 4145792 w 9154202"/>
                <a:gd name="connsiteY6507" fmla="*/ 704670 h 2112317"/>
                <a:gd name="connsiteX6508" fmla="*/ 4146390 w 9154202"/>
                <a:gd name="connsiteY6508" fmla="*/ 703078 h 2112317"/>
                <a:gd name="connsiteX6509" fmla="*/ 4145692 w 9154202"/>
                <a:gd name="connsiteY6509" fmla="*/ 702182 h 2112317"/>
                <a:gd name="connsiteX6510" fmla="*/ 4142703 w 9154202"/>
                <a:gd name="connsiteY6510" fmla="*/ 700292 h 2112317"/>
                <a:gd name="connsiteX6511" fmla="*/ 4141906 w 9154202"/>
                <a:gd name="connsiteY6511" fmla="*/ 699596 h 2112317"/>
                <a:gd name="connsiteX6512" fmla="*/ 4141906 w 9154202"/>
                <a:gd name="connsiteY6512" fmla="*/ 697705 h 2112317"/>
                <a:gd name="connsiteX6513" fmla="*/ 4141906 w 9154202"/>
                <a:gd name="connsiteY6513" fmla="*/ 693726 h 2112317"/>
                <a:gd name="connsiteX6514" fmla="*/ 4141906 w 9154202"/>
                <a:gd name="connsiteY6514" fmla="*/ 691935 h 2112317"/>
                <a:gd name="connsiteX6515" fmla="*/ 4141208 w 9154202"/>
                <a:gd name="connsiteY6515" fmla="*/ 690642 h 2112317"/>
                <a:gd name="connsiteX6516" fmla="*/ 4141208 w 9154202"/>
                <a:gd name="connsiteY6516" fmla="*/ 689249 h 2112317"/>
                <a:gd name="connsiteX6517" fmla="*/ 4141208 w 9154202"/>
                <a:gd name="connsiteY6517" fmla="*/ 687657 h 2112317"/>
                <a:gd name="connsiteX6518" fmla="*/ 4141208 w 9154202"/>
                <a:gd name="connsiteY6518" fmla="*/ 686065 h 2112317"/>
                <a:gd name="connsiteX6519" fmla="*/ 4141208 w 9154202"/>
                <a:gd name="connsiteY6519" fmla="*/ 684275 h 2112317"/>
                <a:gd name="connsiteX6520" fmla="*/ 4142603 w 9154202"/>
                <a:gd name="connsiteY6520" fmla="*/ 679798 h 2112317"/>
                <a:gd name="connsiteX6521" fmla="*/ 4142603 w 9154202"/>
                <a:gd name="connsiteY6521" fmla="*/ 678106 h 2112317"/>
                <a:gd name="connsiteX6522" fmla="*/ 4142603 w 9154202"/>
                <a:gd name="connsiteY6522" fmla="*/ 674425 h 2112317"/>
                <a:gd name="connsiteX6523" fmla="*/ 4142603 w 9154202"/>
                <a:gd name="connsiteY6523" fmla="*/ 672833 h 2112317"/>
                <a:gd name="connsiteX6524" fmla="*/ 4144197 w 9154202"/>
                <a:gd name="connsiteY6524" fmla="*/ 669153 h 2112317"/>
                <a:gd name="connsiteX6525" fmla="*/ 4145792 w 9154202"/>
                <a:gd name="connsiteY6525" fmla="*/ 666964 h 2112317"/>
                <a:gd name="connsiteX6526" fmla="*/ 4145792 w 9154202"/>
                <a:gd name="connsiteY6526" fmla="*/ 664576 h 2112317"/>
                <a:gd name="connsiteX6527" fmla="*/ 4142205 w 9154202"/>
                <a:gd name="connsiteY6527" fmla="*/ 657413 h 2112317"/>
                <a:gd name="connsiteX6528" fmla="*/ 4142205 w 9154202"/>
                <a:gd name="connsiteY6528" fmla="*/ 654528 h 2112317"/>
                <a:gd name="connsiteX6529" fmla="*/ 4142902 w 9154202"/>
                <a:gd name="connsiteY6529" fmla="*/ 651444 h 2112317"/>
                <a:gd name="connsiteX6530" fmla="*/ 4144496 w 9154202"/>
                <a:gd name="connsiteY6530" fmla="*/ 648061 h 2112317"/>
                <a:gd name="connsiteX6531" fmla="*/ 4149977 w 9154202"/>
                <a:gd name="connsiteY6531" fmla="*/ 639008 h 2112317"/>
                <a:gd name="connsiteX6532" fmla="*/ 4150674 w 9154202"/>
                <a:gd name="connsiteY6532" fmla="*/ 635824 h 2112317"/>
                <a:gd name="connsiteX6533" fmla="*/ 4150076 w 9154202"/>
                <a:gd name="connsiteY6533" fmla="*/ 634531 h 2112317"/>
                <a:gd name="connsiteX6534" fmla="*/ 4148383 w 9154202"/>
                <a:gd name="connsiteY6534" fmla="*/ 632641 h 2112317"/>
                <a:gd name="connsiteX6535" fmla="*/ 4146190 w 9154202"/>
                <a:gd name="connsiteY6535" fmla="*/ 633337 h 2112317"/>
                <a:gd name="connsiteX6536" fmla="*/ 4140311 w 9154202"/>
                <a:gd name="connsiteY6536" fmla="*/ 633337 h 2112317"/>
                <a:gd name="connsiteX6537" fmla="*/ 4138019 w 9154202"/>
                <a:gd name="connsiteY6537" fmla="*/ 628462 h 2112317"/>
                <a:gd name="connsiteX6538" fmla="*/ 4139116 w 9154202"/>
                <a:gd name="connsiteY6538" fmla="*/ 625279 h 2112317"/>
                <a:gd name="connsiteX6539" fmla="*/ 4141308 w 9154202"/>
                <a:gd name="connsiteY6539" fmla="*/ 623488 h 2112317"/>
                <a:gd name="connsiteX6540" fmla="*/ 4143998 w 9154202"/>
                <a:gd name="connsiteY6540" fmla="*/ 622692 h 2112317"/>
                <a:gd name="connsiteX6541" fmla="*/ 4145194 w 9154202"/>
                <a:gd name="connsiteY6541" fmla="*/ 622692 h 2112317"/>
                <a:gd name="connsiteX6542" fmla="*/ 4147187 w 9154202"/>
                <a:gd name="connsiteY6542" fmla="*/ 621001 h 2112317"/>
                <a:gd name="connsiteX6543" fmla="*/ 4148781 w 9154202"/>
                <a:gd name="connsiteY6543" fmla="*/ 617220 h 2112317"/>
                <a:gd name="connsiteX6544" fmla="*/ 4150774 w 9154202"/>
                <a:gd name="connsiteY6544" fmla="*/ 609758 h 2112317"/>
                <a:gd name="connsiteX6545" fmla="*/ 4152069 w 9154202"/>
                <a:gd name="connsiteY6545" fmla="*/ 606376 h 2112317"/>
                <a:gd name="connsiteX6546" fmla="*/ 4154062 w 9154202"/>
                <a:gd name="connsiteY6546" fmla="*/ 602794 h 2112317"/>
                <a:gd name="connsiteX6547" fmla="*/ 4156553 w 9154202"/>
                <a:gd name="connsiteY6547" fmla="*/ 600506 h 2112317"/>
                <a:gd name="connsiteX6548" fmla="*/ 4159543 w 9154202"/>
                <a:gd name="connsiteY6548" fmla="*/ 600506 h 2112317"/>
                <a:gd name="connsiteX6549" fmla="*/ 4162432 w 9154202"/>
                <a:gd name="connsiteY6549" fmla="*/ 601103 h 2112317"/>
                <a:gd name="connsiteX6550" fmla="*/ 4163927 w 9154202"/>
                <a:gd name="connsiteY6550" fmla="*/ 601103 h 2112317"/>
                <a:gd name="connsiteX6551" fmla="*/ 4169009 w 9154202"/>
                <a:gd name="connsiteY6551" fmla="*/ 594935 h 2112317"/>
                <a:gd name="connsiteX6552" fmla="*/ 4171301 w 9154202"/>
                <a:gd name="connsiteY6552" fmla="*/ 593045 h 2112317"/>
                <a:gd name="connsiteX6553" fmla="*/ 4177180 w 9154202"/>
                <a:gd name="connsiteY6553" fmla="*/ 591950 h 2112317"/>
                <a:gd name="connsiteX6554" fmla="*/ 4179770 w 9154202"/>
                <a:gd name="connsiteY6554" fmla="*/ 590756 h 2112317"/>
                <a:gd name="connsiteX6555" fmla="*/ 4180368 w 9154202"/>
                <a:gd name="connsiteY6555" fmla="*/ 589463 h 2112317"/>
                <a:gd name="connsiteX6556" fmla="*/ 4180966 w 9154202"/>
                <a:gd name="connsiteY6556" fmla="*/ 587374 h 2112317"/>
                <a:gd name="connsiteX6557" fmla="*/ 4181664 w 9154202"/>
                <a:gd name="connsiteY6557" fmla="*/ 585583 h 2112317"/>
                <a:gd name="connsiteX6558" fmla="*/ 4182859 w 9154202"/>
                <a:gd name="connsiteY6558" fmla="*/ 584787 h 2112317"/>
                <a:gd name="connsiteX6559" fmla="*/ 4183557 w 9154202"/>
                <a:gd name="connsiteY6559" fmla="*/ 584091 h 2112317"/>
                <a:gd name="connsiteX6560" fmla="*/ 4186347 w 9154202"/>
                <a:gd name="connsiteY6560" fmla="*/ 579614 h 2112317"/>
                <a:gd name="connsiteX6561" fmla="*/ 4187343 w 9154202"/>
                <a:gd name="connsiteY6561" fmla="*/ 576331 h 2112317"/>
                <a:gd name="connsiteX6562" fmla="*/ 4185052 w 9154202"/>
                <a:gd name="connsiteY6562" fmla="*/ 575137 h 2112317"/>
                <a:gd name="connsiteX6563" fmla="*/ 4181564 w 9154202"/>
                <a:gd name="connsiteY6563" fmla="*/ 575833 h 2112317"/>
                <a:gd name="connsiteX6564" fmla="*/ 4178973 w 9154202"/>
                <a:gd name="connsiteY6564" fmla="*/ 577823 h 2112317"/>
                <a:gd name="connsiteX6565" fmla="*/ 4179770 w 9154202"/>
                <a:gd name="connsiteY6565" fmla="*/ 576729 h 2112317"/>
                <a:gd name="connsiteX6566" fmla="*/ 4178774 w 9154202"/>
                <a:gd name="connsiteY6566" fmla="*/ 577624 h 2112317"/>
                <a:gd name="connsiteX6567" fmla="*/ 4177678 w 9154202"/>
                <a:gd name="connsiteY6567" fmla="*/ 577624 h 2112317"/>
                <a:gd name="connsiteX6568" fmla="*/ 4176582 w 9154202"/>
                <a:gd name="connsiteY6568" fmla="*/ 577624 h 2112317"/>
                <a:gd name="connsiteX6569" fmla="*/ 4175486 w 9154202"/>
                <a:gd name="connsiteY6569" fmla="*/ 576729 h 2112317"/>
                <a:gd name="connsiteX6570" fmla="*/ 4176681 w 9154202"/>
                <a:gd name="connsiteY6570" fmla="*/ 574938 h 2112317"/>
                <a:gd name="connsiteX6571" fmla="*/ 4176681 w 9154202"/>
                <a:gd name="connsiteY6571" fmla="*/ 573346 h 2112317"/>
                <a:gd name="connsiteX6572" fmla="*/ 4175486 w 9154202"/>
                <a:gd name="connsiteY6572" fmla="*/ 572351 h 2112317"/>
                <a:gd name="connsiteX6573" fmla="*/ 4174091 w 9154202"/>
                <a:gd name="connsiteY6573" fmla="*/ 572351 h 2112317"/>
                <a:gd name="connsiteX6574" fmla="*/ 4172098 w 9154202"/>
                <a:gd name="connsiteY6574" fmla="*/ 572351 h 2112317"/>
                <a:gd name="connsiteX6575" fmla="*/ 4168909 w 9154202"/>
                <a:gd name="connsiteY6575" fmla="*/ 575336 h 2112317"/>
                <a:gd name="connsiteX6576" fmla="*/ 4167116 w 9154202"/>
                <a:gd name="connsiteY6576" fmla="*/ 576530 h 2112317"/>
                <a:gd name="connsiteX6577" fmla="*/ 4167116 w 9154202"/>
                <a:gd name="connsiteY6577" fmla="*/ 580410 h 2112317"/>
                <a:gd name="connsiteX6578" fmla="*/ 4164425 w 9154202"/>
                <a:gd name="connsiteY6578" fmla="*/ 585086 h 2112317"/>
                <a:gd name="connsiteX6579" fmla="*/ 4152368 w 9154202"/>
                <a:gd name="connsiteY6579" fmla="*/ 599014 h 2112317"/>
                <a:gd name="connsiteX6580" fmla="*/ 4148881 w 9154202"/>
                <a:gd name="connsiteY6580" fmla="*/ 601700 h 2112317"/>
                <a:gd name="connsiteX6581" fmla="*/ 4144895 w 9154202"/>
                <a:gd name="connsiteY6581" fmla="*/ 603491 h 2112317"/>
                <a:gd name="connsiteX6582" fmla="*/ 4141108 w 9154202"/>
                <a:gd name="connsiteY6582" fmla="*/ 602894 h 2112317"/>
                <a:gd name="connsiteX6583" fmla="*/ 4140311 w 9154202"/>
                <a:gd name="connsiteY6583" fmla="*/ 599312 h 2112317"/>
                <a:gd name="connsiteX6584" fmla="*/ 4141407 w 9154202"/>
                <a:gd name="connsiteY6584" fmla="*/ 589960 h 2112317"/>
                <a:gd name="connsiteX6585" fmla="*/ 4143799 w 9154202"/>
                <a:gd name="connsiteY6585" fmla="*/ 586080 h 2112317"/>
                <a:gd name="connsiteX6586" fmla="*/ 4147984 w 9154202"/>
                <a:gd name="connsiteY6586" fmla="*/ 582499 h 2112317"/>
                <a:gd name="connsiteX6587" fmla="*/ 4150475 w 9154202"/>
                <a:gd name="connsiteY6587" fmla="*/ 579216 h 2112317"/>
                <a:gd name="connsiteX6588" fmla="*/ 4147486 w 9154202"/>
                <a:gd name="connsiteY6588" fmla="*/ 576530 h 2112317"/>
                <a:gd name="connsiteX6589" fmla="*/ 4155357 w 9154202"/>
                <a:gd name="connsiteY6589" fmla="*/ 564193 h 2112317"/>
                <a:gd name="connsiteX6590" fmla="*/ 4160738 w 9154202"/>
                <a:gd name="connsiteY6590" fmla="*/ 560413 h 2112317"/>
                <a:gd name="connsiteX6591" fmla="*/ 4163927 w 9154202"/>
                <a:gd name="connsiteY6591" fmla="*/ 551359 h 2112317"/>
                <a:gd name="connsiteX6592" fmla="*/ 4167016 w 9154202"/>
                <a:gd name="connsiteY6592" fmla="*/ 549370 h 2112317"/>
                <a:gd name="connsiteX6593" fmla="*/ 4169009 w 9154202"/>
                <a:gd name="connsiteY6593" fmla="*/ 547579 h 2112317"/>
                <a:gd name="connsiteX6594" fmla="*/ 4171101 w 9154202"/>
                <a:gd name="connsiteY6594" fmla="*/ 543500 h 2112317"/>
                <a:gd name="connsiteX6595" fmla="*/ 4172795 w 9154202"/>
                <a:gd name="connsiteY6595" fmla="*/ 538724 h 2112317"/>
                <a:gd name="connsiteX6596" fmla="*/ 4173592 w 9154202"/>
                <a:gd name="connsiteY6596" fmla="*/ 535242 h 2112317"/>
                <a:gd name="connsiteX6597" fmla="*/ 4172596 w 9154202"/>
                <a:gd name="connsiteY6597" fmla="*/ 530069 h 2112317"/>
                <a:gd name="connsiteX6598" fmla="*/ 4170005 w 9154202"/>
                <a:gd name="connsiteY6598" fmla="*/ 530666 h 2112317"/>
                <a:gd name="connsiteX6599" fmla="*/ 4166817 w 9154202"/>
                <a:gd name="connsiteY6599" fmla="*/ 532357 h 2112317"/>
                <a:gd name="connsiteX6600" fmla="*/ 4164027 w 9154202"/>
                <a:gd name="connsiteY6600" fmla="*/ 530467 h 2112317"/>
                <a:gd name="connsiteX6601" fmla="*/ 4165123 w 9154202"/>
                <a:gd name="connsiteY6601" fmla="*/ 529174 h 2112317"/>
                <a:gd name="connsiteX6602" fmla="*/ 4166318 w 9154202"/>
                <a:gd name="connsiteY6602" fmla="*/ 526885 h 2112317"/>
                <a:gd name="connsiteX6603" fmla="*/ 4167315 w 9154202"/>
                <a:gd name="connsiteY6603" fmla="*/ 524299 h 2112317"/>
                <a:gd name="connsiteX6604" fmla="*/ 4167315 w 9154202"/>
                <a:gd name="connsiteY6604" fmla="*/ 522011 h 2112317"/>
                <a:gd name="connsiteX6605" fmla="*/ 4166318 w 9154202"/>
                <a:gd name="connsiteY6605" fmla="*/ 520220 h 2112317"/>
                <a:gd name="connsiteX6606" fmla="*/ 4164625 w 9154202"/>
                <a:gd name="connsiteY6606" fmla="*/ 519523 h 2112317"/>
                <a:gd name="connsiteX6607" fmla="*/ 4160340 w 9154202"/>
                <a:gd name="connsiteY6607" fmla="*/ 518727 h 2112317"/>
                <a:gd name="connsiteX6608" fmla="*/ 4160340 w 9154202"/>
                <a:gd name="connsiteY6608" fmla="*/ 511365 h 2112317"/>
                <a:gd name="connsiteX6609" fmla="*/ 4156553 w 9154202"/>
                <a:gd name="connsiteY6609" fmla="*/ 509177 h 2112317"/>
                <a:gd name="connsiteX6610" fmla="*/ 4151073 w 9154202"/>
                <a:gd name="connsiteY6610" fmla="*/ 510669 h 2112317"/>
                <a:gd name="connsiteX6611" fmla="*/ 4141906 w 9154202"/>
                <a:gd name="connsiteY6611" fmla="*/ 518031 h 2112317"/>
                <a:gd name="connsiteX6612" fmla="*/ 4130945 w 9154202"/>
                <a:gd name="connsiteY6612" fmla="*/ 519822 h 2112317"/>
                <a:gd name="connsiteX6613" fmla="*/ 4126062 w 9154202"/>
                <a:gd name="connsiteY6613" fmla="*/ 522011 h 2112317"/>
                <a:gd name="connsiteX6614" fmla="*/ 4126859 w 9154202"/>
                <a:gd name="connsiteY6614" fmla="*/ 524995 h 2112317"/>
                <a:gd name="connsiteX6615" fmla="*/ 4125365 w 9154202"/>
                <a:gd name="connsiteY6615" fmla="*/ 528676 h 2112317"/>
                <a:gd name="connsiteX6616" fmla="*/ 4122874 w 9154202"/>
                <a:gd name="connsiteY6616" fmla="*/ 531959 h 2112317"/>
                <a:gd name="connsiteX6617" fmla="*/ 4120781 w 9154202"/>
                <a:gd name="connsiteY6617" fmla="*/ 533949 h 2112317"/>
                <a:gd name="connsiteX6618" fmla="*/ 4120781 w 9154202"/>
                <a:gd name="connsiteY6618" fmla="*/ 535242 h 2112317"/>
                <a:gd name="connsiteX6619" fmla="*/ 4121379 w 9154202"/>
                <a:gd name="connsiteY6619" fmla="*/ 537133 h 2112317"/>
                <a:gd name="connsiteX6620" fmla="*/ 4122874 w 9154202"/>
                <a:gd name="connsiteY6620" fmla="*/ 544495 h 2112317"/>
                <a:gd name="connsiteX6621" fmla="*/ 4122874 w 9154202"/>
                <a:gd name="connsiteY6621" fmla="*/ 546385 h 2112317"/>
                <a:gd name="connsiteX6622" fmla="*/ 4112311 w 9154202"/>
                <a:gd name="connsiteY6622" fmla="*/ 557528 h 2112317"/>
                <a:gd name="connsiteX6623" fmla="*/ 4107927 w 9154202"/>
                <a:gd name="connsiteY6623" fmla="*/ 560313 h 2112317"/>
                <a:gd name="connsiteX6624" fmla="*/ 4104041 w 9154202"/>
                <a:gd name="connsiteY6624" fmla="*/ 560313 h 2112317"/>
                <a:gd name="connsiteX6625" fmla="*/ 4101649 w 9154202"/>
                <a:gd name="connsiteY6625" fmla="*/ 554543 h 2112317"/>
                <a:gd name="connsiteX6626" fmla="*/ 4101649 w 9154202"/>
                <a:gd name="connsiteY6626" fmla="*/ 551658 h 2112317"/>
                <a:gd name="connsiteX6627" fmla="*/ 4102945 w 9154202"/>
                <a:gd name="connsiteY6627" fmla="*/ 545390 h 2112317"/>
                <a:gd name="connsiteX6628" fmla="*/ 4102945 w 9154202"/>
                <a:gd name="connsiteY6628" fmla="*/ 542107 h 2112317"/>
                <a:gd name="connsiteX6629" fmla="*/ 4102945 w 9154202"/>
                <a:gd name="connsiteY6629" fmla="*/ 540814 h 2112317"/>
                <a:gd name="connsiteX6630" fmla="*/ 4100354 w 9154202"/>
                <a:gd name="connsiteY6630" fmla="*/ 537431 h 2112317"/>
                <a:gd name="connsiteX6631" fmla="*/ 4100354 w 9154202"/>
                <a:gd name="connsiteY6631" fmla="*/ 536237 h 2112317"/>
                <a:gd name="connsiteX6632" fmla="*/ 4100354 w 9154202"/>
                <a:gd name="connsiteY6632" fmla="*/ 534645 h 2112317"/>
                <a:gd name="connsiteX6633" fmla="*/ 4101052 w 9154202"/>
                <a:gd name="connsiteY6633" fmla="*/ 524697 h 2112317"/>
                <a:gd name="connsiteX6634" fmla="*/ 4102745 w 9154202"/>
                <a:gd name="connsiteY6634" fmla="*/ 519125 h 2112317"/>
                <a:gd name="connsiteX6635" fmla="*/ 4107030 w 9154202"/>
                <a:gd name="connsiteY6635" fmla="*/ 508182 h 2112317"/>
                <a:gd name="connsiteX6636" fmla="*/ 4103543 w 9154202"/>
                <a:gd name="connsiteY6636" fmla="*/ 514052 h 2112317"/>
                <a:gd name="connsiteX6637" fmla="*/ 4102845 w 9154202"/>
                <a:gd name="connsiteY6637" fmla="*/ 514748 h 2112317"/>
                <a:gd name="connsiteX6638" fmla="*/ 4102148 w 9154202"/>
                <a:gd name="connsiteY6638" fmla="*/ 515345 h 2112317"/>
                <a:gd name="connsiteX6639" fmla="*/ 4101450 w 9154202"/>
                <a:gd name="connsiteY6639" fmla="*/ 516141 h 2112317"/>
                <a:gd name="connsiteX6640" fmla="*/ 4100852 w 9154202"/>
                <a:gd name="connsiteY6640" fmla="*/ 517633 h 2112317"/>
                <a:gd name="connsiteX6641" fmla="*/ 4100852 w 9154202"/>
                <a:gd name="connsiteY6641" fmla="*/ 518628 h 2112317"/>
                <a:gd name="connsiteX6642" fmla="*/ 4100852 w 9154202"/>
                <a:gd name="connsiteY6642" fmla="*/ 521016 h 2112317"/>
                <a:gd name="connsiteX6643" fmla="*/ 4100852 w 9154202"/>
                <a:gd name="connsiteY6643" fmla="*/ 522110 h 2112317"/>
                <a:gd name="connsiteX6644" fmla="*/ 4100155 w 9154202"/>
                <a:gd name="connsiteY6644" fmla="*/ 524597 h 2112317"/>
                <a:gd name="connsiteX6645" fmla="*/ 4099358 w 9154202"/>
                <a:gd name="connsiteY6645" fmla="*/ 526885 h 2112317"/>
                <a:gd name="connsiteX6646" fmla="*/ 4098162 w 9154202"/>
                <a:gd name="connsiteY6646" fmla="*/ 528776 h 2112317"/>
                <a:gd name="connsiteX6647" fmla="*/ 4096568 w 9154202"/>
                <a:gd name="connsiteY6647" fmla="*/ 530566 h 2112317"/>
                <a:gd name="connsiteX6648" fmla="*/ 4094874 w 9154202"/>
                <a:gd name="connsiteY6648" fmla="*/ 531860 h 2112317"/>
                <a:gd name="connsiteX6649" fmla="*/ 4093180 w 9154202"/>
                <a:gd name="connsiteY6649" fmla="*/ 532656 h 2112317"/>
                <a:gd name="connsiteX6650" fmla="*/ 4092283 w 9154202"/>
                <a:gd name="connsiteY6650" fmla="*/ 532656 h 2112317"/>
                <a:gd name="connsiteX6651" fmla="*/ 4093180 w 9154202"/>
                <a:gd name="connsiteY6651" fmla="*/ 529970 h 2112317"/>
                <a:gd name="connsiteX6652" fmla="*/ 4092183 w 9154202"/>
                <a:gd name="connsiteY6652" fmla="*/ 529970 h 2112317"/>
                <a:gd name="connsiteX6653" fmla="*/ 4093180 w 9154202"/>
                <a:gd name="connsiteY6653" fmla="*/ 527582 h 2112317"/>
                <a:gd name="connsiteX6654" fmla="*/ 4096568 w 9154202"/>
                <a:gd name="connsiteY6654" fmla="*/ 521613 h 2112317"/>
                <a:gd name="connsiteX6655" fmla="*/ 4097564 w 9154202"/>
                <a:gd name="connsiteY6655" fmla="*/ 519026 h 2112317"/>
                <a:gd name="connsiteX6656" fmla="*/ 4098062 w 9154202"/>
                <a:gd name="connsiteY6656" fmla="*/ 516738 h 2112317"/>
                <a:gd name="connsiteX6657" fmla="*/ 4098660 w 9154202"/>
                <a:gd name="connsiteY6657" fmla="*/ 508779 h 2112317"/>
                <a:gd name="connsiteX6658" fmla="*/ 4099258 w 9154202"/>
                <a:gd name="connsiteY6658" fmla="*/ 507585 h 2112317"/>
                <a:gd name="connsiteX6659" fmla="*/ 4100852 w 9154202"/>
                <a:gd name="connsiteY6659" fmla="*/ 506192 h 2112317"/>
                <a:gd name="connsiteX6660" fmla="*/ 4102745 w 9154202"/>
                <a:gd name="connsiteY6660" fmla="*/ 505197 h 2112317"/>
                <a:gd name="connsiteX6661" fmla="*/ 4104838 w 9154202"/>
                <a:gd name="connsiteY6661" fmla="*/ 505197 h 2112317"/>
                <a:gd name="connsiteX6662" fmla="*/ 4106831 w 9154202"/>
                <a:gd name="connsiteY6662" fmla="*/ 505794 h 2112317"/>
                <a:gd name="connsiteX6663" fmla="*/ 4107628 w 9154202"/>
                <a:gd name="connsiteY6663" fmla="*/ 507585 h 2112317"/>
                <a:gd name="connsiteX6664" fmla="*/ 4110020 w 9154202"/>
                <a:gd name="connsiteY6664" fmla="*/ 501616 h 2112317"/>
                <a:gd name="connsiteX6665" fmla="*/ 4110617 w 9154202"/>
                <a:gd name="connsiteY6665" fmla="*/ 497537 h 2112317"/>
                <a:gd name="connsiteX6666" fmla="*/ 4109023 w 9154202"/>
                <a:gd name="connsiteY6666" fmla="*/ 492662 h 2112317"/>
                <a:gd name="connsiteX6667" fmla="*/ 4108226 w 9154202"/>
                <a:gd name="connsiteY6667" fmla="*/ 486593 h 2112317"/>
                <a:gd name="connsiteX6668" fmla="*/ 4107429 w 9154202"/>
                <a:gd name="connsiteY6668" fmla="*/ 484802 h 2112317"/>
                <a:gd name="connsiteX6669" fmla="*/ 4101151 w 9154202"/>
                <a:gd name="connsiteY6669" fmla="*/ 474157 h 2112317"/>
                <a:gd name="connsiteX6670" fmla="*/ 4099457 w 9154202"/>
                <a:gd name="connsiteY6670" fmla="*/ 470377 h 2112317"/>
                <a:gd name="connsiteX6671" fmla="*/ 4099955 w 9154202"/>
                <a:gd name="connsiteY6671" fmla="*/ 468685 h 2112317"/>
                <a:gd name="connsiteX6672" fmla="*/ 4099158 w 9154202"/>
                <a:gd name="connsiteY6672" fmla="*/ 467989 h 2112317"/>
                <a:gd name="connsiteX6673" fmla="*/ 4096767 w 9154202"/>
                <a:gd name="connsiteY6673" fmla="*/ 464308 h 2112317"/>
                <a:gd name="connsiteX6674" fmla="*/ 4096069 w 9154202"/>
                <a:gd name="connsiteY6674" fmla="*/ 462716 h 2112317"/>
                <a:gd name="connsiteX6675" fmla="*/ 4096069 w 9154202"/>
                <a:gd name="connsiteY6675" fmla="*/ 460229 h 2112317"/>
                <a:gd name="connsiteX6676" fmla="*/ 4096568 w 9154202"/>
                <a:gd name="connsiteY6676" fmla="*/ 458737 h 2112317"/>
                <a:gd name="connsiteX6677" fmla="*/ 4096568 w 9154202"/>
                <a:gd name="connsiteY6677" fmla="*/ 457344 h 2112317"/>
                <a:gd name="connsiteX6678" fmla="*/ 4094774 w 9154202"/>
                <a:gd name="connsiteY6678" fmla="*/ 455652 h 2112317"/>
                <a:gd name="connsiteX6679" fmla="*/ 4091984 w 9154202"/>
                <a:gd name="connsiteY6679" fmla="*/ 454956 h 2112317"/>
                <a:gd name="connsiteX6680" fmla="*/ 4088795 w 9154202"/>
                <a:gd name="connsiteY6680" fmla="*/ 455752 h 2112317"/>
                <a:gd name="connsiteX6681" fmla="*/ 4085806 w 9154202"/>
                <a:gd name="connsiteY6681" fmla="*/ 457045 h 2112317"/>
                <a:gd name="connsiteX6682" fmla="*/ 4081422 w 9154202"/>
                <a:gd name="connsiteY6682" fmla="*/ 460726 h 2112317"/>
                <a:gd name="connsiteX6683" fmla="*/ 4075343 w 9154202"/>
                <a:gd name="connsiteY6683" fmla="*/ 463910 h 2112317"/>
                <a:gd name="connsiteX6684" fmla="*/ 4073052 w 9154202"/>
                <a:gd name="connsiteY6684" fmla="*/ 466298 h 2112317"/>
                <a:gd name="connsiteX6685" fmla="*/ 4071856 w 9154202"/>
                <a:gd name="connsiteY6685" fmla="*/ 470476 h 2112317"/>
                <a:gd name="connsiteX6686" fmla="*/ 4071856 w 9154202"/>
                <a:gd name="connsiteY6686" fmla="*/ 474356 h 2112317"/>
                <a:gd name="connsiteX6687" fmla="*/ 4071059 w 9154202"/>
                <a:gd name="connsiteY6687" fmla="*/ 477142 h 2112317"/>
                <a:gd name="connsiteX6688" fmla="*/ 4068069 w 9154202"/>
                <a:gd name="connsiteY6688" fmla="*/ 478236 h 2112317"/>
                <a:gd name="connsiteX6689" fmla="*/ 4065279 w 9154202"/>
                <a:gd name="connsiteY6689" fmla="*/ 477341 h 2112317"/>
                <a:gd name="connsiteX6690" fmla="*/ 4064781 w 9154202"/>
                <a:gd name="connsiteY6690" fmla="*/ 475351 h 2112317"/>
                <a:gd name="connsiteX6691" fmla="*/ 4065778 w 9154202"/>
                <a:gd name="connsiteY6691" fmla="*/ 472565 h 2112317"/>
                <a:gd name="connsiteX6692" fmla="*/ 4067173 w 9154202"/>
                <a:gd name="connsiteY6692" fmla="*/ 469780 h 2112317"/>
                <a:gd name="connsiteX6693" fmla="*/ 4066276 w 9154202"/>
                <a:gd name="connsiteY6693" fmla="*/ 468188 h 2112317"/>
                <a:gd name="connsiteX6694" fmla="*/ 4065080 w 9154202"/>
                <a:gd name="connsiteY6694" fmla="*/ 466795 h 2112317"/>
                <a:gd name="connsiteX6695" fmla="*/ 4063685 w 9154202"/>
                <a:gd name="connsiteY6695" fmla="*/ 465900 h 2112317"/>
                <a:gd name="connsiteX6696" fmla="*/ 4061991 w 9154202"/>
                <a:gd name="connsiteY6696" fmla="*/ 465104 h 2112317"/>
                <a:gd name="connsiteX6697" fmla="*/ 4062888 w 9154202"/>
                <a:gd name="connsiteY6697" fmla="*/ 462915 h 2112317"/>
                <a:gd name="connsiteX6698" fmla="*/ 4063884 w 9154202"/>
                <a:gd name="connsiteY6698" fmla="*/ 461323 h 2112317"/>
                <a:gd name="connsiteX6699" fmla="*/ 4065080 w 9154202"/>
                <a:gd name="connsiteY6699" fmla="*/ 460229 h 2112317"/>
                <a:gd name="connsiteX6700" fmla="*/ 4066475 w 9154202"/>
                <a:gd name="connsiteY6700" fmla="*/ 459234 h 2112317"/>
                <a:gd name="connsiteX6701" fmla="*/ 4067272 w 9154202"/>
                <a:gd name="connsiteY6701" fmla="*/ 458737 h 2112317"/>
                <a:gd name="connsiteX6702" fmla="*/ 4069365 w 9154202"/>
                <a:gd name="connsiteY6702" fmla="*/ 458140 h 2112317"/>
                <a:gd name="connsiteX6703" fmla="*/ 4070262 w 9154202"/>
                <a:gd name="connsiteY6703" fmla="*/ 458140 h 2112317"/>
                <a:gd name="connsiteX6704" fmla="*/ 4070760 w 9154202"/>
                <a:gd name="connsiteY6704" fmla="*/ 458140 h 2112317"/>
                <a:gd name="connsiteX6705" fmla="*/ 4071358 w 9154202"/>
                <a:gd name="connsiteY6705" fmla="*/ 455752 h 2112317"/>
                <a:gd name="connsiteX6706" fmla="*/ 4071358 w 9154202"/>
                <a:gd name="connsiteY6706" fmla="*/ 454956 h 2112317"/>
                <a:gd name="connsiteX6707" fmla="*/ 4073749 w 9154202"/>
                <a:gd name="connsiteY6707" fmla="*/ 452270 h 2112317"/>
                <a:gd name="connsiteX6708" fmla="*/ 4074546 w 9154202"/>
                <a:gd name="connsiteY6708" fmla="*/ 451076 h 2112317"/>
                <a:gd name="connsiteX6709" fmla="*/ 4075543 w 9154202"/>
                <a:gd name="connsiteY6709" fmla="*/ 449186 h 2112317"/>
                <a:gd name="connsiteX6710" fmla="*/ 4077436 w 9154202"/>
                <a:gd name="connsiteY6710" fmla="*/ 443913 h 2112317"/>
                <a:gd name="connsiteX6711" fmla="*/ 4078233 w 9154202"/>
                <a:gd name="connsiteY6711" fmla="*/ 442023 h 2112317"/>
                <a:gd name="connsiteX6712" fmla="*/ 4077635 w 9154202"/>
                <a:gd name="connsiteY6712" fmla="*/ 442023 h 2112317"/>
                <a:gd name="connsiteX6713" fmla="*/ 4077635 w 9154202"/>
                <a:gd name="connsiteY6713" fmla="*/ 442023 h 2112317"/>
                <a:gd name="connsiteX6714" fmla="*/ 4077635 w 9154202"/>
                <a:gd name="connsiteY6714" fmla="*/ 442023 h 2112317"/>
                <a:gd name="connsiteX6715" fmla="*/ 4077635 w 9154202"/>
                <a:gd name="connsiteY6715" fmla="*/ 442023 h 2112317"/>
                <a:gd name="connsiteX6716" fmla="*/ 4076141 w 9154202"/>
                <a:gd name="connsiteY6716" fmla="*/ 442023 h 2112317"/>
                <a:gd name="connsiteX6717" fmla="*/ 4070660 w 9154202"/>
                <a:gd name="connsiteY6717" fmla="*/ 442023 h 2112317"/>
                <a:gd name="connsiteX6718" fmla="*/ 4068866 w 9154202"/>
                <a:gd name="connsiteY6718" fmla="*/ 442520 h 2112317"/>
                <a:gd name="connsiteX6719" fmla="*/ 4067472 w 9154202"/>
                <a:gd name="connsiteY6719" fmla="*/ 443217 h 2112317"/>
                <a:gd name="connsiteX6720" fmla="*/ 4062988 w 9154202"/>
                <a:gd name="connsiteY6720" fmla="*/ 446599 h 2112317"/>
                <a:gd name="connsiteX6721" fmla="*/ 4061194 w 9154202"/>
                <a:gd name="connsiteY6721" fmla="*/ 447494 h 2112317"/>
                <a:gd name="connsiteX6722" fmla="*/ 4059301 w 9154202"/>
                <a:gd name="connsiteY6722" fmla="*/ 447494 h 2112317"/>
                <a:gd name="connsiteX6723" fmla="*/ 4055514 w 9154202"/>
                <a:gd name="connsiteY6723" fmla="*/ 447494 h 2112317"/>
                <a:gd name="connsiteX6724" fmla="*/ 4053521 w 9154202"/>
                <a:gd name="connsiteY6724" fmla="*/ 446798 h 2112317"/>
                <a:gd name="connsiteX6725" fmla="*/ 4052923 w 9154202"/>
                <a:gd name="connsiteY6725" fmla="*/ 445903 h 2112317"/>
                <a:gd name="connsiteX6726" fmla="*/ 4052923 w 9154202"/>
                <a:gd name="connsiteY6726" fmla="*/ 444709 h 2112317"/>
                <a:gd name="connsiteX6727" fmla="*/ 4051528 w 9154202"/>
                <a:gd name="connsiteY6727" fmla="*/ 440829 h 2112317"/>
                <a:gd name="connsiteX6728" fmla="*/ 4051528 w 9154202"/>
                <a:gd name="connsiteY6728" fmla="*/ 439834 h 2112317"/>
                <a:gd name="connsiteX6729" fmla="*/ 4051528 w 9154202"/>
                <a:gd name="connsiteY6729" fmla="*/ 439834 h 2112317"/>
                <a:gd name="connsiteX6730" fmla="*/ 4042561 w 9154202"/>
                <a:gd name="connsiteY6730" fmla="*/ 442819 h 2112317"/>
                <a:gd name="connsiteX6731" fmla="*/ 4041664 w 9154202"/>
                <a:gd name="connsiteY6731" fmla="*/ 443913 h 2112317"/>
                <a:gd name="connsiteX6732" fmla="*/ 4040767 w 9154202"/>
                <a:gd name="connsiteY6732" fmla="*/ 445803 h 2112317"/>
                <a:gd name="connsiteX6733" fmla="*/ 4040767 w 9154202"/>
                <a:gd name="connsiteY6733" fmla="*/ 447892 h 2112317"/>
                <a:gd name="connsiteX6734" fmla="*/ 4040767 w 9154202"/>
                <a:gd name="connsiteY6734" fmla="*/ 449982 h 2112317"/>
                <a:gd name="connsiteX6735" fmla="*/ 4042162 w 9154202"/>
                <a:gd name="connsiteY6735" fmla="*/ 449982 h 2112317"/>
                <a:gd name="connsiteX6736" fmla="*/ 4046945 w 9154202"/>
                <a:gd name="connsiteY6736" fmla="*/ 449982 h 2112317"/>
                <a:gd name="connsiteX6737" fmla="*/ 4048639 w 9154202"/>
                <a:gd name="connsiteY6737" fmla="*/ 449982 h 2112317"/>
                <a:gd name="connsiteX6738" fmla="*/ 4045450 w 9154202"/>
                <a:gd name="connsiteY6738" fmla="*/ 457344 h 2112317"/>
                <a:gd name="connsiteX6739" fmla="*/ 4040767 w 9154202"/>
                <a:gd name="connsiteY6739" fmla="*/ 464109 h 2112317"/>
                <a:gd name="connsiteX6740" fmla="*/ 4041365 w 9154202"/>
                <a:gd name="connsiteY6740" fmla="*/ 466994 h 2112317"/>
                <a:gd name="connsiteX6741" fmla="*/ 4040269 w 9154202"/>
                <a:gd name="connsiteY6741" fmla="*/ 470576 h 2112317"/>
                <a:gd name="connsiteX6742" fmla="*/ 4036881 w 9154202"/>
                <a:gd name="connsiteY6742" fmla="*/ 476744 h 2112317"/>
                <a:gd name="connsiteX6743" fmla="*/ 4036881 w 9154202"/>
                <a:gd name="connsiteY6743" fmla="*/ 479430 h 2112317"/>
                <a:gd name="connsiteX6744" fmla="*/ 4038774 w 9154202"/>
                <a:gd name="connsiteY6744" fmla="*/ 482415 h 2112317"/>
                <a:gd name="connsiteX6745" fmla="*/ 4043358 w 9154202"/>
                <a:gd name="connsiteY6745" fmla="*/ 486891 h 2112317"/>
                <a:gd name="connsiteX6746" fmla="*/ 4040069 w 9154202"/>
                <a:gd name="connsiteY6746" fmla="*/ 488085 h 2112317"/>
                <a:gd name="connsiteX6747" fmla="*/ 4036981 w 9154202"/>
                <a:gd name="connsiteY6747" fmla="*/ 487090 h 2112317"/>
                <a:gd name="connsiteX6748" fmla="*/ 4033991 w 9154202"/>
                <a:gd name="connsiteY6748" fmla="*/ 485399 h 2112317"/>
                <a:gd name="connsiteX6749" fmla="*/ 4027713 w 9154202"/>
                <a:gd name="connsiteY6749" fmla="*/ 483807 h 2112317"/>
                <a:gd name="connsiteX6750" fmla="*/ 4023728 w 9154202"/>
                <a:gd name="connsiteY6750" fmla="*/ 481917 h 2112317"/>
                <a:gd name="connsiteX6751" fmla="*/ 4021237 w 9154202"/>
                <a:gd name="connsiteY6751" fmla="*/ 479629 h 2112317"/>
                <a:gd name="connsiteX6752" fmla="*/ 4022532 w 9154202"/>
                <a:gd name="connsiteY6752" fmla="*/ 477341 h 2112317"/>
                <a:gd name="connsiteX6753" fmla="*/ 4020938 w 9154202"/>
                <a:gd name="connsiteY6753" fmla="*/ 476246 h 2112317"/>
                <a:gd name="connsiteX6754" fmla="*/ 4019642 w 9154202"/>
                <a:gd name="connsiteY6754" fmla="*/ 476246 h 2112317"/>
                <a:gd name="connsiteX6755" fmla="*/ 4018347 w 9154202"/>
                <a:gd name="connsiteY6755" fmla="*/ 477042 h 2112317"/>
                <a:gd name="connsiteX6756" fmla="*/ 4016952 w 9154202"/>
                <a:gd name="connsiteY6756" fmla="*/ 477042 h 2112317"/>
                <a:gd name="connsiteX6757" fmla="*/ 4015358 w 9154202"/>
                <a:gd name="connsiteY6757" fmla="*/ 477042 h 2112317"/>
                <a:gd name="connsiteX6758" fmla="*/ 4012667 w 9154202"/>
                <a:gd name="connsiteY6758" fmla="*/ 475351 h 2112317"/>
                <a:gd name="connsiteX6759" fmla="*/ 4010874 w 9154202"/>
                <a:gd name="connsiteY6759" fmla="*/ 475351 h 2112317"/>
                <a:gd name="connsiteX6760" fmla="*/ 4008084 w 9154202"/>
                <a:gd name="connsiteY6760" fmla="*/ 474257 h 2112317"/>
                <a:gd name="connsiteX6761" fmla="*/ 4006988 w 9154202"/>
                <a:gd name="connsiteY6761" fmla="*/ 471172 h 2112317"/>
                <a:gd name="connsiteX6762" fmla="*/ 4005991 w 9154202"/>
                <a:gd name="connsiteY6762" fmla="*/ 449783 h 2112317"/>
                <a:gd name="connsiteX6763" fmla="*/ 4004596 w 9154202"/>
                <a:gd name="connsiteY6763" fmla="*/ 445803 h 2112317"/>
                <a:gd name="connsiteX6764" fmla="*/ 4001208 w 9154202"/>
                <a:gd name="connsiteY6764" fmla="*/ 444012 h 2112317"/>
                <a:gd name="connsiteX6765" fmla="*/ 3997521 w 9154202"/>
                <a:gd name="connsiteY6765" fmla="*/ 442819 h 2112317"/>
                <a:gd name="connsiteX6766" fmla="*/ 3994731 w 9154202"/>
                <a:gd name="connsiteY6766" fmla="*/ 440829 h 2112317"/>
                <a:gd name="connsiteX6767" fmla="*/ 3994133 w 9154202"/>
                <a:gd name="connsiteY6767" fmla="*/ 437844 h 2112317"/>
                <a:gd name="connsiteX6768" fmla="*/ 3995429 w 9154202"/>
                <a:gd name="connsiteY6768" fmla="*/ 431477 h 2112317"/>
                <a:gd name="connsiteX6769" fmla="*/ 3993834 w 9154202"/>
                <a:gd name="connsiteY6769" fmla="*/ 427497 h 2112317"/>
                <a:gd name="connsiteX6770" fmla="*/ 3993834 w 9154202"/>
                <a:gd name="connsiteY6770" fmla="*/ 425209 h 2112317"/>
                <a:gd name="connsiteX6771" fmla="*/ 3993834 w 9154202"/>
                <a:gd name="connsiteY6771" fmla="*/ 424214 h 2112317"/>
                <a:gd name="connsiteX6772" fmla="*/ 3993237 w 9154202"/>
                <a:gd name="connsiteY6772" fmla="*/ 423319 h 2112317"/>
                <a:gd name="connsiteX6773" fmla="*/ 3991742 w 9154202"/>
                <a:gd name="connsiteY6773" fmla="*/ 422225 h 2112317"/>
                <a:gd name="connsiteX6774" fmla="*/ 3991742 w 9154202"/>
                <a:gd name="connsiteY6774" fmla="*/ 422225 h 2112317"/>
                <a:gd name="connsiteX6775" fmla="*/ 3986959 w 9154202"/>
                <a:gd name="connsiteY6775" fmla="*/ 413967 h 2112317"/>
                <a:gd name="connsiteX6776" fmla="*/ 3984966 w 9154202"/>
                <a:gd name="connsiteY6776" fmla="*/ 412176 h 2112317"/>
                <a:gd name="connsiteX6777" fmla="*/ 3982375 w 9154202"/>
                <a:gd name="connsiteY6777" fmla="*/ 411580 h 2112317"/>
                <a:gd name="connsiteX6778" fmla="*/ 3975101 w 9154202"/>
                <a:gd name="connsiteY6778" fmla="*/ 410983 h 2112317"/>
                <a:gd name="connsiteX6779" fmla="*/ 3971415 w 9154202"/>
                <a:gd name="connsiteY6779" fmla="*/ 409590 h 2112317"/>
                <a:gd name="connsiteX6780" fmla="*/ 3959856 w 9154202"/>
                <a:gd name="connsiteY6780" fmla="*/ 401929 h 2112317"/>
                <a:gd name="connsiteX6781" fmla="*/ 3957265 w 9154202"/>
                <a:gd name="connsiteY6781" fmla="*/ 399243 h 2112317"/>
                <a:gd name="connsiteX6782" fmla="*/ 3954077 w 9154202"/>
                <a:gd name="connsiteY6782" fmla="*/ 391980 h 2112317"/>
                <a:gd name="connsiteX6783" fmla="*/ 3953479 w 9154202"/>
                <a:gd name="connsiteY6783" fmla="*/ 390090 h 2112317"/>
                <a:gd name="connsiteX6784" fmla="*/ 3953479 w 9154202"/>
                <a:gd name="connsiteY6784" fmla="*/ 388001 h 2112317"/>
                <a:gd name="connsiteX6785" fmla="*/ 3953977 w 9154202"/>
                <a:gd name="connsiteY6785" fmla="*/ 386310 h 2112317"/>
                <a:gd name="connsiteX6786" fmla="*/ 3953977 w 9154202"/>
                <a:gd name="connsiteY6786" fmla="*/ 385016 h 2112317"/>
                <a:gd name="connsiteX6787" fmla="*/ 3952582 w 9154202"/>
                <a:gd name="connsiteY6787" fmla="*/ 384021 h 2112317"/>
                <a:gd name="connsiteX6788" fmla="*/ 3953379 w 9154202"/>
                <a:gd name="connsiteY6788" fmla="*/ 381634 h 2112317"/>
                <a:gd name="connsiteX6789" fmla="*/ 3953379 w 9154202"/>
                <a:gd name="connsiteY6789" fmla="*/ 379346 h 2112317"/>
                <a:gd name="connsiteX6790" fmla="*/ 3952781 w 9154202"/>
                <a:gd name="connsiteY6790" fmla="*/ 377654 h 2112317"/>
                <a:gd name="connsiteX6791" fmla="*/ 3949294 w 9154202"/>
                <a:gd name="connsiteY6791" fmla="*/ 376560 h 2112317"/>
                <a:gd name="connsiteX6792" fmla="*/ 3947998 w 9154202"/>
                <a:gd name="connsiteY6792" fmla="*/ 375267 h 2112317"/>
                <a:gd name="connsiteX6793" fmla="*/ 3945408 w 9154202"/>
                <a:gd name="connsiteY6793" fmla="*/ 372083 h 2112317"/>
                <a:gd name="connsiteX6794" fmla="*/ 3935443 w 9154202"/>
                <a:gd name="connsiteY6794" fmla="*/ 364721 h 2112317"/>
                <a:gd name="connsiteX6795" fmla="*/ 3932753 w 9154202"/>
                <a:gd name="connsiteY6795" fmla="*/ 361338 h 2112317"/>
                <a:gd name="connsiteX6796" fmla="*/ 3928767 w 9154202"/>
                <a:gd name="connsiteY6796" fmla="*/ 354673 h 2112317"/>
                <a:gd name="connsiteX6797" fmla="*/ 3925977 w 9154202"/>
                <a:gd name="connsiteY6797" fmla="*/ 351688 h 2112317"/>
                <a:gd name="connsiteX6798" fmla="*/ 3921792 w 9154202"/>
                <a:gd name="connsiteY6798" fmla="*/ 350892 h 2112317"/>
                <a:gd name="connsiteX6799" fmla="*/ 3920098 w 9154202"/>
                <a:gd name="connsiteY6799" fmla="*/ 349897 h 2112317"/>
                <a:gd name="connsiteX6800" fmla="*/ 3919201 w 9154202"/>
                <a:gd name="connsiteY6800" fmla="*/ 348504 h 2112317"/>
                <a:gd name="connsiteX6801" fmla="*/ 3917906 w 9154202"/>
                <a:gd name="connsiteY6801" fmla="*/ 345619 h 2112317"/>
                <a:gd name="connsiteX6802" fmla="*/ 3916610 w 9154202"/>
                <a:gd name="connsiteY6802" fmla="*/ 344425 h 2112317"/>
                <a:gd name="connsiteX6803" fmla="*/ 3911429 w 9154202"/>
                <a:gd name="connsiteY6803" fmla="*/ 341242 h 2112317"/>
                <a:gd name="connsiteX6804" fmla="*/ 3909735 w 9154202"/>
                <a:gd name="connsiteY6804" fmla="*/ 339153 h 2112317"/>
                <a:gd name="connsiteX6805" fmla="*/ 3907642 w 9154202"/>
                <a:gd name="connsiteY6805" fmla="*/ 335571 h 2112317"/>
                <a:gd name="connsiteX6806" fmla="*/ 3906646 w 9154202"/>
                <a:gd name="connsiteY6806" fmla="*/ 333283 h 2112317"/>
                <a:gd name="connsiteX6807" fmla="*/ 3906646 w 9154202"/>
                <a:gd name="connsiteY6807" fmla="*/ 331293 h 2112317"/>
                <a:gd name="connsiteX6808" fmla="*/ 3906646 w 9154202"/>
                <a:gd name="connsiteY6808" fmla="*/ 329602 h 2112317"/>
                <a:gd name="connsiteX6809" fmla="*/ 3907443 w 9154202"/>
                <a:gd name="connsiteY6809" fmla="*/ 327513 h 2112317"/>
                <a:gd name="connsiteX6810" fmla="*/ 3907443 w 9154202"/>
                <a:gd name="connsiteY6810" fmla="*/ 325622 h 2112317"/>
                <a:gd name="connsiteX6811" fmla="*/ 3904354 w 9154202"/>
                <a:gd name="connsiteY6811" fmla="*/ 323732 h 2112317"/>
                <a:gd name="connsiteX6812" fmla="*/ 3899372 w 9154202"/>
                <a:gd name="connsiteY6812" fmla="*/ 318459 h 2112317"/>
                <a:gd name="connsiteX6813" fmla="*/ 3897977 w 9154202"/>
                <a:gd name="connsiteY6813" fmla="*/ 316370 h 2112317"/>
                <a:gd name="connsiteX6814" fmla="*/ 3895884 w 9154202"/>
                <a:gd name="connsiteY6814" fmla="*/ 307814 h 2112317"/>
                <a:gd name="connsiteX6815" fmla="*/ 3898077 w 9154202"/>
                <a:gd name="connsiteY6815" fmla="*/ 302442 h 2112317"/>
                <a:gd name="connsiteX6816" fmla="*/ 3903158 w 9154202"/>
                <a:gd name="connsiteY6816" fmla="*/ 299258 h 2112317"/>
                <a:gd name="connsiteX6817" fmla="*/ 3918105 w 9154202"/>
                <a:gd name="connsiteY6817" fmla="*/ 292792 h 2112317"/>
                <a:gd name="connsiteX6818" fmla="*/ 3920995 w 9154202"/>
                <a:gd name="connsiteY6818" fmla="*/ 292195 h 2112317"/>
                <a:gd name="connsiteX6819" fmla="*/ 3927471 w 9154202"/>
                <a:gd name="connsiteY6819" fmla="*/ 292195 h 2112317"/>
                <a:gd name="connsiteX6820" fmla="*/ 3944810 w 9154202"/>
                <a:gd name="connsiteY6820" fmla="*/ 288215 h 2112317"/>
                <a:gd name="connsiteX6821" fmla="*/ 3949792 w 9154202"/>
                <a:gd name="connsiteY6821" fmla="*/ 285728 h 2112317"/>
                <a:gd name="connsiteX6822" fmla="*/ 3954475 w 9154202"/>
                <a:gd name="connsiteY6822" fmla="*/ 281947 h 2112317"/>
                <a:gd name="connsiteX6823" fmla="*/ 3954475 w 9154202"/>
                <a:gd name="connsiteY6823" fmla="*/ 281450 h 2112317"/>
                <a:gd name="connsiteX6824" fmla="*/ 3954475 w 9154202"/>
                <a:gd name="connsiteY6824" fmla="*/ 280853 h 2112317"/>
                <a:gd name="connsiteX6825" fmla="*/ 3954475 w 9154202"/>
                <a:gd name="connsiteY6825" fmla="*/ 280157 h 2112317"/>
                <a:gd name="connsiteX6826" fmla="*/ 3954475 w 9154202"/>
                <a:gd name="connsiteY6826" fmla="*/ 279261 h 2112317"/>
                <a:gd name="connsiteX6827" fmla="*/ 3941023 w 9154202"/>
                <a:gd name="connsiteY6827" fmla="*/ 279261 h 2112317"/>
                <a:gd name="connsiteX6828" fmla="*/ 3935842 w 9154202"/>
                <a:gd name="connsiteY6828" fmla="*/ 277470 h 2112317"/>
                <a:gd name="connsiteX6829" fmla="*/ 3933151 w 9154202"/>
                <a:gd name="connsiteY6829" fmla="*/ 277470 h 2112317"/>
                <a:gd name="connsiteX6830" fmla="*/ 3921792 w 9154202"/>
                <a:gd name="connsiteY6830" fmla="*/ 277470 h 2112317"/>
                <a:gd name="connsiteX6831" fmla="*/ 3916511 w 9154202"/>
                <a:gd name="connsiteY6831" fmla="*/ 276476 h 2112317"/>
                <a:gd name="connsiteX6832" fmla="*/ 3911030 w 9154202"/>
                <a:gd name="connsiteY6832" fmla="*/ 274088 h 2112317"/>
                <a:gd name="connsiteX6833" fmla="*/ 3909237 w 9154202"/>
                <a:gd name="connsiteY6833" fmla="*/ 275779 h 2112317"/>
                <a:gd name="connsiteX6834" fmla="*/ 3908141 w 9154202"/>
                <a:gd name="connsiteY6834" fmla="*/ 278266 h 2112317"/>
                <a:gd name="connsiteX6835" fmla="*/ 3907344 w 9154202"/>
                <a:gd name="connsiteY6835" fmla="*/ 280953 h 2112317"/>
                <a:gd name="connsiteX6836" fmla="*/ 3906247 w 9154202"/>
                <a:gd name="connsiteY6836" fmla="*/ 283141 h 2112317"/>
                <a:gd name="connsiteX6837" fmla="*/ 3904055 w 9154202"/>
                <a:gd name="connsiteY6837" fmla="*/ 284335 h 2112317"/>
                <a:gd name="connsiteX6838" fmla="*/ 3901465 w 9154202"/>
                <a:gd name="connsiteY6838" fmla="*/ 283340 h 2112317"/>
                <a:gd name="connsiteX6839" fmla="*/ 3899173 w 9154202"/>
                <a:gd name="connsiteY6839" fmla="*/ 281350 h 2112317"/>
                <a:gd name="connsiteX6840" fmla="*/ 3897578 w 9154202"/>
                <a:gd name="connsiteY6840" fmla="*/ 279460 h 2112317"/>
                <a:gd name="connsiteX6841" fmla="*/ 3892796 w 9154202"/>
                <a:gd name="connsiteY6841" fmla="*/ 277769 h 2112317"/>
                <a:gd name="connsiteX6842" fmla="*/ 3881835 w 9154202"/>
                <a:gd name="connsiteY6842" fmla="*/ 282942 h 2112317"/>
                <a:gd name="connsiteX6843" fmla="*/ 3877948 w 9154202"/>
                <a:gd name="connsiteY6843" fmla="*/ 281251 h 2112317"/>
                <a:gd name="connsiteX6844" fmla="*/ 3876255 w 9154202"/>
                <a:gd name="connsiteY6844" fmla="*/ 278465 h 2112317"/>
                <a:gd name="connsiteX6845" fmla="*/ 3874461 w 9154202"/>
                <a:gd name="connsiteY6845" fmla="*/ 271899 h 2112317"/>
                <a:gd name="connsiteX6846" fmla="*/ 3872767 w 9154202"/>
                <a:gd name="connsiteY6846" fmla="*/ 269213 h 2112317"/>
                <a:gd name="connsiteX6847" fmla="*/ 3871073 w 9154202"/>
                <a:gd name="connsiteY6847" fmla="*/ 268119 h 2112317"/>
                <a:gd name="connsiteX6848" fmla="*/ 3867586 w 9154202"/>
                <a:gd name="connsiteY6848" fmla="*/ 266726 h 2112317"/>
                <a:gd name="connsiteX6849" fmla="*/ 3865792 w 9154202"/>
                <a:gd name="connsiteY6849" fmla="*/ 265731 h 2112317"/>
                <a:gd name="connsiteX6850" fmla="*/ 3865792 w 9154202"/>
                <a:gd name="connsiteY6850" fmla="*/ 265035 h 2112317"/>
                <a:gd name="connsiteX6851" fmla="*/ 3863998 w 9154202"/>
                <a:gd name="connsiteY6851" fmla="*/ 261652 h 2112317"/>
                <a:gd name="connsiteX6852" fmla="*/ 3863998 w 9154202"/>
                <a:gd name="connsiteY6852" fmla="*/ 261652 h 2112317"/>
                <a:gd name="connsiteX6853" fmla="*/ 3863102 w 9154202"/>
                <a:gd name="connsiteY6853" fmla="*/ 260359 h 2112317"/>
                <a:gd name="connsiteX6854" fmla="*/ 3859614 w 9154202"/>
                <a:gd name="connsiteY6854" fmla="*/ 259563 h 2112317"/>
                <a:gd name="connsiteX6855" fmla="*/ 3857920 w 9154202"/>
                <a:gd name="connsiteY6855" fmla="*/ 256578 h 2112317"/>
                <a:gd name="connsiteX6856" fmla="*/ 3855927 w 9154202"/>
                <a:gd name="connsiteY6856" fmla="*/ 256578 h 2112317"/>
                <a:gd name="connsiteX6857" fmla="*/ 3853735 w 9154202"/>
                <a:gd name="connsiteY6857" fmla="*/ 257076 h 2112317"/>
                <a:gd name="connsiteX6858" fmla="*/ 3852141 w 9154202"/>
                <a:gd name="connsiteY6858" fmla="*/ 257076 h 2112317"/>
                <a:gd name="connsiteX6859" fmla="*/ 3852141 w 9154202"/>
                <a:gd name="connsiteY6859" fmla="*/ 252201 h 2112317"/>
                <a:gd name="connsiteX6860" fmla="*/ 3853835 w 9154202"/>
                <a:gd name="connsiteY6860" fmla="*/ 248022 h 2112317"/>
                <a:gd name="connsiteX6861" fmla="*/ 3858020 w 9154202"/>
                <a:gd name="connsiteY6861" fmla="*/ 241655 h 2112317"/>
                <a:gd name="connsiteX6862" fmla="*/ 3857322 w 9154202"/>
                <a:gd name="connsiteY6862" fmla="*/ 241655 h 2112317"/>
                <a:gd name="connsiteX6863" fmla="*/ 3856126 w 9154202"/>
                <a:gd name="connsiteY6863" fmla="*/ 240959 h 2112317"/>
                <a:gd name="connsiteX6864" fmla="*/ 3855429 w 9154202"/>
                <a:gd name="connsiteY6864" fmla="*/ 240959 h 2112317"/>
                <a:gd name="connsiteX6865" fmla="*/ 3855927 w 9154202"/>
                <a:gd name="connsiteY6865" fmla="*/ 239765 h 2112317"/>
                <a:gd name="connsiteX6866" fmla="*/ 3857621 w 9154202"/>
                <a:gd name="connsiteY6866" fmla="*/ 237079 h 2112317"/>
                <a:gd name="connsiteX6867" fmla="*/ 3857621 w 9154202"/>
                <a:gd name="connsiteY6867" fmla="*/ 236084 h 2112317"/>
                <a:gd name="connsiteX6868" fmla="*/ 3857621 w 9154202"/>
                <a:gd name="connsiteY6868" fmla="*/ 234691 h 2112317"/>
                <a:gd name="connsiteX6869" fmla="*/ 3857621 w 9154202"/>
                <a:gd name="connsiteY6869" fmla="*/ 233895 h 2112317"/>
                <a:gd name="connsiteX6870" fmla="*/ 3857621 w 9154202"/>
                <a:gd name="connsiteY6870" fmla="*/ 233298 h 2112317"/>
                <a:gd name="connsiteX6871" fmla="*/ 3857621 w 9154202"/>
                <a:gd name="connsiteY6871" fmla="*/ 232303 h 2112317"/>
                <a:gd name="connsiteX6872" fmla="*/ 3859514 w 9154202"/>
                <a:gd name="connsiteY6872" fmla="*/ 224742 h 2112317"/>
                <a:gd name="connsiteX6873" fmla="*/ 3860212 w 9154202"/>
                <a:gd name="connsiteY6873" fmla="*/ 222653 h 2112317"/>
                <a:gd name="connsiteX6874" fmla="*/ 3861507 w 9154202"/>
                <a:gd name="connsiteY6874" fmla="*/ 220962 h 2112317"/>
                <a:gd name="connsiteX6875" fmla="*/ 3863102 w 9154202"/>
                <a:gd name="connsiteY6875" fmla="*/ 219270 h 2112317"/>
                <a:gd name="connsiteX6876" fmla="*/ 3866390 w 9154202"/>
                <a:gd name="connsiteY6876" fmla="*/ 216584 h 2112317"/>
                <a:gd name="connsiteX6877" fmla="*/ 3871472 w 9154202"/>
                <a:gd name="connsiteY6877" fmla="*/ 214793 h 2112317"/>
                <a:gd name="connsiteX6878" fmla="*/ 3872867 w 9154202"/>
                <a:gd name="connsiteY6878" fmla="*/ 213500 h 2112317"/>
                <a:gd name="connsiteX6879" fmla="*/ 3873863 w 9154202"/>
                <a:gd name="connsiteY6879" fmla="*/ 211610 h 2112317"/>
                <a:gd name="connsiteX6880" fmla="*/ 3875059 w 9154202"/>
                <a:gd name="connsiteY6880" fmla="*/ 208625 h 2112317"/>
                <a:gd name="connsiteX6881" fmla="*/ 3875557 w 9154202"/>
                <a:gd name="connsiteY6881" fmla="*/ 205740 h 2112317"/>
                <a:gd name="connsiteX6882" fmla="*/ 3874561 w 9154202"/>
                <a:gd name="connsiteY6882" fmla="*/ 204546 h 2112317"/>
                <a:gd name="connsiteX6883" fmla="*/ 3873564 w 9154202"/>
                <a:gd name="connsiteY6883" fmla="*/ 203452 h 2112317"/>
                <a:gd name="connsiteX6884" fmla="*/ 3874461 w 9154202"/>
                <a:gd name="connsiteY6884" fmla="*/ 201164 h 2112317"/>
                <a:gd name="connsiteX6885" fmla="*/ 3876753 w 9154202"/>
                <a:gd name="connsiteY6885" fmla="*/ 197781 h 2112317"/>
                <a:gd name="connsiteX6886" fmla="*/ 3876753 w 9154202"/>
                <a:gd name="connsiteY6886" fmla="*/ 194796 h 2112317"/>
                <a:gd name="connsiteX6887" fmla="*/ 3877251 w 9154202"/>
                <a:gd name="connsiteY6887" fmla="*/ 192807 h 2112317"/>
                <a:gd name="connsiteX6888" fmla="*/ 3881037 w 9154202"/>
                <a:gd name="connsiteY6888" fmla="*/ 187136 h 2112317"/>
                <a:gd name="connsiteX6889" fmla="*/ 3881037 w 9154202"/>
                <a:gd name="connsiteY6889" fmla="*/ 185544 h 2112317"/>
                <a:gd name="connsiteX6890" fmla="*/ 3879642 w 9154202"/>
                <a:gd name="connsiteY6890" fmla="*/ 184450 h 2112317"/>
                <a:gd name="connsiteX6891" fmla="*/ 3877550 w 9154202"/>
                <a:gd name="connsiteY6891" fmla="*/ 182360 h 2112317"/>
                <a:gd name="connsiteX6892" fmla="*/ 3878845 w 9154202"/>
                <a:gd name="connsiteY6892" fmla="*/ 179674 h 2112317"/>
                <a:gd name="connsiteX6893" fmla="*/ 3883230 w 9154202"/>
                <a:gd name="connsiteY6893" fmla="*/ 172810 h 2112317"/>
                <a:gd name="connsiteX6894" fmla="*/ 3885721 w 9154202"/>
                <a:gd name="connsiteY6894" fmla="*/ 170720 h 2112317"/>
                <a:gd name="connsiteX6895" fmla="*/ 3886817 w 9154202"/>
                <a:gd name="connsiteY6895" fmla="*/ 168830 h 2112317"/>
                <a:gd name="connsiteX6896" fmla="*/ 3887614 w 9154202"/>
                <a:gd name="connsiteY6896" fmla="*/ 166840 h 2112317"/>
                <a:gd name="connsiteX6897" fmla="*/ 3887614 w 9154202"/>
                <a:gd name="connsiteY6897" fmla="*/ 165348 h 2112317"/>
                <a:gd name="connsiteX6898" fmla="*/ 3887614 w 9154202"/>
                <a:gd name="connsiteY6898" fmla="*/ 163557 h 2112317"/>
                <a:gd name="connsiteX6899" fmla="*/ 3887016 w 9154202"/>
                <a:gd name="connsiteY6899" fmla="*/ 162761 h 2112317"/>
                <a:gd name="connsiteX6900" fmla="*/ 3886219 w 9154202"/>
                <a:gd name="connsiteY6900" fmla="*/ 162065 h 2112317"/>
                <a:gd name="connsiteX6901" fmla="*/ 3885322 w 9154202"/>
                <a:gd name="connsiteY6901" fmla="*/ 160473 h 2112317"/>
                <a:gd name="connsiteX6902" fmla="*/ 3884525 w 9154202"/>
                <a:gd name="connsiteY6902" fmla="*/ 158782 h 2112317"/>
                <a:gd name="connsiteX6903" fmla="*/ 3883628 w 9154202"/>
                <a:gd name="connsiteY6903" fmla="*/ 155996 h 2112317"/>
                <a:gd name="connsiteX6904" fmla="*/ 3883628 w 9154202"/>
                <a:gd name="connsiteY6904" fmla="*/ 152813 h 2112317"/>
                <a:gd name="connsiteX6905" fmla="*/ 3884326 w 9154202"/>
                <a:gd name="connsiteY6905" fmla="*/ 150127 h 2112317"/>
                <a:gd name="connsiteX6906" fmla="*/ 3888610 w 9154202"/>
                <a:gd name="connsiteY6906" fmla="*/ 147341 h 2112317"/>
                <a:gd name="connsiteX6907" fmla="*/ 3890703 w 9154202"/>
                <a:gd name="connsiteY6907" fmla="*/ 145252 h 2112317"/>
                <a:gd name="connsiteX6908" fmla="*/ 3889806 w 9154202"/>
                <a:gd name="connsiteY6908" fmla="*/ 137691 h 2112317"/>
                <a:gd name="connsiteX6909" fmla="*/ 3894589 w 9154202"/>
                <a:gd name="connsiteY6909" fmla="*/ 133612 h 2112317"/>
                <a:gd name="connsiteX6910" fmla="*/ 3901166 w 9154202"/>
                <a:gd name="connsiteY6910" fmla="*/ 131025 h 2112317"/>
                <a:gd name="connsiteX6911" fmla="*/ 3906048 w 9154202"/>
                <a:gd name="connsiteY6911" fmla="*/ 130130 h 2112317"/>
                <a:gd name="connsiteX6912" fmla="*/ 3911329 w 9154202"/>
                <a:gd name="connsiteY6912" fmla="*/ 130130 h 2112317"/>
                <a:gd name="connsiteX6913" fmla="*/ 3917408 w 9154202"/>
                <a:gd name="connsiteY6913" fmla="*/ 131522 h 2112317"/>
                <a:gd name="connsiteX6914" fmla="*/ 3922290 w 9154202"/>
                <a:gd name="connsiteY6914" fmla="*/ 134805 h 2112317"/>
                <a:gd name="connsiteX6915" fmla="*/ 3923884 w 9154202"/>
                <a:gd name="connsiteY6915" fmla="*/ 140775 h 2112317"/>
                <a:gd name="connsiteX6916" fmla="*/ 3928767 w 9154202"/>
                <a:gd name="connsiteY6916" fmla="*/ 138487 h 2112317"/>
                <a:gd name="connsiteX6917" fmla="*/ 3963941 w 9154202"/>
                <a:gd name="connsiteY6917" fmla="*/ 137293 h 2112317"/>
                <a:gd name="connsiteX6918" fmla="*/ 3976596 w 9154202"/>
                <a:gd name="connsiteY6918" fmla="*/ 140377 h 2112317"/>
                <a:gd name="connsiteX6919" fmla="*/ 3997222 w 9154202"/>
                <a:gd name="connsiteY6919" fmla="*/ 151320 h 2112317"/>
                <a:gd name="connsiteX6920" fmla="*/ 4003201 w 9154202"/>
                <a:gd name="connsiteY6920" fmla="*/ 153509 h 2112317"/>
                <a:gd name="connsiteX6921" fmla="*/ 4005991 w 9154202"/>
                <a:gd name="connsiteY6921" fmla="*/ 155996 h 2112317"/>
                <a:gd name="connsiteX6922" fmla="*/ 4007087 w 9154202"/>
                <a:gd name="connsiteY6922" fmla="*/ 158086 h 2112317"/>
                <a:gd name="connsiteX6923" fmla="*/ 4008482 w 9154202"/>
                <a:gd name="connsiteY6923" fmla="*/ 162960 h 2112317"/>
                <a:gd name="connsiteX6924" fmla="*/ 4009877 w 9154202"/>
                <a:gd name="connsiteY6924" fmla="*/ 165050 h 2112317"/>
                <a:gd name="connsiteX6925" fmla="*/ 4012966 w 9154202"/>
                <a:gd name="connsiteY6925" fmla="*/ 166641 h 2112317"/>
                <a:gd name="connsiteX6926" fmla="*/ 4015657 w 9154202"/>
                <a:gd name="connsiteY6926" fmla="*/ 166641 h 2112317"/>
                <a:gd name="connsiteX6927" fmla="*/ 4025621 w 9154202"/>
                <a:gd name="connsiteY6927" fmla="*/ 164154 h 2112317"/>
                <a:gd name="connsiteX6928" fmla="*/ 4026518 w 9154202"/>
                <a:gd name="connsiteY6928" fmla="*/ 161767 h 2112317"/>
                <a:gd name="connsiteX6929" fmla="*/ 4025422 w 9154202"/>
                <a:gd name="connsiteY6929" fmla="*/ 158881 h 2112317"/>
                <a:gd name="connsiteX6930" fmla="*/ 4023230 w 9154202"/>
                <a:gd name="connsiteY6930" fmla="*/ 156593 h 2112317"/>
                <a:gd name="connsiteX6931" fmla="*/ 4010475 w 9154202"/>
                <a:gd name="connsiteY6931" fmla="*/ 153111 h 2112317"/>
                <a:gd name="connsiteX6932" fmla="*/ 4007087 w 9154202"/>
                <a:gd name="connsiteY6932" fmla="*/ 151619 h 2112317"/>
                <a:gd name="connsiteX6933" fmla="*/ 3999713 w 9154202"/>
                <a:gd name="connsiteY6933" fmla="*/ 140874 h 2112317"/>
                <a:gd name="connsiteX6934" fmla="*/ 3994333 w 9154202"/>
                <a:gd name="connsiteY6934" fmla="*/ 137392 h 2112317"/>
                <a:gd name="connsiteX6935" fmla="*/ 3980980 w 9154202"/>
                <a:gd name="connsiteY6935" fmla="*/ 132816 h 2112317"/>
                <a:gd name="connsiteX6936" fmla="*/ 3976795 w 9154202"/>
                <a:gd name="connsiteY6936" fmla="*/ 126747 h 2112317"/>
                <a:gd name="connsiteX6937" fmla="*/ 3976198 w 9154202"/>
                <a:gd name="connsiteY6937" fmla="*/ 119385 h 2112317"/>
                <a:gd name="connsiteX6938" fmla="*/ 3975101 w 9154202"/>
                <a:gd name="connsiteY6938" fmla="*/ 116798 h 2112317"/>
                <a:gd name="connsiteX6939" fmla="*/ 3972012 w 9154202"/>
                <a:gd name="connsiteY6939" fmla="*/ 115803 h 2112317"/>
                <a:gd name="connsiteX6940" fmla="*/ 3971215 w 9154202"/>
                <a:gd name="connsiteY6940" fmla="*/ 114013 h 2112317"/>
                <a:gd name="connsiteX6941" fmla="*/ 3972511 w 9154202"/>
                <a:gd name="connsiteY6941" fmla="*/ 110033 h 2112317"/>
                <a:gd name="connsiteX6942" fmla="*/ 3975799 w 9154202"/>
                <a:gd name="connsiteY6942" fmla="*/ 102969 h 2112317"/>
                <a:gd name="connsiteX6943" fmla="*/ 3975799 w 9154202"/>
                <a:gd name="connsiteY6943" fmla="*/ 101975 h 2112317"/>
                <a:gd name="connsiteX6944" fmla="*/ 3975799 w 9154202"/>
                <a:gd name="connsiteY6944" fmla="*/ 101278 h 2112317"/>
                <a:gd name="connsiteX6945" fmla="*/ 3975799 w 9154202"/>
                <a:gd name="connsiteY6945" fmla="*/ 100681 h 2112317"/>
                <a:gd name="connsiteX6946" fmla="*/ 3977792 w 9154202"/>
                <a:gd name="connsiteY6946" fmla="*/ 100681 h 2112317"/>
                <a:gd name="connsiteX6947" fmla="*/ 3978689 w 9154202"/>
                <a:gd name="connsiteY6947" fmla="*/ 99885 h 2112317"/>
                <a:gd name="connsiteX6948" fmla="*/ 3979585 w 9154202"/>
                <a:gd name="connsiteY6948" fmla="*/ 98891 h 2112317"/>
                <a:gd name="connsiteX6949" fmla="*/ 3981678 w 9154202"/>
                <a:gd name="connsiteY6949" fmla="*/ 95408 h 2112317"/>
                <a:gd name="connsiteX6950" fmla="*/ 3982276 w 9154202"/>
                <a:gd name="connsiteY6950" fmla="*/ 93817 h 2112317"/>
                <a:gd name="connsiteX6951" fmla="*/ 3982774 w 9154202"/>
                <a:gd name="connsiteY6951" fmla="*/ 87748 h 2112317"/>
                <a:gd name="connsiteX6952" fmla="*/ 3983671 w 9154202"/>
                <a:gd name="connsiteY6952" fmla="*/ 83967 h 2112317"/>
                <a:gd name="connsiteX6953" fmla="*/ 3985066 w 9154202"/>
                <a:gd name="connsiteY6953" fmla="*/ 80585 h 2112317"/>
                <a:gd name="connsiteX6954" fmla="*/ 3986760 w 9154202"/>
                <a:gd name="connsiteY6954" fmla="*/ 77799 h 2112317"/>
                <a:gd name="connsiteX6955" fmla="*/ 3991543 w 9154202"/>
                <a:gd name="connsiteY6955" fmla="*/ 72228 h 2112317"/>
                <a:gd name="connsiteX6956" fmla="*/ 3992240 w 9154202"/>
                <a:gd name="connsiteY6956" fmla="*/ 70437 h 2112317"/>
                <a:gd name="connsiteX6957" fmla="*/ 3992240 w 9154202"/>
                <a:gd name="connsiteY6957" fmla="*/ 68845 h 2112317"/>
                <a:gd name="connsiteX6958" fmla="*/ 3991742 w 9154202"/>
                <a:gd name="connsiteY6958" fmla="*/ 67452 h 2112317"/>
                <a:gd name="connsiteX6959" fmla="*/ 3991742 w 9154202"/>
                <a:gd name="connsiteY6959" fmla="*/ 66159 h 2112317"/>
                <a:gd name="connsiteX6960" fmla="*/ 3997820 w 9154202"/>
                <a:gd name="connsiteY6960" fmla="*/ 56210 h 2112317"/>
                <a:gd name="connsiteX6961" fmla="*/ 4000012 w 9154202"/>
                <a:gd name="connsiteY6961" fmla="*/ 54022 h 2112317"/>
                <a:gd name="connsiteX6962" fmla="*/ 4004995 w 9154202"/>
                <a:gd name="connsiteY6962" fmla="*/ 50341 h 2112317"/>
                <a:gd name="connsiteX6963" fmla="*/ 4006489 w 9154202"/>
                <a:gd name="connsiteY6963" fmla="*/ 48351 h 2112317"/>
                <a:gd name="connsiteX6964" fmla="*/ 4006489 w 9154202"/>
                <a:gd name="connsiteY6964" fmla="*/ 44869 h 2112317"/>
                <a:gd name="connsiteX6965" fmla="*/ 4006489 w 9154202"/>
                <a:gd name="connsiteY6965" fmla="*/ 41884 h 2112317"/>
                <a:gd name="connsiteX6966" fmla="*/ 4007087 w 9154202"/>
                <a:gd name="connsiteY6966" fmla="*/ 39397 h 2112317"/>
                <a:gd name="connsiteX6967" fmla="*/ 4008582 w 9154202"/>
                <a:gd name="connsiteY6967" fmla="*/ 38303 h 2112317"/>
                <a:gd name="connsiteX6968" fmla="*/ 4011770 w 9154202"/>
                <a:gd name="connsiteY6968" fmla="*/ 38303 h 2112317"/>
                <a:gd name="connsiteX6969" fmla="*/ 4013863 w 9154202"/>
                <a:gd name="connsiteY6969" fmla="*/ 39795 h 2112317"/>
                <a:gd name="connsiteX6970" fmla="*/ 4020639 w 9154202"/>
                <a:gd name="connsiteY6970" fmla="*/ 45565 h 2112317"/>
                <a:gd name="connsiteX6971" fmla="*/ 4022133 w 9154202"/>
                <a:gd name="connsiteY6971" fmla="*/ 47555 h 2112317"/>
                <a:gd name="connsiteX6972" fmla="*/ 4020838 w 9154202"/>
                <a:gd name="connsiteY6972" fmla="*/ 50739 h 2112317"/>
                <a:gd name="connsiteX6973" fmla="*/ 4017849 w 9154202"/>
                <a:gd name="connsiteY6973" fmla="*/ 52330 h 2112317"/>
                <a:gd name="connsiteX6974" fmla="*/ 4011770 w 9154202"/>
                <a:gd name="connsiteY6974" fmla="*/ 54320 h 2112317"/>
                <a:gd name="connsiteX6975" fmla="*/ 4013464 w 9154202"/>
                <a:gd name="connsiteY6975" fmla="*/ 56310 h 2112317"/>
                <a:gd name="connsiteX6976" fmla="*/ 4015955 w 9154202"/>
                <a:gd name="connsiteY6976" fmla="*/ 57106 h 2112317"/>
                <a:gd name="connsiteX6977" fmla="*/ 4018447 w 9154202"/>
                <a:gd name="connsiteY6977" fmla="*/ 57106 h 2112317"/>
                <a:gd name="connsiteX6978" fmla="*/ 4032995 w 9154202"/>
                <a:gd name="connsiteY6978" fmla="*/ 54420 h 2112317"/>
                <a:gd name="connsiteX6979" fmla="*/ 4036482 w 9154202"/>
                <a:gd name="connsiteY6979" fmla="*/ 55514 h 2112317"/>
                <a:gd name="connsiteX6980" fmla="*/ 4035884 w 9154202"/>
                <a:gd name="connsiteY6980" fmla="*/ 58300 h 2112317"/>
                <a:gd name="connsiteX6981" fmla="*/ 4033393 w 9154202"/>
                <a:gd name="connsiteY6981" fmla="*/ 61483 h 2112317"/>
                <a:gd name="connsiteX6982" fmla="*/ 4028012 w 9154202"/>
                <a:gd name="connsiteY6982" fmla="*/ 66557 h 2112317"/>
                <a:gd name="connsiteX6983" fmla="*/ 4025621 w 9154202"/>
                <a:gd name="connsiteY6983" fmla="*/ 68149 h 2112317"/>
                <a:gd name="connsiteX6984" fmla="*/ 4022632 w 9154202"/>
                <a:gd name="connsiteY6984" fmla="*/ 68845 h 2112317"/>
                <a:gd name="connsiteX6985" fmla="*/ 4019343 w 9154202"/>
                <a:gd name="connsiteY6985" fmla="*/ 68845 h 2112317"/>
                <a:gd name="connsiteX6986" fmla="*/ 4016553 w 9154202"/>
                <a:gd name="connsiteY6986" fmla="*/ 69741 h 2112317"/>
                <a:gd name="connsiteX6987" fmla="*/ 4011172 w 9154202"/>
                <a:gd name="connsiteY6987" fmla="*/ 73919 h 2112317"/>
                <a:gd name="connsiteX6988" fmla="*/ 4007685 w 9154202"/>
                <a:gd name="connsiteY6988" fmla="*/ 75014 h 2112317"/>
                <a:gd name="connsiteX6989" fmla="*/ 4001109 w 9154202"/>
                <a:gd name="connsiteY6989" fmla="*/ 75014 h 2112317"/>
                <a:gd name="connsiteX6990" fmla="*/ 3999614 w 9154202"/>
                <a:gd name="connsiteY6990" fmla="*/ 75014 h 2112317"/>
                <a:gd name="connsiteX6991" fmla="*/ 3996625 w 9154202"/>
                <a:gd name="connsiteY6991" fmla="*/ 76605 h 2112317"/>
                <a:gd name="connsiteX6992" fmla="*/ 3995030 w 9154202"/>
                <a:gd name="connsiteY6992" fmla="*/ 77103 h 2112317"/>
                <a:gd name="connsiteX6993" fmla="*/ 3992240 w 9154202"/>
                <a:gd name="connsiteY6993" fmla="*/ 78396 h 2112317"/>
                <a:gd name="connsiteX6994" fmla="*/ 3991343 w 9154202"/>
                <a:gd name="connsiteY6994" fmla="*/ 81580 h 2112317"/>
                <a:gd name="connsiteX6995" fmla="*/ 3991343 w 9154202"/>
                <a:gd name="connsiteY6995" fmla="*/ 89340 h 2112317"/>
                <a:gd name="connsiteX6996" fmla="*/ 3990746 w 9154202"/>
                <a:gd name="connsiteY6996" fmla="*/ 91230 h 2112317"/>
                <a:gd name="connsiteX6997" fmla="*/ 3989151 w 9154202"/>
                <a:gd name="connsiteY6997" fmla="*/ 94115 h 2112317"/>
                <a:gd name="connsiteX6998" fmla="*/ 3989151 w 9154202"/>
                <a:gd name="connsiteY6998" fmla="*/ 95906 h 2112317"/>
                <a:gd name="connsiteX6999" fmla="*/ 3989650 w 9154202"/>
                <a:gd name="connsiteY6999" fmla="*/ 97796 h 2112317"/>
                <a:gd name="connsiteX7000" fmla="*/ 3992141 w 9154202"/>
                <a:gd name="connsiteY7000" fmla="*/ 100383 h 2112317"/>
                <a:gd name="connsiteX7001" fmla="*/ 3992639 w 9154202"/>
                <a:gd name="connsiteY7001" fmla="*/ 102074 h 2112317"/>
                <a:gd name="connsiteX7002" fmla="*/ 3991044 w 9154202"/>
                <a:gd name="connsiteY7002" fmla="*/ 102074 h 2112317"/>
                <a:gd name="connsiteX7003" fmla="*/ 3987457 w 9154202"/>
                <a:gd name="connsiteY7003" fmla="*/ 104462 h 2112317"/>
                <a:gd name="connsiteX7004" fmla="*/ 3982176 w 9154202"/>
                <a:gd name="connsiteY7004" fmla="*/ 109138 h 2112317"/>
                <a:gd name="connsiteX7005" fmla="*/ 3983372 w 9154202"/>
                <a:gd name="connsiteY7005" fmla="*/ 111227 h 2112317"/>
                <a:gd name="connsiteX7006" fmla="*/ 3985166 w 9154202"/>
                <a:gd name="connsiteY7006" fmla="*/ 112918 h 2112317"/>
                <a:gd name="connsiteX7007" fmla="*/ 3993436 w 9154202"/>
                <a:gd name="connsiteY7007" fmla="*/ 117793 h 2112317"/>
                <a:gd name="connsiteX7008" fmla="*/ 3995130 w 9154202"/>
                <a:gd name="connsiteY7008" fmla="*/ 119285 h 2112317"/>
                <a:gd name="connsiteX7009" fmla="*/ 3996923 w 9154202"/>
                <a:gd name="connsiteY7009" fmla="*/ 121375 h 2112317"/>
                <a:gd name="connsiteX7010" fmla="*/ 3999215 w 9154202"/>
                <a:gd name="connsiteY7010" fmla="*/ 124658 h 2112317"/>
                <a:gd name="connsiteX7011" fmla="*/ 4000610 w 9154202"/>
                <a:gd name="connsiteY7011" fmla="*/ 125255 h 2112317"/>
                <a:gd name="connsiteX7012" fmla="*/ 4003101 w 9154202"/>
                <a:gd name="connsiteY7012" fmla="*/ 125255 h 2112317"/>
                <a:gd name="connsiteX7013" fmla="*/ 4005294 w 9154202"/>
                <a:gd name="connsiteY7013" fmla="*/ 124061 h 2112317"/>
                <a:gd name="connsiteX7014" fmla="*/ 4006888 w 9154202"/>
                <a:gd name="connsiteY7014" fmla="*/ 122171 h 2112317"/>
                <a:gd name="connsiteX7015" fmla="*/ 4006888 w 9154202"/>
                <a:gd name="connsiteY7015" fmla="*/ 119982 h 2112317"/>
                <a:gd name="connsiteX7016" fmla="*/ 4005294 w 9154202"/>
                <a:gd name="connsiteY7016" fmla="*/ 117893 h 2112317"/>
                <a:gd name="connsiteX7017" fmla="*/ 4007486 w 9154202"/>
                <a:gd name="connsiteY7017" fmla="*/ 114311 h 2112317"/>
                <a:gd name="connsiteX7018" fmla="*/ 4010874 w 9154202"/>
                <a:gd name="connsiteY7018" fmla="*/ 112321 h 2112317"/>
                <a:gd name="connsiteX7019" fmla="*/ 4014361 w 9154202"/>
                <a:gd name="connsiteY7019" fmla="*/ 110928 h 2112317"/>
                <a:gd name="connsiteX7020" fmla="*/ 4019543 w 9154202"/>
                <a:gd name="connsiteY7020" fmla="*/ 106153 h 2112317"/>
                <a:gd name="connsiteX7021" fmla="*/ 4022931 w 9154202"/>
                <a:gd name="connsiteY7021" fmla="*/ 104661 h 2112317"/>
                <a:gd name="connsiteX7022" fmla="*/ 4026319 w 9154202"/>
                <a:gd name="connsiteY7022" fmla="*/ 104661 h 2112317"/>
                <a:gd name="connsiteX7023" fmla="*/ 4032297 w 9154202"/>
                <a:gd name="connsiteY7023" fmla="*/ 107844 h 2112317"/>
                <a:gd name="connsiteX7024" fmla="*/ 4034988 w 9154202"/>
                <a:gd name="connsiteY7024" fmla="*/ 105954 h 2112317"/>
                <a:gd name="connsiteX7025" fmla="*/ 4039172 w 9154202"/>
                <a:gd name="connsiteY7025" fmla="*/ 99587 h 2112317"/>
                <a:gd name="connsiteX7026" fmla="*/ 4040368 w 9154202"/>
                <a:gd name="connsiteY7026" fmla="*/ 98393 h 2112317"/>
                <a:gd name="connsiteX7027" fmla="*/ 4041863 w 9154202"/>
                <a:gd name="connsiteY7027" fmla="*/ 97199 h 2112317"/>
                <a:gd name="connsiteX7028" fmla="*/ 4043358 w 9154202"/>
                <a:gd name="connsiteY7028" fmla="*/ 96403 h 2112317"/>
                <a:gd name="connsiteX7029" fmla="*/ 4044852 w 9154202"/>
                <a:gd name="connsiteY7029" fmla="*/ 96403 h 2112317"/>
                <a:gd name="connsiteX7030" fmla="*/ 4044852 w 9154202"/>
                <a:gd name="connsiteY7030" fmla="*/ 97398 h 2112317"/>
                <a:gd name="connsiteX7031" fmla="*/ 4045650 w 9154202"/>
                <a:gd name="connsiteY7031" fmla="*/ 102074 h 2112317"/>
                <a:gd name="connsiteX7032" fmla="*/ 4045650 w 9154202"/>
                <a:gd name="connsiteY7032" fmla="*/ 103666 h 2112317"/>
                <a:gd name="connsiteX7033" fmla="*/ 4044155 w 9154202"/>
                <a:gd name="connsiteY7033" fmla="*/ 106651 h 2112317"/>
                <a:gd name="connsiteX7034" fmla="*/ 4042062 w 9154202"/>
                <a:gd name="connsiteY7034" fmla="*/ 109834 h 2112317"/>
                <a:gd name="connsiteX7035" fmla="*/ 4039571 w 9154202"/>
                <a:gd name="connsiteY7035" fmla="*/ 112321 h 2112317"/>
                <a:gd name="connsiteX7036" fmla="*/ 4037279 w 9154202"/>
                <a:gd name="connsiteY7036" fmla="*/ 113416 h 2112317"/>
                <a:gd name="connsiteX7037" fmla="*/ 4030304 w 9154202"/>
                <a:gd name="connsiteY7037" fmla="*/ 113416 h 2112317"/>
                <a:gd name="connsiteX7038" fmla="*/ 4028710 w 9154202"/>
                <a:gd name="connsiteY7038" fmla="*/ 113416 h 2112317"/>
                <a:gd name="connsiteX7039" fmla="*/ 4025920 w 9154202"/>
                <a:gd name="connsiteY7039" fmla="*/ 115007 h 2112317"/>
                <a:gd name="connsiteX7040" fmla="*/ 4024724 w 9154202"/>
                <a:gd name="connsiteY7040" fmla="*/ 115007 h 2112317"/>
                <a:gd name="connsiteX7041" fmla="*/ 4018247 w 9154202"/>
                <a:gd name="connsiteY7041" fmla="*/ 113913 h 2112317"/>
                <a:gd name="connsiteX7042" fmla="*/ 4014860 w 9154202"/>
                <a:gd name="connsiteY7042" fmla="*/ 114510 h 2112317"/>
                <a:gd name="connsiteX7043" fmla="*/ 4013365 w 9154202"/>
                <a:gd name="connsiteY7043" fmla="*/ 118092 h 2112317"/>
                <a:gd name="connsiteX7044" fmla="*/ 4014062 w 9154202"/>
                <a:gd name="connsiteY7044" fmla="*/ 121773 h 2112317"/>
                <a:gd name="connsiteX7045" fmla="*/ 4015557 w 9154202"/>
                <a:gd name="connsiteY7045" fmla="*/ 124757 h 2112317"/>
                <a:gd name="connsiteX7046" fmla="*/ 4017052 w 9154202"/>
                <a:gd name="connsiteY7046" fmla="*/ 126747 h 2112317"/>
                <a:gd name="connsiteX7047" fmla="*/ 4018247 w 9154202"/>
                <a:gd name="connsiteY7047" fmla="*/ 127642 h 2112317"/>
                <a:gd name="connsiteX7048" fmla="*/ 4018746 w 9154202"/>
                <a:gd name="connsiteY7048" fmla="*/ 127642 h 2112317"/>
                <a:gd name="connsiteX7049" fmla="*/ 4018746 w 9154202"/>
                <a:gd name="connsiteY7049" fmla="*/ 128339 h 2112317"/>
                <a:gd name="connsiteX7050" fmla="*/ 4018746 w 9154202"/>
                <a:gd name="connsiteY7050" fmla="*/ 129234 h 2112317"/>
                <a:gd name="connsiteX7051" fmla="*/ 4016454 w 9154202"/>
                <a:gd name="connsiteY7051" fmla="*/ 131721 h 2112317"/>
                <a:gd name="connsiteX7052" fmla="*/ 4015557 w 9154202"/>
                <a:gd name="connsiteY7052" fmla="*/ 133711 h 2112317"/>
                <a:gd name="connsiteX7053" fmla="*/ 4015557 w 9154202"/>
                <a:gd name="connsiteY7053" fmla="*/ 135701 h 2112317"/>
                <a:gd name="connsiteX7054" fmla="*/ 4017052 w 9154202"/>
                <a:gd name="connsiteY7054" fmla="*/ 138387 h 2112317"/>
                <a:gd name="connsiteX7055" fmla="*/ 4018148 w 9154202"/>
                <a:gd name="connsiteY7055" fmla="*/ 139183 h 2112317"/>
                <a:gd name="connsiteX7056" fmla="*/ 4021137 w 9154202"/>
                <a:gd name="connsiteY7056" fmla="*/ 139780 h 2112317"/>
                <a:gd name="connsiteX7057" fmla="*/ 4022233 w 9154202"/>
                <a:gd name="connsiteY7057" fmla="*/ 140775 h 2112317"/>
                <a:gd name="connsiteX7058" fmla="*/ 4022731 w 9154202"/>
                <a:gd name="connsiteY7058" fmla="*/ 142068 h 2112317"/>
                <a:gd name="connsiteX7059" fmla="*/ 4022731 w 9154202"/>
                <a:gd name="connsiteY7059" fmla="*/ 144854 h 2112317"/>
                <a:gd name="connsiteX7060" fmla="*/ 4022731 w 9154202"/>
                <a:gd name="connsiteY7060" fmla="*/ 146247 h 2112317"/>
                <a:gd name="connsiteX7061" fmla="*/ 4024824 w 9154202"/>
                <a:gd name="connsiteY7061" fmla="*/ 150624 h 2112317"/>
                <a:gd name="connsiteX7062" fmla="*/ 4031002 w 9154202"/>
                <a:gd name="connsiteY7062" fmla="*/ 157190 h 2112317"/>
                <a:gd name="connsiteX7063" fmla="*/ 4033293 w 9154202"/>
                <a:gd name="connsiteY7063" fmla="*/ 160772 h 2112317"/>
                <a:gd name="connsiteX7064" fmla="*/ 4032496 w 9154202"/>
                <a:gd name="connsiteY7064" fmla="*/ 163060 h 2112317"/>
                <a:gd name="connsiteX7065" fmla="*/ 4032496 w 9154202"/>
                <a:gd name="connsiteY7065" fmla="*/ 164254 h 2112317"/>
                <a:gd name="connsiteX7066" fmla="*/ 4033293 w 9154202"/>
                <a:gd name="connsiteY7066" fmla="*/ 165050 h 2112317"/>
                <a:gd name="connsiteX7067" fmla="*/ 4033293 w 9154202"/>
                <a:gd name="connsiteY7067" fmla="*/ 166244 h 2112317"/>
                <a:gd name="connsiteX7068" fmla="*/ 4032397 w 9154202"/>
                <a:gd name="connsiteY7068" fmla="*/ 173506 h 2112317"/>
                <a:gd name="connsiteX7069" fmla="*/ 4031799 w 9154202"/>
                <a:gd name="connsiteY7069" fmla="*/ 174899 h 2112317"/>
                <a:gd name="connsiteX7070" fmla="*/ 4030603 w 9154202"/>
                <a:gd name="connsiteY7070" fmla="*/ 176292 h 2112317"/>
                <a:gd name="connsiteX7071" fmla="*/ 4029706 w 9154202"/>
                <a:gd name="connsiteY7071" fmla="*/ 177784 h 2112317"/>
                <a:gd name="connsiteX7072" fmla="*/ 4030205 w 9154202"/>
                <a:gd name="connsiteY7072" fmla="*/ 179674 h 2112317"/>
                <a:gd name="connsiteX7073" fmla="*/ 4033493 w 9154202"/>
                <a:gd name="connsiteY7073" fmla="*/ 182360 h 2112317"/>
                <a:gd name="connsiteX7074" fmla="*/ 4034091 w 9154202"/>
                <a:gd name="connsiteY7074" fmla="*/ 183256 h 2112317"/>
                <a:gd name="connsiteX7075" fmla="*/ 4035386 w 9154202"/>
                <a:gd name="connsiteY7075" fmla="*/ 186638 h 2112317"/>
                <a:gd name="connsiteX7076" fmla="*/ 4038276 w 9154202"/>
                <a:gd name="connsiteY7076" fmla="*/ 189225 h 2112317"/>
                <a:gd name="connsiteX7077" fmla="*/ 4041763 w 9154202"/>
                <a:gd name="connsiteY7077" fmla="*/ 191314 h 2112317"/>
                <a:gd name="connsiteX7078" fmla="*/ 4044454 w 9154202"/>
                <a:gd name="connsiteY7078" fmla="*/ 193603 h 2112317"/>
                <a:gd name="connsiteX7079" fmla="*/ 4046347 w 9154202"/>
                <a:gd name="connsiteY7079" fmla="*/ 196488 h 2112317"/>
                <a:gd name="connsiteX7080" fmla="*/ 4047543 w 9154202"/>
                <a:gd name="connsiteY7080" fmla="*/ 199074 h 2112317"/>
                <a:gd name="connsiteX7081" fmla="*/ 4048838 w 9154202"/>
                <a:gd name="connsiteY7081" fmla="*/ 201164 h 2112317"/>
                <a:gd name="connsiteX7082" fmla="*/ 4051429 w 9154202"/>
                <a:gd name="connsiteY7082" fmla="*/ 203253 h 2112317"/>
                <a:gd name="connsiteX7083" fmla="*/ 4050632 w 9154202"/>
                <a:gd name="connsiteY7083" fmla="*/ 204447 h 2112317"/>
                <a:gd name="connsiteX7084" fmla="*/ 4051429 w 9154202"/>
                <a:gd name="connsiteY7084" fmla="*/ 206237 h 2112317"/>
                <a:gd name="connsiteX7085" fmla="*/ 4051429 w 9154202"/>
                <a:gd name="connsiteY7085" fmla="*/ 208227 h 2112317"/>
                <a:gd name="connsiteX7086" fmla="*/ 4050532 w 9154202"/>
                <a:gd name="connsiteY7086" fmla="*/ 210316 h 2112317"/>
                <a:gd name="connsiteX7087" fmla="*/ 4050532 w 9154202"/>
                <a:gd name="connsiteY7087" fmla="*/ 212804 h 2112317"/>
                <a:gd name="connsiteX7088" fmla="*/ 4051329 w 9154202"/>
                <a:gd name="connsiteY7088" fmla="*/ 215490 h 2112317"/>
                <a:gd name="connsiteX7089" fmla="*/ 4052724 w 9154202"/>
                <a:gd name="connsiteY7089" fmla="*/ 216982 h 2112317"/>
                <a:gd name="connsiteX7090" fmla="*/ 4056610 w 9154202"/>
                <a:gd name="connsiteY7090" fmla="*/ 218872 h 2112317"/>
                <a:gd name="connsiteX7091" fmla="*/ 4059899 w 9154202"/>
                <a:gd name="connsiteY7091" fmla="*/ 221459 h 2112317"/>
                <a:gd name="connsiteX7092" fmla="*/ 4061493 w 9154202"/>
                <a:gd name="connsiteY7092" fmla="*/ 223449 h 2112317"/>
                <a:gd name="connsiteX7093" fmla="*/ 4062689 w 9154202"/>
                <a:gd name="connsiteY7093" fmla="*/ 226035 h 2112317"/>
                <a:gd name="connsiteX7094" fmla="*/ 4062689 w 9154202"/>
                <a:gd name="connsiteY7094" fmla="*/ 228821 h 2112317"/>
                <a:gd name="connsiteX7095" fmla="*/ 4062689 w 9154202"/>
                <a:gd name="connsiteY7095" fmla="*/ 230711 h 2112317"/>
                <a:gd name="connsiteX7096" fmla="*/ 4062689 w 9154202"/>
                <a:gd name="connsiteY7096" fmla="*/ 232602 h 2112317"/>
                <a:gd name="connsiteX7097" fmla="*/ 4062689 w 9154202"/>
                <a:gd name="connsiteY7097" fmla="*/ 235288 h 2112317"/>
                <a:gd name="connsiteX7098" fmla="*/ 4063286 w 9154202"/>
                <a:gd name="connsiteY7098" fmla="*/ 236482 h 2112317"/>
                <a:gd name="connsiteX7099" fmla="*/ 4066575 w 9154202"/>
                <a:gd name="connsiteY7099" fmla="*/ 241357 h 2112317"/>
                <a:gd name="connsiteX7100" fmla="*/ 4068069 w 9154202"/>
                <a:gd name="connsiteY7100" fmla="*/ 242650 h 2112317"/>
                <a:gd name="connsiteX7101" fmla="*/ 4071856 w 9154202"/>
                <a:gd name="connsiteY7101" fmla="*/ 244441 h 2112317"/>
                <a:gd name="connsiteX7102" fmla="*/ 4073649 w 9154202"/>
                <a:gd name="connsiteY7102" fmla="*/ 246032 h 2112317"/>
                <a:gd name="connsiteX7103" fmla="*/ 4078731 w 9154202"/>
                <a:gd name="connsiteY7103" fmla="*/ 252400 h 2112317"/>
                <a:gd name="connsiteX7104" fmla="*/ 4084411 w 9154202"/>
                <a:gd name="connsiteY7104" fmla="*/ 257473 h 2112317"/>
                <a:gd name="connsiteX7105" fmla="*/ 4083514 w 9154202"/>
                <a:gd name="connsiteY7105" fmla="*/ 258767 h 2112317"/>
                <a:gd name="connsiteX7106" fmla="*/ 4081322 w 9154202"/>
                <a:gd name="connsiteY7106" fmla="*/ 261552 h 2112317"/>
                <a:gd name="connsiteX7107" fmla="*/ 4081322 w 9154202"/>
                <a:gd name="connsiteY7107" fmla="*/ 263045 h 2112317"/>
                <a:gd name="connsiteX7108" fmla="*/ 4081920 w 9154202"/>
                <a:gd name="connsiteY7108" fmla="*/ 264935 h 2112317"/>
                <a:gd name="connsiteX7109" fmla="*/ 4084112 w 9154202"/>
                <a:gd name="connsiteY7109" fmla="*/ 266527 h 2112317"/>
                <a:gd name="connsiteX7110" fmla="*/ 4084112 w 9154202"/>
                <a:gd name="connsiteY7110" fmla="*/ 268417 h 2112317"/>
                <a:gd name="connsiteX7111" fmla="*/ 4085407 w 9154202"/>
                <a:gd name="connsiteY7111" fmla="*/ 268417 h 2112317"/>
                <a:gd name="connsiteX7112" fmla="*/ 4084411 w 9154202"/>
                <a:gd name="connsiteY7112" fmla="*/ 272496 h 2112317"/>
                <a:gd name="connsiteX7113" fmla="*/ 4084909 w 9154202"/>
                <a:gd name="connsiteY7113" fmla="*/ 276177 h 2112317"/>
                <a:gd name="connsiteX7114" fmla="*/ 4086503 w 9154202"/>
                <a:gd name="connsiteY7114" fmla="*/ 279361 h 2112317"/>
                <a:gd name="connsiteX7115" fmla="*/ 4088895 w 9154202"/>
                <a:gd name="connsiteY7115" fmla="*/ 281649 h 2112317"/>
                <a:gd name="connsiteX7116" fmla="*/ 4090788 w 9154202"/>
                <a:gd name="connsiteY7116" fmla="*/ 282345 h 2112317"/>
                <a:gd name="connsiteX7117" fmla="*/ 4094774 w 9154202"/>
                <a:gd name="connsiteY7117" fmla="*/ 283340 h 2112317"/>
                <a:gd name="connsiteX7118" fmla="*/ 4096269 w 9154202"/>
                <a:gd name="connsiteY7118" fmla="*/ 284634 h 2112317"/>
                <a:gd name="connsiteX7119" fmla="*/ 4096269 w 9154202"/>
                <a:gd name="connsiteY7119" fmla="*/ 286325 h 2112317"/>
                <a:gd name="connsiteX7120" fmla="*/ 4095272 w 9154202"/>
                <a:gd name="connsiteY7120" fmla="*/ 287618 h 2112317"/>
                <a:gd name="connsiteX7121" fmla="*/ 4093877 w 9154202"/>
                <a:gd name="connsiteY7121" fmla="*/ 288514 h 2112317"/>
                <a:gd name="connsiteX7122" fmla="*/ 4089493 w 9154202"/>
                <a:gd name="connsiteY7122" fmla="*/ 290105 h 2112317"/>
                <a:gd name="connsiteX7123" fmla="*/ 4088994 w 9154202"/>
                <a:gd name="connsiteY7123" fmla="*/ 291001 h 2112317"/>
                <a:gd name="connsiteX7124" fmla="*/ 4088994 w 9154202"/>
                <a:gd name="connsiteY7124" fmla="*/ 292095 h 2112317"/>
                <a:gd name="connsiteX7125" fmla="*/ 4088994 w 9154202"/>
                <a:gd name="connsiteY7125" fmla="*/ 293587 h 2112317"/>
                <a:gd name="connsiteX7126" fmla="*/ 4083414 w 9154202"/>
                <a:gd name="connsiteY7126" fmla="*/ 294284 h 2112317"/>
                <a:gd name="connsiteX7127" fmla="*/ 4083414 w 9154202"/>
                <a:gd name="connsiteY7127" fmla="*/ 297169 h 2112317"/>
                <a:gd name="connsiteX7128" fmla="*/ 4085806 w 9154202"/>
                <a:gd name="connsiteY7128" fmla="*/ 300054 h 2112317"/>
                <a:gd name="connsiteX7129" fmla="*/ 4088895 w 9154202"/>
                <a:gd name="connsiteY7129" fmla="*/ 303039 h 2112317"/>
                <a:gd name="connsiteX7130" fmla="*/ 4090788 w 9154202"/>
                <a:gd name="connsiteY7130" fmla="*/ 305526 h 2112317"/>
                <a:gd name="connsiteX7131" fmla="*/ 4088596 w 9154202"/>
                <a:gd name="connsiteY7131" fmla="*/ 307516 h 2112317"/>
                <a:gd name="connsiteX7132" fmla="*/ 4087600 w 9154202"/>
                <a:gd name="connsiteY7132" fmla="*/ 308908 h 2112317"/>
                <a:gd name="connsiteX7133" fmla="*/ 4087600 w 9154202"/>
                <a:gd name="connsiteY7133" fmla="*/ 310401 h 2112317"/>
                <a:gd name="connsiteX7134" fmla="*/ 4088895 w 9154202"/>
                <a:gd name="connsiteY7134" fmla="*/ 313286 h 2112317"/>
                <a:gd name="connsiteX7135" fmla="*/ 4093578 w 9154202"/>
                <a:gd name="connsiteY7135" fmla="*/ 317464 h 2112317"/>
                <a:gd name="connsiteX7136" fmla="*/ 4095173 w 9154202"/>
                <a:gd name="connsiteY7136" fmla="*/ 322936 h 2112317"/>
                <a:gd name="connsiteX7137" fmla="*/ 4098361 w 9154202"/>
                <a:gd name="connsiteY7137" fmla="*/ 328905 h 2112317"/>
                <a:gd name="connsiteX7138" fmla="*/ 4099756 w 9154202"/>
                <a:gd name="connsiteY7138" fmla="*/ 330895 h 2112317"/>
                <a:gd name="connsiteX7139" fmla="*/ 4102347 w 9154202"/>
                <a:gd name="connsiteY7139" fmla="*/ 332984 h 2112317"/>
                <a:gd name="connsiteX7140" fmla="*/ 4108226 w 9154202"/>
                <a:gd name="connsiteY7140" fmla="*/ 336367 h 2112317"/>
                <a:gd name="connsiteX7141" fmla="*/ 4110717 w 9154202"/>
                <a:gd name="connsiteY7141" fmla="*/ 338655 h 2112317"/>
                <a:gd name="connsiteX7142" fmla="*/ 4112810 w 9154202"/>
                <a:gd name="connsiteY7142" fmla="*/ 341441 h 2112317"/>
                <a:gd name="connsiteX7143" fmla="*/ 4113905 w 9154202"/>
                <a:gd name="connsiteY7143" fmla="*/ 343232 h 2112317"/>
                <a:gd name="connsiteX7144" fmla="*/ 4114603 w 9154202"/>
                <a:gd name="connsiteY7144" fmla="*/ 345221 h 2112317"/>
                <a:gd name="connsiteX7145" fmla="*/ 4114603 w 9154202"/>
                <a:gd name="connsiteY7145" fmla="*/ 347012 h 2112317"/>
                <a:gd name="connsiteX7146" fmla="*/ 4113905 w 9154202"/>
                <a:gd name="connsiteY7146" fmla="*/ 350096 h 2112317"/>
                <a:gd name="connsiteX7147" fmla="*/ 4113905 w 9154202"/>
                <a:gd name="connsiteY7147" fmla="*/ 351688 h 2112317"/>
                <a:gd name="connsiteX7148" fmla="*/ 4115400 w 9154202"/>
                <a:gd name="connsiteY7148" fmla="*/ 355071 h 2112317"/>
                <a:gd name="connsiteX7149" fmla="*/ 4119884 w 9154202"/>
                <a:gd name="connsiteY7149" fmla="*/ 360542 h 2112317"/>
                <a:gd name="connsiteX7150" fmla="*/ 4121379 w 9154202"/>
                <a:gd name="connsiteY7150" fmla="*/ 367805 h 2112317"/>
                <a:gd name="connsiteX7151" fmla="*/ 4124667 w 9154202"/>
                <a:gd name="connsiteY7151" fmla="*/ 374073 h 2112317"/>
                <a:gd name="connsiteX7152" fmla="*/ 4125963 w 9154202"/>
                <a:gd name="connsiteY7152" fmla="*/ 378052 h 2112317"/>
                <a:gd name="connsiteX7153" fmla="*/ 4125963 w 9154202"/>
                <a:gd name="connsiteY7153" fmla="*/ 384718 h 2112317"/>
                <a:gd name="connsiteX7154" fmla="*/ 4126461 w 9154202"/>
                <a:gd name="connsiteY7154" fmla="*/ 386409 h 2112317"/>
                <a:gd name="connsiteX7155" fmla="*/ 4127656 w 9154202"/>
                <a:gd name="connsiteY7155" fmla="*/ 387504 h 2112317"/>
                <a:gd name="connsiteX7156" fmla="*/ 4128952 w 9154202"/>
                <a:gd name="connsiteY7156" fmla="*/ 387504 h 2112317"/>
                <a:gd name="connsiteX7157" fmla="*/ 4129450 w 9154202"/>
                <a:gd name="connsiteY7157" fmla="*/ 386807 h 2112317"/>
                <a:gd name="connsiteX7158" fmla="*/ 4130945 w 9154202"/>
                <a:gd name="connsiteY7158" fmla="*/ 386807 h 2112317"/>
                <a:gd name="connsiteX7159" fmla="*/ 4133735 w 9154202"/>
                <a:gd name="connsiteY7159" fmla="*/ 388797 h 2112317"/>
                <a:gd name="connsiteX7160" fmla="*/ 4135030 w 9154202"/>
                <a:gd name="connsiteY7160" fmla="*/ 391682 h 2112317"/>
                <a:gd name="connsiteX7161" fmla="*/ 4132041 w 9154202"/>
                <a:gd name="connsiteY7161" fmla="*/ 395164 h 2112317"/>
                <a:gd name="connsiteX7162" fmla="*/ 4133436 w 9154202"/>
                <a:gd name="connsiteY7162" fmla="*/ 396059 h 2112317"/>
                <a:gd name="connsiteX7163" fmla="*/ 4134632 w 9154202"/>
                <a:gd name="connsiteY7163" fmla="*/ 397154 h 2112317"/>
                <a:gd name="connsiteX7164" fmla="*/ 4135329 w 9154202"/>
                <a:gd name="connsiteY7164" fmla="*/ 398447 h 2112317"/>
                <a:gd name="connsiteX7165" fmla="*/ 4135329 w 9154202"/>
                <a:gd name="connsiteY7165" fmla="*/ 400536 h 2112317"/>
                <a:gd name="connsiteX7166" fmla="*/ 4134632 w 9154202"/>
                <a:gd name="connsiteY7166" fmla="*/ 401133 h 2112317"/>
                <a:gd name="connsiteX7167" fmla="*/ 4132938 w 9154202"/>
                <a:gd name="connsiteY7167" fmla="*/ 401929 h 2112317"/>
                <a:gd name="connsiteX7168" fmla="*/ 4131144 w 9154202"/>
                <a:gd name="connsiteY7168" fmla="*/ 403024 h 2112317"/>
                <a:gd name="connsiteX7169" fmla="*/ 4130148 w 9154202"/>
                <a:gd name="connsiteY7169" fmla="*/ 404814 h 2112317"/>
                <a:gd name="connsiteX7170" fmla="*/ 4131842 w 9154202"/>
                <a:gd name="connsiteY7170" fmla="*/ 404814 h 2112317"/>
                <a:gd name="connsiteX7171" fmla="*/ 4132938 w 9154202"/>
                <a:gd name="connsiteY7171" fmla="*/ 405710 h 2112317"/>
                <a:gd name="connsiteX7172" fmla="*/ 4138119 w 9154202"/>
                <a:gd name="connsiteY7172" fmla="*/ 412375 h 2112317"/>
                <a:gd name="connsiteX7173" fmla="*/ 4138817 w 9154202"/>
                <a:gd name="connsiteY7173" fmla="*/ 413868 h 2112317"/>
                <a:gd name="connsiteX7174" fmla="*/ 4137721 w 9154202"/>
                <a:gd name="connsiteY7174" fmla="*/ 418146 h 2112317"/>
                <a:gd name="connsiteX7175" fmla="*/ 4134333 w 9154202"/>
                <a:gd name="connsiteY7175" fmla="*/ 419141 h 2112317"/>
                <a:gd name="connsiteX7176" fmla="*/ 4130347 w 9154202"/>
                <a:gd name="connsiteY7176" fmla="*/ 419141 h 2112317"/>
                <a:gd name="connsiteX7177" fmla="*/ 4127557 w 9154202"/>
                <a:gd name="connsiteY7177" fmla="*/ 420036 h 2112317"/>
                <a:gd name="connsiteX7178" fmla="*/ 4128852 w 9154202"/>
                <a:gd name="connsiteY7178" fmla="*/ 421031 h 2112317"/>
                <a:gd name="connsiteX7179" fmla="*/ 4130048 w 9154202"/>
                <a:gd name="connsiteY7179" fmla="*/ 422623 h 2112317"/>
                <a:gd name="connsiteX7180" fmla="*/ 4131842 w 9154202"/>
                <a:gd name="connsiteY7180" fmla="*/ 426005 h 2112317"/>
                <a:gd name="connsiteX7181" fmla="*/ 4132738 w 9154202"/>
                <a:gd name="connsiteY7181" fmla="*/ 427199 h 2112317"/>
                <a:gd name="connsiteX7182" fmla="*/ 4133635 w 9154202"/>
                <a:gd name="connsiteY7182" fmla="*/ 427696 h 2112317"/>
                <a:gd name="connsiteX7183" fmla="*/ 4134233 w 9154202"/>
                <a:gd name="connsiteY7183" fmla="*/ 428492 h 2112317"/>
                <a:gd name="connsiteX7184" fmla="*/ 4134233 w 9154202"/>
                <a:gd name="connsiteY7184" fmla="*/ 430184 h 2112317"/>
                <a:gd name="connsiteX7185" fmla="*/ 4134233 w 9154202"/>
                <a:gd name="connsiteY7185" fmla="*/ 432372 h 2112317"/>
                <a:gd name="connsiteX7186" fmla="*/ 4134233 w 9154202"/>
                <a:gd name="connsiteY7186" fmla="*/ 433268 h 2112317"/>
                <a:gd name="connsiteX7187" fmla="*/ 4134233 w 9154202"/>
                <a:gd name="connsiteY7187" fmla="*/ 434362 h 2112317"/>
                <a:gd name="connsiteX7188" fmla="*/ 4136325 w 9154202"/>
                <a:gd name="connsiteY7188" fmla="*/ 437446 h 2112317"/>
                <a:gd name="connsiteX7189" fmla="*/ 4141906 w 9154202"/>
                <a:gd name="connsiteY7189" fmla="*/ 442520 h 2112317"/>
                <a:gd name="connsiteX7190" fmla="*/ 4143799 w 9154202"/>
                <a:gd name="connsiteY7190" fmla="*/ 445007 h 2112317"/>
                <a:gd name="connsiteX7191" fmla="*/ 4142105 w 9154202"/>
                <a:gd name="connsiteY7191" fmla="*/ 447892 h 2112317"/>
                <a:gd name="connsiteX7192" fmla="*/ 4142902 w 9154202"/>
                <a:gd name="connsiteY7192" fmla="*/ 449683 h 2112317"/>
                <a:gd name="connsiteX7193" fmla="*/ 4146788 w 9154202"/>
                <a:gd name="connsiteY7193" fmla="*/ 452668 h 2112317"/>
                <a:gd name="connsiteX7194" fmla="*/ 4148582 w 9154202"/>
                <a:gd name="connsiteY7194" fmla="*/ 454658 h 2112317"/>
                <a:gd name="connsiteX7195" fmla="*/ 4152269 w 9154202"/>
                <a:gd name="connsiteY7195" fmla="*/ 457344 h 2112317"/>
                <a:gd name="connsiteX7196" fmla="*/ 4154262 w 9154202"/>
                <a:gd name="connsiteY7196" fmla="*/ 459333 h 2112317"/>
                <a:gd name="connsiteX7197" fmla="*/ 4158745 w 9154202"/>
                <a:gd name="connsiteY7197" fmla="*/ 466497 h 2112317"/>
                <a:gd name="connsiteX7198" fmla="*/ 4159941 w 9154202"/>
                <a:gd name="connsiteY7198" fmla="*/ 467491 h 2112317"/>
                <a:gd name="connsiteX7199" fmla="*/ 4159941 w 9154202"/>
                <a:gd name="connsiteY7199" fmla="*/ 468984 h 2112317"/>
                <a:gd name="connsiteX7200" fmla="*/ 4158546 w 9154202"/>
                <a:gd name="connsiteY7200" fmla="*/ 472267 h 2112317"/>
                <a:gd name="connsiteX7201" fmla="*/ 4155457 w 9154202"/>
                <a:gd name="connsiteY7201" fmla="*/ 477142 h 2112317"/>
                <a:gd name="connsiteX7202" fmla="*/ 4154461 w 9154202"/>
                <a:gd name="connsiteY7202" fmla="*/ 479131 h 2112317"/>
                <a:gd name="connsiteX7203" fmla="*/ 4154461 w 9154202"/>
                <a:gd name="connsiteY7203" fmla="*/ 480425 h 2112317"/>
                <a:gd name="connsiteX7204" fmla="*/ 4154461 w 9154202"/>
                <a:gd name="connsiteY7204" fmla="*/ 481818 h 2112317"/>
                <a:gd name="connsiteX7205" fmla="*/ 4154461 w 9154202"/>
                <a:gd name="connsiteY7205" fmla="*/ 482514 h 2112317"/>
                <a:gd name="connsiteX7206" fmla="*/ 4155059 w 9154202"/>
                <a:gd name="connsiteY7206" fmla="*/ 484106 h 2112317"/>
                <a:gd name="connsiteX7207" fmla="*/ 4155059 w 9154202"/>
                <a:gd name="connsiteY7207" fmla="*/ 484902 h 2112317"/>
                <a:gd name="connsiteX7208" fmla="*/ 4165023 w 9154202"/>
                <a:gd name="connsiteY7208" fmla="*/ 484902 h 2112317"/>
                <a:gd name="connsiteX7209" fmla="*/ 4169806 w 9154202"/>
                <a:gd name="connsiteY7209" fmla="*/ 487190 h 2112317"/>
                <a:gd name="connsiteX7210" fmla="*/ 4171998 w 9154202"/>
                <a:gd name="connsiteY7210" fmla="*/ 488881 h 2112317"/>
                <a:gd name="connsiteX7211" fmla="*/ 4174091 w 9154202"/>
                <a:gd name="connsiteY7211" fmla="*/ 491368 h 2112317"/>
                <a:gd name="connsiteX7212" fmla="*/ 4177777 w 9154202"/>
                <a:gd name="connsiteY7212" fmla="*/ 497636 h 2112317"/>
                <a:gd name="connsiteX7213" fmla="*/ 4178874 w 9154202"/>
                <a:gd name="connsiteY7213" fmla="*/ 499128 h 2112317"/>
                <a:gd name="connsiteX7214" fmla="*/ 4178874 w 9154202"/>
                <a:gd name="connsiteY7214" fmla="*/ 499725 h 2112317"/>
                <a:gd name="connsiteX7215" fmla="*/ 4178874 w 9154202"/>
                <a:gd name="connsiteY7215" fmla="*/ 499725 h 2112317"/>
                <a:gd name="connsiteX7216" fmla="*/ 4177877 w 9154202"/>
                <a:gd name="connsiteY7216" fmla="*/ 499725 h 2112317"/>
                <a:gd name="connsiteX7217" fmla="*/ 4175087 w 9154202"/>
                <a:gd name="connsiteY7217" fmla="*/ 499725 h 2112317"/>
                <a:gd name="connsiteX7218" fmla="*/ 4173493 w 9154202"/>
                <a:gd name="connsiteY7218" fmla="*/ 499725 h 2112317"/>
                <a:gd name="connsiteX7219" fmla="*/ 4172098 w 9154202"/>
                <a:gd name="connsiteY7219" fmla="*/ 500422 h 2112317"/>
                <a:gd name="connsiteX7220" fmla="*/ 4171002 w 9154202"/>
                <a:gd name="connsiteY7220" fmla="*/ 501417 h 2112317"/>
                <a:gd name="connsiteX7221" fmla="*/ 4169906 w 9154202"/>
                <a:gd name="connsiteY7221" fmla="*/ 501914 h 2112317"/>
                <a:gd name="connsiteX7222" fmla="*/ 4165422 w 9154202"/>
                <a:gd name="connsiteY7222" fmla="*/ 500820 h 2112317"/>
                <a:gd name="connsiteX7223" fmla="*/ 4165920 w 9154202"/>
                <a:gd name="connsiteY7223" fmla="*/ 502710 h 2112317"/>
                <a:gd name="connsiteX7224" fmla="*/ 4166916 w 9154202"/>
                <a:gd name="connsiteY7224" fmla="*/ 503904 h 2112317"/>
                <a:gd name="connsiteX7225" fmla="*/ 4168909 w 9154202"/>
                <a:gd name="connsiteY7225" fmla="*/ 505595 h 2112317"/>
                <a:gd name="connsiteX7226" fmla="*/ 4173792 w 9154202"/>
                <a:gd name="connsiteY7226" fmla="*/ 514052 h 2112317"/>
                <a:gd name="connsiteX7227" fmla="*/ 4196610 w 9154202"/>
                <a:gd name="connsiteY7227" fmla="*/ 539819 h 2112317"/>
                <a:gd name="connsiteX7228" fmla="*/ 4192425 w 9154202"/>
                <a:gd name="connsiteY7228" fmla="*/ 545490 h 2112317"/>
                <a:gd name="connsiteX7229" fmla="*/ 4191728 w 9154202"/>
                <a:gd name="connsiteY7229" fmla="*/ 548176 h 2112317"/>
                <a:gd name="connsiteX7230" fmla="*/ 4195315 w 9154202"/>
                <a:gd name="connsiteY7230" fmla="*/ 549270 h 2112317"/>
                <a:gd name="connsiteX7231" fmla="*/ 4196411 w 9154202"/>
                <a:gd name="connsiteY7231" fmla="*/ 550663 h 2112317"/>
                <a:gd name="connsiteX7232" fmla="*/ 4202290 w 9154202"/>
                <a:gd name="connsiteY7232" fmla="*/ 560612 h 2112317"/>
                <a:gd name="connsiteX7233" fmla="*/ 4203486 w 9154202"/>
                <a:gd name="connsiteY7233" fmla="*/ 563994 h 2112317"/>
                <a:gd name="connsiteX7234" fmla="*/ 4204383 w 9154202"/>
                <a:gd name="connsiteY7234" fmla="*/ 565586 h 2112317"/>
                <a:gd name="connsiteX7235" fmla="*/ 4205479 w 9154202"/>
                <a:gd name="connsiteY7235" fmla="*/ 566183 h 2112317"/>
                <a:gd name="connsiteX7236" fmla="*/ 4206575 w 9154202"/>
                <a:gd name="connsiteY7236" fmla="*/ 566183 h 2112317"/>
                <a:gd name="connsiteX7237" fmla="*/ 4207472 w 9154202"/>
                <a:gd name="connsiteY7237" fmla="*/ 566183 h 2112317"/>
                <a:gd name="connsiteX7238" fmla="*/ 4207472 w 9154202"/>
                <a:gd name="connsiteY7238" fmla="*/ 568372 h 2112317"/>
                <a:gd name="connsiteX7239" fmla="*/ 4208368 w 9154202"/>
                <a:gd name="connsiteY7239" fmla="*/ 570958 h 2112317"/>
                <a:gd name="connsiteX7240" fmla="*/ 4210461 w 9154202"/>
                <a:gd name="connsiteY7240" fmla="*/ 572550 h 2112317"/>
                <a:gd name="connsiteX7241" fmla="*/ 4213151 w 9154202"/>
                <a:gd name="connsiteY7241" fmla="*/ 573446 h 2112317"/>
                <a:gd name="connsiteX7242" fmla="*/ 4215742 w 9154202"/>
                <a:gd name="connsiteY7242" fmla="*/ 573446 h 2112317"/>
                <a:gd name="connsiteX7243" fmla="*/ 4217735 w 9154202"/>
                <a:gd name="connsiteY7243" fmla="*/ 574341 h 2112317"/>
                <a:gd name="connsiteX7244" fmla="*/ 4219528 w 9154202"/>
                <a:gd name="connsiteY7244" fmla="*/ 576629 h 2112317"/>
                <a:gd name="connsiteX7245" fmla="*/ 4222318 w 9154202"/>
                <a:gd name="connsiteY7245" fmla="*/ 581504 h 2112317"/>
                <a:gd name="connsiteX7246" fmla="*/ 4229294 w 9154202"/>
                <a:gd name="connsiteY7246" fmla="*/ 591453 h 2112317"/>
                <a:gd name="connsiteX7247" fmla="*/ 4231386 w 9154202"/>
                <a:gd name="connsiteY7247" fmla="*/ 594636 h 2112317"/>
                <a:gd name="connsiteX7248" fmla="*/ 4231386 w 9154202"/>
                <a:gd name="connsiteY7248" fmla="*/ 595532 h 2112317"/>
                <a:gd name="connsiteX7249" fmla="*/ 5276055 w 9154202"/>
                <a:gd name="connsiteY7249" fmla="*/ 814603 h 2112317"/>
                <a:gd name="connsiteX7250" fmla="*/ 5273563 w 9154202"/>
                <a:gd name="connsiteY7250" fmla="*/ 813708 h 2112317"/>
                <a:gd name="connsiteX7251" fmla="*/ 5271870 w 9154202"/>
                <a:gd name="connsiteY7251" fmla="*/ 809927 h 2112317"/>
                <a:gd name="connsiteX7252" fmla="*/ 5270774 w 9154202"/>
                <a:gd name="connsiteY7252" fmla="*/ 812215 h 2112317"/>
                <a:gd name="connsiteX7253" fmla="*/ 5268183 w 9154202"/>
                <a:gd name="connsiteY7253" fmla="*/ 815797 h 2112317"/>
                <a:gd name="connsiteX7254" fmla="*/ 5268183 w 9154202"/>
                <a:gd name="connsiteY7254" fmla="*/ 817090 h 2112317"/>
                <a:gd name="connsiteX7255" fmla="*/ 5266887 w 9154202"/>
                <a:gd name="connsiteY7255" fmla="*/ 818384 h 2112317"/>
                <a:gd name="connsiteX7256" fmla="*/ 5265492 w 9154202"/>
                <a:gd name="connsiteY7256" fmla="*/ 819279 h 2112317"/>
                <a:gd name="connsiteX7257" fmla="*/ 5262703 w 9154202"/>
                <a:gd name="connsiteY7257" fmla="*/ 818085 h 2112317"/>
                <a:gd name="connsiteX7258" fmla="*/ 5259314 w 9154202"/>
                <a:gd name="connsiteY7258" fmla="*/ 818085 h 2112317"/>
                <a:gd name="connsiteX7259" fmla="*/ 5256126 w 9154202"/>
                <a:gd name="connsiteY7259" fmla="*/ 818981 h 2112317"/>
                <a:gd name="connsiteX7260" fmla="*/ 5253336 w 9154202"/>
                <a:gd name="connsiteY7260" fmla="*/ 820473 h 2112317"/>
                <a:gd name="connsiteX7261" fmla="*/ 5255229 w 9154202"/>
                <a:gd name="connsiteY7261" fmla="*/ 822264 h 2112317"/>
                <a:gd name="connsiteX7262" fmla="*/ 5258717 w 9154202"/>
                <a:gd name="connsiteY7262" fmla="*/ 822861 h 2112317"/>
                <a:gd name="connsiteX7263" fmla="*/ 5265990 w 9154202"/>
                <a:gd name="connsiteY7263" fmla="*/ 822861 h 2112317"/>
                <a:gd name="connsiteX7264" fmla="*/ 5265990 w 9154202"/>
                <a:gd name="connsiteY7264" fmla="*/ 824651 h 2112317"/>
                <a:gd name="connsiteX7265" fmla="*/ 5265990 w 9154202"/>
                <a:gd name="connsiteY7265" fmla="*/ 829228 h 2112317"/>
                <a:gd name="connsiteX7266" fmla="*/ 5265094 w 9154202"/>
                <a:gd name="connsiteY7266" fmla="*/ 835893 h 2112317"/>
                <a:gd name="connsiteX7267" fmla="*/ 5264097 w 9154202"/>
                <a:gd name="connsiteY7267" fmla="*/ 837485 h 2112317"/>
                <a:gd name="connsiteX7268" fmla="*/ 5263201 w 9154202"/>
                <a:gd name="connsiteY7268" fmla="*/ 837485 h 2112317"/>
                <a:gd name="connsiteX7269" fmla="*/ 5262105 w 9154202"/>
                <a:gd name="connsiteY7269" fmla="*/ 837485 h 2112317"/>
                <a:gd name="connsiteX7270" fmla="*/ 5260809 w 9154202"/>
                <a:gd name="connsiteY7270" fmla="*/ 838281 h 2112317"/>
                <a:gd name="connsiteX7271" fmla="*/ 5259713 w 9154202"/>
                <a:gd name="connsiteY7271" fmla="*/ 839972 h 2112317"/>
                <a:gd name="connsiteX7272" fmla="*/ 5259713 w 9154202"/>
                <a:gd name="connsiteY7272" fmla="*/ 842360 h 2112317"/>
                <a:gd name="connsiteX7273" fmla="*/ 5259713 w 9154202"/>
                <a:gd name="connsiteY7273" fmla="*/ 844250 h 2112317"/>
                <a:gd name="connsiteX7274" fmla="*/ 5264297 w 9154202"/>
                <a:gd name="connsiteY7274" fmla="*/ 846439 h 2112317"/>
                <a:gd name="connsiteX7275" fmla="*/ 5264994 w 9154202"/>
                <a:gd name="connsiteY7275" fmla="*/ 849722 h 2112317"/>
                <a:gd name="connsiteX7276" fmla="*/ 5264396 w 9154202"/>
                <a:gd name="connsiteY7276" fmla="*/ 857880 h 2112317"/>
                <a:gd name="connsiteX7277" fmla="*/ 5264396 w 9154202"/>
                <a:gd name="connsiteY7277" fmla="*/ 859571 h 2112317"/>
                <a:gd name="connsiteX7278" fmla="*/ 5264994 w 9154202"/>
                <a:gd name="connsiteY7278" fmla="*/ 862755 h 2112317"/>
                <a:gd name="connsiteX7279" fmla="*/ 5264994 w 9154202"/>
                <a:gd name="connsiteY7279" fmla="*/ 863650 h 2112317"/>
                <a:gd name="connsiteX7280" fmla="*/ 5264396 w 9154202"/>
                <a:gd name="connsiteY7280" fmla="*/ 865441 h 2112317"/>
                <a:gd name="connsiteX7281" fmla="*/ 5262105 w 9154202"/>
                <a:gd name="connsiteY7281" fmla="*/ 869023 h 2112317"/>
                <a:gd name="connsiteX7282" fmla="*/ 5262105 w 9154202"/>
                <a:gd name="connsiteY7282" fmla="*/ 870018 h 2112317"/>
                <a:gd name="connsiteX7283" fmla="*/ 5262105 w 9154202"/>
                <a:gd name="connsiteY7283" fmla="*/ 871410 h 2112317"/>
                <a:gd name="connsiteX7284" fmla="*/ 5261008 w 9154202"/>
                <a:gd name="connsiteY7284" fmla="*/ 872704 h 2112317"/>
                <a:gd name="connsiteX7285" fmla="*/ 5259713 w 9154202"/>
                <a:gd name="connsiteY7285" fmla="*/ 873699 h 2112317"/>
                <a:gd name="connsiteX7286" fmla="*/ 5258517 w 9154202"/>
                <a:gd name="connsiteY7286" fmla="*/ 873699 h 2112317"/>
                <a:gd name="connsiteX7287" fmla="*/ 5257321 w 9154202"/>
                <a:gd name="connsiteY7287" fmla="*/ 874594 h 2112317"/>
                <a:gd name="connsiteX7288" fmla="*/ 5257321 w 9154202"/>
                <a:gd name="connsiteY7288" fmla="*/ 876683 h 2112317"/>
                <a:gd name="connsiteX7289" fmla="*/ 5258417 w 9154202"/>
                <a:gd name="connsiteY7289" fmla="*/ 882155 h 2112317"/>
                <a:gd name="connsiteX7290" fmla="*/ 5258417 w 9154202"/>
                <a:gd name="connsiteY7290" fmla="*/ 882951 h 2112317"/>
                <a:gd name="connsiteX7291" fmla="*/ 5258417 w 9154202"/>
                <a:gd name="connsiteY7291" fmla="*/ 883747 h 2112317"/>
                <a:gd name="connsiteX7292" fmla="*/ 5258417 w 9154202"/>
                <a:gd name="connsiteY7292" fmla="*/ 885239 h 2112317"/>
                <a:gd name="connsiteX7293" fmla="*/ 5258417 w 9154202"/>
                <a:gd name="connsiteY7293" fmla="*/ 887030 h 2112317"/>
                <a:gd name="connsiteX7294" fmla="*/ 5257621 w 9154202"/>
                <a:gd name="connsiteY7294" fmla="*/ 888124 h 2112317"/>
                <a:gd name="connsiteX7295" fmla="*/ 5257621 w 9154202"/>
                <a:gd name="connsiteY7295" fmla="*/ 889418 h 2112317"/>
                <a:gd name="connsiteX7296" fmla="*/ 5259713 w 9154202"/>
                <a:gd name="connsiteY7296" fmla="*/ 893795 h 2112317"/>
                <a:gd name="connsiteX7297" fmla="*/ 5260908 w 9154202"/>
                <a:gd name="connsiteY7297" fmla="*/ 897377 h 2112317"/>
                <a:gd name="connsiteX7298" fmla="*/ 5261806 w 9154202"/>
                <a:gd name="connsiteY7298" fmla="*/ 901157 h 2112317"/>
                <a:gd name="connsiteX7299" fmla="*/ 5261806 w 9154202"/>
                <a:gd name="connsiteY7299" fmla="*/ 903744 h 2112317"/>
                <a:gd name="connsiteX7300" fmla="*/ 5261008 w 9154202"/>
                <a:gd name="connsiteY7300" fmla="*/ 905933 h 2112317"/>
                <a:gd name="connsiteX7301" fmla="*/ 5259115 w 9154202"/>
                <a:gd name="connsiteY7301" fmla="*/ 904241 h 2112317"/>
                <a:gd name="connsiteX7302" fmla="*/ 5258417 w 9154202"/>
                <a:gd name="connsiteY7302" fmla="*/ 901555 h 2112317"/>
                <a:gd name="connsiteX7303" fmla="*/ 5258417 w 9154202"/>
                <a:gd name="connsiteY7303" fmla="*/ 898570 h 2112317"/>
                <a:gd name="connsiteX7304" fmla="*/ 5257421 w 9154202"/>
                <a:gd name="connsiteY7304" fmla="*/ 896282 h 2112317"/>
                <a:gd name="connsiteX7305" fmla="*/ 5254830 w 9154202"/>
                <a:gd name="connsiteY7305" fmla="*/ 894094 h 2112317"/>
                <a:gd name="connsiteX7306" fmla="*/ 5253435 w 9154202"/>
                <a:gd name="connsiteY7306" fmla="*/ 895188 h 2112317"/>
                <a:gd name="connsiteX7307" fmla="*/ 5252439 w 9154202"/>
                <a:gd name="connsiteY7307" fmla="*/ 897775 h 2112317"/>
                <a:gd name="connsiteX7308" fmla="*/ 5250944 w 9154202"/>
                <a:gd name="connsiteY7308" fmla="*/ 900262 h 2112317"/>
                <a:gd name="connsiteX7309" fmla="*/ 5246361 w 9154202"/>
                <a:gd name="connsiteY7309" fmla="*/ 896282 h 2112317"/>
                <a:gd name="connsiteX7310" fmla="*/ 5245763 w 9154202"/>
                <a:gd name="connsiteY7310" fmla="*/ 894989 h 2112317"/>
                <a:gd name="connsiteX7311" fmla="*/ 5245065 w 9154202"/>
                <a:gd name="connsiteY7311" fmla="*/ 893298 h 2112317"/>
                <a:gd name="connsiteX7312" fmla="*/ 5243471 w 9154202"/>
                <a:gd name="connsiteY7312" fmla="*/ 893298 h 2112317"/>
                <a:gd name="connsiteX7313" fmla="*/ 5239186 w 9154202"/>
                <a:gd name="connsiteY7313" fmla="*/ 894491 h 2112317"/>
                <a:gd name="connsiteX7314" fmla="*/ 5236097 w 9154202"/>
                <a:gd name="connsiteY7314" fmla="*/ 894491 h 2112317"/>
                <a:gd name="connsiteX7315" fmla="*/ 5236097 w 9154202"/>
                <a:gd name="connsiteY7315" fmla="*/ 895486 h 2112317"/>
                <a:gd name="connsiteX7316" fmla="*/ 5235201 w 9154202"/>
                <a:gd name="connsiteY7316" fmla="*/ 898272 h 2112317"/>
                <a:gd name="connsiteX7317" fmla="*/ 5234204 w 9154202"/>
                <a:gd name="connsiteY7317" fmla="*/ 900560 h 2112317"/>
                <a:gd name="connsiteX7318" fmla="*/ 5229720 w 9154202"/>
                <a:gd name="connsiteY7318" fmla="*/ 908022 h 2112317"/>
                <a:gd name="connsiteX7319" fmla="*/ 5226133 w 9154202"/>
                <a:gd name="connsiteY7319" fmla="*/ 912598 h 2112317"/>
                <a:gd name="connsiteX7320" fmla="*/ 5224738 w 9154202"/>
                <a:gd name="connsiteY7320" fmla="*/ 912598 h 2112317"/>
                <a:gd name="connsiteX7321" fmla="*/ 5223243 w 9154202"/>
                <a:gd name="connsiteY7321" fmla="*/ 910012 h 2112317"/>
                <a:gd name="connsiteX7322" fmla="*/ 5221848 w 9154202"/>
                <a:gd name="connsiteY7322" fmla="*/ 906728 h 2112317"/>
                <a:gd name="connsiteX7323" fmla="*/ 5221250 w 9154202"/>
                <a:gd name="connsiteY7323" fmla="*/ 904241 h 2112317"/>
                <a:gd name="connsiteX7324" fmla="*/ 5221250 w 9154202"/>
                <a:gd name="connsiteY7324" fmla="*/ 904241 h 2112317"/>
                <a:gd name="connsiteX7325" fmla="*/ 5221250 w 9154202"/>
                <a:gd name="connsiteY7325" fmla="*/ 903445 h 2112317"/>
                <a:gd name="connsiteX7326" fmla="*/ 5221250 w 9154202"/>
                <a:gd name="connsiteY7326" fmla="*/ 902351 h 2112317"/>
                <a:gd name="connsiteX7327" fmla="*/ 5221250 w 9154202"/>
                <a:gd name="connsiteY7327" fmla="*/ 901058 h 2112317"/>
                <a:gd name="connsiteX7328" fmla="*/ 5222546 w 9154202"/>
                <a:gd name="connsiteY7328" fmla="*/ 898869 h 2112317"/>
                <a:gd name="connsiteX7329" fmla="*/ 5222546 w 9154202"/>
                <a:gd name="connsiteY7329" fmla="*/ 897675 h 2112317"/>
                <a:gd name="connsiteX7330" fmla="*/ 5221250 w 9154202"/>
                <a:gd name="connsiteY7330" fmla="*/ 896382 h 2112317"/>
                <a:gd name="connsiteX7331" fmla="*/ 5219557 w 9154202"/>
                <a:gd name="connsiteY7331" fmla="*/ 897277 h 2112317"/>
                <a:gd name="connsiteX7332" fmla="*/ 5216468 w 9154202"/>
                <a:gd name="connsiteY7332" fmla="*/ 901157 h 2112317"/>
                <a:gd name="connsiteX7333" fmla="*/ 5215372 w 9154202"/>
                <a:gd name="connsiteY7333" fmla="*/ 895685 h 2112317"/>
                <a:gd name="connsiteX7334" fmla="*/ 5216268 w 9154202"/>
                <a:gd name="connsiteY7334" fmla="*/ 891009 h 2112317"/>
                <a:gd name="connsiteX7335" fmla="*/ 5216268 w 9154202"/>
                <a:gd name="connsiteY7335" fmla="*/ 887129 h 2112317"/>
                <a:gd name="connsiteX7336" fmla="*/ 5211386 w 9154202"/>
                <a:gd name="connsiteY7336" fmla="*/ 882951 h 2112317"/>
                <a:gd name="connsiteX7337" fmla="*/ 5211386 w 9154202"/>
                <a:gd name="connsiteY7337" fmla="*/ 879469 h 2112317"/>
                <a:gd name="connsiteX7338" fmla="*/ 5209692 w 9154202"/>
                <a:gd name="connsiteY7338" fmla="*/ 877280 h 2112317"/>
                <a:gd name="connsiteX7339" fmla="*/ 5207699 w 9154202"/>
                <a:gd name="connsiteY7339" fmla="*/ 877280 h 2112317"/>
                <a:gd name="connsiteX7340" fmla="*/ 5206703 w 9154202"/>
                <a:gd name="connsiteY7340" fmla="*/ 881857 h 2112317"/>
                <a:gd name="connsiteX7341" fmla="*/ 5206703 w 9154202"/>
                <a:gd name="connsiteY7341" fmla="*/ 884742 h 2112317"/>
                <a:gd name="connsiteX7342" fmla="*/ 5207499 w 9154202"/>
                <a:gd name="connsiteY7342" fmla="*/ 885339 h 2112317"/>
                <a:gd name="connsiteX7343" fmla="*/ 5208595 w 9154202"/>
                <a:gd name="connsiteY7343" fmla="*/ 885339 h 2112317"/>
                <a:gd name="connsiteX7344" fmla="*/ 5209990 w 9154202"/>
                <a:gd name="connsiteY7344" fmla="*/ 886831 h 2112317"/>
                <a:gd name="connsiteX7345" fmla="*/ 5209990 w 9154202"/>
                <a:gd name="connsiteY7345" fmla="*/ 888920 h 2112317"/>
                <a:gd name="connsiteX7346" fmla="*/ 5209990 w 9154202"/>
                <a:gd name="connsiteY7346" fmla="*/ 890711 h 2112317"/>
                <a:gd name="connsiteX7347" fmla="*/ 5209990 w 9154202"/>
                <a:gd name="connsiteY7347" fmla="*/ 892104 h 2112317"/>
                <a:gd name="connsiteX7348" fmla="*/ 5211685 w 9154202"/>
                <a:gd name="connsiteY7348" fmla="*/ 892104 h 2112317"/>
                <a:gd name="connsiteX7349" fmla="*/ 5210489 w 9154202"/>
                <a:gd name="connsiteY7349" fmla="*/ 894491 h 2112317"/>
                <a:gd name="connsiteX7350" fmla="*/ 5208197 w 9154202"/>
                <a:gd name="connsiteY7350" fmla="*/ 896481 h 2112317"/>
                <a:gd name="connsiteX7351" fmla="*/ 5203813 w 9154202"/>
                <a:gd name="connsiteY7351" fmla="*/ 899167 h 2112317"/>
                <a:gd name="connsiteX7352" fmla="*/ 5199926 w 9154202"/>
                <a:gd name="connsiteY7352" fmla="*/ 903246 h 2112317"/>
                <a:gd name="connsiteX7353" fmla="*/ 5198432 w 9154202"/>
                <a:gd name="connsiteY7353" fmla="*/ 903843 h 2112317"/>
                <a:gd name="connsiteX7354" fmla="*/ 5196738 w 9154202"/>
                <a:gd name="connsiteY7354" fmla="*/ 903047 h 2112317"/>
                <a:gd name="connsiteX7355" fmla="*/ 5195243 w 9154202"/>
                <a:gd name="connsiteY7355" fmla="*/ 902053 h 2112317"/>
                <a:gd name="connsiteX7356" fmla="*/ 5193748 w 9154202"/>
                <a:gd name="connsiteY7356" fmla="*/ 901456 h 2112317"/>
                <a:gd name="connsiteX7357" fmla="*/ 5192154 w 9154202"/>
                <a:gd name="connsiteY7357" fmla="*/ 901456 h 2112317"/>
                <a:gd name="connsiteX7358" fmla="*/ 5191257 w 9154202"/>
                <a:gd name="connsiteY7358" fmla="*/ 900859 h 2112317"/>
                <a:gd name="connsiteX7359" fmla="*/ 5190361 w 9154202"/>
                <a:gd name="connsiteY7359" fmla="*/ 900063 h 2112317"/>
                <a:gd name="connsiteX7360" fmla="*/ 5188966 w 9154202"/>
                <a:gd name="connsiteY7360" fmla="*/ 899466 h 2112317"/>
                <a:gd name="connsiteX7361" fmla="*/ 5184283 w 9154202"/>
                <a:gd name="connsiteY7361" fmla="*/ 899466 h 2112317"/>
                <a:gd name="connsiteX7362" fmla="*/ 5181991 w 9154202"/>
                <a:gd name="connsiteY7362" fmla="*/ 898371 h 2112317"/>
                <a:gd name="connsiteX7363" fmla="*/ 5179599 w 9154202"/>
                <a:gd name="connsiteY7363" fmla="*/ 895984 h 2112317"/>
                <a:gd name="connsiteX7364" fmla="*/ 5177706 w 9154202"/>
                <a:gd name="connsiteY7364" fmla="*/ 892900 h 2112317"/>
                <a:gd name="connsiteX7365" fmla="*/ 5176809 w 9154202"/>
                <a:gd name="connsiteY7365" fmla="*/ 890114 h 2112317"/>
                <a:gd name="connsiteX7366" fmla="*/ 5178902 w 9154202"/>
                <a:gd name="connsiteY7366" fmla="*/ 889219 h 2112317"/>
                <a:gd name="connsiteX7367" fmla="*/ 5180895 w 9154202"/>
                <a:gd name="connsiteY7367" fmla="*/ 887627 h 2112317"/>
                <a:gd name="connsiteX7368" fmla="*/ 5182489 w 9154202"/>
                <a:gd name="connsiteY7368" fmla="*/ 885538 h 2112317"/>
                <a:gd name="connsiteX7369" fmla="*/ 5183784 w 9154202"/>
                <a:gd name="connsiteY7369" fmla="*/ 883249 h 2112317"/>
                <a:gd name="connsiteX7370" fmla="*/ 5184581 w 9154202"/>
                <a:gd name="connsiteY7370" fmla="*/ 880762 h 2112317"/>
                <a:gd name="connsiteX7371" fmla="*/ 5185179 w 9154202"/>
                <a:gd name="connsiteY7371" fmla="*/ 877678 h 2112317"/>
                <a:gd name="connsiteX7372" fmla="*/ 5186076 w 9154202"/>
                <a:gd name="connsiteY7372" fmla="*/ 875191 h 2112317"/>
                <a:gd name="connsiteX7373" fmla="*/ 5187670 w 9154202"/>
                <a:gd name="connsiteY7373" fmla="*/ 874097 h 2112317"/>
                <a:gd name="connsiteX7374" fmla="*/ 5191357 w 9154202"/>
                <a:gd name="connsiteY7374" fmla="*/ 874097 h 2112317"/>
                <a:gd name="connsiteX7375" fmla="*/ 5192553 w 9154202"/>
                <a:gd name="connsiteY7375" fmla="*/ 874097 h 2112317"/>
                <a:gd name="connsiteX7376" fmla="*/ 5193450 w 9154202"/>
                <a:gd name="connsiteY7376" fmla="*/ 873201 h 2112317"/>
                <a:gd name="connsiteX7377" fmla="*/ 5193450 w 9154202"/>
                <a:gd name="connsiteY7377" fmla="*/ 872206 h 2112317"/>
                <a:gd name="connsiteX7378" fmla="*/ 5193450 w 9154202"/>
                <a:gd name="connsiteY7378" fmla="*/ 871211 h 2112317"/>
                <a:gd name="connsiteX7379" fmla="*/ 5194745 w 9154202"/>
                <a:gd name="connsiteY7379" fmla="*/ 870615 h 2112317"/>
                <a:gd name="connsiteX7380" fmla="*/ 5196539 w 9154202"/>
                <a:gd name="connsiteY7380" fmla="*/ 870615 h 2112317"/>
                <a:gd name="connsiteX7381" fmla="*/ 5200624 w 9154202"/>
                <a:gd name="connsiteY7381" fmla="*/ 873102 h 2112317"/>
                <a:gd name="connsiteX7382" fmla="*/ 5203015 w 9154202"/>
                <a:gd name="connsiteY7382" fmla="*/ 873699 h 2112317"/>
                <a:gd name="connsiteX7383" fmla="*/ 5204710 w 9154202"/>
                <a:gd name="connsiteY7383" fmla="*/ 872604 h 2112317"/>
                <a:gd name="connsiteX7384" fmla="*/ 5205208 w 9154202"/>
                <a:gd name="connsiteY7384" fmla="*/ 870217 h 2112317"/>
                <a:gd name="connsiteX7385" fmla="*/ 5205208 w 9154202"/>
                <a:gd name="connsiteY7385" fmla="*/ 869222 h 2112317"/>
                <a:gd name="connsiteX7386" fmla="*/ 5200126 w 9154202"/>
                <a:gd name="connsiteY7386" fmla="*/ 870217 h 2112317"/>
                <a:gd name="connsiteX7387" fmla="*/ 5196937 w 9154202"/>
                <a:gd name="connsiteY7387" fmla="*/ 870217 h 2112317"/>
                <a:gd name="connsiteX7388" fmla="*/ 5195343 w 9154202"/>
                <a:gd name="connsiteY7388" fmla="*/ 869023 h 2112317"/>
                <a:gd name="connsiteX7389" fmla="*/ 5195343 w 9154202"/>
                <a:gd name="connsiteY7389" fmla="*/ 866933 h 2112317"/>
                <a:gd name="connsiteX7390" fmla="*/ 5196937 w 9154202"/>
                <a:gd name="connsiteY7390" fmla="*/ 863949 h 2112317"/>
                <a:gd name="connsiteX7391" fmla="*/ 5196140 w 9154202"/>
                <a:gd name="connsiteY7391" fmla="*/ 863949 h 2112317"/>
                <a:gd name="connsiteX7392" fmla="*/ 5193948 w 9154202"/>
                <a:gd name="connsiteY7392" fmla="*/ 864645 h 2112317"/>
                <a:gd name="connsiteX7393" fmla="*/ 5187870 w 9154202"/>
                <a:gd name="connsiteY7393" fmla="*/ 869620 h 2112317"/>
                <a:gd name="connsiteX7394" fmla="*/ 5186475 w 9154202"/>
                <a:gd name="connsiteY7394" fmla="*/ 869620 h 2112317"/>
                <a:gd name="connsiteX7395" fmla="*/ 5185379 w 9154202"/>
                <a:gd name="connsiteY7395" fmla="*/ 867232 h 2112317"/>
                <a:gd name="connsiteX7396" fmla="*/ 5184482 w 9154202"/>
                <a:gd name="connsiteY7396" fmla="*/ 864745 h 2112317"/>
                <a:gd name="connsiteX7397" fmla="*/ 5183485 w 9154202"/>
                <a:gd name="connsiteY7397" fmla="*/ 863352 h 2112317"/>
                <a:gd name="connsiteX7398" fmla="*/ 5181692 w 9154202"/>
                <a:gd name="connsiteY7398" fmla="*/ 864446 h 2112317"/>
                <a:gd name="connsiteX7399" fmla="*/ 5181692 w 9154202"/>
                <a:gd name="connsiteY7399" fmla="*/ 866734 h 2112317"/>
                <a:gd name="connsiteX7400" fmla="*/ 5181692 w 9154202"/>
                <a:gd name="connsiteY7400" fmla="*/ 872107 h 2112317"/>
                <a:gd name="connsiteX7401" fmla="*/ 5181692 w 9154202"/>
                <a:gd name="connsiteY7401" fmla="*/ 874992 h 2112317"/>
                <a:gd name="connsiteX7402" fmla="*/ 5179499 w 9154202"/>
                <a:gd name="connsiteY7402" fmla="*/ 875489 h 2112317"/>
                <a:gd name="connsiteX7403" fmla="*/ 5178702 w 9154202"/>
                <a:gd name="connsiteY7403" fmla="*/ 877081 h 2112317"/>
                <a:gd name="connsiteX7404" fmla="*/ 5178702 w 9154202"/>
                <a:gd name="connsiteY7404" fmla="*/ 878971 h 2112317"/>
                <a:gd name="connsiteX7405" fmla="*/ 5177806 w 9154202"/>
                <a:gd name="connsiteY7405" fmla="*/ 880563 h 2112317"/>
                <a:gd name="connsiteX7406" fmla="*/ 5176610 w 9154202"/>
                <a:gd name="connsiteY7406" fmla="*/ 880563 h 2112317"/>
                <a:gd name="connsiteX7407" fmla="*/ 5175713 w 9154202"/>
                <a:gd name="connsiteY7407" fmla="*/ 880563 h 2112317"/>
                <a:gd name="connsiteX7408" fmla="*/ 5175015 w 9154202"/>
                <a:gd name="connsiteY7408" fmla="*/ 880563 h 2112317"/>
                <a:gd name="connsiteX7409" fmla="*/ 5174318 w 9154202"/>
                <a:gd name="connsiteY7409" fmla="*/ 880563 h 2112317"/>
                <a:gd name="connsiteX7410" fmla="*/ 5171329 w 9154202"/>
                <a:gd name="connsiteY7410" fmla="*/ 882553 h 2112317"/>
                <a:gd name="connsiteX7411" fmla="*/ 5170432 w 9154202"/>
                <a:gd name="connsiteY7411" fmla="*/ 882553 h 2112317"/>
                <a:gd name="connsiteX7412" fmla="*/ 5169735 w 9154202"/>
                <a:gd name="connsiteY7412" fmla="*/ 882553 h 2112317"/>
                <a:gd name="connsiteX7413" fmla="*/ 5163457 w 9154202"/>
                <a:gd name="connsiteY7413" fmla="*/ 885040 h 2112317"/>
                <a:gd name="connsiteX7414" fmla="*/ 5161863 w 9154202"/>
                <a:gd name="connsiteY7414" fmla="*/ 886433 h 2112317"/>
                <a:gd name="connsiteX7415" fmla="*/ 5161564 w 9154202"/>
                <a:gd name="connsiteY7415" fmla="*/ 888920 h 2112317"/>
                <a:gd name="connsiteX7416" fmla="*/ 5159870 w 9154202"/>
                <a:gd name="connsiteY7416" fmla="*/ 890214 h 2112317"/>
                <a:gd name="connsiteX7417" fmla="*/ 5158475 w 9154202"/>
                <a:gd name="connsiteY7417" fmla="*/ 892900 h 2112317"/>
                <a:gd name="connsiteX7418" fmla="*/ 5155485 w 9154202"/>
                <a:gd name="connsiteY7418" fmla="*/ 886035 h 2112317"/>
                <a:gd name="connsiteX7419" fmla="*/ 5155485 w 9154202"/>
                <a:gd name="connsiteY7419" fmla="*/ 884344 h 2112317"/>
                <a:gd name="connsiteX7420" fmla="*/ 5155485 w 9154202"/>
                <a:gd name="connsiteY7420" fmla="*/ 882951 h 2112317"/>
                <a:gd name="connsiteX7421" fmla="*/ 5154888 w 9154202"/>
                <a:gd name="connsiteY7421" fmla="*/ 882951 h 2112317"/>
                <a:gd name="connsiteX7422" fmla="*/ 5154090 w 9154202"/>
                <a:gd name="connsiteY7422" fmla="*/ 882951 h 2112317"/>
                <a:gd name="connsiteX7423" fmla="*/ 5153094 w 9154202"/>
                <a:gd name="connsiteY7423" fmla="*/ 882951 h 2112317"/>
                <a:gd name="connsiteX7424" fmla="*/ 5151799 w 9154202"/>
                <a:gd name="connsiteY7424" fmla="*/ 882155 h 2112317"/>
                <a:gd name="connsiteX7425" fmla="*/ 5151001 w 9154202"/>
                <a:gd name="connsiteY7425" fmla="*/ 882155 h 2112317"/>
                <a:gd name="connsiteX7426" fmla="*/ 5150304 w 9154202"/>
                <a:gd name="connsiteY7426" fmla="*/ 881558 h 2112317"/>
                <a:gd name="connsiteX7427" fmla="*/ 5149108 w 9154202"/>
                <a:gd name="connsiteY7427" fmla="*/ 880265 h 2112317"/>
                <a:gd name="connsiteX7428" fmla="*/ 5148012 w 9154202"/>
                <a:gd name="connsiteY7428" fmla="*/ 878474 h 2112317"/>
                <a:gd name="connsiteX7429" fmla="*/ 5147215 w 9154202"/>
                <a:gd name="connsiteY7429" fmla="*/ 876385 h 2112317"/>
                <a:gd name="connsiteX7430" fmla="*/ 5147215 w 9154202"/>
                <a:gd name="connsiteY7430" fmla="*/ 874196 h 2112317"/>
                <a:gd name="connsiteX7431" fmla="*/ 5148710 w 9154202"/>
                <a:gd name="connsiteY7431" fmla="*/ 872704 h 2112317"/>
                <a:gd name="connsiteX7432" fmla="*/ 5150802 w 9154202"/>
                <a:gd name="connsiteY7432" fmla="*/ 872704 h 2112317"/>
                <a:gd name="connsiteX7433" fmla="*/ 5152496 w 9154202"/>
                <a:gd name="connsiteY7433" fmla="*/ 874594 h 2112317"/>
                <a:gd name="connsiteX7434" fmla="*/ 5154788 w 9154202"/>
                <a:gd name="connsiteY7434" fmla="*/ 878474 h 2112317"/>
                <a:gd name="connsiteX7435" fmla="*/ 5156581 w 9154202"/>
                <a:gd name="connsiteY7435" fmla="*/ 880265 h 2112317"/>
                <a:gd name="connsiteX7436" fmla="*/ 5158175 w 9154202"/>
                <a:gd name="connsiteY7436" fmla="*/ 881359 h 2112317"/>
                <a:gd name="connsiteX7437" fmla="*/ 5159970 w 9154202"/>
                <a:gd name="connsiteY7437" fmla="*/ 881359 h 2112317"/>
                <a:gd name="connsiteX7438" fmla="*/ 5161564 w 9154202"/>
                <a:gd name="connsiteY7438" fmla="*/ 881359 h 2112317"/>
                <a:gd name="connsiteX7439" fmla="*/ 5162959 w 9154202"/>
                <a:gd name="connsiteY7439" fmla="*/ 881359 h 2112317"/>
                <a:gd name="connsiteX7440" fmla="*/ 5162959 w 9154202"/>
                <a:gd name="connsiteY7440" fmla="*/ 881359 h 2112317"/>
                <a:gd name="connsiteX7441" fmla="*/ 5162959 w 9154202"/>
                <a:gd name="connsiteY7441" fmla="*/ 881359 h 2112317"/>
                <a:gd name="connsiteX7442" fmla="*/ 5164055 w 9154202"/>
                <a:gd name="connsiteY7442" fmla="*/ 880364 h 2112317"/>
                <a:gd name="connsiteX7443" fmla="*/ 5164055 w 9154202"/>
                <a:gd name="connsiteY7443" fmla="*/ 879469 h 2112317"/>
                <a:gd name="connsiteX7444" fmla="*/ 5164055 w 9154202"/>
                <a:gd name="connsiteY7444" fmla="*/ 877479 h 2112317"/>
                <a:gd name="connsiteX7445" fmla="*/ 5164055 w 9154202"/>
                <a:gd name="connsiteY7445" fmla="*/ 876385 h 2112317"/>
                <a:gd name="connsiteX7446" fmla="*/ 5164752 w 9154202"/>
                <a:gd name="connsiteY7446" fmla="*/ 874196 h 2112317"/>
                <a:gd name="connsiteX7447" fmla="*/ 5164752 w 9154202"/>
                <a:gd name="connsiteY7447" fmla="*/ 871609 h 2112317"/>
                <a:gd name="connsiteX7448" fmla="*/ 5164254 w 9154202"/>
                <a:gd name="connsiteY7448" fmla="*/ 869222 h 2112317"/>
                <a:gd name="connsiteX7449" fmla="*/ 5163656 w 9154202"/>
                <a:gd name="connsiteY7449" fmla="*/ 867729 h 2112317"/>
                <a:gd name="connsiteX7450" fmla="*/ 5161264 w 9154202"/>
                <a:gd name="connsiteY7450" fmla="*/ 863949 h 2112317"/>
                <a:gd name="connsiteX7451" fmla="*/ 5161264 w 9154202"/>
                <a:gd name="connsiteY7451" fmla="*/ 862556 h 2112317"/>
                <a:gd name="connsiteX7452" fmla="*/ 5162759 w 9154202"/>
                <a:gd name="connsiteY7452" fmla="*/ 859571 h 2112317"/>
                <a:gd name="connsiteX7453" fmla="*/ 5160468 w 9154202"/>
                <a:gd name="connsiteY7453" fmla="*/ 859571 h 2112317"/>
                <a:gd name="connsiteX7454" fmla="*/ 5158375 w 9154202"/>
                <a:gd name="connsiteY7454" fmla="*/ 858776 h 2112317"/>
                <a:gd name="connsiteX7455" fmla="*/ 5159372 w 9154202"/>
                <a:gd name="connsiteY7455" fmla="*/ 857482 h 2112317"/>
                <a:gd name="connsiteX7456" fmla="*/ 5158275 w 9154202"/>
                <a:gd name="connsiteY7456" fmla="*/ 854000 h 2112317"/>
                <a:gd name="connsiteX7457" fmla="*/ 5160368 w 9154202"/>
                <a:gd name="connsiteY7457" fmla="*/ 849424 h 2112317"/>
                <a:gd name="connsiteX7458" fmla="*/ 5161364 w 9154202"/>
                <a:gd name="connsiteY7458" fmla="*/ 845345 h 2112317"/>
                <a:gd name="connsiteX7459" fmla="*/ 5157080 w 9154202"/>
                <a:gd name="connsiteY7459" fmla="*/ 843653 h 2112317"/>
                <a:gd name="connsiteX7460" fmla="*/ 5157080 w 9154202"/>
                <a:gd name="connsiteY7460" fmla="*/ 844250 h 2112317"/>
                <a:gd name="connsiteX7461" fmla="*/ 5156482 w 9154202"/>
                <a:gd name="connsiteY7461" fmla="*/ 847235 h 2112317"/>
                <a:gd name="connsiteX7462" fmla="*/ 5156482 w 9154202"/>
                <a:gd name="connsiteY7462" fmla="*/ 848329 h 2112317"/>
                <a:gd name="connsiteX7463" fmla="*/ 5155684 w 9154202"/>
                <a:gd name="connsiteY7463" fmla="*/ 849424 h 2112317"/>
                <a:gd name="connsiteX7464" fmla="*/ 5152994 w 9154202"/>
                <a:gd name="connsiteY7464" fmla="*/ 851911 h 2112317"/>
                <a:gd name="connsiteX7465" fmla="*/ 5151998 w 9154202"/>
                <a:gd name="connsiteY7465" fmla="*/ 853801 h 2112317"/>
                <a:gd name="connsiteX7466" fmla="*/ 5151001 w 9154202"/>
                <a:gd name="connsiteY7466" fmla="*/ 854597 h 2112317"/>
                <a:gd name="connsiteX7467" fmla="*/ 5149506 w 9154202"/>
                <a:gd name="connsiteY7467" fmla="*/ 854597 h 2112317"/>
                <a:gd name="connsiteX7468" fmla="*/ 5148909 w 9154202"/>
                <a:gd name="connsiteY7468" fmla="*/ 853702 h 2112317"/>
                <a:gd name="connsiteX7469" fmla="*/ 5148909 w 9154202"/>
                <a:gd name="connsiteY7469" fmla="*/ 852010 h 2112317"/>
                <a:gd name="connsiteX7470" fmla="*/ 5148211 w 9154202"/>
                <a:gd name="connsiteY7470" fmla="*/ 848827 h 2112317"/>
                <a:gd name="connsiteX7471" fmla="*/ 5147215 w 9154202"/>
                <a:gd name="connsiteY7471" fmla="*/ 849921 h 2112317"/>
                <a:gd name="connsiteX7472" fmla="*/ 5146617 w 9154202"/>
                <a:gd name="connsiteY7472" fmla="*/ 851214 h 2112317"/>
                <a:gd name="connsiteX7473" fmla="*/ 5145621 w 9154202"/>
                <a:gd name="connsiteY7473" fmla="*/ 854597 h 2112317"/>
                <a:gd name="connsiteX7474" fmla="*/ 5144524 w 9154202"/>
                <a:gd name="connsiteY7474" fmla="*/ 851811 h 2112317"/>
                <a:gd name="connsiteX7475" fmla="*/ 5144524 w 9154202"/>
                <a:gd name="connsiteY7475" fmla="*/ 845146 h 2112317"/>
                <a:gd name="connsiteX7476" fmla="*/ 5144524 w 9154202"/>
                <a:gd name="connsiteY7476" fmla="*/ 843653 h 2112317"/>
                <a:gd name="connsiteX7477" fmla="*/ 5142930 w 9154202"/>
                <a:gd name="connsiteY7477" fmla="*/ 844648 h 2112317"/>
                <a:gd name="connsiteX7478" fmla="*/ 5141635 w 9154202"/>
                <a:gd name="connsiteY7478" fmla="*/ 846539 h 2112317"/>
                <a:gd name="connsiteX7479" fmla="*/ 5140439 w 9154202"/>
                <a:gd name="connsiteY7479" fmla="*/ 846539 h 2112317"/>
                <a:gd name="connsiteX7480" fmla="*/ 5139243 w 9154202"/>
                <a:gd name="connsiteY7480" fmla="*/ 843355 h 2112317"/>
                <a:gd name="connsiteX7481" fmla="*/ 5139243 w 9154202"/>
                <a:gd name="connsiteY7481" fmla="*/ 838978 h 2112317"/>
                <a:gd name="connsiteX7482" fmla="*/ 5140937 w 9154202"/>
                <a:gd name="connsiteY7482" fmla="*/ 832312 h 2112317"/>
                <a:gd name="connsiteX7483" fmla="*/ 5143329 w 9154202"/>
                <a:gd name="connsiteY7483" fmla="*/ 827735 h 2112317"/>
                <a:gd name="connsiteX7484" fmla="*/ 5145621 w 9154202"/>
                <a:gd name="connsiteY7484" fmla="*/ 829427 h 2112317"/>
                <a:gd name="connsiteX7485" fmla="*/ 5145621 w 9154202"/>
                <a:gd name="connsiteY7485" fmla="*/ 832212 h 2112317"/>
                <a:gd name="connsiteX7486" fmla="*/ 5145023 w 9154202"/>
                <a:gd name="connsiteY7486" fmla="*/ 835694 h 2112317"/>
                <a:gd name="connsiteX7487" fmla="*/ 5145023 w 9154202"/>
                <a:gd name="connsiteY7487" fmla="*/ 838580 h 2112317"/>
                <a:gd name="connsiteX7488" fmla="*/ 5148710 w 9154202"/>
                <a:gd name="connsiteY7488" fmla="*/ 840171 h 2112317"/>
                <a:gd name="connsiteX7489" fmla="*/ 5150902 w 9154202"/>
                <a:gd name="connsiteY7489" fmla="*/ 841763 h 2112317"/>
                <a:gd name="connsiteX7490" fmla="*/ 5153094 w 9154202"/>
                <a:gd name="connsiteY7490" fmla="*/ 842460 h 2112317"/>
                <a:gd name="connsiteX7491" fmla="*/ 5153094 w 9154202"/>
                <a:gd name="connsiteY7491" fmla="*/ 843056 h 2112317"/>
                <a:gd name="connsiteX7492" fmla="*/ 5153094 w 9154202"/>
                <a:gd name="connsiteY7492" fmla="*/ 843056 h 2112317"/>
                <a:gd name="connsiteX7493" fmla="*/ 5154489 w 9154202"/>
                <a:gd name="connsiteY7493" fmla="*/ 842062 h 2112317"/>
                <a:gd name="connsiteX7494" fmla="*/ 5154489 w 9154202"/>
                <a:gd name="connsiteY7494" fmla="*/ 841166 h 2112317"/>
                <a:gd name="connsiteX7495" fmla="*/ 5155784 w 9154202"/>
                <a:gd name="connsiteY7495" fmla="*/ 837485 h 2112317"/>
                <a:gd name="connsiteX7496" fmla="*/ 5157179 w 9154202"/>
                <a:gd name="connsiteY7496" fmla="*/ 836689 h 2112317"/>
                <a:gd name="connsiteX7497" fmla="*/ 5158275 w 9154202"/>
                <a:gd name="connsiteY7497" fmla="*/ 836689 h 2112317"/>
                <a:gd name="connsiteX7498" fmla="*/ 5159073 w 9154202"/>
                <a:gd name="connsiteY7498" fmla="*/ 836689 h 2112317"/>
                <a:gd name="connsiteX7499" fmla="*/ 5159073 w 9154202"/>
                <a:gd name="connsiteY7499" fmla="*/ 834202 h 2112317"/>
                <a:gd name="connsiteX7500" fmla="*/ 5158375 w 9154202"/>
                <a:gd name="connsiteY7500" fmla="*/ 830720 h 2112317"/>
                <a:gd name="connsiteX7501" fmla="*/ 5156781 w 9154202"/>
                <a:gd name="connsiteY7501" fmla="*/ 828730 h 2112317"/>
                <a:gd name="connsiteX7502" fmla="*/ 5151998 w 9154202"/>
                <a:gd name="connsiteY7502" fmla="*/ 826741 h 2112317"/>
                <a:gd name="connsiteX7503" fmla="*/ 5152595 w 9154202"/>
                <a:gd name="connsiteY7503" fmla="*/ 824452 h 2112317"/>
                <a:gd name="connsiteX7504" fmla="*/ 5153791 w 9154202"/>
                <a:gd name="connsiteY7504" fmla="*/ 822861 h 2112317"/>
                <a:gd name="connsiteX7505" fmla="*/ 5155286 w 9154202"/>
                <a:gd name="connsiteY7505" fmla="*/ 822264 h 2112317"/>
                <a:gd name="connsiteX7506" fmla="*/ 5157179 w 9154202"/>
                <a:gd name="connsiteY7506" fmla="*/ 823259 h 2112317"/>
                <a:gd name="connsiteX7507" fmla="*/ 5159272 w 9154202"/>
                <a:gd name="connsiteY7507" fmla="*/ 821070 h 2112317"/>
                <a:gd name="connsiteX7508" fmla="*/ 5165550 w 9154202"/>
                <a:gd name="connsiteY7508" fmla="*/ 821070 h 2112317"/>
                <a:gd name="connsiteX7509" fmla="*/ 5167542 w 9154202"/>
                <a:gd name="connsiteY7509" fmla="*/ 817289 h 2112317"/>
                <a:gd name="connsiteX7510" fmla="*/ 5168837 w 9154202"/>
                <a:gd name="connsiteY7510" fmla="*/ 816593 h 2112317"/>
                <a:gd name="connsiteX7511" fmla="*/ 5169635 w 9154202"/>
                <a:gd name="connsiteY7511" fmla="*/ 815697 h 2112317"/>
                <a:gd name="connsiteX7512" fmla="*/ 5168937 w 9154202"/>
                <a:gd name="connsiteY7512" fmla="*/ 814006 h 2112317"/>
                <a:gd name="connsiteX7513" fmla="*/ 5167443 w 9154202"/>
                <a:gd name="connsiteY7513" fmla="*/ 812812 h 2112317"/>
                <a:gd name="connsiteX7514" fmla="*/ 5166048 w 9154202"/>
                <a:gd name="connsiteY7514" fmla="*/ 812812 h 2112317"/>
                <a:gd name="connsiteX7515" fmla="*/ 5164952 w 9154202"/>
                <a:gd name="connsiteY7515" fmla="*/ 812215 h 2112317"/>
                <a:gd name="connsiteX7516" fmla="*/ 5164254 w 9154202"/>
                <a:gd name="connsiteY7516" fmla="*/ 809927 h 2112317"/>
                <a:gd name="connsiteX7517" fmla="*/ 5164254 w 9154202"/>
                <a:gd name="connsiteY7517" fmla="*/ 809231 h 2112317"/>
                <a:gd name="connsiteX7518" fmla="*/ 5165350 w 9154202"/>
                <a:gd name="connsiteY7518" fmla="*/ 809231 h 2112317"/>
                <a:gd name="connsiteX7519" fmla="*/ 5166048 w 9154202"/>
                <a:gd name="connsiteY7519" fmla="*/ 808634 h 2112317"/>
                <a:gd name="connsiteX7520" fmla="*/ 5166048 w 9154202"/>
                <a:gd name="connsiteY7520" fmla="*/ 806843 h 2112317"/>
                <a:gd name="connsiteX7521" fmla="*/ 5165051 w 9154202"/>
                <a:gd name="connsiteY7521" fmla="*/ 805848 h 2112317"/>
                <a:gd name="connsiteX7522" fmla="*/ 5161464 w 9154202"/>
                <a:gd name="connsiteY7522" fmla="*/ 803659 h 2112317"/>
                <a:gd name="connsiteX7523" fmla="*/ 5158873 w 9154202"/>
                <a:gd name="connsiteY7523" fmla="*/ 802864 h 2112317"/>
                <a:gd name="connsiteX7524" fmla="*/ 5157877 w 9154202"/>
                <a:gd name="connsiteY7524" fmla="*/ 801769 h 2112317"/>
                <a:gd name="connsiteX7525" fmla="*/ 5157877 w 9154202"/>
                <a:gd name="connsiteY7525" fmla="*/ 800078 h 2112317"/>
                <a:gd name="connsiteX7526" fmla="*/ 5157877 w 9154202"/>
                <a:gd name="connsiteY7526" fmla="*/ 798088 h 2112317"/>
                <a:gd name="connsiteX7527" fmla="*/ 5158674 w 9154202"/>
                <a:gd name="connsiteY7527" fmla="*/ 797193 h 2112317"/>
                <a:gd name="connsiteX7528" fmla="*/ 5161564 w 9154202"/>
                <a:gd name="connsiteY7528" fmla="*/ 797193 h 2112317"/>
                <a:gd name="connsiteX7529" fmla="*/ 5164952 w 9154202"/>
                <a:gd name="connsiteY7529" fmla="*/ 797193 h 2112317"/>
                <a:gd name="connsiteX7530" fmla="*/ 5167742 w 9154202"/>
                <a:gd name="connsiteY7530" fmla="*/ 796198 h 2112317"/>
                <a:gd name="connsiteX7531" fmla="*/ 5170233 w 9154202"/>
                <a:gd name="connsiteY7531" fmla="*/ 794208 h 2112317"/>
                <a:gd name="connsiteX7532" fmla="*/ 5172126 w 9154202"/>
                <a:gd name="connsiteY7532" fmla="*/ 791224 h 2112317"/>
                <a:gd name="connsiteX7533" fmla="*/ 5173122 w 9154202"/>
                <a:gd name="connsiteY7533" fmla="*/ 785354 h 2112317"/>
                <a:gd name="connsiteX7534" fmla="*/ 5174318 w 9154202"/>
                <a:gd name="connsiteY7534" fmla="*/ 782170 h 2112317"/>
                <a:gd name="connsiteX7535" fmla="*/ 5174318 w 9154202"/>
                <a:gd name="connsiteY7535" fmla="*/ 780379 h 2112317"/>
                <a:gd name="connsiteX7536" fmla="*/ 5174318 w 9154202"/>
                <a:gd name="connsiteY7536" fmla="*/ 776400 h 2112317"/>
                <a:gd name="connsiteX7537" fmla="*/ 5174318 w 9154202"/>
                <a:gd name="connsiteY7537" fmla="*/ 774609 h 2112317"/>
                <a:gd name="connsiteX7538" fmla="*/ 5174318 w 9154202"/>
                <a:gd name="connsiteY7538" fmla="*/ 772818 h 2112317"/>
                <a:gd name="connsiteX7539" fmla="*/ 5176112 w 9154202"/>
                <a:gd name="connsiteY7539" fmla="*/ 770331 h 2112317"/>
                <a:gd name="connsiteX7540" fmla="*/ 5181094 w 9154202"/>
                <a:gd name="connsiteY7540" fmla="*/ 768242 h 2112317"/>
                <a:gd name="connsiteX7541" fmla="*/ 5183485 w 9154202"/>
                <a:gd name="connsiteY7541" fmla="*/ 766551 h 2112317"/>
                <a:gd name="connsiteX7542" fmla="*/ 5191457 w 9154202"/>
                <a:gd name="connsiteY7542" fmla="*/ 759587 h 2112317"/>
                <a:gd name="connsiteX7543" fmla="*/ 5193550 w 9154202"/>
                <a:gd name="connsiteY7543" fmla="*/ 758194 h 2112317"/>
                <a:gd name="connsiteX7544" fmla="*/ 5195542 w 9154202"/>
                <a:gd name="connsiteY7544" fmla="*/ 757497 h 2112317"/>
                <a:gd name="connsiteX7545" fmla="*/ 5197137 w 9154202"/>
                <a:gd name="connsiteY7545" fmla="*/ 757497 h 2112317"/>
                <a:gd name="connsiteX7546" fmla="*/ 5198731 w 9154202"/>
                <a:gd name="connsiteY7546" fmla="*/ 757497 h 2112317"/>
                <a:gd name="connsiteX7547" fmla="*/ 5200524 w 9154202"/>
                <a:gd name="connsiteY7547" fmla="*/ 758094 h 2112317"/>
                <a:gd name="connsiteX7548" fmla="*/ 5205308 w 9154202"/>
                <a:gd name="connsiteY7548" fmla="*/ 761576 h 2112317"/>
                <a:gd name="connsiteX7549" fmla="*/ 5205905 w 9154202"/>
                <a:gd name="connsiteY7549" fmla="*/ 762173 h 2112317"/>
                <a:gd name="connsiteX7550" fmla="*/ 5206603 w 9154202"/>
                <a:gd name="connsiteY7550" fmla="*/ 763666 h 2112317"/>
                <a:gd name="connsiteX7551" fmla="*/ 5207201 w 9154202"/>
                <a:gd name="connsiteY7551" fmla="*/ 765456 h 2112317"/>
                <a:gd name="connsiteX7552" fmla="*/ 5207201 w 9154202"/>
                <a:gd name="connsiteY7552" fmla="*/ 766949 h 2112317"/>
                <a:gd name="connsiteX7553" fmla="*/ 5207997 w 9154202"/>
                <a:gd name="connsiteY7553" fmla="*/ 768441 h 2112317"/>
                <a:gd name="connsiteX7554" fmla="*/ 5209592 w 9154202"/>
                <a:gd name="connsiteY7554" fmla="*/ 767645 h 2112317"/>
                <a:gd name="connsiteX7555" fmla="*/ 5214873 w 9154202"/>
                <a:gd name="connsiteY7555" fmla="*/ 763168 h 2112317"/>
                <a:gd name="connsiteX7556" fmla="*/ 5216168 w 9154202"/>
                <a:gd name="connsiteY7556" fmla="*/ 763168 h 2112317"/>
                <a:gd name="connsiteX7557" fmla="*/ 5217663 w 9154202"/>
                <a:gd name="connsiteY7557" fmla="*/ 763168 h 2112317"/>
                <a:gd name="connsiteX7558" fmla="*/ 5218659 w 9154202"/>
                <a:gd name="connsiteY7558" fmla="*/ 764063 h 2112317"/>
                <a:gd name="connsiteX7559" fmla="*/ 5219357 w 9154202"/>
                <a:gd name="connsiteY7559" fmla="*/ 765755 h 2112317"/>
                <a:gd name="connsiteX7560" fmla="*/ 5220154 w 9154202"/>
                <a:gd name="connsiteY7560" fmla="*/ 767247 h 2112317"/>
                <a:gd name="connsiteX7561" fmla="*/ 5221550 w 9154202"/>
                <a:gd name="connsiteY7561" fmla="*/ 767844 h 2112317"/>
                <a:gd name="connsiteX7562" fmla="*/ 5224937 w 9154202"/>
                <a:gd name="connsiteY7562" fmla="*/ 768540 h 2112317"/>
                <a:gd name="connsiteX7563" fmla="*/ 5226631 w 9154202"/>
                <a:gd name="connsiteY7563" fmla="*/ 770431 h 2112317"/>
                <a:gd name="connsiteX7564" fmla="*/ 5229222 w 9154202"/>
                <a:gd name="connsiteY7564" fmla="*/ 776698 h 2112317"/>
                <a:gd name="connsiteX7565" fmla="*/ 5229222 w 9154202"/>
                <a:gd name="connsiteY7565" fmla="*/ 777693 h 2112317"/>
                <a:gd name="connsiteX7566" fmla="*/ 5229222 w 9154202"/>
                <a:gd name="connsiteY7566" fmla="*/ 778290 h 2112317"/>
                <a:gd name="connsiteX7567" fmla="*/ 5230219 w 9154202"/>
                <a:gd name="connsiteY7567" fmla="*/ 778290 h 2112317"/>
                <a:gd name="connsiteX7568" fmla="*/ 5231015 w 9154202"/>
                <a:gd name="connsiteY7568" fmla="*/ 778290 h 2112317"/>
                <a:gd name="connsiteX7569" fmla="*/ 5231713 w 9154202"/>
                <a:gd name="connsiteY7569" fmla="*/ 778290 h 2112317"/>
                <a:gd name="connsiteX7570" fmla="*/ 5232809 w 9154202"/>
                <a:gd name="connsiteY7570" fmla="*/ 778290 h 2112317"/>
                <a:gd name="connsiteX7571" fmla="*/ 5233905 w 9154202"/>
                <a:gd name="connsiteY7571" fmla="*/ 779285 h 2112317"/>
                <a:gd name="connsiteX7572" fmla="*/ 5236197 w 9154202"/>
                <a:gd name="connsiteY7572" fmla="*/ 782270 h 2112317"/>
                <a:gd name="connsiteX7573" fmla="*/ 5237492 w 9154202"/>
                <a:gd name="connsiteY7573" fmla="*/ 782966 h 2112317"/>
                <a:gd name="connsiteX7574" fmla="*/ 5243172 w 9154202"/>
                <a:gd name="connsiteY7574" fmla="*/ 783662 h 2112317"/>
                <a:gd name="connsiteX7575" fmla="*/ 5244468 w 9154202"/>
                <a:gd name="connsiteY7575" fmla="*/ 782469 h 2112317"/>
                <a:gd name="connsiteX7576" fmla="*/ 5244468 w 9154202"/>
                <a:gd name="connsiteY7576" fmla="*/ 778290 h 2112317"/>
                <a:gd name="connsiteX7577" fmla="*/ 5243670 w 9154202"/>
                <a:gd name="connsiteY7577" fmla="*/ 776201 h 2112317"/>
                <a:gd name="connsiteX7578" fmla="*/ 5242973 w 9154202"/>
                <a:gd name="connsiteY7578" fmla="*/ 775306 h 2112317"/>
                <a:gd name="connsiteX7579" fmla="*/ 5240980 w 9154202"/>
                <a:gd name="connsiteY7579" fmla="*/ 773614 h 2112317"/>
                <a:gd name="connsiteX7580" fmla="*/ 5240382 w 9154202"/>
                <a:gd name="connsiteY7580" fmla="*/ 773614 h 2112317"/>
                <a:gd name="connsiteX7581" fmla="*/ 5238888 w 9154202"/>
                <a:gd name="connsiteY7581" fmla="*/ 773614 h 2112317"/>
                <a:gd name="connsiteX7582" fmla="*/ 5238888 w 9154202"/>
                <a:gd name="connsiteY7582" fmla="*/ 773614 h 2112317"/>
                <a:gd name="connsiteX7583" fmla="*/ 5238888 w 9154202"/>
                <a:gd name="connsiteY7583" fmla="*/ 772818 h 2112317"/>
                <a:gd name="connsiteX7584" fmla="*/ 5238888 w 9154202"/>
                <a:gd name="connsiteY7584" fmla="*/ 771625 h 2112317"/>
                <a:gd name="connsiteX7585" fmla="*/ 5238888 w 9154202"/>
                <a:gd name="connsiteY7585" fmla="*/ 769535 h 2112317"/>
                <a:gd name="connsiteX7586" fmla="*/ 5238888 w 9154202"/>
                <a:gd name="connsiteY7586" fmla="*/ 769038 h 2112317"/>
                <a:gd name="connsiteX7587" fmla="*/ 5237990 w 9154202"/>
                <a:gd name="connsiteY7587" fmla="*/ 768043 h 2112317"/>
                <a:gd name="connsiteX7588" fmla="*/ 5237393 w 9154202"/>
                <a:gd name="connsiteY7588" fmla="*/ 765854 h 2112317"/>
                <a:gd name="connsiteX7589" fmla="*/ 5236695 w 9154202"/>
                <a:gd name="connsiteY7589" fmla="*/ 764362 h 2112317"/>
                <a:gd name="connsiteX7590" fmla="*/ 5235400 w 9154202"/>
                <a:gd name="connsiteY7590" fmla="*/ 764959 h 2112317"/>
                <a:gd name="connsiteX7591" fmla="*/ 5234005 w 9154202"/>
                <a:gd name="connsiteY7591" fmla="*/ 766252 h 2112317"/>
                <a:gd name="connsiteX7592" fmla="*/ 5232809 w 9154202"/>
                <a:gd name="connsiteY7592" fmla="*/ 766252 h 2112317"/>
                <a:gd name="connsiteX7593" fmla="*/ 5224937 w 9154202"/>
                <a:gd name="connsiteY7593" fmla="*/ 759388 h 2112317"/>
                <a:gd name="connsiteX7594" fmla="*/ 5223741 w 9154202"/>
                <a:gd name="connsiteY7594" fmla="*/ 757398 h 2112317"/>
                <a:gd name="connsiteX7595" fmla="*/ 5225435 w 9154202"/>
                <a:gd name="connsiteY7595" fmla="*/ 755408 h 2112317"/>
                <a:gd name="connsiteX7596" fmla="*/ 5227328 w 9154202"/>
                <a:gd name="connsiteY7596" fmla="*/ 754214 h 2112317"/>
                <a:gd name="connsiteX7597" fmla="*/ 5229321 w 9154202"/>
                <a:gd name="connsiteY7597" fmla="*/ 754214 h 2112317"/>
                <a:gd name="connsiteX7598" fmla="*/ 5239286 w 9154202"/>
                <a:gd name="connsiteY7598" fmla="*/ 759885 h 2112317"/>
                <a:gd name="connsiteX7599" fmla="*/ 5241179 w 9154202"/>
                <a:gd name="connsiteY7599" fmla="*/ 764760 h 2112317"/>
                <a:gd name="connsiteX7600" fmla="*/ 5242176 w 9154202"/>
                <a:gd name="connsiteY7600" fmla="*/ 765854 h 2112317"/>
                <a:gd name="connsiteX7601" fmla="*/ 5250446 w 9154202"/>
                <a:gd name="connsiteY7601" fmla="*/ 766949 h 2112317"/>
                <a:gd name="connsiteX7602" fmla="*/ 5252239 w 9154202"/>
                <a:gd name="connsiteY7602" fmla="*/ 767844 h 2112317"/>
                <a:gd name="connsiteX7603" fmla="*/ 5253336 w 9154202"/>
                <a:gd name="connsiteY7603" fmla="*/ 770033 h 2112317"/>
                <a:gd name="connsiteX7604" fmla="*/ 5254232 w 9154202"/>
                <a:gd name="connsiteY7604" fmla="*/ 772520 h 2112317"/>
                <a:gd name="connsiteX7605" fmla="*/ 5255229 w 9154202"/>
                <a:gd name="connsiteY7605" fmla="*/ 774510 h 2112317"/>
                <a:gd name="connsiteX7606" fmla="*/ 5257023 w 9154202"/>
                <a:gd name="connsiteY7606" fmla="*/ 777196 h 2112317"/>
                <a:gd name="connsiteX7607" fmla="*/ 5259115 w 9154202"/>
                <a:gd name="connsiteY7607" fmla="*/ 781275 h 2112317"/>
                <a:gd name="connsiteX7608" fmla="*/ 5260410 w 9154202"/>
                <a:gd name="connsiteY7608" fmla="*/ 785652 h 2112317"/>
                <a:gd name="connsiteX7609" fmla="*/ 5260410 w 9154202"/>
                <a:gd name="connsiteY7609" fmla="*/ 788935 h 2112317"/>
                <a:gd name="connsiteX7610" fmla="*/ 5258517 w 9154202"/>
                <a:gd name="connsiteY7610" fmla="*/ 790627 h 2112317"/>
                <a:gd name="connsiteX7611" fmla="*/ 5257123 w 9154202"/>
                <a:gd name="connsiteY7611" fmla="*/ 789532 h 2112317"/>
                <a:gd name="connsiteX7612" fmla="*/ 5255130 w 9154202"/>
                <a:gd name="connsiteY7612" fmla="*/ 785354 h 2112317"/>
                <a:gd name="connsiteX7613" fmla="*/ 5253934 w 9154202"/>
                <a:gd name="connsiteY7613" fmla="*/ 784259 h 2112317"/>
                <a:gd name="connsiteX7614" fmla="*/ 5252837 w 9154202"/>
                <a:gd name="connsiteY7614" fmla="*/ 783563 h 2112317"/>
                <a:gd name="connsiteX7615" fmla="*/ 5251343 w 9154202"/>
                <a:gd name="connsiteY7615" fmla="*/ 783563 h 2112317"/>
                <a:gd name="connsiteX7616" fmla="*/ 5249051 w 9154202"/>
                <a:gd name="connsiteY7616" fmla="*/ 783563 h 2112317"/>
                <a:gd name="connsiteX7617" fmla="*/ 5252837 w 9154202"/>
                <a:gd name="connsiteY7617" fmla="*/ 792517 h 2112317"/>
                <a:gd name="connsiteX7618" fmla="*/ 5253435 w 9154202"/>
                <a:gd name="connsiteY7618" fmla="*/ 795700 h 2112317"/>
                <a:gd name="connsiteX7619" fmla="*/ 5253435 w 9154202"/>
                <a:gd name="connsiteY7619" fmla="*/ 799481 h 2112317"/>
                <a:gd name="connsiteX7620" fmla="*/ 5250446 w 9154202"/>
                <a:gd name="connsiteY7620" fmla="*/ 807937 h 2112317"/>
                <a:gd name="connsiteX7621" fmla="*/ 5253834 w 9154202"/>
                <a:gd name="connsiteY7621" fmla="*/ 807142 h 2112317"/>
                <a:gd name="connsiteX7622" fmla="*/ 5255727 w 9154202"/>
                <a:gd name="connsiteY7622" fmla="*/ 804256 h 2112317"/>
                <a:gd name="connsiteX7623" fmla="*/ 5256923 w 9154202"/>
                <a:gd name="connsiteY7623" fmla="*/ 801272 h 2112317"/>
                <a:gd name="connsiteX7624" fmla="*/ 5258617 w 9154202"/>
                <a:gd name="connsiteY7624" fmla="*/ 799879 h 2112317"/>
                <a:gd name="connsiteX7625" fmla="*/ 5259912 w 9154202"/>
                <a:gd name="connsiteY7625" fmla="*/ 799879 h 2112317"/>
                <a:gd name="connsiteX7626" fmla="*/ 5260610 w 9154202"/>
                <a:gd name="connsiteY7626" fmla="*/ 799183 h 2112317"/>
                <a:gd name="connsiteX7627" fmla="*/ 5261507 w 9154202"/>
                <a:gd name="connsiteY7627" fmla="*/ 799183 h 2112317"/>
                <a:gd name="connsiteX7628" fmla="*/ 5263400 w 9154202"/>
                <a:gd name="connsiteY7628" fmla="*/ 800277 h 2112317"/>
                <a:gd name="connsiteX7629" fmla="*/ 5264197 w 9154202"/>
                <a:gd name="connsiteY7629" fmla="*/ 801172 h 2112317"/>
                <a:gd name="connsiteX7630" fmla="*/ 5267087 w 9154202"/>
                <a:gd name="connsiteY7630" fmla="*/ 804953 h 2112317"/>
                <a:gd name="connsiteX7631" fmla="*/ 5267685 w 9154202"/>
                <a:gd name="connsiteY7631" fmla="*/ 806644 h 2112317"/>
                <a:gd name="connsiteX7632" fmla="*/ 5269179 w 9154202"/>
                <a:gd name="connsiteY7632" fmla="*/ 806644 h 2112317"/>
                <a:gd name="connsiteX7633" fmla="*/ 5272468 w 9154202"/>
                <a:gd name="connsiteY7633" fmla="*/ 806644 h 2112317"/>
                <a:gd name="connsiteX7634" fmla="*/ 5275955 w 9154202"/>
                <a:gd name="connsiteY7634" fmla="*/ 807738 h 2112317"/>
                <a:gd name="connsiteX7635" fmla="*/ 5278147 w 9154202"/>
                <a:gd name="connsiteY7635" fmla="*/ 809529 h 2112317"/>
                <a:gd name="connsiteX7636" fmla="*/ 5278745 w 9154202"/>
                <a:gd name="connsiteY7636" fmla="*/ 813509 h 2112317"/>
                <a:gd name="connsiteX7637" fmla="*/ 7035670 w 9154202"/>
                <a:gd name="connsiteY7637" fmla="*/ 1561455 h 2112317"/>
                <a:gd name="connsiteX7638" fmla="*/ 7035670 w 9154202"/>
                <a:gd name="connsiteY7638" fmla="*/ 1561455 h 2112317"/>
                <a:gd name="connsiteX7639" fmla="*/ 7036267 w 9154202"/>
                <a:gd name="connsiteY7639" fmla="*/ 1561455 h 2112317"/>
                <a:gd name="connsiteX7640" fmla="*/ 7043442 w 9154202"/>
                <a:gd name="connsiteY7640" fmla="*/ 1562351 h 2112317"/>
                <a:gd name="connsiteX7641" fmla="*/ 7044737 w 9154202"/>
                <a:gd name="connsiteY7641" fmla="*/ 1562848 h 2112317"/>
                <a:gd name="connsiteX7642" fmla="*/ 7045335 w 9154202"/>
                <a:gd name="connsiteY7642" fmla="*/ 1562848 h 2112317"/>
                <a:gd name="connsiteX7643" fmla="*/ 7046531 w 9154202"/>
                <a:gd name="connsiteY7643" fmla="*/ 1563942 h 2112317"/>
                <a:gd name="connsiteX7644" fmla="*/ 7046531 w 9154202"/>
                <a:gd name="connsiteY7644" fmla="*/ 1563942 h 2112317"/>
                <a:gd name="connsiteX7645" fmla="*/ 7048225 w 9154202"/>
                <a:gd name="connsiteY7645" fmla="*/ 1563942 h 2112317"/>
                <a:gd name="connsiteX7646" fmla="*/ 7049919 w 9154202"/>
                <a:gd name="connsiteY7646" fmla="*/ 1564639 h 2112317"/>
                <a:gd name="connsiteX7647" fmla="*/ 7049919 w 9154202"/>
                <a:gd name="connsiteY7647" fmla="*/ 1564639 h 2112317"/>
                <a:gd name="connsiteX7648" fmla="*/ 7049919 w 9154202"/>
                <a:gd name="connsiteY7648" fmla="*/ 1565733 h 2112317"/>
                <a:gd name="connsiteX7649" fmla="*/ 7048225 w 9154202"/>
                <a:gd name="connsiteY7649" fmla="*/ 1565733 h 2112317"/>
                <a:gd name="connsiteX7650" fmla="*/ 7047328 w 9154202"/>
                <a:gd name="connsiteY7650" fmla="*/ 1565733 h 2112317"/>
                <a:gd name="connsiteX7651" fmla="*/ 7044538 w 9154202"/>
                <a:gd name="connsiteY7651" fmla="*/ 1567424 h 2112317"/>
                <a:gd name="connsiteX7652" fmla="*/ 7043841 w 9154202"/>
                <a:gd name="connsiteY7652" fmla="*/ 1567424 h 2112317"/>
                <a:gd name="connsiteX7653" fmla="*/ 7042844 w 9154202"/>
                <a:gd name="connsiteY7653" fmla="*/ 1567424 h 2112317"/>
                <a:gd name="connsiteX7654" fmla="*/ 7040652 w 9154202"/>
                <a:gd name="connsiteY7654" fmla="*/ 1567424 h 2112317"/>
                <a:gd name="connsiteX7655" fmla="*/ 7038559 w 9154202"/>
                <a:gd name="connsiteY7655" fmla="*/ 1567424 h 2112317"/>
                <a:gd name="connsiteX7656" fmla="*/ 7038559 w 9154202"/>
                <a:gd name="connsiteY7656" fmla="*/ 1567424 h 2112317"/>
                <a:gd name="connsiteX7657" fmla="*/ 7038559 w 9154202"/>
                <a:gd name="connsiteY7657" fmla="*/ 1567424 h 2112317"/>
                <a:gd name="connsiteX7658" fmla="*/ 7037862 w 9154202"/>
                <a:gd name="connsiteY7658" fmla="*/ 1566430 h 2112317"/>
                <a:gd name="connsiteX7659" fmla="*/ 7035769 w 9154202"/>
                <a:gd name="connsiteY7659" fmla="*/ 1564440 h 2112317"/>
                <a:gd name="connsiteX7660" fmla="*/ 7035072 w 9154202"/>
                <a:gd name="connsiteY7660" fmla="*/ 1563246 h 2112317"/>
                <a:gd name="connsiteX7661" fmla="*/ 7035072 w 9154202"/>
                <a:gd name="connsiteY7661" fmla="*/ 1562052 h 2112317"/>
                <a:gd name="connsiteX7662" fmla="*/ 7039954 w 9154202"/>
                <a:gd name="connsiteY7662" fmla="*/ 1547029 h 2112317"/>
                <a:gd name="connsiteX7663" fmla="*/ 7039954 w 9154202"/>
                <a:gd name="connsiteY7663" fmla="*/ 1546333 h 2112317"/>
                <a:gd name="connsiteX7664" fmla="*/ 7040652 w 9154202"/>
                <a:gd name="connsiteY7664" fmla="*/ 1545836 h 2112317"/>
                <a:gd name="connsiteX7665" fmla="*/ 7040652 w 9154202"/>
                <a:gd name="connsiteY7665" fmla="*/ 1545836 h 2112317"/>
                <a:gd name="connsiteX7666" fmla="*/ 7045435 w 9154202"/>
                <a:gd name="connsiteY7666" fmla="*/ 1544045 h 2112317"/>
                <a:gd name="connsiteX7667" fmla="*/ 7046132 w 9154202"/>
                <a:gd name="connsiteY7667" fmla="*/ 1544045 h 2112317"/>
                <a:gd name="connsiteX7668" fmla="*/ 7046730 w 9154202"/>
                <a:gd name="connsiteY7668" fmla="*/ 1544045 h 2112317"/>
                <a:gd name="connsiteX7669" fmla="*/ 7046730 w 9154202"/>
                <a:gd name="connsiteY7669" fmla="*/ 1545537 h 2112317"/>
                <a:gd name="connsiteX7670" fmla="*/ 7044936 w 9154202"/>
                <a:gd name="connsiteY7670" fmla="*/ 1547428 h 2112317"/>
                <a:gd name="connsiteX7671" fmla="*/ 7042545 w 9154202"/>
                <a:gd name="connsiteY7671" fmla="*/ 1548820 h 2112317"/>
                <a:gd name="connsiteX7672" fmla="*/ 7040851 w 9154202"/>
                <a:gd name="connsiteY7672" fmla="*/ 1548820 h 2112317"/>
                <a:gd name="connsiteX7673" fmla="*/ 7040253 w 9154202"/>
                <a:gd name="connsiteY7673" fmla="*/ 1548820 h 2112317"/>
                <a:gd name="connsiteX7674" fmla="*/ 7039655 w 9154202"/>
                <a:gd name="connsiteY7674" fmla="*/ 1548820 h 2112317"/>
                <a:gd name="connsiteX7675" fmla="*/ 7039157 w 9154202"/>
                <a:gd name="connsiteY7675" fmla="*/ 1548820 h 2112317"/>
                <a:gd name="connsiteX7676" fmla="*/ 7039157 w 9154202"/>
                <a:gd name="connsiteY7676" fmla="*/ 1548124 h 2112317"/>
                <a:gd name="connsiteX7677" fmla="*/ 6740025 w 9154202"/>
                <a:gd name="connsiteY7677" fmla="*/ 1741328 h 2112317"/>
                <a:gd name="connsiteX7678" fmla="*/ 6744410 w 9154202"/>
                <a:gd name="connsiteY7678" fmla="*/ 1738941 h 2112317"/>
                <a:gd name="connsiteX7679" fmla="*/ 6749093 w 9154202"/>
                <a:gd name="connsiteY7679" fmla="*/ 1737846 h 2112317"/>
                <a:gd name="connsiteX7680" fmla="*/ 6754972 w 9154202"/>
                <a:gd name="connsiteY7680" fmla="*/ 1737846 h 2112317"/>
                <a:gd name="connsiteX7681" fmla="*/ 6753677 w 9154202"/>
                <a:gd name="connsiteY7681" fmla="*/ 1739637 h 2112317"/>
                <a:gd name="connsiteX7682" fmla="*/ 6749492 w 9154202"/>
                <a:gd name="connsiteY7682" fmla="*/ 1743119 h 2112317"/>
                <a:gd name="connsiteX7683" fmla="*/ 6744908 w 9154202"/>
                <a:gd name="connsiteY7683" fmla="*/ 1744711 h 2112317"/>
                <a:gd name="connsiteX7684" fmla="*/ 6734944 w 9154202"/>
                <a:gd name="connsiteY7684" fmla="*/ 1745606 h 2112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</a:cxnLst>
              <a:rect l="l" t="t" r="r" b="b"/>
              <a:pathLst>
                <a:path w="9154202" h="2112317">
                  <a:moveTo>
                    <a:pt x="6344837" y="1393"/>
                  </a:moveTo>
                  <a:lnTo>
                    <a:pt x="6343243" y="3880"/>
                  </a:lnTo>
                  <a:lnTo>
                    <a:pt x="6340951" y="6467"/>
                  </a:lnTo>
                  <a:lnTo>
                    <a:pt x="6339357" y="9252"/>
                  </a:lnTo>
                  <a:lnTo>
                    <a:pt x="6341250" y="9252"/>
                  </a:lnTo>
                  <a:lnTo>
                    <a:pt x="6342944" y="8655"/>
                  </a:lnTo>
                  <a:lnTo>
                    <a:pt x="6346232" y="6765"/>
                  </a:lnTo>
                  <a:lnTo>
                    <a:pt x="6344837" y="6765"/>
                  </a:lnTo>
                  <a:lnTo>
                    <a:pt x="6344239" y="6765"/>
                  </a:lnTo>
                  <a:lnTo>
                    <a:pt x="6343641" y="6069"/>
                  </a:lnTo>
                  <a:lnTo>
                    <a:pt x="6346033" y="4576"/>
                  </a:lnTo>
                  <a:lnTo>
                    <a:pt x="6348922" y="4576"/>
                  </a:lnTo>
                  <a:lnTo>
                    <a:pt x="6351513" y="5372"/>
                  </a:lnTo>
                  <a:lnTo>
                    <a:pt x="6353207" y="7661"/>
                  </a:lnTo>
                  <a:lnTo>
                    <a:pt x="6353207" y="10148"/>
                  </a:lnTo>
                  <a:lnTo>
                    <a:pt x="6350517" y="11541"/>
                  </a:lnTo>
                  <a:lnTo>
                    <a:pt x="6344040" y="12436"/>
                  </a:lnTo>
                  <a:lnTo>
                    <a:pt x="6344040" y="13729"/>
                  </a:lnTo>
                  <a:lnTo>
                    <a:pt x="6347328" y="13431"/>
                  </a:lnTo>
                  <a:lnTo>
                    <a:pt x="6351015" y="16515"/>
                  </a:lnTo>
                  <a:lnTo>
                    <a:pt x="6352410" y="19699"/>
                  </a:lnTo>
                  <a:lnTo>
                    <a:pt x="6349321" y="20992"/>
                  </a:lnTo>
                  <a:lnTo>
                    <a:pt x="6350317" y="21887"/>
                  </a:lnTo>
                  <a:lnTo>
                    <a:pt x="6351413" y="21887"/>
                  </a:lnTo>
                  <a:lnTo>
                    <a:pt x="6353606" y="21887"/>
                  </a:lnTo>
                  <a:lnTo>
                    <a:pt x="6353606" y="23181"/>
                  </a:lnTo>
                  <a:lnTo>
                    <a:pt x="6354303" y="25170"/>
                  </a:lnTo>
                  <a:lnTo>
                    <a:pt x="6355499" y="27061"/>
                  </a:lnTo>
                  <a:lnTo>
                    <a:pt x="6356794" y="27856"/>
                  </a:lnTo>
                  <a:lnTo>
                    <a:pt x="6356794" y="28951"/>
                  </a:lnTo>
                  <a:lnTo>
                    <a:pt x="6356794" y="31239"/>
                  </a:lnTo>
                  <a:lnTo>
                    <a:pt x="6355399" y="35318"/>
                  </a:lnTo>
                  <a:lnTo>
                    <a:pt x="6357293" y="35318"/>
                  </a:lnTo>
                  <a:lnTo>
                    <a:pt x="6362375" y="36512"/>
                  </a:lnTo>
                  <a:lnTo>
                    <a:pt x="6362375" y="37606"/>
                  </a:lnTo>
                  <a:lnTo>
                    <a:pt x="6359484" y="38800"/>
                  </a:lnTo>
                  <a:lnTo>
                    <a:pt x="6357890" y="38800"/>
                  </a:lnTo>
                  <a:lnTo>
                    <a:pt x="6356296" y="38800"/>
                  </a:lnTo>
                  <a:lnTo>
                    <a:pt x="6356296" y="39596"/>
                  </a:lnTo>
                  <a:lnTo>
                    <a:pt x="6356296" y="41586"/>
                  </a:lnTo>
                  <a:lnTo>
                    <a:pt x="6357293" y="43277"/>
                  </a:lnTo>
                  <a:lnTo>
                    <a:pt x="6356595" y="43277"/>
                  </a:lnTo>
                  <a:lnTo>
                    <a:pt x="6356595" y="43874"/>
                  </a:lnTo>
                  <a:lnTo>
                    <a:pt x="6356595" y="44570"/>
                  </a:lnTo>
                  <a:lnTo>
                    <a:pt x="6356595" y="45167"/>
                  </a:lnTo>
                  <a:lnTo>
                    <a:pt x="6359784" y="45665"/>
                  </a:lnTo>
                  <a:lnTo>
                    <a:pt x="6361976" y="48550"/>
                  </a:lnTo>
                  <a:lnTo>
                    <a:pt x="6362673" y="52529"/>
                  </a:lnTo>
                  <a:lnTo>
                    <a:pt x="6361876" y="56210"/>
                  </a:lnTo>
                  <a:lnTo>
                    <a:pt x="6365463" y="56210"/>
                  </a:lnTo>
                  <a:lnTo>
                    <a:pt x="6366859" y="56807"/>
                  </a:lnTo>
                  <a:lnTo>
                    <a:pt x="6367955" y="58598"/>
                  </a:lnTo>
                  <a:lnTo>
                    <a:pt x="6366859" y="58598"/>
                  </a:lnTo>
                  <a:lnTo>
                    <a:pt x="6366061" y="58598"/>
                  </a:lnTo>
                  <a:lnTo>
                    <a:pt x="6364467" y="60389"/>
                  </a:lnTo>
                  <a:lnTo>
                    <a:pt x="6368951" y="62677"/>
                  </a:lnTo>
                  <a:lnTo>
                    <a:pt x="6383499" y="64368"/>
                  </a:lnTo>
                  <a:lnTo>
                    <a:pt x="6384395" y="65363"/>
                  </a:lnTo>
                  <a:lnTo>
                    <a:pt x="6383798" y="67452"/>
                  </a:lnTo>
                  <a:lnTo>
                    <a:pt x="6381904" y="67452"/>
                  </a:lnTo>
                  <a:lnTo>
                    <a:pt x="6379812" y="66955"/>
                  </a:lnTo>
                  <a:lnTo>
                    <a:pt x="6377221" y="67950"/>
                  </a:lnTo>
                  <a:lnTo>
                    <a:pt x="6377221" y="69144"/>
                  </a:lnTo>
                  <a:lnTo>
                    <a:pt x="6378915" y="70437"/>
                  </a:lnTo>
                  <a:lnTo>
                    <a:pt x="6378915" y="71631"/>
                  </a:lnTo>
                  <a:lnTo>
                    <a:pt x="6375030" y="73919"/>
                  </a:lnTo>
                  <a:lnTo>
                    <a:pt x="6373235" y="75610"/>
                  </a:lnTo>
                  <a:lnTo>
                    <a:pt x="6371940" y="77700"/>
                  </a:lnTo>
                  <a:lnTo>
                    <a:pt x="6375228" y="76904"/>
                  </a:lnTo>
                  <a:lnTo>
                    <a:pt x="6379713" y="76904"/>
                  </a:lnTo>
                  <a:lnTo>
                    <a:pt x="6383399" y="78297"/>
                  </a:lnTo>
                  <a:lnTo>
                    <a:pt x="6384097" y="80983"/>
                  </a:lnTo>
                  <a:lnTo>
                    <a:pt x="6385791" y="80983"/>
                  </a:lnTo>
                  <a:lnTo>
                    <a:pt x="6387286" y="80983"/>
                  </a:lnTo>
                  <a:lnTo>
                    <a:pt x="6390175" y="79988"/>
                  </a:lnTo>
                  <a:lnTo>
                    <a:pt x="6390175" y="83072"/>
                  </a:lnTo>
                  <a:lnTo>
                    <a:pt x="6393164" y="83072"/>
                  </a:lnTo>
                  <a:lnTo>
                    <a:pt x="6399741" y="80087"/>
                  </a:lnTo>
                  <a:lnTo>
                    <a:pt x="6407513" y="78794"/>
                  </a:lnTo>
                  <a:lnTo>
                    <a:pt x="6411599" y="78794"/>
                  </a:lnTo>
                  <a:lnTo>
                    <a:pt x="6414488" y="80087"/>
                  </a:lnTo>
                  <a:lnTo>
                    <a:pt x="6413093" y="80983"/>
                  </a:lnTo>
                  <a:lnTo>
                    <a:pt x="6411200" y="83370"/>
                  </a:lnTo>
                  <a:lnTo>
                    <a:pt x="6409805" y="83868"/>
                  </a:lnTo>
                  <a:lnTo>
                    <a:pt x="6405719" y="83868"/>
                  </a:lnTo>
                  <a:lnTo>
                    <a:pt x="6403926" y="84564"/>
                  </a:lnTo>
                  <a:lnTo>
                    <a:pt x="6402332" y="86156"/>
                  </a:lnTo>
                  <a:lnTo>
                    <a:pt x="6405022" y="86156"/>
                  </a:lnTo>
                  <a:lnTo>
                    <a:pt x="6406317" y="86156"/>
                  </a:lnTo>
                  <a:lnTo>
                    <a:pt x="6407513" y="86853"/>
                  </a:lnTo>
                  <a:lnTo>
                    <a:pt x="6407513" y="88245"/>
                  </a:lnTo>
                  <a:lnTo>
                    <a:pt x="6407513" y="88743"/>
                  </a:lnTo>
                  <a:lnTo>
                    <a:pt x="6407513" y="89439"/>
                  </a:lnTo>
                  <a:lnTo>
                    <a:pt x="6405620" y="88046"/>
                  </a:lnTo>
                  <a:lnTo>
                    <a:pt x="6404823" y="88842"/>
                  </a:lnTo>
                  <a:lnTo>
                    <a:pt x="6405421" y="90335"/>
                  </a:lnTo>
                  <a:lnTo>
                    <a:pt x="6407513" y="91727"/>
                  </a:lnTo>
                  <a:lnTo>
                    <a:pt x="6404723" y="92623"/>
                  </a:lnTo>
                  <a:lnTo>
                    <a:pt x="6401235" y="91727"/>
                  </a:lnTo>
                  <a:lnTo>
                    <a:pt x="6398944" y="91727"/>
                  </a:lnTo>
                  <a:lnTo>
                    <a:pt x="6399741" y="95408"/>
                  </a:lnTo>
                  <a:lnTo>
                    <a:pt x="6387385" y="93916"/>
                  </a:lnTo>
                  <a:lnTo>
                    <a:pt x="6384097" y="95408"/>
                  </a:lnTo>
                  <a:lnTo>
                    <a:pt x="6386986" y="96702"/>
                  </a:lnTo>
                  <a:lnTo>
                    <a:pt x="6403826" y="96702"/>
                  </a:lnTo>
                  <a:lnTo>
                    <a:pt x="6409207" y="98791"/>
                  </a:lnTo>
                  <a:lnTo>
                    <a:pt x="6408410" y="99587"/>
                  </a:lnTo>
                  <a:lnTo>
                    <a:pt x="6408410" y="99587"/>
                  </a:lnTo>
                  <a:lnTo>
                    <a:pt x="6407912" y="99587"/>
                  </a:lnTo>
                  <a:lnTo>
                    <a:pt x="6415983" y="103367"/>
                  </a:lnTo>
                  <a:lnTo>
                    <a:pt x="6417378" y="102671"/>
                  </a:lnTo>
                  <a:lnTo>
                    <a:pt x="6418574" y="104959"/>
                  </a:lnTo>
                  <a:lnTo>
                    <a:pt x="6424154" y="107546"/>
                  </a:lnTo>
                  <a:lnTo>
                    <a:pt x="6426047" y="110630"/>
                  </a:lnTo>
                  <a:lnTo>
                    <a:pt x="6415385" y="109237"/>
                  </a:lnTo>
                  <a:lnTo>
                    <a:pt x="6412197" y="110630"/>
                  </a:lnTo>
                  <a:lnTo>
                    <a:pt x="6412894" y="110630"/>
                  </a:lnTo>
                  <a:lnTo>
                    <a:pt x="6412894" y="111127"/>
                  </a:lnTo>
                  <a:lnTo>
                    <a:pt x="6412894" y="111724"/>
                  </a:lnTo>
                  <a:lnTo>
                    <a:pt x="6412894" y="112421"/>
                  </a:lnTo>
                  <a:lnTo>
                    <a:pt x="6410004" y="112421"/>
                  </a:lnTo>
                  <a:lnTo>
                    <a:pt x="6408709" y="112918"/>
                  </a:lnTo>
                  <a:lnTo>
                    <a:pt x="6407513" y="113814"/>
                  </a:lnTo>
                  <a:lnTo>
                    <a:pt x="6412197" y="113814"/>
                  </a:lnTo>
                  <a:lnTo>
                    <a:pt x="6414289" y="114510"/>
                  </a:lnTo>
                  <a:lnTo>
                    <a:pt x="6415385" y="116599"/>
                  </a:lnTo>
                  <a:lnTo>
                    <a:pt x="6410702" y="116599"/>
                  </a:lnTo>
                  <a:lnTo>
                    <a:pt x="6414887" y="117793"/>
                  </a:lnTo>
                  <a:lnTo>
                    <a:pt x="6417079" y="117793"/>
                  </a:lnTo>
                  <a:lnTo>
                    <a:pt x="6414887" y="120280"/>
                  </a:lnTo>
                  <a:lnTo>
                    <a:pt x="6410901" y="120280"/>
                  </a:lnTo>
                  <a:lnTo>
                    <a:pt x="6403129" y="118092"/>
                  </a:lnTo>
                  <a:lnTo>
                    <a:pt x="6407712" y="120181"/>
                  </a:lnTo>
                  <a:lnTo>
                    <a:pt x="6417677" y="122569"/>
                  </a:lnTo>
                  <a:lnTo>
                    <a:pt x="6421563" y="126648"/>
                  </a:lnTo>
                  <a:lnTo>
                    <a:pt x="6417079" y="126648"/>
                  </a:lnTo>
                  <a:lnTo>
                    <a:pt x="6413293" y="125951"/>
                  </a:lnTo>
                  <a:lnTo>
                    <a:pt x="6409606" y="125951"/>
                  </a:lnTo>
                  <a:lnTo>
                    <a:pt x="6406118" y="127742"/>
                  </a:lnTo>
                  <a:lnTo>
                    <a:pt x="6409008" y="128438"/>
                  </a:lnTo>
                  <a:lnTo>
                    <a:pt x="6411300" y="129831"/>
                  </a:lnTo>
                  <a:lnTo>
                    <a:pt x="6412296" y="132318"/>
                  </a:lnTo>
                  <a:lnTo>
                    <a:pt x="6411399" y="136298"/>
                  </a:lnTo>
                  <a:lnTo>
                    <a:pt x="6423357" y="136298"/>
                  </a:lnTo>
                  <a:lnTo>
                    <a:pt x="6428737" y="138387"/>
                  </a:lnTo>
                  <a:lnTo>
                    <a:pt x="6432225" y="143063"/>
                  </a:lnTo>
                  <a:lnTo>
                    <a:pt x="6427343" y="142168"/>
                  </a:lnTo>
                  <a:lnTo>
                    <a:pt x="6422659" y="139680"/>
                  </a:lnTo>
                  <a:lnTo>
                    <a:pt x="6417976" y="137890"/>
                  </a:lnTo>
                  <a:lnTo>
                    <a:pt x="6413093" y="139382"/>
                  </a:lnTo>
                  <a:lnTo>
                    <a:pt x="6413093" y="142764"/>
                  </a:lnTo>
                  <a:lnTo>
                    <a:pt x="6414289" y="142764"/>
                  </a:lnTo>
                  <a:lnTo>
                    <a:pt x="6415286" y="142764"/>
                  </a:lnTo>
                  <a:lnTo>
                    <a:pt x="6417378" y="143759"/>
                  </a:lnTo>
                  <a:lnTo>
                    <a:pt x="6410403" y="147440"/>
                  </a:lnTo>
                  <a:lnTo>
                    <a:pt x="6411997" y="149132"/>
                  </a:lnTo>
                  <a:lnTo>
                    <a:pt x="6412794" y="149132"/>
                  </a:lnTo>
                  <a:lnTo>
                    <a:pt x="6413890" y="149132"/>
                  </a:lnTo>
                  <a:lnTo>
                    <a:pt x="6411698" y="155001"/>
                  </a:lnTo>
                  <a:lnTo>
                    <a:pt x="6411698" y="157290"/>
                  </a:lnTo>
                  <a:lnTo>
                    <a:pt x="6414688" y="157290"/>
                  </a:lnTo>
                  <a:lnTo>
                    <a:pt x="6413492" y="160175"/>
                  </a:lnTo>
                  <a:lnTo>
                    <a:pt x="6412396" y="161170"/>
                  </a:lnTo>
                  <a:lnTo>
                    <a:pt x="6403528" y="160672"/>
                  </a:lnTo>
                  <a:lnTo>
                    <a:pt x="6401235" y="161269"/>
                  </a:lnTo>
                  <a:lnTo>
                    <a:pt x="6399841" y="163259"/>
                  </a:lnTo>
                  <a:lnTo>
                    <a:pt x="6403129" y="163259"/>
                  </a:lnTo>
                  <a:lnTo>
                    <a:pt x="6408908" y="164851"/>
                  </a:lnTo>
                  <a:lnTo>
                    <a:pt x="6412197" y="164851"/>
                  </a:lnTo>
                  <a:lnTo>
                    <a:pt x="6415485" y="164851"/>
                  </a:lnTo>
                  <a:lnTo>
                    <a:pt x="6417179" y="164851"/>
                  </a:lnTo>
                  <a:lnTo>
                    <a:pt x="6418175" y="166144"/>
                  </a:lnTo>
                  <a:lnTo>
                    <a:pt x="6418175" y="167835"/>
                  </a:lnTo>
                  <a:lnTo>
                    <a:pt x="6416880" y="168631"/>
                  </a:lnTo>
                  <a:lnTo>
                    <a:pt x="6415286" y="168631"/>
                  </a:lnTo>
                  <a:lnTo>
                    <a:pt x="6413990" y="168631"/>
                  </a:lnTo>
                  <a:lnTo>
                    <a:pt x="6414588" y="170720"/>
                  </a:lnTo>
                  <a:lnTo>
                    <a:pt x="6415584" y="171815"/>
                  </a:lnTo>
                  <a:lnTo>
                    <a:pt x="6416979" y="171815"/>
                  </a:lnTo>
                  <a:lnTo>
                    <a:pt x="6418773" y="171815"/>
                  </a:lnTo>
                  <a:lnTo>
                    <a:pt x="6418773" y="172810"/>
                  </a:lnTo>
                  <a:lnTo>
                    <a:pt x="6418175" y="174501"/>
                  </a:lnTo>
                  <a:lnTo>
                    <a:pt x="6416780" y="175496"/>
                  </a:lnTo>
                  <a:lnTo>
                    <a:pt x="6414787" y="174202"/>
                  </a:lnTo>
                  <a:lnTo>
                    <a:pt x="6413592" y="175894"/>
                  </a:lnTo>
                  <a:lnTo>
                    <a:pt x="6412595" y="177585"/>
                  </a:lnTo>
                  <a:lnTo>
                    <a:pt x="6411897" y="179475"/>
                  </a:lnTo>
                  <a:lnTo>
                    <a:pt x="6411897" y="181565"/>
                  </a:lnTo>
                  <a:lnTo>
                    <a:pt x="6413293" y="180868"/>
                  </a:lnTo>
                  <a:lnTo>
                    <a:pt x="6415684" y="180868"/>
                  </a:lnTo>
                  <a:lnTo>
                    <a:pt x="6417079" y="180868"/>
                  </a:lnTo>
                  <a:lnTo>
                    <a:pt x="6420566" y="178480"/>
                  </a:lnTo>
                  <a:lnTo>
                    <a:pt x="6422559" y="178978"/>
                  </a:lnTo>
                  <a:lnTo>
                    <a:pt x="6424652" y="180072"/>
                  </a:lnTo>
                  <a:lnTo>
                    <a:pt x="6425948" y="181664"/>
                  </a:lnTo>
                  <a:lnTo>
                    <a:pt x="6425948" y="183355"/>
                  </a:lnTo>
                  <a:lnTo>
                    <a:pt x="6425948" y="184450"/>
                  </a:lnTo>
                  <a:lnTo>
                    <a:pt x="6429136" y="185445"/>
                  </a:lnTo>
                  <a:lnTo>
                    <a:pt x="6430232" y="187534"/>
                  </a:lnTo>
                  <a:lnTo>
                    <a:pt x="6428937" y="189623"/>
                  </a:lnTo>
                  <a:lnTo>
                    <a:pt x="6425449" y="190518"/>
                  </a:lnTo>
                  <a:lnTo>
                    <a:pt x="6423157" y="189424"/>
                  </a:lnTo>
                  <a:lnTo>
                    <a:pt x="6420467" y="187534"/>
                  </a:lnTo>
                  <a:lnTo>
                    <a:pt x="6417976" y="186837"/>
                  </a:lnTo>
                  <a:lnTo>
                    <a:pt x="6416282" y="189325"/>
                  </a:lnTo>
                  <a:lnTo>
                    <a:pt x="6417777" y="189822"/>
                  </a:lnTo>
                  <a:lnTo>
                    <a:pt x="6418673" y="190916"/>
                  </a:lnTo>
                  <a:lnTo>
                    <a:pt x="6420268" y="193603"/>
                  </a:lnTo>
                  <a:lnTo>
                    <a:pt x="6421463" y="194498"/>
                  </a:lnTo>
                  <a:lnTo>
                    <a:pt x="6424552" y="195592"/>
                  </a:lnTo>
                  <a:lnTo>
                    <a:pt x="6425948" y="196488"/>
                  </a:lnTo>
                  <a:lnTo>
                    <a:pt x="6423157" y="198378"/>
                  </a:lnTo>
                  <a:lnTo>
                    <a:pt x="6419968" y="199771"/>
                  </a:lnTo>
                  <a:lnTo>
                    <a:pt x="6416880" y="199771"/>
                  </a:lnTo>
                  <a:lnTo>
                    <a:pt x="6414588" y="196786"/>
                  </a:lnTo>
                  <a:lnTo>
                    <a:pt x="6415485" y="195692"/>
                  </a:lnTo>
                  <a:lnTo>
                    <a:pt x="6414588" y="194498"/>
                  </a:lnTo>
                  <a:lnTo>
                    <a:pt x="6415584" y="193901"/>
                  </a:lnTo>
                  <a:lnTo>
                    <a:pt x="6416681" y="193404"/>
                  </a:lnTo>
                  <a:lnTo>
                    <a:pt x="6415086" y="193404"/>
                  </a:lnTo>
                  <a:lnTo>
                    <a:pt x="6411599" y="194100"/>
                  </a:lnTo>
                  <a:lnTo>
                    <a:pt x="6408410" y="195592"/>
                  </a:lnTo>
                  <a:lnTo>
                    <a:pt x="6405919" y="197980"/>
                  </a:lnTo>
                  <a:lnTo>
                    <a:pt x="6407115" y="202457"/>
                  </a:lnTo>
                  <a:lnTo>
                    <a:pt x="6408310" y="204745"/>
                  </a:lnTo>
                  <a:lnTo>
                    <a:pt x="6409805" y="206735"/>
                  </a:lnTo>
                  <a:lnTo>
                    <a:pt x="6412794" y="208227"/>
                  </a:lnTo>
                  <a:lnTo>
                    <a:pt x="6412794" y="209521"/>
                  </a:lnTo>
                  <a:lnTo>
                    <a:pt x="6411200" y="210515"/>
                  </a:lnTo>
                  <a:lnTo>
                    <a:pt x="6411200" y="211610"/>
                  </a:lnTo>
                  <a:lnTo>
                    <a:pt x="6412495" y="211610"/>
                  </a:lnTo>
                  <a:lnTo>
                    <a:pt x="6413890" y="210913"/>
                  </a:lnTo>
                  <a:lnTo>
                    <a:pt x="6415086" y="209819"/>
                  </a:lnTo>
                  <a:lnTo>
                    <a:pt x="6416880" y="209023"/>
                  </a:lnTo>
                  <a:lnTo>
                    <a:pt x="6418773" y="209023"/>
                  </a:lnTo>
                  <a:lnTo>
                    <a:pt x="6420268" y="209023"/>
                  </a:lnTo>
                  <a:lnTo>
                    <a:pt x="6421065" y="210416"/>
                  </a:lnTo>
                  <a:lnTo>
                    <a:pt x="6422659" y="215191"/>
                  </a:lnTo>
                  <a:lnTo>
                    <a:pt x="6423357" y="216186"/>
                  </a:lnTo>
                  <a:lnTo>
                    <a:pt x="6424652" y="216783"/>
                  </a:lnTo>
                  <a:lnTo>
                    <a:pt x="6425648" y="218076"/>
                  </a:lnTo>
                  <a:lnTo>
                    <a:pt x="6426246" y="219867"/>
                  </a:lnTo>
                  <a:lnTo>
                    <a:pt x="6426246" y="221658"/>
                  </a:lnTo>
                  <a:lnTo>
                    <a:pt x="6426246" y="223648"/>
                  </a:lnTo>
                  <a:lnTo>
                    <a:pt x="6424353" y="226035"/>
                  </a:lnTo>
                  <a:lnTo>
                    <a:pt x="6424353" y="228324"/>
                  </a:lnTo>
                  <a:lnTo>
                    <a:pt x="6425150" y="229617"/>
                  </a:lnTo>
                  <a:lnTo>
                    <a:pt x="6426645" y="231308"/>
                  </a:lnTo>
                  <a:lnTo>
                    <a:pt x="6427841" y="233099"/>
                  </a:lnTo>
                  <a:lnTo>
                    <a:pt x="6427841" y="234989"/>
                  </a:lnTo>
                  <a:lnTo>
                    <a:pt x="6426146" y="236979"/>
                  </a:lnTo>
                  <a:lnTo>
                    <a:pt x="6426146" y="237576"/>
                  </a:lnTo>
                  <a:lnTo>
                    <a:pt x="6427243" y="239168"/>
                  </a:lnTo>
                  <a:lnTo>
                    <a:pt x="6428439" y="240063"/>
                  </a:lnTo>
                  <a:lnTo>
                    <a:pt x="6430132" y="240859"/>
                  </a:lnTo>
                  <a:lnTo>
                    <a:pt x="6432026" y="241456"/>
                  </a:lnTo>
                  <a:lnTo>
                    <a:pt x="6433321" y="241456"/>
                  </a:lnTo>
                  <a:lnTo>
                    <a:pt x="6433321" y="242650"/>
                  </a:lnTo>
                  <a:lnTo>
                    <a:pt x="6432325" y="242650"/>
                  </a:lnTo>
                  <a:lnTo>
                    <a:pt x="6429834" y="244640"/>
                  </a:lnTo>
                  <a:lnTo>
                    <a:pt x="6431428" y="244640"/>
                  </a:lnTo>
                  <a:lnTo>
                    <a:pt x="6432823" y="244640"/>
                  </a:lnTo>
                  <a:lnTo>
                    <a:pt x="6433819" y="245634"/>
                  </a:lnTo>
                  <a:lnTo>
                    <a:pt x="6433819" y="247525"/>
                  </a:lnTo>
                  <a:lnTo>
                    <a:pt x="6433122" y="247525"/>
                  </a:lnTo>
                  <a:lnTo>
                    <a:pt x="6429834" y="248420"/>
                  </a:lnTo>
                  <a:lnTo>
                    <a:pt x="6428637" y="249117"/>
                  </a:lnTo>
                  <a:lnTo>
                    <a:pt x="6429834" y="249117"/>
                  </a:lnTo>
                  <a:lnTo>
                    <a:pt x="6430730" y="249813"/>
                  </a:lnTo>
                  <a:lnTo>
                    <a:pt x="6431528" y="250808"/>
                  </a:lnTo>
                  <a:lnTo>
                    <a:pt x="6432125" y="252101"/>
                  </a:lnTo>
                  <a:lnTo>
                    <a:pt x="6429634" y="253892"/>
                  </a:lnTo>
                  <a:lnTo>
                    <a:pt x="6427641" y="254688"/>
                  </a:lnTo>
                  <a:lnTo>
                    <a:pt x="6427641" y="255782"/>
                  </a:lnTo>
                  <a:lnTo>
                    <a:pt x="6430630" y="258269"/>
                  </a:lnTo>
                  <a:lnTo>
                    <a:pt x="6422859" y="275182"/>
                  </a:lnTo>
                  <a:lnTo>
                    <a:pt x="6425050" y="275182"/>
                  </a:lnTo>
                  <a:lnTo>
                    <a:pt x="6427043" y="275182"/>
                  </a:lnTo>
                  <a:lnTo>
                    <a:pt x="6428937" y="275182"/>
                  </a:lnTo>
                  <a:lnTo>
                    <a:pt x="6430630" y="276675"/>
                  </a:lnTo>
                  <a:lnTo>
                    <a:pt x="6429235" y="279162"/>
                  </a:lnTo>
                  <a:lnTo>
                    <a:pt x="6427043" y="282047"/>
                  </a:lnTo>
                  <a:lnTo>
                    <a:pt x="6424353" y="283340"/>
                  </a:lnTo>
                  <a:lnTo>
                    <a:pt x="6422161" y="283838"/>
                  </a:lnTo>
                  <a:lnTo>
                    <a:pt x="6425150" y="286126"/>
                  </a:lnTo>
                  <a:lnTo>
                    <a:pt x="6429335" y="287917"/>
                  </a:lnTo>
                  <a:lnTo>
                    <a:pt x="6433719" y="288514"/>
                  </a:lnTo>
                  <a:lnTo>
                    <a:pt x="6436908" y="287320"/>
                  </a:lnTo>
                  <a:lnTo>
                    <a:pt x="6436410" y="287320"/>
                  </a:lnTo>
                  <a:lnTo>
                    <a:pt x="6436410" y="287320"/>
                  </a:lnTo>
                  <a:lnTo>
                    <a:pt x="6436410" y="286723"/>
                  </a:lnTo>
                  <a:lnTo>
                    <a:pt x="6438702" y="286723"/>
                  </a:lnTo>
                  <a:lnTo>
                    <a:pt x="6439698" y="287718"/>
                  </a:lnTo>
                  <a:lnTo>
                    <a:pt x="6440296" y="289409"/>
                  </a:lnTo>
                  <a:lnTo>
                    <a:pt x="6441193" y="291299"/>
                  </a:lnTo>
                  <a:lnTo>
                    <a:pt x="6442588" y="292593"/>
                  </a:lnTo>
                  <a:lnTo>
                    <a:pt x="6444182" y="292593"/>
                  </a:lnTo>
                  <a:lnTo>
                    <a:pt x="6446972" y="292593"/>
                  </a:lnTo>
                  <a:lnTo>
                    <a:pt x="6446972" y="293886"/>
                  </a:lnTo>
                  <a:lnTo>
                    <a:pt x="6446374" y="294881"/>
                  </a:lnTo>
                  <a:lnTo>
                    <a:pt x="6445677" y="295677"/>
                  </a:lnTo>
                  <a:lnTo>
                    <a:pt x="6444681" y="296473"/>
                  </a:lnTo>
                  <a:lnTo>
                    <a:pt x="6442688" y="295179"/>
                  </a:lnTo>
                  <a:lnTo>
                    <a:pt x="6438901" y="296373"/>
                  </a:lnTo>
                  <a:lnTo>
                    <a:pt x="6436908" y="295179"/>
                  </a:lnTo>
                  <a:lnTo>
                    <a:pt x="6436908" y="298263"/>
                  </a:lnTo>
                  <a:lnTo>
                    <a:pt x="6435912" y="300054"/>
                  </a:lnTo>
                  <a:lnTo>
                    <a:pt x="6432524" y="302243"/>
                  </a:lnTo>
                  <a:lnTo>
                    <a:pt x="6434019" y="303138"/>
                  </a:lnTo>
                  <a:lnTo>
                    <a:pt x="6435115" y="304830"/>
                  </a:lnTo>
                  <a:lnTo>
                    <a:pt x="6436808" y="308212"/>
                  </a:lnTo>
                  <a:lnTo>
                    <a:pt x="6438403" y="309804"/>
                  </a:lnTo>
                  <a:lnTo>
                    <a:pt x="6439997" y="310799"/>
                  </a:lnTo>
                  <a:lnTo>
                    <a:pt x="6441791" y="311495"/>
                  </a:lnTo>
                  <a:lnTo>
                    <a:pt x="6445876" y="311993"/>
                  </a:lnTo>
                  <a:lnTo>
                    <a:pt x="6446972" y="311993"/>
                  </a:lnTo>
                  <a:lnTo>
                    <a:pt x="6456937" y="309605"/>
                  </a:lnTo>
                  <a:lnTo>
                    <a:pt x="6458830" y="309605"/>
                  </a:lnTo>
                  <a:lnTo>
                    <a:pt x="6448068" y="319554"/>
                  </a:lnTo>
                  <a:lnTo>
                    <a:pt x="6447371" y="320747"/>
                  </a:lnTo>
                  <a:lnTo>
                    <a:pt x="6448467" y="320747"/>
                  </a:lnTo>
                  <a:lnTo>
                    <a:pt x="6449862" y="320747"/>
                  </a:lnTo>
                  <a:lnTo>
                    <a:pt x="6451257" y="320747"/>
                  </a:lnTo>
                  <a:lnTo>
                    <a:pt x="6453648" y="319056"/>
                  </a:lnTo>
                  <a:lnTo>
                    <a:pt x="6453648" y="322439"/>
                  </a:lnTo>
                  <a:lnTo>
                    <a:pt x="6453648" y="324727"/>
                  </a:lnTo>
                  <a:lnTo>
                    <a:pt x="6452552" y="326319"/>
                  </a:lnTo>
                  <a:lnTo>
                    <a:pt x="6449663" y="327413"/>
                  </a:lnTo>
                  <a:lnTo>
                    <a:pt x="6440396" y="327413"/>
                  </a:lnTo>
                  <a:lnTo>
                    <a:pt x="6438403" y="328706"/>
                  </a:lnTo>
                  <a:lnTo>
                    <a:pt x="6437905" y="331791"/>
                  </a:lnTo>
                  <a:lnTo>
                    <a:pt x="6440396" y="333283"/>
                  </a:lnTo>
                  <a:lnTo>
                    <a:pt x="6443784" y="333880"/>
                  </a:lnTo>
                  <a:lnTo>
                    <a:pt x="6446075" y="334676"/>
                  </a:lnTo>
                  <a:lnTo>
                    <a:pt x="6447869" y="337660"/>
                  </a:lnTo>
                  <a:lnTo>
                    <a:pt x="6447072" y="339451"/>
                  </a:lnTo>
                  <a:lnTo>
                    <a:pt x="6444681" y="340347"/>
                  </a:lnTo>
                  <a:lnTo>
                    <a:pt x="6441791" y="340347"/>
                  </a:lnTo>
                  <a:lnTo>
                    <a:pt x="6441791" y="341739"/>
                  </a:lnTo>
                  <a:lnTo>
                    <a:pt x="6446972" y="341739"/>
                  </a:lnTo>
                  <a:lnTo>
                    <a:pt x="6449663" y="342436"/>
                  </a:lnTo>
                  <a:lnTo>
                    <a:pt x="6449663" y="344624"/>
                  </a:lnTo>
                  <a:lnTo>
                    <a:pt x="6446574" y="348902"/>
                  </a:lnTo>
                  <a:lnTo>
                    <a:pt x="6448467" y="350395"/>
                  </a:lnTo>
                  <a:lnTo>
                    <a:pt x="6450360" y="351091"/>
                  </a:lnTo>
                  <a:lnTo>
                    <a:pt x="6452353" y="351091"/>
                  </a:lnTo>
                  <a:lnTo>
                    <a:pt x="6454446" y="350096"/>
                  </a:lnTo>
                  <a:lnTo>
                    <a:pt x="6455143" y="352583"/>
                  </a:lnTo>
                  <a:lnTo>
                    <a:pt x="6456239" y="354872"/>
                  </a:lnTo>
                  <a:lnTo>
                    <a:pt x="6453549" y="354872"/>
                  </a:lnTo>
                  <a:lnTo>
                    <a:pt x="6453549" y="356165"/>
                  </a:lnTo>
                  <a:lnTo>
                    <a:pt x="6455043" y="356165"/>
                  </a:lnTo>
                  <a:lnTo>
                    <a:pt x="6456339" y="356861"/>
                  </a:lnTo>
                  <a:lnTo>
                    <a:pt x="6457535" y="357856"/>
                  </a:lnTo>
                  <a:lnTo>
                    <a:pt x="6458730" y="359249"/>
                  </a:lnTo>
                  <a:lnTo>
                    <a:pt x="6456139" y="359747"/>
                  </a:lnTo>
                  <a:lnTo>
                    <a:pt x="6451855" y="362731"/>
                  </a:lnTo>
                  <a:lnTo>
                    <a:pt x="6449264" y="362731"/>
                  </a:lnTo>
                  <a:lnTo>
                    <a:pt x="6449264" y="363925"/>
                  </a:lnTo>
                  <a:lnTo>
                    <a:pt x="6451057" y="363925"/>
                  </a:lnTo>
                  <a:lnTo>
                    <a:pt x="6454346" y="365019"/>
                  </a:lnTo>
                  <a:lnTo>
                    <a:pt x="6456937" y="365019"/>
                  </a:lnTo>
                  <a:lnTo>
                    <a:pt x="6456937" y="365815"/>
                  </a:lnTo>
                  <a:lnTo>
                    <a:pt x="6456937" y="367805"/>
                  </a:lnTo>
                  <a:lnTo>
                    <a:pt x="6456937" y="368601"/>
                  </a:lnTo>
                  <a:lnTo>
                    <a:pt x="6459328" y="368004"/>
                  </a:lnTo>
                  <a:lnTo>
                    <a:pt x="6461321" y="366810"/>
                  </a:lnTo>
                  <a:lnTo>
                    <a:pt x="6463314" y="366213"/>
                  </a:lnTo>
                  <a:lnTo>
                    <a:pt x="6465606" y="367407"/>
                  </a:lnTo>
                  <a:lnTo>
                    <a:pt x="6465606" y="370392"/>
                  </a:lnTo>
                  <a:lnTo>
                    <a:pt x="6466901" y="370392"/>
                  </a:lnTo>
                  <a:lnTo>
                    <a:pt x="6472780" y="368501"/>
                  </a:lnTo>
                  <a:lnTo>
                    <a:pt x="6474175" y="368999"/>
                  </a:lnTo>
                  <a:lnTo>
                    <a:pt x="6475670" y="370093"/>
                  </a:lnTo>
                  <a:lnTo>
                    <a:pt x="6476865" y="371586"/>
                  </a:lnTo>
                  <a:lnTo>
                    <a:pt x="6477663" y="373277"/>
                  </a:lnTo>
                  <a:lnTo>
                    <a:pt x="6477663" y="374968"/>
                  </a:lnTo>
                  <a:lnTo>
                    <a:pt x="6476965" y="375665"/>
                  </a:lnTo>
                  <a:lnTo>
                    <a:pt x="6475968" y="376261"/>
                  </a:lnTo>
                  <a:lnTo>
                    <a:pt x="6474972" y="377953"/>
                  </a:lnTo>
                  <a:lnTo>
                    <a:pt x="6480752" y="379246"/>
                  </a:lnTo>
                  <a:lnTo>
                    <a:pt x="6481449" y="379943"/>
                  </a:lnTo>
                  <a:lnTo>
                    <a:pt x="6481449" y="381534"/>
                  </a:lnTo>
                  <a:lnTo>
                    <a:pt x="6481449" y="383226"/>
                  </a:lnTo>
                  <a:lnTo>
                    <a:pt x="6478061" y="384718"/>
                  </a:lnTo>
                  <a:lnTo>
                    <a:pt x="6478061" y="386310"/>
                  </a:lnTo>
                  <a:lnTo>
                    <a:pt x="6479057" y="388001"/>
                  </a:lnTo>
                  <a:lnTo>
                    <a:pt x="6481250" y="388697"/>
                  </a:lnTo>
                  <a:lnTo>
                    <a:pt x="6482246" y="389593"/>
                  </a:lnTo>
                  <a:lnTo>
                    <a:pt x="6481548" y="391483"/>
                  </a:lnTo>
                  <a:lnTo>
                    <a:pt x="6480254" y="393373"/>
                  </a:lnTo>
                  <a:lnTo>
                    <a:pt x="6479456" y="394169"/>
                  </a:lnTo>
                  <a:lnTo>
                    <a:pt x="6480552" y="397353"/>
                  </a:lnTo>
                  <a:lnTo>
                    <a:pt x="6482545" y="398945"/>
                  </a:lnTo>
                  <a:lnTo>
                    <a:pt x="6483541" y="401034"/>
                  </a:lnTo>
                  <a:lnTo>
                    <a:pt x="6482047" y="405411"/>
                  </a:lnTo>
                  <a:lnTo>
                    <a:pt x="6477563" y="409888"/>
                  </a:lnTo>
                  <a:lnTo>
                    <a:pt x="6476068" y="412674"/>
                  </a:lnTo>
                  <a:lnTo>
                    <a:pt x="6476865" y="416255"/>
                  </a:lnTo>
                  <a:lnTo>
                    <a:pt x="6479057" y="414863"/>
                  </a:lnTo>
                  <a:lnTo>
                    <a:pt x="6481947" y="414863"/>
                  </a:lnTo>
                  <a:lnTo>
                    <a:pt x="6487627" y="414863"/>
                  </a:lnTo>
                  <a:lnTo>
                    <a:pt x="6490019" y="415360"/>
                  </a:lnTo>
                  <a:lnTo>
                    <a:pt x="6491613" y="416753"/>
                  </a:lnTo>
                  <a:lnTo>
                    <a:pt x="6493108" y="418245"/>
                  </a:lnTo>
                  <a:lnTo>
                    <a:pt x="6495200" y="419638"/>
                  </a:lnTo>
                  <a:lnTo>
                    <a:pt x="6495200" y="421329"/>
                  </a:lnTo>
                  <a:lnTo>
                    <a:pt x="6485236" y="418643"/>
                  </a:lnTo>
                  <a:lnTo>
                    <a:pt x="6481648" y="418643"/>
                  </a:lnTo>
                  <a:lnTo>
                    <a:pt x="6477961" y="420036"/>
                  </a:lnTo>
                  <a:lnTo>
                    <a:pt x="6477264" y="421827"/>
                  </a:lnTo>
                  <a:lnTo>
                    <a:pt x="6479855" y="428194"/>
                  </a:lnTo>
                  <a:lnTo>
                    <a:pt x="6479257" y="430084"/>
                  </a:lnTo>
                  <a:lnTo>
                    <a:pt x="6477264" y="432671"/>
                  </a:lnTo>
                  <a:lnTo>
                    <a:pt x="6476467" y="434163"/>
                  </a:lnTo>
                  <a:lnTo>
                    <a:pt x="6475869" y="435854"/>
                  </a:lnTo>
                  <a:lnTo>
                    <a:pt x="6475072" y="439734"/>
                  </a:lnTo>
                  <a:lnTo>
                    <a:pt x="6475072" y="441227"/>
                  </a:lnTo>
                  <a:lnTo>
                    <a:pt x="6472780" y="444510"/>
                  </a:lnTo>
                  <a:lnTo>
                    <a:pt x="6470190" y="445803"/>
                  </a:lnTo>
                  <a:lnTo>
                    <a:pt x="6467399" y="446699"/>
                  </a:lnTo>
                  <a:lnTo>
                    <a:pt x="6464609" y="448390"/>
                  </a:lnTo>
                  <a:lnTo>
                    <a:pt x="6465307" y="448987"/>
                  </a:lnTo>
                  <a:lnTo>
                    <a:pt x="6466503" y="450380"/>
                  </a:lnTo>
                  <a:lnTo>
                    <a:pt x="6467200" y="450380"/>
                  </a:lnTo>
                  <a:lnTo>
                    <a:pt x="6465307" y="452170"/>
                  </a:lnTo>
                  <a:lnTo>
                    <a:pt x="6462816" y="452867"/>
                  </a:lnTo>
                  <a:lnTo>
                    <a:pt x="6457734" y="452867"/>
                  </a:lnTo>
                  <a:lnTo>
                    <a:pt x="6458730" y="454359"/>
                  </a:lnTo>
                  <a:lnTo>
                    <a:pt x="6459328" y="455851"/>
                  </a:lnTo>
                  <a:lnTo>
                    <a:pt x="6459328" y="459532"/>
                  </a:lnTo>
                  <a:lnTo>
                    <a:pt x="6459328" y="460129"/>
                  </a:lnTo>
                  <a:lnTo>
                    <a:pt x="6456937" y="460129"/>
                  </a:lnTo>
                  <a:lnTo>
                    <a:pt x="6455641" y="460129"/>
                  </a:lnTo>
                  <a:lnTo>
                    <a:pt x="6454246" y="464706"/>
                  </a:lnTo>
                  <a:lnTo>
                    <a:pt x="6452154" y="466596"/>
                  </a:lnTo>
                  <a:lnTo>
                    <a:pt x="6442190" y="469879"/>
                  </a:lnTo>
                  <a:lnTo>
                    <a:pt x="6436609" y="470675"/>
                  </a:lnTo>
                  <a:lnTo>
                    <a:pt x="6433819" y="471769"/>
                  </a:lnTo>
                  <a:lnTo>
                    <a:pt x="6433819" y="474356"/>
                  </a:lnTo>
                  <a:lnTo>
                    <a:pt x="6435912" y="478336"/>
                  </a:lnTo>
                  <a:lnTo>
                    <a:pt x="6436709" y="481519"/>
                  </a:lnTo>
                  <a:lnTo>
                    <a:pt x="6440396" y="485399"/>
                  </a:lnTo>
                  <a:lnTo>
                    <a:pt x="6441193" y="487289"/>
                  </a:lnTo>
                  <a:lnTo>
                    <a:pt x="6440296" y="489876"/>
                  </a:lnTo>
                  <a:lnTo>
                    <a:pt x="6438204" y="492562"/>
                  </a:lnTo>
                  <a:lnTo>
                    <a:pt x="6435712" y="494552"/>
                  </a:lnTo>
                  <a:lnTo>
                    <a:pt x="6432524" y="495845"/>
                  </a:lnTo>
                  <a:lnTo>
                    <a:pt x="6429734" y="497437"/>
                  </a:lnTo>
                  <a:lnTo>
                    <a:pt x="6428139" y="497437"/>
                  </a:lnTo>
                  <a:lnTo>
                    <a:pt x="6426645" y="497437"/>
                  </a:lnTo>
                  <a:lnTo>
                    <a:pt x="6424154" y="496641"/>
                  </a:lnTo>
                  <a:lnTo>
                    <a:pt x="6422958" y="496641"/>
                  </a:lnTo>
                  <a:lnTo>
                    <a:pt x="6420367" y="496641"/>
                  </a:lnTo>
                  <a:lnTo>
                    <a:pt x="6418175" y="497537"/>
                  </a:lnTo>
                  <a:lnTo>
                    <a:pt x="6416381" y="499327"/>
                  </a:lnTo>
                  <a:lnTo>
                    <a:pt x="6415086" y="502312"/>
                  </a:lnTo>
                  <a:lnTo>
                    <a:pt x="6417577" y="503207"/>
                  </a:lnTo>
                  <a:lnTo>
                    <a:pt x="6418873" y="504899"/>
                  </a:lnTo>
                  <a:lnTo>
                    <a:pt x="6421065" y="509475"/>
                  </a:lnTo>
                  <a:lnTo>
                    <a:pt x="6422460" y="510967"/>
                  </a:lnTo>
                  <a:lnTo>
                    <a:pt x="6424353" y="512261"/>
                  </a:lnTo>
                  <a:lnTo>
                    <a:pt x="6428139" y="514151"/>
                  </a:lnTo>
                  <a:lnTo>
                    <a:pt x="6427343" y="518429"/>
                  </a:lnTo>
                  <a:lnTo>
                    <a:pt x="6429036" y="520916"/>
                  </a:lnTo>
                  <a:lnTo>
                    <a:pt x="6432125" y="522210"/>
                  </a:lnTo>
                  <a:lnTo>
                    <a:pt x="6435513" y="522210"/>
                  </a:lnTo>
                  <a:lnTo>
                    <a:pt x="6436808" y="523005"/>
                  </a:lnTo>
                  <a:lnTo>
                    <a:pt x="6439299" y="526985"/>
                  </a:lnTo>
                  <a:lnTo>
                    <a:pt x="6440197" y="528179"/>
                  </a:lnTo>
                  <a:lnTo>
                    <a:pt x="6441691" y="528179"/>
                  </a:lnTo>
                  <a:lnTo>
                    <a:pt x="6444880" y="528179"/>
                  </a:lnTo>
                  <a:lnTo>
                    <a:pt x="6446374" y="528179"/>
                  </a:lnTo>
                  <a:lnTo>
                    <a:pt x="6444381" y="530865"/>
                  </a:lnTo>
                  <a:lnTo>
                    <a:pt x="6442887" y="535640"/>
                  </a:lnTo>
                  <a:lnTo>
                    <a:pt x="6442887" y="540814"/>
                  </a:lnTo>
                  <a:lnTo>
                    <a:pt x="6444182" y="544793"/>
                  </a:lnTo>
                  <a:lnTo>
                    <a:pt x="6448068" y="546683"/>
                  </a:lnTo>
                  <a:lnTo>
                    <a:pt x="6456837" y="546683"/>
                  </a:lnTo>
                  <a:lnTo>
                    <a:pt x="6459727" y="549967"/>
                  </a:lnTo>
                  <a:lnTo>
                    <a:pt x="6452852" y="549967"/>
                  </a:lnTo>
                  <a:lnTo>
                    <a:pt x="6451655" y="549967"/>
                  </a:lnTo>
                  <a:lnTo>
                    <a:pt x="6446574" y="552056"/>
                  </a:lnTo>
                  <a:lnTo>
                    <a:pt x="6444581" y="554443"/>
                  </a:lnTo>
                  <a:lnTo>
                    <a:pt x="6441592" y="559219"/>
                  </a:lnTo>
                  <a:lnTo>
                    <a:pt x="6439499" y="561010"/>
                  </a:lnTo>
                  <a:lnTo>
                    <a:pt x="6437207" y="562502"/>
                  </a:lnTo>
                  <a:lnTo>
                    <a:pt x="6435414" y="564293"/>
                  </a:lnTo>
                  <a:lnTo>
                    <a:pt x="6434616" y="566979"/>
                  </a:lnTo>
                  <a:lnTo>
                    <a:pt x="6435712" y="569168"/>
                  </a:lnTo>
                  <a:lnTo>
                    <a:pt x="6440695" y="571257"/>
                  </a:lnTo>
                  <a:lnTo>
                    <a:pt x="6442488" y="573446"/>
                  </a:lnTo>
                  <a:lnTo>
                    <a:pt x="6439698" y="573446"/>
                  </a:lnTo>
                  <a:lnTo>
                    <a:pt x="6437905" y="574639"/>
                  </a:lnTo>
                  <a:lnTo>
                    <a:pt x="6435015" y="578818"/>
                  </a:lnTo>
                  <a:lnTo>
                    <a:pt x="6432723" y="581504"/>
                  </a:lnTo>
                  <a:lnTo>
                    <a:pt x="6431926" y="582897"/>
                  </a:lnTo>
                  <a:lnTo>
                    <a:pt x="6431926" y="584091"/>
                  </a:lnTo>
                  <a:lnTo>
                    <a:pt x="6431029" y="590657"/>
                  </a:lnTo>
                  <a:lnTo>
                    <a:pt x="6431029" y="593741"/>
                  </a:lnTo>
                  <a:lnTo>
                    <a:pt x="6431726" y="596129"/>
                  </a:lnTo>
                  <a:lnTo>
                    <a:pt x="6435712" y="598118"/>
                  </a:lnTo>
                  <a:lnTo>
                    <a:pt x="6437307" y="600606"/>
                  </a:lnTo>
                  <a:lnTo>
                    <a:pt x="6438801" y="603391"/>
                  </a:lnTo>
                  <a:lnTo>
                    <a:pt x="6440296" y="605480"/>
                  </a:lnTo>
                  <a:lnTo>
                    <a:pt x="6433421" y="603292"/>
                  </a:lnTo>
                  <a:lnTo>
                    <a:pt x="6431926" y="602396"/>
                  </a:lnTo>
                  <a:lnTo>
                    <a:pt x="6426744" y="596129"/>
                  </a:lnTo>
                  <a:lnTo>
                    <a:pt x="6425948" y="593741"/>
                  </a:lnTo>
                  <a:lnTo>
                    <a:pt x="6425948" y="591254"/>
                  </a:lnTo>
                  <a:lnTo>
                    <a:pt x="6425948" y="589463"/>
                  </a:lnTo>
                  <a:lnTo>
                    <a:pt x="6428439" y="586976"/>
                  </a:lnTo>
                  <a:lnTo>
                    <a:pt x="6429136" y="585384"/>
                  </a:lnTo>
                  <a:lnTo>
                    <a:pt x="6428538" y="583494"/>
                  </a:lnTo>
                  <a:lnTo>
                    <a:pt x="6426944" y="580211"/>
                  </a:lnTo>
                  <a:lnTo>
                    <a:pt x="6423556" y="570560"/>
                  </a:lnTo>
                  <a:lnTo>
                    <a:pt x="6422559" y="568571"/>
                  </a:lnTo>
                  <a:lnTo>
                    <a:pt x="6420068" y="565586"/>
                  </a:lnTo>
                  <a:lnTo>
                    <a:pt x="6419172" y="563497"/>
                  </a:lnTo>
                  <a:lnTo>
                    <a:pt x="6419172" y="561308"/>
                  </a:lnTo>
                  <a:lnTo>
                    <a:pt x="6419172" y="557130"/>
                  </a:lnTo>
                  <a:lnTo>
                    <a:pt x="6418574" y="555140"/>
                  </a:lnTo>
                  <a:lnTo>
                    <a:pt x="6416381" y="552951"/>
                  </a:lnTo>
                  <a:lnTo>
                    <a:pt x="6409606" y="548375"/>
                  </a:lnTo>
                  <a:lnTo>
                    <a:pt x="6408111" y="546385"/>
                  </a:lnTo>
                  <a:lnTo>
                    <a:pt x="6406118" y="544196"/>
                  </a:lnTo>
                  <a:lnTo>
                    <a:pt x="6403826" y="542207"/>
                  </a:lnTo>
                  <a:lnTo>
                    <a:pt x="6402132" y="542207"/>
                  </a:lnTo>
                  <a:lnTo>
                    <a:pt x="6401036" y="542903"/>
                  </a:lnTo>
                  <a:lnTo>
                    <a:pt x="6400040" y="543798"/>
                  </a:lnTo>
                  <a:lnTo>
                    <a:pt x="6398645" y="544594"/>
                  </a:lnTo>
                  <a:lnTo>
                    <a:pt x="6396752" y="544594"/>
                  </a:lnTo>
                  <a:lnTo>
                    <a:pt x="6386787" y="544594"/>
                  </a:lnTo>
                  <a:lnTo>
                    <a:pt x="6385492" y="543798"/>
                  </a:lnTo>
                  <a:lnTo>
                    <a:pt x="6384197" y="540416"/>
                  </a:lnTo>
                  <a:lnTo>
                    <a:pt x="6384794" y="536934"/>
                  </a:lnTo>
                  <a:lnTo>
                    <a:pt x="6387684" y="531362"/>
                  </a:lnTo>
                  <a:lnTo>
                    <a:pt x="6389477" y="526786"/>
                  </a:lnTo>
                  <a:lnTo>
                    <a:pt x="6388083" y="525393"/>
                  </a:lnTo>
                  <a:lnTo>
                    <a:pt x="6385093" y="524796"/>
                  </a:lnTo>
                  <a:lnTo>
                    <a:pt x="6379513" y="520518"/>
                  </a:lnTo>
                  <a:lnTo>
                    <a:pt x="6376624" y="521414"/>
                  </a:lnTo>
                  <a:lnTo>
                    <a:pt x="6361079" y="535541"/>
                  </a:lnTo>
                  <a:lnTo>
                    <a:pt x="6355001" y="538923"/>
                  </a:lnTo>
                  <a:lnTo>
                    <a:pt x="6349421" y="539719"/>
                  </a:lnTo>
                  <a:lnTo>
                    <a:pt x="6351314" y="543002"/>
                  </a:lnTo>
                  <a:lnTo>
                    <a:pt x="6353307" y="547678"/>
                  </a:lnTo>
                  <a:lnTo>
                    <a:pt x="6354602" y="552155"/>
                  </a:lnTo>
                  <a:lnTo>
                    <a:pt x="6354602" y="554941"/>
                  </a:lnTo>
                  <a:lnTo>
                    <a:pt x="6354602" y="554941"/>
                  </a:lnTo>
                  <a:lnTo>
                    <a:pt x="6353108" y="555836"/>
                  </a:lnTo>
                  <a:lnTo>
                    <a:pt x="6345634" y="557329"/>
                  </a:lnTo>
                  <a:lnTo>
                    <a:pt x="6343841" y="558224"/>
                  </a:lnTo>
                  <a:lnTo>
                    <a:pt x="6340951" y="562203"/>
                  </a:lnTo>
                  <a:lnTo>
                    <a:pt x="6338759" y="563198"/>
                  </a:lnTo>
                  <a:lnTo>
                    <a:pt x="6333079" y="566481"/>
                  </a:lnTo>
                  <a:lnTo>
                    <a:pt x="6332282" y="566481"/>
                  </a:lnTo>
                  <a:lnTo>
                    <a:pt x="6331684" y="568770"/>
                  </a:lnTo>
                  <a:lnTo>
                    <a:pt x="6331684" y="571655"/>
                  </a:lnTo>
                  <a:lnTo>
                    <a:pt x="6332282" y="574540"/>
                  </a:lnTo>
                  <a:lnTo>
                    <a:pt x="6333279" y="576530"/>
                  </a:lnTo>
                  <a:lnTo>
                    <a:pt x="6334175" y="581106"/>
                  </a:lnTo>
                  <a:lnTo>
                    <a:pt x="6332382" y="586677"/>
                  </a:lnTo>
                  <a:lnTo>
                    <a:pt x="6327599" y="594835"/>
                  </a:lnTo>
                  <a:lnTo>
                    <a:pt x="6325706" y="601302"/>
                  </a:lnTo>
                  <a:lnTo>
                    <a:pt x="6326204" y="607868"/>
                  </a:lnTo>
                  <a:lnTo>
                    <a:pt x="6328396" y="614036"/>
                  </a:lnTo>
                  <a:lnTo>
                    <a:pt x="6331186" y="619409"/>
                  </a:lnTo>
                  <a:lnTo>
                    <a:pt x="6335471" y="624881"/>
                  </a:lnTo>
                  <a:lnTo>
                    <a:pt x="6351214" y="635824"/>
                  </a:lnTo>
                  <a:lnTo>
                    <a:pt x="6353307" y="638809"/>
                  </a:lnTo>
                  <a:lnTo>
                    <a:pt x="6354403" y="640699"/>
                  </a:lnTo>
                  <a:lnTo>
                    <a:pt x="6357193" y="646171"/>
                  </a:lnTo>
                  <a:lnTo>
                    <a:pt x="6359385" y="647564"/>
                  </a:lnTo>
                  <a:lnTo>
                    <a:pt x="6361577" y="648658"/>
                  </a:lnTo>
                  <a:lnTo>
                    <a:pt x="6364168" y="651245"/>
                  </a:lnTo>
                  <a:lnTo>
                    <a:pt x="6368453" y="657015"/>
                  </a:lnTo>
                  <a:lnTo>
                    <a:pt x="6373535" y="666964"/>
                  </a:lnTo>
                  <a:lnTo>
                    <a:pt x="6375030" y="668556"/>
                  </a:lnTo>
                  <a:lnTo>
                    <a:pt x="6377321" y="670346"/>
                  </a:lnTo>
                  <a:lnTo>
                    <a:pt x="6377919" y="674326"/>
                  </a:lnTo>
                  <a:lnTo>
                    <a:pt x="6377919" y="681389"/>
                  </a:lnTo>
                  <a:lnTo>
                    <a:pt x="6376225" y="680295"/>
                  </a:lnTo>
                  <a:lnTo>
                    <a:pt x="6375528" y="678604"/>
                  </a:lnTo>
                  <a:lnTo>
                    <a:pt x="6375528" y="676316"/>
                  </a:lnTo>
                  <a:lnTo>
                    <a:pt x="6375528" y="673928"/>
                  </a:lnTo>
                  <a:lnTo>
                    <a:pt x="6375528" y="672237"/>
                  </a:lnTo>
                  <a:lnTo>
                    <a:pt x="6371243" y="668058"/>
                  </a:lnTo>
                  <a:lnTo>
                    <a:pt x="6370146" y="666068"/>
                  </a:lnTo>
                  <a:lnTo>
                    <a:pt x="6367257" y="662089"/>
                  </a:lnTo>
                  <a:lnTo>
                    <a:pt x="6366261" y="659801"/>
                  </a:lnTo>
                  <a:lnTo>
                    <a:pt x="6353904" y="645076"/>
                  </a:lnTo>
                  <a:lnTo>
                    <a:pt x="6347727" y="637814"/>
                  </a:lnTo>
                  <a:lnTo>
                    <a:pt x="6334175" y="626771"/>
                  </a:lnTo>
                  <a:lnTo>
                    <a:pt x="6331883" y="625875"/>
                  </a:lnTo>
                  <a:lnTo>
                    <a:pt x="6330389" y="624284"/>
                  </a:lnTo>
                  <a:lnTo>
                    <a:pt x="6325506" y="614335"/>
                  </a:lnTo>
                  <a:lnTo>
                    <a:pt x="6320424" y="610355"/>
                  </a:lnTo>
                  <a:lnTo>
                    <a:pt x="6308566" y="604287"/>
                  </a:lnTo>
                  <a:lnTo>
                    <a:pt x="6302788" y="600208"/>
                  </a:lnTo>
                  <a:lnTo>
                    <a:pt x="6294816" y="591950"/>
                  </a:lnTo>
                  <a:lnTo>
                    <a:pt x="6292026" y="590856"/>
                  </a:lnTo>
                  <a:lnTo>
                    <a:pt x="6284553" y="589762"/>
                  </a:lnTo>
                  <a:lnTo>
                    <a:pt x="6282859" y="588866"/>
                  </a:lnTo>
                  <a:lnTo>
                    <a:pt x="6280866" y="586080"/>
                  </a:lnTo>
                  <a:lnTo>
                    <a:pt x="6279371" y="584887"/>
                  </a:lnTo>
                  <a:lnTo>
                    <a:pt x="6275784" y="583991"/>
                  </a:lnTo>
                  <a:lnTo>
                    <a:pt x="6268111" y="583991"/>
                  </a:lnTo>
                  <a:lnTo>
                    <a:pt x="6264624" y="582897"/>
                  </a:lnTo>
                  <a:lnTo>
                    <a:pt x="6261236" y="581305"/>
                  </a:lnTo>
                  <a:lnTo>
                    <a:pt x="6244296" y="576729"/>
                  </a:lnTo>
                  <a:lnTo>
                    <a:pt x="6241108" y="576729"/>
                  </a:lnTo>
                  <a:lnTo>
                    <a:pt x="6235727" y="580907"/>
                  </a:lnTo>
                  <a:lnTo>
                    <a:pt x="6226460" y="585384"/>
                  </a:lnTo>
                  <a:lnTo>
                    <a:pt x="6221179" y="589463"/>
                  </a:lnTo>
                  <a:lnTo>
                    <a:pt x="6218787" y="592448"/>
                  </a:lnTo>
                  <a:lnTo>
                    <a:pt x="6217791" y="595532"/>
                  </a:lnTo>
                  <a:lnTo>
                    <a:pt x="6216396" y="597422"/>
                  </a:lnTo>
                  <a:lnTo>
                    <a:pt x="6208225" y="603093"/>
                  </a:lnTo>
                  <a:lnTo>
                    <a:pt x="6207328" y="604386"/>
                  </a:lnTo>
                  <a:lnTo>
                    <a:pt x="6206631" y="605978"/>
                  </a:lnTo>
                  <a:lnTo>
                    <a:pt x="6205734" y="607271"/>
                  </a:lnTo>
                  <a:lnTo>
                    <a:pt x="6204239" y="607769"/>
                  </a:lnTo>
                  <a:lnTo>
                    <a:pt x="6202844" y="607769"/>
                  </a:lnTo>
                  <a:lnTo>
                    <a:pt x="6198659" y="610355"/>
                  </a:lnTo>
                  <a:lnTo>
                    <a:pt x="6195471" y="611549"/>
                  </a:lnTo>
                  <a:lnTo>
                    <a:pt x="6188695" y="611549"/>
                  </a:lnTo>
                  <a:lnTo>
                    <a:pt x="6185606" y="612843"/>
                  </a:lnTo>
                  <a:lnTo>
                    <a:pt x="6181820" y="617717"/>
                  </a:lnTo>
                  <a:lnTo>
                    <a:pt x="6176837" y="628860"/>
                  </a:lnTo>
                  <a:lnTo>
                    <a:pt x="6172553" y="632641"/>
                  </a:lnTo>
                  <a:lnTo>
                    <a:pt x="6171656" y="631546"/>
                  </a:lnTo>
                  <a:lnTo>
                    <a:pt x="6174645" y="628661"/>
                  </a:lnTo>
                  <a:lnTo>
                    <a:pt x="6175143" y="627965"/>
                  </a:lnTo>
                  <a:lnTo>
                    <a:pt x="6175143" y="626472"/>
                  </a:lnTo>
                  <a:lnTo>
                    <a:pt x="6174645" y="625179"/>
                  </a:lnTo>
                  <a:lnTo>
                    <a:pt x="6173947" y="624582"/>
                  </a:lnTo>
                  <a:lnTo>
                    <a:pt x="6171357" y="626373"/>
                  </a:lnTo>
                  <a:lnTo>
                    <a:pt x="6169165" y="627268"/>
                  </a:lnTo>
                  <a:lnTo>
                    <a:pt x="6164780" y="627965"/>
                  </a:lnTo>
                  <a:lnTo>
                    <a:pt x="6166375" y="625179"/>
                  </a:lnTo>
                  <a:lnTo>
                    <a:pt x="6168268" y="622990"/>
                  </a:lnTo>
                  <a:lnTo>
                    <a:pt x="6170560" y="621299"/>
                  </a:lnTo>
                  <a:lnTo>
                    <a:pt x="6177834" y="618115"/>
                  </a:lnTo>
                  <a:lnTo>
                    <a:pt x="6179029" y="616922"/>
                  </a:lnTo>
                  <a:lnTo>
                    <a:pt x="6182417" y="611052"/>
                  </a:lnTo>
                  <a:lnTo>
                    <a:pt x="6183813" y="609261"/>
                  </a:lnTo>
                  <a:lnTo>
                    <a:pt x="6186802" y="607271"/>
                  </a:lnTo>
                  <a:lnTo>
                    <a:pt x="6196069" y="603391"/>
                  </a:lnTo>
                  <a:lnTo>
                    <a:pt x="6198560" y="601799"/>
                  </a:lnTo>
                  <a:lnTo>
                    <a:pt x="6199556" y="600904"/>
                  </a:lnTo>
                  <a:lnTo>
                    <a:pt x="6200851" y="599213"/>
                  </a:lnTo>
                  <a:lnTo>
                    <a:pt x="6201649" y="597720"/>
                  </a:lnTo>
                  <a:lnTo>
                    <a:pt x="6203143" y="594039"/>
                  </a:lnTo>
                  <a:lnTo>
                    <a:pt x="6203741" y="592746"/>
                  </a:lnTo>
                  <a:lnTo>
                    <a:pt x="6208325" y="587573"/>
                  </a:lnTo>
                  <a:lnTo>
                    <a:pt x="6213506" y="583394"/>
                  </a:lnTo>
                  <a:lnTo>
                    <a:pt x="6218987" y="580012"/>
                  </a:lnTo>
                  <a:lnTo>
                    <a:pt x="6233635" y="574341"/>
                  </a:lnTo>
                  <a:lnTo>
                    <a:pt x="6236424" y="574341"/>
                  </a:lnTo>
                  <a:lnTo>
                    <a:pt x="6238617" y="573048"/>
                  </a:lnTo>
                  <a:lnTo>
                    <a:pt x="6238617" y="570162"/>
                  </a:lnTo>
                  <a:lnTo>
                    <a:pt x="6237420" y="563696"/>
                  </a:lnTo>
                  <a:lnTo>
                    <a:pt x="6237420" y="556334"/>
                  </a:lnTo>
                  <a:lnTo>
                    <a:pt x="6237420" y="552454"/>
                  </a:lnTo>
                  <a:lnTo>
                    <a:pt x="6235627" y="550663"/>
                  </a:lnTo>
                  <a:lnTo>
                    <a:pt x="6233236" y="549768"/>
                  </a:lnTo>
                  <a:lnTo>
                    <a:pt x="6230844" y="547479"/>
                  </a:lnTo>
                  <a:lnTo>
                    <a:pt x="6228751" y="544793"/>
                  </a:lnTo>
                  <a:lnTo>
                    <a:pt x="6227357" y="542505"/>
                  </a:lnTo>
                  <a:lnTo>
                    <a:pt x="6223570" y="532556"/>
                  </a:lnTo>
                  <a:lnTo>
                    <a:pt x="6222375" y="526985"/>
                  </a:lnTo>
                  <a:lnTo>
                    <a:pt x="6218987" y="519623"/>
                  </a:lnTo>
                  <a:lnTo>
                    <a:pt x="6217891" y="516141"/>
                  </a:lnTo>
                  <a:lnTo>
                    <a:pt x="6217891" y="514052"/>
                  </a:lnTo>
                  <a:lnTo>
                    <a:pt x="6217891" y="512957"/>
                  </a:lnTo>
                  <a:lnTo>
                    <a:pt x="6217891" y="511763"/>
                  </a:lnTo>
                  <a:lnTo>
                    <a:pt x="6216595" y="509674"/>
                  </a:lnTo>
                  <a:lnTo>
                    <a:pt x="6214204" y="506888"/>
                  </a:lnTo>
                  <a:lnTo>
                    <a:pt x="6212809" y="505993"/>
                  </a:lnTo>
                  <a:lnTo>
                    <a:pt x="6211414" y="505993"/>
                  </a:lnTo>
                  <a:lnTo>
                    <a:pt x="6210018" y="504700"/>
                  </a:lnTo>
                  <a:lnTo>
                    <a:pt x="6205833" y="498531"/>
                  </a:lnTo>
                  <a:lnTo>
                    <a:pt x="6203940" y="496442"/>
                  </a:lnTo>
                  <a:lnTo>
                    <a:pt x="6199357" y="492761"/>
                  </a:lnTo>
                  <a:lnTo>
                    <a:pt x="6195769" y="488682"/>
                  </a:lnTo>
                  <a:lnTo>
                    <a:pt x="6194673" y="487687"/>
                  </a:lnTo>
                  <a:lnTo>
                    <a:pt x="6190090" y="484703"/>
                  </a:lnTo>
                  <a:lnTo>
                    <a:pt x="6190090" y="484205"/>
                  </a:lnTo>
                  <a:lnTo>
                    <a:pt x="6190090" y="482912"/>
                  </a:lnTo>
                  <a:lnTo>
                    <a:pt x="6190090" y="482216"/>
                  </a:lnTo>
                  <a:lnTo>
                    <a:pt x="6189293" y="482216"/>
                  </a:lnTo>
                  <a:lnTo>
                    <a:pt x="6187400" y="482216"/>
                  </a:lnTo>
                  <a:lnTo>
                    <a:pt x="6186602" y="482216"/>
                  </a:lnTo>
                  <a:lnTo>
                    <a:pt x="6180325" y="480126"/>
                  </a:lnTo>
                  <a:lnTo>
                    <a:pt x="6177335" y="477938"/>
                  </a:lnTo>
                  <a:lnTo>
                    <a:pt x="6176140" y="474555"/>
                  </a:lnTo>
                  <a:lnTo>
                    <a:pt x="6175642" y="472864"/>
                  </a:lnTo>
                  <a:lnTo>
                    <a:pt x="6172652" y="467989"/>
                  </a:lnTo>
                  <a:lnTo>
                    <a:pt x="6170759" y="463313"/>
                  </a:lnTo>
                  <a:lnTo>
                    <a:pt x="6169962" y="461920"/>
                  </a:lnTo>
                  <a:lnTo>
                    <a:pt x="6167072" y="459731"/>
                  </a:lnTo>
                  <a:lnTo>
                    <a:pt x="6160097" y="457642"/>
                  </a:lnTo>
                  <a:lnTo>
                    <a:pt x="6157407" y="455453"/>
                  </a:lnTo>
                  <a:lnTo>
                    <a:pt x="6154816" y="452867"/>
                  </a:lnTo>
                  <a:lnTo>
                    <a:pt x="6153022" y="452867"/>
                  </a:lnTo>
                  <a:lnTo>
                    <a:pt x="6150929" y="454260"/>
                  </a:lnTo>
                  <a:lnTo>
                    <a:pt x="6147542" y="454260"/>
                  </a:lnTo>
                  <a:lnTo>
                    <a:pt x="6137578" y="449385"/>
                  </a:lnTo>
                  <a:lnTo>
                    <a:pt x="6132794" y="445903"/>
                  </a:lnTo>
                  <a:lnTo>
                    <a:pt x="6122133" y="443614"/>
                  </a:lnTo>
                  <a:lnTo>
                    <a:pt x="6117649" y="439535"/>
                  </a:lnTo>
                  <a:lnTo>
                    <a:pt x="6111670" y="428592"/>
                  </a:lnTo>
                  <a:lnTo>
                    <a:pt x="6108182" y="423418"/>
                  </a:lnTo>
                  <a:lnTo>
                    <a:pt x="6102204" y="420135"/>
                  </a:lnTo>
                  <a:lnTo>
                    <a:pt x="6072311" y="420135"/>
                  </a:lnTo>
                  <a:lnTo>
                    <a:pt x="6069222" y="421031"/>
                  </a:lnTo>
                  <a:lnTo>
                    <a:pt x="6064438" y="425806"/>
                  </a:lnTo>
                  <a:lnTo>
                    <a:pt x="6061449" y="427497"/>
                  </a:lnTo>
                  <a:lnTo>
                    <a:pt x="6058161" y="428393"/>
                  </a:lnTo>
                  <a:lnTo>
                    <a:pt x="6055072" y="428393"/>
                  </a:lnTo>
                  <a:lnTo>
                    <a:pt x="6059058" y="423717"/>
                  </a:lnTo>
                  <a:lnTo>
                    <a:pt x="6062844" y="420135"/>
                  </a:lnTo>
                  <a:lnTo>
                    <a:pt x="6062047" y="418942"/>
                  </a:lnTo>
                  <a:lnTo>
                    <a:pt x="6060851" y="419837"/>
                  </a:lnTo>
                  <a:lnTo>
                    <a:pt x="6059556" y="420533"/>
                  </a:lnTo>
                  <a:lnTo>
                    <a:pt x="6056766" y="421230"/>
                  </a:lnTo>
                  <a:lnTo>
                    <a:pt x="6059357" y="418942"/>
                  </a:lnTo>
                  <a:lnTo>
                    <a:pt x="6063043" y="416952"/>
                  </a:lnTo>
                  <a:lnTo>
                    <a:pt x="6066631" y="416156"/>
                  </a:lnTo>
                  <a:lnTo>
                    <a:pt x="6069321" y="417151"/>
                  </a:lnTo>
                  <a:lnTo>
                    <a:pt x="6071414" y="418345"/>
                  </a:lnTo>
                  <a:lnTo>
                    <a:pt x="6072609" y="417151"/>
                  </a:lnTo>
                  <a:lnTo>
                    <a:pt x="6073705" y="414166"/>
                  </a:lnTo>
                  <a:lnTo>
                    <a:pt x="6075499" y="414166"/>
                  </a:lnTo>
                  <a:lnTo>
                    <a:pt x="6090047" y="407700"/>
                  </a:lnTo>
                  <a:lnTo>
                    <a:pt x="6093236" y="407700"/>
                  </a:lnTo>
                  <a:lnTo>
                    <a:pt x="6106289" y="409988"/>
                  </a:lnTo>
                  <a:lnTo>
                    <a:pt x="6104794" y="408097"/>
                  </a:lnTo>
                  <a:lnTo>
                    <a:pt x="6099613" y="403720"/>
                  </a:lnTo>
                  <a:lnTo>
                    <a:pt x="6098018" y="402825"/>
                  </a:lnTo>
                  <a:lnTo>
                    <a:pt x="6096624" y="401332"/>
                  </a:lnTo>
                  <a:lnTo>
                    <a:pt x="6095129" y="393970"/>
                  </a:lnTo>
                  <a:lnTo>
                    <a:pt x="6094033" y="391085"/>
                  </a:lnTo>
                  <a:lnTo>
                    <a:pt x="6095926" y="387901"/>
                  </a:lnTo>
                  <a:lnTo>
                    <a:pt x="6095926" y="385414"/>
                  </a:lnTo>
                  <a:lnTo>
                    <a:pt x="6095029" y="383425"/>
                  </a:lnTo>
                  <a:lnTo>
                    <a:pt x="6085065" y="375565"/>
                  </a:lnTo>
                  <a:lnTo>
                    <a:pt x="6080880" y="373874"/>
                  </a:lnTo>
                  <a:lnTo>
                    <a:pt x="6076994" y="369894"/>
                  </a:lnTo>
                  <a:lnTo>
                    <a:pt x="6063642" y="352484"/>
                  </a:lnTo>
                  <a:lnTo>
                    <a:pt x="6059058" y="348504"/>
                  </a:lnTo>
                  <a:lnTo>
                    <a:pt x="6054773" y="346813"/>
                  </a:lnTo>
                  <a:lnTo>
                    <a:pt x="6050688" y="344326"/>
                  </a:lnTo>
                  <a:lnTo>
                    <a:pt x="6045407" y="332487"/>
                  </a:lnTo>
                  <a:lnTo>
                    <a:pt x="6042118" y="328905"/>
                  </a:lnTo>
                  <a:lnTo>
                    <a:pt x="6043214" y="326518"/>
                  </a:lnTo>
                  <a:lnTo>
                    <a:pt x="6041820" y="323633"/>
                  </a:lnTo>
                  <a:lnTo>
                    <a:pt x="6035043" y="315873"/>
                  </a:lnTo>
                  <a:lnTo>
                    <a:pt x="6026374" y="308511"/>
                  </a:lnTo>
                  <a:lnTo>
                    <a:pt x="6024481" y="307317"/>
                  </a:lnTo>
                  <a:lnTo>
                    <a:pt x="6018602" y="306023"/>
                  </a:lnTo>
                  <a:lnTo>
                    <a:pt x="6017805" y="305227"/>
                  </a:lnTo>
                  <a:lnTo>
                    <a:pt x="6016709" y="304034"/>
                  </a:lnTo>
                  <a:lnTo>
                    <a:pt x="6015414" y="302939"/>
                  </a:lnTo>
                  <a:lnTo>
                    <a:pt x="6010332" y="301347"/>
                  </a:lnTo>
                  <a:lnTo>
                    <a:pt x="6005449" y="295776"/>
                  </a:lnTo>
                  <a:lnTo>
                    <a:pt x="6002161" y="294085"/>
                  </a:lnTo>
                  <a:lnTo>
                    <a:pt x="6004054" y="292195"/>
                  </a:lnTo>
                  <a:lnTo>
                    <a:pt x="6004054" y="289807"/>
                  </a:lnTo>
                  <a:lnTo>
                    <a:pt x="6003456" y="287220"/>
                  </a:lnTo>
                  <a:lnTo>
                    <a:pt x="6002261" y="285031"/>
                  </a:lnTo>
                  <a:lnTo>
                    <a:pt x="6001563" y="282544"/>
                  </a:lnTo>
                  <a:lnTo>
                    <a:pt x="6003257" y="269014"/>
                  </a:lnTo>
                  <a:lnTo>
                    <a:pt x="6004752" y="263542"/>
                  </a:lnTo>
                  <a:lnTo>
                    <a:pt x="6008838" y="252997"/>
                  </a:lnTo>
                  <a:lnTo>
                    <a:pt x="6008239" y="250907"/>
                  </a:lnTo>
                  <a:lnTo>
                    <a:pt x="6009834" y="249415"/>
                  </a:lnTo>
                  <a:lnTo>
                    <a:pt x="6012325" y="248520"/>
                  </a:lnTo>
                  <a:lnTo>
                    <a:pt x="6014418" y="248520"/>
                  </a:lnTo>
                  <a:lnTo>
                    <a:pt x="6016111" y="247923"/>
                  </a:lnTo>
                  <a:lnTo>
                    <a:pt x="6022289" y="243147"/>
                  </a:lnTo>
                  <a:lnTo>
                    <a:pt x="6024980" y="239964"/>
                  </a:lnTo>
                  <a:lnTo>
                    <a:pt x="6024980" y="237874"/>
                  </a:lnTo>
                  <a:lnTo>
                    <a:pt x="6024980" y="234193"/>
                  </a:lnTo>
                  <a:lnTo>
                    <a:pt x="6020794" y="213699"/>
                  </a:lnTo>
                  <a:lnTo>
                    <a:pt x="6019001" y="208725"/>
                  </a:lnTo>
                  <a:lnTo>
                    <a:pt x="6015314" y="202059"/>
                  </a:lnTo>
                  <a:lnTo>
                    <a:pt x="6014118" y="199174"/>
                  </a:lnTo>
                  <a:lnTo>
                    <a:pt x="6013221" y="195990"/>
                  </a:lnTo>
                  <a:lnTo>
                    <a:pt x="6012723" y="192906"/>
                  </a:lnTo>
                  <a:lnTo>
                    <a:pt x="6012723" y="190220"/>
                  </a:lnTo>
                  <a:lnTo>
                    <a:pt x="6012723" y="187434"/>
                  </a:lnTo>
                  <a:lnTo>
                    <a:pt x="6012723" y="184748"/>
                  </a:lnTo>
                  <a:lnTo>
                    <a:pt x="6011129" y="182161"/>
                  </a:lnTo>
                  <a:lnTo>
                    <a:pt x="6011926" y="178978"/>
                  </a:lnTo>
                  <a:lnTo>
                    <a:pt x="6012623" y="174501"/>
                  </a:lnTo>
                  <a:lnTo>
                    <a:pt x="6013421" y="170521"/>
                  </a:lnTo>
                  <a:lnTo>
                    <a:pt x="6015115" y="168830"/>
                  </a:lnTo>
                  <a:lnTo>
                    <a:pt x="6019898" y="159677"/>
                  </a:lnTo>
                  <a:lnTo>
                    <a:pt x="6020695" y="157290"/>
                  </a:lnTo>
                  <a:lnTo>
                    <a:pt x="6022389" y="150127"/>
                  </a:lnTo>
                  <a:lnTo>
                    <a:pt x="6022389" y="145351"/>
                  </a:lnTo>
                  <a:lnTo>
                    <a:pt x="6021592" y="143262"/>
                  </a:lnTo>
                  <a:lnTo>
                    <a:pt x="6020396" y="141173"/>
                  </a:lnTo>
                  <a:lnTo>
                    <a:pt x="6018802" y="132020"/>
                  </a:lnTo>
                  <a:lnTo>
                    <a:pt x="6018104" y="130030"/>
                  </a:lnTo>
                  <a:lnTo>
                    <a:pt x="6015812" y="126449"/>
                  </a:lnTo>
                  <a:lnTo>
                    <a:pt x="6008538" y="100681"/>
                  </a:lnTo>
                  <a:lnTo>
                    <a:pt x="6006845" y="98095"/>
                  </a:lnTo>
                  <a:lnTo>
                    <a:pt x="5999570" y="91429"/>
                  </a:lnTo>
                  <a:lnTo>
                    <a:pt x="5998574" y="90534"/>
                  </a:lnTo>
                  <a:lnTo>
                    <a:pt x="5997079" y="90036"/>
                  </a:lnTo>
                  <a:lnTo>
                    <a:pt x="5995385" y="90036"/>
                  </a:lnTo>
                  <a:lnTo>
                    <a:pt x="5993891" y="90036"/>
                  </a:lnTo>
                  <a:lnTo>
                    <a:pt x="5992496" y="90036"/>
                  </a:lnTo>
                  <a:lnTo>
                    <a:pt x="5991101" y="89141"/>
                  </a:lnTo>
                  <a:lnTo>
                    <a:pt x="5992794" y="86853"/>
                  </a:lnTo>
                  <a:lnTo>
                    <a:pt x="5992794" y="84564"/>
                  </a:lnTo>
                  <a:lnTo>
                    <a:pt x="5987912" y="78197"/>
                  </a:lnTo>
                  <a:lnTo>
                    <a:pt x="5986616" y="76008"/>
                  </a:lnTo>
                  <a:lnTo>
                    <a:pt x="5985720" y="73621"/>
                  </a:lnTo>
                  <a:lnTo>
                    <a:pt x="5985720" y="70736"/>
                  </a:lnTo>
                  <a:lnTo>
                    <a:pt x="5985720" y="59394"/>
                  </a:lnTo>
                  <a:lnTo>
                    <a:pt x="5985720" y="55713"/>
                  </a:lnTo>
                  <a:lnTo>
                    <a:pt x="5985720" y="53922"/>
                  </a:lnTo>
                  <a:lnTo>
                    <a:pt x="5983727" y="53226"/>
                  </a:lnTo>
                  <a:lnTo>
                    <a:pt x="5983727" y="52231"/>
                  </a:lnTo>
                  <a:lnTo>
                    <a:pt x="5983029" y="47157"/>
                  </a:lnTo>
                  <a:lnTo>
                    <a:pt x="5983827" y="46162"/>
                  </a:lnTo>
                  <a:lnTo>
                    <a:pt x="5986019" y="43874"/>
                  </a:lnTo>
                  <a:lnTo>
                    <a:pt x="5986019" y="42979"/>
                  </a:lnTo>
                  <a:lnTo>
                    <a:pt x="5986019" y="40989"/>
                  </a:lnTo>
                  <a:lnTo>
                    <a:pt x="5988310" y="36213"/>
                  </a:lnTo>
                  <a:lnTo>
                    <a:pt x="5990702" y="26862"/>
                  </a:lnTo>
                  <a:lnTo>
                    <a:pt x="5998574" y="9252"/>
                  </a:lnTo>
                  <a:lnTo>
                    <a:pt x="6001264" y="0"/>
                  </a:lnTo>
                  <a:lnTo>
                    <a:pt x="0" y="0"/>
                  </a:lnTo>
                  <a:lnTo>
                    <a:pt x="0" y="75113"/>
                  </a:lnTo>
                  <a:lnTo>
                    <a:pt x="3488" y="76307"/>
                  </a:lnTo>
                  <a:lnTo>
                    <a:pt x="7374" y="76307"/>
                  </a:lnTo>
                  <a:lnTo>
                    <a:pt x="8071" y="75610"/>
                  </a:lnTo>
                  <a:lnTo>
                    <a:pt x="9865" y="72128"/>
                  </a:lnTo>
                  <a:lnTo>
                    <a:pt x="9964" y="71631"/>
                  </a:lnTo>
                  <a:lnTo>
                    <a:pt x="16242" y="68248"/>
                  </a:lnTo>
                  <a:lnTo>
                    <a:pt x="19929" y="67552"/>
                  </a:lnTo>
                  <a:lnTo>
                    <a:pt x="22021" y="70437"/>
                  </a:lnTo>
                  <a:lnTo>
                    <a:pt x="19929" y="70437"/>
                  </a:lnTo>
                  <a:lnTo>
                    <a:pt x="18235" y="71034"/>
                  </a:lnTo>
                  <a:lnTo>
                    <a:pt x="15246" y="73123"/>
                  </a:lnTo>
                  <a:lnTo>
                    <a:pt x="12157" y="74218"/>
                  </a:lnTo>
                  <a:lnTo>
                    <a:pt x="10961" y="74815"/>
                  </a:lnTo>
                  <a:lnTo>
                    <a:pt x="8370" y="77600"/>
                  </a:lnTo>
                  <a:lnTo>
                    <a:pt x="4783" y="79988"/>
                  </a:lnTo>
                  <a:lnTo>
                    <a:pt x="1594" y="79988"/>
                  </a:lnTo>
                  <a:lnTo>
                    <a:pt x="0" y="79093"/>
                  </a:lnTo>
                  <a:lnTo>
                    <a:pt x="0" y="182559"/>
                  </a:lnTo>
                  <a:lnTo>
                    <a:pt x="4783" y="187633"/>
                  </a:lnTo>
                  <a:lnTo>
                    <a:pt x="7673" y="188529"/>
                  </a:lnTo>
                  <a:lnTo>
                    <a:pt x="39858" y="219071"/>
                  </a:lnTo>
                  <a:lnTo>
                    <a:pt x="40555" y="219071"/>
                  </a:lnTo>
                  <a:lnTo>
                    <a:pt x="40555" y="216783"/>
                  </a:lnTo>
                  <a:lnTo>
                    <a:pt x="40555" y="209421"/>
                  </a:lnTo>
                  <a:lnTo>
                    <a:pt x="39858" y="202457"/>
                  </a:lnTo>
                  <a:lnTo>
                    <a:pt x="41552" y="195493"/>
                  </a:lnTo>
                  <a:lnTo>
                    <a:pt x="40555" y="185544"/>
                  </a:lnTo>
                  <a:lnTo>
                    <a:pt x="40555" y="181465"/>
                  </a:lnTo>
                  <a:lnTo>
                    <a:pt x="41153" y="179077"/>
                  </a:lnTo>
                  <a:lnTo>
                    <a:pt x="44242" y="175098"/>
                  </a:lnTo>
                  <a:lnTo>
                    <a:pt x="46036" y="174004"/>
                  </a:lnTo>
                  <a:lnTo>
                    <a:pt x="51416" y="172014"/>
                  </a:lnTo>
                  <a:lnTo>
                    <a:pt x="52512" y="170322"/>
                  </a:lnTo>
                  <a:lnTo>
                    <a:pt x="53808" y="168930"/>
                  </a:lnTo>
                  <a:lnTo>
                    <a:pt x="56697" y="167636"/>
                  </a:lnTo>
                  <a:lnTo>
                    <a:pt x="62078" y="166045"/>
                  </a:lnTo>
                  <a:lnTo>
                    <a:pt x="64669" y="166045"/>
                  </a:lnTo>
                  <a:lnTo>
                    <a:pt x="64669" y="166045"/>
                  </a:lnTo>
                  <a:lnTo>
                    <a:pt x="65466" y="164353"/>
                  </a:lnTo>
                  <a:lnTo>
                    <a:pt x="67559" y="162463"/>
                  </a:lnTo>
                  <a:lnTo>
                    <a:pt x="70448" y="160772"/>
                  </a:lnTo>
                  <a:lnTo>
                    <a:pt x="73438" y="159478"/>
                  </a:lnTo>
                  <a:lnTo>
                    <a:pt x="75929" y="158981"/>
                  </a:lnTo>
                  <a:lnTo>
                    <a:pt x="77623" y="157588"/>
                  </a:lnTo>
                  <a:lnTo>
                    <a:pt x="73637" y="150226"/>
                  </a:lnTo>
                  <a:lnTo>
                    <a:pt x="73637" y="146744"/>
                  </a:lnTo>
                  <a:lnTo>
                    <a:pt x="75630" y="146744"/>
                  </a:lnTo>
                  <a:lnTo>
                    <a:pt x="79715" y="152713"/>
                  </a:lnTo>
                  <a:lnTo>
                    <a:pt x="82007" y="154902"/>
                  </a:lnTo>
                  <a:lnTo>
                    <a:pt x="85594" y="152116"/>
                  </a:lnTo>
                  <a:lnTo>
                    <a:pt x="86591" y="144456"/>
                  </a:lnTo>
                  <a:lnTo>
                    <a:pt x="84996" y="136298"/>
                  </a:lnTo>
                  <a:lnTo>
                    <a:pt x="81011" y="131721"/>
                  </a:lnTo>
                  <a:lnTo>
                    <a:pt x="81011" y="130528"/>
                  </a:lnTo>
                  <a:lnTo>
                    <a:pt x="84299" y="130528"/>
                  </a:lnTo>
                  <a:lnTo>
                    <a:pt x="86491" y="131920"/>
                  </a:lnTo>
                  <a:lnTo>
                    <a:pt x="89779" y="136397"/>
                  </a:lnTo>
                  <a:lnTo>
                    <a:pt x="89680" y="138387"/>
                  </a:lnTo>
                  <a:lnTo>
                    <a:pt x="89680" y="140775"/>
                  </a:lnTo>
                  <a:lnTo>
                    <a:pt x="89680" y="145849"/>
                  </a:lnTo>
                  <a:lnTo>
                    <a:pt x="92370" y="139481"/>
                  </a:lnTo>
                  <a:lnTo>
                    <a:pt x="93765" y="137492"/>
                  </a:lnTo>
                  <a:lnTo>
                    <a:pt x="94861" y="139879"/>
                  </a:lnTo>
                  <a:lnTo>
                    <a:pt x="94861" y="142963"/>
                  </a:lnTo>
                  <a:lnTo>
                    <a:pt x="92270" y="148535"/>
                  </a:lnTo>
                  <a:lnTo>
                    <a:pt x="91673" y="151917"/>
                  </a:lnTo>
                  <a:lnTo>
                    <a:pt x="99644" y="142764"/>
                  </a:lnTo>
                  <a:lnTo>
                    <a:pt x="102434" y="136497"/>
                  </a:lnTo>
                  <a:lnTo>
                    <a:pt x="105722" y="134408"/>
                  </a:lnTo>
                  <a:lnTo>
                    <a:pt x="108811" y="131721"/>
                  </a:lnTo>
                  <a:lnTo>
                    <a:pt x="109608" y="126846"/>
                  </a:lnTo>
                  <a:lnTo>
                    <a:pt x="111004" y="127941"/>
                  </a:lnTo>
                  <a:lnTo>
                    <a:pt x="111900" y="127941"/>
                  </a:lnTo>
                  <a:lnTo>
                    <a:pt x="113993" y="126747"/>
                  </a:lnTo>
                  <a:lnTo>
                    <a:pt x="113993" y="125752"/>
                  </a:lnTo>
                  <a:lnTo>
                    <a:pt x="115189" y="124558"/>
                  </a:lnTo>
                  <a:lnTo>
                    <a:pt x="115189" y="124558"/>
                  </a:lnTo>
                  <a:lnTo>
                    <a:pt x="117580" y="120579"/>
                  </a:lnTo>
                  <a:lnTo>
                    <a:pt x="119573" y="116102"/>
                  </a:lnTo>
                  <a:lnTo>
                    <a:pt x="121964" y="112719"/>
                  </a:lnTo>
                  <a:lnTo>
                    <a:pt x="125651" y="109337"/>
                  </a:lnTo>
                  <a:lnTo>
                    <a:pt x="129537" y="107148"/>
                  </a:lnTo>
                  <a:lnTo>
                    <a:pt x="132527" y="107148"/>
                  </a:lnTo>
                  <a:lnTo>
                    <a:pt x="130036" y="108939"/>
                  </a:lnTo>
                  <a:lnTo>
                    <a:pt x="129537" y="109934"/>
                  </a:lnTo>
                  <a:lnTo>
                    <a:pt x="129039" y="111326"/>
                  </a:lnTo>
                  <a:lnTo>
                    <a:pt x="129039" y="116102"/>
                  </a:lnTo>
                  <a:lnTo>
                    <a:pt x="129039" y="117395"/>
                  </a:lnTo>
                  <a:lnTo>
                    <a:pt x="124655" y="124757"/>
                  </a:lnTo>
                  <a:lnTo>
                    <a:pt x="123559" y="127742"/>
                  </a:lnTo>
                  <a:lnTo>
                    <a:pt x="123060" y="127742"/>
                  </a:lnTo>
                  <a:lnTo>
                    <a:pt x="122363" y="127742"/>
                  </a:lnTo>
                  <a:lnTo>
                    <a:pt x="121665" y="127742"/>
                  </a:lnTo>
                  <a:lnTo>
                    <a:pt x="121665" y="129035"/>
                  </a:lnTo>
                  <a:lnTo>
                    <a:pt x="122263" y="130030"/>
                  </a:lnTo>
                  <a:lnTo>
                    <a:pt x="123160" y="130826"/>
                  </a:lnTo>
                  <a:lnTo>
                    <a:pt x="124057" y="130826"/>
                  </a:lnTo>
                  <a:lnTo>
                    <a:pt x="125651" y="130130"/>
                  </a:lnTo>
                  <a:lnTo>
                    <a:pt x="126747" y="130726"/>
                  </a:lnTo>
                  <a:lnTo>
                    <a:pt x="127943" y="131721"/>
                  </a:lnTo>
                  <a:lnTo>
                    <a:pt x="131431" y="132816"/>
                  </a:lnTo>
                  <a:lnTo>
                    <a:pt x="137110" y="135502"/>
                  </a:lnTo>
                  <a:lnTo>
                    <a:pt x="139900" y="135999"/>
                  </a:lnTo>
                  <a:lnTo>
                    <a:pt x="143986" y="135104"/>
                  </a:lnTo>
                  <a:lnTo>
                    <a:pt x="146078" y="135104"/>
                  </a:lnTo>
                  <a:lnTo>
                    <a:pt x="148171" y="136596"/>
                  </a:lnTo>
                  <a:lnTo>
                    <a:pt x="149566" y="138884"/>
                  </a:lnTo>
                  <a:lnTo>
                    <a:pt x="148868" y="139680"/>
                  </a:lnTo>
                  <a:lnTo>
                    <a:pt x="138904" y="138884"/>
                  </a:lnTo>
                  <a:lnTo>
                    <a:pt x="126548" y="135203"/>
                  </a:lnTo>
                  <a:lnTo>
                    <a:pt x="123858" y="135203"/>
                  </a:lnTo>
                  <a:lnTo>
                    <a:pt x="122662" y="138487"/>
                  </a:lnTo>
                  <a:lnTo>
                    <a:pt x="121865" y="141969"/>
                  </a:lnTo>
                  <a:lnTo>
                    <a:pt x="119772" y="142963"/>
                  </a:lnTo>
                  <a:lnTo>
                    <a:pt x="116982" y="142963"/>
                  </a:lnTo>
                  <a:lnTo>
                    <a:pt x="113993" y="143759"/>
                  </a:lnTo>
                  <a:lnTo>
                    <a:pt x="111502" y="145948"/>
                  </a:lnTo>
                  <a:lnTo>
                    <a:pt x="109808" y="149032"/>
                  </a:lnTo>
                  <a:lnTo>
                    <a:pt x="109808" y="152713"/>
                  </a:lnTo>
                  <a:lnTo>
                    <a:pt x="112498" y="159578"/>
                  </a:lnTo>
                  <a:lnTo>
                    <a:pt x="112498" y="162562"/>
                  </a:lnTo>
                  <a:lnTo>
                    <a:pt x="109509" y="168233"/>
                  </a:lnTo>
                  <a:lnTo>
                    <a:pt x="107616" y="170820"/>
                  </a:lnTo>
                  <a:lnTo>
                    <a:pt x="107117" y="172213"/>
                  </a:lnTo>
                  <a:lnTo>
                    <a:pt x="107117" y="174799"/>
                  </a:lnTo>
                  <a:lnTo>
                    <a:pt x="107117" y="176590"/>
                  </a:lnTo>
                  <a:lnTo>
                    <a:pt x="108014" y="178381"/>
                  </a:lnTo>
                  <a:lnTo>
                    <a:pt x="109011" y="179774"/>
                  </a:lnTo>
                  <a:lnTo>
                    <a:pt x="109808" y="180271"/>
                  </a:lnTo>
                  <a:lnTo>
                    <a:pt x="111601" y="181963"/>
                  </a:lnTo>
                  <a:lnTo>
                    <a:pt x="113295" y="185445"/>
                  </a:lnTo>
                  <a:lnTo>
                    <a:pt x="115388" y="187733"/>
                  </a:lnTo>
                  <a:lnTo>
                    <a:pt x="118078" y="186340"/>
                  </a:lnTo>
                  <a:lnTo>
                    <a:pt x="121566" y="190419"/>
                  </a:lnTo>
                  <a:lnTo>
                    <a:pt x="122762" y="192807"/>
                  </a:lnTo>
                  <a:lnTo>
                    <a:pt x="123260" y="195294"/>
                  </a:lnTo>
                  <a:lnTo>
                    <a:pt x="125053" y="195891"/>
                  </a:lnTo>
                  <a:lnTo>
                    <a:pt x="128939" y="196388"/>
                  </a:lnTo>
                  <a:lnTo>
                    <a:pt x="132726" y="197980"/>
                  </a:lnTo>
                  <a:lnTo>
                    <a:pt x="134520" y="201363"/>
                  </a:lnTo>
                  <a:lnTo>
                    <a:pt x="135018" y="203352"/>
                  </a:lnTo>
                  <a:lnTo>
                    <a:pt x="136313" y="204646"/>
                  </a:lnTo>
                  <a:lnTo>
                    <a:pt x="137907" y="205442"/>
                  </a:lnTo>
                  <a:lnTo>
                    <a:pt x="139402" y="205442"/>
                  </a:lnTo>
                  <a:lnTo>
                    <a:pt x="140299" y="206138"/>
                  </a:lnTo>
                  <a:lnTo>
                    <a:pt x="141993" y="209222"/>
                  </a:lnTo>
                  <a:lnTo>
                    <a:pt x="143189" y="210217"/>
                  </a:lnTo>
                  <a:lnTo>
                    <a:pt x="144883" y="210217"/>
                  </a:lnTo>
                  <a:lnTo>
                    <a:pt x="145779" y="209421"/>
                  </a:lnTo>
                  <a:lnTo>
                    <a:pt x="146676" y="208327"/>
                  </a:lnTo>
                  <a:lnTo>
                    <a:pt x="147971" y="207829"/>
                  </a:lnTo>
                  <a:lnTo>
                    <a:pt x="152954" y="207829"/>
                  </a:lnTo>
                  <a:lnTo>
                    <a:pt x="154548" y="207829"/>
                  </a:lnTo>
                  <a:lnTo>
                    <a:pt x="157039" y="206834"/>
                  </a:lnTo>
                  <a:lnTo>
                    <a:pt x="159231" y="205342"/>
                  </a:lnTo>
                  <a:lnTo>
                    <a:pt x="160925" y="203054"/>
                  </a:lnTo>
                  <a:lnTo>
                    <a:pt x="161523" y="199970"/>
                  </a:lnTo>
                  <a:lnTo>
                    <a:pt x="162918" y="197881"/>
                  </a:lnTo>
                  <a:lnTo>
                    <a:pt x="166206" y="198776"/>
                  </a:lnTo>
                  <a:lnTo>
                    <a:pt x="172285" y="201860"/>
                  </a:lnTo>
                  <a:lnTo>
                    <a:pt x="183644" y="202457"/>
                  </a:lnTo>
                  <a:lnTo>
                    <a:pt x="192213" y="203253"/>
                  </a:lnTo>
                  <a:lnTo>
                    <a:pt x="195003" y="202457"/>
                  </a:lnTo>
                  <a:lnTo>
                    <a:pt x="194306" y="204646"/>
                  </a:lnTo>
                  <a:lnTo>
                    <a:pt x="194804" y="206635"/>
                  </a:lnTo>
                  <a:lnTo>
                    <a:pt x="195900" y="208028"/>
                  </a:lnTo>
                  <a:lnTo>
                    <a:pt x="197096" y="208625"/>
                  </a:lnTo>
                  <a:lnTo>
                    <a:pt x="198292" y="209620"/>
                  </a:lnTo>
                  <a:lnTo>
                    <a:pt x="200584" y="213699"/>
                  </a:lnTo>
                  <a:lnTo>
                    <a:pt x="201381" y="214694"/>
                  </a:lnTo>
                  <a:lnTo>
                    <a:pt x="204071" y="219569"/>
                  </a:lnTo>
                  <a:lnTo>
                    <a:pt x="204071" y="219569"/>
                  </a:lnTo>
                  <a:lnTo>
                    <a:pt x="204769" y="220763"/>
                  </a:lnTo>
                  <a:lnTo>
                    <a:pt x="208455" y="224344"/>
                  </a:lnTo>
                  <a:lnTo>
                    <a:pt x="209751" y="225041"/>
                  </a:lnTo>
                  <a:lnTo>
                    <a:pt x="211345" y="225041"/>
                  </a:lnTo>
                  <a:lnTo>
                    <a:pt x="215829" y="227130"/>
                  </a:lnTo>
                  <a:lnTo>
                    <a:pt x="217124" y="228324"/>
                  </a:lnTo>
                  <a:lnTo>
                    <a:pt x="217722" y="230612"/>
                  </a:lnTo>
                  <a:lnTo>
                    <a:pt x="217025" y="234392"/>
                  </a:lnTo>
                  <a:lnTo>
                    <a:pt x="217025" y="236780"/>
                  </a:lnTo>
                  <a:lnTo>
                    <a:pt x="219018" y="239964"/>
                  </a:lnTo>
                  <a:lnTo>
                    <a:pt x="221808" y="241655"/>
                  </a:lnTo>
                  <a:lnTo>
                    <a:pt x="224100" y="243645"/>
                  </a:lnTo>
                  <a:lnTo>
                    <a:pt x="224897" y="247525"/>
                  </a:lnTo>
                  <a:lnTo>
                    <a:pt x="215829" y="243048"/>
                  </a:lnTo>
                  <a:lnTo>
                    <a:pt x="214434" y="241058"/>
                  </a:lnTo>
                  <a:lnTo>
                    <a:pt x="214434" y="231706"/>
                  </a:lnTo>
                  <a:lnTo>
                    <a:pt x="213836" y="229617"/>
                  </a:lnTo>
                  <a:lnTo>
                    <a:pt x="211744" y="227428"/>
                  </a:lnTo>
                  <a:lnTo>
                    <a:pt x="206761" y="224543"/>
                  </a:lnTo>
                  <a:lnTo>
                    <a:pt x="204769" y="222951"/>
                  </a:lnTo>
                  <a:lnTo>
                    <a:pt x="202377" y="221956"/>
                  </a:lnTo>
                  <a:lnTo>
                    <a:pt x="199886" y="223548"/>
                  </a:lnTo>
                  <a:lnTo>
                    <a:pt x="195701" y="228324"/>
                  </a:lnTo>
                  <a:lnTo>
                    <a:pt x="197794" y="222752"/>
                  </a:lnTo>
                  <a:lnTo>
                    <a:pt x="197794" y="221061"/>
                  </a:lnTo>
                  <a:lnTo>
                    <a:pt x="197794" y="220166"/>
                  </a:lnTo>
                  <a:lnTo>
                    <a:pt x="198890" y="218673"/>
                  </a:lnTo>
                  <a:lnTo>
                    <a:pt x="198890" y="217480"/>
                  </a:lnTo>
                  <a:lnTo>
                    <a:pt x="198890" y="216684"/>
                  </a:lnTo>
                  <a:lnTo>
                    <a:pt x="197694" y="215291"/>
                  </a:lnTo>
                  <a:lnTo>
                    <a:pt x="196598" y="211809"/>
                  </a:lnTo>
                  <a:lnTo>
                    <a:pt x="194605" y="209720"/>
                  </a:lnTo>
                  <a:lnTo>
                    <a:pt x="191915" y="208327"/>
                  </a:lnTo>
                  <a:lnTo>
                    <a:pt x="189124" y="207829"/>
                  </a:lnTo>
                  <a:lnTo>
                    <a:pt x="176968" y="207829"/>
                  </a:lnTo>
                  <a:lnTo>
                    <a:pt x="169893" y="206436"/>
                  </a:lnTo>
                  <a:lnTo>
                    <a:pt x="164413" y="202855"/>
                  </a:lnTo>
                  <a:lnTo>
                    <a:pt x="163018" y="206834"/>
                  </a:lnTo>
                  <a:lnTo>
                    <a:pt x="160925" y="208824"/>
                  </a:lnTo>
                  <a:lnTo>
                    <a:pt x="149466" y="212406"/>
                  </a:lnTo>
                  <a:lnTo>
                    <a:pt x="148171" y="213301"/>
                  </a:lnTo>
                  <a:lnTo>
                    <a:pt x="145779" y="215490"/>
                  </a:lnTo>
                  <a:lnTo>
                    <a:pt x="144185" y="216087"/>
                  </a:lnTo>
                  <a:lnTo>
                    <a:pt x="144185" y="217281"/>
                  </a:lnTo>
                  <a:lnTo>
                    <a:pt x="146477" y="217281"/>
                  </a:lnTo>
                  <a:lnTo>
                    <a:pt x="147573" y="218474"/>
                  </a:lnTo>
                  <a:lnTo>
                    <a:pt x="147573" y="220564"/>
                  </a:lnTo>
                  <a:lnTo>
                    <a:pt x="147573" y="225737"/>
                  </a:lnTo>
                  <a:lnTo>
                    <a:pt x="147075" y="227727"/>
                  </a:lnTo>
                  <a:lnTo>
                    <a:pt x="146278" y="227727"/>
                  </a:lnTo>
                  <a:lnTo>
                    <a:pt x="145181" y="225240"/>
                  </a:lnTo>
                  <a:lnTo>
                    <a:pt x="145181" y="223150"/>
                  </a:lnTo>
                  <a:lnTo>
                    <a:pt x="145181" y="222155"/>
                  </a:lnTo>
                  <a:lnTo>
                    <a:pt x="145181" y="221658"/>
                  </a:lnTo>
                  <a:lnTo>
                    <a:pt x="145879" y="221658"/>
                  </a:lnTo>
                  <a:lnTo>
                    <a:pt x="145281" y="220663"/>
                  </a:lnTo>
                  <a:lnTo>
                    <a:pt x="144285" y="219768"/>
                  </a:lnTo>
                  <a:lnTo>
                    <a:pt x="144285" y="219768"/>
                  </a:lnTo>
                  <a:lnTo>
                    <a:pt x="142790" y="218176"/>
                  </a:lnTo>
                  <a:lnTo>
                    <a:pt x="137409" y="215092"/>
                  </a:lnTo>
                  <a:lnTo>
                    <a:pt x="127445" y="205143"/>
                  </a:lnTo>
                  <a:lnTo>
                    <a:pt x="124455" y="202457"/>
                  </a:lnTo>
                  <a:lnTo>
                    <a:pt x="122463" y="201761"/>
                  </a:lnTo>
                  <a:lnTo>
                    <a:pt x="121068" y="202556"/>
                  </a:lnTo>
                  <a:lnTo>
                    <a:pt x="121068" y="203651"/>
                  </a:lnTo>
                  <a:lnTo>
                    <a:pt x="122164" y="205143"/>
                  </a:lnTo>
                  <a:lnTo>
                    <a:pt x="124256" y="207431"/>
                  </a:lnTo>
                  <a:lnTo>
                    <a:pt x="123459" y="208725"/>
                  </a:lnTo>
                  <a:lnTo>
                    <a:pt x="120370" y="205044"/>
                  </a:lnTo>
                  <a:lnTo>
                    <a:pt x="119573" y="204148"/>
                  </a:lnTo>
                  <a:lnTo>
                    <a:pt x="115189" y="202457"/>
                  </a:lnTo>
                  <a:lnTo>
                    <a:pt x="114192" y="201761"/>
                  </a:lnTo>
                  <a:lnTo>
                    <a:pt x="112897" y="199074"/>
                  </a:lnTo>
                  <a:lnTo>
                    <a:pt x="110804" y="191115"/>
                  </a:lnTo>
                  <a:lnTo>
                    <a:pt x="109011" y="188529"/>
                  </a:lnTo>
                  <a:lnTo>
                    <a:pt x="106021" y="188031"/>
                  </a:lnTo>
                  <a:lnTo>
                    <a:pt x="103729" y="190021"/>
                  </a:lnTo>
                  <a:lnTo>
                    <a:pt x="101737" y="192807"/>
                  </a:lnTo>
                  <a:lnTo>
                    <a:pt x="99644" y="194498"/>
                  </a:lnTo>
                  <a:lnTo>
                    <a:pt x="95957" y="194498"/>
                  </a:lnTo>
                  <a:lnTo>
                    <a:pt x="89680" y="191215"/>
                  </a:lnTo>
                  <a:lnTo>
                    <a:pt x="86092" y="191215"/>
                  </a:lnTo>
                  <a:lnTo>
                    <a:pt x="87587" y="195393"/>
                  </a:lnTo>
                  <a:lnTo>
                    <a:pt x="89480" y="203750"/>
                  </a:lnTo>
                  <a:lnTo>
                    <a:pt x="91274" y="206934"/>
                  </a:lnTo>
                  <a:lnTo>
                    <a:pt x="93267" y="208526"/>
                  </a:lnTo>
                  <a:lnTo>
                    <a:pt x="94463" y="208526"/>
                  </a:lnTo>
                  <a:lnTo>
                    <a:pt x="95459" y="207232"/>
                  </a:lnTo>
                  <a:lnTo>
                    <a:pt x="96854" y="205143"/>
                  </a:lnTo>
                  <a:lnTo>
                    <a:pt x="98349" y="203651"/>
                  </a:lnTo>
                  <a:lnTo>
                    <a:pt x="99644" y="202457"/>
                  </a:lnTo>
                  <a:lnTo>
                    <a:pt x="103630" y="202457"/>
                  </a:lnTo>
                  <a:lnTo>
                    <a:pt x="101936" y="205541"/>
                  </a:lnTo>
                  <a:lnTo>
                    <a:pt x="97352" y="209620"/>
                  </a:lnTo>
                  <a:lnTo>
                    <a:pt x="96655" y="213301"/>
                  </a:lnTo>
                  <a:lnTo>
                    <a:pt x="96655" y="215689"/>
                  </a:lnTo>
                  <a:lnTo>
                    <a:pt x="97452" y="216883"/>
                  </a:lnTo>
                  <a:lnTo>
                    <a:pt x="97452" y="217977"/>
                  </a:lnTo>
                  <a:lnTo>
                    <a:pt x="96356" y="219967"/>
                  </a:lnTo>
                  <a:lnTo>
                    <a:pt x="96555" y="222354"/>
                  </a:lnTo>
                  <a:lnTo>
                    <a:pt x="97950" y="223250"/>
                  </a:lnTo>
                  <a:lnTo>
                    <a:pt x="101936" y="223250"/>
                  </a:lnTo>
                  <a:lnTo>
                    <a:pt x="100043" y="225240"/>
                  </a:lnTo>
                  <a:lnTo>
                    <a:pt x="98050" y="228025"/>
                  </a:lnTo>
                  <a:lnTo>
                    <a:pt x="96954" y="231308"/>
                  </a:lnTo>
                  <a:lnTo>
                    <a:pt x="98050" y="234790"/>
                  </a:lnTo>
                  <a:lnTo>
                    <a:pt x="101438" y="239665"/>
                  </a:lnTo>
                  <a:lnTo>
                    <a:pt x="103530" y="241754"/>
                  </a:lnTo>
                  <a:lnTo>
                    <a:pt x="105922" y="242650"/>
                  </a:lnTo>
                  <a:lnTo>
                    <a:pt x="107715" y="243545"/>
                  </a:lnTo>
                  <a:lnTo>
                    <a:pt x="120270" y="253494"/>
                  </a:lnTo>
                  <a:lnTo>
                    <a:pt x="122762" y="254489"/>
                  </a:lnTo>
                  <a:lnTo>
                    <a:pt x="125452" y="252997"/>
                  </a:lnTo>
                  <a:lnTo>
                    <a:pt x="124356" y="250211"/>
                  </a:lnTo>
                  <a:lnTo>
                    <a:pt x="123858" y="248420"/>
                  </a:lnTo>
                  <a:lnTo>
                    <a:pt x="123858" y="247027"/>
                  </a:lnTo>
                  <a:lnTo>
                    <a:pt x="124455" y="246132"/>
                  </a:lnTo>
                  <a:lnTo>
                    <a:pt x="125253" y="246132"/>
                  </a:lnTo>
                  <a:lnTo>
                    <a:pt x="126050" y="246629"/>
                  </a:lnTo>
                  <a:lnTo>
                    <a:pt x="126050" y="248022"/>
                  </a:lnTo>
                  <a:lnTo>
                    <a:pt x="126747" y="249415"/>
                  </a:lnTo>
                  <a:lnTo>
                    <a:pt x="134121" y="260458"/>
                  </a:lnTo>
                  <a:lnTo>
                    <a:pt x="135815" y="262348"/>
                  </a:lnTo>
                  <a:lnTo>
                    <a:pt x="137907" y="263144"/>
                  </a:lnTo>
                  <a:lnTo>
                    <a:pt x="145779" y="262348"/>
                  </a:lnTo>
                  <a:lnTo>
                    <a:pt x="147872" y="263144"/>
                  </a:lnTo>
                  <a:lnTo>
                    <a:pt x="145680" y="263940"/>
                  </a:lnTo>
                  <a:lnTo>
                    <a:pt x="139601" y="264836"/>
                  </a:lnTo>
                  <a:lnTo>
                    <a:pt x="138306" y="266129"/>
                  </a:lnTo>
                  <a:lnTo>
                    <a:pt x="139203" y="269511"/>
                  </a:lnTo>
                  <a:lnTo>
                    <a:pt x="141395" y="270009"/>
                  </a:lnTo>
                  <a:lnTo>
                    <a:pt x="143986" y="270009"/>
                  </a:lnTo>
                  <a:lnTo>
                    <a:pt x="146078" y="271700"/>
                  </a:lnTo>
                  <a:lnTo>
                    <a:pt x="144484" y="272198"/>
                  </a:lnTo>
                  <a:lnTo>
                    <a:pt x="142790" y="272198"/>
                  </a:lnTo>
                  <a:lnTo>
                    <a:pt x="141395" y="272795"/>
                  </a:lnTo>
                  <a:lnTo>
                    <a:pt x="140897" y="274386"/>
                  </a:lnTo>
                  <a:lnTo>
                    <a:pt x="140897" y="276376"/>
                  </a:lnTo>
                  <a:lnTo>
                    <a:pt x="142092" y="279460"/>
                  </a:lnTo>
                  <a:lnTo>
                    <a:pt x="142092" y="280356"/>
                  </a:lnTo>
                  <a:lnTo>
                    <a:pt x="142092" y="284037"/>
                  </a:lnTo>
                  <a:lnTo>
                    <a:pt x="143288" y="291100"/>
                  </a:lnTo>
                  <a:lnTo>
                    <a:pt x="143288" y="294881"/>
                  </a:lnTo>
                  <a:lnTo>
                    <a:pt x="144783" y="300949"/>
                  </a:lnTo>
                  <a:lnTo>
                    <a:pt x="145281" y="304531"/>
                  </a:lnTo>
                  <a:lnTo>
                    <a:pt x="144584" y="306222"/>
                  </a:lnTo>
                  <a:lnTo>
                    <a:pt x="144584" y="307018"/>
                  </a:lnTo>
                  <a:lnTo>
                    <a:pt x="147075" y="311595"/>
                  </a:lnTo>
                  <a:lnTo>
                    <a:pt x="148171" y="312689"/>
                  </a:lnTo>
                  <a:lnTo>
                    <a:pt x="149466" y="313485"/>
                  </a:lnTo>
                  <a:lnTo>
                    <a:pt x="150562" y="314579"/>
                  </a:lnTo>
                  <a:lnTo>
                    <a:pt x="151559" y="318758"/>
                  </a:lnTo>
                  <a:lnTo>
                    <a:pt x="152754" y="319454"/>
                  </a:lnTo>
                  <a:lnTo>
                    <a:pt x="160626" y="320051"/>
                  </a:lnTo>
                  <a:lnTo>
                    <a:pt x="161822" y="320051"/>
                  </a:lnTo>
                  <a:lnTo>
                    <a:pt x="161822" y="319454"/>
                  </a:lnTo>
                  <a:lnTo>
                    <a:pt x="163018" y="317862"/>
                  </a:lnTo>
                  <a:lnTo>
                    <a:pt x="165210" y="319056"/>
                  </a:lnTo>
                  <a:lnTo>
                    <a:pt x="165210" y="321842"/>
                  </a:lnTo>
                  <a:lnTo>
                    <a:pt x="168897" y="323135"/>
                  </a:lnTo>
                  <a:lnTo>
                    <a:pt x="172683" y="323732"/>
                  </a:lnTo>
                  <a:lnTo>
                    <a:pt x="176171" y="323135"/>
                  </a:lnTo>
                  <a:lnTo>
                    <a:pt x="177665" y="322240"/>
                  </a:lnTo>
                  <a:lnTo>
                    <a:pt x="178562" y="321245"/>
                  </a:lnTo>
                  <a:lnTo>
                    <a:pt x="179359" y="319852"/>
                  </a:lnTo>
                  <a:lnTo>
                    <a:pt x="180555" y="318360"/>
                  </a:lnTo>
                  <a:lnTo>
                    <a:pt x="184939" y="314778"/>
                  </a:lnTo>
                  <a:lnTo>
                    <a:pt x="186334" y="312590"/>
                  </a:lnTo>
                  <a:lnTo>
                    <a:pt x="188228" y="308908"/>
                  </a:lnTo>
                  <a:lnTo>
                    <a:pt x="189722" y="304830"/>
                  </a:lnTo>
                  <a:lnTo>
                    <a:pt x="189722" y="301447"/>
                  </a:lnTo>
                  <a:lnTo>
                    <a:pt x="190519" y="301447"/>
                  </a:lnTo>
                  <a:lnTo>
                    <a:pt x="191815" y="303735"/>
                  </a:lnTo>
                  <a:lnTo>
                    <a:pt x="193907" y="303735"/>
                  </a:lnTo>
                  <a:lnTo>
                    <a:pt x="201979" y="301745"/>
                  </a:lnTo>
                  <a:lnTo>
                    <a:pt x="202776" y="301745"/>
                  </a:lnTo>
                  <a:lnTo>
                    <a:pt x="203573" y="302840"/>
                  </a:lnTo>
                  <a:lnTo>
                    <a:pt x="203573" y="303835"/>
                  </a:lnTo>
                  <a:lnTo>
                    <a:pt x="202676" y="304531"/>
                  </a:lnTo>
                  <a:lnTo>
                    <a:pt x="199288" y="305924"/>
                  </a:lnTo>
                  <a:lnTo>
                    <a:pt x="195302" y="307715"/>
                  </a:lnTo>
                  <a:lnTo>
                    <a:pt x="192413" y="311097"/>
                  </a:lnTo>
                  <a:lnTo>
                    <a:pt x="191616" y="316171"/>
                  </a:lnTo>
                  <a:lnTo>
                    <a:pt x="191616" y="319852"/>
                  </a:lnTo>
                  <a:lnTo>
                    <a:pt x="192811" y="326518"/>
                  </a:lnTo>
                  <a:lnTo>
                    <a:pt x="192811" y="330000"/>
                  </a:lnTo>
                  <a:lnTo>
                    <a:pt x="192811" y="331791"/>
                  </a:lnTo>
                  <a:lnTo>
                    <a:pt x="192811" y="332686"/>
                  </a:lnTo>
                  <a:lnTo>
                    <a:pt x="192213" y="333382"/>
                  </a:lnTo>
                  <a:lnTo>
                    <a:pt x="190818" y="336467"/>
                  </a:lnTo>
                  <a:lnTo>
                    <a:pt x="190221" y="337362"/>
                  </a:lnTo>
                  <a:lnTo>
                    <a:pt x="190221" y="338357"/>
                  </a:lnTo>
                  <a:lnTo>
                    <a:pt x="190221" y="340247"/>
                  </a:lnTo>
                  <a:lnTo>
                    <a:pt x="189324" y="341739"/>
                  </a:lnTo>
                  <a:lnTo>
                    <a:pt x="185936" y="345022"/>
                  </a:lnTo>
                  <a:lnTo>
                    <a:pt x="185238" y="346614"/>
                  </a:lnTo>
                  <a:lnTo>
                    <a:pt x="185238" y="348504"/>
                  </a:lnTo>
                  <a:lnTo>
                    <a:pt x="185238" y="350196"/>
                  </a:lnTo>
                  <a:lnTo>
                    <a:pt x="185238" y="351589"/>
                  </a:lnTo>
                  <a:lnTo>
                    <a:pt x="180157" y="360443"/>
                  </a:lnTo>
                  <a:lnTo>
                    <a:pt x="179060" y="363627"/>
                  </a:lnTo>
                  <a:lnTo>
                    <a:pt x="179060" y="365616"/>
                  </a:lnTo>
                  <a:lnTo>
                    <a:pt x="179359" y="371586"/>
                  </a:lnTo>
                  <a:lnTo>
                    <a:pt x="179359" y="371586"/>
                  </a:lnTo>
                  <a:lnTo>
                    <a:pt x="179359" y="375167"/>
                  </a:lnTo>
                  <a:lnTo>
                    <a:pt x="180854" y="379644"/>
                  </a:lnTo>
                  <a:lnTo>
                    <a:pt x="180256" y="382927"/>
                  </a:lnTo>
                  <a:lnTo>
                    <a:pt x="178761" y="386011"/>
                  </a:lnTo>
                  <a:lnTo>
                    <a:pt x="177068" y="388399"/>
                  </a:lnTo>
                  <a:lnTo>
                    <a:pt x="176470" y="389891"/>
                  </a:lnTo>
                  <a:lnTo>
                    <a:pt x="176470" y="391483"/>
                  </a:lnTo>
                  <a:lnTo>
                    <a:pt x="176470" y="392876"/>
                  </a:lnTo>
                  <a:lnTo>
                    <a:pt x="174975" y="393473"/>
                  </a:lnTo>
                  <a:lnTo>
                    <a:pt x="173580" y="393473"/>
                  </a:lnTo>
                  <a:lnTo>
                    <a:pt x="172584" y="393473"/>
                  </a:lnTo>
                  <a:lnTo>
                    <a:pt x="171587" y="393473"/>
                  </a:lnTo>
                  <a:lnTo>
                    <a:pt x="170092" y="394070"/>
                  </a:lnTo>
                  <a:lnTo>
                    <a:pt x="167801" y="396258"/>
                  </a:lnTo>
                  <a:lnTo>
                    <a:pt x="166605" y="399343"/>
                  </a:lnTo>
                  <a:lnTo>
                    <a:pt x="166605" y="402825"/>
                  </a:lnTo>
                  <a:lnTo>
                    <a:pt x="167701" y="406008"/>
                  </a:lnTo>
                  <a:lnTo>
                    <a:pt x="163516" y="408097"/>
                  </a:lnTo>
                  <a:lnTo>
                    <a:pt x="161423" y="409689"/>
                  </a:lnTo>
                  <a:lnTo>
                    <a:pt x="159431" y="411381"/>
                  </a:lnTo>
                  <a:lnTo>
                    <a:pt x="160925" y="412176"/>
                  </a:lnTo>
                  <a:lnTo>
                    <a:pt x="162519" y="412176"/>
                  </a:lnTo>
                  <a:lnTo>
                    <a:pt x="165907" y="412176"/>
                  </a:lnTo>
                  <a:lnTo>
                    <a:pt x="167203" y="412674"/>
                  </a:lnTo>
                  <a:lnTo>
                    <a:pt x="168399" y="413669"/>
                  </a:lnTo>
                  <a:lnTo>
                    <a:pt x="169694" y="414564"/>
                  </a:lnTo>
                  <a:lnTo>
                    <a:pt x="171487" y="414564"/>
                  </a:lnTo>
                  <a:lnTo>
                    <a:pt x="173281" y="413072"/>
                  </a:lnTo>
                  <a:lnTo>
                    <a:pt x="179459" y="405710"/>
                  </a:lnTo>
                  <a:lnTo>
                    <a:pt x="184142" y="394866"/>
                  </a:lnTo>
                  <a:lnTo>
                    <a:pt x="185139" y="394070"/>
                  </a:lnTo>
                  <a:lnTo>
                    <a:pt x="187231" y="392776"/>
                  </a:lnTo>
                  <a:lnTo>
                    <a:pt x="188128" y="391881"/>
                  </a:lnTo>
                  <a:lnTo>
                    <a:pt x="188826" y="390588"/>
                  </a:lnTo>
                  <a:lnTo>
                    <a:pt x="188826" y="388598"/>
                  </a:lnTo>
                  <a:lnTo>
                    <a:pt x="189324" y="387205"/>
                  </a:lnTo>
                  <a:lnTo>
                    <a:pt x="195502" y="376460"/>
                  </a:lnTo>
                  <a:lnTo>
                    <a:pt x="196000" y="375167"/>
                  </a:lnTo>
                  <a:lnTo>
                    <a:pt x="196000" y="374073"/>
                  </a:lnTo>
                  <a:lnTo>
                    <a:pt x="196697" y="373177"/>
                  </a:lnTo>
                  <a:lnTo>
                    <a:pt x="198192" y="373177"/>
                  </a:lnTo>
                  <a:lnTo>
                    <a:pt x="199388" y="372680"/>
                  </a:lnTo>
                  <a:lnTo>
                    <a:pt x="200484" y="371586"/>
                  </a:lnTo>
                  <a:lnTo>
                    <a:pt x="202477" y="368899"/>
                  </a:lnTo>
                  <a:lnTo>
                    <a:pt x="204769" y="367507"/>
                  </a:lnTo>
                  <a:lnTo>
                    <a:pt x="217025" y="365218"/>
                  </a:lnTo>
                  <a:lnTo>
                    <a:pt x="221608" y="362134"/>
                  </a:lnTo>
                  <a:lnTo>
                    <a:pt x="223900" y="361139"/>
                  </a:lnTo>
                  <a:lnTo>
                    <a:pt x="222804" y="365019"/>
                  </a:lnTo>
                  <a:lnTo>
                    <a:pt x="222107" y="366910"/>
                  </a:lnTo>
                  <a:lnTo>
                    <a:pt x="221210" y="368402"/>
                  </a:lnTo>
                  <a:lnTo>
                    <a:pt x="220014" y="369098"/>
                  </a:lnTo>
                  <a:lnTo>
                    <a:pt x="217224" y="369596"/>
                  </a:lnTo>
                  <a:lnTo>
                    <a:pt x="216028" y="370591"/>
                  </a:lnTo>
                  <a:lnTo>
                    <a:pt x="216028" y="371685"/>
                  </a:lnTo>
                  <a:lnTo>
                    <a:pt x="216626" y="373277"/>
                  </a:lnTo>
                  <a:lnTo>
                    <a:pt x="216626" y="374769"/>
                  </a:lnTo>
                  <a:lnTo>
                    <a:pt x="215032" y="375565"/>
                  </a:lnTo>
                  <a:lnTo>
                    <a:pt x="214434" y="374968"/>
                  </a:lnTo>
                  <a:lnTo>
                    <a:pt x="213338" y="373774"/>
                  </a:lnTo>
                  <a:lnTo>
                    <a:pt x="211943" y="372481"/>
                  </a:lnTo>
                  <a:lnTo>
                    <a:pt x="210349" y="372481"/>
                  </a:lnTo>
                  <a:lnTo>
                    <a:pt x="205366" y="374272"/>
                  </a:lnTo>
                  <a:lnTo>
                    <a:pt x="201580" y="378848"/>
                  </a:lnTo>
                  <a:lnTo>
                    <a:pt x="199886" y="385016"/>
                  </a:lnTo>
                  <a:lnTo>
                    <a:pt x="201181" y="391583"/>
                  </a:lnTo>
                  <a:lnTo>
                    <a:pt x="200285" y="392677"/>
                  </a:lnTo>
                  <a:lnTo>
                    <a:pt x="201580" y="394866"/>
                  </a:lnTo>
                  <a:lnTo>
                    <a:pt x="203374" y="396258"/>
                  </a:lnTo>
                  <a:lnTo>
                    <a:pt x="204868" y="397850"/>
                  </a:lnTo>
                  <a:lnTo>
                    <a:pt x="206363" y="402924"/>
                  </a:lnTo>
                  <a:lnTo>
                    <a:pt x="208256" y="404615"/>
                  </a:lnTo>
                  <a:lnTo>
                    <a:pt x="212441" y="407103"/>
                  </a:lnTo>
                  <a:lnTo>
                    <a:pt x="218221" y="400238"/>
                  </a:lnTo>
                  <a:lnTo>
                    <a:pt x="220712" y="396258"/>
                  </a:lnTo>
                  <a:lnTo>
                    <a:pt x="221210" y="392677"/>
                  </a:lnTo>
                  <a:lnTo>
                    <a:pt x="219914" y="390090"/>
                  </a:lnTo>
                  <a:lnTo>
                    <a:pt x="219217" y="388996"/>
                  </a:lnTo>
                  <a:lnTo>
                    <a:pt x="218320" y="388001"/>
                  </a:lnTo>
                  <a:lnTo>
                    <a:pt x="218320" y="385613"/>
                  </a:lnTo>
                  <a:lnTo>
                    <a:pt x="218320" y="383226"/>
                  </a:lnTo>
                  <a:lnTo>
                    <a:pt x="219217" y="381534"/>
                  </a:lnTo>
                  <a:lnTo>
                    <a:pt x="219217" y="380042"/>
                  </a:lnTo>
                  <a:lnTo>
                    <a:pt x="219217" y="378550"/>
                  </a:lnTo>
                  <a:lnTo>
                    <a:pt x="220413" y="377157"/>
                  </a:lnTo>
                  <a:lnTo>
                    <a:pt x="222007" y="374371"/>
                  </a:lnTo>
                  <a:lnTo>
                    <a:pt x="223003" y="374371"/>
                  </a:lnTo>
                  <a:lnTo>
                    <a:pt x="224897" y="374371"/>
                  </a:lnTo>
                  <a:lnTo>
                    <a:pt x="224897" y="375764"/>
                  </a:lnTo>
                  <a:lnTo>
                    <a:pt x="224100" y="377356"/>
                  </a:lnTo>
                  <a:lnTo>
                    <a:pt x="223402" y="378550"/>
                  </a:lnTo>
                  <a:lnTo>
                    <a:pt x="222107" y="380141"/>
                  </a:lnTo>
                  <a:lnTo>
                    <a:pt x="220712" y="381236"/>
                  </a:lnTo>
                  <a:lnTo>
                    <a:pt x="219516" y="382728"/>
                  </a:lnTo>
                  <a:lnTo>
                    <a:pt x="219516" y="385116"/>
                  </a:lnTo>
                  <a:lnTo>
                    <a:pt x="219516" y="386708"/>
                  </a:lnTo>
                  <a:lnTo>
                    <a:pt x="222406" y="391781"/>
                  </a:lnTo>
                  <a:lnTo>
                    <a:pt x="226890" y="396457"/>
                  </a:lnTo>
                  <a:lnTo>
                    <a:pt x="228085" y="398845"/>
                  </a:lnTo>
                  <a:lnTo>
                    <a:pt x="226790" y="401233"/>
                  </a:lnTo>
                  <a:lnTo>
                    <a:pt x="225196" y="401233"/>
                  </a:lnTo>
                  <a:lnTo>
                    <a:pt x="221808" y="401233"/>
                  </a:lnTo>
                  <a:lnTo>
                    <a:pt x="220213" y="402427"/>
                  </a:lnTo>
                  <a:lnTo>
                    <a:pt x="219516" y="403919"/>
                  </a:lnTo>
                  <a:lnTo>
                    <a:pt x="219516" y="405312"/>
                  </a:lnTo>
                  <a:lnTo>
                    <a:pt x="219018" y="406605"/>
                  </a:lnTo>
                  <a:lnTo>
                    <a:pt x="217722" y="407799"/>
                  </a:lnTo>
                  <a:lnTo>
                    <a:pt x="218221" y="409888"/>
                  </a:lnTo>
                  <a:lnTo>
                    <a:pt x="219018" y="411778"/>
                  </a:lnTo>
                  <a:lnTo>
                    <a:pt x="220114" y="413271"/>
                  </a:lnTo>
                  <a:lnTo>
                    <a:pt x="223203" y="414664"/>
                  </a:lnTo>
                  <a:lnTo>
                    <a:pt x="223701" y="416653"/>
                  </a:lnTo>
                  <a:lnTo>
                    <a:pt x="223701" y="418842"/>
                  </a:lnTo>
                  <a:lnTo>
                    <a:pt x="225295" y="418842"/>
                  </a:lnTo>
                  <a:lnTo>
                    <a:pt x="230676" y="418842"/>
                  </a:lnTo>
                  <a:lnTo>
                    <a:pt x="235260" y="415658"/>
                  </a:lnTo>
                  <a:lnTo>
                    <a:pt x="235260" y="415658"/>
                  </a:lnTo>
                  <a:lnTo>
                    <a:pt x="235260" y="413768"/>
                  </a:lnTo>
                  <a:lnTo>
                    <a:pt x="236356" y="410883"/>
                  </a:lnTo>
                  <a:lnTo>
                    <a:pt x="239843" y="404715"/>
                  </a:lnTo>
                  <a:lnTo>
                    <a:pt x="242235" y="402029"/>
                  </a:lnTo>
                  <a:lnTo>
                    <a:pt x="245025" y="401432"/>
                  </a:lnTo>
                  <a:lnTo>
                    <a:pt x="242334" y="406406"/>
                  </a:lnTo>
                  <a:lnTo>
                    <a:pt x="241238" y="408097"/>
                  </a:lnTo>
                  <a:lnTo>
                    <a:pt x="241238" y="409192"/>
                  </a:lnTo>
                  <a:lnTo>
                    <a:pt x="241238" y="412873"/>
                  </a:lnTo>
                  <a:lnTo>
                    <a:pt x="241238" y="413868"/>
                  </a:lnTo>
                  <a:lnTo>
                    <a:pt x="243132" y="413271"/>
                  </a:lnTo>
                  <a:lnTo>
                    <a:pt x="246420" y="410585"/>
                  </a:lnTo>
                  <a:lnTo>
                    <a:pt x="247616" y="410087"/>
                  </a:lnTo>
                  <a:lnTo>
                    <a:pt x="250206" y="410087"/>
                  </a:lnTo>
                  <a:lnTo>
                    <a:pt x="251502" y="409490"/>
                  </a:lnTo>
                  <a:lnTo>
                    <a:pt x="253096" y="407103"/>
                  </a:lnTo>
                  <a:lnTo>
                    <a:pt x="256085" y="405511"/>
                  </a:lnTo>
                  <a:lnTo>
                    <a:pt x="257480" y="403024"/>
                  </a:lnTo>
                  <a:lnTo>
                    <a:pt x="258676" y="400238"/>
                  </a:lnTo>
                  <a:lnTo>
                    <a:pt x="259672" y="398248"/>
                  </a:lnTo>
                  <a:lnTo>
                    <a:pt x="261665" y="396656"/>
                  </a:lnTo>
                  <a:lnTo>
                    <a:pt x="263858" y="395661"/>
                  </a:lnTo>
                  <a:lnTo>
                    <a:pt x="276014" y="391483"/>
                  </a:lnTo>
                  <a:lnTo>
                    <a:pt x="278007" y="390389"/>
                  </a:lnTo>
                  <a:lnTo>
                    <a:pt x="281196" y="387603"/>
                  </a:lnTo>
                  <a:lnTo>
                    <a:pt x="282690" y="387603"/>
                  </a:lnTo>
                  <a:lnTo>
                    <a:pt x="284982" y="389195"/>
                  </a:lnTo>
                  <a:lnTo>
                    <a:pt x="284982" y="389195"/>
                  </a:lnTo>
                  <a:lnTo>
                    <a:pt x="299630" y="383524"/>
                  </a:lnTo>
                  <a:lnTo>
                    <a:pt x="301722" y="381833"/>
                  </a:lnTo>
                  <a:lnTo>
                    <a:pt x="302619" y="379047"/>
                  </a:lnTo>
                  <a:lnTo>
                    <a:pt x="302121" y="378152"/>
                  </a:lnTo>
                  <a:lnTo>
                    <a:pt x="301224" y="377157"/>
                  </a:lnTo>
                  <a:lnTo>
                    <a:pt x="300327" y="375665"/>
                  </a:lnTo>
                  <a:lnTo>
                    <a:pt x="300327" y="373774"/>
                  </a:lnTo>
                  <a:lnTo>
                    <a:pt x="300826" y="372481"/>
                  </a:lnTo>
                  <a:lnTo>
                    <a:pt x="301922" y="371387"/>
                  </a:lnTo>
                  <a:lnTo>
                    <a:pt x="303616" y="370093"/>
                  </a:lnTo>
                  <a:lnTo>
                    <a:pt x="303616" y="367109"/>
                  </a:lnTo>
                  <a:lnTo>
                    <a:pt x="305608" y="365716"/>
                  </a:lnTo>
                  <a:lnTo>
                    <a:pt x="308100" y="364820"/>
                  </a:lnTo>
                  <a:lnTo>
                    <a:pt x="309295" y="363527"/>
                  </a:lnTo>
                  <a:lnTo>
                    <a:pt x="317167" y="356961"/>
                  </a:lnTo>
                  <a:lnTo>
                    <a:pt x="328825" y="349599"/>
                  </a:lnTo>
                  <a:lnTo>
                    <a:pt x="337295" y="339650"/>
                  </a:lnTo>
                  <a:lnTo>
                    <a:pt x="338092" y="337262"/>
                  </a:lnTo>
                  <a:lnTo>
                    <a:pt x="338092" y="335870"/>
                  </a:lnTo>
                  <a:lnTo>
                    <a:pt x="336299" y="333283"/>
                  </a:lnTo>
                  <a:lnTo>
                    <a:pt x="336299" y="332487"/>
                  </a:lnTo>
                  <a:lnTo>
                    <a:pt x="336299" y="327115"/>
                  </a:lnTo>
                  <a:lnTo>
                    <a:pt x="333608" y="321842"/>
                  </a:lnTo>
                  <a:lnTo>
                    <a:pt x="328028" y="313684"/>
                  </a:lnTo>
                  <a:lnTo>
                    <a:pt x="326135" y="309306"/>
                  </a:lnTo>
                  <a:lnTo>
                    <a:pt x="327530" y="309306"/>
                  </a:lnTo>
                  <a:lnTo>
                    <a:pt x="328527" y="310202"/>
                  </a:lnTo>
                  <a:lnTo>
                    <a:pt x="329324" y="311296"/>
                  </a:lnTo>
                  <a:lnTo>
                    <a:pt x="330420" y="312590"/>
                  </a:lnTo>
                  <a:lnTo>
                    <a:pt x="336897" y="316171"/>
                  </a:lnTo>
                  <a:lnTo>
                    <a:pt x="339687" y="318758"/>
                  </a:lnTo>
                  <a:lnTo>
                    <a:pt x="341480" y="325921"/>
                  </a:lnTo>
                  <a:lnTo>
                    <a:pt x="344470" y="332189"/>
                  </a:lnTo>
                  <a:lnTo>
                    <a:pt x="345267" y="335372"/>
                  </a:lnTo>
                  <a:lnTo>
                    <a:pt x="344470" y="339153"/>
                  </a:lnTo>
                  <a:lnTo>
                    <a:pt x="340085" y="343928"/>
                  </a:lnTo>
                  <a:lnTo>
                    <a:pt x="339089" y="346714"/>
                  </a:lnTo>
                  <a:lnTo>
                    <a:pt x="337993" y="350992"/>
                  </a:lnTo>
                  <a:lnTo>
                    <a:pt x="335402" y="352981"/>
                  </a:lnTo>
                  <a:lnTo>
                    <a:pt x="328726" y="354474"/>
                  </a:lnTo>
                  <a:lnTo>
                    <a:pt x="326235" y="356165"/>
                  </a:lnTo>
                  <a:lnTo>
                    <a:pt x="321950" y="360741"/>
                  </a:lnTo>
                  <a:lnTo>
                    <a:pt x="316868" y="362433"/>
                  </a:lnTo>
                  <a:lnTo>
                    <a:pt x="314078" y="364323"/>
                  </a:lnTo>
                  <a:lnTo>
                    <a:pt x="311587" y="366711"/>
                  </a:lnTo>
                  <a:lnTo>
                    <a:pt x="307003" y="372282"/>
                  </a:lnTo>
                  <a:lnTo>
                    <a:pt x="306306" y="374869"/>
                  </a:lnTo>
                  <a:lnTo>
                    <a:pt x="307302" y="383922"/>
                  </a:lnTo>
                  <a:lnTo>
                    <a:pt x="308000" y="384917"/>
                  </a:lnTo>
                  <a:lnTo>
                    <a:pt x="309096" y="385613"/>
                  </a:lnTo>
                  <a:lnTo>
                    <a:pt x="310491" y="386807"/>
                  </a:lnTo>
                  <a:lnTo>
                    <a:pt x="313082" y="391583"/>
                  </a:lnTo>
                  <a:lnTo>
                    <a:pt x="311388" y="393871"/>
                  </a:lnTo>
                  <a:lnTo>
                    <a:pt x="311388" y="395761"/>
                  </a:lnTo>
                  <a:lnTo>
                    <a:pt x="314377" y="398746"/>
                  </a:lnTo>
                  <a:lnTo>
                    <a:pt x="314377" y="399442"/>
                  </a:lnTo>
                  <a:lnTo>
                    <a:pt x="314377" y="400437"/>
                  </a:lnTo>
                  <a:lnTo>
                    <a:pt x="314377" y="401432"/>
                  </a:lnTo>
                  <a:lnTo>
                    <a:pt x="315274" y="402327"/>
                  </a:lnTo>
                  <a:lnTo>
                    <a:pt x="316270" y="402327"/>
                  </a:lnTo>
                  <a:lnTo>
                    <a:pt x="318562" y="402327"/>
                  </a:lnTo>
                  <a:lnTo>
                    <a:pt x="319658" y="402327"/>
                  </a:lnTo>
                  <a:lnTo>
                    <a:pt x="329623" y="404516"/>
                  </a:lnTo>
                  <a:lnTo>
                    <a:pt x="334605" y="404516"/>
                  </a:lnTo>
                  <a:lnTo>
                    <a:pt x="339089" y="402526"/>
                  </a:lnTo>
                  <a:lnTo>
                    <a:pt x="342377" y="400337"/>
                  </a:lnTo>
                  <a:lnTo>
                    <a:pt x="345964" y="398746"/>
                  </a:lnTo>
                  <a:lnTo>
                    <a:pt x="362107" y="394269"/>
                  </a:lnTo>
                  <a:lnTo>
                    <a:pt x="366192" y="395065"/>
                  </a:lnTo>
                  <a:lnTo>
                    <a:pt x="368683" y="398945"/>
                  </a:lnTo>
                  <a:lnTo>
                    <a:pt x="363502" y="398945"/>
                  </a:lnTo>
                  <a:lnTo>
                    <a:pt x="358420" y="399442"/>
                  </a:lnTo>
                  <a:lnTo>
                    <a:pt x="353139" y="401332"/>
                  </a:lnTo>
                  <a:lnTo>
                    <a:pt x="350747" y="401332"/>
                  </a:lnTo>
                  <a:lnTo>
                    <a:pt x="350747" y="401332"/>
                  </a:lnTo>
                  <a:lnTo>
                    <a:pt x="350747" y="402825"/>
                  </a:lnTo>
                  <a:lnTo>
                    <a:pt x="350747" y="402825"/>
                  </a:lnTo>
                  <a:lnTo>
                    <a:pt x="346562" y="403621"/>
                  </a:lnTo>
                  <a:lnTo>
                    <a:pt x="345566" y="403621"/>
                  </a:lnTo>
                  <a:lnTo>
                    <a:pt x="343872" y="406605"/>
                  </a:lnTo>
                  <a:lnTo>
                    <a:pt x="343872" y="409092"/>
                  </a:lnTo>
                  <a:lnTo>
                    <a:pt x="344968" y="411281"/>
                  </a:lnTo>
                  <a:lnTo>
                    <a:pt x="347658" y="415460"/>
                  </a:lnTo>
                  <a:lnTo>
                    <a:pt x="348455" y="417449"/>
                  </a:lnTo>
                  <a:lnTo>
                    <a:pt x="348455" y="419638"/>
                  </a:lnTo>
                  <a:lnTo>
                    <a:pt x="347260" y="422722"/>
                  </a:lnTo>
                  <a:lnTo>
                    <a:pt x="350747" y="428393"/>
                  </a:lnTo>
                  <a:lnTo>
                    <a:pt x="362505" y="435556"/>
                  </a:lnTo>
                  <a:lnTo>
                    <a:pt x="367786" y="440033"/>
                  </a:lnTo>
                  <a:lnTo>
                    <a:pt x="368982" y="441724"/>
                  </a:lnTo>
                  <a:lnTo>
                    <a:pt x="371274" y="445704"/>
                  </a:lnTo>
                  <a:lnTo>
                    <a:pt x="372171" y="448788"/>
                  </a:lnTo>
                  <a:lnTo>
                    <a:pt x="373267" y="449783"/>
                  </a:lnTo>
                  <a:lnTo>
                    <a:pt x="374662" y="450479"/>
                  </a:lnTo>
                  <a:lnTo>
                    <a:pt x="375957" y="451275"/>
                  </a:lnTo>
                  <a:lnTo>
                    <a:pt x="377751" y="453961"/>
                  </a:lnTo>
                  <a:lnTo>
                    <a:pt x="377751" y="456846"/>
                  </a:lnTo>
                  <a:lnTo>
                    <a:pt x="377751" y="460129"/>
                  </a:lnTo>
                  <a:lnTo>
                    <a:pt x="377751" y="464308"/>
                  </a:lnTo>
                  <a:lnTo>
                    <a:pt x="376655" y="462119"/>
                  </a:lnTo>
                  <a:lnTo>
                    <a:pt x="374263" y="456050"/>
                  </a:lnTo>
                  <a:lnTo>
                    <a:pt x="372868" y="454061"/>
                  </a:lnTo>
                  <a:lnTo>
                    <a:pt x="368683" y="451175"/>
                  </a:lnTo>
                  <a:lnTo>
                    <a:pt x="366989" y="449982"/>
                  </a:lnTo>
                  <a:lnTo>
                    <a:pt x="363801" y="446400"/>
                  </a:lnTo>
                  <a:lnTo>
                    <a:pt x="347459" y="432273"/>
                  </a:lnTo>
                  <a:lnTo>
                    <a:pt x="342576" y="426304"/>
                  </a:lnTo>
                  <a:lnTo>
                    <a:pt x="343772" y="422424"/>
                  </a:lnTo>
                  <a:lnTo>
                    <a:pt x="343075" y="419240"/>
                  </a:lnTo>
                  <a:lnTo>
                    <a:pt x="341181" y="416554"/>
                  </a:lnTo>
                  <a:lnTo>
                    <a:pt x="336099" y="411381"/>
                  </a:lnTo>
                  <a:lnTo>
                    <a:pt x="333309" y="409888"/>
                  </a:lnTo>
                  <a:lnTo>
                    <a:pt x="330320" y="409291"/>
                  </a:lnTo>
                  <a:lnTo>
                    <a:pt x="323744" y="409291"/>
                  </a:lnTo>
                  <a:lnTo>
                    <a:pt x="316968" y="407998"/>
                  </a:lnTo>
                  <a:lnTo>
                    <a:pt x="313879" y="407998"/>
                  </a:lnTo>
                  <a:lnTo>
                    <a:pt x="312185" y="409291"/>
                  </a:lnTo>
                  <a:lnTo>
                    <a:pt x="304612" y="418245"/>
                  </a:lnTo>
                  <a:lnTo>
                    <a:pt x="302320" y="420235"/>
                  </a:lnTo>
                  <a:lnTo>
                    <a:pt x="299829" y="421727"/>
                  </a:lnTo>
                  <a:lnTo>
                    <a:pt x="290562" y="423220"/>
                  </a:lnTo>
                  <a:lnTo>
                    <a:pt x="287473" y="424811"/>
                  </a:lnTo>
                  <a:lnTo>
                    <a:pt x="286178" y="427696"/>
                  </a:lnTo>
                  <a:lnTo>
                    <a:pt x="285381" y="428890"/>
                  </a:lnTo>
                  <a:lnTo>
                    <a:pt x="283388" y="429885"/>
                  </a:lnTo>
                  <a:lnTo>
                    <a:pt x="280100" y="430681"/>
                  </a:lnTo>
                  <a:lnTo>
                    <a:pt x="279003" y="431278"/>
                  </a:lnTo>
                  <a:lnTo>
                    <a:pt x="279003" y="432969"/>
                  </a:lnTo>
                  <a:lnTo>
                    <a:pt x="279601" y="434561"/>
                  </a:lnTo>
                  <a:lnTo>
                    <a:pt x="280299" y="435258"/>
                  </a:lnTo>
                  <a:lnTo>
                    <a:pt x="280797" y="436650"/>
                  </a:lnTo>
                  <a:lnTo>
                    <a:pt x="285082" y="444808"/>
                  </a:lnTo>
                  <a:lnTo>
                    <a:pt x="281893" y="447494"/>
                  </a:lnTo>
                  <a:lnTo>
                    <a:pt x="277509" y="448489"/>
                  </a:lnTo>
                  <a:lnTo>
                    <a:pt x="266149" y="448489"/>
                  </a:lnTo>
                  <a:lnTo>
                    <a:pt x="264754" y="449285"/>
                  </a:lnTo>
                  <a:lnTo>
                    <a:pt x="260968" y="454061"/>
                  </a:lnTo>
                  <a:lnTo>
                    <a:pt x="256683" y="457841"/>
                  </a:lnTo>
                  <a:lnTo>
                    <a:pt x="262761" y="446500"/>
                  </a:lnTo>
                  <a:lnTo>
                    <a:pt x="264057" y="445405"/>
                  </a:lnTo>
                  <a:lnTo>
                    <a:pt x="271530" y="446102"/>
                  </a:lnTo>
                  <a:lnTo>
                    <a:pt x="273822" y="446102"/>
                  </a:lnTo>
                  <a:lnTo>
                    <a:pt x="275516" y="444709"/>
                  </a:lnTo>
                  <a:lnTo>
                    <a:pt x="276512" y="441525"/>
                  </a:lnTo>
                  <a:lnTo>
                    <a:pt x="276512" y="438640"/>
                  </a:lnTo>
                  <a:lnTo>
                    <a:pt x="275317" y="437048"/>
                  </a:lnTo>
                  <a:lnTo>
                    <a:pt x="273224" y="436451"/>
                  </a:lnTo>
                  <a:lnTo>
                    <a:pt x="270534" y="436451"/>
                  </a:lnTo>
                  <a:lnTo>
                    <a:pt x="266448" y="437944"/>
                  </a:lnTo>
                  <a:lnTo>
                    <a:pt x="261964" y="440630"/>
                  </a:lnTo>
                  <a:lnTo>
                    <a:pt x="257879" y="444112"/>
                  </a:lnTo>
                  <a:lnTo>
                    <a:pt x="254890" y="448290"/>
                  </a:lnTo>
                  <a:lnTo>
                    <a:pt x="253694" y="452867"/>
                  </a:lnTo>
                  <a:lnTo>
                    <a:pt x="252299" y="464208"/>
                  </a:lnTo>
                  <a:lnTo>
                    <a:pt x="250406" y="468486"/>
                  </a:lnTo>
                  <a:lnTo>
                    <a:pt x="251402" y="469780"/>
                  </a:lnTo>
                  <a:lnTo>
                    <a:pt x="249011" y="471371"/>
                  </a:lnTo>
                  <a:lnTo>
                    <a:pt x="245523" y="471371"/>
                  </a:lnTo>
                  <a:lnTo>
                    <a:pt x="239146" y="471073"/>
                  </a:lnTo>
                  <a:lnTo>
                    <a:pt x="236954" y="471769"/>
                  </a:lnTo>
                  <a:lnTo>
                    <a:pt x="232569" y="475152"/>
                  </a:lnTo>
                  <a:lnTo>
                    <a:pt x="228384" y="476843"/>
                  </a:lnTo>
                  <a:lnTo>
                    <a:pt x="227089" y="479131"/>
                  </a:lnTo>
                  <a:lnTo>
                    <a:pt x="226192" y="482216"/>
                  </a:lnTo>
                  <a:lnTo>
                    <a:pt x="225694" y="485399"/>
                  </a:lnTo>
                  <a:lnTo>
                    <a:pt x="224797" y="485399"/>
                  </a:lnTo>
                  <a:lnTo>
                    <a:pt x="224199" y="485399"/>
                  </a:lnTo>
                  <a:lnTo>
                    <a:pt x="224199" y="486295"/>
                  </a:lnTo>
                  <a:lnTo>
                    <a:pt x="224199" y="486991"/>
                  </a:lnTo>
                  <a:lnTo>
                    <a:pt x="224797" y="488981"/>
                  </a:lnTo>
                  <a:lnTo>
                    <a:pt x="224797" y="488981"/>
                  </a:lnTo>
                  <a:lnTo>
                    <a:pt x="223203" y="492761"/>
                  </a:lnTo>
                  <a:lnTo>
                    <a:pt x="223203" y="493657"/>
                  </a:lnTo>
                  <a:lnTo>
                    <a:pt x="223203" y="495547"/>
                  </a:lnTo>
                  <a:lnTo>
                    <a:pt x="224398" y="497835"/>
                  </a:lnTo>
                  <a:lnTo>
                    <a:pt x="224398" y="499029"/>
                  </a:lnTo>
                  <a:lnTo>
                    <a:pt x="224398" y="503705"/>
                  </a:lnTo>
                  <a:lnTo>
                    <a:pt x="224398" y="504998"/>
                  </a:lnTo>
                  <a:lnTo>
                    <a:pt x="225196" y="506093"/>
                  </a:lnTo>
                  <a:lnTo>
                    <a:pt x="225694" y="507286"/>
                  </a:lnTo>
                  <a:lnTo>
                    <a:pt x="225694" y="508480"/>
                  </a:lnTo>
                  <a:lnTo>
                    <a:pt x="224897" y="509873"/>
                  </a:lnTo>
                  <a:lnTo>
                    <a:pt x="224897" y="511166"/>
                  </a:lnTo>
                  <a:lnTo>
                    <a:pt x="224897" y="514350"/>
                  </a:lnTo>
                  <a:lnTo>
                    <a:pt x="225395" y="518330"/>
                  </a:lnTo>
                  <a:lnTo>
                    <a:pt x="226591" y="519921"/>
                  </a:lnTo>
                  <a:lnTo>
                    <a:pt x="228285" y="520916"/>
                  </a:lnTo>
                  <a:lnTo>
                    <a:pt x="229979" y="523204"/>
                  </a:lnTo>
                  <a:lnTo>
                    <a:pt x="230477" y="526388"/>
                  </a:lnTo>
                  <a:lnTo>
                    <a:pt x="230477" y="530765"/>
                  </a:lnTo>
                  <a:lnTo>
                    <a:pt x="231374" y="532556"/>
                  </a:lnTo>
                  <a:lnTo>
                    <a:pt x="234363" y="531561"/>
                  </a:lnTo>
                  <a:lnTo>
                    <a:pt x="234363" y="534148"/>
                  </a:lnTo>
                  <a:lnTo>
                    <a:pt x="234861" y="536138"/>
                  </a:lnTo>
                  <a:lnTo>
                    <a:pt x="235459" y="537929"/>
                  </a:lnTo>
                  <a:lnTo>
                    <a:pt x="235957" y="539918"/>
                  </a:lnTo>
                  <a:lnTo>
                    <a:pt x="235957" y="541112"/>
                  </a:lnTo>
                  <a:lnTo>
                    <a:pt x="235160" y="542008"/>
                  </a:lnTo>
                  <a:lnTo>
                    <a:pt x="234662" y="543002"/>
                  </a:lnTo>
                  <a:lnTo>
                    <a:pt x="235459" y="544594"/>
                  </a:lnTo>
                  <a:lnTo>
                    <a:pt x="236057" y="544594"/>
                  </a:lnTo>
                  <a:lnTo>
                    <a:pt x="245324" y="543002"/>
                  </a:lnTo>
                  <a:lnTo>
                    <a:pt x="247616" y="543002"/>
                  </a:lnTo>
                  <a:lnTo>
                    <a:pt x="249409" y="543898"/>
                  </a:lnTo>
                  <a:lnTo>
                    <a:pt x="251502" y="545888"/>
                  </a:lnTo>
                  <a:lnTo>
                    <a:pt x="252797" y="546484"/>
                  </a:lnTo>
                  <a:lnTo>
                    <a:pt x="252797" y="547579"/>
                  </a:lnTo>
                  <a:lnTo>
                    <a:pt x="249110" y="548673"/>
                  </a:lnTo>
                  <a:lnTo>
                    <a:pt x="240939" y="548673"/>
                  </a:lnTo>
                  <a:lnTo>
                    <a:pt x="239146" y="550663"/>
                  </a:lnTo>
                  <a:lnTo>
                    <a:pt x="239744" y="551658"/>
                  </a:lnTo>
                  <a:lnTo>
                    <a:pt x="243430" y="556533"/>
                  </a:lnTo>
                  <a:lnTo>
                    <a:pt x="245224" y="556533"/>
                  </a:lnTo>
                  <a:lnTo>
                    <a:pt x="251203" y="556533"/>
                  </a:lnTo>
                  <a:lnTo>
                    <a:pt x="254192" y="555637"/>
                  </a:lnTo>
                  <a:lnTo>
                    <a:pt x="256783" y="553349"/>
                  </a:lnTo>
                  <a:lnTo>
                    <a:pt x="263260" y="544793"/>
                  </a:lnTo>
                  <a:lnTo>
                    <a:pt x="263858" y="542107"/>
                  </a:lnTo>
                  <a:lnTo>
                    <a:pt x="263060" y="539620"/>
                  </a:lnTo>
                  <a:lnTo>
                    <a:pt x="260868" y="537730"/>
                  </a:lnTo>
                  <a:lnTo>
                    <a:pt x="260868" y="536436"/>
                  </a:lnTo>
                  <a:lnTo>
                    <a:pt x="262861" y="534347"/>
                  </a:lnTo>
                  <a:lnTo>
                    <a:pt x="264854" y="529174"/>
                  </a:lnTo>
                  <a:lnTo>
                    <a:pt x="266548" y="526487"/>
                  </a:lnTo>
                  <a:lnTo>
                    <a:pt x="275018" y="523503"/>
                  </a:lnTo>
                  <a:lnTo>
                    <a:pt x="276413" y="521613"/>
                  </a:lnTo>
                  <a:lnTo>
                    <a:pt x="275317" y="519424"/>
                  </a:lnTo>
                  <a:lnTo>
                    <a:pt x="272427" y="519424"/>
                  </a:lnTo>
                  <a:lnTo>
                    <a:pt x="266050" y="520220"/>
                  </a:lnTo>
                  <a:lnTo>
                    <a:pt x="262961" y="519523"/>
                  </a:lnTo>
                  <a:lnTo>
                    <a:pt x="256982" y="517335"/>
                  </a:lnTo>
                  <a:lnTo>
                    <a:pt x="253893" y="516738"/>
                  </a:lnTo>
                  <a:lnTo>
                    <a:pt x="253893" y="515444"/>
                  </a:lnTo>
                  <a:lnTo>
                    <a:pt x="257580" y="514052"/>
                  </a:lnTo>
                  <a:lnTo>
                    <a:pt x="261765" y="513355"/>
                  </a:lnTo>
                  <a:lnTo>
                    <a:pt x="265950" y="513355"/>
                  </a:lnTo>
                  <a:lnTo>
                    <a:pt x="269537" y="514648"/>
                  </a:lnTo>
                  <a:lnTo>
                    <a:pt x="273224" y="515444"/>
                  </a:lnTo>
                  <a:lnTo>
                    <a:pt x="275317" y="512858"/>
                  </a:lnTo>
                  <a:lnTo>
                    <a:pt x="277409" y="504600"/>
                  </a:lnTo>
                  <a:lnTo>
                    <a:pt x="278206" y="502412"/>
                  </a:lnTo>
                  <a:lnTo>
                    <a:pt x="278804" y="501914"/>
                  </a:lnTo>
                  <a:lnTo>
                    <a:pt x="279701" y="501914"/>
                  </a:lnTo>
                  <a:lnTo>
                    <a:pt x="284982" y="501914"/>
                  </a:lnTo>
                  <a:lnTo>
                    <a:pt x="285779" y="500919"/>
                  </a:lnTo>
                  <a:lnTo>
                    <a:pt x="285779" y="498233"/>
                  </a:lnTo>
                  <a:lnTo>
                    <a:pt x="286377" y="495248"/>
                  </a:lnTo>
                  <a:lnTo>
                    <a:pt x="287772" y="491567"/>
                  </a:lnTo>
                  <a:lnTo>
                    <a:pt x="289466" y="488185"/>
                  </a:lnTo>
                  <a:lnTo>
                    <a:pt x="291060" y="485897"/>
                  </a:lnTo>
                  <a:lnTo>
                    <a:pt x="292655" y="488185"/>
                  </a:lnTo>
                  <a:lnTo>
                    <a:pt x="289865" y="500919"/>
                  </a:lnTo>
                  <a:lnTo>
                    <a:pt x="288270" y="502909"/>
                  </a:lnTo>
                  <a:lnTo>
                    <a:pt x="286776" y="502909"/>
                  </a:lnTo>
                  <a:lnTo>
                    <a:pt x="282292" y="504302"/>
                  </a:lnTo>
                  <a:lnTo>
                    <a:pt x="280996" y="505098"/>
                  </a:lnTo>
                  <a:lnTo>
                    <a:pt x="280996" y="506690"/>
                  </a:lnTo>
                  <a:lnTo>
                    <a:pt x="280996" y="513455"/>
                  </a:lnTo>
                  <a:lnTo>
                    <a:pt x="281694" y="513455"/>
                  </a:lnTo>
                  <a:lnTo>
                    <a:pt x="281694" y="514350"/>
                  </a:lnTo>
                  <a:lnTo>
                    <a:pt x="281694" y="514947"/>
                  </a:lnTo>
                  <a:lnTo>
                    <a:pt x="280797" y="515842"/>
                  </a:lnTo>
                  <a:lnTo>
                    <a:pt x="280797" y="515842"/>
                  </a:lnTo>
                  <a:lnTo>
                    <a:pt x="280797" y="515842"/>
                  </a:lnTo>
                  <a:lnTo>
                    <a:pt x="280797" y="516439"/>
                  </a:lnTo>
                  <a:lnTo>
                    <a:pt x="280000" y="516439"/>
                  </a:lnTo>
                  <a:lnTo>
                    <a:pt x="282989" y="518926"/>
                  </a:lnTo>
                  <a:lnTo>
                    <a:pt x="287672" y="518926"/>
                  </a:lnTo>
                  <a:lnTo>
                    <a:pt x="291658" y="516439"/>
                  </a:lnTo>
                  <a:lnTo>
                    <a:pt x="292256" y="512062"/>
                  </a:lnTo>
                  <a:lnTo>
                    <a:pt x="294946" y="512062"/>
                  </a:lnTo>
                  <a:lnTo>
                    <a:pt x="300527" y="515544"/>
                  </a:lnTo>
                  <a:lnTo>
                    <a:pt x="303815" y="516340"/>
                  </a:lnTo>
                  <a:lnTo>
                    <a:pt x="324441" y="513256"/>
                  </a:lnTo>
                  <a:lnTo>
                    <a:pt x="374263" y="519921"/>
                  </a:lnTo>
                  <a:lnTo>
                    <a:pt x="376954" y="515245"/>
                  </a:lnTo>
                  <a:lnTo>
                    <a:pt x="378448" y="514151"/>
                  </a:lnTo>
                  <a:lnTo>
                    <a:pt x="379744" y="514151"/>
                  </a:lnTo>
                  <a:lnTo>
                    <a:pt x="380740" y="513256"/>
                  </a:lnTo>
                  <a:lnTo>
                    <a:pt x="380740" y="510967"/>
                  </a:lnTo>
                  <a:lnTo>
                    <a:pt x="380142" y="508381"/>
                  </a:lnTo>
                  <a:lnTo>
                    <a:pt x="378648" y="506491"/>
                  </a:lnTo>
                  <a:lnTo>
                    <a:pt x="377850" y="503605"/>
                  </a:lnTo>
                  <a:lnTo>
                    <a:pt x="378946" y="499825"/>
                  </a:lnTo>
                  <a:lnTo>
                    <a:pt x="378946" y="499228"/>
                  </a:lnTo>
                  <a:lnTo>
                    <a:pt x="378946" y="498631"/>
                  </a:lnTo>
                  <a:lnTo>
                    <a:pt x="378946" y="497338"/>
                  </a:lnTo>
                  <a:lnTo>
                    <a:pt x="380043" y="498929"/>
                  </a:lnTo>
                  <a:lnTo>
                    <a:pt x="381438" y="500621"/>
                  </a:lnTo>
                  <a:lnTo>
                    <a:pt x="382534" y="502412"/>
                  </a:lnTo>
                  <a:lnTo>
                    <a:pt x="382534" y="504401"/>
                  </a:lnTo>
                  <a:lnTo>
                    <a:pt x="386818" y="512659"/>
                  </a:lnTo>
                  <a:lnTo>
                    <a:pt x="385822" y="513753"/>
                  </a:lnTo>
                  <a:lnTo>
                    <a:pt x="385224" y="515444"/>
                  </a:lnTo>
                  <a:lnTo>
                    <a:pt x="385224" y="517335"/>
                  </a:lnTo>
                  <a:lnTo>
                    <a:pt x="384726" y="518727"/>
                  </a:lnTo>
                  <a:lnTo>
                    <a:pt x="383929" y="518727"/>
                  </a:lnTo>
                  <a:lnTo>
                    <a:pt x="381637" y="518727"/>
                  </a:lnTo>
                  <a:lnTo>
                    <a:pt x="381637" y="519424"/>
                  </a:lnTo>
                  <a:lnTo>
                    <a:pt x="381637" y="522011"/>
                  </a:lnTo>
                  <a:lnTo>
                    <a:pt x="381637" y="522806"/>
                  </a:lnTo>
                  <a:lnTo>
                    <a:pt x="378847" y="524498"/>
                  </a:lnTo>
                  <a:lnTo>
                    <a:pt x="374761" y="524498"/>
                  </a:lnTo>
                  <a:lnTo>
                    <a:pt x="330320" y="520817"/>
                  </a:lnTo>
                  <a:lnTo>
                    <a:pt x="295744" y="523105"/>
                  </a:lnTo>
                  <a:lnTo>
                    <a:pt x="276512" y="527781"/>
                  </a:lnTo>
                  <a:lnTo>
                    <a:pt x="273423" y="529174"/>
                  </a:lnTo>
                  <a:lnTo>
                    <a:pt x="270932" y="531462"/>
                  </a:lnTo>
                  <a:lnTo>
                    <a:pt x="269737" y="534546"/>
                  </a:lnTo>
                  <a:lnTo>
                    <a:pt x="269737" y="537929"/>
                  </a:lnTo>
                  <a:lnTo>
                    <a:pt x="270334" y="541411"/>
                  </a:lnTo>
                  <a:lnTo>
                    <a:pt x="270334" y="544992"/>
                  </a:lnTo>
                  <a:lnTo>
                    <a:pt x="269537" y="547181"/>
                  </a:lnTo>
                  <a:lnTo>
                    <a:pt x="268242" y="548275"/>
                  </a:lnTo>
                  <a:lnTo>
                    <a:pt x="266847" y="549071"/>
                  </a:lnTo>
                  <a:lnTo>
                    <a:pt x="265551" y="550364"/>
                  </a:lnTo>
                  <a:lnTo>
                    <a:pt x="265551" y="551757"/>
                  </a:lnTo>
                  <a:lnTo>
                    <a:pt x="265551" y="553548"/>
                  </a:lnTo>
                  <a:lnTo>
                    <a:pt x="265551" y="554941"/>
                  </a:lnTo>
                  <a:lnTo>
                    <a:pt x="264555" y="555538"/>
                  </a:lnTo>
                  <a:lnTo>
                    <a:pt x="261366" y="555538"/>
                  </a:lnTo>
                  <a:lnTo>
                    <a:pt x="258875" y="556931"/>
                  </a:lnTo>
                  <a:lnTo>
                    <a:pt x="256783" y="559219"/>
                  </a:lnTo>
                  <a:lnTo>
                    <a:pt x="251302" y="566979"/>
                  </a:lnTo>
                  <a:lnTo>
                    <a:pt x="249310" y="567874"/>
                  </a:lnTo>
                  <a:lnTo>
                    <a:pt x="245822" y="567874"/>
                  </a:lnTo>
                  <a:lnTo>
                    <a:pt x="243132" y="568471"/>
                  </a:lnTo>
                  <a:lnTo>
                    <a:pt x="239744" y="570063"/>
                  </a:lnTo>
                  <a:lnTo>
                    <a:pt x="236854" y="572351"/>
                  </a:lnTo>
                  <a:lnTo>
                    <a:pt x="235459" y="574938"/>
                  </a:lnTo>
                  <a:lnTo>
                    <a:pt x="236655" y="578221"/>
                  </a:lnTo>
                  <a:lnTo>
                    <a:pt x="240242" y="579713"/>
                  </a:lnTo>
                  <a:lnTo>
                    <a:pt x="244028" y="579713"/>
                  </a:lnTo>
                  <a:lnTo>
                    <a:pt x="246320" y="578917"/>
                  </a:lnTo>
                  <a:lnTo>
                    <a:pt x="249210" y="577226"/>
                  </a:lnTo>
                  <a:lnTo>
                    <a:pt x="253295" y="577226"/>
                  </a:lnTo>
                  <a:lnTo>
                    <a:pt x="260669" y="578420"/>
                  </a:lnTo>
                  <a:lnTo>
                    <a:pt x="264156" y="577724"/>
                  </a:lnTo>
                  <a:lnTo>
                    <a:pt x="270434" y="574341"/>
                  </a:lnTo>
                  <a:lnTo>
                    <a:pt x="274121" y="573645"/>
                  </a:lnTo>
                  <a:lnTo>
                    <a:pt x="276612" y="574341"/>
                  </a:lnTo>
                  <a:lnTo>
                    <a:pt x="275715" y="576132"/>
                  </a:lnTo>
                  <a:lnTo>
                    <a:pt x="272925" y="578121"/>
                  </a:lnTo>
                  <a:lnTo>
                    <a:pt x="270235" y="579614"/>
                  </a:lnTo>
                  <a:lnTo>
                    <a:pt x="270235" y="580708"/>
                  </a:lnTo>
                  <a:lnTo>
                    <a:pt x="300128" y="583096"/>
                  </a:lnTo>
                  <a:lnTo>
                    <a:pt x="303416" y="582001"/>
                  </a:lnTo>
                  <a:lnTo>
                    <a:pt x="310391" y="578121"/>
                  </a:lnTo>
                  <a:lnTo>
                    <a:pt x="313480" y="577226"/>
                  </a:lnTo>
                  <a:lnTo>
                    <a:pt x="314875" y="575833"/>
                  </a:lnTo>
                  <a:lnTo>
                    <a:pt x="318961" y="568969"/>
                  </a:lnTo>
                  <a:lnTo>
                    <a:pt x="320954" y="566581"/>
                  </a:lnTo>
                  <a:lnTo>
                    <a:pt x="320954" y="569367"/>
                  </a:lnTo>
                  <a:lnTo>
                    <a:pt x="320954" y="573147"/>
                  </a:lnTo>
                  <a:lnTo>
                    <a:pt x="319857" y="576828"/>
                  </a:lnTo>
                  <a:lnTo>
                    <a:pt x="318363" y="579614"/>
                  </a:lnTo>
                  <a:lnTo>
                    <a:pt x="317466" y="580211"/>
                  </a:lnTo>
                  <a:lnTo>
                    <a:pt x="313181" y="581902"/>
                  </a:lnTo>
                  <a:lnTo>
                    <a:pt x="307900" y="585384"/>
                  </a:lnTo>
                  <a:lnTo>
                    <a:pt x="287971" y="587772"/>
                  </a:lnTo>
                  <a:lnTo>
                    <a:pt x="286776" y="587274"/>
                  </a:lnTo>
                  <a:lnTo>
                    <a:pt x="284484" y="585683"/>
                  </a:lnTo>
                  <a:lnTo>
                    <a:pt x="283188" y="585683"/>
                  </a:lnTo>
                  <a:lnTo>
                    <a:pt x="263260" y="583693"/>
                  </a:lnTo>
                  <a:lnTo>
                    <a:pt x="258676" y="586279"/>
                  </a:lnTo>
                  <a:lnTo>
                    <a:pt x="256285" y="588070"/>
                  </a:lnTo>
                  <a:lnTo>
                    <a:pt x="242334" y="591055"/>
                  </a:lnTo>
                  <a:lnTo>
                    <a:pt x="240142" y="592448"/>
                  </a:lnTo>
                  <a:lnTo>
                    <a:pt x="238050" y="594039"/>
                  </a:lnTo>
                  <a:lnTo>
                    <a:pt x="235658" y="595233"/>
                  </a:lnTo>
                  <a:lnTo>
                    <a:pt x="235658" y="597522"/>
                  </a:lnTo>
                  <a:lnTo>
                    <a:pt x="235060" y="599412"/>
                  </a:lnTo>
                  <a:lnTo>
                    <a:pt x="235060" y="601302"/>
                  </a:lnTo>
                  <a:lnTo>
                    <a:pt x="236455" y="603391"/>
                  </a:lnTo>
                  <a:lnTo>
                    <a:pt x="237253" y="606575"/>
                  </a:lnTo>
                  <a:lnTo>
                    <a:pt x="248313" y="613141"/>
                  </a:lnTo>
                  <a:lnTo>
                    <a:pt x="248313" y="616424"/>
                  </a:lnTo>
                  <a:lnTo>
                    <a:pt x="251402" y="618613"/>
                  </a:lnTo>
                  <a:lnTo>
                    <a:pt x="254890" y="618613"/>
                  </a:lnTo>
                  <a:lnTo>
                    <a:pt x="264854" y="616623"/>
                  </a:lnTo>
                  <a:lnTo>
                    <a:pt x="268142" y="615230"/>
                  </a:lnTo>
                  <a:lnTo>
                    <a:pt x="271231" y="614633"/>
                  </a:lnTo>
                  <a:lnTo>
                    <a:pt x="273922" y="616325"/>
                  </a:lnTo>
                  <a:lnTo>
                    <a:pt x="273922" y="617419"/>
                  </a:lnTo>
                  <a:lnTo>
                    <a:pt x="271530" y="618812"/>
                  </a:lnTo>
                  <a:lnTo>
                    <a:pt x="270235" y="622990"/>
                  </a:lnTo>
                  <a:lnTo>
                    <a:pt x="269139" y="628064"/>
                  </a:lnTo>
                  <a:lnTo>
                    <a:pt x="267445" y="632044"/>
                  </a:lnTo>
                  <a:lnTo>
                    <a:pt x="267445" y="634531"/>
                  </a:lnTo>
                  <a:lnTo>
                    <a:pt x="270534" y="636720"/>
                  </a:lnTo>
                  <a:lnTo>
                    <a:pt x="274719" y="637913"/>
                  </a:lnTo>
                  <a:lnTo>
                    <a:pt x="278107" y="637416"/>
                  </a:lnTo>
                  <a:lnTo>
                    <a:pt x="277210" y="637416"/>
                  </a:lnTo>
                  <a:lnTo>
                    <a:pt x="278505" y="637416"/>
                  </a:lnTo>
                  <a:lnTo>
                    <a:pt x="279801" y="637416"/>
                  </a:lnTo>
                  <a:lnTo>
                    <a:pt x="280996" y="638013"/>
                  </a:lnTo>
                  <a:lnTo>
                    <a:pt x="281993" y="639207"/>
                  </a:lnTo>
                  <a:lnTo>
                    <a:pt x="281993" y="640202"/>
                  </a:lnTo>
                  <a:lnTo>
                    <a:pt x="280797" y="641396"/>
                  </a:lnTo>
                  <a:lnTo>
                    <a:pt x="278206" y="643087"/>
                  </a:lnTo>
                  <a:lnTo>
                    <a:pt x="280398" y="644878"/>
                  </a:lnTo>
                  <a:lnTo>
                    <a:pt x="293053" y="649553"/>
                  </a:lnTo>
                  <a:lnTo>
                    <a:pt x="295445" y="650051"/>
                  </a:lnTo>
                  <a:lnTo>
                    <a:pt x="298633" y="650051"/>
                  </a:lnTo>
                  <a:lnTo>
                    <a:pt x="299530" y="650051"/>
                  </a:lnTo>
                  <a:lnTo>
                    <a:pt x="301423" y="649156"/>
                  </a:lnTo>
                  <a:lnTo>
                    <a:pt x="302420" y="649156"/>
                  </a:lnTo>
                  <a:lnTo>
                    <a:pt x="303317" y="652538"/>
                  </a:lnTo>
                  <a:lnTo>
                    <a:pt x="306406" y="655423"/>
                  </a:lnTo>
                  <a:lnTo>
                    <a:pt x="307701" y="656120"/>
                  </a:lnTo>
                  <a:lnTo>
                    <a:pt x="318263" y="658010"/>
                  </a:lnTo>
                  <a:lnTo>
                    <a:pt x="326235" y="664079"/>
                  </a:lnTo>
                  <a:lnTo>
                    <a:pt x="326833" y="664079"/>
                  </a:lnTo>
                  <a:lnTo>
                    <a:pt x="328825" y="664079"/>
                  </a:lnTo>
                  <a:lnTo>
                    <a:pt x="330320" y="663283"/>
                  </a:lnTo>
                  <a:lnTo>
                    <a:pt x="332512" y="663283"/>
                  </a:lnTo>
                  <a:lnTo>
                    <a:pt x="336000" y="663283"/>
                  </a:lnTo>
                  <a:lnTo>
                    <a:pt x="340783" y="658607"/>
                  </a:lnTo>
                  <a:lnTo>
                    <a:pt x="343473" y="657413"/>
                  </a:lnTo>
                  <a:lnTo>
                    <a:pt x="345267" y="657413"/>
                  </a:lnTo>
                  <a:lnTo>
                    <a:pt x="345267" y="656617"/>
                  </a:lnTo>
                  <a:lnTo>
                    <a:pt x="343573" y="655821"/>
                  </a:lnTo>
                  <a:lnTo>
                    <a:pt x="341779" y="655821"/>
                  </a:lnTo>
                  <a:lnTo>
                    <a:pt x="334804" y="655821"/>
                  </a:lnTo>
                  <a:lnTo>
                    <a:pt x="331516" y="655125"/>
                  </a:lnTo>
                  <a:lnTo>
                    <a:pt x="325139" y="652836"/>
                  </a:lnTo>
                  <a:lnTo>
                    <a:pt x="319459" y="651842"/>
                  </a:lnTo>
                  <a:lnTo>
                    <a:pt x="315971" y="650150"/>
                  </a:lnTo>
                  <a:lnTo>
                    <a:pt x="313779" y="648360"/>
                  </a:lnTo>
                  <a:lnTo>
                    <a:pt x="314776" y="646071"/>
                  </a:lnTo>
                  <a:lnTo>
                    <a:pt x="316569" y="647166"/>
                  </a:lnTo>
                  <a:lnTo>
                    <a:pt x="318562" y="647166"/>
                  </a:lnTo>
                  <a:lnTo>
                    <a:pt x="321751" y="647166"/>
                  </a:lnTo>
                  <a:lnTo>
                    <a:pt x="325637" y="647962"/>
                  </a:lnTo>
                  <a:lnTo>
                    <a:pt x="327630" y="648758"/>
                  </a:lnTo>
                  <a:lnTo>
                    <a:pt x="328825" y="650150"/>
                  </a:lnTo>
                  <a:lnTo>
                    <a:pt x="331914" y="651643"/>
                  </a:lnTo>
                  <a:lnTo>
                    <a:pt x="348754" y="651643"/>
                  </a:lnTo>
                  <a:lnTo>
                    <a:pt x="349651" y="650747"/>
                  </a:lnTo>
                  <a:lnTo>
                    <a:pt x="349651" y="649354"/>
                  </a:lnTo>
                  <a:lnTo>
                    <a:pt x="351046" y="647464"/>
                  </a:lnTo>
                  <a:lnTo>
                    <a:pt x="352142" y="646270"/>
                  </a:lnTo>
                  <a:lnTo>
                    <a:pt x="353537" y="645474"/>
                  </a:lnTo>
                  <a:lnTo>
                    <a:pt x="355132" y="645474"/>
                  </a:lnTo>
                  <a:lnTo>
                    <a:pt x="356726" y="646768"/>
                  </a:lnTo>
                  <a:lnTo>
                    <a:pt x="359018" y="649752"/>
                  </a:lnTo>
                  <a:lnTo>
                    <a:pt x="360413" y="650548"/>
                  </a:lnTo>
                  <a:lnTo>
                    <a:pt x="364797" y="651145"/>
                  </a:lnTo>
                  <a:lnTo>
                    <a:pt x="366391" y="652140"/>
                  </a:lnTo>
                  <a:lnTo>
                    <a:pt x="367487" y="653334"/>
                  </a:lnTo>
                  <a:lnTo>
                    <a:pt x="367487" y="654428"/>
                  </a:lnTo>
                  <a:lnTo>
                    <a:pt x="370875" y="655921"/>
                  </a:lnTo>
                  <a:lnTo>
                    <a:pt x="373964" y="656717"/>
                  </a:lnTo>
                  <a:lnTo>
                    <a:pt x="376655" y="656717"/>
                  </a:lnTo>
                  <a:lnTo>
                    <a:pt x="389210" y="651842"/>
                  </a:lnTo>
                  <a:lnTo>
                    <a:pt x="390904" y="650349"/>
                  </a:lnTo>
                  <a:lnTo>
                    <a:pt x="392099" y="647564"/>
                  </a:lnTo>
                  <a:lnTo>
                    <a:pt x="394292" y="645773"/>
                  </a:lnTo>
                  <a:lnTo>
                    <a:pt x="395388" y="643385"/>
                  </a:lnTo>
                  <a:lnTo>
                    <a:pt x="392996" y="638610"/>
                  </a:lnTo>
                  <a:lnTo>
                    <a:pt x="392199" y="635028"/>
                  </a:lnTo>
                  <a:lnTo>
                    <a:pt x="393096" y="630452"/>
                  </a:lnTo>
                  <a:lnTo>
                    <a:pt x="396085" y="622791"/>
                  </a:lnTo>
                  <a:lnTo>
                    <a:pt x="396882" y="622791"/>
                  </a:lnTo>
                  <a:lnTo>
                    <a:pt x="396882" y="625179"/>
                  </a:lnTo>
                  <a:lnTo>
                    <a:pt x="398078" y="633834"/>
                  </a:lnTo>
                  <a:lnTo>
                    <a:pt x="400868" y="641893"/>
                  </a:lnTo>
                  <a:lnTo>
                    <a:pt x="403857" y="644082"/>
                  </a:lnTo>
                  <a:lnTo>
                    <a:pt x="410733" y="646270"/>
                  </a:lnTo>
                  <a:lnTo>
                    <a:pt x="431359" y="648161"/>
                  </a:lnTo>
                  <a:lnTo>
                    <a:pt x="433452" y="647564"/>
                  </a:lnTo>
                  <a:lnTo>
                    <a:pt x="437836" y="644480"/>
                  </a:lnTo>
                  <a:lnTo>
                    <a:pt x="439530" y="643783"/>
                  </a:lnTo>
                  <a:lnTo>
                    <a:pt x="440228" y="646270"/>
                  </a:lnTo>
                  <a:lnTo>
                    <a:pt x="438833" y="649056"/>
                  </a:lnTo>
                  <a:lnTo>
                    <a:pt x="436341" y="651245"/>
                  </a:lnTo>
                  <a:lnTo>
                    <a:pt x="433850" y="652041"/>
                  </a:lnTo>
                  <a:lnTo>
                    <a:pt x="422192" y="650150"/>
                  </a:lnTo>
                  <a:lnTo>
                    <a:pt x="416811" y="651842"/>
                  </a:lnTo>
                  <a:lnTo>
                    <a:pt x="403359" y="650150"/>
                  </a:lnTo>
                  <a:lnTo>
                    <a:pt x="401665" y="650150"/>
                  </a:lnTo>
                  <a:lnTo>
                    <a:pt x="400470" y="649255"/>
                  </a:lnTo>
                  <a:lnTo>
                    <a:pt x="399274" y="649255"/>
                  </a:lnTo>
                  <a:lnTo>
                    <a:pt x="392897" y="655025"/>
                  </a:lnTo>
                  <a:lnTo>
                    <a:pt x="391302" y="656916"/>
                  </a:lnTo>
                  <a:lnTo>
                    <a:pt x="391900" y="658408"/>
                  </a:lnTo>
                  <a:lnTo>
                    <a:pt x="391900" y="660994"/>
                  </a:lnTo>
                  <a:lnTo>
                    <a:pt x="391900" y="662686"/>
                  </a:lnTo>
                  <a:lnTo>
                    <a:pt x="393096" y="663780"/>
                  </a:lnTo>
                  <a:lnTo>
                    <a:pt x="396285" y="664676"/>
                  </a:lnTo>
                  <a:lnTo>
                    <a:pt x="397680" y="665770"/>
                  </a:lnTo>
                  <a:lnTo>
                    <a:pt x="400569" y="667262"/>
                  </a:lnTo>
                  <a:lnTo>
                    <a:pt x="402263" y="667262"/>
                  </a:lnTo>
                  <a:lnTo>
                    <a:pt x="405452" y="665670"/>
                  </a:lnTo>
                  <a:lnTo>
                    <a:pt x="406448" y="665670"/>
                  </a:lnTo>
                  <a:lnTo>
                    <a:pt x="413224" y="661790"/>
                  </a:lnTo>
                  <a:lnTo>
                    <a:pt x="416213" y="661094"/>
                  </a:lnTo>
                  <a:lnTo>
                    <a:pt x="422790" y="661094"/>
                  </a:lnTo>
                  <a:lnTo>
                    <a:pt x="428171" y="659801"/>
                  </a:lnTo>
                  <a:lnTo>
                    <a:pt x="430163" y="659801"/>
                  </a:lnTo>
                  <a:lnTo>
                    <a:pt x="431957" y="659801"/>
                  </a:lnTo>
                  <a:lnTo>
                    <a:pt x="431957" y="659801"/>
                  </a:lnTo>
                  <a:lnTo>
                    <a:pt x="431957" y="660099"/>
                  </a:lnTo>
                  <a:lnTo>
                    <a:pt x="431957" y="661193"/>
                  </a:lnTo>
                  <a:lnTo>
                    <a:pt x="432655" y="661890"/>
                  </a:lnTo>
                  <a:lnTo>
                    <a:pt x="435046" y="661094"/>
                  </a:lnTo>
                  <a:lnTo>
                    <a:pt x="437238" y="658806"/>
                  </a:lnTo>
                  <a:lnTo>
                    <a:pt x="438833" y="657711"/>
                  </a:lnTo>
                  <a:lnTo>
                    <a:pt x="439530" y="660298"/>
                  </a:lnTo>
                  <a:lnTo>
                    <a:pt x="438733" y="663780"/>
                  </a:lnTo>
                  <a:lnTo>
                    <a:pt x="438434" y="667063"/>
                  </a:lnTo>
                  <a:lnTo>
                    <a:pt x="438434" y="669849"/>
                  </a:lnTo>
                  <a:lnTo>
                    <a:pt x="440726" y="672833"/>
                  </a:lnTo>
                  <a:lnTo>
                    <a:pt x="444114" y="673928"/>
                  </a:lnTo>
                  <a:lnTo>
                    <a:pt x="447203" y="672933"/>
                  </a:lnTo>
                  <a:lnTo>
                    <a:pt x="450192" y="671242"/>
                  </a:lnTo>
                  <a:lnTo>
                    <a:pt x="453281" y="670346"/>
                  </a:lnTo>
                  <a:lnTo>
                    <a:pt x="458363" y="670346"/>
                  </a:lnTo>
                  <a:lnTo>
                    <a:pt x="458363" y="671341"/>
                  </a:lnTo>
                  <a:lnTo>
                    <a:pt x="455373" y="673828"/>
                  </a:lnTo>
                  <a:lnTo>
                    <a:pt x="446405" y="678305"/>
                  </a:lnTo>
                  <a:lnTo>
                    <a:pt x="443615" y="681389"/>
                  </a:lnTo>
                  <a:lnTo>
                    <a:pt x="441124" y="683479"/>
                  </a:lnTo>
                  <a:lnTo>
                    <a:pt x="435744" y="684971"/>
                  </a:lnTo>
                  <a:lnTo>
                    <a:pt x="433651" y="687757"/>
                  </a:lnTo>
                  <a:lnTo>
                    <a:pt x="435445" y="690841"/>
                  </a:lnTo>
                  <a:lnTo>
                    <a:pt x="438733" y="690841"/>
                  </a:lnTo>
                  <a:lnTo>
                    <a:pt x="454875" y="688553"/>
                  </a:lnTo>
                  <a:lnTo>
                    <a:pt x="456470" y="687956"/>
                  </a:lnTo>
                  <a:lnTo>
                    <a:pt x="459857" y="684871"/>
                  </a:lnTo>
                  <a:lnTo>
                    <a:pt x="461352" y="683777"/>
                  </a:lnTo>
                  <a:lnTo>
                    <a:pt x="464242" y="683777"/>
                  </a:lnTo>
                  <a:lnTo>
                    <a:pt x="465637" y="685070"/>
                  </a:lnTo>
                  <a:lnTo>
                    <a:pt x="466633" y="687060"/>
                  </a:lnTo>
                  <a:lnTo>
                    <a:pt x="468327" y="688851"/>
                  </a:lnTo>
                  <a:lnTo>
                    <a:pt x="470021" y="688851"/>
                  </a:lnTo>
                  <a:lnTo>
                    <a:pt x="472313" y="688851"/>
                  </a:lnTo>
                  <a:lnTo>
                    <a:pt x="474405" y="688155"/>
                  </a:lnTo>
                  <a:lnTo>
                    <a:pt x="475302" y="686961"/>
                  </a:lnTo>
                  <a:lnTo>
                    <a:pt x="477594" y="684772"/>
                  </a:lnTo>
                  <a:lnTo>
                    <a:pt x="491843" y="683976"/>
                  </a:lnTo>
                  <a:lnTo>
                    <a:pt x="491843" y="685170"/>
                  </a:lnTo>
                  <a:lnTo>
                    <a:pt x="494833" y="683379"/>
                  </a:lnTo>
                  <a:lnTo>
                    <a:pt x="499217" y="676415"/>
                  </a:lnTo>
                  <a:lnTo>
                    <a:pt x="502206" y="673530"/>
                  </a:lnTo>
                  <a:lnTo>
                    <a:pt x="504299" y="673530"/>
                  </a:lnTo>
                  <a:lnTo>
                    <a:pt x="505893" y="673530"/>
                  </a:lnTo>
                  <a:lnTo>
                    <a:pt x="506989" y="672734"/>
                  </a:lnTo>
                  <a:lnTo>
                    <a:pt x="508185" y="670048"/>
                  </a:lnTo>
                  <a:lnTo>
                    <a:pt x="507388" y="669053"/>
                  </a:lnTo>
                  <a:lnTo>
                    <a:pt x="503302" y="666068"/>
                  </a:lnTo>
                  <a:lnTo>
                    <a:pt x="503302" y="664875"/>
                  </a:lnTo>
                  <a:lnTo>
                    <a:pt x="503302" y="662288"/>
                  </a:lnTo>
                  <a:lnTo>
                    <a:pt x="503302" y="659502"/>
                  </a:lnTo>
                  <a:lnTo>
                    <a:pt x="503302" y="657811"/>
                  </a:lnTo>
                  <a:lnTo>
                    <a:pt x="504598" y="656319"/>
                  </a:lnTo>
                  <a:lnTo>
                    <a:pt x="506491" y="654826"/>
                  </a:lnTo>
                  <a:lnTo>
                    <a:pt x="508484" y="653533"/>
                  </a:lnTo>
                  <a:lnTo>
                    <a:pt x="509879" y="653533"/>
                  </a:lnTo>
                  <a:lnTo>
                    <a:pt x="513566" y="653533"/>
                  </a:lnTo>
                  <a:lnTo>
                    <a:pt x="516455" y="652339"/>
                  </a:lnTo>
                  <a:lnTo>
                    <a:pt x="518747" y="650150"/>
                  </a:lnTo>
                  <a:lnTo>
                    <a:pt x="520740" y="646867"/>
                  </a:lnTo>
                  <a:lnTo>
                    <a:pt x="519644" y="645474"/>
                  </a:lnTo>
                  <a:lnTo>
                    <a:pt x="516754" y="643584"/>
                  </a:lnTo>
                  <a:lnTo>
                    <a:pt x="515459" y="642191"/>
                  </a:lnTo>
                  <a:lnTo>
                    <a:pt x="512071" y="633934"/>
                  </a:lnTo>
                  <a:lnTo>
                    <a:pt x="509480" y="625676"/>
                  </a:lnTo>
                  <a:lnTo>
                    <a:pt x="508882" y="622692"/>
                  </a:lnTo>
                  <a:lnTo>
                    <a:pt x="508882" y="618712"/>
                  </a:lnTo>
                  <a:lnTo>
                    <a:pt x="516356" y="624085"/>
                  </a:lnTo>
                  <a:lnTo>
                    <a:pt x="518249" y="626970"/>
                  </a:lnTo>
                  <a:lnTo>
                    <a:pt x="521338" y="636919"/>
                  </a:lnTo>
                  <a:lnTo>
                    <a:pt x="523131" y="640102"/>
                  </a:lnTo>
                  <a:lnTo>
                    <a:pt x="523929" y="641296"/>
                  </a:lnTo>
                  <a:lnTo>
                    <a:pt x="524726" y="642689"/>
                  </a:lnTo>
                  <a:lnTo>
                    <a:pt x="524726" y="644480"/>
                  </a:lnTo>
                  <a:lnTo>
                    <a:pt x="524726" y="646469"/>
                  </a:lnTo>
                  <a:lnTo>
                    <a:pt x="524128" y="648559"/>
                  </a:lnTo>
                  <a:lnTo>
                    <a:pt x="523231" y="649454"/>
                  </a:lnTo>
                  <a:lnTo>
                    <a:pt x="522235" y="649454"/>
                  </a:lnTo>
                  <a:lnTo>
                    <a:pt x="521238" y="650548"/>
                  </a:lnTo>
                  <a:lnTo>
                    <a:pt x="519843" y="654727"/>
                  </a:lnTo>
                  <a:lnTo>
                    <a:pt x="519245" y="657214"/>
                  </a:lnTo>
                  <a:lnTo>
                    <a:pt x="518050" y="658507"/>
                  </a:lnTo>
                  <a:lnTo>
                    <a:pt x="509480" y="659005"/>
                  </a:lnTo>
                  <a:lnTo>
                    <a:pt x="507188" y="660398"/>
                  </a:lnTo>
                  <a:lnTo>
                    <a:pt x="506491" y="663581"/>
                  </a:lnTo>
                  <a:lnTo>
                    <a:pt x="507886" y="666964"/>
                  </a:lnTo>
                  <a:lnTo>
                    <a:pt x="510377" y="669849"/>
                  </a:lnTo>
                  <a:lnTo>
                    <a:pt x="511971" y="673033"/>
                  </a:lnTo>
                  <a:lnTo>
                    <a:pt x="510377" y="676913"/>
                  </a:lnTo>
                  <a:lnTo>
                    <a:pt x="508882" y="678106"/>
                  </a:lnTo>
                  <a:lnTo>
                    <a:pt x="505494" y="679002"/>
                  </a:lnTo>
                  <a:lnTo>
                    <a:pt x="503900" y="679997"/>
                  </a:lnTo>
                  <a:lnTo>
                    <a:pt x="503003" y="681091"/>
                  </a:lnTo>
                  <a:lnTo>
                    <a:pt x="502405" y="682384"/>
                  </a:lnTo>
                  <a:lnTo>
                    <a:pt x="500413" y="688652"/>
                  </a:lnTo>
                  <a:lnTo>
                    <a:pt x="499615" y="689945"/>
                  </a:lnTo>
                  <a:lnTo>
                    <a:pt x="498220" y="689945"/>
                  </a:lnTo>
                  <a:lnTo>
                    <a:pt x="496825" y="689945"/>
                  </a:lnTo>
                  <a:lnTo>
                    <a:pt x="495032" y="689050"/>
                  </a:lnTo>
                  <a:lnTo>
                    <a:pt x="493936" y="689050"/>
                  </a:lnTo>
                  <a:lnTo>
                    <a:pt x="483971" y="690542"/>
                  </a:lnTo>
                  <a:lnTo>
                    <a:pt x="472811" y="694422"/>
                  </a:lnTo>
                  <a:lnTo>
                    <a:pt x="469722" y="694422"/>
                  </a:lnTo>
                  <a:lnTo>
                    <a:pt x="459758" y="691935"/>
                  </a:lnTo>
                  <a:lnTo>
                    <a:pt x="455971" y="691935"/>
                  </a:lnTo>
                  <a:lnTo>
                    <a:pt x="447103" y="694920"/>
                  </a:lnTo>
                  <a:lnTo>
                    <a:pt x="434050" y="695716"/>
                  </a:lnTo>
                  <a:lnTo>
                    <a:pt x="430861" y="696512"/>
                  </a:lnTo>
                  <a:lnTo>
                    <a:pt x="428071" y="697805"/>
                  </a:lnTo>
                  <a:lnTo>
                    <a:pt x="426975" y="698501"/>
                  </a:lnTo>
                  <a:lnTo>
                    <a:pt x="428470" y="699894"/>
                  </a:lnTo>
                  <a:lnTo>
                    <a:pt x="429267" y="700590"/>
                  </a:lnTo>
                  <a:lnTo>
                    <a:pt x="430961" y="703774"/>
                  </a:lnTo>
                  <a:lnTo>
                    <a:pt x="431957" y="704570"/>
                  </a:lnTo>
                  <a:lnTo>
                    <a:pt x="442519" y="704570"/>
                  </a:lnTo>
                  <a:lnTo>
                    <a:pt x="446206" y="703675"/>
                  </a:lnTo>
                  <a:lnTo>
                    <a:pt x="454975" y="699596"/>
                  </a:lnTo>
                  <a:lnTo>
                    <a:pt x="458462" y="699596"/>
                  </a:lnTo>
                  <a:lnTo>
                    <a:pt x="464740" y="697208"/>
                  </a:lnTo>
                  <a:lnTo>
                    <a:pt x="467929" y="697208"/>
                  </a:lnTo>
                  <a:lnTo>
                    <a:pt x="470619" y="699795"/>
                  </a:lnTo>
                  <a:lnTo>
                    <a:pt x="468128" y="701784"/>
                  </a:lnTo>
                  <a:lnTo>
                    <a:pt x="465736" y="702680"/>
                  </a:lnTo>
                  <a:lnTo>
                    <a:pt x="454875" y="704371"/>
                  </a:lnTo>
                  <a:lnTo>
                    <a:pt x="451986" y="706759"/>
                  </a:lnTo>
                  <a:lnTo>
                    <a:pt x="451288" y="706759"/>
                  </a:lnTo>
                  <a:lnTo>
                    <a:pt x="450591" y="706162"/>
                  </a:lnTo>
                  <a:lnTo>
                    <a:pt x="449694" y="706162"/>
                  </a:lnTo>
                  <a:lnTo>
                    <a:pt x="448299" y="706162"/>
                  </a:lnTo>
                  <a:lnTo>
                    <a:pt x="445409" y="708052"/>
                  </a:lnTo>
                  <a:lnTo>
                    <a:pt x="441124" y="708848"/>
                  </a:lnTo>
                  <a:lnTo>
                    <a:pt x="440228" y="708848"/>
                  </a:lnTo>
                  <a:lnTo>
                    <a:pt x="439331" y="710937"/>
                  </a:lnTo>
                  <a:lnTo>
                    <a:pt x="439331" y="713424"/>
                  </a:lnTo>
                  <a:lnTo>
                    <a:pt x="440228" y="718299"/>
                  </a:lnTo>
                  <a:lnTo>
                    <a:pt x="436341" y="715215"/>
                  </a:lnTo>
                  <a:lnTo>
                    <a:pt x="433950" y="714220"/>
                  </a:lnTo>
                  <a:lnTo>
                    <a:pt x="431957" y="715215"/>
                  </a:lnTo>
                  <a:lnTo>
                    <a:pt x="429964" y="716707"/>
                  </a:lnTo>
                  <a:lnTo>
                    <a:pt x="427872" y="717503"/>
                  </a:lnTo>
                  <a:lnTo>
                    <a:pt x="427274" y="718498"/>
                  </a:lnTo>
                  <a:lnTo>
                    <a:pt x="429765" y="720488"/>
                  </a:lnTo>
                  <a:lnTo>
                    <a:pt x="432156" y="721582"/>
                  </a:lnTo>
                  <a:lnTo>
                    <a:pt x="446206" y="723473"/>
                  </a:lnTo>
                  <a:lnTo>
                    <a:pt x="448797" y="723473"/>
                  </a:lnTo>
                  <a:lnTo>
                    <a:pt x="451487" y="721881"/>
                  </a:lnTo>
                  <a:lnTo>
                    <a:pt x="455573" y="725661"/>
                  </a:lnTo>
                  <a:lnTo>
                    <a:pt x="461850" y="726955"/>
                  </a:lnTo>
                  <a:lnTo>
                    <a:pt x="466434" y="726955"/>
                  </a:lnTo>
                  <a:lnTo>
                    <a:pt x="467131" y="726955"/>
                  </a:lnTo>
                  <a:lnTo>
                    <a:pt x="467131" y="726955"/>
                  </a:lnTo>
                  <a:lnTo>
                    <a:pt x="468526" y="726955"/>
                  </a:lnTo>
                  <a:lnTo>
                    <a:pt x="480085" y="722677"/>
                  </a:lnTo>
                  <a:lnTo>
                    <a:pt x="481181" y="721582"/>
                  </a:lnTo>
                  <a:lnTo>
                    <a:pt x="482776" y="718996"/>
                  </a:lnTo>
                  <a:lnTo>
                    <a:pt x="483473" y="718100"/>
                  </a:lnTo>
                  <a:lnTo>
                    <a:pt x="486363" y="717205"/>
                  </a:lnTo>
                  <a:lnTo>
                    <a:pt x="489751" y="717205"/>
                  </a:lnTo>
                  <a:lnTo>
                    <a:pt x="495729" y="719095"/>
                  </a:lnTo>
                  <a:lnTo>
                    <a:pt x="494135" y="721085"/>
                  </a:lnTo>
                  <a:lnTo>
                    <a:pt x="489850" y="721085"/>
                  </a:lnTo>
                  <a:lnTo>
                    <a:pt x="488256" y="721781"/>
                  </a:lnTo>
                  <a:lnTo>
                    <a:pt x="490946" y="722677"/>
                  </a:lnTo>
                  <a:lnTo>
                    <a:pt x="498220" y="729740"/>
                  </a:lnTo>
                  <a:lnTo>
                    <a:pt x="498918" y="729740"/>
                  </a:lnTo>
                  <a:lnTo>
                    <a:pt x="499815" y="729740"/>
                  </a:lnTo>
                  <a:lnTo>
                    <a:pt x="502804" y="729740"/>
                  </a:lnTo>
                  <a:lnTo>
                    <a:pt x="503302" y="729740"/>
                  </a:lnTo>
                  <a:lnTo>
                    <a:pt x="504598" y="729740"/>
                  </a:lnTo>
                  <a:lnTo>
                    <a:pt x="506292" y="729243"/>
                  </a:lnTo>
                  <a:lnTo>
                    <a:pt x="508185" y="729740"/>
                  </a:lnTo>
                  <a:lnTo>
                    <a:pt x="509480" y="728447"/>
                  </a:lnTo>
                  <a:lnTo>
                    <a:pt x="511473" y="725860"/>
                  </a:lnTo>
                  <a:lnTo>
                    <a:pt x="512071" y="724467"/>
                  </a:lnTo>
                  <a:lnTo>
                    <a:pt x="512071" y="722080"/>
                  </a:lnTo>
                  <a:lnTo>
                    <a:pt x="511473" y="721085"/>
                  </a:lnTo>
                  <a:lnTo>
                    <a:pt x="510576" y="719095"/>
                  </a:lnTo>
                  <a:lnTo>
                    <a:pt x="510576" y="717105"/>
                  </a:lnTo>
                  <a:lnTo>
                    <a:pt x="515260" y="715016"/>
                  </a:lnTo>
                  <a:lnTo>
                    <a:pt x="516356" y="712032"/>
                  </a:lnTo>
                  <a:lnTo>
                    <a:pt x="516954" y="708550"/>
                  </a:lnTo>
                  <a:lnTo>
                    <a:pt x="518149" y="705764"/>
                  </a:lnTo>
                  <a:lnTo>
                    <a:pt x="517153" y="702580"/>
                  </a:lnTo>
                  <a:lnTo>
                    <a:pt x="517153" y="697407"/>
                  </a:lnTo>
                  <a:lnTo>
                    <a:pt x="518747" y="692631"/>
                  </a:lnTo>
                  <a:lnTo>
                    <a:pt x="521836" y="690542"/>
                  </a:lnTo>
                  <a:lnTo>
                    <a:pt x="525324" y="688950"/>
                  </a:lnTo>
                  <a:lnTo>
                    <a:pt x="528413" y="685767"/>
                  </a:lnTo>
                  <a:lnTo>
                    <a:pt x="531601" y="683379"/>
                  </a:lnTo>
                  <a:lnTo>
                    <a:pt x="535388" y="684573"/>
                  </a:lnTo>
                  <a:lnTo>
                    <a:pt x="534292" y="685866"/>
                  </a:lnTo>
                  <a:lnTo>
                    <a:pt x="532797" y="688354"/>
                  </a:lnTo>
                  <a:lnTo>
                    <a:pt x="531800" y="689348"/>
                  </a:lnTo>
                  <a:lnTo>
                    <a:pt x="530605" y="690343"/>
                  </a:lnTo>
                  <a:lnTo>
                    <a:pt x="527416" y="691637"/>
                  </a:lnTo>
                  <a:lnTo>
                    <a:pt x="525224" y="693328"/>
                  </a:lnTo>
                  <a:lnTo>
                    <a:pt x="523630" y="695318"/>
                  </a:lnTo>
                  <a:lnTo>
                    <a:pt x="522434" y="697805"/>
                  </a:lnTo>
                  <a:lnTo>
                    <a:pt x="521438" y="700988"/>
                  </a:lnTo>
                  <a:lnTo>
                    <a:pt x="520541" y="705764"/>
                  </a:lnTo>
                  <a:lnTo>
                    <a:pt x="520541" y="707256"/>
                  </a:lnTo>
                  <a:lnTo>
                    <a:pt x="521637" y="709942"/>
                  </a:lnTo>
                  <a:lnTo>
                    <a:pt x="521637" y="711534"/>
                  </a:lnTo>
                  <a:lnTo>
                    <a:pt x="521637" y="713723"/>
                  </a:lnTo>
                  <a:lnTo>
                    <a:pt x="520242" y="719891"/>
                  </a:lnTo>
                  <a:lnTo>
                    <a:pt x="519345" y="722080"/>
                  </a:lnTo>
                  <a:lnTo>
                    <a:pt x="517751" y="723473"/>
                  </a:lnTo>
                  <a:lnTo>
                    <a:pt x="516156" y="724666"/>
                  </a:lnTo>
                  <a:lnTo>
                    <a:pt x="515658" y="725960"/>
                  </a:lnTo>
                  <a:lnTo>
                    <a:pt x="517452" y="727850"/>
                  </a:lnTo>
                  <a:lnTo>
                    <a:pt x="518946" y="727850"/>
                  </a:lnTo>
                  <a:lnTo>
                    <a:pt x="518946" y="727850"/>
                  </a:lnTo>
                  <a:lnTo>
                    <a:pt x="521537" y="727850"/>
                  </a:lnTo>
                  <a:lnTo>
                    <a:pt x="523630" y="728646"/>
                  </a:lnTo>
                  <a:lnTo>
                    <a:pt x="533594" y="727054"/>
                  </a:lnTo>
                  <a:lnTo>
                    <a:pt x="535986" y="725761"/>
                  </a:lnTo>
                  <a:lnTo>
                    <a:pt x="538078" y="723473"/>
                  </a:lnTo>
                  <a:lnTo>
                    <a:pt x="538875" y="721682"/>
                  </a:lnTo>
                  <a:lnTo>
                    <a:pt x="539573" y="719195"/>
                  </a:lnTo>
                  <a:lnTo>
                    <a:pt x="539573" y="716807"/>
                  </a:lnTo>
                  <a:lnTo>
                    <a:pt x="539573" y="715414"/>
                  </a:lnTo>
                  <a:lnTo>
                    <a:pt x="543060" y="713922"/>
                  </a:lnTo>
                  <a:lnTo>
                    <a:pt x="544256" y="717802"/>
                  </a:lnTo>
                  <a:lnTo>
                    <a:pt x="544953" y="723075"/>
                  </a:lnTo>
                  <a:lnTo>
                    <a:pt x="547046" y="725761"/>
                  </a:lnTo>
                  <a:lnTo>
                    <a:pt x="548939" y="725761"/>
                  </a:lnTo>
                  <a:lnTo>
                    <a:pt x="549637" y="726557"/>
                  </a:lnTo>
                  <a:lnTo>
                    <a:pt x="550434" y="726557"/>
                  </a:lnTo>
                  <a:lnTo>
                    <a:pt x="552228" y="724865"/>
                  </a:lnTo>
                  <a:lnTo>
                    <a:pt x="554420" y="721184"/>
                  </a:lnTo>
                  <a:lnTo>
                    <a:pt x="555914" y="719692"/>
                  </a:lnTo>
                  <a:lnTo>
                    <a:pt x="558007" y="719792"/>
                  </a:lnTo>
                  <a:lnTo>
                    <a:pt x="558605" y="721284"/>
                  </a:lnTo>
                  <a:lnTo>
                    <a:pt x="558605" y="722577"/>
                  </a:lnTo>
                  <a:lnTo>
                    <a:pt x="557907" y="723771"/>
                  </a:lnTo>
                  <a:lnTo>
                    <a:pt x="557907" y="725064"/>
                  </a:lnTo>
                  <a:lnTo>
                    <a:pt x="557907" y="726258"/>
                  </a:lnTo>
                  <a:lnTo>
                    <a:pt x="560000" y="728646"/>
                  </a:lnTo>
                  <a:lnTo>
                    <a:pt x="562292" y="733023"/>
                  </a:lnTo>
                  <a:lnTo>
                    <a:pt x="563786" y="734018"/>
                  </a:lnTo>
                  <a:lnTo>
                    <a:pt x="566078" y="734018"/>
                  </a:lnTo>
                  <a:lnTo>
                    <a:pt x="569067" y="733123"/>
                  </a:lnTo>
                  <a:lnTo>
                    <a:pt x="572555" y="731034"/>
                  </a:lnTo>
                  <a:lnTo>
                    <a:pt x="574448" y="727950"/>
                  </a:lnTo>
                  <a:lnTo>
                    <a:pt x="573053" y="724766"/>
                  </a:lnTo>
                  <a:lnTo>
                    <a:pt x="575744" y="720388"/>
                  </a:lnTo>
                  <a:lnTo>
                    <a:pt x="583615" y="714917"/>
                  </a:lnTo>
                  <a:lnTo>
                    <a:pt x="585210" y="710241"/>
                  </a:lnTo>
                  <a:lnTo>
                    <a:pt x="592882" y="704769"/>
                  </a:lnTo>
                  <a:lnTo>
                    <a:pt x="592882" y="703376"/>
                  </a:lnTo>
                  <a:lnTo>
                    <a:pt x="592882" y="702680"/>
                  </a:lnTo>
                  <a:lnTo>
                    <a:pt x="593480" y="702680"/>
                  </a:lnTo>
                  <a:lnTo>
                    <a:pt x="593480" y="702680"/>
                  </a:lnTo>
                  <a:lnTo>
                    <a:pt x="593480" y="703277"/>
                  </a:lnTo>
                  <a:lnTo>
                    <a:pt x="593480" y="703277"/>
                  </a:lnTo>
                  <a:lnTo>
                    <a:pt x="594676" y="703277"/>
                  </a:lnTo>
                  <a:lnTo>
                    <a:pt x="595373" y="702680"/>
                  </a:lnTo>
                  <a:lnTo>
                    <a:pt x="598662" y="698302"/>
                  </a:lnTo>
                  <a:lnTo>
                    <a:pt x="598662" y="696710"/>
                  </a:lnTo>
                  <a:lnTo>
                    <a:pt x="597566" y="695318"/>
                  </a:lnTo>
                  <a:lnTo>
                    <a:pt x="596669" y="693029"/>
                  </a:lnTo>
                  <a:lnTo>
                    <a:pt x="596669" y="691040"/>
                  </a:lnTo>
                  <a:lnTo>
                    <a:pt x="598064" y="684871"/>
                  </a:lnTo>
                  <a:lnTo>
                    <a:pt x="599658" y="679897"/>
                  </a:lnTo>
                  <a:lnTo>
                    <a:pt x="598462" y="677509"/>
                  </a:lnTo>
                  <a:lnTo>
                    <a:pt x="596071" y="676017"/>
                  </a:lnTo>
                  <a:lnTo>
                    <a:pt x="593480" y="676017"/>
                  </a:lnTo>
                  <a:lnTo>
                    <a:pt x="593480" y="675221"/>
                  </a:lnTo>
                  <a:lnTo>
                    <a:pt x="593480" y="670744"/>
                  </a:lnTo>
                  <a:lnTo>
                    <a:pt x="593480" y="669550"/>
                  </a:lnTo>
                  <a:lnTo>
                    <a:pt x="592185" y="668755"/>
                  </a:lnTo>
                  <a:lnTo>
                    <a:pt x="589594" y="667959"/>
                  </a:lnTo>
                  <a:lnTo>
                    <a:pt x="591587" y="665869"/>
                  </a:lnTo>
                  <a:lnTo>
                    <a:pt x="596071" y="663482"/>
                  </a:lnTo>
                  <a:lnTo>
                    <a:pt x="598263" y="661890"/>
                  </a:lnTo>
                  <a:lnTo>
                    <a:pt x="603445" y="654926"/>
                  </a:lnTo>
                  <a:lnTo>
                    <a:pt x="604441" y="653234"/>
                  </a:lnTo>
                  <a:lnTo>
                    <a:pt x="604441" y="649454"/>
                  </a:lnTo>
                  <a:lnTo>
                    <a:pt x="605238" y="647564"/>
                  </a:lnTo>
                  <a:lnTo>
                    <a:pt x="606733" y="646867"/>
                  </a:lnTo>
                  <a:lnTo>
                    <a:pt x="608825" y="646867"/>
                  </a:lnTo>
                  <a:lnTo>
                    <a:pt x="611217" y="647564"/>
                  </a:lnTo>
                  <a:lnTo>
                    <a:pt x="612512" y="649553"/>
                  </a:lnTo>
                  <a:lnTo>
                    <a:pt x="614605" y="654926"/>
                  </a:lnTo>
                  <a:lnTo>
                    <a:pt x="611815" y="655722"/>
                  </a:lnTo>
                  <a:lnTo>
                    <a:pt x="609822" y="657413"/>
                  </a:lnTo>
                  <a:lnTo>
                    <a:pt x="606334" y="662487"/>
                  </a:lnTo>
                  <a:lnTo>
                    <a:pt x="604939" y="663979"/>
                  </a:lnTo>
                  <a:lnTo>
                    <a:pt x="602149" y="666068"/>
                  </a:lnTo>
                  <a:lnTo>
                    <a:pt x="599160" y="669749"/>
                  </a:lnTo>
                  <a:lnTo>
                    <a:pt x="599160" y="670446"/>
                  </a:lnTo>
                  <a:lnTo>
                    <a:pt x="599160" y="671938"/>
                  </a:lnTo>
                  <a:lnTo>
                    <a:pt x="599160" y="673033"/>
                  </a:lnTo>
                  <a:lnTo>
                    <a:pt x="600455" y="673828"/>
                  </a:lnTo>
                  <a:lnTo>
                    <a:pt x="608128" y="677111"/>
                  </a:lnTo>
                  <a:lnTo>
                    <a:pt x="609623" y="680494"/>
                  </a:lnTo>
                  <a:lnTo>
                    <a:pt x="609025" y="682981"/>
                  </a:lnTo>
                  <a:lnTo>
                    <a:pt x="605537" y="687558"/>
                  </a:lnTo>
                  <a:lnTo>
                    <a:pt x="604541" y="691239"/>
                  </a:lnTo>
                  <a:lnTo>
                    <a:pt x="604541" y="698302"/>
                  </a:lnTo>
                  <a:lnTo>
                    <a:pt x="603544" y="701088"/>
                  </a:lnTo>
                  <a:lnTo>
                    <a:pt x="603544" y="702083"/>
                  </a:lnTo>
                  <a:lnTo>
                    <a:pt x="603544" y="705266"/>
                  </a:lnTo>
                  <a:lnTo>
                    <a:pt x="603544" y="706361"/>
                  </a:lnTo>
                  <a:lnTo>
                    <a:pt x="603544" y="707455"/>
                  </a:lnTo>
                  <a:lnTo>
                    <a:pt x="601850" y="710340"/>
                  </a:lnTo>
                  <a:lnTo>
                    <a:pt x="601252" y="711037"/>
                  </a:lnTo>
                  <a:lnTo>
                    <a:pt x="595373" y="712430"/>
                  </a:lnTo>
                  <a:lnTo>
                    <a:pt x="593381" y="714121"/>
                  </a:lnTo>
                  <a:lnTo>
                    <a:pt x="592583" y="718598"/>
                  </a:lnTo>
                  <a:lnTo>
                    <a:pt x="591188" y="720289"/>
                  </a:lnTo>
                  <a:lnTo>
                    <a:pt x="582121" y="722677"/>
                  </a:lnTo>
                  <a:lnTo>
                    <a:pt x="580925" y="723572"/>
                  </a:lnTo>
                  <a:lnTo>
                    <a:pt x="580128" y="724268"/>
                  </a:lnTo>
                  <a:lnTo>
                    <a:pt x="580128" y="725562"/>
                  </a:lnTo>
                  <a:lnTo>
                    <a:pt x="580128" y="729740"/>
                  </a:lnTo>
                  <a:lnTo>
                    <a:pt x="580128" y="731531"/>
                  </a:lnTo>
                  <a:lnTo>
                    <a:pt x="580128" y="733322"/>
                  </a:lnTo>
                  <a:lnTo>
                    <a:pt x="580128" y="734814"/>
                  </a:lnTo>
                  <a:lnTo>
                    <a:pt x="580128" y="735610"/>
                  </a:lnTo>
                  <a:lnTo>
                    <a:pt x="580128" y="741380"/>
                  </a:lnTo>
                  <a:lnTo>
                    <a:pt x="579032" y="742674"/>
                  </a:lnTo>
                  <a:lnTo>
                    <a:pt x="577936" y="742674"/>
                  </a:lnTo>
                  <a:lnTo>
                    <a:pt x="577139" y="743271"/>
                  </a:lnTo>
                  <a:lnTo>
                    <a:pt x="576640" y="745658"/>
                  </a:lnTo>
                  <a:lnTo>
                    <a:pt x="577637" y="749936"/>
                  </a:lnTo>
                  <a:lnTo>
                    <a:pt x="580128" y="749936"/>
                  </a:lnTo>
                  <a:lnTo>
                    <a:pt x="583018" y="747549"/>
                  </a:lnTo>
                  <a:lnTo>
                    <a:pt x="588498" y="744464"/>
                  </a:lnTo>
                  <a:lnTo>
                    <a:pt x="589096" y="740385"/>
                  </a:lnTo>
                  <a:lnTo>
                    <a:pt x="588199" y="735710"/>
                  </a:lnTo>
                  <a:lnTo>
                    <a:pt x="587003" y="732227"/>
                  </a:lnTo>
                  <a:lnTo>
                    <a:pt x="589694" y="733023"/>
                  </a:lnTo>
                  <a:lnTo>
                    <a:pt x="592085" y="735511"/>
                  </a:lnTo>
                  <a:lnTo>
                    <a:pt x="593978" y="738993"/>
                  </a:lnTo>
                  <a:lnTo>
                    <a:pt x="594776" y="742674"/>
                  </a:lnTo>
                  <a:lnTo>
                    <a:pt x="594776" y="744763"/>
                  </a:lnTo>
                  <a:lnTo>
                    <a:pt x="593580" y="746255"/>
                  </a:lnTo>
                  <a:lnTo>
                    <a:pt x="593580" y="747748"/>
                  </a:lnTo>
                  <a:lnTo>
                    <a:pt x="594875" y="749837"/>
                  </a:lnTo>
                  <a:lnTo>
                    <a:pt x="596270" y="749837"/>
                  </a:lnTo>
                  <a:lnTo>
                    <a:pt x="601751" y="749837"/>
                  </a:lnTo>
                  <a:lnTo>
                    <a:pt x="604640" y="749837"/>
                  </a:lnTo>
                  <a:lnTo>
                    <a:pt x="607530" y="750732"/>
                  </a:lnTo>
                  <a:lnTo>
                    <a:pt x="610320" y="750732"/>
                  </a:lnTo>
                  <a:lnTo>
                    <a:pt x="613110" y="749936"/>
                  </a:lnTo>
                  <a:lnTo>
                    <a:pt x="620484" y="744862"/>
                  </a:lnTo>
                  <a:lnTo>
                    <a:pt x="621779" y="743569"/>
                  </a:lnTo>
                  <a:lnTo>
                    <a:pt x="622776" y="741679"/>
                  </a:lnTo>
                  <a:lnTo>
                    <a:pt x="627658" y="736406"/>
                  </a:lnTo>
                  <a:lnTo>
                    <a:pt x="628754" y="733023"/>
                  </a:lnTo>
                  <a:lnTo>
                    <a:pt x="630448" y="731531"/>
                  </a:lnTo>
                  <a:lnTo>
                    <a:pt x="640413" y="732426"/>
                  </a:lnTo>
                  <a:lnTo>
                    <a:pt x="651274" y="730238"/>
                  </a:lnTo>
                  <a:lnTo>
                    <a:pt x="661238" y="725462"/>
                  </a:lnTo>
                  <a:lnTo>
                    <a:pt x="666519" y="720090"/>
                  </a:lnTo>
                  <a:lnTo>
                    <a:pt x="669608" y="718200"/>
                  </a:lnTo>
                  <a:lnTo>
                    <a:pt x="670904" y="720190"/>
                  </a:lnTo>
                  <a:lnTo>
                    <a:pt x="669808" y="722179"/>
                  </a:lnTo>
                  <a:lnTo>
                    <a:pt x="662932" y="729044"/>
                  </a:lnTo>
                  <a:lnTo>
                    <a:pt x="660640" y="730437"/>
                  </a:lnTo>
                  <a:lnTo>
                    <a:pt x="654662" y="733023"/>
                  </a:lnTo>
                  <a:lnTo>
                    <a:pt x="652171" y="733023"/>
                  </a:lnTo>
                  <a:lnTo>
                    <a:pt x="650875" y="733023"/>
                  </a:lnTo>
                  <a:lnTo>
                    <a:pt x="648683" y="735411"/>
                  </a:lnTo>
                  <a:lnTo>
                    <a:pt x="647388" y="736207"/>
                  </a:lnTo>
                  <a:lnTo>
                    <a:pt x="645893" y="736207"/>
                  </a:lnTo>
                  <a:lnTo>
                    <a:pt x="642107" y="734914"/>
                  </a:lnTo>
                  <a:lnTo>
                    <a:pt x="639017" y="734914"/>
                  </a:lnTo>
                  <a:lnTo>
                    <a:pt x="634932" y="735511"/>
                  </a:lnTo>
                  <a:lnTo>
                    <a:pt x="631445" y="737102"/>
                  </a:lnTo>
                  <a:lnTo>
                    <a:pt x="629950" y="740187"/>
                  </a:lnTo>
                  <a:lnTo>
                    <a:pt x="629950" y="742375"/>
                  </a:lnTo>
                  <a:lnTo>
                    <a:pt x="629352" y="743470"/>
                  </a:lnTo>
                  <a:lnTo>
                    <a:pt x="626163" y="746753"/>
                  </a:lnTo>
                  <a:lnTo>
                    <a:pt x="625067" y="746753"/>
                  </a:lnTo>
                  <a:lnTo>
                    <a:pt x="625067" y="746753"/>
                  </a:lnTo>
                  <a:lnTo>
                    <a:pt x="626064" y="748245"/>
                  </a:lnTo>
                  <a:lnTo>
                    <a:pt x="628356" y="749936"/>
                  </a:lnTo>
                  <a:lnTo>
                    <a:pt x="631544" y="751329"/>
                  </a:lnTo>
                  <a:lnTo>
                    <a:pt x="634334" y="753120"/>
                  </a:lnTo>
                  <a:lnTo>
                    <a:pt x="635530" y="755806"/>
                  </a:lnTo>
                  <a:lnTo>
                    <a:pt x="636128" y="757796"/>
                  </a:lnTo>
                  <a:lnTo>
                    <a:pt x="638420" y="760382"/>
                  </a:lnTo>
                  <a:lnTo>
                    <a:pt x="639017" y="762173"/>
                  </a:lnTo>
                  <a:lnTo>
                    <a:pt x="639017" y="763467"/>
                  </a:lnTo>
                  <a:lnTo>
                    <a:pt x="636726" y="768043"/>
                  </a:lnTo>
                  <a:lnTo>
                    <a:pt x="637523" y="770928"/>
                  </a:lnTo>
                  <a:lnTo>
                    <a:pt x="636128" y="774211"/>
                  </a:lnTo>
                  <a:lnTo>
                    <a:pt x="633537" y="776997"/>
                  </a:lnTo>
                  <a:lnTo>
                    <a:pt x="630647" y="778489"/>
                  </a:lnTo>
                  <a:lnTo>
                    <a:pt x="631445" y="781374"/>
                  </a:lnTo>
                  <a:lnTo>
                    <a:pt x="630050" y="782668"/>
                  </a:lnTo>
                  <a:lnTo>
                    <a:pt x="627857" y="783464"/>
                  </a:lnTo>
                  <a:lnTo>
                    <a:pt x="626363" y="785453"/>
                  </a:lnTo>
                  <a:lnTo>
                    <a:pt x="629950" y="787841"/>
                  </a:lnTo>
                  <a:lnTo>
                    <a:pt x="630647" y="788935"/>
                  </a:lnTo>
                  <a:lnTo>
                    <a:pt x="630647" y="790527"/>
                  </a:lnTo>
                  <a:lnTo>
                    <a:pt x="630050" y="792417"/>
                  </a:lnTo>
                  <a:lnTo>
                    <a:pt x="629252" y="794009"/>
                  </a:lnTo>
                  <a:lnTo>
                    <a:pt x="628555" y="794706"/>
                  </a:lnTo>
                  <a:lnTo>
                    <a:pt x="626562" y="795999"/>
                  </a:lnTo>
                  <a:lnTo>
                    <a:pt x="626562" y="798984"/>
                  </a:lnTo>
                  <a:lnTo>
                    <a:pt x="628754" y="805152"/>
                  </a:lnTo>
                  <a:lnTo>
                    <a:pt x="626363" y="803361"/>
                  </a:lnTo>
                  <a:lnTo>
                    <a:pt x="621480" y="798188"/>
                  </a:lnTo>
                  <a:lnTo>
                    <a:pt x="619288" y="799382"/>
                  </a:lnTo>
                  <a:lnTo>
                    <a:pt x="617295" y="797690"/>
                  </a:lnTo>
                  <a:lnTo>
                    <a:pt x="614505" y="794706"/>
                  </a:lnTo>
                  <a:lnTo>
                    <a:pt x="612114" y="793114"/>
                  </a:lnTo>
                  <a:lnTo>
                    <a:pt x="611018" y="795899"/>
                  </a:lnTo>
                  <a:lnTo>
                    <a:pt x="611815" y="798387"/>
                  </a:lnTo>
                  <a:lnTo>
                    <a:pt x="619188" y="809330"/>
                  </a:lnTo>
                  <a:lnTo>
                    <a:pt x="623274" y="813210"/>
                  </a:lnTo>
                  <a:lnTo>
                    <a:pt x="630448" y="817787"/>
                  </a:lnTo>
                  <a:lnTo>
                    <a:pt x="632242" y="817787"/>
                  </a:lnTo>
                  <a:lnTo>
                    <a:pt x="633736" y="818483"/>
                  </a:lnTo>
                  <a:lnTo>
                    <a:pt x="635630" y="821667"/>
                  </a:lnTo>
                  <a:lnTo>
                    <a:pt x="636626" y="822363"/>
                  </a:lnTo>
                  <a:lnTo>
                    <a:pt x="639316" y="823159"/>
                  </a:lnTo>
                  <a:lnTo>
                    <a:pt x="642107" y="824950"/>
                  </a:lnTo>
                  <a:lnTo>
                    <a:pt x="648583" y="831317"/>
                  </a:lnTo>
                  <a:lnTo>
                    <a:pt x="648583" y="832511"/>
                  </a:lnTo>
                  <a:lnTo>
                    <a:pt x="648583" y="836291"/>
                  </a:lnTo>
                  <a:lnTo>
                    <a:pt x="649181" y="837983"/>
                  </a:lnTo>
                  <a:lnTo>
                    <a:pt x="650078" y="839276"/>
                  </a:lnTo>
                  <a:lnTo>
                    <a:pt x="654662" y="840470"/>
                  </a:lnTo>
                  <a:lnTo>
                    <a:pt x="660640" y="843653"/>
                  </a:lnTo>
                  <a:lnTo>
                    <a:pt x="663929" y="844350"/>
                  </a:lnTo>
                  <a:lnTo>
                    <a:pt x="670106" y="843156"/>
                  </a:lnTo>
                  <a:lnTo>
                    <a:pt x="673694" y="843156"/>
                  </a:lnTo>
                  <a:lnTo>
                    <a:pt x="676583" y="846837"/>
                  </a:lnTo>
                  <a:lnTo>
                    <a:pt x="677281" y="846837"/>
                  </a:lnTo>
                  <a:lnTo>
                    <a:pt x="677978" y="846837"/>
                  </a:lnTo>
                  <a:lnTo>
                    <a:pt x="679772" y="846837"/>
                  </a:lnTo>
                  <a:lnTo>
                    <a:pt x="680868" y="847533"/>
                  </a:lnTo>
                  <a:lnTo>
                    <a:pt x="680868" y="847533"/>
                  </a:lnTo>
                  <a:lnTo>
                    <a:pt x="680071" y="843753"/>
                  </a:lnTo>
                  <a:lnTo>
                    <a:pt x="683160" y="842559"/>
                  </a:lnTo>
                  <a:lnTo>
                    <a:pt x="693124" y="842559"/>
                  </a:lnTo>
                  <a:lnTo>
                    <a:pt x="696014" y="841962"/>
                  </a:lnTo>
                  <a:lnTo>
                    <a:pt x="701793" y="839674"/>
                  </a:lnTo>
                  <a:lnTo>
                    <a:pt x="704384" y="837983"/>
                  </a:lnTo>
                  <a:lnTo>
                    <a:pt x="703487" y="835694"/>
                  </a:lnTo>
                  <a:lnTo>
                    <a:pt x="703487" y="834202"/>
                  </a:lnTo>
                  <a:lnTo>
                    <a:pt x="704982" y="833406"/>
                  </a:lnTo>
                  <a:lnTo>
                    <a:pt x="706975" y="833406"/>
                  </a:lnTo>
                  <a:lnTo>
                    <a:pt x="708171" y="832610"/>
                  </a:lnTo>
                  <a:lnTo>
                    <a:pt x="707573" y="830720"/>
                  </a:lnTo>
                  <a:lnTo>
                    <a:pt x="707473" y="828531"/>
                  </a:lnTo>
                  <a:lnTo>
                    <a:pt x="706178" y="827437"/>
                  </a:lnTo>
                  <a:lnTo>
                    <a:pt x="709864" y="819478"/>
                  </a:lnTo>
                  <a:lnTo>
                    <a:pt x="710861" y="818185"/>
                  </a:lnTo>
                  <a:lnTo>
                    <a:pt x="712754" y="818981"/>
                  </a:lnTo>
                  <a:lnTo>
                    <a:pt x="712754" y="821070"/>
                  </a:lnTo>
                  <a:lnTo>
                    <a:pt x="712057" y="823358"/>
                  </a:lnTo>
                  <a:lnTo>
                    <a:pt x="710961" y="825149"/>
                  </a:lnTo>
                  <a:lnTo>
                    <a:pt x="711658" y="826044"/>
                  </a:lnTo>
                  <a:lnTo>
                    <a:pt x="713252" y="827636"/>
                  </a:lnTo>
                  <a:lnTo>
                    <a:pt x="713252" y="828531"/>
                  </a:lnTo>
                  <a:lnTo>
                    <a:pt x="713252" y="830024"/>
                  </a:lnTo>
                  <a:lnTo>
                    <a:pt x="713252" y="830621"/>
                  </a:lnTo>
                  <a:lnTo>
                    <a:pt x="713252" y="830621"/>
                  </a:lnTo>
                  <a:lnTo>
                    <a:pt x="713252" y="831615"/>
                  </a:lnTo>
                  <a:lnTo>
                    <a:pt x="713950" y="835296"/>
                  </a:lnTo>
                  <a:lnTo>
                    <a:pt x="714847" y="836789"/>
                  </a:lnTo>
                  <a:lnTo>
                    <a:pt x="716740" y="837386"/>
                  </a:lnTo>
                  <a:lnTo>
                    <a:pt x="717736" y="837386"/>
                  </a:lnTo>
                  <a:lnTo>
                    <a:pt x="717736" y="837386"/>
                  </a:lnTo>
                  <a:lnTo>
                    <a:pt x="717736" y="837386"/>
                  </a:lnTo>
                  <a:lnTo>
                    <a:pt x="718434" y="837386"/>
                  </a:lnTo>
                  <a:lnTo>
                    <a:pt x="718434" y="837386"/>
                  </a:lnTo>
                  <a:lnTo>
                    <a:pt x="721622" y="835396"/>
                  </a:lnTo>
                  <a:lnTo>
                    <a:pt x="722619" y="833804"/>
                  </a:lnTo>
                  <a:lnTo>
                    <a:pt x="724213" y="829924"/>
                  </a:lnTo>
                  <a:lnTo>
                    <a:pt x="725110" y="828432"/>
                  </a:lnTo>
                  <a:lnTo>
                    <a:pt x="723117" y="825746"/>
                  </a:lnTo>
                  <a:lnTo>
                    <a:pt x="718534" y="822662"/>
                  </a:lnTo>
                  <a:lnTo>
                    <a:pt x="718733" y="819279"/>
                  </a:lnTo>
                  <a:lnTo>
                    <a:pt x="717437" y="816692"/>
                  </a:lnTo>
                  <a:lnTo>
                    <a:pt x="716541" y="813409"/>
                  </a:lnTo>
                  <a:lnTo>
                    <a:pt x="716541" y="809927"/>
                  </a:lnTo>
                  <a:lnTo>
                    <a:pt x="716541" y="806545"/>
                  </a:lnTo>
                  <a:lnTo>
                    <a:pt x="717338" y="803659"/>
                  </a:lnTo>
                  <a:lnTo>
                    <a:pt x="718832" y="801869"/>
                  </a:lnTo>
                  <a:lnTo>
                    <a:pt x="732982" y="796198"/>
                  </a:lnTo>
                  <a:lnTo>
                    <a:pt x="737665" y="792716"/>
                  </a:lnTo>
                  <a:lnTo>
                    <a:pt x="739957" y="790129"/>
                  </a:lnTo>
                  <a:lnTo>
                    <a:pt x="740854" y="788040"/>
                  </a:lnTo>
                  <a:lnTo>
                    <a:pt x="740156" y="787244"/>
                  </a:lnTo>
                  <a:lnTo>
                    <a:pt x="737067" y="785851"/>
                  </a:lnTo>
                  <a:lnTo>
                    <a:pt x="736071" y="785055"/>
                  </a:lnTo>
                  <a:lnTo>
                    <a:pt x="735373" y="784060"/>
                  </a:lnTo>
                  <a:lnTo>
                    <a:pt x="734477" y="781872"/>
                  </a:lnTo>
                  <a:lnTo>
                    <a:pt x="733879" y="781076"/>
                  </a:lnTo>
                  <a:lnTo>
                    <a:pt x="731089" y="779484"/>
                  </a:lnTo>
                  <a:lnTo>
                    <a:pt x="725608" y="777693"/>
                  </a:lnTo>
                  <a:lnTo>
                    <a:pt x="723017" y="776300"/>
                  </a:lnTo>
                  <a:lnTo>
                    <a:pt x="721324" y="774808"/>
                  </a:lnTo>
                  <a:lnTo>
                    <a:pt x="719530" y="772818"/>
                  </a:lnTo>
                  <a:lnTo>
                    <a:pt x="718035" y="770630"/>
                  </a:lnTo>
                  <a:lnTo>
                    <a:pt x="716840" y="768242"/>
                  </a:lnTo>
                  <a:lnTo>
                    <a:pt x="719829" y="769137"/>
                  </a:lnTo>
                  <a:lnTo>
                    <a:pt x="725010" y="773216"/>
                  </a:lnTo>
                  <a:lnTo>
                    <a:pt x="730292" y="774709"/>
                  </a:lnTo>
                  <a:lnTo>
                    <a:pt x="737864" y="778589"/>
                  </a:lnTo>
                  <a:lnTo>
                    <a:pt x="739558" y="780280"/>
                  </a:lnTo>
                  <a:lnTo>
                    <a:pt x="744242" y="786548"/>
                  </a:lnTo>
                  <a:lnTo>
                    <a:pt x="746932" y="788040"/>
                  </a:lnTo>
                  <a:lnTo>
                    <a:pt x="747331" y="789433"/>
                  </a:lnTo>
                  <a:lnTo>
                    <a:pt x="745138" y="792915"/>
                  </a:lnTo>
                  <a:lnTo>
                    <a:pt x="740655" y="798287"/>
                  </a:lnTo>
                  <a:lnTo>
                    <a:pt x="739060" y="798287"/>
                  </a:lnTo>
                  <a:lnTo>
                    <a:pt x="733281" y="798984"/>
                  </a:lnTo>
                  <a:lnTo>
                    <a:pt x="731687" y="798984"/>
                  </a:lnTo>
                  <a:lnTo>
                    <a:pt x="729494" y="801272"/>
                  </a:lnTo>
                  <a:lnTo>
                    <a:pt x="724412" y="803063"/>
                  </a:lnTo>
                  <a:lnTo>
                    <a:pt x="722121" y="806047"/>
                  </a:lnTo>
                  <a:lnTo>
                    <a:pt x="722121" y="809828"/>
                  </a:lnTo>
                  <a:lnTo>
                    <a:pt x="723715" y="813608"/>
                  </a:lnTo>
                  <a:lnTo>
                    <a:pt x="725907" y="815001"/>
                  </a:lnTo>
                  <a:lnTo>
                    <a:pt x="728498" y="815996"/>
                  </a:lnTo>
                  <a:lnTo>
                    <a:pt x="730590" y="817488"/>
                  </a:lnTo>
                  <a:lnTo>
                    <a:pt x="731487" y="820970"/>
                  </a:lnTo>
                  <a:lnTo>
                    <a:pt x="731487" y="827039"/>
                  </a:lnTo>
                  <a:lnTo>
                    <a:pt x="731487" y="830024"/>
                  </a:lnTo>
                  <a:lnTo>
                    <a:pt x="730491" y="833207"/>
                  </a:lnTo>
                  <a:lnTo>
                    <a:pt x="726306" y="838082"/>
                  </a:lnTo>
                  <a:lnTo>
                    <a:pt x="724911" y="840868"/>
                  </a:lnTo>
                  <a:lnTo>
                    <a:pt x="725708" y="844151"/>
                  </a:lnTo>
                  <a:lnTo>
                    <a:pt x="726904" y="845444"/>
                  </a:lnTo>
                  <a:lnTo>
                    <a:pt x="731288" y="848230"/>
                  </a:lnTo>
                  <a:lnTo>
                    <a:pt x="738961" y="858179"/>
                  </a:lnTo>
                  <a:lnTo>
                    <a:pt x="740356" y="860865"/>
                  </a:lnTo>
                  <a:lnTo>
                    <a:pt x="740953" y="864247"/>
                  </a:lnTo>
                  <a:lnTo>
                    <a:pt x="742647" y="864745"/>
                  </a:lnTo>
                  <a:lnTo>
                    <a:pt x="759089" y="862755"/>
                  </a:lnTo>
                  <a:lnTo>
                    <a:pt x="775630" y="854398"/>
                  </a:lnTo>
                  <a:lnTo>
                    <a:pt x="773537" y="859571"/>
                  </a:lnTo>
                  <a:lnTo>
                    <a:pt x="768555" y="863153"/>
                  </a:lnTo>
                  <a:lnTo>
                    <a:pt x="762477" y="865242"/>
                  </a:lnTo>
                  <a:lnTo>
                    <a:pt x="755402" y="866337"/>
                  </a:lnTo>
                  <a:lnTo>
                    <a:pt x="754306" y="867232"/>
                  </a:lnTo>
                  <a:lnTo>
                    <a:pt x="753409" y="868326"/>
                  </a:lnTo>
                  <a:lnTo>
                    <a:pt x="752213" y="869421"/>
                  </a:lnTo>
                  <a:lnTo>
                    <a:pt x="748128" y="870018"/>
                  </a:lnTo>
                  <a:lnTo>
                    <a:pt x="746932" y="870018"/>
                  </a:lnTo>
                  <a:lnTo>
                    <a:pt x="745437" y="872704"/>
                  </a:lnTo>
                  <a:lnTo>
                    <a:pt x="745437" y="875788"/>
                  </a:lnTo>
                  <a:lnTo>
                    <a:pt x="746533" y="878971"/>
                  </a:lnTo>
                  <a:lnTo>
                    <a:pt x="747928" y="881658"/>
                  </a:lnTo>
                  <a:lnTo>
                    <a:pt x="746932" y="883747"/>
                  </a:lnTo>
                  <a:lnTo>
                    <a:pt x="746035" y="886234"/>
                  </a:lnTo>
                  <a:lnTo>
                    <a:pt x="744341" y="888920"/>
                  </a:lnTo>
                  <a:lnTo>
                    <a:pt x="742149" y="887527"/>
                  </a:lnTo>
                  <a:lnTo>
                    <a:pt x="740754" y="884941"/>
                  </a:lnTo>
                  <a:lnTo>
                    <a:pt x="738961" y="878971"/>
                  </a:lnTo>
                  <a:lnTo>
                    <a:pt x="737864" y="876484"/>
                  </a:lnTo>
                  <a:lnTo>
                    <a:pt x="737864" y="874296"/>
                  </a:lnTo>
                  <a:lnTo>
                    <a:pt x="736868" y="867729"/>
                  </a:lnTo>
                  <a:lnTo>
                    <a:pt x="736170" y="867033"/>
                  </a:lnTo>
                  <a:lnTo>
                    <a:pt x="732484" y="861362"/>
                  </a:lnTo>
                  <a:lnTo>
                    <a:pt x="726007" y="853901"/>
                  </a:lnTo>
                  <a:lnTo>
                    <a:pt x="725110" y="852309"/>
                  </a:lnTo>
                  <a:lnTo>
                    <a:pt x="724512" y="850618"/>
                  </a:lnTo>
                  <a:lnTo>
                    <a:pt x="723715" y="849125"/>
                  </a:lnTo>
                  <a:lnTo>
                    <a:pt x="721722" y="849125"/>
                  </a:lnTo>
                  <a:lnTo>
                    <a:pt x="717338" y="849125"/>
                  </a:lnTo>
                  <a:lnTo>
                    <a:pt x="715245" y="849822"/>
                  </a:lnTo>
                  <a:lnTo>
                    <a:pt x="713452" y="851214"/>
                  </a:lnTo>
                  <a:lnTo>
                    <a:pt x="712356" y="853304"/>
                  </a:lnTo>
                  <a:lnTo>
                    <a:pt x="710462" y="858179"/>
                  </a:lnTo>
                  <a:lnTo>
                    <a:pt x="709566" y="859173"/>
                  </a:lnTo>
                  <a:lnTo>
                    <a:pt x="707971" y="860268"/>
                  </a:lnTo>
                  <a:lnTo>
                    <a:pt x="707971" y="863053"/>
                  </a:lnTo>
                  <a:lnTo>
                    <a:pt x="707971" y="866138"/>
                  </a:lnTo>
                  <a:lnTo>
                    <a:pt x="708669" y="868326"/>
                  </a:lnTo>
                  <a:lnTo>
                    <a:pt x="709665" y="869719"/>
                  </a:lnTo>
                  <a:lnTo>
                    <a:pt x="712057" y="871709"/>
                  </a:lnTo>
                  <a:lnTo>
                    <a:pt x="712953" y="873002"/>
                  </a:lnTo>
                  <a:lnTo>
                    <a:pt x="717238" y="881857"/>
                  </a:lnTo>
                  <a:lnTo>
                    <a:pt x="719430" y="885140"/>
                  </a:lnTo>
                  <a:lnTo>
                    <a:pt x="720925" y="886831"/>
                  </a:lnTo>
                  <a:lnTo>
                    <a:pt x="721921" y="886831"/>
                  </a:lnTo>
                  <a:lnTo>
                    <a:pt x="723217" y="886831"/>
                  </a:lnTo>
                  <a:lnTo>
                    <a:pt x="725110" y="887527"/>
                  </a:lnTo>
                  <a:lnTo>
                    <a:pt x="726505" y="888522"/>
                  </a:lnTo>
                  <a:lnTo>
                    <a:pt x="727203" y="889617"/>
                  </a:lnTo>
                  <a:lnTo>
                    <a:pt x="727203" y="890810"/>
                  </a:lnTo>
                  <a:lnTo>
                    <a:pt x="728099" y="892104"/>
                  </a:lnTo>
                  <a:lnTo>
                    <a:pt x="730391" y="893596"/>
                  </a:lnTo>
                  <a:lnTo>
                    <a:pt x="732982" y="894293"/>
                  </a:lnTo>
                  <a:lnTo>
                    <a:pt x="740356" y="894293"/>
                  </a:lnTo>
                  <a:lnTo>
                    <a:pt x="743644" y="895188"/>
                  </a:lnTo>
                  <a:lnTo>
                    <a:pt x="771345" y="907425"/>
                  </a:lnTo>
                  <a:lnTo>
                    <a:pt x="773537" y="905435"/>
                  </a:lnTo>
                  <a:lnTo>
                    <a:pt x="775430" y="904241"/>
                  </a:lnTo>
                  <a:lnTo>
                    <a:pt x="777921" y="903246"/>
                  </a:lnTo>
                  <a:lnTo>
                    <a:pt x="780911" y="903246"/>
                  </a:lnTo>
                  <a:lnTo>
                    <a:pt x="781608" y="903843"/>
                  </a:lnTo>
                  <a:lnTo>
                    <a:pt x="782605" y="900859"/>
                  </a:lnTo>
                  <a:lnTo>
                    <a:pt x="781110" y="896481"/>
                  </a:lnTo>
                  <a:lnTo>
                    <a:pt x="778818" y="899466"/>
                  </a:lnTo>
                  <a:lnTo>
                    <a:pt x="774633" y="900262"/>
                  </a:lnTo>
                  <a:lnTo>
                    <a:pt x="775729" y="897675"/>
                  </a:lnTo>
                  <a:lnTo>
                    <a:pt x="774733" y="895984"/>
                  </a:lnTo>
                  <a:lnTo>
                    <a:pt x="772939" y="895387"/>
                  </a:lnTo>
                  <a:lnTo>
                    <a:pt x="771046" y="895387"/>
                  </a:lnTo>
                  <a:lnTo>
                    <a:pt x="769651" y="896581"/>
                  </a:lnTo>
                  <a:lnTo>
                    <a:pt x="768654" y="897874"/>
                  </a:lnTo>
                  <a:lnTo>
                    <a:pt x="767259" y="898869"/>
                  </a:lnTo>
                  <a:lnTo>
                    <a:pt x="765267" y="898869"/>
                  </a:lnTo>
                  <a:lnTo>
                    <a:pt x="765267" y="896581"/>
                  </a:lnTo>
                  <a:lnTo>
                    <a:pt x="764569" y="894790"/>
                  </a:lnTo>
                  <a:lnTo>
                    <a:pt x="764569" y="893298"/>
                  </a:lnTo>
                  <a:lnTo>
                    <a:pt x="766163" y="892004"/>
                  </a:lnTo>
                  <a:lnTo>
                    <a:pt x="766163" y="890711"/>
                  </a:lnTo>
                  <a:lnTo>
                    <a:pt x="765067" y="888920"/>
                  </a:lnTo>
                  <a:lnTo>
                    <a:pt x="766761" y="886632"/>
                  </a:lnTo>
                  <a:lnTo>
                    <a:pt x="769452" y="885040"/>
                  </a:lnTo>
                  <a:lnTo>
                    <a:pt x="772839" y="884145"/>
                  </a:lnTo>
                  <a:lnTo>
                    <a:pt x="774035" y="883548"/>
                  </a:lnTo>
                  <a:lnTo>
                    <a:pt x="775231" y="883548"/>
                  </a:lnTo>
                  <a:lnTo>
                    <a:pt x="776526" y="883548"/>
                  </a:lnTo>
                  <a:lnTo>
                    <a:pt x="777224" y="884543"/>
                  </a:lnTo>
                  <a:lnTo>
                    <a:pt x="779117" y="889219"/>
                  </a:lnTo>
                  <a:lnTo>
                    <a:pt x="779117" y="889219"/>
                  </a:lnTo>
                  <a:lnTo>
                    <a:pt x="780711" y="887726"/>
                  </a:lnTo>
                  <a:lnTo>
                    <a:pt x="785893" y="885040"/>
                  </a:lnTo>
                  <a:lnTo>
                    <a:pt x="787188" y="884045"/>
                  </a:lnTo>
                  <a:lnTo>
                    <a:pt x="790775" y="882255"/>
                  </a:lnTo>
                  <a:lnTo>
                    <a:pt x="791473" y="881658"/>
                  </a:lnTo>
                  <a:lnTo>
                    <a:pt x="792469" y="880464"/>
                  </a:lnTo>
                  <a:lnTo>
                    <a:pt x="794462" y="880464"/>
                  </a:lnTo>
                  <a:lnTo>
                    <a:pt x="797651" y="880961"/>
                  </a:lnTo>
                  <a:lnTo>
                    <a:pt x="798448" y="880165"/>
                  </a:lnTo>
                  <a:lnTo>
                    <a:pt x="800142" y="877380"/>
                  </a:lnTo>
                  <a:lnTo>
                    <a:pt x="801138" y="876484"/>
                  </a:lnTo>
                  <a:lnTo>
                    <a:pt x="802633" y="876484"/>
                  </a:lnTo>
                  <a:lnTo>
                    <a:pt x="806320" y="876484"/>
                  </a:lnTo>
                  <a:lnTo>
                    <a:pt x="808911" y="874693"/>
                  </a:lnTo>
                  <a:lnTo>
                    <a:pt x="810206" y="874693"/>
                  </a:lnTo>
                  <a:lnTo>
                    <a:pt x="811203" y="873898"/>
                  </a:lnTo>
                  <a:lnTo>
                    <a:pt x="811203" y="871311"/>
                  </a:lnTo>
                  <a:lnTo>
                    <a:pt x="811203" y="869023"/>
                  </a:lnTo>
                  <a:lnTo>
                    <a:pt x="810306" y="864944"/>
                  </a:lnTo>
                  <a:lnTo>
                    <a:pt x="811003" y="863551"/>
                  </a:lnTo>
                  <a:lnTo>
                    <a:pt x="812099" y="861959"/>
                  </a:lnTo>
                  <a:lnTo>
                    <a:pt x="813395" y="860765"/>
                  </a:lnTo>
                  <a:lnTo>
                    <a:pt x="815089" y="860765"/>
                  </a:lnTo>
                  <a:lnTo>
                    <a:pt x="817081" y="859074"/>
                  </a:lnTo>
                  <a:lnTo>
                    <a:pt x="818975" y="857482"/>
                  </a:lnTo>
                  <a:lnTo>
                    <a:pt x="821167" y="855194"/>
                  </a:lnTo>
                  <a:lnTo>
                    <a:pt x="823259" y="857283"/>
                  </a:lnTo>
                  <a:lnTo>
                    <a:pt x="821267" y="860367"/>
                  </a:lnTo>
                  <a:lnTo>
                    <a:pt x="815985" y="864546"/>
                  </a:lnTo>
                  <a:lnTo>
                    <a:pt x="816882" y="866933"/>
                  </a:lnTo>
                  <a:lnTo>
                    <a:pt x="817081" y="869023"/>
                  </a:lnTo>
                  <a:lnTo>
                    <a:pt x="815985" y="871012"/>
                  </a:lnTo>
                  <a:lnTo>
                    <a:pt x="814690" y="872107"/>
                  </a:lnTo>
                  <a:lnTo>
                    <a:pt x="814690" y="872903"/>
                  </a:lnTo>
                  <a:lnTo>
                    <a:pt x="814690" y="872903"/>
                  </a:lnTo>
                  <a:lnTo>
                    <a:pt x="815587" y="872903"/>
                  </a:lnTo>
                  <a:lnTo>
                    <a:pt x="814590" y="874793"/>
                  </a:lnTo>
                  <a:lnTo>
                    <a:pt x="812797" y="879867"/>
                  </a:lnTo>
                  <a:lnTo>
                    <a:pt x="811402" y="885239"/>
                  </a:lnTo>
                  <a:lnTo>
                    <a:pt x="811402" y="887129"/>
                  </a:lnTo>
                  <a:lnTo>
                    <a:pt x="812996" y="898869"/>
                  </a:lnTo>
                  <a:lnTo>
                    <a:pt x="812996" y="901456"/>
                  </a:lnTo>
                  <a:lnTo>
                    <a:pt x="812498" y="904042"/>
                  </a:lnTo>
                  <a:lnTo>
                    <a:pt x="811103" y="906430"/>
                  </a:lnTo>
                  <a:lnTo>
                    <a:pt x="807615" y="908818"/>
                  </a:lnTo>
                  <a:lnTo>
                    <a:pt x="806420" y="910907"/>
                  </a:lnTo>
                  <a:lnTo>
                    <a:pt x="807615" y="912001"/>
                  </a:lnTo>
                  <a:lnTo>
                    <a:pt x="808512" y="913991"/>
                  </a:lnTo>
                  <a:lnTo>
                    <a:pt x="809409" y="916777"/>
                  </a:lnTo>
                  <a:lnTo>
                    <a:pt x="814590" y="915384"/>
                  </a:lnTo>
                  <a:lnTo>
                    <a:pt x="816783" y="915384"/>
                  </a:lnTo>
                  <a:lnTo>
                    <a:pt x="840996" y="921353"/>
                  </a:lnTo>
                  <a:lnTo>
                    <a:pt x="850662" y="918766"/>
                  </a:lnTo>
                  <a:lnTo>
                    <a:pt x="857736" y="905535"/>
                  </a:lnTo>
                  <a:lnTo>
                    <a:pt x="857736" y="903445"/>
                  </a:lnTo>
                  <a:lnTo>
                    <a:pt x="857736" y="898073"/>
                  </a:lnTo>
                  <a:lnTo>
                    <a:pt x="857736" y="896680"/>
                  </a:lnTo>
                  <a:lnTo>
                    <a:pt x="858932" y="896680"/>
                  </a:lnTo>
                  <a:lnTo>
                    <a:pt x="860128" y="897775"/>
                  </a:lnTo>
                  <a:lnTo>
                    <a:pt x="860128" y="899167"/>
                  </a:lnTo>
                  <a:lnTo>
                    <a:pt x="860128" y="902251"/>
                  </a:lnTo>
                  <a:lnTo>
                    <a:pt x="859530" y="905137"/>
                  </a:lnTo>
                  <a:lnTo>
                    <a:pt x="856939" y="917672"/>
                  </a:lnTo>
                  <a:lnTo>
                    <a:pt x="853153" y="923442"/>
                  </a:lnTo>
                  <a:lnTo>
                    <a:pt x="848270" y="926327"/>
                  </a:lnTo>
                  <a:lnTo>
                    <a:pt x="842491" y="925432"/>
                  </a:lnTo>
                  <a:lnTo>
                    <a:pt x="840598" y="924437"/>
                  </a:lnTo>
                  <a:lnTo>
                    <a:pt x="838306" y="924437"/>
                  </a:lnTo>
                  <a:lnTo>
                    <a:pt x="836114" y="924437"/>
                  </a:lnTo>
                  <a:lnTo>
                    <a:pt x="834818" y="925532"/>
                  </a:lnTo>
                  <a:lnTo>
                    <a:pt x="833921" y="924437"/>
                  </a:lnTo>
                  <a:lnTo>
                    <a:pt x="831829" y="925333"/>
                  </a:lnTo>
                  <a:lnTo>
                    <a:pt x="829039" y="925333"/>
                  </a:lnTo>
                  <a:lnTo>
                    <a:pt x="827046" y="924338"/>
                  </a:lnTo>
                  <a:lnTo>
                    <a:pt x="826348" y="922547"/>
                  </a:lnTo>
                  <a:lnTo>
                    <a:pt x="825153" y="921851"/>
                  </a:lnTo>
                  <a:lnTo>
                    <a:pt x="823060" y="921851"/>
                  </a:lnTo>
                  <a:lnTo>
                    <a:pt x="822163" y="923243"/>
                  </a:lnTo>
                  <a:lnTo>
                    <a:pt x="824555" y="926626"/>
                  </a:lnTo>
                  <a:lnTo>
                    <a:pt x="820469" y="927223"/>
                  </a:lnTo>
                  <a:lnTo>
                    <a:pt x="815089" y="927223"/>
                  </a:lnTo>
                  <a:lnTo>
                    <a:pt x="811402" y="928019"/>
                  </a:lnTo>
                  <a:lnTo>
                    <a:pt x="812797" y="932197"/>
                  </a:lnTo>
                  <a:lnTo>
                    <a:pt x="815985" y="934386"/>
                  </a:lnTo>
                  <a:lnTo>
                    <a:pt x="820469" y="936575"/>
                  </a:lnTo>
                  <a:lnTo>
                    <a:pt x="824555" y="939261"/>
                  </a:lnTo>
                  <a:lnTo>
                    <a:pt x="825252" y="941251"/>
                  </a:lnTo>
                  <a:lnTo>
                    <a:pt x="822761" y="939659"/>
                  </a:lnTo>
                  <a:lnTo>
                    <a:pt x="819971" y="938664"/>
                  </a:lnTo>
                  <a:lnTo>
                    <a:pt x="817679" y="939360"/>
                  </a:lnTo>
                  <a:lnTo>
                    <a:pt x="816882" y="942046"/>
                  </a:lnTo>
                  <a:lnTo>
                    <a:pt x="817081" y="948613"/>
                  </a:lnTo>
                  <a:lnTo>
                    <a:pt x="815587" y="950602"/>
                  </a:lnTo>
                  <a:lnTo>
                    <a:pt x="815587" y="951796"/>
                  </a:lnTo>
                  <a:lnTo>
                    <a:pt x="821267" y="954184"/>
                  </a:lnTo>
                  <a:lnTo>
                    <a:pt x="827046" y="954184"/>
                  </a:lnTo>
                  <a:lnTo>
                    <a:pt x="832427" y="952095"/>
                  </a:lnTo>
                  <a:lnTo>
                    <a:pt x="837509" y="948314"/>
                  </a:lnTo>
                  <a:lnTo>
                    <a:pt x="835815" y="952990"/>
                  </a:lnTo>
                  <a:lnTo>
                    <a:pt x="833124" y="955975"/>
                  </a:lnTo>
                  <a:lnTo>
                    <a:pt x="826348" y="961148"/>
                  </a:lnTo>
                  <a:lnTo>
                    <a:pt x="824555" y="963436"/>
                  </a:lnTo>
                  <a:lnTo>
                    <a:pt x="825153" y="964630"/>
                  </a:lnTo>
                  <a:lnTo>
                    <a:pt x="826946" y="965824"/>
                  </a:lnTo>
                  <a:lnTo>
                    <a:pt x="829039" y="968013"/>
                  </a:lnTo>
                  <a:lnTo>
                    <a:pt x="829936" y="970102"/>
                  </a:lnTo>
                  <a:lnTo>
                    <a:pt x="830832" y="972689"/>
                  </a:lnTo>
                  <a:lnTo>
                    <a:pt x="830832" y="974877"/>
                  </a:lnTo>
                  <a:lnTo>
                    <a:pt x="837807" y="974877"/>
                  </a:lnTo>
                  <a:lnTo>
                    <a:pt x="837807" y="974877"/>
                  </a:lnTo>
                  <a:lnTo>
                    <a:pt x="837010" y="970699"/>
                  </a:lnTo>
                  <a:lnTo>
                    <a:pt x="837010" y="967714"/>
                  </a:lnTo>
                  <a:lnTo>
                    <a:pt x="838904" y="965128"/>
                  </a:lnTo>
                  <a:lnTo>
                    <a:pt x="848868" y="959755"/>
                  </a:lnTo>
                  <a:lnTo>
                    <a:pt x="851558" y="959059"/>
                  </a:lnTo>
                  <a:lnTo>
                    <a:pt x="854548" y="959059"/>
                  </a:lnTo>
                  <a:lnTo>
                    <a:pt x="857736" y="959059"/>
                  </a:lnTo>
                  <a:lnTo>
                    <a:pt x="859430" y="960054"/>
                  </a:lnTo>
                  <a:lnTo>
                    <a:pt x="859430" y="961745"/>
                  </a:lnTo>
                  <a:lnTo>
                    <a:pt x="858234" y="964332"/>
                  </a:lnTo>
                  <a:lnTo>
                    <a:pt x="858234" y="967416"/>
                  </a:lnTo>
                  <a:lnTo>
                    <a:pt x="861124" y="970699"/>
                  </a:lnTo>
                  <a:lnTo>
                    <a:pt x="864911" y="972390"/>
                  </a:lnTo>
                  <a:lnTo>
                    <a:pt x="867402" y="971793"/>
                  </a:lnTo>
                  <a:lnTo>
                    <a:pt x="870192" y="970599"/>
                  </a:lnTo>
                  <a:lnTo>
                    <a:pt x="872982" y="973286"/>
                  </a:lnTo>
                  <a:lnTo>
                    <a:pt x="873779" y="974778"/>
                  </a:lnTo>
                  <a:lnTo>
                    <a:pt x="4349066" y="974778"/>
                  </a:lnTo>
                  <a:lnTo>
                    <a:pt x="4350162" y="974778"/>
                  </a:lnTo>
                  <a:lnTo>
                    <a:pt x="4350959" y="973683"/>
                  </a:lnTo>
                  <a:lnTo>
                    <a:pt x="4350959" y="971893"/>
                  </a:lnTo>
                  <a:lnTo>
                    <a:pt x="4350959" y="943837"/>
                  </a:lnTo>
                  <a:lnTo>
                    <a:pt x="4353948" y="941450"/>
                  </a:lnTo>
                  <a:lnTo>
                    <a:pt x="4355443" y="942643"/>
                  </a:lnTo>
                  <a:lnTo>
                    <a:pt x="4355443" y="943738"/>
                  </a:lnTo>
                  <a:lnTo>
                    <a:pt x="4354945" y="945031"/>
                  </a:lnTo>
                  <a:lnTo>
                    <a:pt x="4354945" y="946722"/>
                  </a:lnTo>
                  <a:lnTo>
                    <a:pt x="4355443" y="948314"/>
                  </a:lnTo>
                  <a:lnTo>
                    <a:pt x="4356440" y="948314"/>
                  </a:lnTo>
                  <a:lnTo>
                    <a:pt x="4357735" y="947618"/>
                  </a:lnTo>
                  <a:lnTo>
                    <a:pt x="4358831" y="947618"/>
                  </a:lnTo>
                  <a:lnTo>
                    <a:pt x="4358831" y="947618"/>
                  </a:lnTo>
                  <a:lnTo>
                    <a:pt x="4362916" y="945230"/>
                  </a:lnTo>
                  <a:lnTo>
                    <a:pt x="4367101" y="945230"/>
                  </a:lnTo>
                  <a:lnTo>
                    <a:pt x="4371486" y="943439"/>
                  </a:lnTo>
                  <a:lnTo>
                    <a:pt x="4371486" y="916180"/>
                  </a:lnTo>
                  <a:lnTo>
                    <a:pt x="4366204" y="917374"/>
                  </a:lnTo>
                  <a:lnTo>
                    <a:pt x="4364212" y="916777"/>
                  </a:lnTo>
                  <a:lnTo>
                    <a:pt x="4363215" y="916080"/>
                  </a:lnTo>
                  <a:lnTo>
                    <a:pt x="4361820" y="916080"/>
                  </a:lnTo>
                  <a:lnTo>
                    <a:pt x="4360724" y="916080"/>
                  </a:lnTo>
                  <a:lnTo>
                    <a:pt x="4360724" y="915085"/>
                  </a:lnTo>
                  <a:lnTo>
                    <a:pt x="4371884" y="915085"/>
                  </a:lnTo>
                  <a:lnTo>
                    <a:pt x="4371884" y="912797"/>
                  </a:lnTo>
                  <a:lnTo>
                    <a:pt x="4379158" y="915384"/>
                  </a:lnTo>
                  <a:lnTo>
                    <a:pt x="4381151" y="915384"/>
                  </a:lnTo>
                  <a:lnTo>
                    <a:pt x="4381151" y="915384"/>
                  </a:lnTo>
                  <a:lnTo>
                    <a:pt x="4381650" y="913494"/>
                  </a:lnTo>
                  <a:lnTo>
                    <a:pt x="4383044" y="912897"/>
                  </a:lnTo>
                  <a:lnTo>
                    <a:pt x="4386333" y="912897"/>
                  </a:lnTo>
                  <a:lnTo>
                    <a:pt x="4389322" y="912200"/>
                  </a:lnTo>
                  <a:lnTo>
                    <a:pt x="4396994" y="908619"/>
                  </a:lnTo>
                  <a:lnTo>
                    <a:pt x="4397792" y="909614"/>
                  </a:lnTo>
                  <a:lnTo>
                    <a:pt x="4398987" y="910509"/>
                  </a:lnTo>
                  <a:lnTo>
                    <a:pt x="4400382" y="910509"/>
                  </a:lnTo>
                  <a:lnTo>
                    <a:pt x="4401578" y="909813"/>
                  </a:lnTo>
                  <a:lnTo>
                    <a:pt x="4402475" y="908221"/>
                  </a:lnTo>
                  <a:lnTo>
                    <a:pt x="4403073" y="905933"/>
                  </a:lnTo>
                  <a:lnTo>
                    <a:pt x="4403671" y="904639"/>
                  </a:lnTo>
                  <a:lnTo>
                    <a:pt x="4401578" y="903744"/>
                  </a:lnTo>
                  <a:lnTo>
                    <a:pt x="4400881" y="902749"/>
                  </a:lnTo>
                  <a:lnTo>
                    <a:pt x="4400881" y="901555"/>
                  </a:lnTo>
                  <a:lnTo>
                    <a:pt x="4402873" y="897974"/>
                  </a:lnTo>
                  <a:lnTo>
                    <a:pt x="4403771" y="897178"/>
                  </a:lnTo>
                  <a:lnTo>
                    <a:pt x="4406859" y="896481"/>
                  </a:lnTo>
                  <a:lnTo>
                    <a:pt x="4408155" y="896481"/>
                  </a:lnTo>
                  <a:lnTo>
                    <a:pt x="4409351" y="896481"/>
                  </a:lnTo>
                  <a:lnTo>
                    <a:pt x="4410446" y="896481"/>
                  </a:lnTo>
                  <a:lnTo>
                    <a:pt x="4411244" y="894293"/>
                  </a:lnTo>
                  <a:lnTo>
                    <a:pt x="4411244" y="892502"/>
                  </a:lnTo>
                  <a:lnTo>
                    <a:pt x="4410745" y="891109"/>
                  </a:lnTo>
                  <a:lnTo>
                    <a:pt x="4409948" y="890214"/>
                  </a:lnTo>
                  <a:lnTo>
                    <a:pt x="4408553" y="890214"/>
                  </a:lnTo>
                  <a:lnTo>
                    <a:pt x="4410148" y="888224"/>
                  </a:lnTo>
                  <a:lnTo>
                    <a:pt x="4411842" y="887627"/>
                  </a:lnTo>
                  <a:lnTo>
                    <a:pt x="4415429" y="887627"/>
                  </a:lnTo>
                  <a:lnTo>
                    <a:pt x="4416226" y="887627"/>
                  </a:lnTo>
                  <a:lnTo>
                    <a:pt x="4416724" y="887627"/>
                  </a:lnTo>
                  <a:lnTo>
                    <a:pt x="4417322" y="887627"/>
                  </a:lnTo>
                  <a:lnTo>
                    <a:pt x="4418518" y="887627"/>
                  </a:lnTo>
                  <a:lnTo>
                    <a:pt x="4419414" y="887627"/>
                  </a:lnTo>
                  <a:lnTo>
                    <a:pt x="4421108" y="886035"/>
                  </a:lnTo>
                  <a:lnTo>
                    <a:pt x="4422005" y="886035"/>
                  </a:lnTo>
                  <a:lnTo>
                    <a:pt x="4425094" y="886035"/>
                  </a:lnTo>
                  <a:lnTo>
                    <a:pt x="4428582" y="884941"/>
                  </a:lnTo>
                  <a:lnTo>
                    <a:pt x="4431671" y="883050"/>
                  </a:lnTo>
                  <a:lnTo>
                    <a:pt x="4434162" y="878971"/>
                  </a:lnTo>
                  <a:lnTo>
                    <a:pt x="4434162" y="878275"/>
                  </a:lnTo>
                  <a:lnTo>
                    <a:pt x="4433564" y="876683"/>
                  </a:lnTo>
                  <a:lnTo>
                    <a:pt x="4435955" y="875390"/>
                  </a:lnTo>
                  <a:lnTo>
                    <a:pt x="4439044" y="872903"/>
                  </a:lnTo>
                  <a:lnTo>
                    <a:pt x="4441236" y="869819"/>
                  </a:lnTo>
                  <a:lnTo>
                    <a:pt x="4441236" y="866834"/>
                  </a:lnTo>
                  <a:lnTo>
                    <a:pt x="4438745" y="865242"/>
                  </a:lnTo>
                  <a:lnTo>
                    <a:pt x="4434162" y="865242"/>
                  </a:lnTo>
                  <a:lnTo>
                    <a:pt x="4426290" y="866734"/>
                  </a:lnTo>
                  <a:lnTo>
                    <a:pt x="4423201" y="867928"/>
                  </a:lnTo>
                  <a:lnTo>
                    <a:pt x="4422005" y="868724"/>
                  </a:lnTo>
                  <a:lnTo>
                    <a:pt x="4421009" y="870217"/>
                  </a:lnTo>
                  <a:lnTo>
                    <a:pt x="4420511" y="871709"/>
                  </a:lnTo>
                  <a:lnTo>
                    <a:pt x="4419813" y="872903"/>
                  </a:lnTo>
                  <a:lnTo>
                    <a:pt x="4415329" y="873898"/>
                  </a:lnTo>
                  <a:lnTo>
                    <a:pt x="4412340" y="875390"/>
                  </a:lnTo>
                  <a:lnTo>
                    <a:pt x="4409749" y="877579"/>
                  </a:lnTo>
                  <a:lnTo>
                    <a:pt x="4408055" y="880165"/>
                  </a:lnTo>
                  <a:lnTo>
                    <a:pt x="4409251" y="880165"/>
                  </a:lnTo>
                  <a:lnTo>
                    <a:pt x="4409251" y="880165"/>
                  </a:lnTo>
                  <a:lnTo>
                    <a:pt x="4409251" y="880862"/>
                  </a:lnTo>
                  <a:lnTo>
                    <a:pt x="4409849" y="881857"/>
                  </a:lnTo>
                  <a:lnTo>
                    <a:pt x="4401479" y="884742"/>
                  </a:lnTo>
                  <a:lnTo>
                    <a:pt x="4397592" y="885438"/>
                  </a:lnTo>
                  <a:lnTo>
                    <a:pt x="4396397" y="886234"/>
                  </a:lnTo>
                  <a:lnTo>
                    <a:pt x="4395400" y="887527"/>
                  </a:lnTo>
                  <a:lnTo>
                    <a:pt x="4395400" y="889318"/>
                  </a:lnTo>
                  <a:lnTo>
                    <a:pt x="4394703" y="890810"/>
                  </a:lnTo>
                  <a:lnTo>
                    <a:pt x="4393308" y="890810"/>
                  </a:lnTo>
                  <a:lnTo>
                    <a:pt x="4391514" y="890810"/>
                  </a:lnTo>
                  <a:lnTo>
                    <a:pt x="4390119" y="890810"/>
                  </a:lnTo>
                  <a:lnTo>
                    <a:pt x="4388824" y="891606"/>
                  </a:lnTo>
                  <a:lnTo>
                    <a:pt x="4386233" y="893497"/>
                  </a:lnTo>
                  <a:lnTo>
                    <a:pt x="4384938" y="894193"/>
                  </a:lnTo>
                  <a:lnTo>
                    <a:pt x="4380254" y="895387"/>
                  </a:lnTo>
                  <a:lnTo>
                    <a:pt x="4376667" y="897675"/>
                  </a:lnTo>
                  <a:lnTo>
                    <a:pt x="4373678" y="897675"/>
                  </a:lnTo>
                  <a:lnTo>
                    <a:pt x="4371386" y="895586"/>
                  </a:lnTo>
                  <a:lnTo>
                    <a:pt x="4371386" y="892104"/>
                  </a:lnTo>
                  <a:lnTo>
                    <a:pt x="4372881" y="890114"/>
                  </a:lnTo>
                  <a:lnTo>
                    <a:pt x="4378062" y="884841"/>
                  </a:lnTo>
                  <a:lnTo>
                    <a:pt x="4379258" y="882453"/>
                  </a:lnTo>
                  <a:lnTo>
                    <a:pt x="4378561" y="878872"/>
                  </a:lnTo>
                  <a:lnTo>
                    <a:pt x="4376767" y="877181"/>
                  </a:lnTo>
                  <a:lnTo>
                    <a:pt x="4371386" y="875091"/>
                  </a:lnTo>
                  <a:lnTo>
                    <a:pt x="4368198" y="872107"/>
                  </a:lnTo>
                  <a:lnTo>
                    <a:pt x="4368198" y="869719"/>
                  </a:lnTo>
                  <a:lnTo>
                    <a:pt x="4376169" y="862854"/>
                  </a:lnTo>
                  <a:lnTo>
                    <a:pt x="4378461" y="863451"/>
                  </a:lnTo>
                  <a:lnTo>
                    <a:pt x="4380753" y="865441"/>
                  </a:lnTo>
                  <a:lnTo>
                    <a:pt x="4383144" y="866734"/>
                  </a:lnTo>
                  <a:lnTo>
                    <a:pt x="4392511" y="865939"/>
                  </a:lnTo>
                  <a:lnTo>
                    <a:pt x="4396098" y="868326"/>
                  </a:lnTo>
                  <a:lnTo>
                    <a:pt x="4397393" y="868326"/>
                  </a:lnTo>
                  <a:lnTo>
                    <a:pt x="4397393" y="869023"/>
                  </a:lnTo>
                  <a:lnTo>
                    <a:pt x="4396596" y="871211"/>
                  </a:lnTo>
                  <a:lnTo>
                    <a:pt x="4395699" y="871908"/>
                  </a:lnTo>
                  <a:lnTo>
                    <a:pt x="4391315" y="873599"/>
                  </a:lnTo>
                  <a:lnTo>
                    <a:pt x="4391315" y="874793"/>
                  </a:lnTo>
                  <a:lnTo>
                    <a:pt x="4391913" y="875688"/>
                  </a:lnTo>
                  <a:lnTo>
                    <a:pt x="4392610" y="876484"/>
                  </a:lnTo>
                  <a:lnTo>
                    <a:pt x="4393607" y="877081"/>
                  </a:lnTo>
                  <a:lnTo>
                    <a:pt x="4394404" y="875887"/>
                  </a:lnTo>
                  <a:lnTo>
                    <a:pt x="4395301" y="877081"/>
                  </a:lnTo>
                  <a:lnTo>
                    <a:pt x="4397293" y="875987"/>
                  </a:lnTo>
                  <a:lnTo>
                    <a:pt x="4402276" y="877181"/>
                  </a:lnTo>
                  <a:lnTo>
                    <a:pt x="4404767" y="877181"/>
                  </a:lnTo>
                  <a:lnTo>
                    <a:pt x="4406859" y="875987"/>
                  </a:lnTo>
                  <a:lnTo>
                    <a:pt x="4408753" y="874296"/>
                  </a:lnTo>
                  <a:lnTo>
                    <a:pt x="4413237" y="868028"/>
                  </a:lnTo>
                  <a:lnTo>
                    <a:pt x="4414034" y="866536"/>
                  </a:lnTo>
                  <a:lnTo>
                    <a:pt x="4413436" y="865342"/>
                  </a:lnTo>
                  <a:lnTo>
                    <a:pt x="4410945" y="864446"/>
                  </a:lnTo>
                  <a:lnTo>
                    <a:pt x="4408753" y="864446"/>
                  </a:lnTo>
                  <a:lnTo>
                    <a:pt x="4406660" y="864446"/>
                  </a:lnTo>
                  <a:lnTo>
                    <a:pt x="4404568" y="864446"/>
                  </a:lnTo>
                  <a:lnTo>
                    <a:pt x="4402276" y="863451"/>
                  </a:lnTo>
                  <a:lnTo>
                    <a:pt x="4412240" y="856089"/>
                  </a:lnTo>
                  <a:lnTo>
                    <a:pt x="4433365" y="852906"/>
                  </a:lnTo>
                  <a:lnTo>
                    <a:pt x="4447913" y="855592"/>
                  </a:lnTo>
                  <a:lnTo>
                    <a:pt x="4451101" y="854696"/>
                  </a:lnTo>
                  <a:lnTo>
                    <a:pt x="4451101" y="852707"/>
                  </a:lnTo>
                  <a:lnTo>
                    <a:pt x="4449108" y="851214"/>
                  </a:lnTo>
                  <a:lnTo>
                    <a:pt x="4445123" y="849523"/>
                  </a:lnTo>
                  <a:lnTo>
                    <a:pt x="4445123" y="846936"/>
                  </a:lnTo>
                  <a:lnTo>
                    <a:pt x="4446119" y="844748"/>
                  </a:lnTo>
                  <a:lnTo>
                    <a:pt x="4449108" y="841365"/>
                  </a:lnTo>
                  <a:lnTo>
                    <a:pt x="4447713" y="839574"/>
                  </a:lnTo>
                  <a:lnTo>
                    <a:pt x="4446318" y="838878"/>
                  </a:lnTo>
                  <a:lnTo>
                    <a:pt x="4447115" y="839176"/>
                  </a:lnTo>
                  <a:lnTo>
                    <a:pt x="4447115" y="836391"/>
                  </a:lnTo>
                  <a:lnTo>
                    <a:pt x="4446418" y="833804"/>
                  </a:lnTo>
                  <a:lnTo>
                    <a:pt x="4443329" y="831118"/>
                  </a:lnTo>
                  <a:lnTo>
                    <a:pt x="4442731" y="829427"/>
                  </a:lnTo>
                  <a:lnTo>
                    <a:pt x="4442133" y="827238"/>
                  </a:lnTo>
                  <a:lnTo>
                    <a:pt x="4440838" y="825547"/>
                  </a:lnTo>
                  <a:lnTo>
                    <a:pt x="4439244" y="824552"/>
                  </a:lnTo>
                  <a:lnTo>
                    <a:pt x="4437948" y="824552"/>
                  </a:lnTo>
                  <a:lnTo>
                    <a:pt x="4437351" y="823656"/>
                  </a:lnTo>
                  <a:lnTo>
                    <a:pt x="4430973" y="819279"/>
                  </a:lnTo>
                  <a:lnTo>
                    <a:pt x="4429479" y="815299"/>
                  </a:lnTo>
                  <a:lnTo>
                    <a:pt x="4430375" y="811718"/>
                  </a:lnTo>
                  <a:lnTo>
                    <a:pt x="4433066" y="808833"/>
                  </a:lnTo>
                  <a:lnTo>
                    <a:pt x="4436753" y="807241"/>
                  </a:lnTo>
                  <a:lnTo>
                    <a:pt x="4439941" y="807241"/>
                  </a:lnTo>
                  <a:lnTo>
                    <a:pt x="4443229" y="808037"/>
                  </a:lnTo>
                  <a:lnTo>
                    <a:pt x="4446318" y="809629"/>
                  </a:lnTo>
                  <a:lnTo>
                    <a:pt x="4451898" y="815101"/>
                  </a:lnTo>
                  <a:lnTo>
                    <a:pt x="4452995" y="820274"/>
                  </a:lnTo>
                  <a:lnTo>
                    <a:pt x="4451699" y="825348"/>
                  </a:lnTo>
                  <a:lnTo>
                    <a:pt x="4447913" y="828233"/>
                  </a:lnTo>
                  <a:lnTo>
                    <a:pt x="4447913" y="829327"/>
                  </a:lnTo>
                  <a:lnTo>
                    <a:pt x="4448909" y="830521"/>
                  </a:lnTo>
                  <a:lnTo>
                    <a:pt x="4450304" y="833307"/>
                  </a:lnTo>
                  <a:lnTo>
                    <a:pt x="4451400" y="833904"/>
                  </a:lnTo>
                  <a:lnTo>
                    <a:pt x="4453094" y="833904"/>
                  </a:lnTo>
                  <a:lnTo>
                    <a:pt x="4454489" y="833904"/>
                  </a:lnTo>
                  <a:lnTo>
                    <a:pt x="4455486" y="835197"/>
                  </a:lnTo>
                  <a:lnTo>
                    <a:pt x="4455486" y="837386"/>
                  </a:lnTo>
                  <a:lnTo>
                    <a:pt x="4455486" y="840569"/>
                  </a:lnTo>
                  <a:lnTo>
                    <a:pt x="4455984" y="842659"/>
                  </a:lnTo>
                  <a:lnTo>
                    <a:pt x="4460767" y="850319"/>
                  </a:lnTo>
                  <a:lnTo>
                    <a:pt x="4462162" y="851612"/>
                  </a:lnTo>
                  <a:lnTo>
                    <a:pt x="4463856" y="851612"/>
                  </a:lnTo>
                  <a:lnTo>
                    <a:pt x="4466945" y="851612"/>
                  </a:lnTo>
                  <a:lnTo>
                    <a:pt x="4469535" y="852309"/>
                  </a:lnTo>
                  <a:lnTo>
                    <a:pt x="4471628" y="853503"/>
                  </a:lnTo>
                  <a:lnTo>
                    <a:pt x="4473721" y="853503"/>
                  </a:lnTo>
                  <a:lnTo>
                    <a:pt x="4476112" y="851413"/>
                  </a:lnTo>
                  <a:lnTo>
                    <a:pt x="4479101" y="855990"/>
                  </a:lnTo>
                  <a:lnTo>
                    <a:pt x="4480696" y="856985"/>
                  </a:lnTo>
                  <a:lnTo>
                    <a:pt x="4483884" y="856985"/>
                  </a:lnTo>
                  <a:lnTo>
                    <a:pt x="4480995" y="861362"/>
                  </a:lnTo>
                  <a:lnTo>
                    <a:pt x="4477607" y="863252"/>
                  </a:lnTo>
                  <a:lnTo>
                    <a:pt x="4473920" y="864446"/>
                  </a:lnTo>
                  <a:lnTo>
                    <a:pt x="4470034" y="866237"/>
                  </a:lnTo>
                  <a:lnTo>
                    <a:pt x="4473222" y="869023"/>
                  </a:lnTo>
                  <a:lnTo>
                    <a:pt x="4483187" y="870714"/>
                  </a:lnTo>
                  <a:lnTo>
                    <a:pt x="4486176" y="874296"/>
                  </a:lnTo>
                  <a:lnTo>
                    <a:pt x="4468340" y="871908"/>
                  </a:lnTo>
                  <a:lnTo>
                    <a:pt x="4465450" y="872505"/>
                  </a:lnTo>
                  <a:lnTo>
                    <a:pt x="4465450" y="874097"/>
                  </a:lnTo>
                  <a:lnTo>
                    <a:pt x="4467244" y="876086"/>
                  </a:lnTo>
                  <a:lnTo>
                    <a:pt x="4471927" y="879270"/>
                  </a:lnTo>
                  <a:lnTo>
                    <a:pt x="4473521" y="880762"/>
                  </a:lnTo>
                  <a:lnTo>
                    <a:pt x="4476610" y="884642"/>
                  </a:lnTo>
                  <a:lnTo>
                    <a:pt x="4477208" y="885737"/>
                  </a:lnTo>
                  <a:lnTo>
                    <a:pt x="4477208" y="886533"/>
                  </a:lnTo>
                  <a:lnTo>
                    <a:pt x="4477806" y="887328"/>
                  </a:lnTo>
                  <a:lnTo>
                    <a:pt x="4479002" y="888224"/>
                  </a:lnTo>
                  <a:lnTo>
                    <a:pt x="4483984" y="888224"/>
                  </a:lnTo>
                  <a:lnTo>
                    <a:pt x="4486575" y="888224"/>
                  </a:lnTo>
                  <a:lnTo>
                    <a:pt x="4491258" y="889716"/>
                  </a:lnTo>
                  <a:lnTo>
                    <a:pt x="4493550" y="889716"/>
                  </a:lnTo>
                  <a:lnTo>
                    <a:pt x="4494247" y="889716"/>
                  </a:lnTo>
                  <a:lnTo>
                    <a:pt x="4496937" y="892303"/>
                  </a:lnTo>
                  <a:lnTo>
                    <a:pt x="4498133" y="892999"/>
                  </a:lnTo>
                  <a:lnTo>
                    <a:pt x="4502617" y="892999"/>
                  </a:lnTo>
                  <a:lnTo>
                    <a:pt x="4504909" y="892999"/>
                  </a:lnTo>
                  <a:lnTo>
                    <a:pt x="4506802" y="893696"/>
                  </a:lnTo>
                  <a:lnTo>
                    <a:pt x="4510389" y="896083"/>
                  </a:lnTo>
                  <a:lnTo>
                    <a:pt x="4506902" y="896879"/>
                  </a:lnTo>
                  <a:lnTo>
                    <a:pt x="4498930" y="894790"/>
                  </a:lnTo>
                  <a:lnTo>
                    <a:pt x="4496539" y="897178"/>
                  </a:lnTo>
                  <a:lnTo>
                    <a:pt x="4500026" y="899864"/>
                  </a:lnTo>
                  <a:lnTo>
                    <a:pt x="4506304" y="906728"/>
                  </a:lnTo>
                  <a:lnTo>
                    <a:pt x="4509592" y="908718"/>
                  </a:lnTo>
                  <a:lnTo>
                    <a:pt x="4514375" y="909315"/>
                  </a:lnTo>
                  <a:lnTo>
                    <a:pt x="4516866" y="910111"/>
                  </a:lnTo>
                  <a:lnTo>
                    <a:pt x="4516866" y="911703"/>
                  </a:lnTo>
                  <a:lnTo>
                    <a:pt x="4515671" y="911703"/>
                  </a:lnTo>
                  <a:lnTo>
                    <a:pt x="4513180" y="910310"/>
                  </a:lnTo>
                  <a:lnTo>
                    <a:pt x="4512183" y="910310"/>
                  </a:lnTo>
                  <a:lnTo>
                    <a:pt x="4511585" y="911603"/>
                  </a:lnTo>
                  <a:lnTo>
                    <a:pt x="4511585" y="913096"/>
                  </a:lnTo>
                  <a:lnTo>
                    <a:pt x="4512183" y="914290"/>
                  </a:lnTo>
                  <a:lnTo>
                    <a:pt x="4513379" y="914886"/>
                  </a:lnTo>
                  <a:lnTo>
                    <a:pt x="4515770" y="917175"/>
                  </a:lnTo>
                  <a:lnTo>
                    <a:pt x="4515770" y="922447"/>
                  </a:lnTo>
                  <a:lnTo>
                    <a:pt x="4514276" y="928118"/>
                  </a:lnTo>
                  <a:lnTo>
                    <a:pt x="4512781" y="931501"/>
                  </a:lnTo>
                  <a:lnTo>
                    <a:pt x="4510091" y="934187"/>
                  </a:lnTo>
                  <a:lnTo>
                    <a:pt x="4506005" y="937371"/>
                  </a:lnTo>
                  <a:lnTo>
                    <a:pt x="4501920" y="938863"/>
                  </a:lnTo>
                  <a:lnTo>
                    <a:pt x="4499329" y="936575"/>
                  </a:lnTo>
                  <a:lnTo>
                    <a:pt x="4501322" y="934485"/>
                  </a:lnTo>
                  <a:lnTo>
                    <a:pt x="4506105" y="931501"/>
                  </a:lnTo>
                  <a:lnTo>
                    <a:pt x="4507998" y="929710"/>
                  </a:lnTo>
                  <a:lnTo>
                    <a:pt x="4508995" y="928417"/>
                  </a:lnTo>
                  <a:lnTo>
                    <a:pt x="4509592" y="927123"/>
                  </a:lnTo>
                  <a:lnTo>
                    <a:pt x="4509592" y="928715"/>
                  </a:lnTo>
                  <a:lnTo>
                    <a:pt x="4508895" y="927024"/>
                  </a:lnTo>
                  <a:lnTo>
                    <a:pt x="4507699" y="926327"/>
                  </a:lnTo>
                  <a:lnTo>
                    <a:pt x="4504511" y="926327"/>
                  </a:lnTo>
                  <a:lnTo>
                    <a:pt x="4503215" y="925532"/>
                  </a:lnTo>
                  <a:lnTo>
                    <a:pt x="4500824" y="923044"/>
                  </a:lnTo>
                  <a:lnTo>
                    <a:pt x="4498632" y="921851"/>
                  </a:lnTo>
                  <a:lnTo>
                    <a:pt x="4496340" y="921851"/>
                  </a:lnTo>
                  <a:lnTo>
                    <a:pt x="4493649" y="921851"/>
                  </a:lnTo>
                  <a:lnTo>
                    <a:pt x="4491059" y="920259"/>
                  </a:lnTo>
                  <a:lnTo>
                    <a:pt x="4491059" y="916677"/>
                  </a:lnTo>
                  <a:lnTo>
                    <a:pt x="4492254" y="912797"/>
                  </a:lnTo>
                  <a:lnTo>
                    <a:pt x="4492254" y="909216"/>
                  </a:lnTo>
                  <a:lnTo>
                    <a:pt x="4492852" y="909216"/>
                  </a:lnTo>
                  <a:lnTo>
                    <a:pt x="4494048" y="908320"/>
                  </a:lnTo>
                  <a:lnTo>
                    <a:pt x="4491756" y="906330"/>
                  </a:lnTo>
                  <a:lnTo>
                    <a:pt x="4490760" y="904938"/>
                  </a:lnTo>
                  <a:lnTo>
                    <a:pt x="4489664" y="904938"/>
                  </a:lnTo>
                  <a:lnTo>
                    <a:pt x="4482489" y="911006"/>
                  </a:lnTo>
                  <a:lnTo>
                    <a:pt x="4479898" y="912200"/>
                  </a:lnTo>
                  <a:lnTo>
                    <a:pt x="4477407" y="911603"/>
                  </a:lnTo>
                  <a:lnTo>
                    <a:pt x="4478902" y="909116"/>
                  </a:lnTo>
                  <a:lnTo>
                    <a:pt x="4483685" y="905634"/>
                  </a:lnTo>
                  <a:lnTo>
                    <a:pt x="4485279" y="903545"/>
                  </a:lnTo>
                  <a:lnTo>
                    <a:pt x="4486276" y="898073"/>
                  </a:lnTo>
                  <a:lnTo>
                    <a:pt x="4487372" y="896581"/>
                  </a:lnTo>
                  <a:lnTo>
                    <a:pt x="4490560" y="896581"/>
                  </a:lnTo>
                  <a:lnTo>
                    <a:pt x="4484881" y="893895"/>
                  </a:lnTo>
                  <a:lnTo>
                    <a:pt x="4478603" y="893099"/>
                  </a:lnTo>
                  <a:lnTo>
                    <a:pt x="4454489" y="895486"/>
                  </a:lnTo>
                  <a:lnTo>
                    <a:pt x="4446219" y="897775"/>
                  </a:lnTo>
                  <a:lnTo>
                    <a:pt x="4443528" y="897775"/>
                  </a:lnTo>
                  <a:lnTo>
                    <a:pt x="4442034" y="896979"/>
                  </a:lnTo>
                  <a:lnTo>
                    <a:pt x="4441137" y="896282"/>
                  </a:lnTo>
                  <a:lnTo>
                    <a:pt x="4440141" y="896282"/>
                  </a:lnTo>
                  <a:lnTo>
                    <a:pt x="4438347" y="896979"/>
                  </a:lnTo>
                  <a:lnTo>
                    <a:pt x="4434162" y="902251"/>
                  </a:lnTo>
                  <a:lnTo>
                    <a:pt x="4432567" y="903545"/>
                  </a:lnTo>
                  <a:lnTo>
                    <a:pt x="4425194" y="904440"/>
                  </a:lnTo>
                  <a:lnTo>
                    <a:pt x="4422802" y="905137"/>
                  </a:lnTo>
                  <a:lnTo>
                    <a:pt x="4422204" y="906231"/>
                  </a:lnTo>
                  <a:lnTo>
                    <a:pt x="4421009" y="910807"/>
                  </a:lnTo>
                  <a:lnTo>
                    <a:pt x="4420012" y="912598"/>
                  </a:lnTo>
                  <a:lnTo>
                    <a:pt x="4417123" y="916080"/>
                  </a:lnTo>
                  <a:lnTo>
                    <a:pt x="4416425" y="917971"/>
                  </a:lnTo>
                  <a:lnTo>
                    <a:pt x="4417322" y="919264"/>
                  </a:lnTo>
                  <a:lnTo>
                    <a:pt x="4418617" y="920458"/>
                  </a:lnTo>
                  <a:lnTo>
                    <a:pt x="4419713" y="922547"/>
                  </a:lnTo>
                  <a:lnTo>
                    <a:pt x="4420610" y="921453"/>
                  </a:lnTo>
                  <a:lnTo>
                    <a:pt x="4421806" y="918965"/>
                  </a:lnTo>
                  <a:lnTo>
                    <a:pt x="4424197" y="917175"/>
                  </a:lnTo>
                  <a:lnTo>
                    <a:pt x="4425593" y="916478"/>
                  </a:lnTo>
                  <a:lnTo>
                    <a:pt x="4426290" y="917175"/>
                  </a:lnTo>
                  <a:lnTo>
                    <a:pt x="4426290" y="919065"/>
                  </a:lnTo>
                  <a:lnTo>
                    <a:pt x="4427187" y="919562"/>
                  </a:lnTo>
                  <a:lnTo>
                    <a:pt x="4428084" y="918866"/>
                  </a:lnTo>
                  <a:lnTo>
                    <a:pt x="4428084" y="917175"/>
                  </a:lnTo>
                  <a:lnTo>
                    <a:pt x="4429279" y="913693"/>
                  </a:lnTo>
                  <a:lnTo>
                    <a:pt x="4432169" y="913693"/>
                  </a:lnTo>
                  <a:lnTo>
                    <a:pt x="4438048" y="915682"/>
                  </a:lnTo>
                  <a:lnTo>
                    <a:pt x="4446219" y="916876"/>
                  </a:lnTo>
                  <a:lnTo>
                    <a:pt x="4447215" y="917871"/>
                  </a:lnTo>
                  <a:lnTo>
                    <a:pt x="4444724" y="919463"/>
                  </a:lnTo>
                  <a:lnTo>
                    <a:pt x="4441336" y="919463"/>
                  </a:lnTo>
                  <a:lnTo>
                    <a:pt x="4439343" y="920259"/>
                  </a:lnTo>
                  <a:lnTo>
                    <a:pt x="4441236" y="923243"/>
                  </a:lnTo>
                  <a:lnTo>
                    <a:pt x="4443329" y="925034"/>
                  </a:lnTo>
                  <a:lnTo>
                    <a:pt x="4448212" y="927621"/>
                  </a:lnTo>
                  <a:lnTo>
                    <a:pt x="4451500" y="930705"/>
                  </a:lnTo>
                  <a:lnTo>
                    <a:pt x="4452496" y="931302"/>
                  </a:lnTo>
                  <a:lnTo>
                    <a:pt x="4453094" y="932098"/>
                  </a:lnTo>
                  <a:lnTo>
                    <a:pt x="4453094" y="934286"/>
                  </a:lnTo>
                  <a:lnTo>
                    <a:pt x="4453792" y="935281"/>
                  </a:lnTo>
                  <a:lnTo>
                    <a:pt x="4455386" y="935281"/>
                  </a:lnTo>
                  <a:lnTo>
                    <a:pt x="4458774" y="935281"/>
                  </a:lnTo>
                  <a:lnTo>
                    <a:pt x="4461863" y="934585"/>
                  </a:lnTo>
                  <a:lnTo>
                    <a:pt x="4464155" y="933192"/>
                  </a:lnTo>
                  <a:lnTo>
                    <a:pt x="4468838" y="929511"/>
                  </a:lnTo>
                  <a:lnTo>
                    <a:pt x="4474219" y="927123"/>
                  </a:lnTo>
                  <a:lnTo>
                    <a:pt x="4477208" y="927123"/>
                  </a:lnTo>
                  <a:lnTo>
                    <a:pt x="4479201" y="927720"/>
                  </a:lnTo>
                  <a:lnTo>
                    <a:pt x="4479201" y="928417"/>
                  </a:lnTo>
                  <a:lnTo>
                    <a:pt x="4478603" y="930008"/>
                  </a:lnTo>
                  <a:lnTo>
                    <a:pt x="4480995" y="931401"/>
                  </a:lnTo>
                  <a:lnTo>
                    <a:pt x="4481891" y="934983"/>
                  </a:lnTo>
                  <a:lnTo>
                    <a:pt x="4482688" y="936873"/>
                  </a:lnTo>
                  <a:lnTo>
                    <a:pt x="4484681" y="933391"/>
                  </a:lnTo>
                  <a:lnTo>
                    <a:pt x="4485379" y="935679"/>
                  </a:lnTo>
                  <a:lnTo>
                    <a:pt x="4485379" y="938664"/>
                  </a:lnTo>
                  <a:lnTo>
                    <a:pt x="4486575" y="939659"/>
                  </a:lnTo>
                  <a:lnTo>
                    <a:pt x="4486575" y="941251"/>
                  </a:lnTo>
                  <a:lnTo>
                    <a:pt x="4485777" y="942643"/>
                  </a:lnTo>
                  <a:lnTo>
                    <a:pt x="4484781" y="943638"/>
                  </a:lnTo>
                  <a:lnTo>
                    <a:pt x="4483486" y="944235"/>
                  </a:lnTo>
                  <a:lnTo>
                    <a:pt x="4483486" y="945529"/>
                  </a:lnTo>
                  <a:lnTo>
                    <a:pt x="4487671" y="944235"/>
                  </a:lnTo>
                  <a:lnTo>
                    <a:pt x="4517564" y="943240"/>
                  </a:lnTo>
                  <a:lnTo>
                    <a:pt x="4517564" y="944235"/>
                  </a:lnTo>
                  <a:lnTo>
                    <a:pt x="4515770" y="944235"/>
                  </a:lnTo>
                  <a:lnTo>
                    <a:pt x="4513777" y="945131"/>
                  </a:lnTo>
                  <a:lnTo>
                    <a:pt x="4512382" y="946424"/>
                  </a:lnTo>
                  <a:lnTo>
                    <a:pt x="4512382" y="948613"/>
                  </a:lnTo>
                  <a:lnTo>
                    <a:pt x="4504511" y="953885"/>
                  </a:lnTo>
                  <a:lnTo>
                    <a:pt x="4502318" y="956174"/>
                  </a:lnTo>
                  <a:lnTo>
                    <a:pt x="4500026" y="957865"/>
                  </a:lnTo>
                  <a:lnTo>
                    <a:pt x="4497137" y="957865"/>
                  </a:lnTo>
                  <a:lnTo>
                    <a:pt x="4491856" y="957865"/>
                  </a:lnTo>
                  <a:lnTo>
                    <a:pt x="4491059" y="957368"/>
                  </a:lnTo>
                  <a:lnTo>
                    <a:pt x="4489564" y="955278"/>
                  </a:lnTo>
                  <a:lnTo>
                    <a:pt x="4488866" y="954582"/>
                  </a:lnTo>
                  <a:lnTo>
                    <a:pt x="4487471" y="953786"/>
                  </a:lnTo>
                  <a:lnTo>
                    <a:pt x="4486076" y="953786"/>
                  </a:lnTo>
                  <a:lnTo>
                    <a:pt x="4482788" y="953786"/>
                  </a:lnTo>
                  <a:lnTo>
                    <a:pt x="4479799" y="954781"/>
                  </a:lnTo>
                  <a:lnTo>
                    <a:pt x="4477806" y="956472"/>
                  </a:lnTo>
                  <a:lnTo>
                    <a:pt x="4477208" y="959158"/>
                  </a:lnTo>
                  <a:lnTo>
                    <a:pt x="4478404" y="962839"/>
                  </a:lnTo>
                  <a:lnTo>
                    <a:pt x="4467144" y="973286"/>
                  </a:lnTo>
                  <a:lnTo>
                    <a:pt x="4463856" y="975375"/>
                  </a:lnTo>
                  <a:lnTo>
                    <a:pt x="4462461" y="976668"/>
                  </a:lnTo>
                  <a:lnTo>
                    <a:pt x="4461963" y="978459"/>
                  </a:lnTo>
                  <a:lnTo>
                    <a:pt x="4461066" y="979852"/>
                  </a:lnTo>
                  <a:lnTo>
                    <a:pt x="4458973" y="979852"/>
                  </a:lnTo>
                  <a:lnTo>
                    <a:pt x="4454987" y="979852"/>
                  </a:lnTo>
                  <a:lnTo>
                    <a:pt x="4451500" y="980449"/>
                  </a:lnTo>
                  <a:lnTo>
                    <a:pt x="4447813" y="981742"/>
                  </a:lnTo>
                  <a:lnTo>
                    <a:pt x="4444126" y="983831"/>
                  </a:lnTo>
                  <a:lnTo>
                    <a:pt x="4441037" y="986816"/>
                  </a:lnTo>
                  <a:lnTo>
                    <a:pt x="4436753" y="994974"/>
                  </a:lnTo>
                  <a:lnTo>
                    <a:pt x="4433963" y="997560"/>
                  </a:lnTo>
                  <a:lnTo>
                    <a:pt x="4430674" y="995869"/>
                  </a:lnTo>
                  <a:lnTo>
                    <a:pt x="4428881" y="996864"/>
                  </a:lnTo>
                  <a:lnTo>
                    <a:pt x="4428881" y="1003530"/>
                  </a:lnTo>
                  <a:lnTo>
                    <a:pt x="4428881" y="1006216"/>
                  </a:lnTo>
                  <a:lnTo>
                    <a:pt x="4429977" y="1009200"/>
                  </a:lnTo>
                  <a:lnTo>
                    <a:pt x="4431671" y="1010991"/>
                  </a:lnTo>
                  <a:lnTo>
                    <a:pt x="4443827" y="1019746"/>
                  </a:lnTo>
                  <a:lnTo>
                    <a:pt x="4453194" y="1023427"/>
                  </a:lnTo>
                  <a:lnTo>
                    <a:pt x="4458176" y="1024024"/>
                  </a:lnTo>
                  <a:lnTo>
                    <a:pt x="4479500" y="1021835"/>
                  </a:lnTo>
                  <a:lnTo>
                    <a:pt x="4481891" y="1021835"/>
                  </a:lnTo>
                  <a:lnTo>
                    <a:pt x="4482987" y="1021835"/>
                  </a:lnTo>
                  <a:lnTo>
                    <a:pt x="4484183" y="1022631"/>
                  </a:lnTo>
                  <a:lnTo>
                    <a:pt x="4485279" y="1023726"/>
                  </a:lnTo>
                  <a:lnTo>
                    <a:pt x="4486276" y="1024919"/>
                  </a:lnTo>
                  <a:lnTo>
                    <a:pt x="4486276" y="1026113"/>
                  </a:lnTo>
                  <a:lnTo>
                    <a:pt x="4486276" y="1029595"/>
                  </a:lnTo>
                  <a:lnTo>
                    <a:pt x="4486276" y="1030491"/>
                  </a:lnTo>
                  <a:lnTo>
                    <a:pt x="4488667" y="1031386"/>
                  </a:lnTo>
                  <a:lnTo>
                    <a:pt x="4513678" y="1032779"/>
                  </a:lnTo>
                  <a:lnTo>
                    <a:pt x="4533607" y="1033973"/>
                  </a:lnTo>
                  <a:lnTo>
                    <a:pt x="4538589" y="1037156"/>
                  </a:lnTo>
                  <a:lnTo>
                    <a:pt x="4541977" y="1049393"/>
                  </a:lnTo>
                  <a:lnTo>
                    <a:pt x="4545863" y="1053472"/>
                  </a:lnTo>
                  <a:lnTo>
                    <a:pt x="4548653" y="1053472"/>
                  </a:lnTo>
                  <a:lnTo>
                    <a:pt x="4566389" y="1051085"/>
                  </a:lnTo>
                  <a:lnTo>
                    <a:pt x="4568482" y="1051881"/>
                  </a:lnTo>
                  <a:lnTo>
                    <a:pt x="4572767" y="1049891"/>
                  </a:lnTo>
                  <a:lnTo>
                    <a:pt x="4582233" y="1049194"/>
                  </a:lnTo>
                  <a:lnTo>
                    <a:pt x="4586219" y="1046707"/>
                  </a:lnTo>
                  <a:lnTo>
                    <a:pt x="4587215" y="1044121"/>
                  </a:lnTo>
                  <a:lnTo>
                    <a:pt x="4587215" y="1041832"/>
                  </a:lnTo>
                  <a:lnTo>
                    <a:pt x="4587215" y="1040042"/>
                  </a:lnTo>
                  <a:lnTo>
                    <a:pt x="4591599" y="1038947"/>
                  </a:lnTo>
                  <a:lnTo>
                    <a:pt x="4595585" y="1037156"/>
                  </a:lnTo>
                  <a:lnTo>
                    <a:pt x="4611728" y="1034570"/>
                  </a:lnTo>
                  <a:lnTo>
                    <a:pt x="4627770" y="1035565"/>
                  </a:lnTo>
                  <a:lnTo>
                    <a:pt x="4647001" y="1036659"/>
                  </a:lnTo>
                  <a:lnTo>
                    <a:pt x="4650091" y="1037554"/>
                  </a:lnTo>
                  <a:lnTo>
                    <a:pt x="4659059" y="1042927"/>
                  </a:lnTo>
                  <a:lnTo>
                    <a:pt x="4678987" y="1048100"/>
                  </a:lnTo>
                  <a:lnTo>
                    <a:pt x="4688952" y="1050189"/>
                  </a:lnTo>
                  <a:lnTo>
                    <a:pt x="4691343" y="1053074"/>
                  </a:lnTo>
                  <a:lnTo>
                    <a:pt x="4691343" y="1055761"/>
                  </a:lnTo>
                  <a:lnTo>
                    <a:pt x="4688952" y="1056656"/>
                  </a:lnTo>
                  <a:lnTo>
                    <a:pt x="4683272" y="1057949"/>
                  </a:lnTo>
                  <a:lnTo>
                    <a:pt x="4680781" y="1059044"/>
                  </a:lnTo>
                  <a:lnTo>
                    <a:pt x="4679784" y="1062924"/>
                  </a:lnTo>
                  <a:lnTo>
                    <a:pt x="4681678" y="1065311"/>
                  </a:lnTo>
                  <a:lnTo>
                    <a:pt x="4685066" y="1065908"/>
                  </a:lnTo>
                  <a:lnTo>
                    <a:pt x="4687557" y="1066505"/>
                  </a:lnTo>
                  <a:lnTo>
                    <a:pt x="4698617" y="1065112"/>
                  </a:lnTo>
                  <a:lnTo>
                    <a:pt x="4704098" y="1065112"/>
                  </a:lnTo>
                  <a:lnTo>
                    <a:pt x="4708681" y="1067202"/>
                  </a:lnTo>
                  <a:lnTo>
                    <a:pt x="4710774" y="1070883"/>
                  </a:lnTo>
                  <a:lnTo>
                    <a:pt x="4711571" y="1073569"/>
                  </a:lnTo>
                  <a:lnTo>
                    <a:pt x="4711571" y="1080434"/>
                  </a:lnTo>
                  <a:lnTo>
                    <a:pt x="4712169" y="1084413"/>
                  </a:lnTo>
                  <a:lnTo>
                    <a:pt x="4713564" y="1087199"/>
                  </a:lnTo>
                  <a:lnTo>
                    <a:pt x="4717849" y="1092273"/>
                  </a:lnTo>
                  <a:lnTo>
                    <a:pt x="4722034" y="1100431"/>
                  </a:lnTo>
                  <a:lnTo>
                    <a:pt x="4723628" y="1102122"/>
                  </a:lnTo>
                  <a:lnTo>
                    <a:pt x="4725920" y="1102122"/>
                  </a:lnTo>
                  <a:lnTo>
                    <a:pt x="4729208" y="1101027"/>
                  </a:lnTo>
                  <a:lnTo>
                    <a:pt x="4732297" y="1099436"/>
                  </a:lnTo>
                  <a:lnTo>
                    <a:pt x="4733891" y="1097744"/>
                  </a:lnTo>
                  <a:lnTo>
                    <a:pt x="4733891" y="1094262"/>
                  </a:lnTo>
                  <a:lnTo>
                    <a:pt x="4732695" y="1090880"/>
                  </a:lnTo>
                  <a:lnTo>
                    <a:pt x="4732695" y="1087497"/>
                  </a:lnTo>
                  <a:lnTo>
                    <a:pt x="4735386" y="1084115"/>
                  </a:lnTo>
                  <a:lnTo>
                    <a:pt x="4738275" y="1082722"/>
                  </a:lnTo>
                  <a:lnTo>
                    <a:pt x="4751429" y="1081030"/>
                  </a:lnTo>
                  <a:lnTo>
                    <a:pt x="4762190" y="1081627"/>
                  </a:lnTo>
                  <a:lnTo>
                    <a:pt x="4765578" y="1083617"/>
                  </a:lnTo>
                  <a:lnTo>
                    <a:pt x="4767272" y="1087199"/>
                  </a:lnTo>
                  <a:lnTo>
                    <a:pt x="4768368" y="1091477"/>
                  </a:lnTo>
                  <a:lnTo>
                    <a:pt x="4770062" y="1095556"/>
                  </a:lnTo>
                  <a:lnTo>
                    <a:pt x="4772055" y="1098043"/>
                  </a:lnTo>
                  <a:lnTo>
                    <a:pt x="4774147" y="1099834"/>
                  </a:lnTo>
                  <a:lnTo>
                    <a:pt x="4776539" y="1101226"/>
                  </a:lnTo>
                  <a:lnTo>
                    <a:pt x="4789792" y="1106599"/>
                  </a:lnTo>
                  <a:lnTo>
                    <a:pt x="4800852" y="1107992"/>
                  </a:lnTo>
                  <a:lnTo>
                    <a:pt x="4803543" y="1109285"/>
                  </a:lnTo>
                  <a:lnTo>
                    <a:pt x="4805635" y="1111175"/>
                  </a:lnTo>
                  <a:lnTo>
                    <a:pt x="4809720" y="1116249"/>
                  </a:lnTo>
                  <a:lnTo>
                    <a:pt x="4807030" y="1120527"/>
                  </a:lnTo>
                  <a:lnTo>
                    <a:pt x="4810119" y="1122815"/>
                  </a:lnTo>
                  <a:lnTo>
                    <a:pt x="4819386" y="1124208"/>
                  </a:lnTo>
                  <a:lnTo>
                    <a:pt x="4822774" y="1124208"/>
                  </a:lnTo>
                  <a:lnTo>
                    <a:pt x="4823770" y="1124208"/>
                  </a:lnTo>
                  <a:lnTo>
                    <a:pt x="4824866" y="1125402"/>
                  </a:lnTo>
                  <a:lnTo>
                    <a:pt x="4824866" y="1127093"/>
                  </a:lnTo>
                  <a:lnTo>
                    <a:pt x="4824169" y="1128784"/>
                  </a:lnTo>
                  <a:lnTo>
                    <a:pt x="4824169" y="1130177"/>
                  </a:lnTo>
                  <a:lnTo>
                    <a:pt x="4825664" y="1130874"/>
                  </a:lnTo>
                  <a:lnTo>
                    <a:pt x="4836824" y="1129978"/>
                  </a:lnTo>
                  <a:lnTo>
                    <a:pt x="4839614" y="1130774"/>
                  </a:lnTo>
                  <a:lnTo>
                    <a:pt x="4842005" y="1132068"/>
                  </a:lnTo>
                  <a:lnTo>
                    <a:pt x="4844297" y="1132764"/>
                  </a:lnTo>
                  <a:lnTo>
                    <a:pt x="4852169" y="1129282"/>
                  </a:lnTo>
                  <a:lnTo>
                    <a:pt x="4863528" y="1128088"/>
                  </a:lnTo>
                  <a:lnTo>
                    <a:pt x="4868411" y="1125203"/>
                  </a:lnTo>
                  <a:lnTo>
                    <a:pt x="4872696" y="1121024"/>
                  </a:lnTo>
                  <a:lnTo>
                    <a:pt x="4889535" y="1110578"/>
                  </a:lnTo>
                  <a:lnTo>
                    <a:pt x="4895016" y="1108191"/>
                  </a:lnTo>
                  <a:lnTo>
                    <a:pt x="4897507" y="1106698"/>
                  </a:lnTo>
                  <a:lnTo>
                    <a:pt x="4908268" y="1101226"/>
                  </a:lnTo>
                  <a:lnTo>
                    <a:pt x="4914546" y="1100033"/>
                  </a:lnTo>
                  <a:lnTo>
                    <a:pt x="4918731" y="1102420"/>
                  </a:lnTo>
                  <a:lnTo>
                    <a:pt x="4918731" y="1104012"/>
                  </a:lnTo>
                  <a:lnTo>
                    <a:pt x="4917436" y="1106002"/>
                  </a:lnTo>
                  <a:lnTo>
                    <a:pt x="4917436" y="1107494"/>
                  </a:lnTo>
                  <a:lnTo>
                    <a:pt x="4918233" y="1109583"/>
                  </a:lnTo>
                  <a:lnTo>
                    <a:pt x="4919329" y="1110379"/>
                  </a:lnTo>
                  <a:lnTo>
                    <a:pt x="4920624" y="1110976"/>
                  </a:lnTo>
                  <a:lnTo>
                    <a:pt x="4922119" y="1112170"/>
                  </a:lnTo>
                  <a:lnTo>
                    <a:pt x="4923315" y="1114458"/>
                  </a:lnTo>
                  <a:lnTo>
                    <a:pt x="4924112" y="1119433"/>
                  </a:lnTo>
                  <a:lnTo>
                    <a:pt x="4925407" y="1122218"/>
                  </a:lnTo>
                  <a:lnTo>
                    <a:pt x="4929991" y="1124904"/>
                  </a:lnTo>
                  <a:lnTo>
                    <a:pt x="4936169" y="1124904"/>
                  </a:lnTo>
                  <a:lnTo>
                    <a:pt x="4947628" y="1121721"/>
                  </a:lnTo>
                  <a:lnTo>
                    <a:pt x="4950717" y="1121721"/>
                  </a:lnTo>
                  <a:lnTo>
                    <a:pt x="4952411" y="1122815"/>
                  </a:lnTo>
                  <a:lnTo>
                    <a:pt x="4953806" y="1124308"/>
                  </a:lnTo>
                  <a:lnTo>
                    <a:pt x="4956396" y="1125203"/>
                  </a:lnTo>
                  <a:lnTo>
                    <a:pt x="4957692" y="1125203"/>
                  </a:lnTo>
                  <a:lnTo>
                    <a:pt x="4961478" y="1123512"/>
                  </a:lnTo>
                  <a:lnTo>
                    <a:pt x="4962973" y="1123512"/>
                  </a:lnTo>
                  <a:lnTo>
                    <a:pt x="4963870" y="1123512"/>
                  </a:lnTo>
                  <a:lnTo>
                    <a:pt x="4964567" y="1123512"/>
                  </a:lnTo>
                  <a:lnTo>
                    <a:pt x="4965464" y="1123512"/>
                  </a:lnTo>
                  <a:lnTo>
                    <a:pt x="5002432" y="1119035"/>
                  </a:lnTo>
                  <a:lnTo>
                    <a:pt x="5009806" y="1119035"/>
                  </a:lnTo>
                  <a:lnTo>
                    <a:pt x="5015784" y="1121422"/>
                  </a:lnTo>
                  <a:lnTo>
                    <a:pt x="5017379" y="1123114"/>
                  </a:lnTo>
                  <a:lnTo>
                    <a:pt x="5024055" y="1133062"/>
                  </a:lnTo>
                  <a:lnTo>
                    <a:pt x="5025649" y="1134953"/>
                  </a:lnTo>
                  <a:lnTo>
                    <a:pt x="5027542" y="1136345"/>
                  </a:lnTo>
                  <a:lnTo>
                    <a:pt x="5035215" y="1140126"/>
                  </a:lnTo>
                  <a:lnTo>
                    <a:pt x="5037507" y="1140126"/>
                  </a:lnTo>
                  <a:lnTo>
                    <a:pt x="5049962" y="1135450"/>
                  </a:lnTo>
                  <a:lnTo>
                    <a:pt x="5052852" y="1134853"/>
                  </a:lnTo>
                  <a:lnTo>
                    <a:pt x="5055144" y="1134853"/>
                  </a:lnTo>
                  <a:lnTo>
                    <a:pt x="5057336" y="1135450"/>
                  </a:lnTo>
                  <a:lnTo>
                    <a:pt x="5060026" y="1136743"/>
                  </a:lnTo>
                  <a:lnTo>
                    <a:pt x="5061521" y="1136743"/>
                  </a:lnTo>
                  <a:lnTo>
                    <a:pt x="5065806" y="1135948"/>
                  </a:lnTo>
                  <a:lnTo>
                    <a:pt x="5068596" y="1135948"/>
                  </a:lnTo>
                  <a:lnTo>
                    <a:pt x="5076667" y="1137838"/>
                  </a:lnTo>
                  <a:lnTo>
                    <a:pt x="5078062" y="1137838"/>
                  </a:lnTo>
                  <a:lnTo>
                    <a:pt x="5078560" y="1137838"/>
                  </a:lnTo>
                  <a:lnTo>
                    <a:pt x="5078560" y="1137639"/>
                  </a:lnTo>
                  <a:lnTo>
                    <a:pt x="5080354" y="1136445"/>
                  </a:lnTo>
                  <a:lnTo>
                    <a:pt x="5083244" y="1135848"/>
                  </a:lnTo>
                  <a:lnTo>
                    <a:pt x="5085934" y="1134853"/>
                  </a:lnTo>
                  <a:lnTo>
                    <a:pt x="5087129" y="1132465"/>
                  </a:lnTo>
                  <a:lnTo>
                    <a:pt x="5088525" y="1131172"/>
                  </a:lnTo>
                  <a:lnTo>
                    <a:pt x="5093606" y="1131172"/>
                  </a:lnTo>
                  <a:lnTo>
                    <a:pt x="5093606" y="1129481"/>
                  </a:lnTo>
                  <a:lnTo>
                    <a:pt x="5096994" y="1127889"/>
                  </a:lnTo>
                  <a:lnTo>
                    <a:pt x="5098987" y="1126397"/>
                  </a:lnTo>
                  <a:lnTo>
                    <a:pt x="5098489" y="1125402"/>
                  </a:lnTo>
                  <a:lnTo>
                    <a:pt x="5094503" y="1124904"/>
                  </a:lnTo>
                  <a:lnTo>
                    <a:pt x="5097293" y="1122815"/>
                  </a:lnTo>
                  <a:lnTo>
                    <a:pt x="5110048" y="1119333"/>
                  </a:lnTo>
                  <a:lnTo>
                    <a:pt x="5110048" y="1118637"/>
                  </a:lnTo>
                  <a:lnTo>
                    <a:pt x="5110048" y="1118040"/>
                  </a:lnTo>
                  <a:lnTo>
                    <a:pt x="5110048" y="1118040"/>
                  </a:lnTo>
                  <a:lnTo>
                    <a:pt x="5109250" y="1118040"/>
                  </a:lnTo>
                  <a:lnTo>
                    <a:pt x="5114332" y="1112966"/>
                  </a:lnTo>
                  <a:lnTo>
                    <a:pt x="5115728" y="1109782"/>
                  </a:lnTo>
                  <a:lnTo>
                    <a:pt x="5114432" y="1106599"/>
                  </a:lnTo>
                  <a:lnTo>
                    <a:pt x="5115229" y="1105504"/>
                  </a:lnTo>
                  <a:lnTo>
                    <a:pt x="5118318" y="1107096"/>
                  </a:lnTo>
                  <a:lnTo>
                    <a:pt x="5119315" y="1105106"/>
                  </a:lnTo>
                  <a:lnTo>
                    <a:pt x="5119315" y="1105106"/>
                  </a:lnTo>
                  <a:lnTo>
                    <a:pt x="5118219" y="1105106"/>
                  </a:lnTo>
                  <a:lnTo>
                    <a:pt x="5116824" y="1105106"/>
                  </a:lnTo>
                  <a:lnTo>
                    <a:pt x="5116126" y="1104509"/>
                  </a:lnTo>
                  <a:lnTo>
                    <a:pt x="5115528" y="1103415"/>
                  </a:lnTo>
                  <a:lnTo>
                    <a:pt x="5114731" y="1103415"/>
                  </a:lnTo>
                  <a:lnTo>
                    <a:pt x="5113236" y="1104509"/>
                  </a:lnTo>
                  <a:lnTo>
                    <a:pt x="5112339" y="1103813"/>
                  </a:lnTo>
                  <a:lnTo>
                    <a:pt x="5111742" y="1103017"/>
                  </a:lnTo>
                  <a:lnTo>
                    <a:pt x="5111144" y="1102122"/>
                  </a:lnTo>
                  <a:lnTo>
                    <a:pt x="5111144" y="1100928"/>
                  </a:lnTo>
                  <a:lnTo>
                    <a:pt x="5114133" y="1099436"/>
                  </a:lnTo>
                  <a:lnTo>
                    <a:pt x="5115628" y="1098341"/>
                  </a:lnTo>
                  <a:lnTo>
                    <a:pt x="5116824" y="1097147"/>
                  </a:lnTo>
                  <a:lnTo>
                    <a:pt x="5118517" y="1095755"/>
                  </a:lnTo>
                  <a:lnTo>
                    <a:pt x="5120311" y="1095755"/>
                  </a:lnTo>
                  <a:lnTo>
                    <a:pt x="5120311" y="1095755"/>
                  </a:lnTo>
                  <a:lnTo>
                    <a:pt x="5121308" y="1094362"/>
                  </a:lnTo>
                  <a:lnTo>
                    <a:pt x="5122204" y="1093665"/>
                  </a:lnTo>
                  <a:lnTo>
                    <a:pt x="5122902" y="1092969"/>
                  </a:lnTo>
                  <a:lnTo>
                    <a:pt x="5124397" y="1087895"/>
                  </a:lnTo>
                  <a:lnTo>
                    <a:pt x="5125692" y="1086900"/>
                  </a:lnTo>
                  <a:lnTo>
                    <a:pt x="5126688" y="1086900"/>
                  </a:lnTo>
                  <a:lnTo>
                    <a:pt x="5127286" y="1086900"/>
                  </a:lnTo>
                  <a:lnTo>
                    <a:pt x="5127884" y="1084314"/>
                  </a:lnTo>
                  <a:lnTo>
                    <a:pt x="5126290" y="1080533"/>
                  </a:lnTo>
                  <a:lnTo>
                    <a:pt x="5125692" y="1079837"/>
                  </a:lnTo>
                  <a:lnTo>
                    <a:pt x="5123300" y="1078245"/>
                  </a:lnTo>
                  <a:lnTo>
                    <a:pt x="5123300" y="1074464"/>
                  </a:lnTo>
                  <a:lnTo>
                    <a:pt x="5124595" y="1070286"/>
                  </a:lnTo>
                  <a:lnTo>
                    <a:pt x="5125991" y="1067202"/>
                  </a:lnTo>
                  <a:lnTo>
                    <a:pt x="5129479" y="1063421"/>
                  </a:lnTo>
                  <a:lnTo>
                    <a:pt x="5134461" y="1060735"/>
                  </a:lnTo>
                  <a:lnTo>
                    <a:pt x="5176610" y="1046409"/>
                  </a:lnTo>
                  <a:lnTo>
                    <a:pt x="5181193" y="1043325"/>
                  </a:lnTo>
                  <a:lnTo>
                    <a:pt x="5183386" y="1044121"/>
                  </a:lnTo>
                  <a:lnTo>
                    <a:pt x="5183984" y="1046906"/>
                  </a:lnTo>
                  <a:lnTo>
                    <a:pt x="5181991" y="1050786"/>
                  </a:lnTo>
                  <a:lnTo>
                    <a:pt x="5173820" y="1060735"/>
                  </a:lnTo>
                  <a:lnTo>
                    <a:pt x="5172923" y="1066505"/>
                  </a:lnTo>
                  <a:lnTo>
                    <a:pt x="5172226" y="1068396"/>
                  </a:lnTo>
                  <a:lnTo>
                    <a:pt x="5171528" y="1069788"/>
                  </a:lnTo>
                  <a:lnTo>
                    <a:pt x="5171528" y="1071281"/>
                  </a:lnTo>
                  <a:lnTo>
                    <a:pt x="5172425" y="1073469"/>
                  </a:lnTo>
                  <a:lnTo>
                    <a:pt x="5171329" y="1074464"/>
                  </a:lnTo>
                  <a:lnTo>
                    <a:pt x="5171329" y="1075758"/>
                  </a:lnTo>
                  <a:lnTo>
                    <a:pt x="5171329" y="1076951"/>
                  </a:lnTo>
                  <a:lnTo>
                    <a:pt x="5170830" y="1077847"/>
                  </a:lnTo>
                  <a:lnTo>
                    <a:pt x="5169635" y="1077847"/>
                  </a:lnTo>
                  <a:lnTo>
                    <a:pt x="5168439" y="1077847"/>
                  </a:lnTo>
                  <a:lnTo>
                    <a:pt x="5167243" y="1077847"/>
                  </a:lnTo>
                  <a:lnTo>
                    <a:pt x="5165749" y="1078842"/>
                  </a:lnTo>
                  <a:lnTo>
                    <a:pt x="5164553" y="1080732"/>
                  </a:lnTo>
                  <a:lnTo>
                    <a:pt x="5162759" y="1085607"/>
                  </a:lnTo>
                  <a:lnTo>
                    <a:pt x="5161364" y="1087895"/>
                  </a:lnTo>
                  <a:lnTo>
                    <a:pt x="5162759" y="1088989"/>
                  </a:lnTo>
                  <a:lnTo>
                    <a:pt x="5163457" y="1088194"/>
                  </a:lnTo>
                  <a:lnTo>
                    <a:pt x="5163955" y="1086701"/>
                  </a:lnTo>
                  <a:lnTo>
                    <a:pt x="5164852" y="1085706"/>
                  </a:lnTo>
                  <a:lnTo>
                    <a:pt x="5166147" y="1085706"/>
                  </a:lnTo>
                  <a:lnTo>
                    <a:pt x="5168738" y="1085706"/>
                  </a:lnTo>
                  <a:lnTo>
                    <a:pt x="5170133" y="1085706"/>
                  </a:lnTo>
                  <a:lnTo>
                    <a:pt x="5179001" y="1083120"/>
                  </a:lnTo>
                  <a:lnTo>
                    <a:pt x="5183286" y="1080135"/>
                  </a:lnTo>
                  <a:lnTo>
                    <a:pt x="5185877" y="1079339"/>
                  </a:lnTo>
                  <a:lnTo>
                    <a:pt x="5188168" y="1077648"/>
                  </a:lnTo>
                  <a:lnTo>
                    <a:pt x="5189065" y="1073768"/>
                  </a:lnTo>
                  <a:lnTo>
                    <a:pt x="5189065" y="1070584"/>
                  </a:lnTo>
                  <a:lnTo>
                    <a:pt x="5190261" y="1066505"/>
                  </a:lnTo>
                  <a:lnTo>
                    <a:pt x="5193051" y="1059641"/>
                  </a:lnTo>
                  <a:lnTo>
                    <a:pt x="5191756" y="1057154"/>
                  </a:lnTo>
                  <a:lnTo>
                    <a:pt x="5193848" y="1056159"/>
                  </a:lnTo>
                  <a:lnTo>
                    <a:pt x="5199130" y="1055064"/>
                  </a:lnTo>
                  <a:lnTo>
                    <a:pt x="5199727" y="1052876"/>
                  </a:lnTo>
                  <a:lnTo>
                    <a:pt x="5200823" y="1040837"/>
                  </a:lnTo>
                  <a:lnTo>
                    <a:pt x="5201521" y="1037554"/>
                  </a:lnTo>
                  <a:lnTo>
                    <a:pt x="5203315" y="1036062"/>
                  </a:lnTo>
                  <a:lnTo>
                    <a:pt x="5206005" y="1036062"/>
                  </a:lnTo>
                  <a:lnTo>
                    <a:pt x="5209094" y="1036062"/>
                  </a:lnTo>
                  <a:lnTo>
                    <a:pt x="5210888" y="1034669"/>
                  </a:lnTo>
                  <a:lnTo>
                    <a:pt x="5210888" y="1031585"/>
                  </a:lnTo>
                  <a:lnTo>
                    <a:pt x="5210290" y="1028004"/>
                  </a:lnTo>
                  <a:lnTo>
                    <a:pt x="5209194" y="1025715"/>
                  </a:lnTo>
                  <a:lnTo>
                    <a:pt x="5210489" y="1024124"/>
                  </a:lnTo>
                  <a:lnTo>
                    <a:pt x="5212083" y="1023328"/>
                  </a:lnTo>
                  <a:lnTo>
                    <a:pt x="5215372" y="1022333"/>
                  </a:lnTo>
                  <a:lnTo>
                    <a:pt x="5212482" y="1020642"/>
                  </a:lnTo>
                  <a:lnTo>
                    <a:pt x="5211186" y="1018254"/>
                  </a:lnTo>
                  <a:lnTo>
                    <a:pt x="5211186" y="1015269"/>
                  </a:lnTo>
                  <a:lnTo>
                    <a:pt x="5211186" y="1011389"/>
                  </a:lnTo>
                  <a:lnTo>
                    <a:pt x="5211784" y="1010096"/>
                  </a:lnTo>
                  <a:lnTo>
                    <a:pt x="5213179" y="1008405"/>
                  </a:lnTo>
                  <a:lnTo>
                    <a:pt x="5214774" y="1006912"/>
                  </a:lnTo>
                  <a:lnTo>
                    <a:pt x="5217265" y="1005519"/>
                  </a:lnTo>
                  <a:lnTo>
                    <a:pt x="5217265" y="1003928"/>
                  </a:lnTo>
                  <a:lnTo>
                    <a:pt x="5217265" y="1001938"/>
                  </a:lnTo>
                  <a:lnTo>
                    <a:pt x="5217265" y="1000545"/>
                  </a:lnTo>
                  <a:lnTo>
                    <a:pt x="5219855" y="999252"/>
                  </a:lnTo>
                  <a:lnTo>
                    <a:pt x="5223243" y="999252"/>
                  </a:lnTo>
                  <a:lnTo>
                    <a:pt x="5233208" y="1001440"/>
                  </a:lnTo>
                  <a:lnTo>
                    <a:pt x="5235300" y="1003928"/>
                  </a:lnTo>
                  <a:lnTo>
                    <a:pt x="5236596" y="1007310"/>
                  </a:lnTo>
                  <a:lnTo>
                    <a:pt x="5237393" y="1010693"/>
                  </a:lnTo>
                  <a:lnTo>
                    <a:pt x="5237393" y="1011787"/>
                  </a:lnTo>
                  <a:lnTo>
                    <a:pt x="5237990" y="1012882"/>
                  </a:lnTo>
                  <a:lnTo>
                    <a:pt x="5237990" y="1014374"/>
                  </a:lnTo>
                  <a:lnTo>
                    <a:pt x="5237990" y="1016563"/>
                  </a:lnTo>
                  <a:lnTo>
                    <a:pt x="5237990" y="1018353"/>
                  </a:lnTo>
                  <a:lnTo>
                    <a:pt x="5236895" y="1021935"/>
                  </a:lnTo>
                  <a:lnTo>
                    <a:pt x="5236895" y="1023925"/>
                  </a:lnTo>
                  <a:lnTo>
                    <a:pt x="5235898" y="1026312"/>
                  </a:lnTo>
                  <a:lnTo>
                    <a:pt x="5215970" y="1046210"/>
                  </a:lnTo>
                  <a:lnTo>
                    <a:pt x="5210389" y="1049592"/>
                  </a:lnTo>
                  <a:lnTo>
                    <a:pt x="5208496" y="1051980"/>
                  </a:lnTo>
                  <a:lnTo>
                    <a:pt x="5206204" y="1057253"/>
                  </a:lnTo>
                  <a:lnTo>
                    <a:pt x="5204311" y="1059939"/>
                  </a:lnTo>
                  <a:lnTo>
                    <a:pt x="5207699" y="1059939"/>
                  </a:lnTo>
                  <a:lnTo>
                    <a:pt x="5207001" y="1062725"/>
                  </a:lnTo>
                  <a:lnTo>
                    <a:pt x="5207599" y="1064814"/>
                  </a:lnTo>
                  <a:lnTo>
                    <a:pt x="5208496" y="1067003"/>
                  </a:lnTo>
                  <a:lnTo>
                    <a:pt x="5208496" y="1069987"/>
                  </a:lnTo>
                  <a:lnTo>
                    <a:pt x="5213777" y="1067799"/>
                  </a:lnTo>
                  <a:lnTo>
                    <a:pt x="5212581" y="1066207"/>
                  </a:lnTo>
                  <a:lnTo>
                    <a:pt x="5212581" y="1064615"/>
                  </a:lnTo>
                  <a:lnTo>
                    <a:pt x="5214973" y="1062128"/>
                  </a:lnTo>
                  <a:lnTo>
                    <a:pt x="5215471" y="1062128"/>
                  </a:lnTo>
                  <a:lnTo>
                    <a:pt x="5216069" y="1062128"/>
                  </a:lnTo>
                  <a:lnTo>
                    <a:pt x="5216866" y="1062128"/>
                  </a:lnTo>
                  <a:lnTo>
                    <a:pt x="5217564" y="1061232"/>
                  </a:lnTo>
                  <a:lnTo>
                    <a:pt x="5217564" y="1060039"/>
                  </a:lnTo>
                  <a:lnTo>
                    <a:pt x="5216866" y="1059442"/>
                  </a:lnTo>
                  <a:lnTo>
                    <a:pt x="5216069" y="1058845"/>
                  </a:lnTo>
                  <a:lnTo>
                    <a:pt x="5216069" y="1057850"/>
                  </a:lnTo>
                  <a:lnTo>
                    <a:pt x="5216667" y="1055064"/>
                  </a:lnTo>
                  <a:lnTo>
                    <a:pt x="5217564" y="1053970"/>
                  </a:lnTo>
                  <a:lnTo>
                    <a:pt x="5218759" y="1053373"/>
                  </a:lnTo>
                  <a:lnTo>
                    <a:pt x="5220453" y="1052080"/>
                  </a:lnTo>
                  <a:lnTo>
                    <a:pt x="5223443" y="1046608"/>
                  </a:lnTo>
                  <a:lnTo>
                    <a:pt x="5224837" y="1045314"/>
                  </a:lnTo>
                  <a:lnTo>
                    <a:pt x="5225635" y="1048498"/>
                  </a:lnTo>
                  <a:lnTo>
                    <a:pt x="5227328" y="1049592"/>
                  </a:lnTo>
                  <a:lnTo>
                    <a:pt x="5229521" y="1049592"/>
                  </a:lnTo>
                  <a:lnTo>
                    <a:pt x="5231713" y="1048001"/>
                  </a:lnTo>
                  <a:lnTo>
                    <a:pt x="5232311" y="1047105"/>
                  </a:lnTo>
                  <a:lnTo>
                    <a:pt x="5232311" y="1045911"/>
                  </a:lnTo>
                  <a:lnTo>
                    <a:pt x="5232909" y="1044916"/>
                  </a:lnTo>
                  <a:lnTo>
                    <a:pt x="5234304" y="1044916"/>
                  </a:lnTo>
                  <a:lnTo>
                    <a:pt x="5237492" y="1044916"/>
                  </a:lnTo>
                  <a:lnTo>
                    <a:pt x="5238788" y="1044220"/>
                  </a:lnTo>
                  <a:lnTo>
                    <a:pt x="5239983" y="1042728"/>
                  </a:lnTo>
                  <a:lnTo>
                    <a:pt x="5237194" y="1040141"/>
                  </a:lnTo>
                  <a:lnTo>
                    <a:pt x="5236097" y="1035664"/>
                  </a:lnTo>
                  <a:lnTo>
                    <a:pt x="5236596" y="1032481"/>
                  </a:lnTo>
                  <a:lnTo>
                    <a:pt x="5239087" y="1033674"/>
                  </a:lnTo>
                  <a:lnTo>
                    <a:pt x="5240083" y="1035963"/>
                  </a:lnTo>
                  <a:lnTo>
                    <a:pt x="5240083" y="1038151"/>
                  </a:lnTo>
                  <a:lnTo>
                    <a:pt x="5241079" y="1039843"/>
                  </a:lnTo>
                  <a:lnTo>
                    <a:pt x="5243372" y="1040539"/>
                  </a:lnTo>
                  <a:lnTo>
                    <a:pt x="5243969" y="1039644"/>
                  </a:lnTo>
                  <a:lnTo>
                    <a:pt x="5249051" y="1034769"/>
                  </a:lnTo>
                  <a:lnTo>
                    <a:pt x="5249051" y="1036858"/>
                  </a:lnTo>
                  <a:lnTo>
                    <a:pt x="5246859" y="1040340"/>
                  </a:lnTo>
                  <a:lnTo>
                    <a:pt x="5246161" y="1042728"/>
                  </a:lnTo>
                  <a:lnTo>
                    <a:pt x="5249948" y="1042728"/>
                  </a:lnTo>
                  <a:lnTo>
                    <a:pt x="5252738" y="1040042"/>
                  </a:lnTo>
                  <a:lnTo>
                    <a:pt x="5257321" y="1032679"/>
                  </a:lnTo>
                  <a:lnTo>
                    <a:pt x="5263001" y="1026511"/>
                  </a:lnTo>
                  <a:lnTo>
                    <a:pt x="5264695" y="1023726"/>
                  </a:lnTo>
                  <a:lnTo>
                    <a:pt x="5264695" y="1022134"/>
                  </a:lnTo>
                  <a:lnTo>
                    <a:pt x="5263998" y="1020443"/>
                  </a:lnTo>
                  <a:lnTo>
                    <a:pt x="5263400" y="1017955"/>
                  </a:lnTo>
                  <a:lnTo>
                    <a:pt x="5263400" y="1015767"/>
                  </a:lnTo>
                  <a:lnTo>
                    <a:pt x="5263400" y="1015767"/>
                  </a:lnTo>
                  <a:lnTo>
                    <a:pt x="5260112" y="1016662"/>
                  </a:lnTo>
                  <a:lnTo>
                    <a:pt x="5259016" y="1016662"/>
                  </a:lnTo>
                  <a:lnTo>
                    <a:pt x="5255628" y="1019448"/>
                  </a:lnTo>
                  <a:lnTo>
                    <a:pt x="5255628" y="1021736"/>
                  </a:lnTo>
                  <a:lnTo>
                    <a:pt x="5255628" y="1023029"/>
                  </a:lnTo>
                  <a:lnTo>
                    <a:pt x="5254631" y="1023925"/>
                  </a:lnTo>
                  <a:lnTo>
                    <a:pt x="5253336" y="1023925"/>
                  </a:lnTo>
                  <a:lnTo>
                    <a:pt x="5252041" y="1023925"/>
                  </a:lnTo>
                  <a:lnTo>
                    <a:pt x="5250346" y="1023925"/>
                  </a:lnTo>
                  <a:lnTo>
                    <a:pt x="5249450" y="1023029"/>
                  </a:lnTo>
                  <a:lnTo>
                    <a:pt x="5247257" y="1016264"/>
                  </a:lnTo>
                  <a:lnTo>
                    <a:pt x="5245863" y="1009002"/>
                  </a:lnTo>
                  <a:lnTo>
                    <a:pt x="5245863" y="1005320"/>
                  </a:lnTo>
                  <a:lnTo>
                    <a:pt x="5247357" y="1003928"/>
                  </a:lnTo>
                  <a:lnTo>
                    <a:pt x="5252738" y="1000943"/>
                  </a:lnTo>
                  <a:lnTo>
                    <a:pt x="5251543" y="1000247"/>
                  </a:lnTo>
                  <a:lnTo>
                    <a:pt x="5248154" y="997560"/>
                  </a:lnTo>
                  <a:lnTo>
                    <a:pt x="5245364" y="993282"/>
                  </a:lnTo>
                  <a:lnTo>
                    <a:pt x="5246959" y="990397"/>
                  </a:lnTo>
                  <a:lnTo>
                    <a:pt x="5247955" y="988806"/>
                  </a:lnTo>
                  <a:lnTo>
                    <a:pt x="5247955" y="987711"/>
                  </a:lnTo>
                  <a:lnTo>
                    <a:pt x="5247955" y="987711"/>
                  </a:lnTo>
                  <a:lnTo>
                    <a:pt x="5246859" y="986716"/>
                  </a:lnTo>
                  <a:lnTo>
                    <a:pt x="5246859" y="985125"/>
                  </a:lnTo>
                  <a:lnTo>
                    <a:pt x="5246859" y="984229"/>
                  </a:lnTo>
                  <a:lnTo>
                    <a:pt x="5244368" y="979255"/>
                  </a:lnTo>
                  <a:lnTo>
                    <a:pt x="5244368" y="976668"/>
                  </a:lnTo>
                  <a:lnTo>
                    <a:pt x="5246361" y="974977"/>
                  </a:lnTo>
                  <a:lnTo>
                    <a:pt x="5246959" y="977663"/>
                  </a:lnTo>
                  <a:lnTo>
                    <a:pt x="5248453" y="979354"/>
                  </a:lnTo>
                  <a:lnTo>
                    <a:pt x="5250247" y="979354"/>
                  </a:lnTo>
                  <a:lnTo>
                    <a:pt x="5252339" y="978160"/>
                  </a:lnTo>
                  <a:lnTo>
                    <a:pt x="5254232" y="979354"/>
                  </a:lnTo>
                  <a:lnTo>
                    <a:pt x="5256225" y="979354"/>
                  </a:lnTo>
                  <a:lnTo>
                    <a:pt x="5258318" y="978459"/>
                  </a:lnTo>
                  <a:lnTo>
                    <a:pt x="5260212" y="977265"/>
                  </a:lnTo>
                  <a:lnTo>
                    <a:pt x="5261307" y="976171"/>
                  </a:lnTo>
                  <a:lnTo>
                    <a:pt x="5262105" y="975176"/>
                  </a:lnTo>
                  <a:lnTo>
                    <a:pt x="5263001" y="974280"/>
                  </a:lnTo>
                  <a:lnTo>
                    <a:pt x="5264496" y="974280"/>
                  </a:lnTo>
                  <a:lnTo>
                    <a:pt x="5265592" y="974280"/>
                  </a:lnTo>
                  <a:lnTo>
                    <a:pt x="5267485" y="975972"/>
                  </a:lnTo>
                  <a:lnTo>
                    <a:pt x="5268382" y="975972"/>
                  </a:lnTo>
                  <a:lnTo>
                    <a:pt x="5269976" y="974778"/>
                  </a:lnTo>
                  <a:lnTo>
                    <a:pt x="5272368" y="970400"/>
                  </a:lnTo>
                  <a:lnTo>
                    <a:pt x="5274161" y="970400"/>
                  </a:lnTo>
                  <a:lnTo>
                    <a:pt x="5274759" y="971395"/>
                  </a:lnTo>
                  <a:lnTo>
                    <a:pt x="5274759" y="972788"/>
                  </a:lnTo>
                  <a:lnTo>
                    <a:pt x="5274759" y="973882"/>
                  </a:lnTo>
                  <a:lnTo>
                    <a:pt x="5274759" y="973882"/>
                  </a:lnTo>
                  <a:lnTo>
                    <a:pt x="5274759" y="976270"/>
                  </a:lnTo>
                  <a:lnTo>
                    <a:pt x="5276952" y="976270"/>
                  </a:lnTo>
                  <a:lnTo>
                    <a:pt x="5277649" y="976270"/>
                  </a:lnTo>
                  <a:lnTo>
                    <a:pt x="5279343" y="977862"/>
                  </a:lnTo>
                  <a:lnTo>
                    <a:pt x="5283030" y="980349"/>
                  </a:lnTo>
                  <a:lnTo>
                    <a:pt x="5284624" y="981941"/>
                  </a:lnTo>
                  <a:lnTo>
                    <a:pt x="5286617" y="983334"/>
                  </a:lnTo>
                  <a:lnTo>
                    <a:pt x="5289008" y="983334"/>
                  </a:lnTo>
                  <a:lnTo>
                    <a:pt x="5291101" y="983334"/>
                  </a:lnTo>
                  <a:lnTo>
                    <a:pt x="5293393" y="983334"/>
                  </a:lnTo>
                  <a:lnTo>
                    <a:pt x="5294190" y="983334"/>
                  </a:lnTo>
                  <a:lnTo>
                    <a:pt x="5295784" y="984627"/>
                  </a:lnTo>
                  <a:lnTo>
                    <a:pt x="5296781" y="984627"/>
                  </a:lnTo>
                  <a:lnTo>
                    <a:pt x="5297877" y="984627"/>
                  </a:lnTo>
                  <a:lnTo>
                    <a:pt x="5305150" y="983931"/>
                  </a:lnTo>
                  <a:lnTo>
                    <a:pt x="5306546" y="984826"/>
                  </a:lnTo>
                  <a:lnTo>
                    <a:pt x="5305549" y="987811"/>
                  </a:lnTo>
                  <a:lnTo>
                    <a:pt x="5308539" y="987811"/>
                  </a:lnTo>
                  <a:lnTo>
                    <a:pt x="5313919" y="987114"/>
                  </a:lnTo>
                  <a:lnTo>
                    <a:pt x="5316809" y="987711"/>
                  </a:lnTo>
                  <a:lnTo>
                    <a:pt x="5320297" y="989402"/>
                  </a:lnTo>
                  <a:lnTo>
                    <a:pt x="5321094" y="989999"/>
                  </a:lnTo>
                  <a:lnTo>
                    <a:pt x="5321094" y="990994"/>
                  </a:lnTo>
                  <a:lnTo>
                    <a:pt x="5321094" y="993680"/>
                  </a:lnTo>
                  <a:lnTo>
                    <a:pt x="5321094" y="994576"/>
                  </a:lnTo>
                  <a:lnTo>
                    <a:pt x="5323685" y="995372"/>
                  </a:lnTo>
                  <a:lnTo>
                    <a:pt x="5325877" y="994675"/>
                  </a:lnTo>
                  <a:lnTo>
                    <a:pt x="5327870" y="993282"/>
                  </a:lnTo>
                  <a:lnTo>
                    <a:pt x="5329763" y="992387"/>
                  </a:lnTo>
                  <a:lnTo>
                    <a:pt x="5331756" y="992387"/>
                  </a:lnTo>
                  <a:lnTo>
                    <a:pt x="5333549" y="993183"/>
                  </a:lnTo>
                  <a:lnTo>
                    <a:pt x="5334347" y="994874"/>
                  </a:lnTo>
                  <a:lnTo>
                    <a:pt x="5333150" y="997958"/>
                  </a:lnTo>
                  <a:lnTo>
                    <a:pt x="5335841" y="1000048"/>
                  </a:lnTo>
                  <a:lnTo>
                    <a:pt x="5339129" y="1000048"/>
                  </a:lnTo>
                  <a:lnTo>
                    <a:pt x="5345905" y="998257"/>
                  </a:lnTo>
                  <a:lnTo>
                    <a:pt x="5349392" y="999152"/>
                  </a:lnTo>
                  <a:lnTo>
                    <a:pt x="5355172" y="1003629"/>
                  </a:lnTo>
                  <a:lnTo>
                    <a:pt x="5358460" y="1005221"/>
                  </a:lnTo>
                  <a:lnTo>
                    <a:pt x="5364539" y="1005221"/>
                  </a:lnTo>
                  <a:lnTo>
                    <a:pt x="5365436" y="1006514"/>
                  </a:lnTo>
                  <a:lnTo>
                    <a:pt x="5366631" y="1010096"/>
                  </a:lnTo>
                  <a:lnTo>
                    <a:pt x="5367628" y="1010792"/>
                  </a:lnTo>
                  <a:lnTo>
                    <a:pt x="5374105" y="1011887"/>
                  </a:lnTo>
                  <a:lnTo>
                    <a:pt x="5376098" y="1011887"/>
                  </a:lnTo>
                  <a:lnTo>
                    <a:pt x="5381080" y="1009996"/>
                  </a:lnTo>
                  <a:lnTo>
                    <a:pt x="5391941" y="1009996"/>
                  </a:lnTo>
                  <a:lnTo>
                    <a:pt x="5394731" y="1009399"/>
                  </a:lnTo>
                  <a:lnTo>
                    <a:pt x="5397620" y="1008206"/>
                  </a:lnTo>
                  <a:lnTo>
                    <a:pt x="5399414" y="1008206"/>
                  </a:lnTo>
                  <a:lnTo>
                    <a:pt x="5400610" y="1008902"/>
                  </a:lnTo>
                  <a:lnTo>
                    <a:pt x="5401706" y="1009897"/>
                  </a:lnTo>
                  <a:lnTo>
                    <a:pt x="5402802" y="1009897"/>
                  </a:lnTo>
                  <a:lnTo>
                    <a:pt x="5405094" y="1009101"/>
                  </a:lnTo>
                  <a:lnTo>
                    <a:pt x="5405094" y="1008305"/>
                  </a:lnTo>
                  <a:lnTo>
                    <a:pt x="5404296" y="1006912"/>
                  </a:lnTo>
                  <a:lnTo>
                    <a:pt x="5404296" y="1005718"/>
                  </a:lnTo>
                  <a:lnTo>
                    <a:pt x="5406090" y="1004724"/>
                  </a:lnTo>
                  <a:lnTo>
                    <a:pt x="5407585" y="1004724"/>
                  </a:lnTo>
                  <a:lnTo>
                    <a:pt x="5408781" y="1005718"/>
                  </a:lnTo>
                  <a:lnTo>
                    <a:pt x="5410076" y="1007310"/>
                  </a:lnTo>
                  <a:lnTo>
                    <a:pt x="5412368" y="1009499"/>
                  </a:lnTo>
                  <a:lnTo>
                    <a:pt x="5415357" y="1011290"/>
                  </a:lnTo>
                  <a:lnTo>
                    <a:pt x="5420937" y="1013578"/>
                  </a:lnTo>
                  <a:lnTo>
                    <a:pt x="5423129" y="1013578"/>
                  </a:lnTo>
                  <a:lnTo>
                    <a:pt x="5424823" y="1013578"/>
                  </a:lnTo>
                  <a:lnTo>
                    <a:pt x="5428709" y="1011489"/>
                  </a:lnTo>
                  <a:lnTo>
                    <a:pt x="5435186" y="1009300"/>
                  </a:lnTo>
                  <a:lnTo>
                    <a:pt x="5437378" y="1008106"/>
                  </a:lnTo>
                  <a:lnTo>
                    <a:pt x="5439471" y="1005221"/>
                  </a:lnTo>
                  <a:lnTo>
                    <a:pt x="5440467" y="1005221"/>
                  </a:lnTo>
                  <a:lnTo>
                    <a:pt x="5441563" y="1005221"/>
                  </a:lnTo>
                  <a:lnTo>
                    <a:pt x="5442361" y="1005917"/>
                  </a:lnTo>
                  <a:lnTo>
                    <a:pt x="5442958" y="1006713"/>
                  </a:lnTo>
                  <a:lnTo>
                    <a:pt x="5442958" y="1006713"/>
                  </a:lnTo>
                  <a:lnTo>
                    <a:pt x="5450432" y="1007808"/>
                  </a:lnTo>
                  <a:lnTo>
                    <a:pt x="5452624" y="1008902"/>
                  </a:lnTo>
                  <a:lnTo>
                    <a:pt x="5450831" y="1015866"/>
                  </a:lnTo>
                  <a:lnTo>
                    <a:pt x="5452923" y="1015866"/>
                  </a:lnTo>
                  <a:lnTo>
                    <a:pt x="5459101" y="1016961"/>
                  </a:lnTo>
                  <a:lnTo>
                    <a:pt x="5460197" y="1016961"/>
                  </a:lnTo>
                  <a:lnTo>
                    <a:pt x="5460795" y="1016961"/>
                  </a:lnTo>
                  <a:lnTo>
                    <a:pt x="5462090" y="1016264"/>
                  </a:lnTo>
                  <a:lnTo>
                    <a:pt x="5462090" y="1016264"/>
                  </a:lnTo>
                  <a:lnTo>
                    <a:pt x="5462090" y="1015568"/>
                  </a:lnTo>
                  <a:lnTo>
                    <a:pt x="5462090" y="1014473"/>
                  </a:lnTo>
                  <a:lnTo>
                    <a:pt x="5462688" y="1014473"/>
                  </a:lnTo>
                  <a:lnTo>
                    <a:pt x="5464183" y="1014473"/>
                  </a:lnTo>
                  <a:lnTo>
                    <a:pt x="5472254" y="1011887"/>
                  </a:lnTo>
                  <a:lnTo>
                    <a:pt x="5475742" y="1011887"/>
                  </a:lnTo>
                  <a:lnTo>
                    <a:pt x="5475143" y="1015369"/>
                  </a:lnTo>
                  <a:lnTo>
                    <a:pt x="5478930" y="1015369"/>
                  </a:lnTo>
                  <a:lnTo>
                    <a:pt x="5480624" y="1015369"/>
                  </a:lnTo>
                  <a:lnTo>
                    <a:pt x="5481222" y="1016463"/>
                  </a:lnTo>
                  <a:lnTo>
                    <a:pt x="5481222" y="1018453"/>
                  </a:lnTo>
                  <a:lnTo>
                    <a:pt x="5480325" y="1018453"/>
                  </a:lnTo>
                  <a:lnTo>
                    <a:pt x="5479827" y="1018453"/>
                  </a:lnTo>
                  <a:lnTo>
                    <a:pt x="5480724" y="1021039"/>
                  </a:lnTo>
                  <a:lnTo>
                    <a:pt x="5480724" y="1021039"/>
                  </a:lnTo>
                  <a:lnTo>
                    <a:pt x="5482716" y="1022731"/>
                  </a:lnTo>
                  <a:lnTo>
                    <a:pt x="5483314" y="1023626"/>
                  </a:lnTo>
                  <a:lnTo>
                    <a:pt x="5483912" y="1026113"/>
                  </a:lnTo>
                  <a:lnTo>
                    <a:pt x="5483912" y="1027208"/>
                  </a:lnTo>
                  <a:lnTo>
                    <a:pt x="5485207" y="1028799"/>
                  </a:lnTo>
                  <a:lnTo>
                    <a:pt x="5486603" y="1029695"/>
                  </a:lnTo>
                  <a:lnTo>
                    <a:pt x="5488296" y="1029695"/>
                  </a:lnTo>
                  <a:lnTo>
                    <a:pt x="5490489" y="1029695"/>
                  </a:lnTo>
                  <a:lnTo>
                    <a:pt x="5490489" y="1031187"/>
                  </a:lnTo>
                  <a:lnTo>
                    <a:pt x="5489891" y="1032481"/>
                  </a:lnTo>
                  <a:lnTo>
                    <a:pt x="5489193" y="1033674"/>
                  </a:lnTo>
                  <a:lnTo>
                    <a:pt x="5488396" y="1034371"/>
                  </a:lnTo>
                  <a:lnTo>
                    <a:pt x="5493876" y="1038450"/>
                  </a:lnTo>
                  <a:lnTo>
                    <a:pt x="5496367" y="1041434"/>
                  </a:lnTo>
                  <a:lnTo>
                    <a:pt x="5496367" y="1044618"/>
                  </a:lnTo>
                  <a:lnTo>
                    <a:pt x="5497663" y="1047205"/>
                  </a:lnTo>
                  <a:lnTo>
                    <a:pt x="5498660" y="1054169"/>
                  </a:lnTo>
                  <a:lnTo>
                    <a:pt x="5499357" y="1056656"/>
                  </a:lnTo>
                  <a:lnTo>
                    <a:pt x="5500752" y="1059044"/>
                  </a:lnTo>
                  <a:lnTo>
                    <a:pt x="5501749" y="1061829"/>
                  </a:lnTo>
                  <a:lnTo>
                    <a:pt x="5501749" y="1064814"/>
                  </a:lnTo>
                  <a:lnTo>
                    <a:pt x="5501151" y="1067301"/>
                  </a:lnTo>
                  <a:lnTo>
                    <a:pt x="5507329" y="1073071"/>
                  </a:lnTo>
                  <a:lnTo>
                    <a:pt x="5505934" y="1074066"/>
                  </a:lnTo>
                  <a:lnTo>
                    <a:pt x="5505934" y="1075360"/>
                  </a:lnTo>
                  <a:lnTo>
                    <a:pt x="5506531" y="1076752"/>
                  </a:lnTo>
                  <a:lnTo>
                    <a:pt x="5507627" y="1077747"/>
                  </a:lnTo>
                  <a:lnTo>
                    <a:pt x="5506731" y="1080732"/>
                  </a:lnTo>
                  <a:lnTo>
                    <a:pt x="5507727" y="1083418"/>
                  </a:lnTo>
                  <a:lnTo>
                    <a:pt x="5511015" y="1087895"/>
                  </a:lnTo>
                  <a:lnTo>
                    <a:pt x="5512311" y="1091079"/>
                  </a:lnTo>
                  <a:lnTo>
                    <a:pt x="5513905" y="1097247"/>
                  </a:lnTo>
                  <a:lnTo>
                    <a:pt x="5515400" y="1100431"/>
                  </a:lnTo>
                  <a:lnTo>
                    <a:pt x="5516197" y="1101326"/>
                  </a:lnTo>
                  <a:lnTo>
                    <a:pt x="5517094" y="1102022"/>
                  </a:lnTo>
                  <a:lnTo>
                    <a:pt x="5517691" y="1103117"/>
                  </a:lnTo>
                  <a:lnTo>
                    <a:pt x="5517691" y="1105504"/>
                  </a:lnTo>
                  <a:lnTo>
                    <a:pt x="5520282" y="1111772"/>
                  </a:lnTo>
                  <a:lnTo>
                    <a:pt x="5528055" y="1120328"/>
                  </a:lnTo>
                  <a:lnTo>
                    <a:pt x="5529051" y="1120925"/>
                  </a:lnTo>
                  <a:lnTo>
                    <a:pt x="5529848" y="1124009"/>
                  </a:lnTo>
                  <a:lnTo>
                    <a:pt x="5537022" y="1127989"/>
                  </a:lnTo>
                  <a:lnTo>
                    <a:pt x="5537620" y="1131073"/>
                  </a:lnTo>
                  <a:lnTo>
                    <a:pt x="5541606" y="1133361"/>
                  </a:lnTo>
                  <a:lnTo>
                    <a:pt x="5542802" y="1134455"/>
                  </a:lnTo>
                  <a:lnTo>
                    <a:pt x="5543698" y="1135649"/>
                  </a:lnTo>
                  <a:lnTo>
                    <a:pt x="5545891" y="1139529"/>
                  </a:lnTo>
                  <a:lnTo>
                    <a:pt x="5547884" y="1141320"/>
                  </a:lnTo>
                  <a:lnTo>
                    <a:pt x="5562531" y="1146692"/>
                  </a:lnTo>
                  <a:lnTo>
                    <a:pt x="5589136" y="1151070"/>
                  </a:lnTo>
                  <a:lnTo>
                    <a:pt x="5602987" y="1151070"/>
                  </a:lnTo>
                  <a:lnTo>
                    <a:pt x="5621421" y="1145996"/>
                  </a:lnTo>
                  <a:lnTo>
                    <a:pt x="5665762" y="1143708"/>
                  </a:lnTo>
                  <a:lnTo>
                    <a:pt x="5666759" y="1143708"/>
                  </a:lnTo>
                  <a:lnTo>
                    <a:pt x="5667955" y="1146095"/>
                  </a:lnTo>
                  <a:lnTo>
                    <a:pt x="5669250" y="1146095"/>
                  </a:lnTo>
                  <a:lnTo>
                    <a:pt x="5669250" y="1146095"/>
                  </a:lnTo>
                  <a:lnTo>
                    <a:pt x="5669250" y="1145299"/>
                  </a:lnTo>
                  <a:lnTo>
                    <a:pt x="5670147" y="1144503"/>
                  </a:lnTo>
                  <a:lnTo>
                    <a:pt x="5671442" y="1144503"/>
                  </a:lnTo>
                  <a:lnTo>
                    <a:pt x="5673834" y="1145200"/>
                  </a:lnTo>
                  <a:lnTo>
                    <a:pt x="5675628" y="1146991"/>
                  </a:lnTo>
                  <a:lnTo>
                    <a:pt x="5676424" y="1149478"/>
                  </a:lnTo>
                  <a:lnTo>
                    <a:pt x="5675827" y="1152462"/>
                  </a:lnTo>
                  <a:lnTo>
                    <a:pt x="5674930" y="1153457"/>
                  </a:lnTo>
                  <a:lnTo>
                    <a:pt x="5671442" y="1155845"/>
                  </a:lnTo>
                  <a:lnTo>
                    <a:pt x="5669748" y="1158432"/>
                  </a:lnTo>
                  <a:lnTo>
                    <a:pt x="5668851" y="1159327"/>
                  </a:lnTo>
                  <a:lnTo>
                    <a:pt x="5665464" y="1161615"/>
                  </a:lnTo>
                  <a:lnTo>
                    <a:pt x="5664069" y="1163307"/>
                  </a:lnTo>
                  <a:lnTo>
                    <a:pt x="5664069" y="1165993"/>
                  </a:lnTo>
                  <a:lnTo>
                    <a:pt x="5664766" y="1167982"/>
                  </a:lnTo>
                  <a:lnTo>
                    <a:pt x="5666360" y="1169873"/>
                  </a:lnTo>
                  <a:lnTo>
                    <a:pt x="5668254" y="1171166"/>
                  </a:lnTo>
                  <a:lnTo>
                    <a:pt x="5670147" y="1171166"/>
                  </a:lnTo>
                  <a:lnTo>
                    <a:pt x="5668851" y="1173355"/>
                  </a:lnTo>
                  <a:lnTo>
                    <a:pt x="5664866" y="1177832"/>
                  </a:lnTo>
                  <a:lnTo>
                    <a:pt x="5663670" y="1181015"/>
                  </a:lnTo>
                  <a:lnTo>
                    <a:pt x="5662574" y="1181015"/>
                  </a:lnTo>
                  <a:lnTo>
                    <a:pt x="5660182" y="1181015"/>
                  </a:lnTo>
                  <a:lnTo>
                    <a:pt x="5659286" y="1181612"/>
                  </a:lnTo>
                  <a:lnTo>
                    <a:pt x="5658289" y="1182906"/>
                  </a:lnTo>
                  <a:lnTo>
                    <a:pt x="5659784" y="1187383"/>
                  </a:lnTo>
                  <a:lnTo>
                    <a:pt x="5662773" y="1189273"/>
                  </a:lnTo>
                  <a:lnTo>
                    <a:pt x="5662773" y="1191163"/>
                  </a:lnTo>
                  <a:lnTo>
                    <a:pt x="5659485" y="1194645"/>
                  </a:lnTo>
                  <a:lnTo>
                    <a:pt x="5658788" y="1197033"/>
                  </a:lnTo>
                  <a:lnTo>
                    <a:pt x="5658190" y="1200117"/>
                  </a:lnTo>
                  <a:lnTo>
                    <a:pt x="5657293" y="1202306"/>
                  </a:lnTo>
                  <a:lnTo>
                    <a:pt x="5655599" y="1202306"/>
                  </a:lnTo>
                  <a:lnTo>
                    <a:pt x="5656695" y="1204992"/>
                  </a:lnTo>
                  <a:lnTo>
                    <a:pt x="5659086" y="1207479"/>
                  </a:lnTo>
                  <a:lnTo>
                    <a:pt x="5662076" y="1209469"/>
                  </a:lnTo>
                  <a:lnTo>
                    <a:pt x="5664666" y="1210265"/>
                  </a:lnTo>
                  <a:lnTo>
                    <a:pt x="5665464" y="1211060"/>
                  </a:lnTo>
                  <a:lnTo>
                    <a:pt x="5665464" y="1214940"/>
                  </a:lnTo>
                  <a:lnTo>
                    <a:pt x="5665962" y="1215836"/>
                  </a:lnTo>
                  <a:lnTo>
                    <a:pt x="5666759" y="1216433"/>
                  </a:lnTo>
                  <a:lnTo>
                    <a:pt x="5669449" y="1219417"/>
                  </a:lnTo>
                  <a:lnTo>
                    <a:pt x="5670745" y="1220412"/>
                  </a:lnTo>
                  <a:lnTo>
                    <a:pt x="5680709" y="1224292"/>
                  </a:lnTo>
                  <a:lnTo>
                    <a:pt x="5683400" y="1224292"/>
                  </a:lnTo>
                  <a:lnTo>
                    <a:pt x="5684595" y="1224889"/>
                  </a:lnTo>
                  <a:lnTo>
                    <a:pt x="5687884" y="1227774"/>
                  </a:lnTo>
                  <a:lnTo>
                    <a:pt x="5693464" y="1230958"/>
                  </a:lnTo>
                  <a:lnTo>
                    <a:pt x="5695557" y="1233545"/>
                  </a:lnTo>
                  <a:lnTo>
                    <a:pt x="5697350" y="1239713"/>
                  </a:lnTo>
                  <a:lnTo>
                    <a:pt x="5699144" y="1242897"/>
                  </a:lnTo>
                  <a:lnTo>
                    <a:pt x="5700738" y="1243593"/>
                  </a:lnTo>
                  <a:lnTo>
                    <a:pt x="5704524" y="1243593"/>
                  </a:lnTo>
                  <a:lnTo>
                    <a:pt x="5706019" y="1244389"/>
                  </a:lnTo>
                  <a:lnTo>
                    <a:pt x="5707015" y="1246080"/>
                  </a:lnTo>
                  <a:lnTo>
                    <a:pt x="5709108" y="1251651"/>
                  </a:lnTo>
                  <a:lnTo>
                    <a:pt x="5709905" y="1252447"/>
                  </a:lnTo>
                  <a:lnTo>
                    <a:pt x="5710901" y="1253144"/>
                  </a:lnTo>
                  <a:lnTo>
                    <a:pt x="5711699" y="1254238"/>
                  </a:lnTo>
                  <a:lnTo>
                    <a:pt x="5711699" y="1256228"/>
                  </a:lnTo>
                  <a:lnTo>
                    <a:pt x="5710802" y="1258019"/>
                  </a:lnTo>
                  <a:lnTo>
                    <a:pt x="5709506" y="1258715"/>
                  </a:lnTo>
                  <a:lnTo>
                    <a:pt x="5708111" y="1258715"/>
                  </a:lnTo>
                  <a:lnTo>
                    <a:pt x="5706816" y="1259610"/>
                  </a:lnTo>
                  <a:lnTo>
                    <a:pt x="5700339" y="1270355"/>
                  </a:lnTo>
                  <a:lnTo>
                    <a:pt x="5699442" y="1270952"/>
                  </a:lnTo>
                  <a:lnTo>
                    <a:pt x="5698246" y="1270952"/>
                  </a:lnTo>
                  <a:lnTo>
                    <a:pt x="5697250" y="1271648"/>
                  </a:lnTo>
                  <a:lnTo>
                    <a:pt x="5696752" y="1272743"/>
                  </a:lnTo>
                  <a:lnTo>
                    <a:pt x="5696752" y="1273738"/>
                  </a:lnTo>
                  <a:lnTo>
                    <a:pt x="5696752" y="1274235"/>
                  </a:lnTo>
                  <a:lnTo>
                    <a:pt x="5696752" y="1275031"/>
                  </a:lnTo>
                  <a:lnTo>
                    <a:pt x="5696253" y="1276722"/>
                  </a:lnTo>
                  <a:lnTo>
                    <a:pt x="5695557" y="1277319"/>
                  </a:lnTo>
                  <a:lnTo>
                    <a:pt x="5694360" y="1277319"/>
                  </a:lnTo>
                  <a:lnTo>
                    <a:pt x="5693364" y="1278016"/>
                  </a:lnTo>
                  <a:lnTo>
                    <a:pt x="5692866" y="1279209"/>
                  </a:lnTo>
                  <a:lnTo>
                    <a:pt x="5692866" y="1280204"/>
                  </a:lnTo>
                  <a:lnTo>
                    <a:pt x="5694261" y="1283487"/>
                  </a:lnTo>
                  <a:lnTo>
                    <a:pt x="5694261" y="1284184"/>
                  </a:lnTo>
                  <a:lnTo>
                    <a:pt x="5694261" y="1286870"/>
                  </a:lnTo>
                  <a:lnTo>
                    <a:pt x="5693165" y="1289158"/>
                  </a:lnTo>
                  <a:lnTo>
                    <a:pt x="5691371" y="1291446"/>
                  </a:lnTo>
                  <a:lnTo>
                    <a:pt x="5687784" y="1293436"/>
                  </a:lnTo>
                  <a:lnTo>
                    <a:pt x="5686489" y="1295923"/>
                  </a:lnTo>
                  <a:lnTo>
                    <a:pt x="5686489" y="1298908"/>
                  </a:lnTo>
                  <a:lnTo>
                    <a:pt x="5687086" y="1301594"/>
                  </a:lnTo>
                  <a:lnTo>
                    <a:pt x="5684595" y="1303584"/>
                  </a:lnTo>
                  <a:lnTo>
                    <a:pt x="5685891" y="1306568"/>
                  </a:lnTo>
                  <a:lnTo>
                    <a:pt x="5689079" y="1309255"/>
                  </a:lnTo>
                  <a:lnTo>
                    <a:pt x="5691869" y="1310448"/>
                  </a:lnTo>
                  <a:lnTo>
                    <a:pt x="5697051" y="1310448"/>
                  </a:lnTo>
                  <a:lnTo>
                    <a:pt x="5699342" y="1310448"/>
                  </a:lnTo>
                  <a:lnTo>
                    <a:pt x="5700339" y="1311344"/>
                  </a:lnTo>
                  <a:lnTo>
                    <a:pt x="5700339" y="1312737"/>
                  </a:lnTo>
                  <a:lnTo>
                    <a:pt x="5701236" y="1314527"/>
                  </a:lnTo>
                  <a:lnTo>
                    <a:pt x="5703727" y="1317512"/>
                  </a:lnTo>
                  <a:lnTo>
                    <a:pt x="5705122" y="1318606"/>
                  </a:lnTo>
                  <a:lnTo>
                    <a:pt x="5706617" y="1319104"/>
                  </a:lnTo>
                  <a:lnTo>
                    <a:pt x="5708610" y="1319104"/>
                  </a:lnTo>
                  <a:lnTo>
                    <a:pt x="5708610" y="1318109"/>
                  </a:lnTo>
                  <a:lnTo>
                    <a:pt x="5708610" y="1316816"/>
                  </a:lnTo>
                  <a:lnTo>
                    <a:pt x="5708610" y="1315124"/>
                  </a:lnTo>
                  <a:lnTo>
                    <a:pt x="5711200" y="1313035"/>
                  </a:lnTo>
                  <a:lnTo>
                    <a:pt x="5713691" y="1313035"/>
                  </a:lnTo>
                  <a:lnTo>
                    <a:pt x="5716282" y="1313931"/>
                  </a:lnTo>
                  <a:lnTo>
                    <a:pt x="5719371" y="1314527"/>
                  </a:lnTo>
                  <a:lnTo>
                    <a:pt x="5725549" y="1313532"/>
                  </a:lnTo>
                  <a:lnTo>
                    <a:pt x="5728439" y="1313532"/>
                  </a:lnTo>
                  <a:lnTo>
                    <a:pt x="5733820" y="1318208"/>
                  </a:lnTo>
                  <a:lnTo>
                    <a:pt x="5736311" y="1319800"/>
                  </a:lnTo>
                  <a:lnTo>
                    <a:pt x="5738104" y="1321392"/>
                  </a:lnTo>
                  <a:lnTo>
                    <a:pt x="5738702" y="1324277"/>
                  </a:lnTo>
                  <a:lnTo>
                    <a:pt x="5738702" y="1324775"/>
                  </a:lnTo>
                  <a:lnTo>
                    <a:pt x="5736510" y="1328754"/>
                  </a:lnTo>
                  <a:lnTo>
                    <a:pt x="5734915" y="1330047"/>
                  </a:lnTo>
                  <a:lnTo>
                    <a:pt x="5733820" y="1330047"/>
                  </a:lnTo>
                  <a:lnTo>
                    <a:pt x="5730830" y="1330047"/>
                  </a:lnTo>
                  <a:lnTo>
                    <a:pt x="5727243" y="1328157"/>
                  </a:lnTo>
                  <a:lnTo>
                    <a:pt x="5725649" y="1328157"/>
                  </a:lnTo>
                  <a:lnTo>
                    <a:pt x="5723755" y="1328157"/>
                  </a:lnTo>
                  <a:lnTo>
                    <a:pt x="5722560" y="1328655"/>
                  </a:lnTo>
                  <a:lnTo>
                    <a:pt x="5721464" y="1329351"/>
                  </a:lnTo>
                  <a:lnTo>
                    <a:pt x="5715884" y="1331540"/>
                  </a:lnTo>
                  <a:lnTo>
                    <a:pt x="5714688" y="1332336"/>
                  </a:lnTo>
                  <a:lnTo>
                    <a:pt x="5715386" y="1334922"/>
                  </a:lnTo>
                  <a:lnTo>
                    <a:pt x="5715386" y="1339101"/>
                  </a:lnTo>
                  <a:lnTo>
                    <a:pt x="5714788" y="1342881"/>
                  </a:lnTo>
                  <a:lnTo>
                    <a:pt x="5713293" y="1344672"/>
                  </a:lnTo>
                  <a:lnTo>
                    <a:pt x="5712496" y="1346463"/>
                  </a:lnTo>
                  <a:lnTo>
                    <a:pt x="5713093" y="1350343"/>
                  </a:lnTo>
                  <a:lnTo>
                    <a:pt x="5714987" y="1353526"/>
                  </a:lnTo>
                  <a:lnTo>
                    <a:pt x="5719570" y="1353526"/>
                  </a:lnTo>
                  <a:lnTo>
                    <a:pt x="5720866" y="1351238"/>
                  </a:lnTo>
                  <a:lnTo>
                    <a:pt x="5721762" y="1347955"/>
                  </a:lnTo>
                  <a:lnTo>
                    <a:pt x="5723058" y="1344871"/>
                  </a:lnTo>
                  <a:lnTo>
                    <a:pt x="5725250" y="1343478"/>
                  </a:lnTo>
                  <a:lnTo>
                    <a:pt x="5727542" y="1344374"/>
                  </a:lnTo>
                  <a:lnTo>
                    <a:pt x="5729734" y="1346463"/>
                  </a:lnTo>
                  <a:lnTo>
                    <a:pt x="5731328" y="1349050"/>
                  </a:lnTo>
                  <a:lnTo>
                    <a:pt x="5731328" y="1351238"/>
                  </a:lnTo>
                  <a:lnTo>
                    <a:pt x="5730133" y="1354123"/>
                  </a:lnTo>
                  <a:lnTo>
                    <a:pt x="5723058" y="1359794"/>
                  </a:lnTo>
                  <a:lnTo>
                    <a:pt x="5713791" y="1369146"/>
                  </a:lnTo>
                  <a:lnTo>
                    <a:pt x="5712197" y="1371633"/>
                  </a:lnTo>
                  <a:lnTo>
                    <a:pt x="5710602" y="1375414"/>
                  </a:lnTo>
                  <a:lnTo>
                    <a:pt x="5710602" y="1378796"/>
                  </a:lnTo>
                  <a:lnTo>
                    <a:pt x="5716083" y="1381383"/>
                  </a:lnTo>
                  <a:lnTo>
                    <a:pt x="5717777" y="1383671"/>
                  </a:lnTo>
                  <a:lnTo>
                    <a:pt x="5719172" y="1386357"/>
                  </a:lnTo>
                  <a:lnTo>
                    <a:pt x="5720866" y="1388148"/>
                  </a:lnTo>
                  <a:lnTo>
                    <a:pt x="5722659" y="1388845"/>
                  </a:lnTo>
                  <a:lnTo>
                    <a:pt x="5722659" y="1392526"/>
                  </a:lnTo>
                  <a:lnTo>
                    <a:pt x="5724253" y="1391133"/>
                  </a:lnTo>
                  <a:lnTo>
                    <a:pt x="5725948" y="1389242"/>
                  </a:lnTo>
                  <a:lnTo>
                    <a:pt x="5728140" y="1387352"/>
                  </a:lnTo>
                  <a:lnTo>
                    <a:pt x="5731229" y="1383771"/>
                  </a:lnTo>
                  <a:lnTo>
                    <a:pt x="5735513" y="1382378"/>
                  </a:lnTo>
                  <a:lnTo>
                    <a:pt x="5740197" y="1382378"/>
                  </a:lnTo>
                  <a:lnTo>
                    <a:pt x="5746175" y="1385860"/>
                  </a:lnTo>
                  <a:lnTo>
                    <a:pt x="5754246" y="1381781"/>
                  </a:lnTo>
                  <a:lnTo>
                    <a:pt x="5759926" y="1378498"/>
                  </a:lnTo>
                  <a:lnTo>
                    <a:pt x="5766204" y="1379294"/>
                  </a:lnTo>
                  <a:lnTo>
                    <a:pt x="5770887" y="1381781"/>
                  </a:lnTo>
                  <a:lnTo>
                    <a:pt x="5764710" y="1396903"/>
                  </a:lnTo>
                  <a:lnTo>
                    <a:pt x="5766204" y="1402375"/>
                  </a:lnTo>
                  <a:lnTo>
                    <a:pt x="5768595" y="1406354"/>
                  </a:lnTo>
                  <a:lnTo>
                    <a:pt x="5771485" y="1410831"/>
                  </a:lnTo>
                  <a:lnTo>
                    <a:pt x="5771485" y="1410831"/>
                  </a:lnTo>
                  <a:lnTo>
                    <a:pt x="5774375" y="1410831"/>
                  </a:lnTo>
                  <a:lnTo>
                    <a:pt x="5779955" y="1413120"/>
                  </a:lnTo>
                  <a:lnTo>
                    <a:pt x="5796894" y="1413120"/>
                  </a:lnTo>
                  <a:lnTo>
                    <a:pt x="5799585" y="1411727"/>
                  </a:lnTo>
                  <a:lnTo>
                    <a:pt x="5799585" y="1412523"/>
                  </a:lnTo>
                  <a:lnTo>
                    <a:pt x="5800282" y="1414015"/>
                  </a:lnTo>
                  <a:lnTo>
                    <a:pt x="5800282" y="1417099"/>
                  </a:lnTo>
                  <a:lnTo>
                    <a:pt x="5805464" y="1418492"/>
                  </a:lnTo>
                  <a:lnTo>
                    <a:pt x="5816225" y="1419586"/>
                  </a:lnTo>
                  <a:lnTo>
                    <a:pt x="5820610" y="1421874"/>
                  </a:lnTo>
                  <a:lnTo>
                    <a:pt x="5822104" y="1421874"/>
                  </a:lnTo>
                  <a:lnTo>
                    <a:pt x="5833165" y="1420283"/>
                  </a:lnTo>
                  <a:lnTo>
                    <a:pt x="5834460" y="1420283"/>
                  </a:lnTo>
                  <a:lnTo>
                    <a:pt x="5836254" y="1421377"/>
                  </a:lnTo>
                  <a:lnTo>
                    <a:pt x="5838844" y="1424859"/>
                  </a:lnTo>
                  <a:lnTo>
                    <a:pt x="5839841" y="1425854"/>
                  </a:lnTo>
                  <a:lnTo>
                    <a:pt x="5841435" y="1425854"/>
                  </a:lnTo>
                  <a:lnTo>
                    <a:pt x="5845321" y="1424561"/>
                  </a:lnTo>
                  <a:lnTo>
                    <a:pt x="5849108" y="1424561"/>
                  </a:lnTo>
                  <a:lnTo>
                    <a:pt x="5863357" y="1428540"/>
                  </a:lnTo>
                  <a:lnTo>
                    <a:pt x="5872823" y="1429734"/>
                  </a:lnTo>
                  <a:lnTo>
                    <a:pt x="5881592" y="1432719"/>
                  </a:lnTo>
                  <a:lnTo>
                    <a:pt x="5889962" y="1434012"/>
                  </a:lnTo>
                  <a:lnTo>
                    <a:pt x="5893150" y="1434907"/>
                  </a:lnTo>
                  <a:lnTo>
                    <a:pt x="5896239" y="1434907"/>
                  </a:lnTo>
                  <a:lnTo>
                    <a:pt x="5899528" y="1433216"/>
                  </a:lnTo>
                  <a:lnTo>
                    <a:pt x="5902916" y="1435405"/>
                  </a:lnTo>
                  <a:lnTo>
                    <a:pt x="5906801" y="1436698"/>
                  </a:lnTo>
                  <a:lnTo>
                    <a:pt x="5914674" y="1437792"/>
                  </a:lnTo>
                  <a:lnTo>
                    <a:pt x="5916268" y="1437792"/>
                  </a:lnTo>
                  <a:lnTo>
                    <a:pt x="5919357" y="1436400"/>
                  </a:lnTo>
                  <a:lnTo>
                    <a:pt x="5921250" y="1436400"/>
                  </a:lnTo>
                  <a:lnTo>
                    <a:pt x="5949649" y="1434708"/>
                  </a:lnTo>
                  <a:lnTo>
                    <a:pt x="5959613" y="1430928"/>
                  </a:lnTo>
                  <a:lnTo>
                    <a:pt x="5958716" y="1433116"/>
                  </a:lnTo>
                  <a:lnTo>
                    <a:pt x="5953734" y="1436101"/>
                  </a:lnTo>
                  <a:lnTo>
                    <a:pt x="5951941" y="1438588"/>
                  </a:lnTo>
                  <a:lnTo>
                    <a:pt x="5954730" y="1439782"/>
                  </a:lnTo>
                  <a:lnTo>
                    <a:pt x="5971471" y="1437593"/>
                  </a:lnTo>
                  <a:lnTo>
                    <a:pt x="5979442" y="1434509"/>
                  </a:lnTo>
                  <a:lnTo>
                    <a:pt x="5983129" y="1434012"/>
                  </a:lnTo>
                  <a:lnTo>
                    <a:pt x="5983129" y="1435305"/>
                  </a:lnTo>
                  <a:lnTo>
                    <a:pt x="5982332" y="1436996"/>
                  </a:lnTo>
                  <a:lnTo>
                    <a:pt x="5984425" y="1436996"/>
                  </a:lnTo>
                  <a:lnTo>
                    <a:pt x="5988809" y="1435504"/>
                  </a:lnTo>
                  <a:lnTo>
                    <a:pt x="5996780" y="1435504"/>
                  </a:lnTo>
                  <a:lnTo>
                    <a:pt x="5998773" y="1435504"/>
                  </a:lnTo>
                  <a:lnTo>
                    <a:pt x="5999271" y="1436499"/>
                  </a:lnTo>
                  <a:lnTo>
                    <a:pt x="5999271" y="1437693"/>
                  </a:lnTo>
                  <a:lnTo>
                    <a:pt x="5994588" y="1437693"/>
                  </a:lnTo>
                  <a:lnTo>
                    <a:pt x="5993193" y="1437693"/>
                  </a:lnTo>
                  <a:lnTo>
                    <a:pt x="5991499" y="1438290"/>
                  </a:lnTo>
                  <a:lnTo>
                    <a:pt x="5991499" y="1438290"/>
                  </a:lnTo>
                  <a:lnTo>
                    <a:pt x="5994489" y="1440180"/>
                  </a:lnTo>
                  <a:lnTo>
                    <a:pt x="5998773" y="1441672"/>
                  </a:lnTo>
                  <a:lnTo>
                    <a:pt x="6000268" y="1441672"/>
                  </a:lnTo>
                  <a:lnTo>
                    <a:pt x="6001563" y="1441672"/>
                  </a:lnTo>
                  <a:lnTo>
                    <a:pt x="6002560" y="1441175"/>
                  </a:lnTo>
                  <a:lnTo>
                    <a:pt x="6003556" y="1441175"/>
                  </a:lnTo>
                  <a:lnTo>
                    <a:pt x="6006645" y="1441175"/>
                  </a:lnTo>
                  <a:lnTo>
                    <a:pt x="6010033" y="1442070"/>
                  </a:lnTo>
                  <a:lnTo>
                    <a:pt x="6013221" y="1443662"/>
                  </a:lnTo>
                  <a:lnTo>
                    <a:pt x="6015712" y="1445851"/>
                  </a:lnTo>
                  <a:lnTo>
                    <a:pt x="6017008" y="1446746"/>
                  </a:lnTo>
                  <a:lnTo>
                    <a:pt x="6019798" y="1446746"/>
                  </a:lnTo>
                  <a:lnTo>
                    <a:pt x="6022389" y="1448139"/>
                  </a:lnTo>
                  <a:lnTo>
                    <a:pt x="6023684" y="1447443"/>
                  </a:lnTo>
                  <a:lnTo>
                    <a:pt x="6024780" y="1446149"/>
                  </a:lnTo>
                  <a:lnTo>
                    <a:pt x="6025578" y="1445453"/>
                  </a:lnTo>
                  <a:lnTo>
                    <a:pt x="6028467" y="1445453"/>
                  </a:lnTo>
                  <a:lnTo>
                    <a:pt x="6037834" y="1448537"/>
                  </a:lnTo>
                  <a:lnTo>
                    <a:pt x="6075100" y="1449731"/>
                  </a:lnTo>
                  <a:lnTo>
                    <a:pt x="6075100" y="1450726"/>
                  </a:lnTo>
                  <a:lnTo>
                    <a:pt x="6069122" y="1454506"/>
                  </a:lnTo>
                  <a:lnTo>
                    <a:pt x="6067229" y="1457590"/>
                  </a:lnTo>
                  <a:lnTo>
                    <a:pt x="6068125" y="1461868"/>
                  </a:lnTo>
                  <a:lnTo>
                    <a:pt x="6069620" y="1464057"/>
                  </a:lnTo>
                  <a:lnTo>
                    <a:pt x="6070417" y="1463460"/>
                  </a:lnTo>
                  <a:lnTo>
                    <a:pt x="6071015" y="1461371"/>
                  </a:lnTo>
                  <a:lnTo>
                    <a:pt x="6072609" y="1458287"/>
                  </a:lnTo>
                  <a:lnTo>
                    <a:pt x="6072609" y="1457590"/>
                  </a:lnTo>
                  <a:lnTo>
                    <a:pt x="6072609" y="1456894"/>
                  </a:lnTo>
                  <a:lnTo>
                    <a:pt x="6072609" y="1455800"/>
                  </a:lnTo>
                  <a:lnTo>
                    <a:pt x="6072609" y="1455800"/>
                  </a:lnTo>
                  <a:lnTo>
                    <a:pt x="6076396" y="1455800"/>
                  </a:lnTo>
                  <a:lnTo>
                    <a:pt x="6080282" y="1455800"/>
                  </a:lnTo>
                  <a:lnTo>
                    <a:pt x="6081776" y="1455103"/>
                  </a:lnTo>
                  <a:lnTo>
                    <a:pt x="6082474" y="1453511"/>
                  </a:lnTo>
                  <a:lnTo>
                    <a:pt x="6082474" y="1451124"/>
                  </a:lnTo>
                  <a:lnTo>
                    <a:pt x="6083670" y="1449034"/>
                  </a:lnTo>
                  <a:lnTo>
                    <a:pt x="6085364" y="1447841"/>
                  </a:lnTo>
                  <a:lnTo>
                    <a:pt x="6087357" y="1447841"/>
                  </a:lnTo>
                  <a:lnTo>
                    <a:pt x="6090745" y="1451124"/>
                  </a:lnTo>
                  <a:lnTo>
                    <a:pt x="6093136" y="1451920"/>
                  </a:lnTo>
                  <a:lnTo>
                    <a:pt x="6095527" y="1451920"/>
                  </a:lnTo>
                  <a:lnTo>
                    <a:pt x="6097022" y="1452516"/>
                  </a:lnTo>
                  <a:lnTo>
                    <a:pt x="6096325" y="1455601"/>
                  </a:lnTo>
                  <a:lnTo>
                    <a:pt x="6097820" y="1457590"/>
                  </a:lnTo>
                  <a:lnTo>
                    <a:pt x="6092538" y="1459978"/>
                  </a:lnTo>
                  <a:lnTo>
                    <a:pt x="6081876" y="1462963"/>
                  </a:lnTo>
                  <a:lnTo>
                    <a:pt x="6076794" y="1465350"/>
                  </a:lnTo>
                  <a:lnTo>
                    <a:pt x="6089151" y="1462266"/>
                  </a:lnTo>
                  <a:lnTo>
                    <a:pt x="6102104" y="1460874"/>
                  </a:lnTo>
                  <a:lnTo>
                    <a:pt x="6098018" y="1462565"/>
                  </a:lnTo>
                  <a:lnTo>
                    <a:pt x="6088752" y="1463560"/>
                  </a:lnTo>
                  <a:lnTo>
                    <a:pt x="6084766" y="1465350"/>
                  </a:lnTo>
                  <a:lnTo>
                    <a:pt x="6086958" y="1466246"/>
                  </a:lnTo>
                  <a:lnTo>
                    <a:pt x="6089350" y="1466246"/>
                  </a:lnTo>
                  <a:lnTo>
                    <a:pt x="6094332" y="1466246"/>
                  </a:lnTo>
                  <a:lnTo>
                    <a:pt x="6091940" y="1469330"/>
                  </a:lnTo>
                  <a:lnTo>
                    <a:pt x="6080382" y="1476194"/>
                  </a:lnTo>
                  <a:lnTo>
                    <a:pt x="6084865" y="1475299"/>
                  </a:lnTo>
                  <a:lnTo>
                    <a:pt x="6098218" y="1465947"/>
                  </a:lnTo>
                  <a:lnTo>
                    <a:pt x="6102802" y="1463858"/>
                  </a:lnTo>
                  <a:lnTo>
                    <a:pt x="6104595" y="1463858"/>
                  </a:lnTo>
                  <a:lnTo>
                    <a:pt x="6103798" y="1465649"/>
                  </a:lnTo>
                  <a:lnTo>
                    <a:pt x="6102204" y="1468235"/>
                  </a:lnTo>
                  <a:lnTo>
                    <a:pt x="6102204" y="1469728"/>
                  </a:lnTo>
                  <a:lnTo>
                    <a:pt x="6103898" y="1469728"/>
                  </a:lnTo>
                  <a:lnTo>
                    <a:pt x="6106588" y="1469728"/>
                  </a:lnTo>
                  <a:lnTo>
                    <a:pt x="6107983" y="1469131"/>
                  </a:lnTo>
                  <a:lnTo>
                    <a:pt x="6108980" y="1468335"/>
                  </a:lnTo>
                  <a:lnTo>
                    <a:pt x="6110175" y="1468335"/>
                  </a:lnTo>
                  <a:lnTo>
                    <a:pt x="6111869" y="1468335"/>
                  </a:lnTo>
                  <a:lnTo>
                    <a:pt x="6113464" y="1468335"/>
                  </a:lnTo>
                  <a:lnTo>
                    <a:pt x="6116353" y="1469827"/>
                  </a:lnTo>
                  <a:lnTo>
                    <a:pt x="6133393" y="1473110"/>
                  </a:lnTo>
                  <a:lnTo>
                    <a:pt x="6137677" y="1473110"/>
                  </a:lnTo>
                  <a:lnTo>
                    <a:pt x="6141663" y="1471320"/>
                  </a:lnTo>
                  <a:lnTo>
                    <a:pt x="6145748" y="1468534"/>
                  </a:lnTo>
                  <a:lnTo>
                    <a:pt x="6143556" y="1466146"/>
                  </a:lnTo>
                  <a:lnTo>
                    <a:pt x="6140766" y="1466743"/>
                  </a:lnTo>
                  <a:lnTo>
                    <a:pt x="6137976" y="1468733"/>
                  </a:lnTo>
                  <a:lnTo>
                    <a:pt x="6136083" y="1470623"/>
                  </a:lnTo>
                  <a:lnTo>
                    <a:pt x="6135285" y="1469529"/>
                  </a:lnTo>
                  <a:lnTo>
                    <a:pt x="6139172" y="1466644"/>
                  </a:lnTo>
                  <a:lnTo>
                    <a:pt x="6143656" y="1465251"/>
                  </a:lnTo>
                  <a:lnTo>
                    <a:pt x="6146645" y="1466544"/>
                  </a:lnTo>
                  <a:lnTo>
                    <a:pt x="6145748" y="1471718"/>
                  </a:lnTo>
                  <a:lnTo>
                    <a:pt x="6144154" y="1477090"/>
                  </a:lnTo>
                  <a:lnTo>
                    <a:pt x="6145947" y="1478383"/>
                  </a:lnTo>
                  <a:lnTo>
                    <a:pt x="6158802" y="1475200"/>
                  </a:lnTo>
                  <a:lnTo>
                    <a:pt x="6163884" y="1475200"/>
                  </a:lnTo>
                  <a:lnTo>
                    <a:pt x="6172353" y="1477189"/>
                  </a:lnTo>
                  <a:lnTo>
                    <a:pt x="6175243" y="1477189"/>
                  </a:lnTo>
                  <a:lnTo>
                    <a:pt x="6176140" y="1477189"/>
                  </a:lnTo>
                  <a:lnTo>
                    <a:pt x="6178631" y="1475797"/>
                  </a:lnTo>
                  <a:lnTo>
                    <a:pt x="6178631" y="1475797"/>
                  </a:lnTo>
                  <a:lnTo>
                    <a:pt x="6179926" y="1475797"/>
                  </a:lnTo>
                  <a:lnTo>
                    <a:pt x="6181820" y="1477886"/>
                  </a:lnTo>
                  <a:lnTo>
                    <a:pt x="6182915" y="1478582"/>
                  </a:lnTo>
                  <a:lnTo>
                    <a:pt x="6185207" y="1479179"/>
                  </a:lnTo>
                  <a:lnTo>
                    <a:pt x="6187400" y="1479179"/>
                  </a:lnTo>
                  <a:lnTo>
                    <a:pt x="6189393" y="1477886"/>
                  </a:lnTo>
                  <a:lnTo>
                    <a:pt x="6190887" y="1475797"/>
                  </a:lnTo>
                  <a:lnTo>
                    <a:pt x="6191385" y="1478184"/>
                  </a:lnTo>
                  <a:lnTo>
                    <a:pt x="6191385" y="1480473"/>
                  </a:lnTo>
                  <a:lnTo>
                    <a:pt x="6191385" y="1482164"/>
                  </a:lnTo>
                  <a:lnTo>
                    <a:pt x="6192680" y="1483358"/>
                  </a:lnTo>
                  <a:lnTo>
                    <a:pt x="6192680" y="1482761"/>
                  </a:lnTo>
                  <a:lnTo>
                    <a:pt x="6193278" y="1481666"/>
                  </a:lnTo>
                  <a:lnTo>
                    <a:pt x="6194175" y="1480572"/>
                  </a:lnTo>
                  <a:lnTo>
                    <a:pt x="6194973" y="1480075"/>
                  </a:lnTo>
                  <a:lnTo>
                    <a:pt x="6196367" y="1480075"/>
                  </a:lnTo>
                  <a:lnTo>
                    <a:pt x="6197065" y="1480075"/>
                  </a:lnTo>
                  <a:lnTo>
                    <a:pt x="6197065" y="1480771"/>
                  </a:lnTo>
                  <a:lnTo>
                    <a:pt x="6197563" y="1481865"/>
                  </a:lnTo>
                  <a:lnTo>
                    <a:pt x="6198260" y="1484253"/>
                  </a:lnTo>
                  <a:lnTo>
                    <a:pt x="6199058" y="1489028"/>
                  </a:lnTo>
                  <a:lnTo>
                    <a:pt x="6200154" y="1490720"/>
                  </a:lnTo>
                  <a:lnTo>
                    <a:pt x="6202545" y="1491814"/>
                  </a:lnTo>
                  <a:lnTo>
                    <a:pt x="6204837" y="1491814"/>
                  </a:lnTo>
                  <a:lnTo>
                    <a:pt x="6205833" y="1491814"/>
                  </a:lnTo>
                  <a:lnTo>
                    <a:pt x="6204438" y="1493605"/>
                  </a:lnTo>
                  <a:lnTo>
                    <a:pt x="6204438" y="1493605"/>
                  </a:lnTo>
                  <a:lnTo>
                    <a:pt x="6203243" y="1493605"/>
                  </a:lnTo>
                  <a:lnTo>
                    <a:pt x="6202047" y="1493605"/>
                  </a:lnTo>
                  <a:lnTo>
                    <a:pt x="6201449" y="1494699"/>
                  </a:lnTo>
                  <a:lnTo>
                    <a:pt x="6201449" y="1495993"/>
                  </a:lnTo>
                  <a:lnTo>
                    <a:pt x="6202047" y="1496589"/>
                  </a:lnTo>
                  <a:lnTo>
                    <a:pt x="6202944" y="1496589"/>
                  </a:lnTo>
                  <a:lnTo>
                    <a:pt x="6203940" y="1497186"/>
                  </a:lnTo>
                  <a:lnTo>
                    <a:pt x="6205136" y="1497186"/>
                  </a:lnTo>
                  <a:lnTo>
                    <a:pt x="6206232" y="1497186"/>
                  </a:lnTo>
                  <a:lnTo>
                    <a:pt x="6207826" y="1497186"/>
                  </a:lnTo>
                  <a:lnTo>
                    <a:pt x="6208424" y="1499873"/>
                  </a:lnTo>
                  <a:lnTo>
                    <a:pt x="6208424" y="1500469"/>
                  </a:lnTo>
                  <a:lnTo>
                    <a:pt x="6208424" y="1500469"/>
                  </a:lnTo>
                  <a:lnTo>
                    <a:pt x="6208922" y="1501066"/>
                  </a:lnTo>
                  <a:lnTo>
                    <a:pt x="6209720" y="1501962"/>
                  </a:lnTo>
                  <a:lnTo>
                    <a:pt x="6210816" y="1502658"/>
                  </a:lnTo>
                  <a:lnTo>
                    <a:pt x="6211613" y="1503554"/>
                  </a:lnTo>
                  <a:lnTo>
                    <a:pt x="6211115" y="1505046"/>
                  </a:lnTo>
                  <a:lnTo>
                    <a:pt x="6210517" y="1506240"/>
                  </a:lnTo>
                  <a:lnTo>
                    <a:pt x="6210517" y="1507434"/>
                  </a:lnTo>
                  <a:lnTo>
                    <a:pt x="6210517" y="1508727"/>
                  </a:lnTo>
                  <a:lnTo>
                    <a:pt x="6210517" y="1510020"/>
                  </a:lnTo>
                  <a:lnTo>
                    <a:pt x="6211713" y="1512308"/>
                  </a:lnTo>
                  <a:lnTo>
                    <a:pt x="6213506" y="1514099"/>
                  </a:lnTo>
                  <a:lnTo>
                    <a:pt x="6215599" y="1515492"/>
                  </a:lnTo>
                  <a:lnTo>
                    <a:pt x="6217591" y="1516586"/>
                  </a:lnTo>
                  <a:lnTo>
                    <a:pt x="6215698" y="1517382"/>
                  </a:lnTo>
                  <a:lnTo>
                    <a:pt x="6214901" y="1517382"/>
                  </a:lnTo>
                  <a:lnTo>
                    <a:pt x="6214901" y="1518576"/>
                  </a:lnTo>
                  <a:lnTo>
                    <a:pt x="6216097" y="1518576"/>
                  </a:lnTo>
                  <a:lnTo>
                    <a:pt x="6217193" y="1518576"/>
                  </a:lnTo>
                  <a:lnTo>
                    <a:pt x="6219186" y="1519472"/>
                  </a:lnTo>
                  <a:lnTo>
                    <a:pt x="6218488" y="1521760"/>
                  </a:lnTo>
                  <a:lnTo>
                    <a:pt x="6219385" y="1523451"/>
                  </a:lnTo>
                  <a:lnTo>
                    <a:pt x="6221079" y="1524545"/>
                  </a:lnTo>
                  <a:lnTo>
                    <a:pt x="6225563" y="1525441"/>
                  </a:lnTo>
                  <a:lnTo>
                    <a:pt x="6226360" y="1526933"/>
                  </a:lnTo>
                  <a:lnTo>
                    <a:pt x="6226360" y="1529122"/>
                  </a:lnTo>
                  <a:lnTo>
                    <a:pt x="6225563" y="1531609"/>
                  </a:lnTo>
                  <a:lnTo>
                    <a:pt x="6227257" y="1532106"/>
                  </a:lnTo>
                  <a:lnTo>
                    <a:pt x="6227755" y="1533499"/>
                  </a:lnTo>
                  <a:lnTo>
                    <a:pt x="6227755" y="1535091"/>
                  </a:lnTo>
                  <a:lnTo>
                    <a:pt x="6227755" y="1536086"/>
                  </a:lnTo>
                  <a:lnTo>
                    <a:pt x="6229449" y="1536086"/>
                  </a:lnTo>
                  <a:lnTo>
                    <a:pt x="6230944" y="1535389"/>
                  </a:lnTo>
                  <a:lnTo>
                    <a:pt x="6232438" y="1534295"/>
                  </a:lnTo>
                  <a:lnTo>
                    <a:pt x="6233833" y="1533599"/>
                  </a:lnTo>
                  <a:lnTo>
                    <a:pt x="6237720" y="1533599"/>
                  </a:lnTo>
                  <a:lnTo>
                    <a:pt x="6239015" y="1533599"/>
                  </a:lnTo>
                  <a:lnTo>
                    <a:pt x="6239912" y="1532604"/>
                  </a:lnTo>
                  <a:lnTo>
                    <a:pt x="6239912" y="1531211"/>
                  </a:lnTo>
                  <a:lnTo>
                    <a:pt x="6239215" y="1529719"/>
                  </a:lnTo>
                  <a:lnTo>
                    <a:pt x="6237321" y="1527132"/>
                  </a:lnTo>
                  <a:lnTo>
                    <a:pt x="6239812" y="1527132"/>
                  </a:lnTo>
                  <a:lnTo>
                    <a:pt x="6241207" y="1528724"/>
                  </a:lnTo>
                  <a:lnTo>
                    <a:pt x="6242502" y="1533499"/>
                  </a:lnTo>
                  <a:lnTo>
                    <a:pt x="6243100" y="1534892"/>
                  </a:lnTo>
                  <a:lnTo>
                    <a:pt x="6243100" y="1535688"/>
                  </a:lnTo>
                  <a:lnTo>
                    <a:pt x="6243100" y="1536484"/>
                  </a:lnTo>
                  <a:lnTo>
                    <a:pt x="6243100" y="1538076"/>
                  </a:lnTo>
                  <a:lnTo>
                    <a:pt x="6243100" y="1539966"/>
                  </a:lnTo>
                  <a:lnTo>
                    <a:pt x="6243100" y="1540961"/>
                  </a:lnTo>
                  <a:lnTo>
                    <a:pt x="6243100" y="1541856"/>
                  </a:lnTo>
                  <a:lnTo>
                    <a:pt x="6241905" y="1548024"/>
                  </a:lnTo>
                  <a:lnTo>
                    <a:pt x="6241905" y="1550611"/>
                  </a:lnTo>
                  <a:lnTo>
                    <a:pt x="6242602" y="1553397"/>
                  </a:lnTo>
                  <a:lnTo>
                    <a:pt x="6246189" y="1557874"/>
                  </a:lnTo>
                  <a:lnTo>
                    <a:pt x="6246987" y="1560062"/>
                  </a:lnTo>
                  <a:lnTo>
                    <a:pt x="6245093" y="1562152"/>
                  </a:lnTo>
                  <a:lnTo>
                    <a:pt x="6245891" y="1563843"/>
                  </a:lnTo>
                  <a:lnTo>
                    <a:pt x="6246887" y="1565136"/>
                  </a:lnTo>
                  <a:lnTo>
                    <a:pt x="6248182" y="1566131"/>
                  </a:lnTo>
                  <a:lnTo>
                    <a:pt x="6249577" y="1566629"/>
                  </a:lnTo>
                  <a:lnTo>
                    <a:pt x="6250275" y="1564340"/>
                  </a:lnTo>
                  <a:lnTo>
                    <a:pt x="6250275" y="1562052"/>
                  </a:lnTo>
                  <a:lnTo>
                    <a:pt x="6249677" y="1559764"/>
                  </a:lnTo>
                  <a:lnTo>
                    <a:pt x="6248581" y="1557774"/>
                  </a:lnTo>
                  <a:lnTo>
                    <a:pt x="6249976" y="1557774"/>
                  </a:lnTo>
                  <a:lnTo>
                    <a:pt x="6251271" y="1557774"/>
                  </a:lnTo>
                  <a:lnTo>
                    <a:pt x="6252567" y="1557774"/>
                  </a:lnTo>
                  <a:lnTo>
                    <a:pt x="6253762" y="1558272"/>
                  </a:lnTo>
                  <a:lnTo>
                    <a:pt x="6252567" y="1560560"/>
                  </a:lnTo>
                  <a:lnTo>
                    <a:pt x="6252567" y="1562450"/>
                  </a:lnTo>
                  <a:lnTo>
                    <a:pt x="6253164" y="1566629"/>
                  </a:lnTo>
                  <a:lnTo>
                    <a:pt x="6253962" y="1568519"/>
                  </a:lnTo>
                  <a:lnTo>
                    <a:pt x="6255855" y="1568519"/>
                  </a:lnTo>
                  <a:lnTo>
                    <a:pt x="6259642" y="1567922"/>
                  </a:lnTo>
                  <a:lnTo>
                    <a:pt x="6261136" y="1568419"/>
                  </a:lnTo>
                  <a:lnTo>
                    <a:pt x="6262930" y="1570608"/>
                  </a:lnTo>
                  <a:lnTo>
                    <a:pt x="6269008" y="1572001"/>
                  </a:lnTo>
                  <a:lnTo>
                    <a:pt x="6270602" y="1572001"/>
                  </a:lnTo>
                  <a:lnTo>
                    <a:pt x="6271399" y="1570509"/>
                  </a:lnTo>
                  <a:lnTo>
                    <a:pt x="6270702" y="1569215"/>
                  </a:lnTo>
                  <a:lnTo>
                    <a:pt x="6269506" y="1568419"/>
                  </a:lnTo>
                  <a:lnTo>
                    <a:pt x="6268211" y="1567524"/>
                  </a:lnTo>
                  <a:lnTo>
                    <a:pt x="6268211" y="1565634"/>
                  </a:lnTo>
                  <a:lnTo>
                    <a:pt x="6269008" y="1563544"/>
                  </a:lnTo>
                  <a:lnTo>
                    <a:pt x="6270602" y="1562351"/>
                  </a:lnTo>
                  <a:lnTo>
                    <a:pt x="6274289" y="1561157"/>
                  </a:lnTo>
                  <a:lnTo>
                    <a:pt x="6277777" y="1561157"/>
                  </a:lnTo>
                  <a:lnTo>
                    <a:pt x="6281563" y="1562052"/>
                  </a:lnTo>
                  <a:lnTo>
                    <a:pt x="6284054" y="1564440"/>
                  </a:lnTo>
                  <a:lnTo>
                    <a:pt x="6284054" y="1568220"/>
                  </a:lnTo>
                  <a:lnTo>
                    <a:pt x="6285748" y="1569116"/>
                  </a:lnTo>
                  <a:lnTo>
                    <a:pt x="6286944" y="1570708"/>
                  </a:lnTo>
                  <a:lnTo>
                    <a:pt x="6287741" y="1572697"/>
                  </a:lnTo>
                  <a:lnTo>
                    <a:pt x="6288439" y="1574787"/>
                  </a:lnTo>
                  <a:lnTo>
                    <a:pt x="6283457" y="1582348"/>
                  </a:lnTo>
                  <a:lnTo>
                    <a:pt x="6281862" y="1583542"/>
                  </a:lnTo>
                  <a:lnTo>
                    <a:pt x="6279171" y="1584536"/>
                  </a:lnTo>
                  <a:lnTo>
                    <a:pt x="6276979" y="1586924"/>
                  </a:lnTo>
                  <a:lnTo>
                    <a:pt x="6276382" y="1589511"/>
                  </a:lnTo>
                  <a:lnTo>
                    <a:pt x="6278873" y="1591202"/>
                  </a:lnTo>
                  <a:lnTo>
                    <a:pt x="6278075" y="1592893"/>
                  </a:lnTo>
                  <a:lnTo>
                    <a:pt x="6278075" y="1595281"/>
                  </a:lnTo>
                  <a:lnTo>
                    <a:pt x="6278673" y="1596574"/>
                  </a:lnTo>
                  <a:lnTo>
                    <a:pt x="6279969" y="1597569"/>
                  </a:lnTo>
                  <a:lnTo>
                    <a:pt x="6280467" y="1596077"/>
                  </a:lnTo>
                  <a:lnTo>
                    <a:pt x="6281164" y="1595281"/>
                  </a:lnTo>
                  <a:lnTo>
                    <a:pt x="6282859" y="1593689"/>
                  </a:lnTo>
                  <a:lnTo>
                    <a:pt x="6284353" y="1592993"/>
                  </a:lnTo>
                  <a:lnTo>
                    <a:pt x="6285150" y="1593988"/>
                  </a:lnTo>
                  <a:lnTo>
                    <a:pt x="6285848" y="1595579"/>
                  </a:lnTo>
                  <a:lnTo>
                    <a:pt x="6286744" y="1596475"/>
                  </a:lnTo>
                  <a:lnTo>
                    <a:pt x="6288040" y="1596475"/>
                  </a:lnTo>
                  <a:lnTo>
                    <a:pt x="6288937" y="1596475"/>
                  </a:lnTo>
                  <a:lnTo>
                    <a:pt x="6289634" y="1596475"/>
                  </a:lnTo>
                  <a:lnTo>
                    <a:pt x="6290332" y="1597072"/>
                  </a:lnTo>
                  <a:lnTo>
                    <a:pt x="6290332" y="1597569"/>
                  </a:lnTo>
                  <a:lnTo>
                    <a:pt x="6292324" y="1601051"/>
                  </a:lnTo>
                  <a:lnTo>
                    <a:pt x="6292823" y="1601051"/>
                  </a:lnTo>
                  <a:lnTo>
                    <a:pt x="6292126" y="1605130"/>
                  </a:lnTo>
                  <a:lnTo>
                    <a:pt x="6288737" y="1606623"/>
                  </a:lnTo>
                  <a:lnTo>
                    <a:pt x="6284154" y="1606623"/>
                  </a:lnTo>
                  <a:lnTo>
                    <a:pt x="6279869" y="1605727"/>
                  </a:lnTo>
                  <a:lnTo>
                    <a:pt x="6280467" y="1607319"/>
                  </a:lnTo>
                  <a:lnTo>
                    <a:pt x="6281464" y="1608612"/>
                  </a:lnTo>
                  <a:lnTo>
                    <a:pt x="6282659" y="1609508"/>
                  </a:lnTo>
                  <a:lnTo>
                    <a:pt x="6284054" y="1609508"/>
                  </a:lnTo>
                  <a:lnTo>
                    <a:pt x="6283157" y="1609508"/>
                  </a:lnTo>
                  <a:lnTo>
                    <a:pt x="6283157" y="1609508"/>
                  </a:lnTo>
                  <a:lnTo>
                    <a:pt x="6283157" y="1610105"/>
                  </a:lnTo>
                  <a:lnTo>
                    <a:pt x="6284054" y="1610801"/>
                  </a:lnTo>
                  <a:lnTo>
                    <a:pt x="6285748" y="1612791"/>
                  </a:lnTo>
                  <a:lnTo>
                    <a:pt x="6286645" y="1613487"/>
                  </a:lnTo>
                  <a:lnTo>
                    <a:pt x="6291627" y="1615079"/>
                  </a:lnTo>
                  <a:lnTo>
                    <a:pt x="6293122" y="1616273"/>
                  </a:lnTo>
                  <a:lnTo>
                    <a:pt x="6293720" y="1617566"/>
                  </a:lnTo>
                  <a:lnTo>
                    <a:pt x="6293720" y="1619058"/>
                  </a:lnTo>
                  <a:lnTo>
                    <a:pt x="6293720" y="1620650"/>
                  </a:lnTo>
                  <a:lnTo>
                    <a:pt x="6295215" y="1622342"/>
                  </a:lnTo>
                  <a:lnTo>
                    <a:pt x="6296809" y="1622342"/>
                  </a:lnTo>
                  <a:lnTo>
                    <a:pt x="6300495" y="1622342"/>
                  </a:lnTo>
                  <a:lnTo>
                    <a:pt x="6301791" y="1623137"/>
                  </a:lnTo>
                  <a:lnTo>
                    <a:pt x="6302389" y="1625824"/>
                  </a:lnTo>
                  <a:lnTo>
                    <a:pt x="6302389" y="1629007"/>
                  </a:lnTo>
                  <a:lnTo>
                    <a:pt x="6302389" y="1631793"/>
                  </a:lnTo>
                  <a:lnTo>
                    <a:pt x="6304680" y="1633683"/>
                  </a:lnTo>
                  <a:lnTo>
                    <a:pt x="6306075" y="1633186"/>
                  </a:lnTo>
                  <a:lnTo>
                    <a:pt x="6309264" y="1631494"/>
                  </a:lnTo>
                  <a:lnTo>
                    <a:pt x="6309962" y="1631494"/>
                  </a:lnTo>
                  <a:lnTo>
                    <a:pt x="6310559" y="1632489"/>
                  </a:lnTo>
                  <a:lnTo>
                    <a:pt x="6312054" y="1633385"/>
                  </a:lnTo>
                  <a:lnTo>
                    <a:pt x="6313748" y="1633982"/>
                  </a:lnTo>
                  <a:lnTo>
                    <a:pt x="6315143" y="1633982"/>
                  </a:lnTo>
                  <a:lnTo>
                    <a:pt x="6314147" y="1636867"/>
                  </a:lnTo>
                  <a:lnTo>
                    <a:pt x="6314147" y="1638558"/>
                  </a:lnTo>
                  <a:lnTo>
                    <a:pt x="6316538" y="1640747"/>
                  </a:lnTo>
                  <a:lnTo>
                    <a:pt x="6317335" y="1640747"/>
                  </a:lnTo>
                  <a:lnTo>
                    <a:pt x="6318033" y="1640747"/>
                  </a:lnTo>
                  <a:lnTo>
                    <a:pt x="6318730" y="1640747"/>
                  </a:lnTo>
                  <a:lnTo>
                    <a:pt x="6318730" y="1642140"/>
                  </a:lnTo>
                  <a:lnTo>
                    <a:pt x="6318730" y="1642836"/>
                  </a:lnTo>
                  <a:lnTo>
                    <a:pt x="6317634" y="1643532"/>
                  </a:lnTo>
                  <a:lnTo>
                    <a:pt x="6316339" y="1643532"/>
                  </a:lnTo>
                  <a:lnTo>
                    <a:pt x="6315641" y="1643532"/>
                  </a:lnTo>
                  <a:lnTo>
                    <a:pt x="6317634" y="1644527"/>
                  </a:lnTo>
                  <a:lnTo>
                    <a:pt x="6319428" y="1645025"/>
                  </a:lnTo>
                  <a:lnTo>
                    <a:pt x="6320823" y="1645821"/>
                  </a:lnTo>
                  <a:lnTo>
                    <a:pt x="6321720" y="1648009"/>
                  </a:lnTo>
                  <a:lnTo>
                    <a:pt x="6321720" y="1649900"/>
                  </a:lnTo>
                  <a:lnTo>
                    <a:pt x="6320823" y="1651093"/>
                  </a:lnTo>
                  <a:lnTo>
                    <a:pt x="6320823" y="1652188"/>
                  </a:lnTo>
                  <a:lnTo>
                    <a:pt x="6323015" y="1653481"/>
                  </a:lnTo>
                  <a:lnTo>
                    <a:pt x="6326403" y="1653481"/>
                  </a:lnTo>
                  <a:lnTo>
                    <a:pt x="6328993" y="1651093"/>
                  </a:lnTo>
                  <a:lnTo>
                    <a:pt x="6328993" y="1647810"/>
                  </a:lnTo>
                  <a:lnTo>
                    <a:pt x="6326104" y="1644826"/>
                  </a:lnTo>
                  <a:lnTo>
                    <a:pt x="6331385" y="1642140"/>
                  </a:lnTo>
                  <a:lnTo>
                    <a:pt x="6332082" y="1641543"/>
                  </a:lnTo>
                  <a:lnTo>
                    <a:pt x="6333179" y="1643234"/>
                  </a:lnTo>
                  <a:lnTo>
                    <a:pt x="6333179" y="1645721"/>
                  </a:lnTo>
                  <a:lnTo>
                    <a:pt x="6333179" y="1648208"/>
                  </a:lnTo>
                  <a:lnTo>
                    <a:pt x="6332581" y="1649800"/>
                  </a:lnTo>
                  <a:lnTo>
                    <a:pt x="6329193" y="1652984"/>
                  </a:lnTo>
                  <a:lnTo>
                    <a:pt x="6327897" y="1655272"/>
                  </a:lnTo>
                  <a:lnTo>
                    <a:pt x="6327897" y="1657461"/>
                  </a:lnTo>
                  <a:lnTo>
                    <a:pt x="6329791" y="1658853"/>
                  </a:lnTo>
                  <a:lnTo>
                    <a:pt x="6334175" y="1660744"/>
                  </a:lnTo>
                  <a:lnTo>
                    <a:pt x="6335271" y="1662336"/>
                  </a:lnTo>
                  <a:lnTo>
                    <a:pt x="6325307" y="1662833"/>
                  </a:lnTo>
                  <a:lnTo>
                    <a:pt x="6322019" y="1660943"/>
                  </a:lnTo>
                  <a:lnTo>
                    <a:pt x="6320624" y="1660943"/>
                  </a:lnTo>
                  <a:lnTo>
                    <a:pt x="6318631" y="1662037"/>
                  </a:lnTo>
                  <a:lnTo>
                    <a:pt x="6317734" y="1662037"/>
                  </a:lnTo>
                  <a:lnTo>
                    <a:pt x="6317734" y="1664922"/>
                  </a:lnTo>
                  <a:lnTo>
                    <a:pt x="6317235" y="1664922"/>
                  </a:lnTo>
                  <a:lnTo>
                    <a:pt x="6308368" y="1664922"/>
                  </a:lnTo>
                  <a:lnTo>
                    <a:pt x="6307271" y="1664922"/>
                  </a:lnTo>
                  <a:lnTo>
                    <a:pt x="6307271" y="1663330"/>
                  </a:lnTo>
                  <a:lnTo>
                    <a:pt x="6307969" y="1661142"/>
                  </a:lnTo>
                  <a:lnTo>
                    <a:pt x="6307969" y="1659052"/>
                  </a:lnTo>
                  <a:lnTo>
                    <a:pt x="6306573" y="1658257"/>
                  </a:lnTo>
                  <a:lnTo>
                    <a:pt x="6301392" y="1658257"/>
                  </a:lnTo>
                  <a:lnTo>
                    <a:pt x="6299499" y="1658257"/>
                  </a:lnTo>
                  <a:lnTo>
                    <a:pt x="6299499" y="1657560"/>
                  </a:lnTo>
                  <a:lnTo>
                    <a:pt x="6300296" y="1656565"/>
                  </a:lnTo>
                  <a:lnTo>
                    <a:pt x="6300993" y="1655272"/>
                  </a:lnTo>
                  <a:lnTo>
                    <a:pt x="6301591" y="1654476"/>
                  </a:lnTo>
                  <a:lnTo>
                    <a:pt x="6302389" y="1653680"/>
                  </a:lnTo>
                  <a:lnTo>
                    <a:pt x="6302389" y="1652586"/>
                  </a:lnTo>
                  <a:lnTo>
                    <a:pt x="6301392" y="1650795"/>
                  </a:lnTo>
                  <a:lnTo>
                    <a:pt x="6300097" y="1649800"/>
                  </a:lnTo>
                  <a:lnTo>
                    <a:pt x="6298303" y="1649800"/>
                  </a:lnTo>
                  <a:lnTo>
                    <a:pt x="6293421" y="1649800"/>
                  </a:lnTo>
                  <a:lnTo>
                    <a:pt x="6290930" y="1650497"/>
                  </a:lnTo>
                  <a:lnTo>
                    <a:pt x="6289734" y="1650497"/>
                  </a:lnTo>
                  <a:lnTo>
                    <a:pt x="6288140" y="1651193"/>
                  </a:lnTo>
                  <a:lnTo>
                    <a:pt x="6287243" y="1652884"/>
                  </a:lnTo>
                  <a:lnTo>
                    <a:pt x="6286546" y="1654774"/>
                  </a:lnTo>
                  <a:lnTo>
                    <a:pt x="6285848" y="1656068"/>
                  </a:lnTo>
                  <a:lnTo>
                    <a:pt x="6283955" y="1657262"/>
                  </a:lnTo>
                  <a:lnTo>
                    <a:pt x="6283058" y="1657262"/>
                  </a:lnTo>
                  <a:lnTo>
                    <a:pt x="6282161" y="1656565"/>
                  </a:lnTo>
                  <a:lnTo>
                    <a:pt x="6280567" y="1656565"/>
                  </a:lnTo>
                  <a:lnTo>
                    <a:pt x="6279072" y="1656565"/>
                  </a:lnTo>
                  <a:lnTo>
                    <a:pt x="6277976" y="1656565"/>
                  </a:lnTo>
                  <a:lnTo>
                    <a:pt x="6277378" y="1657660"/>
                  </a:lnTo>
                  <a:lnTo>
                    <a:pt x="6277378" y="1659749"/>
                  </a:lnTo>
                  <a:lnTo>
                    <a:pt x="6277378" y="1664126"/>
                  </a:lnTo>
                  <a:lnTo>
                    <a:pt x="6278175" y="1666514"/>
                  </a:lnTo>
                  <a:lnTo>
                    <a:pt x="6279969" y="1667807"/>
                  </a:lnTo>
                  <a:lnTo>
                    <a:pt x="6283257" y="1669001"/>
                  </a:lnTo>
                  <a:lnTo>
                    <a:pt x="6285648" y="1670493"/>
                  </a:lnTo>
                  <a:lnTo>
                    <a:pt x="6290730" y="1674771"/>
                  </a:lnTo>
                  <a:lnTo>
                    <a:pt x="6292424" y="1675567"/>
                  </a:lnTo>
                  <a:lnTo>
                    <a:pt x="6292424" y="1677259"/>
                  </a:lnTo>
                  <a:lnTo>
                    <a:pt x="6290730" y="1687207"/>
                  </a:lnTo>
                  <a:lnTo>
                    <a:pt x="6290730" y="1699743"/>
                  </a:lnTo>
                  <a:lnTo>
                    <a:pt x="6289734" y="1702528"/>
                  </a:lnTo>
                  <a:lnTo>
                    <a:pt x="6287442" y="1705115"/>
                  </a:lnTo>
                  <a:lnTo>
                    <a:pt x="6282859" y="1708995"/>
                  </a:lnTo>
                  <a:lnTo>
                    <a:pt x="6277577" y="1711383"/>
                  </a:lnTo>
                  <a:lnTo>
                    <a:pt x="6272296" y="1709592"/>
                  </a:lnTo>
                  <a:lnTo>
                    <a:pt x="6266617" y="1706110"/>
                  </a:lnTo>
                  <a:lnTo>
                    <a:pt x="6260339" y="1703523"/>
                  </a:lnTo>
                  <a:lnTo>
                    <a:pt x="6250375" y="1702429"/>
                  </a:lnTo>
                  <a:lnTo>
                    <a:pt x="6245193" y="1699146"/>
                  </a:lnTo>
                  <a:lnTo>
                    <a:pt x="6237520" y="1698051"/>
                  </a:lnTo>
                  <a:lnTo>
                    <a:pt x="6234332" y="1696957"/>
                  </a:lnTo>
                  <a:lnTo>
                    <a:pt x="6228751" y="1691684"/>
                  </a:lnTo>
                  <a:lnTo>
                    <a:pt x="6226560" y="1690491"/>
                  </a:lnTo>
                  <a:lnTo>
                    <a:pt x="6223570" y="1689893"/>
                  </a:lnTo>
                  <a:lnTo>
                    <a:pt x="6220880" y="1689893"/>
                  </a:lnTo>
                  <a:lnTo>
                    <a:pt x="6218289" y="1689396"/>
                  </a:lnTo>
                  <a:lnTo>
                    <a:pt x="6215698" y="1687506"/>
                  </a:lnTo>
                  <a:lnTo>
                    <a:pt x="6213407" y="1682432"/>
                  </a:lnTo>
                  <a:lnTo>
                    <a:pt x="6212410" y="1676861"/>
                  </a:lnTo>
                  <a:lnTo>
                    <a:pt x="6210517" y="1672483"/>
                  </a:lnTo>
                  <a:lnTo>
                    <a:pt x="6205236" y="1670593"/>
                  </a:lnTo>
                  <a:lnTo>
                    <a:pt x="6195271" y="1672284"/>
                  </a:lnTo>
                  <a:lnTo>
                    <a:pt x="6187300" y="1676861"/>
                  </a:lnTo>
                  <a:lnTo>
                    <a:pt x="6173151" y="1692381"/>
                  </a:lnTo>
                  <a:lnTo>
                    <a:pt x="6172553" y="1686809"/>
                  </a:lnTo>
                  <a:lnTo>
                    <a:pt x="6179328" y="1666912"/>
                  </a:lnTo>
                  <a:lnTo>
                    <a:pt x="6178232" y="1660644"/>
                  </a:lnTo>
                  <a:lnTo>
                    <a:pt x="6173549" y="1657461"/>
                  </a:lnTo>
                  <a:lnTo>
                    <a:pt x="6167072" y="1656764"/>
                  </a:lnTo>
                  <a:lnTo>
                    <a:pt x="6161093" y="1658257"/>
                  </a:lnTo>
                  <a:lnTo>
                    <a:pt x="6155314" y="1661738"/>
                  </a:lnTo>
                  <a:lnTo>
                    <a:pt x="6150133" y="1666414"/>
                  </a:lnTo>
                  <a:lnTo>
                    <a:pt x="6149136" y="1666414"/>
                  </a:lnTo>
                  <a:lnTo>
                    <a:pt x="6148638" y="1664823"/>
                  </a:lnTo>
                  <a:lnTo>
                    <a:pt x="6148638" y="1662634"/>
                  </a:lnTo>
                  <a:lnTo>
                    <a:pt x="6149236" y="1660843"/>
                  </a:lnTo>
                  <a:lnTo>
                    <a:pt x="6150332" y="1659848"/>
                  </a:lnTo>
                  <a:lnTo>
                    <a:pt x="6158702" y="1655471"/>
                  </a:lnTo>
                  <a:lnTo>
                    <a:pt x="6160595" y="1653978"/>
                  </a:lnTo>
                  <a:lnTo>
                    <a:pt x="6164482" y="1649303"/>
                  </a:lnTo>
                  <a:lnTo>
                    <a:pt x="6165179" y="1647910"/>
                  </a:lnTo>
                  <a:lnTo>
                    <a:pt x="6165179" y="1646517"/>
                  </a:lnTo>
                  <a:lnTo>
                    <a:pt x="6165179" y="1644726"/>
                  </a:lnTo>
                  <a:lnTo>
                    <a:pt x="6164382" y="1641344"/>
                  </a:lnTo>
                  <a:lnTo>
                    <a:pt x="6164382" y="1639453"/>
                  </a:lnTo>
                  <a:lnTo>
                    <a:pt x="6166773" y="1636668"/>
                  </a:lnTo>
                  <a:lnTo>
                    <a:pt x="6169962" y="1633882"/>
                  </a:lnTo>
                  <a:lnTo>
                    <a:pt x="6171058" y="1631693"/>
                  </a:lnTo>
                  <a:lnTo>
                    <a:pt x="6166973" y="1630599"/>
                  </a:lnTo>
                  <a:lnTo>
                    <a:pt x="6164182" y="1630599"/>
                  </a:lnTo>
                  <a:lnTo>
                    <a:pt x="6161093" y="1631992"/>
                  </a:lnTo>
                  <a:lnTo>
                    <a:pt x="6159499" y="1634479"/>
                  </a:lnTo>
                  <a:lnTo>
                    <a:pt x="6160994" y="1637961"/>
                  </a:lnTo>
                  <a:lnTo>
                    <a:pt x="6158802" y="1637961"/>
                  </a:lnTo>
                  <a:lnTo>
                    <a:pt x="6156111" y="1640647"/>
                  </a:lnTo>
                  <a:lnTo>
                    <a:pt x="6154018" y="1640647"/>
                  </a:lnTo>
                  <a:lnTo>
                    <a:pt x="6154018" y="1637961"/>
                  </a:lnTo>
                  <a:lnTo>
                    <a:pt x="6151727" y="1637961"/>
                  </a:lnTo>
                  <a:lnTo>
                    <a:pt x="6146147" y="1639652"/>
                  </a:lnTo>
                  <a:lnTo>
                    <a:pt x="6146147" y="1638458"/>
                  </a:lnTo>
                  <a:lnTo>
                    <a:pt x="6149036" y="1636170"/>
                  </a:lnTo>
                  <a:lnTo>
                    <a:pt x="6150731" y="1633683"/>
                  </a:lnTo>
                  <a:lnTo>
                    <a:pt x="6150731" y="1631693"/>
                  </a:lnTo>
                  <a:lnTo>
                    <a:pt x="6140069" y="1629604"/>
                  </a:lnTo>
                  <a:lnTo>
                    <a:pt x="6140069" y="1629007"/>
                  </a:lnTo>
                  <a:lnTo>
                    <a:pt x="6141663" y="1625824"/>
                  </a:lnTo>
                  <a:lnTo>
                    <a:pt x="6141663" y="1624232"/>
                  </a:lnTo>
                  <a:lnTo>
                    <a:pt x="6139172" y="1623137"/>
                  </a:lnTo>
                  <a:lnTo>
                    <a:pt x="6135983" y="1624729"/>
                  </a:lnTo>
                  <a:lnTo>
                    <a:pt x="6133193" y="1625724"/>
                  </a:lnTo>
                  <a:lnTo>
                    <a:pt x="6132097" y="1622541"/>
                  </a:lnTo>
                  <a:lnTo>
                    <a:pt x="6132097" y="1611796"/>
                  </a:lnTo>
                  <a:lnTo>
                    <a:pt x="6132097" y="1608712"/>
                  </a:lnTo>
                  <a:lnTo>
                    <a:pt x="6130303" y="1606324"/>
                  </a:lnTo>
                  <a:lnTo>
                    <a:pt x="6127713" y="1604533"/>
                  </a:lnTo>
                  <a:lnTo>
                    <a:pt x="6125321" y="1602146"/>
                  </a:lnTo>
                  <a:lnTo>
                    <a:pt x="6124225" y="1598365"/>
                  </a:lnTo>
                  <a:lnTo>
                    <a:pt x="6125321" y="1595182"/>
                  </a:lnTo>
                  <a:lnTo>
                    <a:pt x="6129606" y="1590704"/>
                  </a:lnTo>
                  <a:lnTo>
                    <a:pt x="6130403" y="1587919"/>
                  </a:lnTo>
                  <a:lnTo>
                    <a:pt x="6127513" y="1585531"/>
                  </a:lnTo>
                  <a:lnTo>
                    <a:pt x="6088851" y="1585531"/>
                  </a:lnTo>
                  <a:lnTo>
                    <a:pt x="6086062" y="1584636"/>
                  </a:lnTo>
                  <a:lnTo>
                    <a:pt x="6086062" y="1582348"/>
                  </a:lnTo>
                  <a:lnTo>
                    <a:pt x="6084567" y="1581253"/>
                  </a:lnTo>
                  <a:lnTo>
                    <a:pt x="6083371" y="1581253"/>
                  </a:lnTo>
                  <a:lnTo>
                    <a:pt x="6080780" y="1583143"/>
                  </a:lnTo>
                  <a:lnTo>
                    <a:pt x="6078289" y="1583143"/>
                  </a:lnTo>
                  <a:lnTo>
                    <a:pt x="6077592" y="1583939"/>
                  </a:lnTo>
                  <a:lnTo>
                    <a:pt x="6078588" y="1586427"/>
                  </a:lnTo>
                  <a:lnTo>
                    <a:pt x="6075599" y="1587322"/>
                  </a:lnTo>
                  <a:lnTo>
                    <a:pt x="6075001" y="1589610"/>
                  </a:lnTo>
                  <a:lnTo>
                    <a:pt x="6076097" y="1591998"/>
                  </a:lnTo>
                  <a:lnTo>
                    <a:pt x="6078189" y="1593092"/>
                  </a:lnTo>
                  <a:lnTo>
                    <a:pt x="6081278" y="1591799"/>
                  </a:lnTo>
                  <a:lnTo>
                    <a:pt x="6082972" y="1591799"/>
                  </a:lnTo>
                  <a:lnTo>
                    <a:pt x="6083769" y="1593590"/>
                  </a:lnTo>
                  <a:lnTo>
                    <a:pt x="6084467" y="1594286"/>
                  </a:lnTo>
                  <a:lnTo>
                    <a:pt x="6088353" y="1595281"/>
                  </a:lnTo>
                  <a:lnTo>
                    <a:pt x="6089848" y="1596375"/>
                  </a:lnTo>
                  <a:lnTo>
                    <a:pt x="6090645" y="1595579"/>
                  </a:lnTo>
                  <a:lnTo>
                    <a:pt x="6093236" y="1594187"/>
                  </a:lnTo>
                  <a:lnTo>
                    <a:pt x="6093236" y="1595977"/>
                  </a:lnTo>
                  <a:lnTo>
                    <a:pt x="6091642" y="1598863"/>
                  </a:lnTo>
                  <a:lnTo>
                    <a:pt x="6090844" y="1600653"/>
                  </a:lnTo>
                  <a:lnTo>
                    <a:pt x="6093734" y="1601151"/>
                  </a:lnTo>
                  <a:lnTo>
                    <a:pt x="6097222" y="1606026"/>
                  </a:lnTo>
                  <a:lnTo>
                    <a:pt x="6100011" y="1607219"/>
                  </a:lnTo>
                  <a:lnTo>
                    <a:pt x="6100011" y="1608015"/>
                  </a:lnTo>
                  <a:lnTo>
                    <a:pt x="6102005" y="1611597"/>
                  </a:lnTo>
                  <a:lnTo>
                    <a:pt x="6103100" y="1612791"/>
                  </a:lnTo>
                  <a:lnTo>
                    <a:pt x="6103898" y="1612791"/>
                  </a:lnTo>
                  <a:lnTo>
                    <a:pt x="6103898" y="1613288"/>
                  </a:lnTo>
                  <a:lnTo>
                    <a:pt x="6103898" y="1615278"/>
                  </a:lnTo>
                  <a:lnTo>
                    <a:pt x="6104496" y="1616074"/>
                  </a:lnTo>
                  <a:lnTo>
                    <a:pt x="6106787" y="1617268"/>
                  </a:lnTo>
                  <a:lnTo>
                    <a:pt x="6107385" y="1618561"/>
                  </a:lnTo>
                  <a:lnTo>
                    <a:pt x="6107385" y="1619655"/>
                  </a:lnTo>
                  <a:lnTo>
                    <a:pt x="6110275" y="1626918"/>
                  </a:lnTo>
                  <a:lnTo>
                    <a:pt x="6111172" y="1628211"/>
                  </a:lnTo>
                  <a:lnTo>
                    <a:pt x="6111172" y="1627316"/>
                  </a:lnTo>
                  <a:lnTo>
                    <a:pt x="6111172" y="1625525"/>
                  </a:lnTo>
                  <a:lnTo>
                    <a:pt x="6111969" y="1625525"/>
                  </a:lnTo>
                  <a:lnTo>
                    <a:pt x="6112766" y="1626122"/>
                  </a:lnTo>
                  <a:lnTo>
                    <a:pt x="6113464" y="1627316"/>
                  </a:lnTo>
                  <a:lnTo>
                    <a:pt x="6114958" y="1625923"/>
                  </a:lnTo>
                  <a:lnTo>
                    <a:pt x="6116353" y="1625227"/>
                  </a:lnTo>
                  <a:lnTo>
                    <a:pt x="6117748" y="1625227"/>
                  </a:lnTo>
                  <a:lnTo>
                    <a:pt x="6118645" y="1627017"/>
                  </a:lnTo>
                  <a:lnTo>
                    <a:pt x="6118645" y="1627017"/>
                  </a:lnTo>
                  <a:lnTo>
                    <a:pt x="6118047" y="1628012"/>
                  </a:lnTo>
                  <a:lnTo>
                    <a:pt x="6117449" y="1628709"/>
                  </a:lnTo>
                  <a:lnTo>
                    <a:pt x="6118247" y="1628709"/>
                  </a:lnTo>
                  <a:lnTo>
                    <a:pt x="6120040" y="1628709"/>
                  </a:lnTo>
                  <a:lnTo>
                    <a:pt x="6120937" y="1628709"/>
                  </a:lnTo>
                  <a:lnTo>
                    <a:pt x="6119741" y="1632290"/>
                  </a:lnTo>
                  <a:lnTo>
                    <a:pt x="6118944" y="1637862"/>
                  </a:lnTo>
                  <a:lnTo>
                    <a:pt x="6118944" y="1642935"/>
                  </a:lnTo>
                  <a:lnTo>
                    <a:pt x="6121036" y="1645124"/>
                  </a:lnTo>
                  <a:lnTo>
                    <a:pt x="6122930" y="1645721"/>
                  </a:lnTo>
                  <a:lnTo>
                    <a:pt x="6122930" y="1647412"/>
                  </a:lnTo>
                  <a:lnTo>
                    <a:pt x="6122930" y="1649502"/>
                  </a:lnTo>
                  <a:lnTo>
                    <a:pt x="6123827" y="1651790"/>
                  </a:lnTo>
                  <a:lnTo>
                    <a:pt x="6125122" y="1652785"/>
                  </a:lnTo>
                  <a:lnTo>
                    <a:pt x="6128011" y="1653780"/>
                  </a:lnTo>
                  <a:lnTo>
                    <a:pt x="6129107" y="1655073"/>
                  </a:lnTo>
                  <a:lnTo>
                    <a:pt x="6128311" y="1658953"/>
                  </a:lnTo>
                  <a:lnTo>
                    <a:pt x="6129407" y="1664524"/>
                  </a:lnTo>
                  <a:lnTo>
                    <a:pt x="6129407" y="1669797"/>
                  </a:lnTo>
                  <a:lnTo>
                    <a:pt x="6128111" y="1674871"/>
                  </a:lnTo>
                  <a:lnTo>
                    <a:pt x="6130702" y="1678950"/>
                  </a:lnTo>
                  <a:lnTo>
                    <a:pt x="6131898" y="1681338"/>
                  </a:lnTo>
                  <a:lnTo>
                    <a:pt x="6132396" y="1684223"/>
                  </a:lnTo>
                  <a:lnTo>
                    <a:pt x="6131898" y="1687506"/>
                  </a:lnTo>
                  <a:lnTo>
                    <a:pt x="6130702" y="1690291"/>
                  </a:lnTo>
                  <a:lnTo>
                    <a:pt x="6118147" y="1705314"/>
                  </a:lnTo>
                  <a:lnTo>
                    <a:pt x="6116951" y="1708199"/>
                  </a:lnTo>
                  <a:lnTo>
                    <a:pt x="6115556" y="1714467"/>
                  </a:lnTo>
                  <a:lnTo>
                    <a:pt x="6114360" y="1716855"/>
                  </a:lnTo>
                  <a:lnTo>
                    <a:pt x="6111769" y="1718148"/>
                  </a:lnTo>
                  <a:lnTo>
                    <a:pt x="6105791" y="1719143"/>
                  </a:lnTo>
                  <a:lnTo>
                    <a:pt x="6103400" y="1720635"/>
                  </a:lnTo>
                  <a:lnTo>
                    <a:pt x="6097820" y="1728992"/>
                  </a:lnTo>
                  <a:lnTo>
                    <a:pt x="6095926" y="1730982"/>
                  </a:lnTo>
                  <a:lnTo>
                    <a:pt x="6094731" y="1731579"/>
                  </a:lnTo>
                  <a:lnTo>
                    <a:pt x="6093634" y="1731579"/>
                  </a:lnTo>
                  <a:lnTo>
                    <a:pt x="6092638" y="1731579"/>
                  </a:lnTo>
                  <a:lnTo>
                    <a:pt x="6091741" y="1732673"/>
                  </a:lnTo>
                  <a:lnTo>
                    <a:pt x="6090944" y="1734663"/>
                  </a:lnTo>
                  <a:lnTo>
                    <a:pt x="6090944" y="1736354"/>
                  </a:lnTo>
                  <a:lnTo>
                    <a:pt x="6090944" y="1737846"/>
                  </a:lnTo>
                  <a:lnTo>
                    <a:pt x="6090944" y="1739737"/>
                  </a:lnTo>
                  <a:lnTo>
                    <a:pt x="6090944" y="1742224"/>
                  </a:lnTo>
                  <a:lnTo>
                    <a:pt x="6087755" y="1751178"/>
                  </a:lnTo>
                  <a:lnTo>
                    <a:pt x="6082175" y="1761126"/>
                  </a:lnTo>
                  <a:lnTo>
                    <a:pt x="6074303" y="1767693"/>
                  </a:lnTo>
                  <a:lnTo>
                    <a:pt x="6072211" y="1770379"/>
                  </a:lnTo>
                  <a:lnTo>
                    <a:pt x="6071713" y="1772966"/>
                  </a:lnTo>
                  <a:lnTo>
                    <a:pt x="6073407" y="1786297"/>
                  </a:lnTo>
                  <a:lnTo>
                    <a:pt x="6075599" y="1795450"/>
                  </a:lnTo>
                  <a:lnTo>
                    <a:pt x="6075599" y="1799031"/>
                  </a:lnTo>
                  <a:lnTo>
                    <a:pt x="6074503" y="1808980"/>
                  </a:lnTo>
                  <a:lnTo>
                    <a:pt x="6074503" y="1836240"/>
                  </a:lnTo>
                  <a:lnTo>
                    <a:pt x="6077392" y="1862902"/>
                  </a:lnTo>
                  <a:lnTo>
                    <a:pt x="6077392" y="1869866"/>
                  </a:lnTo>
                  <a:lnTo>
                    <a:pt x="6076097" y="1876631"/>
                  </a:lnTo>
                  <a:lnTo>
                    <a:pt x="6073705" y="1883894"/>
                  </a:lnTo>
                  <a:lnTo>
                    <a:pt x="6070916" y="1888968"/>
                  </a:lnTo>
                  <a:lnTo>
                    <a:pt x="6067329" y="1892947"/>
                  </a:lnTo>
                  <a:lnTo>
                    <a:pt x="6054773" y="1903692"/>
                  </a:lnTo>
                  <a:lnTo>
                    <a:pt x="6051285" y="1904985"/>
                  </a:lnTo>
                  <a:lnTo>
                    <a:pt x="6045805" y="1908268"/>
                  </a:lnTo>
                  <a:lnTo>
                    <a:pt x="6042816" y="1908268"/>
                  </a:lnTo>
                  <a:lnTo>
                    <a:pt x="6041421" y="1908268"/>
                  </a:lnTo>
                  <a:lnTo>
                    <a:pt x="6038930" y="1910059"/>
                  </a:lnTo>
                  <a:lnTo>
                    <a:pt x="6027471" y="1924684"/>
                  </a:lnTo>
                  <a:lnTo>
                    <a:pt x="6024880" y="1926674"/>
                  </a:lnTo>
                  <a:lnTo>
                    <a:pt x="6020296" y="1929360"/>
                  </a:lnTo>
                  <a:lnTo>
                    <a:pt x="5991698" y="1939905"/>
                  </a:lnTo>
                  <a:lnTo>
                    <a:pt x="5986816" y="1940701"/>
                  </a:lnTo>
                  <a:lnTo>
                    <a:pt x="5986816" y="1940701"/>
                  </a:lnTo>
                  <a:lnTo>
                    <a:pt x="5986816" y="1946074"/>
                  </a:lnTo>
                  <a:lnTo>
                    <a:pt x="5984823" y="1951048"/>
                  </a:lnTo>
                  <a:lnTo>
                    <a:pt x="5981934" y="1956122"/>
                  </a:lnTo>
                  <a:lnTo>
                    <a:pt x="5980439" y="1961693"/>
                  </a:lnTo>
                  <a:lnTo>
                    <a:pt x="5980439" y="1964777"/>
                  </a:lnTo>
                  <a:lnTo>
                    <a:pt x="5978645" y="1969354"/>
                  </a:lnTo>
                  <a:lnTo>
                    <a:pt x="5978645" y="1971940"/>
                  </a:lnTo>
                  <a:lnTo>
                    <a:pt x="5980239" y="1975124"/>
                  </a:lnTo>
                  <a:lnTo>
                    <a:pt x="5980239" y="1976218"/>
                  </a:lnTo>
                  <a:lnTo>
                    <a:pt x="5980239" y="1977910"/>
                  </a:lnTo>
                  <a:lnTo>
                    <a:pt x="5979542" y="1980795"/>
                  </a:lnTo>
                  <a:lnTo>
                    <a:pt x="5978745" y="1987460"/>
                  </a:lnTo>
                  <a:lnTo>
                    <a:pt x="5975158" y="1998802"/>
                  </a:lnTo>
                  <a:lnTo>
                    <a:pt x="5973265" y="2002980"/>
                  </a:lnTo>
                  <a:lnTo>
                    <a:pt x="5970374" y="2007557"/>
                  </a:lnTo>
                  <a:lnTo>
                    <a:pt x="5966987" y="2010542"/>
                  </a:lnTo>
                  <a:lnTo>
                    <a:pt x="5962901" y="2012233"/>
                  </a:lnTo>
                  <a:lnTo>
                    <a:pt x="5958318" y="2012730"/>
                  </a:lnTo>
                  <a:lnTo>
                    <a:pt x="5958318" y="2012730"/>
                  </a:lnTo>
                  <a:lnTo>
                    <a:pt x="5958318" y="2013725"/>
                  </a:lnTo>
                  <a:lnTo>
                    <a:pt x="5959414" y="2015217"/>
                  </a:lnTo>
                  <a:lnTo>
                    <a:pt x="5963599" y="2019296"/>
                  </a:lnTo>
                  <a:lnTo>
                    <a:pt x="5964894" y="2020192"/>
                  </a:lnTo>
                  <a:lnTo>
                    <a:pt x="5973862" y="2019694"/>
                  </a:lnTo>
                  <a:lnTo>
                    <a:pt x="5978346" y="2020888"/>
                  </a:lnTo>
                  <a:lnTo>
                    <a:pt x="5980937" y="2024470"/>
                  </a:lnTo>
                  <a:lnTo>
                    <a:pt x="5983428" y="2022182"/>
                  </a:lnTo>
                  <a:lnTo>
                    <a:pt x="5984823" y="2021485"/>
                  </a:lnTo>
                  <a:lnTo>
                    <a:pt x="5986616" y="2021485"/>
                  </a:lnTo>
                  <a:lnTo>
                    <a:pt x="5987314" y="2022380"/>
                  </a:lnTo>
                  <a:lnTo>
                    <a:pt x="5987314" y="2024470"/>
                  </a:lnTo>
                  <a:lnTo>
                    <a:pt x="5986616" y="2026658"/>
                  </a:lnTo>
                  <a:lnTo>
                    <a:pt x="5985521" y="2027952"/>
                  </a:lnTo>
                  <a:lnTo>
                    <a:pt x="5987115" y="2030538"/>
                  </a:lnTo>
                  <a:lnTo>
                    <a:pt x="5988211" y="2033822"/>
                  </a:lnTo>
                  <a:lnTo>
                    <a:pt x="5988211" y="2037204"/>
                  </a:lnTo>
                  <a:lnTo>
                    <a:pt x="5988211" y="2040587"/>
                  </a:lnTo>
                  <a:lnTo>
                    <a:pt x="5984623" y="2047053"/>
                  </a:lnTo>
                  <a:lnTo>
                    <a:pt x="5979641" y="2049242"/>
                  </a:lnTo>
                  <a:lnTo>
                    <a:pt x="5966688" y="2049242"/>
                  </a:lnTo>
                  <a:lnTo>
                    <a:pt x="5965094" y="2049242"/>
                  </a:lnTo>
                  <a:lnTo>
                    <a:pt x="5962005" y="2050734"/>
                  </a:lnTo>
                  <a:lnTo>
                    <a:pt x="5960211" y="2050734"/>
                  </a:lnTo>
                  <a:lnTo>
                    <a:pt x="5941578" y="2050734"/>
                  </a:lnTo>
                  <a:lnTo>
                    <a:pt x="5932211" y="2047849"/>
                  </a:lnTo>
                  <a:lnTo>
                    <a:pt x="5919456" y="2045760"/>
                  </a:lnTo>
                  <a:lnTo>
                    <a:pt x="5916368" y="2046457"/>
                  </a:lnTo>
                  <a:lnTo>
                    <a:pt x="5913478" y="2048645"/>
                  </a:lnTo>
                  <a:lnTo>
                    <a:pt x="5911883" y="2049441"/>
                  </a:lnTo>
                  <a:lnTo>
                    <a:pt x="5910588" y="2049441"/>
                  </a:lnTo>
                  <a:lnTo>
                    <a:pt x="5908994" y="2048446"/>
                  </a:lnTo>
                  <a:lnTo>
                    <a:pt x="5907399" y="2049143"/>
                  </a:lnTo>
                  <a:lnTo>
                    <a:pt x="5905905" y="2050436"/>
                  </a:lnTo>
                  <a:lnTo>
                    <a:pt x="5903115" y="2052127"/>
                  </a:lnTo>
                  <a:lnTo>
                    <a:pt x="5903115" y="2052127"/>
                  </a:lnTo>
                  <a:lnTo>
                    <a:pt x="5901620" y="2054913"/>
                  </a:lnTo>
                  <a:lnTo>
                    <a:pt x="5900624" y="2058494"/>
                  </a:lnTo>
                  <a:lnTo>
                    <a:pt x="5900026" y="2061479"/>
                  </a:lnTo>
                  <a:lnTo>
                    <a:pt x="5898730" y="2077894"/>
                  </a:lnTo>
                  <a:lnTo>
                    <a:pt x="5897336" y="2085356"/>
                  </a:lnTo>
                  <a:lnTo>
                    <a:pt x="5897336" y="2088142"/>
                  </a:lnTo>
                  <a:lnTo>
                    <a:pt x="5899428" y="2090728"/>
                  </a:lnTo>
                  <a:lnTo>
                    <a:pt x="5906403" y="2092420"/>
                  </a:lnTo>
                  <a:lnTo>
                    <a:pt x="5909990" y="2094608"/>
                  </a:lnTo>
                  <a:lnTo>
                    <a:pt x="5911585" y="2095205"/>
                  </a:lnTo>
                  <a:lnTo>
                    <a:pt x="5914275" y="2095205"/>
                  </a:lnTo>
                  <a:lnTo>
                    <a:pt x="5914972" y="2095703"/>
                  </a:lnTo>
                  <a:lnTo>
                    <a:pt x="5918161" y="2098389"/>
                  </a:lnTo>
                  <a:lnTo>
                    <a:pt x="5923243" y="2100677"/>
                  </a:lnTo>
                  <a:lnTo>
                    <a:pt x="5928823" y="2101274"/>
                  </a:lnTo>
                  <a:lnTo>
                    <a:pt x="5934603" y="2100478"/>
                  </a:lnTo>
                  <a:lnTo>
                    <a:pt x="5949350" y="2093415"/>
                  </a:lnTo>
                  <a:lnTo>
                    <a:pt x="5955029" y="2092022"/>
                  </a:lnTo>
                  <a:lnTo>
                    <a:pt x="5960809" y="2093017"/>
                  </a:lnTo>
                  <a:lnTo>
                    <a:pt x="5965890" y="2096300"/>
                  </a:lnTo>
                  <a:lnTo>
                    <a:pt x="5970176" y="2100876"/>
                  </a:lnTo>
                  <a:lnTo>
                    <a:pt x="5973364" y="2106348"/>
                  </a:lnTo>
                  <a:lnTo>
                    <a:pt x="5975456" y="2112317"/>
                  </a:lnTo>
                  <a:lnTo>
                    <a:pt x="5976453" y="2112317"/>
                  </a:lnTo>
                  <a:lnTo>
                    <a:pt x="5976453" y="2110825"/>
                  </a:lnTo>
                  <a:lnTo>
                    <a:pt x="5975855" y="2110029"/>
                  </a:lnTo>
                  <a:lnTo>
                    <a:pt x="5976852" y="2105851"/>
                  </a:lnTo>
                  <a:lnTo>
                    <a:pt x="5978446" y="2093415"/>
                  </a:lnTo>
                  <a:lnTo>
                    <a:pt x="5980738" y="2090828"/>
                  </a:lnTo>
                  <a:lnTo>
                    <a:pt x="5982132" y="2088639"/>
                  </a:lnTo>
                  <a:lnTo>
                    <a:pt x="5991001" y="2079287"/>
                  </a:lnTo>
                  <a:lnTo>
                    <a:pt x="5993193" y="2077596"/>
                  </a:lnTo>
                  <a:lnTo>
                    <a:pt x="6024481" y="2062175"/>
                  </a:lnTo>
                  <a:lnTo>
                    <a:pt x="6029364" y="2059191"/>
                  </a:lnTo>
                  <a:lnTo>
                    <a:pt x="6032353" y="2058196"/>
                  </a:lnTo>
                  <a:lnTo>
                    <a:pt x="6049791" y="2058196"/>
                  </a:lnTo>
                  <a:lnTo>
                    <a:pt x="6049791" y="2057500"/>
                  </a:lnTo>
                  <a:lnTo>
                    <a:pt x="6049791" y="2055709"/>
                  </a:lnTo>
                  <a:lnTo>
                    <a:pt x="6049791" y="2055012"/>
                  </a:lnTo>
                  <a:lnTo>
                    <a:pt x="6059756" y="2048645"/>
                  </a:lnTo>
                  <a:lnTo>
                    <a:pt x="6059756" y="2052326"/>
                  </a:lnTo>
                  <a:lnTo>
                    <a:pt x="6058161" y="2054515"/>
                  </a:lnTo>
                  <a:lnTo>
                    <a:pt x="6056168" y="2056405"/>
                  </a:lnTo>
                  <a:lnTo>
                    <a:pt x="6054972" y="2059390"/>
                  </a:lnTo>
                  <a:lnTo>
                    <a:pt x="6057862" y="2060285"/>
                  </a:lnTo>
                  <a:lnTo>
                    <a:pt x="6060054" y="2058892"/>
                  </a:lnTo>
                  <a:lnTo>
                    <a:pt x="6061449" y="2056107"/>
                  </a:lnTo>
                  <a:lnTo>
                    <a:pt x="6062445" y="2049043"/>
                  </a:lnTo>
                  <a:lnTo>
                    <a:pt x="6064837" y="2043273"/>
                  </a:lnTo>
                  <a:lnTo>
                    <a:pt x="6065435" y="2040587"/>
                  </a:lnTo>
                  <a:lnTo>
                    <a:pt x="6068125" y="2036209"/>
                  </a:lnTo>
                  <a:lnTo>
                    <a:pt x="6085364" y="2024072"/>
                  </a:lnTo>
                  <a:lnTo>
                    <a:pt x="6088054" y="2020988"/>
                  </a:lnTo>
                  <a:lnTo>
                    <a:pt x="6096723" y="2013427"/>
                  </a:lnTo>
                  <a:lnTo>
                    <a:pt x="6098816" y="2011138"/>
                  </a:lnTo>
                  <a:lnTo>
                    <a:pt x="6100211" y="2010144"/>
                  </a:lnTo>
                  <a:lnTo>
                    <a:pt x="6104595" y="2008452"/>
                  </a:lnTo>
                  <a:lnTo>
                    <a:pt x="6107883" y="2005667"/>
                  </a:lnTo>
                  <a:lnTo>
                    <a:pt x="6110574" y="2004274"/>
                  </a:lnTo>
                  <a:lnTo>
                    <a:pt x="6115755" y="2002583"/>
                  </a:lnTo>
                  <a:lnTo>
                    <a:pt x="6123129" y="1998006"/>
                  </a:lnTo>
                  <a:lnTo>
                    <a:pt x="6139571" y="1994823"/>
                  </a:lnTo>
                  <a:lnTo>
                    <a:pt x="6177236" y="1994823"/>
                  </a:lnTo>
                  <a:lnTo>
                    <a:pt x="6196666" y="1999598"/>
                  </a:lnTo>
                  <a:lnTo>
                    <a:pt x="6199656" y="1999598"/>
                  </a:lnTo>
                  <a:lnTo>
                    <a:pt x="6206232" y="2003179"/>
                  </a:lnTo>
                  <a:lnTo>
                    <a:pt x="6222175" y="2006463"/>
                  </a:lnTo>
                  <a:lnTo>
                    <a:pt x="6225264" y="2007756"/>
                  </a:lnTo>
                  <a:lnTo>
                    <a:pt x="6230546" y="2009348"/>
                  </a:lnTo>
                  <a:lnTo>
                    <a:pt x="6250474" y="2008253"/>
                  </a:lnTo>
                  <a:lnTo>
                    <a:pt x="6253862" y="2008253"/>
                  </a:lnTo>
                  <a:lnTo>
                    <a:pt x="6263826" y="2011039"/>
                  </a:lnTo>
                  <a:lnTo>
                    <a:pt x="6276382" y="2012133"/>
                  </a:lnTo>
                  <a:lnTo>
                    <a:pt x="6279869" y="2013228"/>
                  </a:lnTo>
                  <a:lnTo>
                    <a:pt x="6281762" y="2013228"/>
                  </a:lnTo>
                  <a:lnTo>
                    <a:pt x="6284553" y="2011536"/>
                  </a:lnTo>
                  <a:lnTo>
                    <a:pt x="6286346" y="2010939"/>
                  </a:lnTo>
                  <a:lnTo>
                    <a:pt x="6288239" y="2010939"/>
                  </a:lnTo>
                  <a:lnTo>
                    <a:pt x="6287542" y="2010939"/>
                  </a:lnTo>
                  <a:lnTo>
                    <a:pt x="6281264" y="2008950"/>
                  </a:lnTo>
                  <a:lnTo>
                    <a:pt x="6255357" y="2007159"/>
                  </a:lnTo>
                  <a:lnTo>
                    <a:pt x="6251769" y="2006164"/>
                  </a:lnTo>
                  <a:lnTo>
                    <a:pt x="6250175" y="2003975"/>
                  </a:lnTo>
                  <a:lnTo>
                    <a:pt x="6237222" y="2003975"/>
                  </a:lnTo>
                  <a:lnTo>
                    <a:pt x="6235826" y="2001090"/>
                  </a:lnTo>
                  <a:lnTo>
                    <a:pt x="6237122" y="1998106"/>
                  </a:lnTo>
                  <a:lnTo>
                    <a:pt x="6242204" y="1992634"/>
                  </a:lnTo>
                  <a:lnTo>
                    <a:pt x="6244396" y="1991539"/>
                  </a:lnTo>
                  <a:lnTo>
                    <a:pt x="6245293" y="1990644"/>
                  </a:lnTo>
                  <a:lnTo>
                    <a:pt x="6246488" y="1990147"/>
                  </a:lnTo>
                  <a:lnTo>
                    <a:pt x="6247983" y="1992833"/>
                  </a:lnTo>
                  <a:lnTo>
                    <a:pt x="6249278" y="1992833"/>
                  </a:lnTo>
                  <a:lnTo>
                    <a:pt x="6250973" y="1990943"/>
                  </a:lnTo>
                  <a:lnTo>
                    <a:pt x="6253065" y="1984575"/>
                  </a:lnTo>
                  <a:lnTo>
                    <a:pt x="6254958" y="1983182"/>
                  </a:lnTo>
                  <a:lnTo>
                    <a:pt x="6256951" y="1982188"/>
                  </a:lnTo>
                  <a:lnTo>
                    <a:pt x="6264026" y="1975621"/>
                  </a:lnTo>
                  <a:lnTo>
                    <a:pt x="6269606" y="1973234"/>
                  </a:lnTo>
                  <a:lnTo>
                    <a:pt x="6309464" y="1967065"/>
                  </a:lnTo>
                  <a:lnTo>
                    <a:pt x="6314545" y="1967065"/>
                  </a:lnTo>
                  <a:lnTo>
                    <a:pt x="6319428" y="1964976"/>
                  </a:lnTo>
                  <a:lnTo>
                    <a:pt x="6322118" y="1964479"/>
                  </a:lnTo>
                  <a:lnTo>
                    <a:pt x="6327200" y="1962191"/>
                  </a:lnTo>
                  <a:lnTo>
                    <a:pt x="6329392" y="1961594"/>
                  </a:lnTo>
                  <a:lnTo>
                    <a:pt x="6332182" y="1962290"/>
                  </a:lnTo>
                  <a:lnTo>
                    <a:pt x="6338859" y="1965076"/>
                  </a:lnTo>
                  <a:lnTo>
                    <a:pt x="6341150" y="1964379"/>
                  </a:lnTo>
                  <a:lnTo>
                    <a:pt x="6343542" y="1962887"/>
                  </a:lnTo>
                  <a:lnTo>
                    <a:pt x="6346930" y="1962887"/>
                  </a:lnTo>
                  <a:lnTo>
                    <a:pt x="6357492" y="1963484"/>
                  </a:lnTo>
                  <a:lnTo>
                    <a:pt x="6358986" y="1963484"/>
                  </a:lnTo>
                  <a:lnTo>
                    <a:pt x="6359983" y="1962688"/>
                  </a:lnTo>
                  <a:lnTo>
                    <a:pt x="6360880" y="1961594"/>
                  </a:lnTo>
                  <a:lnTo>
                    <a:pt x="6361976" y="1960599"/>
                  </a:lnTo>
                  <a:lnTo>
                    <a:pt x="6363670" y="1960599"/>
                  </a:lnTo>
                  <a:lnTo>
                    <a:pt x="6373634" y="1961892"/>
                  </a:lnTo>
                  <a:lnTo>
                    <a:pt x="6394659" y="1960798"/>
                  </a:lnTo>
                  <a:lnTo>
                    <a:pt x="6400538" y="1961793"/>
                  </a:lnTo>
                  <a:lnTo>
                    <a:pt x="6406019" y="1964877"/>
                  </a:lnTo>
                  <a:lnTo>
                    <a:pt x="6408310" y="1965474"/>
                  </a:lnTo>
                  <a:lnTo>
                    <a:pt x="6409307" y="1963384"/>
                  </a:lnTo>
                  <a:lnTo>
                    <a:pt x="6410602" y="1962290"/>
                  </a:lnTo>
                  <a:lnTo>
                    <a:pt x="6424752" y="1959206"/>
                  </a:lnTo>
                  <a:lnTo>
                    <a:pt x="6427542" y="1957813"/>
                  </a:lnTo>
                  <a:lnTo>
                    <a:pt x="6429734" y="1955823"/>
                  </a:lnTo>
                  <a:lnTo>
                    <a:pt x="6431129" y="1952640"/>
                  </a:lnTo>
                  <a:lnTo>
                    <a:pt x="6429634" y="1950451"/>
                  </a:lnTo>
                  <a:lnTo>
                    <a:pt x="6424054" y="1947864"/>
                  </a:lnTo>
                  <a:lnTo>
                    <a:pt x="6417777" y="1943586"/>
                  </a:lnTo>
                  <a:lnTo>
                    <a:pt x="6414986" y="1940403"/>
                  </a:lnTo>
                  <a:lnTo>
                    <a:pt x="6414986" y="1937617"/>
                  </a:lnTo>
                  <a:lnTo>
                    <a:pt x="6416282" y="1933240"/>
                  </a:lnTo>
                  <a:lnTo>
                    <a:pt x="6413592" y="1930355"/>
                  </a:lnTo>
                  <a:lnTo>
                    <a:pt x="6410801" y="1927967"/>
                  </a:lnTo>
                  <a:lnTo>
                    <a:pt x="6411997" y="1925181"/>
                  </a:lnTo>
                  <a:lnTo>
                    <a:pt x="6411997" y="1925181"/>
                  </a:lnTo>
                  <a:lnTo>
                    <a:pt x="6411997" y="1922993"/>
                  </a:lnTo>
                  <a:lnTo>
                    <a:pt x="6412595" y="1921401"/>
                  </a:lnTo>
                  <a:lnTo>
                    <a:pt x="6413293" y="1920107"/>
                  </a:lnTo>
                  <a:lnTo>
                    <a:pt x="6413293" y="1918715"/>
                  </a:lnTo>
                  <a:lnTo>
                    <a:pt x="6413293" y="1916725"/>
                  </a:lnTo>
                  <a:lnTo>
                    <a:pt x="6413293" y="1915034"/>
                  </a:lnTo>
                  <a:lnTo>
                    <a:pt x="6412595" y="1900906"/>
                  </a:lnTo>
                  <a:lnTo>
                    <a:pt x="6411997" y="1898121"/>
                  </a:lnTo>
                  <a:lnTo>
                    <a:pt x="6411997" y="1898121"/>
                  </a:lnTo>
                  <a:lnTo>
                    <a:pt x="6409506" y="1899215"/>
                  </a:lnTo>
                  <a:lnTo>
                    <a:pt x="6397350" y="1901006"/>
                  </a:lnTo>
                  <a:lnTo>
                    <a:pt x="6394659" y="1902598"/>
                  </a:lnTo>
                  <a:lnTo>
                    <a:pt x="6390275" y="1905881"/>
                  </a:lnTo>
                  <a:lnTo>
                    <a:pt x="6382503" y="1908766"/>
                  </a:lnTo>
                  <a:lnTo>
                    <a:pt x="6380211" y="1910557"/>
                  </a:lnTo>
                  <a:lnTo>
                    <a:pt x="6377620" y="1911949"/>
                  </a:lnTo>
                  <a:lnTo>
                    <a:pt x="6374730" y="1911353"/>
                  </a:lnTo>
                  <a:lnTo>
                    <a:pt x="6369350" y="1908865"/>
                  </a:lnTo>
                  <a:lnTo>
                    <a:pt x="6363072" y="1908268"/>
                  </a:lnTo>
                  <a:lnTo>
                    <a:pt x="6350317" y="1908865"/>
                  </a:lnTo>
                  <a:lnTo>
                    <a:pt x="6344239" y="1907870"/>
                  </a:lnTo>
                  <a:lnTo>
                    <a:pt x="6331684" y="1903891"/>
                  </a:lnTo>
                  <a:lnTo>
                    <a:pt x="6325606" y="1900608"/>
                  </a:lnTo>
                  <a:lnTo>
                    <a:pt x="6321520" y="1895932"/>
                  </a:lnTo>
                  <a:lnTo>
                    <a:pt x="6321520" y="1890062"/>
                  </a:lnTo>
                  <a:lnTo>
                    <a:pt x="6324908" y="1884889"/>
                  </a:lnTo>
                  <a:lnTo>
                    <a:pt x="6333179" y="1876532"/>
                  </a:lnTo>
                  <a:lnTo>
                    <a:pt x="6341549" y="1864096"/>
                  </a:lnTo>
                  <a:lnTo>
                    <a:pt x="6342246" y="1860713"/>
                  </a:lnTo>
                  <a:lnTo>
                    <a:pt x="6342246" y="1857331"/>
                  </a:lnTo>
                  <a:lnTo>
                    <a:pt x="6343243" y="1853849"/>
                  </a:lnTo>
                  <a:lnTo>
                    <a:pt x="6344737" y="1851959"/>
                  </a:lnTo>
                  <a:lnTo>
                    <a:pt x="6347129" y="1850168"/>
                  </a:lnTo>
                  <a:lnTo>
                    <a:pt x="6349819" y="1848874"/>
                  </a:lnTo>
                  <a:lnTo>
                    <a:pt x="6352410" y="1848377"/>
                  </a:lnTo>
                  <a:lnTo>
                    <a:pt x="6355001" y="1847382"/>
                  </a:lnTo>
                  <a:lnTo>
                    <a:pt x="6356695" y="1844895"/>
                  </a:lnTo>
                  <a:lnTo>
                    <a:pt x="6357990" y="1842010"/>
                  </a:lnTo>
                  <a:lnTo>
                    <a:pt x="6359784" y="1839722"/>
                  </a:lnTo>
                  <a:lnTo>
                    <a:pt x="6362773" y="1839125"/>
                  </a:lnTo>
                  <a:lnTo>
                    <a:pt x="6370446" y="1840319"/>
                  </a:lnTo>
                  <a:lnTo>
                    <a:pt x="6372339" y="1840319"/>
                  </a:lnTo>
                  <a:lnTo>
                    <a:pt x="6374431" y="1837931"/>
                  </a:lnTo>
                  <a:lnTo>
                    <a:pt x="6376624" y="1836240"/>
                  </a:lnTo>
                  <a:lnTo>
                    <a:pt x="6383897" y="1831663"/>
                  </a:lnTo>
                  <a:lnTo>
                    <a:pt x="6393862" y="1823008"/>
                  </a:lnTo>
                  <a:lnTo>
                    <a:pt x="6399542" y="1820023"/>
                  </a:lnTo>
                  <a:lnTo>
                    <a:pt x="6402232" y="1818232"/>
                  </a:lnTo>
                  <a:lnTo>
                    <a:pt x="6403029" y="1817038"/>
                  </a:lnTo>
                  <a:lnTo>
                    <a:pt x="6404524" y="1813954"/>
                  </a:lnTo>
                  <a:lnTo>
                    <a:pt x="6405719" y="1812661"/>
                  </a:lnTo>
                  <a:lnTo>
                    <a:pt x="6407115" y="1811766"/>
                  </a:lnTo>
                  <a:lnTo>
                    <a:pt x="6408111" y="1811766"/>
                  </a:lnTo>
                  <a:lnTo>
                    <a:pt x="6411399" y="1811766"/>
                  </a:lnTo>
                  <a:lnTo>
                    <a:pt x="6414190" y="1811169"/>
                  </a:lnTo>
                  <a:lnTo>
                    <a:pt x="6422261" y="1806294"/>
                  </a:lnTo>
                  <a:lnTo>
                    <a:pt x="6425350" y="1805398"/>
                  </a:lnTo>
                  <a:lnTo>
                    <a:pt x="6435314" y="1806294"/>
                  </a:lnTo>
                  <a:lnTo>
                    <a:pt x="6438303" y="1806294"/>
                  </a:lnTo>
                  <a:lnTo>
                    <a:pt x="6443784" y="1804205"/>
                  </a:lnTo>
                  <a:lnTo>
                    <a:pt x="6461620" y="1800921"/>
                  </a:lnTo>
                  <a:lnTo>
                    <a:pt x="6469592" y="1798036"/>
                  </a:lnTo>
                  <a:lnTo>
                    <a:pt x="6472780" y="1798036"/>
                  </a:lnTo>
                  <a:lnTo>
                    <a:pt x="6482745" y="1800126"/>
                  </a:lnTo>
                  <a:lnTo>
                    <a:pt x="6485435" y="1799628"/>
                  </a:lnTo>
                  <a:lnTo>
                    <a:pt x="6492808" y="1795649"/>
                  </a:lnTo>
                  <a:lnTo>
                    <a:pt x="6510844" y="1790973"/>
                  </a:lnTo>
                  <a:lnTo>
                    <a:pt x="6543727" y="1787988"/>
                  </a:lnTo>
                  <a:lnTo>
                    <a:pt x="6546118" y="1787292"/>
                  </a:lnTo>
                  <a:lnTo>
                    <a:pt x="6558175" y="1786695"/>
                  </a:lnTo>
                  <a:lnTo>
                    <a:pt x="6571228" y="1781422"/>
                  </a:lnTo>
                  <a:lnTo>
                    <a:pt x="6573919" y="1781422"/>
                  </a:lnTo>
                  <a:lnTo>
                    <a:pt x="6581990" y="1783511"/>
                  </a:lnTo>
                  <a:lnTo>
                    <a:pt x="6587470" y="1784208"/>
                  </a:lnTo>
                  <a:lnTo>
                    <a:pt x="6586274" y="1782516"/>
                  </a:lnTo>
                  <a:lnTo>
                    <a:pt x="6584182" y="1781720"/>
                  </a:lnTo>
                  <a:lnTo>
                    <a:pt x="6579599" y="1780825"/>
                  </a:lnTo>
                  <a:lnTo>
                    <a:pt x="6580994" y="1778835"/>
                  </a:lnTo>
                  <a:lnTo>
                    <a:pt x="6583186" y="1777741"/>
                  </a:lnTo>
                  <a:lnTo>
                    <a:pt x="6585577" y="1777741"/>
                  </a:lnTo>
                  <a:lnTo>
                    <a:pt x="6587470" y="1779532"/>
                  </a:lnTo>
                  <a:lnTo>
                    <a:pt x="6589264" y="1778636"/>
                  </a:lnTo>
                  <a:lnTo>
                    <a:pt x="6594943" y="1777343"/>
                  </a:lnTo>
                  <a:lnTo>
                    <a:pt x="6596936" y="1777343"/>
                  </a:lnTo>
                  <a:lnTo>
                    <a:pt x="6605605" y="1781720"/>
                  </a:lnTo>
                  <a:lnTo>
                    <a:pt x="6604410" y="1782914"/>
                  </a:lnTo>
                  <a:lnTo>
                    <a:pt x="6602915" y="1783611"/>
                  </a:lnTo>
                  <a:lnTo>
                    <a:pt x="6601321" y="1783611"/>
                  </a:lnTo>
                  <a:lnTo>
                    <a:pt x="6599627" y="1783611"/>
                  </a:lnTo>
                  <a:lnTo>
                    <a:pt x="6601620" y="1785700"/>
                  </a:lnTo>
                  <a:lnTo>
                    <a:pt x="6610687" y="1791868"/>
                  </a:lnTo>
                  <a:lnTo>
                    <a:pt x="6612581" y="1791868"/>
                  </a:lnTo>
                  <a:lnTo>
                    <a:pt x="6617363" y="1791868"/>
                  </a:lnTo>
                  <a:lnTo>
                    <a:pt x="6627328" y="1788884"/>
                  </a:lnTo>
                  <a:lnTo>
                    <a:pt x="6632609" y="1788287"/>
                  </a:lnTo>
                  <a:lnTo>
                    <a:pt x="6635997" y="1790774"/>
                  </a:lnTo>
                  <a:lnTo>
                    <a:pt x="6638488" y="1789381"/>
                  </a:lnTo>
                  <a:lnTo>
                    <a:pt x="6641178" y="1788585"/>
                  </a:lnTo>
                  <a:lnTo>
                    <a:pt x="6639485" y="1792167"/>
                  </a:lnTo>
                  <a:lnTo>
                    <a:pt x="6636994" y="1792167"/>
                  </a:lnTo>
                  <a:lnTo>
                    <a:pt x="6631613" y="1789480"/>
                  </a:lnTo>
                  <a:lnTo>
                    <a:pt x="6634901" y="1795748"/>
                  </a:lnTo>
                  <a:lnTo>
                    <a:pt x="6640481" y="1795748"/>
                  </a:lnTo>
                  <a:lnTo>
                    <a:pt x="6646659" y="1792962"/>
                  </a:lnTo>
                  <a:lnTo>
                    <a:pt x="6651641" y="1790077"/>
                  </a:lnTo>
                  <a:lnTo>
                    <a:pt x="6649947" y="1793360"/>
                  </a:lnTo>
                  <a:lnTo>
                    <a:pt x="6643072" y="1802115"/>
                  </a:lnTo>
                  <a:lnTo>
                    <a:pt x="6645065" y="1802812"/>
                  </a:lnTo>
                  <a:lnTo>
                    <a:pt x="6651641" y="1802812"/>
                  </a:lnTo>
                  <a:lnTo>
                    <a:pt x="6651641" y="1804801"/>
                  </a:lnTo>
                  <a:lnTo>
                    <a:pt x="6651641" y="1804801"/>
                  </a:lnTo>
                  <a:lnTo>
                    <a:pt x="6656025" y="1804801"/>
                  </a:lnTo>
                  <a:lnTo>
                    <a:pt x="6657022" y="1804801"/>
                  </a:lnTo>
                  <a:lnTo>
                    <a:pt x="6657819" y="1804205"/>
                  </a:lnTo>
                  <a:lnTo>
                    <a:pt x="6658516" y="1803309"/>
                  </a:lnTo>
                  <a:lnTo>
                    <a:pt x="6661705" y="1800722"/>
                  </a:lnTo>
                  <a:lnTo>
                    <a:pt x="6675556" y="1796246"/>
                  </a:lnTo>
                  <a:lnTo>
                    <a:pt x="6682132" y="1792863"/>
                  </a:lnTo>
                  <a:lnTo>
                    <a:pt x="6684225" y="1792067"/>
                  </a:lnTo>
                  <a:lnTo>
                    <a:pt x="6689705" y="1792067"/>
                  </a:lnTo>
                  <a:lnTo>
                    <a:pt x="6691598" y="1791371"/>
                  </a:lnTo>
                  <a:lnTo>
                    <a:pt x="6690702" y="1789381"/>
                  </a:lnTo>
                  <a:lnTo>
                    <a:pt x="6686816" y="1788386"/>
                  </a:lnTo>
                  <a:lnTo>
                    <a:pt x="6676253" y="1790674"/>
                  </a:lnTo>
                  <a:lnTo>
                    <a:pt x="6672069" y="1788884"/>
                  </a:lnTo>
                  <a:lnTo>
                    <a:pt x="6668780" y="1792366"/>
                  </a:lnTo>
                  <a:lnTo>
                    <a:pt x="6667285" y="1792366"/>
                  </a:lnTo>
                  <a:lnTo>
                    <a:pt x="6667285" y="1789480"/>
                  </a:lnTo>
                  <a:lnTo>
                    <a:pt x="6668381" y="1787192"/>
                  </a:lnTo>
                  <a:lnTo>
                    <a:pt x="6671271" y="1784506"/>
                  </a:lnTo>
                  <a:lnTo>
                    <a:pt x="6671271" y="1783014"/>
                  </a:lnTo>
                  <a:lnTo>
                    <a:pt x="6674560" y="1780527"/>
                  </a:lnTo>
                  <a:lnTo>
                    <a:pt x="6682631" y="1777343"/>
                  </a:lnTo>
                  <a:lnTo>
                    <a:pt x="6685919" y="1774358"/>
                  </a:lnTo>
                  <a:lnTo>
                    <a:pt x="6685919" y="1773264"/>
                  </a:lnTo>
                  <a:lnTo>
                    <a:pt x="6685919" y="1770777"/>
                  </a:lnTo>
                  <a:lnTo>
                    <a:pt x="6686616" y="1769483"/>
                  </a:lnTo>
                  <a:lnTo>
                    <a:pt x="6687413" y="1768687"/>
                  </a:lnTo>
                  <a:lnTo>
                    <a:pt x="6689107" y="1767295"/>
                  </a:lnTo>
                  <a:lnTo>
                    <a:pt x="6691399" y="1764708"/>
                  </a:lnTo>
                  <a:lnTo>
                    <a:pt x="6691399" y="1764211"/>
                  </a:lnTo>
                  <a:lnTo>
                    <a:pt x="6688011" y="1764211"/>
                  </a:lnTo>
                  <a:lnTo>
                    <a:pt x="6686318" y="1765006"/>
                  </a:lnTo>
                  <a:lnTo>
                    <a:pt x="6682531" y="1768787"/>
                  </a:lnTo>
                  <a:lnTo>
                    <a:pt x="6671271" y="1774259"/>
                  </a:lnTo>
                  <a:lnTo>
                    <a:pt x="6668780" y="1774259"/>
                  </a:lnTo>
                  <a:lnTo>
                    <a:pt x="6664495" y="1773165"/>
                  </a:lnTo>
                  <a:lnTo>
                    <a:pt x="6662104" y="1773662"/>
                  </a:lnTo>
                  <a:lnTo>
                    <a:pt x="6657122" y="1775353"/>
                  </a:lnTo>
                  <a:lnTo>
                    <a:pt x="6656225" y="1775353"/>
                  </a:lnTo>
                  <a:lnTo>
                    <a:pt x="6659513" y="1770976"/>
                  </a:lnTo>
                  <a:lnTo>
                    <a:pt x="6661605" y="1765802"/>
                  </a:lnTo>
                  <a:lnTo>
                    <a:pt x="6664894" y="1753665"/>
                  </a:lnTo>
                  <a:lnTo>
                    <a:pt x="6662801" y="1753665"/>
                  </a:lnTo>
                  <a:lnTo>
                    <a:pt x="6655328" y="1756152"/>
                  </a:lnTo>
                  <a:lnTo>
                    <a:pt x="6651542" y="1758241"/>
                  </a:lnTo>
                  <a:lnTo>
                    <a:pt x="6649748" y="1758241"/>
                  </a:lnTo>
                  <a:lnTo>
                    <a:pt x="6641976" y="1758241"/>
                  </a:lnTo>
                  <a:lnTo>
                    <a:pt x="6639983" y="1758838"/>
                  </a:lnTo>
                  <a:lnTo>
                    <a:pt x="6636794" y="1761624"/>
                  </a:lnTo>
                  <a:lnTo>
                    <a:pt x="6635300" y="1762619"/>
                  </a:lnTo>
                  <a:lnTo>
                    <a:pt x="6635300" y="1763813"/>
                  </a:lnTo>
                  <a:lnTo>
                    <a:pt x="6636396" y="1763813"/>
                  </a:lnTo>
                  <a:lnTo>
                    <a:pt x="6639783" y="1763813"/>
                  </a:lnTo>
                  <a:lnTo>
                    <a:pt x="6639783" y="1764807"/>
                  </a:lnTo>
                  <a:lnTo>
                    <a:pt x="6634403" y="1766797"/>
                  </a:lnTo>
                  <a:lnTo>
                    <a:pt x="6631712" y="1766797"/>
                  </a:lnTo>
                  <a:lnTo>
                    <a:pt x="6630118" y="1764907"/>
                  </a:lnTo>
                  <a:lnTo>
                    <a:pt x="6631214" y="1764310"/>
                  </a:lnTo>
                  <a:lnTo>
                    <a:pt x="6631812" y="1763713"/>
                  </a:lnTo>
                  <a:lnTo>
                    <a:pt x="6632809" y="1761723"/>
                  </a:lnTo>
                  <a:lnTo>
                    <a:pt x="6632111" y="1761723"/>
                  </a:lnTo>
                  <a:lnTo>
                    <a:pt x="6632111" y="1761126"/>
                  </a:lnTo>
                  <a:lnTo>
                    <a:pt x="6632111" y="1760530"/>
                  </a:lnTo>
                  <a:lnTo>
                    <a:pt x="6632111" y="1760032"/>
                  </a:lnTo>
                  <a:lnTo>
                    <a:pt x="6633107" y="1760032"/>
                  </a:lnTo>
                  <a:lnTo>
                    <a:pt x="6635598" y="1759037"/>
                  </a:lnTo>
                  <a:lnTo>
                    <a:pt x="6635598" y="1758042"/>
                  </a:lnTo>
                  <a:lnTo>
                    <a:pt x="6625036" y="1759137"/>
                  </a:lnTo>
                  <a:lnTo>
                    <a:pt x="6622745" y="1759137"/>
                  </a:lnTo>
                  <a:lnTo>
                    <a:pt x="6621748" y="1759137"/>
                  </a:lnTo>
                  <a:lnTo>
                    <a:pt x="6620552" y="1759933"/>
                  </a:lnTo>
                  <a:lnTo>
                    <a:pt x="6618260" y="1762022"/>
                  </a:lnTo>
                  <a:lnTo>
                    <a:pt x="6616965" y="1762022"/>
                  </a:lnTo>
                  <a:lnTo>
                    <a:pt x="6612282" y="1763017"/>
                  </a:lnTo>
                  <a:lnTo>
                    <a:pt x="6604310" y="1767892"/>
                  </a:lnTo>
                  <a:lnTo>
                    <a:pt x="6600025" y="1769583"/>
                  </a:lnTo>
                  <a:lnTo>
                    <a:pt x="6600025" y="1766399"/>
                  </a:lnTo>
                  <a:lnTo>
                    <a:pt x="6601321" y="1764012"/>
                  </a:lnTo>
                  <a:lnTo>
                    <a:pt x="6603513" y="1762519"/>
                  </a:lnTo>
                  <a:lnTo>
                    <a:pt x="6609492" y="1761723"/>
                  </a:lnTo>
                  <a:lnTo>
                    <a:pt x="6626232" y="1754859"/>
                  </a:lnTo>
                  <a:lnTo>
                    <a:pt x="6630118" y="1753963"/>
                  </a:lnTo>
                  <a:lnTo>
                    <a:pt x="6631314" y="1753963"/>
                  </a:lnTo>
                  <a:lnTo>
                    <a:pt x="6632509" y="1753963"/>
                  </a:lnTo>
                  <a:lnTo>
                    <a:pt x="6633905" y="1755356"/>
                  </a:lnTo>
                  <a:lnTo>
                    <a:pt x="6635100" y="1755953"/>
                  </a:lnTo>
                  <a:lnTo>
                    <a:pt x="6636296" y="1755953"/>
                  </a:lnTo>
                  <a:lnTo>
                    <a:pt x="6639086" y="1754958"/>
                  </a:lnTo>
                  <a:lnTo>
                    <a:pt x="6640182" y="1754063"/>
                  </a:lnTo>
                  <a:lnTo>
                    <a:pt x="6641278" y="1752969"/>
                  </a:lnTo>
                  <a:lnTo>
                    <a:pt x="6642274" y="1752073"/>
                  </a:lnTo>
                  <a:lnTo>
                    <a:pt x="6643670" y="1752073"/>
                  </a:lnTo>
                  <a:lnTo>
                    <a:pt x="6645065" y="1752869"/>
                  </a:lnTo>
                  <a:lnTo>
                    <a:pt x="6647556" y="1755655"/>
                  </a:lnTo>
                  <a:lnTo>
                    <a:pt x="6649150" y="1756351"/>
                  </a:lnTo>
                  <a:lnTo>
                    <a:pt x="6651940" y="1755754"/>
                  </a:lnTo>
                  <a:lnTo>
                    <a:pt x="6668680" y="1748890"/>
                  </a:lnTo>
                  <a:lnTo>
                    <a:pt x="6671769" y="1748890"/>
                  </a:lnTo>
                  <a:lnTo>
                    <a:pt x="6673563" y="1748890"/>
                  </a:lnTo>
                  <a:lnTo>
                    <a:pt x="6673563" y="1749685"/>
                  </a:lnTo>
                  <a:lnTo>
                    <a:pt x="6671171" y="1751476"/>
                  </a:lnTo>
                  <a:lnTo>
                    <a:pt x="6669478" y="1753366"/>
                  </a:lnTo>
                  <a:lnTo>
                    <a:pt x="6668780" y="1754361"/>
                  </a:lnTo>
                  <a:lnTo>
                    <a:pt x="6668182" y="1756351"/>
                  </a:lnTo>
                  <a:lnTo>
                    <a:pt x="6667584" y="1760629"/>
                  </a:lnTo>
                  <a:lnTo>
                    <a:pt x="6668880" y="1761425"/>
                  </a:lnTo>
                  <a:lnTo>
                    <a:pt x="6671072" y="1760331"/>
                  </a:lnTo>
                  <a:lnTo>
                    <a:pt x="6683727" y="1750879"/>
                  </a:lnTo>
                  <a:lnTo>
                    <a:pt x="6684623" y="1752272"/>
                  </a:lnTo>
                  <a:lnTo>
                    <a:pt x="6685620" y="1753267"/>
                  </a:lnTo>
                  <a:lnTo>
                    <a:pt x="6686816" y="1753963"/>
                  </a:lnTo>
                  <a:lnTo>
                    <a:pt x="6688111" y="1753963"/>
                  </a:lnTo>
                  <a:lnTo>
                    <a:pt x="6688111" y="1754461"/>
                  </a:lnTo>
                  <a:lnTo>
                    <a:pt x="6689805" y="1753963"/>
                  </a:lnTo>
                  <a:lnTo>
                    <a:pt x="6696880" y="1751078"/>
                  </a:lnTo>
                  <a:lnTo>
                    <a:pt x="6699869" y="1751078"/>
                  </a:lnTo>
                  <a:lnTo>
                    <a:pt x="6699869" y="1754859"/>
                  </a:lnTo>
                  <a:lnTo>
                    <a:pt x="6698773" y="1755754"/>
                  </a:lnTo>
                  <a:lnTo>
                    <a:pt x="6700666" y="1755257"/>
                  </a:lnTo>
                  <a:lnTo>
                    <a:pt x="6708040" y="1750481"/>
                  </a:lnTo>
                  <a:lnTo>
                    <a:pt x="6713221" y="1748193"/>
                  </a:lnTo>
                  <a:lnTo>
                    <a:pt x="6717805" y="1747198"/>
                  </a:lnTo>
                  <a:lnTo>
                    <a:pt x="6718901" y="1746601"/>
                  </a:lnTo>
                  <a:lnTo>
                    <a:pt x="6720495" y="1745209"/>
                  </a:lnTo>
                  <a:lnTo>
                    <a:pt x="6721492" y="1745209"/>
                  </a:lnTo>
                  <a:lnTo>
                    <a:pt x="6722289" y="1746203"/>
                  </a:lnTo>
                  <a:lnTo>
                    <a:pt x="6723285" y="1746800"/>
                  </a:lnTo>
                  <a:lnTo>
                    <a:pt x="6729164" y="1746800"/>
                  </a:lnTo>
                  <a:lnTo>
                    <a:pt x="6732951" y="1745407"/>
                  </a:lnTo>
                  <a:lnTo>
                    <a:pt x="6735442" y="1744811"/>
                  </a:lnTo>
                  <a:lnTo>
                    <a:pt x="6735940" y="1744811"/>
                  </a:lnTo>
                  <a:lnTo>
                    <a:pt x="6736538" y="1744811"/>
                  </a:lnTo>
                  <a:lnTo>
                    <a:pt x="6738631" y="1742423"/>
                  </a:lnTo>
                  <a:lnTo>
                    <a:pt x="6739826" y="1741627"/>
                  </a:lnTo>
                  <a:lnTo>
                    <a:pt x="6740922" y="1742224"/>
                  </a:lnTo>
                  <a:lnTo>
                    <a:pt x="6741918" y="1743418"/>
                  </a:lnTo>
                  <a:lnTo>
                    <a:pt x="6742915" y="1744114"/>
                  </a:lnTo>
                  <a:lnTo>
                    <a:pt x="6744310" y="1744114"/>
                  </a:lnTo>
                  <a:lnTo>
                    <a:pt x="6748595" y="1741229"/>
                  </a:lnTo>
                  <a:lnTo>
                    <a:pt x="6758559" y="1736752"/>
                  </a:lnTo>
                  <a:lnTo>
                    <a:pt x="6759855" y="1735658"/>
                  </a:lnTo>
                  <a:lnTo>
                    <a:pt x="6760751" y="1734563"/>
                  </a:lnTo>
                  <a:lnTo>
                    <a:pt x="6761748" y="1733867"/>
                  </a:lnTo>
                  <a:lnTo>
                    <a:pt x="6767727" y="1732375"/>
                  </a:lnTo>
                  <a:lnTo>
                    <a:pt x="6770816" y="1730484"/>
                  </a:lnTo>
                  <a:lnTo>
                    <a:pt x="6779385" y="1730484"/>
                  </a:lnTo>
                  <a:lnTo>
                    <a:pt x="6781478" y="1729390"/>
                  </a:lnTo>
                  <a:lnTo>
                    <a:pt x="6786958" y="1725709"/>
                  </a:lnTo>
                  <a:lnTo>
                    <a:pt x="6789449" y="1724913"/>
                  </a:lnTo>
                  <a:lnTo>
                    <a:pt x="6799413" y="1723819"/>
                  </a:lnTo>
                  <a:lnTo>
                    <a:pt x="6803897" y="1722028"/>
                  </a:lnTo>
                  <a:lnTo>
                    <a:pt x="6807983" y="1719541"/>
                  </a:lnTo>
                  <a:lnTo>
                    <a:pt x="6820338" y="1705812"/>
                  </a:lnTo>
                  <a:lnTo>
                    <a:pt x="6824424" y="1703125"/>
                  </a:lnTo>
                  <a:lnTo>
                    <a:pt x="6827015" y="1704220"/>
                  </a:lnTo>
                  <a:lnTo>
                    <a:pt x="6827015" y="1704220"/>
                  </a:lnTo>
                  <a:lnTo>
                    <a:pt x="6831598" y="1699345"/>
                  </a:lnTo>
                  <a:lnTo>
                    <a:pt x="6838573" y="1690689"/>
                  </a:lnTo>
                  <a:lnTo>
                    <a:pt x="6853919" y="1677955"/>
                  </a:lnTo>
                  <a:lnTo>
                    <a:pt x="6869463" y="1665121"/>
                  </a:lnTo>
                  <a:lnTo>
                    <a:pt x="6883911" y="1653183"/>
                  </a:lnTo>
                  <a:lnTo>
                    <a:pt x="6892979" y="1645622"/>
                  </a:lnTo>
                  <a:lnTo>
                    <a:pt x="6910815" y="1635673"/>
                  </a:lnTo>
                  <a:lnTo>
                    <a:pt x="6917691" y="1634081"/>
                  </a:lnTo>
                  <a:lnTo>
                    <a:pt x="6919784" y="1633186"/>
                  </a:lnTo>
                  <a:lnTo>
                    <a:pt x="6925364" y="1629206"/>
                  </a:lnTo>
                  <a:lnTo>
                    <a:pt x="6927456" y="1628112"/>
                  </a:lnTo>
                  <a:lnTo>
                    <a:pt x="6934830" y="1625724"/>
                  </a:lnTo>
                  <a:lnTo>
                    <a:pt x="6939413" y="1622938"/>
                  </a:lnTo>
                  <a:lnTo>
                    <a:pt x="6941606" y="1622242"/>
                  </a:lnTo>
                  <a:lnTo>
                    <a:pt x="6943897" y="1622242"/>
                  </a:lnTo>
                  <a:lnTo>
                    <a:pt x="6960040" y="1624033"/>
                  </a:lnTo>
                  <a:lnTo>
                    <a:pt x="6963627" y="1624033"/>
                  </a:lnTo>
                  <a:lnTo>
                    <a:pt x="6971200" y="1617168"/>
                  </a:lnTo>
                  <a:lnTo>
                    <a:pt x="6984552" y="1611099"/>
                  </a:lnTo>
                  <a:lnTo>
                    <a:pt x="6987342" y="1609408"/>
                  </a:lnTo>
                  <a:lnTo>
                    <a:pt x="6988438" y="1607219"/>
                  </a:lnTo>
                  <a:lnTo>
                    <a:pt x="6989335" y="1603936"/>
                  </a:lnTo>
                  <a:lnTo>
                    <a:pt x="6991428" y="1600554"/>
                  </a:lnTo>
                  <a:lnTo>
                    <a:pt x="6994019" y="1597569"/>
                  </a:lnTo>
                  <a:lnTo>
                    <a:pt x="6996410" y="1595778"/>
                  </a:lnTo>
                  <a:lnTo>
                    <a:pt x="6997705" y="1595778"/>
                  </a:lnTo>
                  <a:lnTo>
                    <a:pt x="7001591" y="1595182"/>
                  </a:lnTo>
                  <a:lnTo>
                    <a:pt x="7002986" y="1594485"/>
                  </a:lnTo>
                  <a:lnTo>
                    <a:pt x="7005975" y="1592296"/>
                  </a:lnTo>
                  <a:lnTo>
                    <a:pt x="7006474" y="1591799"/>
                  </a:lnTo>
                  <a:lnTo>
                    <a:pt x="7007869" y="1591302"/>
                  </a:lnTo>
                  <a:lnTo>
                    <a:pt x="7010061" y="1589013"/>
                  </a:lnTo>
                  <a:lnTo>
                    <a:pt x="7011655" y="1588416"/>
                  </a:lnTo>
                  <a:lnTo>
                    <a:pt x="7013250" y="1588416"/>
                  </a:lnTo>
                  <a:lnTo>
                    <a:pt x="7014246" y="1587919"/>
                  </a:lnTo>
                  <a:lnTo>
                    <a:pt x="7015043" y="1587123"/>
                  </a:lnTo>
                  <a:lnTo>
                    <a:pt x="7021321" y="1583939"/>
                  </a:lnTo>
                  <a:lnTo>
                    <a:pt x="7016039" y="1583939"/>
                  </a:lnTo>
                  <a:lnTo>
                    <a:pt x="7015143" y="1583939"/>
                  </a:lnTo>
                  <a:lnTo>
                    <a:pt x="7014246" y="1583939"/>
                  </a:lnTo>
                  <a:lnTo>
                    <a:pt x="7013548" y="1583243"/>
                  </a:lnTo>
                  <a:lnTo>
                    <a:pt x="7012752" y="1581651"/>
                  </a:lnTo>
                  <a:lnTo>
                    <a:pt x="7012752" y="1580159"/>
                  </a:lnTo>
                  <a:lnTo>
                    <a:pt x="7012752" y="1578766"/>
                  </a:lnTo>
                  <a:lnTo>
                    <a:pt x="7013848" y="1577572"/>
                  </a:lnTo>
                  <a:lnTo>
                    <a:pt x="7015442" y="1576478"/>
                  </a:lnTo>
                  <a:lnTo>
                    <a:pt x="7017135" y="1575582"/>
                  </a:lnTo>
                  <a:lnTo>
                    <a:pt x="7018032" y="1575582"/>
                  </a:lnTo>
                  <a:lnTo>
                    <a:pt x="7027997" y="1576080"/>
                  </a:lnTo>
                  <a:lnTo>
                    <a:pt x="7029392" y="1576080"/>
                  </a:lnTo>
                  <a:lnTo>
                    <a:pt x="7033278" y="1574588"/>
                  </a:lnTo>
                  <a:lnTo>
                    <a:pt x="7034075" y="1573991"/>
                  </a:lnTo>
                  <a:lnTo>
                    <a:pt x="7035072" y="1573294"/>
                  </a:lnTo>
                  <a:lnTo>
                    <a:pt x="7035670" y="1573294"/>
                  </a:lnTo>
                  <a:lnTo>
                    <a:pt x="7043541" y="1572100"/>
                  </a:lnTo>
                  <a:lnTo>
                    <a:pt x="7043541" y="1573095"/>
                  </a:lnTo>
                  <a:lnTo>
                    <a:pt x="7052310" y="1573095"/>
                  </a:lnTo>
                  <a:lnTo>
                    <a:pt x="7057093" y="1570011"/>
                  </a:lnTo>
                  <a:lnTo>
                    <a:pt x="7057093" y="1570011"/>
                  </a:lnTo>
                  <a:lnTo>
                    <a:pt x="7057093" y="1570011"/>
                  </a:lnTo>
                  <a:lnTo>
                    <a:pt x="7057990" y="1570011"/>
                  </a:lnTo>
                  <a:lnTo>
                    <a:pt x="7055598" y="1567225"/>
                  </a:lnTo>
                  <a:lnTo>
                    <a:pt x="7052908" y="1563246"/>
                  </a:lnTo>
                  <a:lnTo>
                    <a:pt x="7051214" y="1559366"/>
                  </a:lnTo>
                  <a:lnTo>
                    <a:pt x="7052011" y="1556779"/>
                  </a:lnTo>
                  <a:lnTo>
                    <a:pt x="7051214" y="1554989"/>
                  </a:lnTo>
                  <a:lnTo>
                    <a:pt x="7049919" y="1554989"/>
                  </a:lnTo>
                  <a:lnTo>
                    <a:pt x="7048324" y="1556083"/>
                  </a:lnTo>
                  <a:lnTo>
                    <a:pt x="7047527" y="1556083"/>
                  </a:lnTo>
                  <a:lnTo>
                    <a:pt x="7042346" y="1557675"/>
                  </a:lnTo>
                  <a:lnTo>
                    <a:pt x="7038061" y="1557675"/>
                  </a:lnTo>
                  <a:lnTo>
                    <a:pt x="7036766" y="1556680"/>
                  </a:lnTo>
                  <a:lnTo>
                    <a:pt x="7036766" y="1556680"/>
                  </a:lnTo>
                  <a:lnTo>
                    <a:pt x="7036766" y="1556680"/>
                  </a:lnTo>
                  <a:lnTo>
                    <a:pt x="7036766" y="1556680"/>
                  </a:lnTo>
                  <a:lnTo>
                    <a:pt x="7036766" y="1556680"/>
                  </a:lnTo>
                  <a:lnTo>
                    <a:pt x="7038161" y="1555983"/>
                  </a:lnTo>
                  <a:lnTo>
                    <a:pt x="7041349" y="1553795"/>
                  </a:lnTo>
                  <a:lnTo>
                    <a:pt x="7041349" y="1553795"/>
                  </a:lnTo>
                  <a:lnTo>
                    <a:pt x="7038161" y="1553795"/>
                  </a:lnTo>
                  <a:lnTo>
                    <a:pt x="7019029" y="1547825"/>
                  </a:lnTo>
                  <a:lnTo>
                    <a:pt x="7015342" y="1547825"/>
                  </a:lnTo>
                  <a:lnTo>
                    <a:pt x="7012452" y="1547029"/>
                  </a:lnTo>
                  <a:lnTo>
                    <a:pt x="7010759" y="1544940"/>
                  </a:lnTo>
                  <a:lnTo>
                    <a:pt x="7009463" y="1542354"/>
                  </a:lnTo>
                  <a:lnTo>
                    <a:pt x="7007869" y="1540065"/>
                  </a:lnTo>
                  <a:lnTo>
                    <a:pt x="7006075" y="1538673"/>
                  </a:lnTo>
                  <a:lnTo>
                    <a:pt x="7008666" y="1538673"/>
                  </a:lnTo>
                  <a:lnTo>
                    <a:pt x="7011755" y="1542254"/>
                  </a:lnTo>
                  <a:lnTo>
                    <a:pt x="7013449" y="1543647"/>
                  </a:lnTo>
                  <a:lnTo>
                    <a:pt x="7015342" y="1543647"/>
                  </a:lnTo>
                  <a:lnTo>
                    <a:pt x="7027001" y="1542553"/>
                  </a:lnTo>
                  <a:lnTo>
                    <a:pt x="7028993" y="1542553"/>
                  </a:lnTo>
                  <a:lnTo>
                    <a:pt x="7030090" y="1543050"/>
                  </a:lnTo>
                  <a:lnTo>
                    <a:pt x="7032182" y="1544642"/>
                  </a:lnTo>
                  <a:lnTo>
                    <a:pt x="7035570" y="1548422"/>
                  </a:lnTo>
                  <a:lnTo>
                    <a:pt x="7036965" y="1549019"/>
                  </a:lnTo>
                  <a:lnTo>
                    <a:pt x="7038261" y="1549019"/>
                  </a:lnTo>
                  <a:lnTo>
                    <a:pt x="7040950" y="1549815"/>
                  </a:lnTo>
                  <a:lnTo>
                    <a:pt x="7046929" y="1549815"/>
                  </a:lnTo>
                  <a:lnTo>
                    <a:pt x="7049719" y="1548422"/>
                  </a:lnTo>
                  <a:lnTo>
                    <a:pt x="7050217" y="1548422"/>
                  </a:lnTo>
                  <a:lnTo>
                    <a:pt x="7052310" y="1545139"/>
                  </a:lnTo>
                  <a:lnTo>
                    <a:pt x="7052908" y="1544443"/>
                  </a:lnTo>
                  <a:lnTo>
                    <a:pt x="7053705" y="1544443"/>
                  </a:lnTo>
                  <a:lnTo>
                    <a:pt x="7056196" y="1544443"/>
                  </a:lnTo>
                  <a:lnTo>
                    <a:pt x="7058886" y="1543945"/>
                  </a:lnTo>
                  <a:lnTo>
                    <a:pt x="7059584" y="1543945"/>
                  </a:lnTo>
                  <a:lnTo>
                    <a:pt x="7060979" y="1543945"/>
                  </a:lnTo>
                  <a:lnTo>
                    <a:pt x="7060979" y="1543945"/>
                  </a:lnTo>
                  <a:lnTo>
                    <a:pt x="7062474" y="1543050"/>
                  </a:lnTo>
                  <a:lnTo>
                    <a:pt x="7065563" y="1542254"/>
                  </a:lnTo>
                  <a:lnTo>
                    <a:pt x="7066459" y="1541259"/>
                  </a:lnTo>
                  <a:lnTo>
                    <a:pt x="7067556" y="1538772"/>
                  </a:lnTo>
                  <a:lnTo>
                    <a:pt x="7065762" y="1539369"/>
                  </a:lnTo>
                  <a:lnTo>
                    <a:pt x="7061677" y="1540264"/>
                  </a:lnTo>
                  <a:lnTo>
                    <a:pt x="7053705" y="1540264"/>
                  </a:lnTo>
                  <a:lnTo>
                    <a:pt x="7051912" y="1539668"/>
                  </a:lnTo>
                  <a:lnTo>
                    <a:pt x="7050915" y="1538872"/>
                  </a:lnTo>
                  <a:lnTo>
                    <a:pt x="7050915" y="1537877"/>
                  </a:lnTo>
                  <a:lnTo>
                    <a:pt x="7050915" y="1536683"/>
                  </a:lnTo>
                  <a:lnTo>
                    <a:pt x="7052808" y="1534096"/>
                  </a:lnTo>
                  <a:lnTo>
                    <a:pt x="7055499" y="1531410"/>
                  </a:lnTo>
                  <a:lnTo>
                    <a:pt x="7058288" y="1529420"/>
                  </a:lnTo>
                  <a:lnTo>
                    <a:pt x="7064168" y="1523053"/>
                  </a:lnTo>
                  <a:lnTo>
                    <a:pt x="7066559" y="1521163"/>
                  </a:lnTo>
                  <a:lnTo>
                    <a:pt x="7069449" y="1519273"/>
                  </a:lnTo>
                  <a:lnTo>
                    <a:pt x="7074730" y="1516984"/>
                  </a:lnTo>
                  <a:lnTo>
                    <a:pt x="7076025" y="1516984"/>
                  </a:lnTo>
                  <a:lnTo>
                    <a:pt x="7076823" y="1516984"/>
                  </a:lnTo>
                  <a:lnTo>
                    <a:pt x="7078616" y="1516984"/>
                  </a:lnTo>
                  <a:lnTo>
                    <a:pt x="7079513" y="1516984"/>
                  </a:lnTo>
                  <a:lnTo>
                    <a:pt x="7086189" y="1515094"/>
                  </a:lnTo>
                  <a:lnTo>
                    <a:pt x="7087584" y="1515094"/>
                  </a:lnTo>
                  <a:lnTo>
                    <a:pt x="7088780" y="1515592"/>
                  </a:lnTo>
                  <a:lnTo>
                    <a:pt x="7088780" y="1516586"/>
                  </a:lnTo>
                  <a:lnTo>
                    <a:pt x="7087584" y="1517581"/>
                  </a:lnTo>
                  <a:lnTo>
                    <a:pt x="7084994" y="1518875"/>
                  </a:lnTo>
                  <a:lnTo>
                    <a:pt x="7082502" y="1520466"/>
                  </a:lnTo>
                  <a:lnTo>
                    <a:pt x="7079513" y="1523451"/>
                  </a:lnTo>
                  <a:lnTo>
                    <a:pt x="7078815" y="1524446"/>
                  </a:lnTo>
                  <a:lnTo>
                    <a:pt x="7078815" y="1524943"/>
                  </a:lnTo>
                  <a:lnTo>
                    <a:pt x="7078815" y="1524943"/>
                  </a:lnTo>
                  <a:lnTo>
                    <a:pt x="7085192" y="1518676"/>
                  </a:lnTo>
                  <a:lnTo>
                    <a:pt x="7095157" y="1513502"/>
                  </a:lnTo>
                  <a:lnTo>
                    <a:pt x="7097648" y="1513502"/>
                  </a:lnTo>
                  <a:lnTo>
                    <a:pt x="7099940" y="1512806"/>
                  </a:lnTo>
                  <a:lnTo>
                    <a:pt x="7101036" y="1512806"/>
                  </a:lnTo>
                  <a:lnTo>
                    <a:pt x="7118274" y="1510418"/>
                  </a:lnTo>
                  <a:lnTo>
                    <a:pt x="7128239" y="1504449"/>
                  </a:lnTo>
                  <a:lnTo>
                    <a:pt x="7134317" y="1496987"/>
                  </a:lnTo>
                  <a:lnTo>
                    <a:pt x="7134915" y="1495595"/>
                  </a:lnTo>
                  <a:lnTo>
                    <a:pt x="7134915" y="1494301"/>
                  </a:lnTo>
                  <a:lnTo>
                    <a:pt x="7134915" y="1491118"/>
                  </a:lnTo>
                  <a:lnTo>
                    <a:pt x="7135812" y="1489327"/>
                  </a:lnTo>
                  <a:lnTo>
                    <a:pt x="7138602" y="1485745"/>
                  </a:lnTo>
                  <a:lnTo>
                    <a:pt x="7139299" y="1483955"/>
                  </a:lnTo>
                  <a:lnTo>
                    <a:pt x="7139299" y="1482064"/>
                  </a:lnTo>
                  <a:lnTo>
                    <a:pt x="7139299" y="1480572"/>
                  </a:lnTo>
                  <a:lnTo>
                    <a:pt x="7139997" y="1479378"/>
                  </a:lnTo>
                  <a:lnTo>
                    <a:pt x="7140794" y="1478284"/>
                  </a:lnTo>
                  <a:lnTo>
                    <a:pt x="7142887" y="1476891"/>
                  </a:lnTo>
                  <a:lnTo>
                    <a:pt x="7151655" y="1475200"/>
                  </a:lnTo>
                  <a:lnTo>
                    <a:pt x="7155043" y="1469131"/>
                  </a:lnTo>
                  <a:lnTo>
                    <a:pt x="7157236" y="1463460"/>
                  </a:lnTo>
                  <a:lnTo>
                    <a:pt x="7157833" y="1460874"/>
                  </a:lnTo>
                  <a:lnTo>
                    <a:pt x="7157833" y="1457889"/>
                  </a:lnTo>
                  <a:lnTo>
                    <a:pt x="7160424" y="1454407"/>
                  </a:lnTo>
                  <a:lnTo>
                    <a:pt x="7167100" y="1452417"/>
                  </a:lnTo>
                  <a:lnTo>
                    <a:pt x="7171485" y="1451920"/>
                  </a:lnTo>
                  <a:lnTo>
                    <a:pt x="7177762" y="1448736"/>
                  </a:lnTo>
                  <a:lnTo>
                    <a:pt x="7179954" y="1443662"/>
                  </a:lnTo>
                  <a:lnTo>
                    <a:pt x="7182345" y="1434808"/>
                  </a:lnTo>
                  <a:lnTo>
                    <a:pt x="7181250" y="1432321"/>
                  </a:lnTo>
                  <a:lnTo>
                    <a:pt x="7191214" y="1427147"/>
                  </a:lnTo>
                  <a:lnTo>
                    <a:pt x="7199983" y="1423566"/>
                  </a:lnTo>
                  <a:lnTo>
                    <a:pt x="7209249" y="1420979"/>
                  </a:lnTo>
                  <a:lnTo>
                    <a:pt x="7213534" y="1420084"/>
                  </a:lnTo>
                  <a:lnTo>
                    <a:pt x="7222403" y="1420084"/>
                  </a:lnTo>
                  <a:lnTo>
                    <a:pt x="7225192" y="1420084"/>
                  </a:lnTo>
                  <a:lnTo>
                    <a:pt x="7230673" y="1417696"/>
                  </a:lnTo>
                  <a:lnTo>
                    <a:pt x="7248410" y="1401280"/>
                  </a:lnTo>
                  <a:lnTo>
                    <a:pt x="7251200" y="1399689"/>
                  </a:lnTo>
                  <a:lnTo>
                    <a:pt x="7257178" y="1398495"/>
                  </a:lnTo>
                  <a:lnTo>
                    <a:pt x="7261762" y="1395709"/>
                  </a:lnTo>
                  <a:lnTo>
                    <a:pt x="7264253" y="1394515"/>
                  </a:lnTo>
                  <a:lnTo>
                    <a:pt x="7269434" y="1393321"/>
                  </a:lnTo>
                  <a:lnTo>
                    <a:pt x="7274317" y="1390138"/>
                  </a:lnTo>
                  <a:lnTo>
                    <a:pt x="7275114" y="1388248"/>
                  </a:lnTo>
                  <a:lnTo>
                    <a:pt x="7277007" y="1379493"/>
                  </a:lnTo>
                  <a:lnTo>
                    <a:pt x="7278103" y="1376707"/>
                  </a:lnTo>
                  <a:lnTo>
                    <a:pt x="7280096" y="1375414"/>
                  </a:lnTo>
                  <a:lnTo>
                    <a:pt x="7289064" y="1372230"/>
                  </a:lnTo>
                  <a:lnTo>
                    <a:pt x="7299925" y="1370041"/>
                  </a:lnTo>
                  <a:lnTo>
                    <a:pt x="7305307" y="1367853"/>
                  </a:lnTo>
                  <a:lnTo>
                    <a:pt x="7310587" y="1364271"/>
                  </a:lnTo>
                  <a:lnTo>
                    <a:pt x="7322146" y="1354322"/>
                  </a:lnTo>
                  <a:lnTo>
                    <a:pt x="7324637" y="1354322"/>
                  </a:lnTo>
                  <a:lnTo>
                    <a:pt x="7327228" y="1355118"/>
                  </a:lnTo>
                  <a:lnTo>
                    <a:pt x="7330716" y="1355616"/>
                  </a:lnTo>
                  <a:lnTo>
                    <a:pt x="7331911" y="1355616"/>
                  </a:lnTo>
                  <a:lnTo>
                    <a:pt x="7334502" y="1357108"/>
                  </a:lnTo>
                  <a:lnTo>
                    <a:pt x="7335897" y="1357108"/>
                  </a:lnTo>
                  <a:lnTo>
                    <a:pt x="7342474" y="1357108"/>
                  </a:lnTo>
                  <a:lnTo>
                    <a:pt x="7345862" y="1356412"/>
                  </a:lnTo>
                  <a:lnTo>
                    <a:pt x="7352139" y="1353327"/>
                  </a:lnTo>
                  <a:lnTo>
                    <a:pt x="7358616" y="1352034"/>
                  </a:lnTo>
                  <a:lnTo>
                    <a:pt x="7368580" y="1348154"/>
                  </a:lnTo>
                  <a:lnTo>
                    <a:pt x="7375157" y="1346562"/>
                  </a:lnTo>
                  <a:lnTo>
                    <a:pt x="7389007" y="1345866"/>
                  </a:lnTo>
                  <a:lnTo>
                    <a:pt x="7390602" y="1345269"/>
                  </a:lnTo>
                  <a:lnTo>
                    <a:pt x="7393591" y="1342981"/>
                  </a:lnTo>
                  <a:lnTo>
                    <a:pt x="7395484" y="1342981"/>
                  </a:lnTo>
                  <a:lnTo>
                    <a:pt x="7402858" y="1338106"/>
                  </a:lnTo>
                  <a:lnTo>
                    <a:pt x="7404452" y="1336514"/>
                  </a:lnTo>
                  <a:lnTo>
                    <a:pt x="7405149" y="1334624"/>
                  </a:lnTo>
                  <a:lnTo>
                    <a:pt x="7405149" y="1333927"/>
                  </a:lnTo>
                  <a:lnTo>
                    <a:pt x="7408139" y="1328456"/>
                  </a:lnTo>
                  <a:lnTo>
                    <a:pt x="7409235" y="1326764"/>
                  </a:lnTo>
                  <a:lnTo>
                    <a:pt x="7411427" y="1324775"/>
                  </a:lnTo>
                  <a:lnTo>
                    <a:pt x="7409135" y="1326068"/>
                  </a:lnTo>
                  <a:lnTo>
                    <a:pt x="7404054" y="1326764"/>
                  </a:lnTo>
                  <a:lnTo>
                    <a:pt x="7398673" y="1326764"/>
                  </a:lnTo>
                  <a:lnTo>
                    <a:pt x="7397278" y="1323780"/>
                  </a:lnTo>
                  <a:lnTo>
                    <a:pt x="7402360" y="1319104"/>
                  </a:lnTo>
                  <a:lnTo>
                    <a:pt x="7413918" y="1311841"/>
                  </a:lnTo>
                  <a:lnTo>
                    <a:pt x="7422787" y="1303186"/>
                  </a:lnTo>
                  <a:lnTo>
                    <a:pt x="7427669" y="1299405"/>
                  </a:lnTo>
                  <a:lnTo>
                    <a:pt x="7432951" y="1298311"/>
                  </a:lnTo>
                  <a:lnTo>
                    <a:pt x="7434844" y="1298808"/>
                  </a:lnTo>
                  <a:lnTo>
                    <a:pt x="7436538" y="1299903"/>
                  </a:lnTo>
                  <a:lnTo>
                    <a:pt x="7437235" y="1301495"/>
                  </a:lnTo>
                  <a:lnTo>
                    <a:pt x="7437235" y="1301495"/>
                  </a:lnTo>
                  <a:lnTo>
                    <a:pt x="7439029" y="1300002"/>
                  </a:lnTo>
                  <a:lnTo>
                    <a:pt x="7443613" y="1297217"/>
                  </a:lnTo>
                  <a:lnTo>
                    <a:pt x="7459954" y="1291446"/>
                  </a:lnTo>
                  <a:lnTo>
                    <a:pt x="7465135" y="1288362"/>
                  </a:lnTo>
                  <a:lnTo>
                    <a:pt x="7469719" y="1284084"/>
                  </a:lnTo>
                  <a:lnTo>
                    <a:pt x="7473406" y="1278911"/>
                  </a:lnTo>
                  <a:lnTo>
                    <a:pt x="7479883" y="1267569"/>
                  </a:lnTo>
                  <a:lnTo>
                    <a:pt x="7482075" y="1266077"/>
                  </a:lnTo>
                  <a:lnTo>
                    <a:pt x="7484566" y="1262496"/>
                  </a:lnTo>
                  <a:lnTo>
                    <a:pt x="7488253" y="1255332"/>
                  </a:lnTo>
                  <a:lnTo>
                    <a:pt x="7490844" y="1247970"/>
                  </a:lnTo>
                  <a:lnTo>
                    <a:pt x="7492637" y="1244389"/>
                  </a:lnTo>
                  <a:lnTo>
                    <a:pt x="7494730" y="1242897"/>
                  </a:lnTo>
                  <a:lnTo>
                    <a:pt x="7496025" y="1241106"/>
                  </a:lnTo>
                  <a:lnTo>
                    <a:pt x="7496822" y="1236131"/>
                  </a:lnTo>
                  <a:lnTo>
                    <a:pt x="7492538" y="1240409"/>
                  </a:lnTo>
                  <a:lnTo>
                    <a:pt x="7490146" y="1242200"/>
                  </a:lnTo>
                  <a:lnTo>
                    <a:pt x="7487755" y="1242697"/>
                  </a:lnTo>
                  <a:lnTo>
                    <a:pt x="7485762" y="1242697"/>
                  </a:lnTo>
                  <a:lnTo>
                    <a:pt x="7484766" y="1241902"/>
                  </a:lnTo>
                  <a:lnTo>
                    <a:pt x="7484766" y="1240310"/>
                  </a:lnTo>
                  <a:lnTo>
                    <a:pt x="7484766" y="1238718"/>
                  </a:lnTo>
                  <a:lnTo>
                    <a:pt x="7485762" y="1237226"/>
                  </a:lnTo>
                  <a:lnTo>
                    <a:pt x="7487555" y="1235733"/>
                  </a:lnTo>
                  <a:lnTo>
                    <a:pt x="7490146" y="1234341"/>
                  </a:lnTo>
                  <a:lnTo>
                    <a:pt x="7492837" y="1233644"/>
                  </a:lnTo>
                  <a:lnTo>
                    <a:pt x="7496922" y="1233644"/>
                  </a:lnTo>
                  <a:lnTo>
                    <a:pt x="7496922" y="1233644"/>
                  </a:lnTo>
                  <a:lnTo>
                    <a:pt x="7498217" y="1231157"/>
                  </a:lnTo>
                  <a:lnTo>
                    <a:pt x="7499015" y="1231853"/>
                  </a:lnTo>
                  <a:lnTo>
                    <a:pt x="7500808" y="1232749"/>
                  </a:lnTo>
                  <a:lnTo>
                    <a:pt x="7501705" y="1233445"/>
                  </a:lnTo>
                  <a:lnTo>
                    <a:pt x="7504495" y="1231555"/>
                  </a:lnTo>
                  <a:lnTo>
                    <a:pt x="7508281" y="1229764"/>
                  </a:lnTo>
                  <a:lnTo>
                    <a:pt x="7512367" y="1228371"/>
                  </a:lnTo>
                  <a:lnTo>
                    <a:pt x="7519641" y="1227575"/>
                  </a:lnTo>
                  <a:lnTo>
                    <a:pt x="7521633" y="1227575"/>
                  </a:lnTo>
                  <a:lnTo>
                    <a:pt x="7524623" y="1225486"/>
                  </a:lnTo>
                  <a:lnTo>
                    <a:pt x="7528509" y="1224292"/>
                  </a:lnTo>
                  <a:lnTo>
                    <a:pt x="7529904" y="1223297"/>
                  </a:lnTo>
                  <a:lnTo>
                    <a:pt x="7532395" y="1219716"/>
                  </a:lnTo>
                  <a:lnTo>
                    <a:pt x="7533292" y="1217925"/>
                  </a:lnTo>
                  <a:lnTo>
                    <a:pt x="7533292" y="1215935"/>
                  </a:lnTo>
                  <a:lnTo>
                    <a:pt x="7533292" y="1213846"/>
                  </a:lnTo>
                  <a:lnTo>
                    <a:pt x="7533292" y="1211757"/>
                  </a:lnTo>
                  <a:lnTo>
                    <a:pt x="7533292" y="1209369"/>
                  </a:lnTo>
                  <a:lnTo>
                    <a:pt x="7534089" y="1206882"/>
                  </a:lnTo>
                  <a:lnTo>
                    <a:pt x="7536381" y="1204494"/>
                  </a:lnTo>
                  <a:lnTo>
                    <a:pt x="7539769" y="1201808"/>
                  </a:lnTo>
                  <a:lnTo>
                    <a:pt x="7542061" y="1199122"/>
                  </a:lnTo>
                  <a:lnTo>
                    <a:pt x="7541064" y="1196834"/>
                  </a:lnTo>
                  <a:lnTo>
                    <a:pt x="7542858" y="1195043"/>
                  </a:lnTo>
                  <a:lnTo>
                    <a:pt x="7544851" y="1195043"/>
                  </a:lnTo>
                  <a:lnTo>
                    <a:pt x="7546744" y="1195043"/>
                  </a:lnTo>
                  <a:lnTo>
                    <a:pt x="7548438" y="1194148"/>
                  </a:lnTo>
                  <a:lnTo>
                    <a:pt x="7549833" y="1192854"/>
                  </a:lnTo>
                  <a:lnTo>
                    <a:pt x="7555015" y="1190268"/>
                  </a:lnTo>
                  <a:lnTo>
                    <a:pt x="7557306" y="1188477"/>
                  </a:lnTo>
                  <a:lnTo>
                    <a:pt x="7561990" y="1182209"/>
                  </a:lnTo>
                  <a:lnTo>
                    <a:pt x="7563484" y="1180816"/>
                  </a:lnTo>
                  <a:lnTo>
                    <a:pt x="7566673" y="1179026"/>
                  </a:lnTo>
                  <a:lnTo>
                    <a:pt x="7568068" y="1177832"/>
                  </a:lnTo>
                  <a:lnTo>
                    <a:pt x="7569662" y="1174648"/>
                  </a:lnTo>
                  <a:lnTo>
                    <a:pt x="7571356" y="1167684"/>
                  </a:lnTo>
                  <a:lnTo>
                    <a:pt x="7572851" y="1164898"/>
                  </a:lnTo>
                  <a:lnTo>
                    <a:pt x="7578830" y="1156840"/>
                  </a:lnTo>
                  <a:lnTo>
                    <a:pt x="7580324" y="1154054"/>
                  </a:lnTo>
                  <a:lnTo>
                    <a:pt x="7581420" y="1150274"/>
                  </a:lnTo>
                  <a:lnTo>
                    <a:pt x="7581420" y="1148085"/>
                  </a:lnTo>
                  <a:lnTo>
                    <a:pt x="7581420" y="1146692"/>
                  </a:lnTo>
                  <a:lnTo>
                    <a:pt x="7581420" y="1145299"/>
                  </a:lnTo>
                  <a:lnTo>
                    <a:pt x="7582815" y="1144006"/>
                  </a:lnTo>
                  <a:lnTo>
                    <a:pt x="7584509" y="1143011"/>
                  </a:lnTo>
                  <a:lnTo>
                    <a:pt x="7585306" y="1142215"/>
                  </a:lnTo>
                  <a:lnTo>
                    <a:pt x="7585306" y="1139231"/>
                  </a:lnTo>
                  <a:lnTo>
                    <a:pt x="7586801" y="1130774"/>
                  </a:lnTo>
                  <a:lnTo>
                    <a:pt x="7587598" y="1127989"/>
                  </a:lnTo>
                  <a:lnTo>
                    <a:pt x="7591684" y="1122915"/>
                  </a:lnTo>
                  <a:lnTo>
                    <a:pt x="7592481" y="1120030"/>
                  </a:lnTo>
                  <a:lnTo>
                    <a:pt x="7589392" y="1118836"/>
                  </a:lnTo>
                  <a:lnTo>
                    <a:pt x="7582117" y="1118040"/>
                  </a:lnTo>
                  <a:lnTo>
                    <a:pt x="7578431" y="1116746"/>
                  </a:lnTo>
                  <a:lnTo>
                    <a:pt x="7575541" y="1114359"/>
                  </a:lnTo>
                  <a:lnTo>
                    <a:pt x="7570858" y="1106002"/>
                  </a:lnTo>
                  <a:lnTo>
                    <a:pt x="7568566" y="1103614"/>
                  </a:lnTo>
                  <a:lnTo>
                    <a:pt x="7565278" y="1102122"/>
                  </a:lnTo>
                  <a:lnTo>
                    <a:pt x="7558502" y="1100232"/>
                  </a:lnTo>
                  <a:lnTo>
                    <a:pt x="7555513" y="1098441"/>
                  </a:lnTo>
                  <a:lnTo>
                    <a:pt x="7547242" y="1101425"/>
                  </a:lnTo>
                  <a:lnTo>
                    <a:pt x="7538374" y="1099734"/>
                  </a:lnTo>
                  <a:lnTo>
                    <a:pt x="7529804" y="1095158"/>
                  </a:lnTo>
                  <a:lnTo>
                    <a:pt x="7522530" y="1089387"/>
                  </a:lnTo>
                  <a:lnTo>
                    <a:pt x="7521335" y="1090183"/>
                  </a:lnTo>
                  <a:lnTo>
                    <a:pt x="7519541" y="1090780"/>
                  </a:lnTo>
                  <a:lnTo>
                    <a:pt x="7517947" y="1090780"/>
                  </a:lnTo>
                  <a:lnTo>
                    <a:pt x="7516651" y="1087398"/>
                  </a:lnTo>
                  <a:lnTo>
                    <a:pt x="7515157" y="1086602"/>
                  </a:lnTo>
                  <a:lnTo>
                    <a:pt x="7513463" y="1086602"/>
                  </a:lnTo>
                  <a:lnTo>
                    <a:pt x="7509278" y="1085010"/>
                  </a:lnTo>
                  <a:lnTo>
                    <a:pt x="7502801" y="1084214"/>
                  </a:lnTo>
                  <a:lnTo>
                    <a:pt x="7500409" y="1082722"/>
                  </a:lnTo>
                  <a:lnTo>
                    <a:pt x="7498517" y="1082025"/>
                  </a:lnTo>
                  <a:lnTo>
                    <a:pt x="7489947" y="1080931"/>
                  </a:lnTo>
                  <a:lnTo>
                    <a:pt x="7482872" y="1082025"/>
                  </a:lnTo>
                  <a:lnTo>
                    <a:pt x="7464637" y="1082025"/>
                  </a:lnTo>
                  <a:lnTo>
                    <a:pt x="7459954" y="1083219"/>
                  </a:lnTo>
                  <a:lnTo>
                    <a:pt x="7454175" y="1087000"/>
                  </a:lnTo>
                  <a:lnTo>
                    <a:pt x="7452082" y="1087696"/>
                  </a:lnTo>
                  <a:lnTo>
                    <a:pt x="7449292" y="1087199"/>
                  </a:lnTo>
                  <a:lnTo>
                    <a:pt x="7448196" y="1085607"/>
                  </a:lnTo>
                  <a:lnTo>
                    <a:pt x="7447598" y="1083319"/>
                  </a:lnTo>
                  <a:lnTo>
                    <a:pt x="7446004" y="1080831"/>
                  </a:lnTo>
                  <a:lnTo>
                    <a:pt x="7452780" y="1080831"/>
                  </a:lnTo>
                  <a:lnTo>
                    <a:pt x="7456168" y="1080036"/>
                  </a:lnTo>
                  <a:lnTo>
                    <a:pt x="7458659" y="1078344"/>
                  </a:lnTo>
                  <a:lnTo>
                    <a:pt x="7458659" y="1075658"/>
                  </a:lnTo>
                  <a:lnTo>
                    <a:pt x="7456466" y="1073668"/>
                  </a:lnTo>
                  <a:lnTo>
                    <a:pt x="7453078" y="1072475"/>
                  </a:lnTo>
                  <a:lnTo>
                    <a:pt x="7446104" y="1071380"/>
                  </a:lnTo>
                  <a:lnTo>
                    <a:pt x="7435242" y="1066406"/>
                  </a:lnTo>
                  <a:lnTo>
                    <a:pt x="7432153" y="1066406"/>
                  </a:lnTo>
                  <a:lnTo>
                    <a:pt x="7422986" y="1067799"/>
                  </a:lnTo>
                  <a:lnTo>
                    <a:pt x="7425776" y="1067102"/>
                  </a:lnTo>
                  <a:lnTo>
                    <a:pt x="7430459" y="1064914"/>
                  </a:lnTo>
                  <a:lnTo>
                    <a:pt x="7433449" y="1064914"/>
                  </a:lnTo>
                  <a:lnTo>
                    <a:pt x="7447399" y="1067500"/>
                  </a:lnTo>
                  <a:lnTo>
                    <a:pt x="7452580" y="1069987"/>
                  </a:lnTo>
                  <a:lnTo>
                    <a:pt x="7454175" y="1069987"/>
                  </a:lnTo>
                  <a:lnTo>
                    <a:pt x="7455470" y="1069987"/>
                  </a:lnTo>
                  <a:lnTo>
                    <a:pt x="7456766" y="1069390"/>
                  </a:lnTo>
                  <a:lnTo>
                    <a:pt x="7458260" y="1069390"/>
                  </a:lnTo>
                  <a:lnTo>
                    <a:pt x="7461449" y="1069390"/>
                  </a:lnTo>
                  <a:lnTo>
                    <a:pt x="7463940" y="1070684"/>
                  </a:lnTo>
                  <a:lnTo>
                    <a:pt x="7468324" y="1074663"/>
                  </a:lnTo>
                  <a:lnTo>
                    <a:pt x="7470815" y="1076454"/>
                  </a:lnTo>
                  <a:lnTo>
                    <a:pt x="7472708" y="1076454"/>
                  </a:lnTo>
                  <a:lnTo>
                    <a:pt x="7478189" y="1075559"/>
                  </a:lnTo>
                  <a:lnTo>
                    <a:pt x="7503499" y="1081229"/>
                  </a:lnTo>
                  <a:lnTo>
                    <a:pt x="7505990" y="1080732"/>
                  </a:lnTo>
                  <a:lnTo>
                    <a:pt x="7508780" y="1078842"/>
                  </a:lnTo>
                  <a:lnTo>
                    <a:pt x="7511868" y="1078842"/>
                  </a:lnTo>
                  <a:lnTo>
                    <a:pt x="7522730" y="1085607"/>
                  </a:lnTo>
                  <a:lnTo>
                    <a:pt x="7525819" y="1087000"/>
                  </a:lnTo>
                  <a:lnTo>
                    <a:pt x="7529008" y="1087597"/>
                  </a:lnTo>
                  <a:lnTo>
                    <a:pt x="7531897" y="1088691"/>
                  </a:lnTo>
                  <a:lnTo>
                    <a:pt x="7537377" y="1093964"/>
                  </a:lnTo>
                  <a:lnTo>
                    <a:pt x="7540267" y="1095556"/>
                  </a:lnTo>
                  <a:lnTo>
                    <a:pt x="7546744" y="1095556"/>
                  </a:lnTo>
                  <a:lnTo>
                    <a:pt x="7553819" y="1094561"/>
                  </a:lnTo>
                  <a:lnTo>
                    <a:pt x="7562986" y="1094561"/>
                  </a:lnTo>
                  <a:lnTo>
                    <a:pt x="7568068" y="1097744"/>
                  </a:lnTo>
                  <a:lnTo>
                    <a:pt x="7573448" y="1102122"/>
                  </a:lnTo>
                  <a:lnTo>
                    <a:pt x="7576039" y="1104012"/>
                  </a:lnTo>
                  <a:lnTo>
                    <a:pt x="7578431" y="1106698"/>
                  </a:lnTo>
                  <a:lnTo>
                    <a:pt x="7581819" y="1111673"/>
                  </a:lnTo>
                  <a:lnTo>
                    <a:pt x="7583911" y="1113762"/>
                  </a:lnTo>
                  <a:lnTo>
                    <a:pt x="7586701" y="1114657"/>
                  </a:lnTo>
                  <a:lnTo>
                    <a:pt x="7591285" y="1114657"/>
                  </a:lnTo>
                  <a:lnTo>
                    <a:pt x="7593178" y="1114657"/>
                  </a:lnTo>
                  <a:lnTo>
                    <a:pt x="7597562" y="1116746"/>
                  </a:lnTo>
                  <a:lnTo>
                    <a:pt x="7599257" y="1116746"/>
                  </a:lnTo>
                  <a:lnTo>
                    <a:pt x="7602146" y="1115752"/>
                  </a:lnTo>
                  <a:lnTo>
                    <a:pt x="7604936" y="1113563"/>
                  </a:lnTo>
                  <a:lnTo>
                    <a:pt x="7614103" y="1103614"/>
                  </a:lnTo>
                  <a:lnTo>
                    <a:pt x="7614103" y="1102918"/>
                  </a:lnTo>
                  <a:lnTo>
                    <a:pt x="7614103" y="1101127"/>
                  </a:lnTo>
                  <a:lnTo>
                    <a:pt x="7614103" y="1100331"/>
                  </a:lnTo>
                  <a:lnTo>
                    <a:pt x="7614901" y="1100331"/>
                  </a:lnTo>
                  <a:lnTo>
                    <a:pt x="7616794" y="1100331"/>
                  </a:lnTo>
                  <a:lnTo>
                    <a:pt x="7617591" y="1100331"/>
                  </a:lnTo>
                  <a:lnTo>
                    <a:pt x="7619883" y="1098540"/>
                  </a:lnTo>
                  <a:lnTo>
                    <a:pt x="7622175" y="1096252"/>
                  </a:lnTo>
                  <a:lnTo>
                    <a:pt x="7624666" y="1094262"/>
                  </a:lnTo>
                  <a:lnTo>
                    <a:pt x="7627555" y="1093367"/>
                  </a:lnTo>
                  <a:lnTo>
                    <a:pt x="7630445" y="1091875"/>
                  </a:lnTo>
                  <a:lnTo>
                    <a:pt x="7632537" y="1088293"/>
                  </a:lnTo>
                  <a:lnTo>
                    <a:pt x="7635826" y="1080831"/>
                  </a:lnTo>
                  <a:lnTo>
                    <a:pt x="7645790" y="1070883"/>
                  </a:lnTo>
                  <a:lnTo>
                    <a:pt x="7650374" y="1064317"/>
                  </a:lnTo>
                  <a:lnTo>
                    <a:pt x="7650374" y="1058546"/>
                  </a:lnTo>
                  <a:lnTo>
                    <a:pt x="7651270" y="1056557"/>
                  </a:lnTo>
                  <a:lnTo>
                    <a:pt x="7652965" y="1051184"/>
                  </a:lnTo>
                  <a:lnTo>
                    <a:pt x="7657748" y="1043126"/>
                  </a:lnTo>
                  <a:lnTo>
                    <a:pt x="7658943" y="1042429"/>
                  </a:lnTo>
                  <a:lnTo>
                    <a:pt x="7660139" y="1042429"/>
                  </a:lnTo>
                  <a:lnTo>
                    <a:pt x="7661434" y="1043126"/>
                  </a:lnTo>
                  <a:lnTo>
                    <a:pt x="7662630" y="1043126"/>
                  </a:lnTo>
                  <a:lnTo>
                    <a:pt x="7668608" y="1041136"/>
                  </a:lnTo>
                  <a:lnTo>
                    <a:pt x="7671897" y="1036062"/>
                  </a:lnTo>
                  <a:lnTo>
                    <a:pt x="7678075" y="1015170"/>
                  </a:lnTo>
                  <a:lnTo>
                    <a:pt x="7679769" y="1012285"/>
                  </a:lnTo>
                  <a:lnTo>
                    <a:pt x="7682161" y="1011190"/>
                  </a:lnTo>
                  <a:lnTo>
                    <a:pt x="7687939" y="1011190"/>
                  </a:lnTo>
                  <a:lnTo>
                    <a:pt x="7690132" y="1010195"/>
                  </a:lnTo>
                  <a:lnTo>
                    <a:pt x="7692025" y="1008007"/>
                  </a:lnTo>
                  <a:lnTo>
                    <a:pt x="7692025" y="1006415"/>
                  </a:lnTo>
                  <a:lnTo>
                    <a:pt x="7692025" y="1004923"/>
                  </a:lnTo>
                  <a:lnTo>
                    <a:pt x="7692025" y="1003928"/>
                  </a:lnTo>
                  <a:lnTo>
                    <a:pt x="7695214" y="1003132"/>
                  </a:lnTo>
                  <a:lnTo>
                    <a:pt x="7697505" y="1001540"/>
                  </a:lnTo>
                  <a:lnTo>
                    <a:pt x="7700495" y="1000346"/>
                  </a:lnTo>
                  <a:lnTo>
                    <a:pt x="7709164" y="994377"/>
                  </a:lnTo>
                  <a:lnTo>
                    <a:pt x="7709861" y="993183"/>
                  </a:lnTo>
                  <a:lnTo>
                    <a:pt x="7710659" y="991591"/>
                  </a:lnTo>
                  <a:lnTo>
                    <a:pt x="7711555" y="990298"/>
                  </a:lnTo>
                  <a:lnTo>
                    <a:pt x="7713050" y="989701"/>
                  </a:lnTo>
                  <a:lnTo>
                    <a:pt x="7730886" y="988507"/>
                  </a:lnTo>
                  <a:lnTo>
                    <a:pt x="7729392" y="986517"/>
                  </a:lnTo>
                  <a:lnTo>
                    <a:pt x="7725107" y="986517"/>
                  </a:lnTo>
                  <a:lnTo>
                    <a:pt x="7723812" y="984428"/>
                  </a:lnTo>
                  <a:lnTo>
                    <a:pt x="7731783" y="980946"/>
                  </a:lnTo>
                  <a:lnTo>
                    <a:pt x="7730687" y="976668"/>
                  </a:lnTo>
                  <a:lnTo>
                    <a:pt x="7731983" y="972390"/>
                  </a:lnTo>
                  <a:lnTo>
                    <a:pt x="7734474" y="968610"/>
                  </a:lnTo>
                  <a:lnTo>
                    <a:pt x="7736965" y="966023"/>
                  </a:lnTo>
                  <a:lnTo>
                    <a:pt x="7739555" y="965028"/>
                  </a:lnTo>
                  <a:lnTo>
                    <a:pt x="7747128" y="963536"/>
                  </a:lnTo>
                  <a:lnTo>
                    <a:pt x="7749519" y="962043"/>
                  </a:lnTo>
                  <a:lnTo>
                    <a:pt x="7750716" y="961148"/>
                  </a:lnTo>
                  <a:lnTo>
                    <a:pt x="7755100" y="959158"/>
                  </a:lnTo>
                  <a:lnTo>
                    <a:pt x="7759484" y="955179"/>
                  </a:lnTo>
                  <a:lnTo>
                    <a:pt x="7760779" y="954582"/>
                  </a:lnTo>
                  <a:lnTo>
                    <a:pt x="7760779" y="952791"/>
                  </a:lnTo>
                  <a:lnTo>
                    <a:pt x="7759783" y="948712"/>
                  </a:lnTo>
                  <a:lnTo>
                    <a:pt x="7758189" y="944434"/>
                  </a:lnTo>
                  <a:lnTo>
                    <a:pt x="7756395" y="942046"/>
                  </a:lnTo>
                  <a:lnTo>
                    <a:pt x="7757790" y="942046"/>
                  </a:lnTo>
                  <a:lnTo>
                    <a:pt x="7761577" y="944036"/>
                  </a:lnTo>
                  <a:lnTo>
                    <a:pt x="7761577" y="947518"/>
                  </a:lnTo>
                  <a:lnTo>
                    <a:pt x="7765961" y="951398"/>
                  </a:lnTo>
                  <a:lnTo>
                    <a:pt x="7765961" y="955577"/>
                  </a:lnTo>
                  <a:lnTo>
                    <a:pt x="7764367" y="958163"/>
                  </a:lnTo>
                  <a:lnTo>
                    <a:pt x="7756495" y="964630"/>
                  </a:lnTo>
                  <a:lnTo>
                    <a:pt x="7762274" y="964630"/>
                  </a:lnTo>
                  <a:lnTo>
                    <a:pt x="7764367" y="964630"/>
                  </a:lnTo>
                  <a:lnTo>
                    <a:pt x="7766359" y="963735"/>
                  </a:lnTo>
                  <a:lnTo>
                    <a:pt x="7770644" y="960253"/>
                  </a:lnTo>
                  <a:lnTo>
                    <a:pt x="7772836" y="958860"/>
                  </a:lnTo>
                  <a:lnTo>
                    <a:pt x="7786288" y="956572"/>
                  </a:lnTo>
                  <a:lnTo>
                    <a:pt x="7791171" y="954482"/>
                  </a:lnTo>
                  <a:lnTo>
                    <a:pt x="7791171" y="951299"/>
                  </a:lnTo>
                  <a:lnTo>
                    <a:pt x="7791171" y="948613"/>
                  </a:lnTo>
                  <a:lnTo>
                    <a:pt x="7790274" y="945927"/>
                  </a:lnTo>
                  <a:lnTo>
                    <a:pt x="7788680" y="945927"/>
                  </a:lnTo>
                  <a:lnTo>
                    <a:pt x="7784594" y="946921"/>
                  </a:lnTo>
                  <a:lnTo>
                    <a:pt x="7782203" y="946921"/>
                  </a:lnTo>
                  <a:lnTo>
                    <a:pt x="7776225" y="942743"/>
                  </a:lnTo>
                  <a:lnTo>
                    <a:pt x="7776225" y="941748"/>
                  </a:lnTo>
                  <a:lnTo>
                    <a:pt x="7778416" y="942345"/>
                  </a:lnTo>
                  <a:lnTo>
                    <a:pt x="7785392" y="942345"/>
                  </a:lnTo>
                  <a:lnTo>
                    <a:pt x="7786587" y="942345"/>
                  </a:lnTo>
                  <a:lnTo>
                    <a:pt x="7788281" y="940853"/>
                  </a:lnTo>
                  <a:lnTo>
                    <a:pt x="7789377" y="940853"/>
                  </a:lnTo>
                  <a:lnTo>
                    <a:pt x="7790374" y="940853"/>
                  </a:lnTo>
                  <a:lnTo>
                    <a:pt x="7792566" y="940853"/>
                  </a:lnTo>
                  <a:lnTo>
                    <a:pt x="7793563" y="940853"/>
                  </a:lnTo>
                  <a:lnTo>
                    <a:pt x="7796252" y="937072"/>
                  </a:lnTo>
                  <a:lnTo>
                    <a:pt x="7797249" y="932496"/>
                  </a:lnTo>
                  <a:lnTo>
                    <a:pt x="7798943" y="929909"/>
                  </a:lnTo>
                  <a:lnTo>
                    <a:pt x="7803925" y="931700"/>
                  </a:lnTo>
                  <a:lnTo>
                    <a:pt x="7806118" y="929511"/>
                  </a:lnTo>
                  <a:lnTo>
                    <a:pt x="7807014" y="928019"/>
                  </a:lnTo>
                  <a:lnTo>
                    <a:pt x="7807014" y="926029"/>
                  </a:lnTo>
                  <a:lnTo>
                    <a:pt x="7810601" y="927322"/>
                  </a:lnTo>
                  <a:lnTo>
                    <a:pt x="7814388" y="927322"/>
                  </a:lnTo>
                  <a:lnTo>
                    <a:pt x="7820965" y="926128"/>
                  </a:lnTo>
                  <a:lnTo>
                    <a:pt x="7824352" y="926128"/>
                  </a:lnTo>
                  <a:lnTo>
                    <a:pt x="7831427" y="927919"/>
                  </a:lnTo>
                  <a:lnTo>
                    <a:pt x="7837505" y="927919"/>
                  </a:lnTo>
                  <a:lnTo>
                    <a:pt x="7838801" y="927919"/>
                  </a:lnTo>
                  <a:lnTo>
                    <a:pt x="7839996" y="927123"/>
                  </a:lnTo>
                  <a:lnTo>
                    <a:pt x="7841392" y="925233"/>
                  </a:lnTo>
                  <a:lnTo>
                    <a:pt x="7842487" y="924338"/>
                  </a:lnTo>
                  <a:lnTo>
                    <a:pt x="7846075" y="922746"/>
                  </a:lnTo>
                  <a:lnTo>
                    <a:pt x="7847470" y="922746"/>
                  </a:lnTo>
                  <a:lnTo>
                    <a:pt x="7855242" y="922746"/>
                  </a:lnTo>
                  <a:lnTo>
                    <a:pt x="7858929" y="921851"/>
                  </a:lnTo>
                  <a:lnTo>
                    <a:pt x="7860922" y="921851"/>
                  </a:lnTo>
                  <a:lnTo>
                    <a:pt x="7862716" y="922945"/>
                  </a:lnTo>
                  <a:lnTo>
                    <a:pt x="7866701" y="920856"/>
                  </a:lnTo>
                  <a:lnTo>
                    <a:pt x="7871085" y="920259"/>
                  </a:lnTo>
                  <a:lnTo>
                    <a:pt x="7889818" y="920259"/>
                  </a:lnTo>
                  <a:lnTo>
                    <a:pt x="7893007" y="918667"/>
                  </a:lnTo>
                  <a:lnTo>
                    <a:pt x="7906658" y="902848"/>
                  </a:lnTo>
                  <a:lnTo>
                    <a:pt x="7909548" y="898570"/>
                  </a:lnTo>
                  <a:lnTo>
                    <a:pt x="7910744" y="894790"/>
                  </a:lnTo>
                  <a:lnTo>
                    <a:pt x="7911242" y="889318"/>
                  </a:lnTo>
                  <a:lnTo>
                    <a:pt x="7911242" y="883946"/>
                  </a:lnTo>
                  <a:lnTo>
                    <a:pt x="7909747" y="880165"/>
                  </a:lnTo>
                  <a:lnTo>
                    <a:pt x="7911641" y="872903"/>
                  </a:lnTo>
                  <a:lnTo>
                    <a:pt x="7912338" y="870913"/>
                  </a:lnTo>
                  <a:lnTo>
                    <a:pt x="7913833" y="868525"/>
                  </a:lnTo>
                  <a:lnTo>
                    <a:pt x="7918018" y="863750"/>
                  </a:lnTo>
                  <a:lnTo>
                    <a:pt x="7919313" y="861760"/>
                  </a:lnTo>
                  <a:lnTo>
                    <a:pt x="7919313" y="858875"/>
                  </a:lnTo>
                  <a:lnTo>
                    <a:pt x="7918616" y="856487"/>
                  </a:lnTo>
                  <a:lnTo>
                    <a:pt x="7917719" y="854199"/>
                  </a:lnTo>
                  <a:lnTo>
                    <a:pt x="7917719" y="851413"/>
                  </a:lnTo>
                  <a:lnTo>
                    <a:pt x="7917719" y="848727"/>
                  </a:lnTo>
                  <a:lnTo>
                    <a:pt x="7918616" y="845942"/>
                  </a:lnTo>
                  <a:lnTo>
                    <a:pt x="7919712" y="843156"/>
                  </a:lnTo>
                  <a:lnTo>
                    <a:pt x="7922203" y="838480"/>
                  </a:lnTo>
                  <a:lnTo>
                    <a:pt x="7924096" y="835893"/>
                  </a:lnTo>
                  <a:lnTo>
                    <a:pt x="7926487" y="833705"/>
                  </a:lnTo>
                  <a:lnTo>
                    <a:pt x="7929178" y="832809"/>
                  </a:lnTo>
                  <a:lnTo>
                    <a:pt x="7932167" y="833804"/>
                  </a:lnTo>
                  <a:lnTo>
                    <a:pt x="7933662" y="835694"/>
                  </a:lnTo>
                  <a:lnTo>
                    <a:pt x="7935057" y="836391"/>
                  </a:lnTo>
                  <a:lnTo>
                    <a:pt x="7937449" y="834003"/>
                  </a:lnTo>
                  <a:lnTo>
                    <a:pt x="7938843" y="830820"/>
                  </a:lnTo>
                  <a:lnTo>
                    <a:pt x="7940238" y="826939"/>
                  </a:lnTo>
                  <a:lnTo>
                    <a:pt x="7941833" y="823756"/>
                  </a:lnTo>
                  <a:lnTo>
                    <a:pt x="7945022" y="821667"/>
                  </a:lnTo>
                  <a:lnTo>
                    <a:pt x="7945022" y="820075"/>
                  </a:lnTo>
                  <a:lnTo>
                    <a:pt x="7944224" y="818085"/>
                  </a:lnTo>
                  <a:lnTo>
                    <a:pt x="7944224" y="816692"/>
                  </a:lnTo>
                  <a:lnTo>
                    <a:pt x="7944224" y="814902"/>
                  </a:lnTo>
                  <a:lnTo>
                    <a:pt x="7945121" y="813011"/>
                  </a:lnTo>
                  <a:lnTo>
                    <a:pt x="7947313" y="809629"/>
                  </a:lnTo>
                  <a:lnTo>
                    <a:pt x="7952196" y="805450"/>
                  </a:lnTo>
                  <a:lnTo>
                    <a:pt x="7964651" y="802665"/>
                  </a:lnTo>
                  <a:lnTo>
                    <a:pt x="7970729" y="800376"/>
                  </a:lnTo>
                  <a:lnTo>
                    <a:pt x="7973320" y="798287"/>
                  </a:lnTo>
                  <a:lnTo>
                    <a:pt x="7979000" y="789333"/>
                  </a:lnTo>
                  <a:lnTo>
                    <a:pt x="7983384" y="784558"/>
                  </a:lnTo>
                  <a:lnTo>
                    <a:pt x="7986174" y="782568"/>
                  </a:lnTo>
                  <a:lnTo>
                    <a:pt x="7988964" y="781772"/>
                  </a:lnTo>
                  <a:lnTo>
                    <a:pt x="7987968" y="780578"/>
                  </a:lnTo>
                  <a:lnTo>
                    <a:pt x="7987370" y="779285"/>
                  </a:lnTo>
                  <a:lnTo>
                    <a:pt x="7987370" y="777693"/>
                  </a:lnTo>
                  <a:lnTo>
                    <a:pt x="7987370" y="776002"/>
                  </a:lnTo>
                  <a:lnTo>
                    <a:pt x="7989562" y="776997"/>
                  </a:lnTo>
                  <a:lnTo>
                    <a:pt x="7993050" y="779484"/>
                  </a:lnTo>
                  <a:lnTo>
                    <a:pt x="7995142" y="780479"/>
                  </a:lnTo>
                  <a:lnTo>
                    <a:pt x="7996537" y="780479"/>
                  </a:lnTo>
                  <a:lnTo>
                    <a:pt x="7999029" y="780479"/>
                  </a:lnTo>
                  <a:lnTo>
                    <a:pt x="8000324" y="780479"/>
                  </a:lnTo>
                  <a:lnTo>
                    <a:pt x="8004907" y="782568"/>
                  </a:lnTo>
                  <a:lnTo>
                    <a:pt x="8008793" y="783165"/>
                  </a:lnTo>
                  <a:lnTo>
                    <a:pt x="8009491" y="783165"/>
                  </a:lnTo>
                  <a:lnTo>
                    <a:pt x="8010687" y="782071"/>
                  </a:lnTo>
                  <a:lnTo>
                    <a:pt x="8012779" y="780976"/>
                  </a:lnTo>
                  <a:lnTo>
                    <a:pt x="8013576" y="779981"/>
                  </a:lnTo>
                  <a:lnTo>
                    <a:pt x="8013576" y="778489"/>
                  </a:lnTo>
                  <a:lnTo>
                    <a:pt x="8011684" y="777892"/>
                  </a:lnTo>
                  <a:lnTo>
                    <a:pt x="8008395" y="777892"/>
                  </a:lnTo>
                  <a:lnTo>
                    <a:pt x="8005007" y="778688"/>
                  </a:lnTo>
                  <a:lnTo>
                    <a:pt x="8003213" y="779484"/>
                  </a:lnTo>
                  <a:lnTo>
                    <a:pt x="7999527" y="776101"/>
                  </a:lnTo>
                  <a:lnTo>
                    <a:pt x="7998431" y="773714"/>
                  </a:lnTo>
                  <a:lnTo>
                    <a:pt x="7999228" y="770729"/>
                  </a:lnTo>
                  <a:lnTo>
                    <a:pt x="8001022" y="768341"/>
                  </a:lnTo>
                  <a:lnTo>
                    <a:pt x="8004907" y="764561"/>
                  </a:lnTo>
                  <a:lnTo>
                    <a:pt x="8008793" y="761875"/>
                  </a:lnTo>
                  <a:lnTo>
                    <a:pt x="8011285" y="761079"/>
                  </a:lnTo>
                  <a:lnTo>
                    <a:pt x="8013676" y="761079"/>
                  </a:lnTo>
                  <a:lnTo>
                    <a:pt x="8015769" y="762571"/>
                  </a:lnTo>
                  <a:lnTo>
                    <a:pt x="8016267" y="763765"/>
                  </a:lnTo>
                  <a:lnTo>
                    <a:pt x="8016267" y="765556"/>
                  </a:lnTo>
                  <a:lnTo>
                    <a:pt x="8016267" y="767347"/>
                  </a:lnTo>
                  <a:lnTo>
                    <a:pt x="8016267" y="768540"/>
                  </a:lnTo>
                  <a:lnTo>
                    <a:pt x="8016267" y="769734"/>
                  </a:lnTo>
                  <a:lnTo>
                    <a:pt x="8016865" y="770431"/>
                  </a:lnTo>
                  <a:lnTo>
                    <a:pt x="8022844" y="773216"/>
                  </a:lnTo>
                  <a:lnTo>
                    <a:pt x="8027128" y="772520"/>
                  </a:lnTo>
                  <a:lnTo>
                    <a:pt x="8031313" y="769535"/>
                  </a:lnTo>
                  <a:lnTo>
                    <a:pt x="8035897" y="768640"/>
                  </a:lnTo>
                  <a:lnTo>
                    <a:pt x="8040779" y="768640"/>
                  </a:lnTo>
                  <a:lnTo>
                    <a:pt x="8043071" y="769436"/>
                  </a:lnTo>
                  <a:lnTo>
                    <a:pt x="8044964" y="771127"/>
                  </a:lnTo>
                  <a:lnTo>
                    <a:pt x="8047356" y="772321"/>
                  </a:lnTo>
                  <a:lnTo>
                    <a:pt x="8053933" y="772321"/>
                  </a:lnTo>
                  <a:lnTo>
                    <a:pt x="8056722" y="773216"/>
                  </a:lnTo>
                  <a:lnTo>
                    <a:pt x="8055527" y="770530"/>
                  </a:lnTo>
                  <a:lnTo>
                    <a:pt x="8054530" y="767148"/>
                  </a:lnTo>
                  <a:lnTo>
                    <a:pt x="8054530" y="764362"/>
                  </a:lnTo>
                  <a:lnTo>
                    <a:pt x="8057420" y="764362"/>
                  </a:lnTo>
                  <a:lnTo>
                    <a:pt x="8056523" y="767048"/>
                  </a:lnTo>
                  <a:lnTo>
                    <a:pt x="8057619" y="768441"/>
                  </a:lnTo>
                  <a:lnTo>
                    <a:pt x="8059612" y="768441"/>
                  </a:lnTo>
                  <a:lnTo>
                    <a:pt x="8061704" y="767645"/>
                  </a:lnTo>
                  <a:lnTo>
                    <a:pt x="8063199" y="766053"/>
                  </a:lnTo>
                  <a:lnTo>
                    <a:pt x="8068281" y="758890"/>
                  </a:lnTo>
                  <a:lnTo>
                    <a:pt x="8072167" y="756303"/>
                  </a:lnTo>
                  <a:lnTo>
                    <a:pt x="8076551" y="756303"/>
                  </a:lnTo>
                  <a:lnTo>
                    <a:pt x="8081135" y="757995"/>
                  </a:lnTo>
                  <a:lnTo>
                    <a:pt x="8085121" y="760482"/>
                  </a:lnTo>
                  <a:lnTo>
                    <a:pt x="8088110" y="761775"/>
                  </a:lnTo>
                  <a:lnTo>
                    <a:pt x="8100964" y="761775"/>
                  </a:lnTo>
                  <a:lnTo>
                    <a:pt x="8115213" y="758393"/>
                  </a:lnTo>
                  <a:lnTo>
                    <a:pt x="8126971" y="757199"/>
                  </a:lnTo>
                  <a:lnTo>
                    <a:pt x="8136438" y="754214"/>
                  </a:lnTo>
                  <a:lnTo>
                    <a:pt x="8156366" y="753020"/>
                  </a:lnTo>
                  <a:lnTo>
                    <a:pt x="8157762" y="753020"/>
                  </a:lnTo>
                  <a:lnTo>
                    <a:pt x="8160651" y="751528"/>
                  </a:lnTo>
                  <a:lnTo>
                    <a:pt x="8161648" y="751528"/>
                  </a:lnTo>
                  <a:lnTo>
                    <a:pt x="8166829" y="755607"/>
                  </a:lnTo>
                  <a:lnTo>
                    <a:pt x="8170117" y="757497"/>
                  </a:lnTo>
                  <a:lnTo>
                    <a:pt x="8172509" y="756801"/>
                  </a:lnTo>
                  <a:lnTo>
                    <a:pt x="8175199" y="755508"/>
                  </a:lnTo>
                  <a:lnTo>
                    <a:pt x="8179584" y="755508"/>
                  </a:lnTo>
                  <a:lnTo>
                    <a:pt x="8189548" y="757696"/>
                  </a:lnTo>
                  <a:lnTo>
                    <a:pt x="8201804" y="757696"/>
                  </a:lnTo>
                  <a:lnTo>
                    <a:pt x="8204495" y="756801"/>
                  </a:lnTo>
                  <a:lnTo>
                    <a:pt x="8206288" y="756801"/>
                  </a:lnTo>
                  <a:lnTo>
                    <a:pt x="8205591" y="756801"/>
                  </a:lnTo>
                  <a:lnTo>
                    <a:pt x="8206188" y="757497"/>
                  </a:lnTo>
                  <a:lnTo>
                    <a:pt x="8207982" y="758890"/>
                  </a:lnTo>
                  <a:lnTo>
                    <a:pt x="8208879" y="758890"/>
                  </a:lnTo>
                  <a:lnTo>
                    <a:pt x="8209477" y="758890"/>
                  </a:lnTo>
                  <a:lnTo>
                    <a:pt x="8210672" y="758890"/>
                  </a:lnTo>
                  <a:lnTo>
                    <a:pt x="8240566" y="757298"/>
                  </a:lnTo>
                  <a:lnTo>
                    <a:pt x="8252822" y="754811"/>
                  </a:lnTo>
                  <a:lnTo>
                    <a:pt x="8258003" y="751926"/>
                  </a:lnTo>
                  <a:lnTo>
                    <a:pt x="8260694" y="750732"/>
                  </a:lnTo>
                  <a:lnTo>
                    <a:pt x="8263883" y="750732"/>
                  </a:lnTo>
                  <a:lnTo>
                    <a:pt x="8267470" y="751528"/>
                  </a:lnTo>
                  <a:lnTo>
                    <a:pt x="8270957" y="752921"/>
                  </a:lnTo>
                  <a:lnTo>
                    <a:pt x="8273348" y="754911"/>
                  </a:lnTo>
                  <a:lnTo>
                    <a:pt x="8276139" y="756701"/>
                  </a:lnTo>
                  <a:lnTo>
                    <a:pt x="8288993" y="759587"/>
                  </a:lnTo>
                  <a:lnTo>
                    <a:pt x="8301946" y="759587"/>
                  </a:lnTo>
                  <a:lnTo>
                    <a:pt x="8303242" y="759587"/>
                  </a:lnTo>
                  <a:lnTo>
                    <a:pt x="8306730" y="756701"/>
                  </a:lnTo>
                  <a:lnTo>
                    <a:pt x="8308125" y="756104"/>
                  </a:lnTo>
                  <a:lnTo>
                    <a:pt x="8315996" y="755010"/>
                  </a:lnTo>
                  <a:lnTo>
                    <a:pt x="8321676" y="753319"/>
                  </a:lnTo>
                  <a:lnTo>
                    <a:pt x="8344494" y="751926"/>
                  </a:lnTo>
                  <a:lnTo>
                    <a:pt x="8345690" y="751926"/>
                  </a:lnTo>
                  <a:lnTo>
                    <a:pt x="8348181" y="753518"/>
                  </a:lnTo>
                  <a:lnTo>
                    <a:pt x="8349776" y="753518"/>
                  </a:lnTo>
                  <a:lnTo>
                    <a:pt x="8355555" y="753518"/>
                  </a:lnTo>
                  <a:lnTo>
                    <a:pt x="8357149" y="753518"/>
                  </a:lnTo>
                  <a:lnTo>
                    <a:pt x="8358345" y="754612"/>
                  </a:lnTo>
                  <a:lnTo>
                    <a:pt x="8359740" y="757298"/>
                  </a:lnTo>
                  <a:lnTo>
                    <a:pt x="8360537" y="758194"/>
                  </a:lnTo>
                  <a:lnTo>
                    <a:pt x="8362132" y="758890"/>
                  </a:lnTo>
                  <a:lnTo>
                    <a:pt x="8363327" y="758890"/>
                  </a:lnTo>
                  <a:lnTo>
                    <a:pt x="8364623" y="758890"/>
                  </a:lnTo>
                  <a:lnTo>
                    <a:pt x="8366217" y="758890"/>
                  </a:lnTo>
                  <a:lnTo>
                    <a:pt x="8367712" y="759487"/>
                  </a:lnTo>
                  <a:lnTo>
                    <a:pt x="8369605" y="761775"/>
                  </a:lnTo>
                  <a:lnTo>
                    <a:pt x="8370601" y="762372"/>
                  </a:lnTo>
                  <a:lnTo>
                    <a:pt x="8379071" y="760183"/>
                  </a:lnTo>
                  <a:lnTo>
                    <a:pt x="8382359" y="760183"/>
                  </a:lnTo>
                  <a:lnTo>
                    <a:pt x="8385548" y="760979"/>
                  </a:lnTo>
                  <a:lnTo>
                    <a:pt x="8388338" y="762372"/>
                  </a:lnTo>
                  <a:lnTo>
                    <a:pt x="8390331" y="764561"/>
                  </a:lnTo>
                  <a:lnTo>
                    <a:pt x="8391028" y="767844"/>
                  </a:lnTo>
                  <a:lnTo>
                    <a:pt x="8391925" y="767844"/>
                  </a:lnTo>
                  <a:lnTo>
                    <a:pt x="8393718" y="767844"/>
                  </a:lnTo>
                  <a:lnTo>
                    <a:pt x="8397007" y="767844"/>
                  </a:lnTo>
                  <a:lnTo>
                    <a:pt x="8398003" y="767048"/>
                  </a:lnTo>
                  <a:lnTo>
                    <a:pt x="8400096" y="764362"/>
                  </a:lnTo>
                  <a:lnTo>
                    <a:pt x="8401391" y="763367"/>
                  </a:lnTo>
                  <a:lnTo>
                    <a:pt x="8404580" y="762671"/>
                  </a:lnTo>
                  <a:lnTo>
                    <a:pt x="8415341" y="764362"/>
                  </a:lnTo>
                  <a:lnTo>
                    <a:pt x="8421320" y="763566"/>
                  </a:lnTo>
                  <a:lnTo>
                    <a:pt x="8424608" y="762472"/>
                  </a:lnTo>
                  <a:lnTo>
                    <a:pt x="8426601" y="760880"/>
                  </a:lnTo>
                  <a:lnTo>
                    <a:pt x="8426003" y="759686"/>
                  </a:lnTo>
                  <a:lnTo>
                    <a:pt x="8424807" y="757696"/>
                  </a:lnTo>
                  <a:lnTo>
                    <a:pt x="8424807" y="755905"/>
                  </a:lnTo>
                  <a:lnTo>
                    <a:pt x="8427099" y="755110"/>
                  </a:lnTo>
                  <a:lnTo>
                    <a:pt x="8433178" y="755110"/>
                  </a:lnTo>
                  <a:lnTo>
                    <a:pt x="8438558" y="756602"/>
                  </a:lnTo>
                  <a:lnTo>
                    <a:pt x="8440551" y="756602"/>
                  </a:lnTo>
                  <a:lnTo>
                    <a:pt x="8441448" y="755707"/>
                  </a:lnTo>
                  <a:lnTo>
                    <a:pt x="8443540" y="752821"/>
                  </a:lnTo>
                  <a:lnTo>
                    <a:pt x="8444936" y="751827"/>
                  </a:lnTo>
                  <a:lnTo>
                    <a:pt x="8446929" y="751827"/>
                  </a:lnTo>
                  <a:lnTo>
                    <a:pt x="8448025" y="752423"/>
                  </a:lnTo>
                  <a:lnTo>
                    <a:pt x="8449718" y="755010"/>
                  </a:lnTo>
                  <a:lnTo>
                    <a:pt x="8451014" y="756204"/>
                  </a:lnTo>
                  <a:lnTo>
                    <a:pt x="8452309" y="756204"/>
                  </a:lnTo>
                  <a:lnTo>
                    <a:pt x="8455796" y="756204"/>
                  </a:lnTo>
                  <a:lnTo>
                    <a:pt x="8465761" y="755010"/>
                  </a:lnTo>
                  <a:lnTo>
                    <a:pt x="8468252" y="756204"/>
                  </a:lnTo>
                  <a:lnTo>
                    <a:pt x="8471341" y="755010"/>
                  </a:lnTo>
                  <a:lnTo>
                    <a:pt x="8472636" y="754214"/>
                  </a:lnTo>
                  <a:lnTo>
                    <a:pt x="8473434" y="752523"/>
                  </a:lnTo>
                  <a:lnTo>
                    <a:pt x="8475227" y="753617"/>
                  </a:lnTo>
                  <a:lnTo>
                    <a:pt x="8478117" y="753617"/>
                  </a:lnTo>
                  <a:lnTo>
                    <a:pt x="8483996" y="751926"/>
                  </a:lnTo>
                  <a:lnTo>
                    <a:pt x="8483996" y="753020"/>
                  </a:lnTo>
                  <a:lnTo>
                    <a:pt x="8478615" y="755408"/>
                  </a:lnTo>
                  <a:lnTo>
                    <a:pt x="8478615" y="756701"/>
                  </a:lnTo>
                  <a:lnTo>
                    <a:pt x="8498544" y="758393"/>
                  </a:lnTo>
                  <a:lnTo>
                    <a:pt x="8513192" y="757696"/>
                  </a:lnTo>
                  <a:lnTo>
                    <a:pt x="8514886" y="758293"/>
                  </a:lnTo>
                  <a:lnTo>
                    <a:pt x="8515882" y="759487"/>
                  </a:lnTo>
                  <a:lnTo>
                    <a:pt x="8516878" y="760382"/>
                  </a:lnTo>
                  <a:lnTo>
                    <a:pt x="8518871" y="760382"/>
                  </a:lnTo>
                  <a:lnTo>
                    <a:pt x="8519868" y="759487"/>
                  </a:lnTo>
                  <a:lnTo>
                    <a:pt x="8520765" y="757895"/>
                  </a:lnTo>
                  <a:lnTo>
                    <a:pt x="8521761" y="756502"/>
                  </a:lnTo>
                  <a:lnTo>
                    <a:pt x="8523256" y="755806"/>
                  </a:lnTo>
                  <a:lnTo>
                    <a:pt x="8524551" y="755806"/>
                  </a:lnTo>
                  <a:lnTo>
                    <a:pt x="8524551" y="756403"/>
                  </a:lnTo>
                  <a:lnTo>
                    <a:pt x="8524551" y="757398"/>
                  </a:lnTo>
                  <a:lnTo>
                    <a:pt x="8524551" y="758592"/>
                  </a:lnTo>
                  <a:lnTo>
                    <a:pt x="8525049" y="758592"/>
                  </a:lnTo>
                  <a:lnTo>
                    <a:pt x="8526444" y="757995"/>
                  </a:lnTo>
                  <a:lnTo>
                    <a:pt x="8528636" y="757398"/>
                  </a:lnTo>
                  <a:lnTo>
                    <a:pt x="8530231" y="756801"/>
                  </a:lnTo>
                  <a:lnTo>
                    <a:pt x="8531825" y="756801"/>
                  </a:lnTo>
                  <a:lnTo>
                    <a:pt x="8533320" y="757597"/>
                  </a:lnTo>
                  <a:lnTo>
                    <a:pt x="8535213" y="759388"/>
                  </a:lnTo>
                  <a:lnTo>
                    <a:pt x="8537704" y="761178"/>
                  </a:lnTo>
                  <a:lnTo>
                    <a:pt x="8543184" y="764063"/>
                  </a:lnTo>
                  <a:lnTo>
                    <a:pt x="8546273" y="764760"/>
                  </a:lnTo>
                  <a:lnTo>
                    <a:pt x="8556238" y="764760"/>
                  </a:lnTo>
                  <a:lnTo>
                    <a:pt x="8570188" y="767148"/>
                  </a:lnTo>
                  <a:lnTo>
                    <a:pt x="8573676" y="767148"/>
                  </a:lnTo>
                  <a:lnTo>
                    <a:pt x="8575369" y="767148"/>
                  </a:lnTo>
                  <a:lnTo>
                    <a:pt x="8576764" y="766053"/>
                  </a:lnTo>
                  <a:lnTo>
                    <a:pt x="8578060" y="765357"/>
                  </a:lnTo>
                  <a:lnTo>
                    <a:pt x="8579655" y="765357"/>
                  </a:lnTo>
                  <a:lnTo>
                    <a:pt x="8581348" y="766153"/>
                  </a:lnTo>
                  <a:lnTo>
                    <a:pt x="8582743" y="766153"/>
                  </a:lnTo>
                  <a:lnTo>
                    <a:pt x="8587825" y="766153"/>
                  </a:lnTo>
                  <a:lnTo>
                    <a:pt x="8590515" y="766750"/>
                  </a:lnTo>
                  <a:lnTo>
                    <a:pt x="8592807" y="768540"/>
                  </a:lnTo>
                  <a:lnTo>
                    <a:pt x="8593604" y="771028"/>
                  </a:lnTo>
                  <a:lnTo>
                    <a:pt x="8596594" y="773515"/>
                  </a:lnTo>
                  <a:lnTo>
                    <a:pt x="8598985" y="776599"/>
                  </a:lnTo>
                  <a:lnTo>
                    <a:pt x="8597989" y="781374"/>
                  </a:lnTo>
                  <a:lnTo>
                    <a:pt x="8601576" y="783066"/>
                  </a:lnTo>
                  <a:lnTo>
                    <a:pt x="8605163" y="782369"/>
                  </a:lnTo>
                  <a:lnTo>
                    <a:pt x="8611839" y="778887"/>
                  </a:lnTo>
                  <a:lnTo>
                    <a:pt x="8619213" y="777594"/>
                  </a:lnTo>
                  <a:lnTo>
                    <a:pt x="8622501" y="776201"/>
                  </a:lnTo>
                  <a:lnTo>
                    <a:pt x="8624893" y="773216"/>
                  </a:lnTo>
                  <a:lnTo>
                    <a:pt x="8626985" y="774012"/>
                  </a:lnTo>
                  <a:lnTo>
                    <a:pt x="8626985" y="776002"/>
                  </a:lnTo>
                  <a:lnTo>
                    <a:pt x="8625989" y="777992"/>
                  </a:lnTo>
                  <a:lnTo>
                    <a:pt x="8624195" y="778887"/>
                  </a:lnTo>
                  <a:lnTo>
                    <a:pt x="8622102" y="778887"/>
                  </a:lnTo>
                  <a:lnTo>
                    <a:pt x="8610245" y="782966"/>
                  </a:lnTo>
                  <a:lnTo>
                    <a:pt x="8608551" y="782966"/>
                  </a:lnTo>
                  <a:lnTo>
                    <a:pt x="8606458" y="783662"/>
                  </a:lnTo>
                  <a:lnTo>
                    <a:pt x="8602871" y="786249"/>
                  </a:lnTo>
                  <a:lnTo>
                    <a:pt x="8600280" y="786249"/>
                  </a:lnTo>
                  <a:lnTo>
                    <a:pt x="8600280" y="787443"/>
                  </a:lnTo>
                  <a:lnTo>
                    <a:pt x="8608651" y="787443"/>
                  </a:lnTo>
                  <a:lnTo>
                    <a:pt x="8611540" y="787443"/>
                  </a:lnTo>
                  <a:lnTo>
                    <a:pt x="8618416" y="784359"/>
                  </a:lnTo>
                  <a:lnTo>
                    <a:pt x="8625491" y="782867"/>
                  </a:lnTo>
                  <a:lnTo>
                    <a:pt x="8635455" y="778091"/>
                  </a:lnTo>
                  <a:lnTo>
                    <a:pt x="8645419" y="776300"/>
                  </a:lnTo>
                  <a:lnTo>
                    <a:pt x="8660167" y="771127"/>
                  </a:lnTo>
                  <a:lnTo>
                    <a:pt x="8671128" y="770033"/>
                  </a:lnTo>
                  <a:lnTo>
                    <a:pt x="8673718" y="770729"/>
                  </a:lnTo>
                  <a:lnTo>
                    <a:pt x="8678700" y="773515"/>
                  </a:lnTo>
                  <a:lnTo>
                    <a:pt x="8680295" y="773515"/>
                  </a:lnTo>
                  <a:lnTo>
                    <a:pt x="8679299" y="770729"/>
                  </a:lnTo>
                  <a:lnTo>
                    <a:pt x="8680793" y="770729"/>
                  </a:lnTo>
                  <a:lnTo>
                    <a:pt x="8684579" y="772520"/>
                  </a:lnTo>
                  <a:lnTo>
                    <a:pt x="8685377" y="772520"/>
                  </a:lnTo>
                  <a:lnTo>
                    <a:pt x="8685975" y="771824"/>
                  </a:lnTo>
                  <a:lnTo>
                    <a:pt x="8685975" y="771028"/>
                  </a:lnTo>
                  <a:lnTo>
                    <a:pt x="8685975" y="771028"/>
                  </a:lnTo>
                  <a:lnTo>
                    <a:pt x="8689462" y="769933"/>
                  </a:lnTo>
                  <a:lnTo>
                    <a:pt x="8692053" y="771028"/>
                  </a:lnTo>
                  <a:lnTo>
                    <a:pt x="8692950" y="771028"/>
                  </a:lnTo>
                  <a:lnTo>
                    <a:pt x="8692950" y="769535"/>
                  </a:lnTo>
                  <a:lnTo>
                    <a:pt x="8692950" y="768441"/>
                  </a:lnTo>
                  <a:lnTo>
                    <a:pt x="8693548" y="767645"/>
                  </a:lnTo>
                  <a:lnTo>
                    <a:pt x="8695740" y="767645"/>
                  </a:lnTo>
                  <a:lnTo>
                    <a:pt x="8697633" y="768441"/>
                  </a:lnTo>
                  <a:lnTo>
                    <a:pt x="8699426" y="769436"/>
                  </a:lnTo>
                  <a:lnTo>
                    <a:pt x="8701320" y="770232"/>
                  </a:lnTo>
                  <a:lnTo>
                    <a:pt x="8702117" y="770232"/>
                  </a:lnTo>
                  <a:lnTo>
                    <a:pt x="8703811" y="769137"/>
                  </a:lnTo>
                  <a:lnTo>
                    <a:pt x="8704807" y="769137"/>
                  </a:lnTo>
                  <a:lnTo>
                    <a:pt x="8704807" y="769137"/>
                  </a:lnTo>
                  <a:lnTo>
                    <a:pt x="8704807" y="769137"/>
                  </a:lnTo>
                  <a:lnTo>
                    <a:pt x="8704807" y="769137"/>
                  </a:lnTo>
                  <a:lnTo>
                    <a:pt x="8704807" y="769137"/>
                  </a:lnTo>
                  <a:lnTo>
                    <a:pt x="8704807" y="770232"/>
                  </a:lnTo>
                  <a:lnTo>
                    <a:pt x="8705306" y="771028"/>
                  </a:lnTo>
                  <a:lnTo>
                    <a:pt x="8706302" y="771028"/>
                  </a:lnTo>
                  <a:lnTo>
                    <a:pt x="8706302" y="770431"/>
                  </a:lnTo>
                  <a:lnTo>
                    <a:pt x="8718359" y="761377"/>
                  </a:lnTo>
                  <a:lnTo>
                    <a:pt x="8722444" y="759587"/>
                  </a:lnTo>
                  <a:lnTo>
                    <a:pt x="8725733" y="760581"/>
                  </a:lnTo>
                  <a:lnTo>
                    <a:pt x="8723341" y="761377"/>
                  </a:lnTo>
                  <a:lnTo>
                    <a:pt x="8720850" y="762571"/>
                  </a:lnTo>
                  <a:lnTo>
                    <a:pt x="8718857" y="764561"/>
                  </a:lnTo>
                  <a:lnTo>
                    <a:pt x="8717960" y="767546"/>
                  </a:lnTo>
                  <a:lnTo>
                    <a:pt x="8720152" y="767546"/>
                  </a:lnTo>
                  <a:lnTo>
                    <a:pt x="8723540" y="770530"/>
                  </a:lnTo>
                  <a:lnTo>
                    <a:pt x="8725334" y="769734"/>
                  </a:lnTo>
                  <a:lnTo>
                    <a:pt x="8727128" y="767347"/>
                  </a:lnTo>
                  <a:lnTo>
                    <a:pt x="8728921" y="765456"/>
                  </a:lnTo>
                  <a:lnTo>
                    <a:pt x="8730914" y="764461"/>
                  </a:lnTo>
                  <a:lnTo>
                    <a:pt x="8733604" y="764461"/>
                  </a:lnTo>
                  <a:lnTo>
                    <a:pt x="8733604" y="765058"/>
                  </a:lnTo>
                  <a:lnTo>
                    <a:pt x="8733604" y="765655"/>
                  </a:lnTo>
                  <a:lnTo>
                    <a:pt x="8733604" y="765655"/>
                  </a:lnTo>
                  <a:lnTo>
                    <a:pt x="8733604" y="766352"/>
                  </a:lnTo>
                  <a:lnTo>
                    <a:pt x="8740579" y="766352"/>
                  </a:lnTo>
                  <a:lnTo>
                    <a:pt x="8742572" y="765556"/>
                  </a:lnTo>
                  <a:lnTo>
                    <a:pt x="8743968" y="764461"/>
                  </a:lnTo>
                  <a:lnTo>
                    <a:pt x="8746757" y="761676"/>
                  </a:lnTo>
                  <a:lnTo>
                    <a:pt x="8746259" y="766949"/>
                  </a:lnTo>
                  <a:lnTo>
                    <a:pt x="8749049" y="768043"/>
                  </a:lnTo>
                  <a:lnTo>
                    <a:pt x="8756622" y="766352"/>
                  </a:lnTo>
                  <a:lnTo>
                    <a:pt x="8757917" y="765655"/>
                  </a:lnTo>
                  <a:lnTo>
                    <a:pt x="8760708" y="762372"/>
                  </a:lnTo>
                  <a:lnTo>
                    <a:pt x="8761804" y="761676"/>
                  </a:lnTo>
                  <a:lnTo>
                    <a:pt x="8765690" y="761676"/>
                  </a:lnTo>
                  <a:lnTo>
                    <a:pt x="8769177" y="760780"/>
                  </a:lnTo>
                  <a:lnTo>
                    <a:pt x="8768380" y="763268"/>
                  </a:lnTo>
                  <a:lnTo>
                    <a:pt x="8769576" y="763964"/>
                  </a:lnTo>
                  <a:lnTo>
                    <a:pt x="8770572" y="763964"/>
                  </a:lnTo>
                  <a:lnTo>
                    <a:pt x="8771469" y="763964"/>
                  </a:lnTo>
                  <a:lnTo>
                    <a:pt x="8772266" y="762969"/>
                  </a:lnTo>
                  <a:lnTo>
                    <a:pt x="8773263" y="762273"/>
                  </a:lnTo>
                  <a:lnTo>
                    <a:pt x="8774159" y="762273"/>
                  </a:lnTo>
                  <a:lnTo>
                    <a:pt x="8774857" y="762969"/>
                  </a:lnTo>
                  <a:lnTo>
                    <a:pt x="8775754" y="762969"/>
                  </a:lnTo>
                  <a:lnTo>
                    <a:pt x="8776650" y="762969"/>
                  </a:lnTo>
                  <a:lnTo>
                    <a:pt x="8777647" y="765456"/>
                  </a:lnTo>
                  <a:lnTo>
                    <a:pt x="8778843" y="765456"/>
                  </a:lnTo>
                  <a:lnTo>
                    <a:pt x="8780039" y="765456"/>
                  </a:lnTo>
                  <a:lnTo>
                    <a:pt x="8780039" y="764561"/>
                  </a:lnTo>
                  <a:lnTo>
                    <a:pt x="8779541" y="763566"/>
                  </a:lnTo>
                  <a:lnTo>
                    <a:pt x="8778643" y="762472"/>
                  </a:lnTo>
                  <a:lnTo>
                    <a:pt x="8780537" y="761278"/>
                  </a:lnTo>
                  <a:lnTo>
                    <a:pt x="8782928" y="761278"/>
                  </a:lnTo>
                  <a:lnTo>
                    <a:pt x="8787711" y="762273"/>
                  </a:lnTo>
                  <a:lnTo>
                    <a:pt x="8788708" y="761079"/>
                  </a:lnTo>
                  <a:lnTo>
                    <a:pt x="8788708" y="755707"/>
                  </a:lnTo>
                  <a:lnTo>
                    <a:pt x="8789903" y="754015"/>
                  </a:lnTo>
                  <a:lnTo>
                    <a:pt x="8789903" y="756602"/>
                  </a:lnTo>
                  <a:lnTo>
                    <a:pt x="8791099" y="758094"/>
                  </a:lnTo>
                  <a:lnTo>
                    <a:pt x="8792693" y="758094"/>
                  </a:lnTo>
                  <a:lnTo>
                    <a:pt x="8794586" y="757199"/>
                  </a:lnTo>
                  <a:lnTo>
                    <a:pt x="8793988" y="759089"/>
                  </a:lnTo>
                  <a:lnTo>
                    <a:pt x="8792893" y="760681"/>
                  </a:lnTo>
                  <a:lnTo>
                    <a:pt x="8791597" y="761974"/>
                  </a:lnTo>
                  <a:lnTo>
                    <a:pt x="8790202" y="762969"/>
                  </a:lnTo>
                  <a:lnTo>
                    <a:pt x="8793192" y="763964"/>
                  </a:lnTo>
                  <a:lnTo>
                    <a:pt x="8796181" y="760979"/>
                  </a:lnTo>
                  <a:lnTo>
                    <a:pt x="8799170" y="757000"/>
                  </a:lnTo>
                  <a:lnTo>
                    <a:pt x="8802060" y="755010"/>
                  </a:lnTo>
                  <a:lnTo>
                    <a:pt x="8804950" y="755010"/>
                  </a:lnTo>
                  <a:lnTo>
                    <a:pt x="8804950" y="759388"/>
                  </a:lnTo>
                  <a:lnTo>
                    <a:pt x="8804950" y="761377"/>
                  </a:lnTo>
                  <a:lnTo>
                    <a:pt x="8804152" y="763168"/>
                  </a:lnTo>
                  <a:lnTo>
                    <a:pt x="8802657" y="764461"/>
                  </a:lnTo>
                  <a:lnTo>
                    <a:pt x="8807839" y="764461"/>
                  </a:lnTo>
                  <a:lnTo>
                    <a:pt x="8806843" y="767446"/>
                  </a:lnTo>
                  <a:lnTo>
                    <a:pt x="8807541" y="767446"/>
                  </a:lnTo>
                  <a:lnTo>
                    <a:pt x="8809035" y="766451"/>
                  </a:lnTo>
                  <a:lnTo>
                    <a:pt x="8810430" y="765158"/>
                  </a:lnTo>
                  <a:lnTo>
                    <a:pt x="8810928" y="764660"/>
                  </a:lnTo>
                  <a:lnTo>
                    <a:pt x="8811725" y="763367"/>
                  </a:lnTo>
                  <a:lnTo>
                    <a:pt x="8811725" y="762770"/>
                  </a:lnTo>
                  <a:lnTo>
                    <a:pt x="8812921" y="762770"/>
                  </a:lnTo>
                  <a:lnTo>
                    <a:pt x="8814017" y="762770"/>
                  </a:lnTo>
                  <a:lnTo>
                    <a:pt x="8815113" y="762770"/>
                  </a:lnTo>
                  <a:lnTo>
                    <a:pt x="8816210" y="761377"/>
                  </a:lnTo>
                  <a:lnTo>
                    <a:pt x="8819199" y="763168"/>
                  </a:lnTo>
                  <a:lnTo>
                    <a:pt x="8822088" y="763168"/>
                  </a:lnTo>
                  <a:lnTo>
                    <a:pt x="8824679" y="761477"/>
                  </a:lnTo>
                  <a:lnTo>
                    <a:pt x="8826971" y="758791"/>
                  </a:lnTo>
                  <a:lnTo>
                    <a:pt x="8828466" y="758791"/>
                  </a:lnTo>
                  <a:lnTo>
                    <a:pt x="8829960" y="760183"/>
                  </a:lnTo>
                  <a:lnTo>
                    <a:pt x="8831355" y="760183"/>
                  </a:lnTo>
                  <a:lnTo>
                    <a:pt x="8831854" y="757398"/>
                  </a:lnTo>
                  <a:lnTo>
                    <a:pt x="8832452" y="756303"/>
                  </a:lnTo>
                  <a:lnTo>
                    <a:pt x="8834046" y="755508"/>
                  </a:lnTo>
                  <a:lnTo>
                    <a:pt x="8837035" y="754513"/>
                  </a:lnTo>
                  <a:lnTo>
                    <a:pt x="8843113" y="751329"/>
                  </a:lnTo>
                  <a:lnTo>
                    <a:pt x="8846103" y="748941"/>
                  </a:lnTo>
                  <a:lnTo>
                    <a:pt x="8847398" y="745758"/>
                  </a:lnTo>
                  <a:lnTo>
                    <a:pt x="8846800" y="744067"/>
                  </a:lnTo>
                  <a:lnTo>
                    <a:pt x="8845505" y="745360"/>
                  </a:lnTo>
                  <a:lnTo>
                    <a:pt x="8844408" y="747648"/>
                  </a:lnTo>
                  <a:lnTo>
                    <a:pt x="8844408" y="749638"/>
                  </a:lnTo>
                  <a:lnTo>
                    <a:pt x="8842615" y="749041"/>
                  </a:lnTo>
                  <a:lnTo>
                    <a:pt x="8841718" y="747549"/>
                  </a:lnTo>
                  <a:lnTo>
                    <a:pt x="8841718" y="745658"/>
                  </a:lnTo>
                  <a:lnTo>
                    <a:pt x="8842416" y="743569"/>
                  </a:lnTo>
                  <a:lnTo>
                    <a:pt x="8839925" y="742574"/>
                  </a:lnTo>
                  <a:lnTo>
                    <a:pt x="8838928" y="742574"/>
                  </a:lnTo>
                  <a:lnTo>
                    <a:pt x="8838928" y="741480"/>
                  </a:lnTo>
                  <a:lnTo>
                    <a:pt x="8841917" y="739092"/>
                  </a:lnTo>
                  <a:lnTo>
                    <a:pt x="8846800" y="732327"/>
                  </a:lnTo>
                  <a:lnTo>
                    <a:pt x="8849391" y="729840"/>
                  </a:lnTo>
                  <a:lnTo>
                    <a:pt x="8850885" y="730735"/>
                  </a:lnTo>
                  <a:lnTo>
                    <a:pt x="8853775" y="729939"/>
                  </a:lnTo>
                  <a:lnTo>
                    <a:pt x="8855370" y="731034"/>
                  </a:lnTo>
                  <a:lnTo>
                    <a:pt x="8856864" y="729939"/>
                  </a:lnTo>
                  <a:lnTo>
                    <a:pt x="8858060" y="728745"/>
                  </a:lnTo>
                  <a:lnTo>
                    <a:pt x="8859256" y="727850"/>
                  </a:lnTo>
                  <a:lnTo>
                    <a:pt x="8863241" y="727154"/>
                  </a:lnTo>
                  <a:lnTo>
                    <a:pt x="8868523" y="725064"/>
                  </a:lnTo>
                  <a:lnTo>
                    <a:pt x="8875896" y="724070"/>
                  </a:lnTo>
                  <a:lnTo>
                    <a:pt x="8877490" y="723274"/>
                  </a:lnTo>
                  <a:lnTo>
                    <a:pt x="8878587" y="721284"/>
                  </a:lnTo>
                  <a:lnTo>
                    <a:pt x="8879483" y="718996"/>
                  </a:lnTo>
                  <a:lnTo>
                    <a:pt x="8880579" y="717105"/>
                  </a:lnTo>
                  <a:lnTo>
                    <a:pt x="8882174" y="715912"/>
                  </a:lnTo>
                  <a:lnTo>
                    <a:pt x="8883569" y="715215"/>
                  </a:lnTo>
                  <a:lnTo>
                    <a:pt x="8884565" y="714121"/>
                  </a:lnTo>
                  <a:lnTo>
                    <a:pt x="8885263" y="713325"/>
                  </a:lnTo>
                  <a:lnTo>
                    <a:pt x="8885263" y="713325"/>
                  </a:lnTo>
                  <a:lnTo>
                    <a:pt x="8885263" y="712131"/>
                  </a:lnTo>
                  <a:lnTo>
                    <a:pt x="8885861" y="709942"/>
                  </a:lnTo>
                  <a:lnTo>
                    <a:pt x="8889547" y="702083"/>
                  </a:lnTo>
                  <a:lnTo>
                    <a:pt x="8888152" y="701088"/>
                  </a:lnTo>
                  <a:lnTo>
                    <a:pt x="8887256" y="701685"/>
                  </a:lnTo>
                  <a:lnTo>
                    <a:pt x="8887256" y="702680"/>
                  </a:lnTo>
                  <a:lnTo>
                    <a:pt x="8887256" y="703277"/>
                  </a:lnTo>
                  <a:lnTo>
                    <a:pt x="8885661" y="703277"/>
                  </a:lnTo>
                  <a:lnTo>
                    <a:pt x="8885661" y="703277"/>
                  </a:lnTo>
                  <a:lnTo>
                    <a:pt x="8885661" y="702580"/>
                  </a:lnTo>
                  <a:lnTo>
                    <a:pt x="8884665" y="700889"/>
                  </a:lnTo>
                  <a:lnTo>
                    <a:pt x="8883668" y="697705"/>
                  </a:lnTo>
                  <a:lnTo>
                    <a:pt x="8884565" y="695417"/>
                  </a:lnTo>
                  <a:lnTo>
                    <a:pt x="8886658" y="694820"/>
                  </a:lnTo>
                  <a:lnTo>
                    <a:pt x="8889448" y="696710"/>
                  </a:lnTo>
                  <a:lnTo>
                    <a:pt x="8892437" y="703774"/>
                  </a:lnTo>
                  <a:lnTo>
                    <a:pt x="8893334" y="704968"/>
                  </a:lnTo>
                  <a:lnTo>
                    <a:pt x="8893334" y="704968"/>
                  </a:lnTo>
                  <a:lnTo>
                    <a:pt x="8894430" y="701386"/>
                  </a:lnTo>
                  <a:lnTo>
                    <a:pt x="8895327" y="699695"/>
                  </a:lnTo>
                  <a:lnTo>
                    <a:pt x="8896721" y="698999"/>
                  </a:lnTo>
                  <a:lnTo>
                    <a:pt x="8898316" y="698999"/>
                  </a:lnTo>
                  <a:lnTo>
                    <a:pt x="8899810" y="698999"/>
                  </a:lnTo>
                  <a:lnTo>
                    <a:pt x="8901007" y="696909"/>
                  </a:lnTo>
                  <a:lnTo>
                    <a:pt x="8899612" y="696313"/>
                  </a:lnTo>
                  <a:lnTo>
                    <a:pt x="8898714" y="695517"/>
                  </a:lnTo>
                  <a:lnTo>
                    <a:pt x="8898714" y="694522"/>
                  </a:lnTo>
                  <a:lnTo>
                    <a:pt x="8899412" y="693427"/>
                  </a:lnTo>
                  <a:lnTo>
                    <a:pt x="8900608" y="693427"/>
                  </a:lnTo>
                  <a:lnTo>
                    <a:pt x="8904594" y="693427"/>
                  </a:lnTo>
                  <a:lnTo>
                    <a:pt x="8908181" y="693427"/>
                  </a:lnTo>
                  <a:lnTo>
                    <a:pt x="8910772" y="691637"/>
                  </a:lnTo>
                  <a:lnTo>
                    <a:pt x="8914259" y="687060"/>
                  </a:lnTo>
                  <a:lnTo>
                    <a:pt x="8916950" y="685070"/>
                  </a:lnTo>
                  <a:lnTo>
                    <a:pt x="8918444" y="685070"/>
                  </a:lnTo>
                  <a:lnTo>
                    <a:pt x="8919441" y="685070"/>
                  </a:lnTo>
                  <a:lnTo>
                    <a:pt x="8920238" y="685070"/>
                  </a:lnTo>
                  <a:lnTo>
                    <a:pt x="8921234" y="683678"/>
                  </a:lnTo>
                  <a:lnTo>
                    <a:pt x="8921234" y="682086"/>
                  </a:lnTo>
                  <a:lnTo>
                    <a:pt x="8921234" y="680395"/>
                  </a:lnTo>
                  <a:lnTo>
                    <a:pt x="8921234" y="678902"/>
                  </a:lnTo>
                  <a:lnTo>
                    <a:pt x="8922131" y="677907"/>
                  </a:lnTo>
                  <a:lnTo>
                    <a:pt x="8924223" y="678803"/>
                  </a:lnTo>
                  <a:lnTo>
                    <a:pt x="8926516" y="681389"/>
                  </a:lnTo>
                  <a:lnTo>
                    <a:pt x="8928707" y="682882"/>
                  </a:lnTo>
                  <a:lnTo>
                    <a:pt x="8930800" y="680196"/>
                  </a:lnTo>
                  <a:lnTo>
                    <a:pt x="8930800" y="678405"/>
                  </a:lnTo>
                  <a:lnTo>
                    <a:pt x="8938472" y="670844"/>
                  </a:lnTo>
                  <a:lnTo>
                    <a:pt x="8940167" y="666765"/>
                  </a:lnTo>
                  <a:lnTo>
                    <a:pt x="8941861" y="659005"/>
                  </a:lnTo>
                  <a:lnTo>
                    <a:pt x="8943256" y="656219"/>
                  </a:lnTo>
                  <a:lnTo>
                    <a:pt x="8945049" y="655125"/>
                  </a:lnTo>
                  <a:lnTo>
                    <a:pt x="8946045" y="656219"/>
                  </a:lnTo>
                  <a:lnTo>
                    <a:pt x="8946045" y="658308"/>
                  </a:lnTo>
                  <a:lnTo>
                    <a:pt x="8946045" y="660398"/>
                  </a:lnTo>
                  <a:lnTo>
                    <a:pt x="8945149" y="662586"/>
                  </a:lnTo>
                  <a:lnTo>
                    <a:pt x="8942259" y="666864"/>
                  </a:lnTo>
                  <a:lnTo>
                    <a:pt x="8941661" y="669153"/>
                  </a:lnTo>
                  <a:lnTo>
                    <a:pt x="8942757" y="673828"/>
                  </a:lnTo>
                  <a:lnTo>
                    <a:pt x="8945547" y="677609"/>
                  </a:lnTo>
                  <a:lnTo>
                    <a:pt x="8949334" y="679300"/>
                  </a:lnTo>
                  <a:lnTo>
                    <a:pt x="8953021" y="677907"/>
                  </a:lnTo>
                  <a:lnTo>
                    <a:pt x="8952024" y="677310"/>
                  </a:lnTo>
                  <a:lnTo>
                    <a:pt x="8951327" y="676614"/>
                  </a:lnTo>
                  <a:lnTo>
                    <a:pt x="8951327" y="675719"/>
                  </a:lnTo>
                  <a:lnTo>
                    <a:pt x="8950829" y="674525"/>
                  </a:lnTo>
                  <a:lnTo>
                    <a:pt x="8950829" y="674525"/>
                  </a:lnTo>
                  <a:lnTo>
                    <a:pt x="8949134" y="673928"/>
                  </a:lnTo>
                  <a:lnTo>
                    <a:pt x="8948537" y="672336"/>
                  </a:lnTo>
                  <a:lnTo>
                    <a:pt x="8951625" y="665670"/>
                  </a:lnTo>
                  <a:lnTo>
                    <a:pt x="8952821" y="669153"/>
                  </a:lnTo>
                  <a:lnTo>
                    <a:pt x="8953519" y="673132"/>
                  </a:lnTo>
                  <a:lnTo>
                    <a:pt x="8952423" y="674127"/>
                  </a:lnTo>
                  <a:lnTo>
                    <a:pt x="8953718" y="674127"/>
                  </a:lnTo>
                  <a:lnTo>
                    <a:pt x="8955213" y="673132"/>
                  </a:lnTo>
                  <a:lnTo>
                    <a:pt x="8955910" y="671839"/>
                  </a:lnTo>
                  <a:lnTo>
                    <a:pt x="8956508" y="669849"/>
                  </a:lnTo>
                  <a:lnTo>
                    <a:pt x="8957803" y="668854"/>
                  </a:lnTo>
                  <a:lnTo>
                    <a:pt x="8959298" y="668058"/>
                  </a:lnTo>
                  <a:lnTo>
                    <a:pt x="8960195" y="666566"/>
                  </a:lnTo>
                  <a:lnTo>
                    <a:pt x="8959597" y="664377"/>
                  </a:lnTo>
                  <a:lnTo>
                    <a:pt x="8958302" y="661293"/>
                  </a:lnTo>
                  <a:lnTo>
                    <a:pt x="8958302" y="658408"/>
                  </a:lnTo>
                  <a:lnTo>
                    <a:pt x="8961690" y="657214"/>
                  </a:lnTo>
                  <a:lnTo>
                    <a:pt x="8960394" y="655523"/>
                  </a:lnTo>
                  <a:lnTo>
                    <a:pt x="8959597" y="655523"/>
                  </a:lnTo>
                  <a:lnTo>
                    <a:pt x="8958401" y="655523"/>
                  </a:lnTo>
                  <a:lnTo>
                    <a:pt x="8959199" y="653831"/>
                  </a:lnTo>
                  <a:lnTo>
                    <a:pt x="8959199" y="652140"/>
                  </a:lnTo>
                  <a:lnTo>
                    <a:pt x="8959199" y="650349"/>
                  </a:lnTo>
                  <a:lnTo>
                    <a:pt x="8959199" y="648559"/>
                  </a:lnTo>
                  <a:lnTo>
                    <a:pt x="8959199" y="647663"/>
                  </a:lnTo>
                  <a:lnTo>
                    <a:pt x="8957405" y="646967"/>
                  </a:lnTo>
                  <a:lnTo>
                    <a:pt x="8957405" y="646071"/>
                  </a:lnTo>
                  <a:lnTo>
                    <a:pt x="8957405" y="645276"/>
                  </a:lnTo>
                  <a:lnTo>
                    <a:pt x="8958103" y="644082"/>
                  </a:lnTo>
                  <a:lnTo>
                    <a:pt x="8958103" y="643286"/>
                  </a:lnTo>
                  <a:lnTo>
                    <a:pt x="8959298" y="639605"/>
                  </a:lnTo>
                  <a:lnTo>
                    <a:pt x="8959298" y="637615"/>
                  </a:lnTo>
                  <a:lnTo>
                    <a:pt x="8958202" y="636720"/>
                  </a:lnTo>
                  <a:lnTo>
                    <a:pt x="8956608" y="636720"/>
                  </a:lnTo>
                  <a:lnTo>
                    <a:pt x="8955312" y="636720"/>
                  </a:lnTo>
                  <a:lnTo>
                    <a:pt x="8954017" y="636720"/>
                  </a:lnTo>
                  <a:lnTo>
                    <a:pt x="8952523" y="634929"/>
                  </a:lnTo>
                  <a:lnTo>
                    <a:pt x="8953818" y="633635"/>
                  </a:lnTo>
                  <a:lnTo>
                    <a:pt x="8954814" y="633635"/>
                  </a:lnTo>
                  <a:lnTo>
                    <a:pt x="8955811" y="633635"/>
                  </a:lnTo>
                  <a:lnTo>
                    <a:pt x="8956807" y="633635"/>
                  </a:lnTo>
                  <a:lnTo>
                    <a:pt x="8957903" y="632740"/>
                  </a:lnTo>
                  <a:lnTo>
                    <a:pt x="8959298" y="630949"/>
                  </a:lnTo>
                  <a:lnTo>
                    <a:pt x="8960195" y="630054"/>
                  </a:lnTo>
                  <a:lnTo>
                    <a:pt x="8962088" y="628860"/>
                  </a:lnTo>
                  <a:lnTo>
                    <a:pt x="8964579" y="627766"/>
                  </a:lnTo>
                  <a:lnTo>
                    <a:pt x="8967967" y="627766"/>
                  </a:lnTo>
                  <a:lnTo>
                    <a:pt x="8969362" y="629954"/>
                  </a:lnTo>
                  <a:lnTo>
                    <a:pt x="8966572" y="634829"/>
                  </a:lnTo>
                  <a:lnTo>
                    <a:pt x="8965974" y="637416"/>
                  </a:lnTo>
                  <a:lnTo>
                    <a:pt x="8968366" y="638112"/>
                  </a:lnTo>
                  <a:lnTo>
                    <a:pt x="8969263" y="637416"/>
                  </a:lnTo>
                  <a:lnTo>
                    <a:pt x="8971953" y="633536"/>
                  </a:lnTo>
                  <a:lnTo>
                    <a:pt x="8974045" y="631546"/>
                  </a:lnTo>
                  <a:lnTo>
                    <a:pt x="8976238" y="629954"/>
                  </a:lnTo>
                  <a:lnTo>
                    <a:pt x="8976238" y="628661"/>
                  </a:lnTo>
                  <a:lnTo>
                    <a:pt x="8975740" y="628064"/>
                  </a:lnTo>
                  <a:lnTo>
                    <a:pt x="8974942" y="628064"/>
                  </a:lnTo>
                  <a:lnTo>
                    <a:pt x="8973847" y="628064"/>
                  </a:lnTo>
                  <a:lnTo>
                    <a:pt x="8973847" y="625279"/>
                  </a:lnTo>
                  <a:lnTo>
                    <a:pt x="8974643" y="623587"/>
                  </a:lnTo>
                  <a:lnTo>
                    <a:pt x="8975939" y="622095"/>
                  </a:lnTo>
                  <a:lnTo>
                    <a:pt x="8977035" y="624184"/>
                  </a:lnTo>
                  <a:lnTo>
                    <a:pt x="8978529" y="624184"/>
                  </a:lnTo>
                  <a:lnTo>
                    <a:pt x="8980124" y="622791"/>
                  </a:lnTo>
                  <a:lnTo>
                    <a:pt x="8981120" y="620901"/>
                  </a:lnTo>
                  <a:lnTo>
                    <a:pt x="8982416" y="620901"/>
                  </a:lnTo>
                  <a:lnTo>
                    <a:pt x="8986501" y="616424"/>
                  </a:lnTo>
                  <a:lnTo>
                    <a:pt x="8991583" y="611151"/>
                  </a:lnTo>
                  <a:lnTo>
                    <a:pt x="9002245" y="606774"/>
                  </a:lnTo>
                  <a:lnTo>
                    <a:pt x="9003740" y="607271"/>
                  </a:lnTo>
                  <a:lnTo>
                    <a:pt x="9003740" y="607271"/>
                  </a:lnTo>
                  <a:lnTo>
                    <a:pt x="9004636" y="605679"/>
                  </a:lnTo>
                  <a:lnTo>
                    <a:pt x="9006430" y="605679"/>
                  </a:lnTo>
                  <a:lnTo>
                    <a:pt x="9000651" y="603192"/>
                  </a:lnTo>
                  <a:lnTo>
                    <a:pt x="8997960" y="601402"/>
                  </a:lnTo>
                  <a:lnTo>
                    <a:pt x="8996167" y="598815"/>
                  </a:lnTo>
                  <a:lnTo>
                    <a:pt x="8989590" y="597522"/>
                  </a:lnTo>
                  <a:lnTo>
                    <a:pt x="8990686" y="595532"/>
                  </a:lnTo>
                  <a:lnTo>
                    <a:pt x="8992978" y="593244"/>
                  </a:lnTo>
                  <a:lnTo>
                    <a:pt x="8997263" y="590358"/>
                  </a:lnTo>
                  <a:lnTo>
                    <a:pt x="9000152" y="589861"/>
                  </a:lnTo>
                  <a:lnTo>
                    <a:pt x="9004038" y="589861"/>
                  </a:lnTo>
                  <a:lnTo>
                    <a:pt x="9004038" y="589861"/>
                  </a:lnTo>
                  <a:lnTo>
                    <a:pt x="9005633" y="589861"/>
                  </a:lnTo>
                  <a:lnTo>
                    <a:pt x="9008423" y="588866"/>
                  </a:lnTo>
                  <a:lnTo>
                    <a:pt x="9008423" y="591254"/>
                  </a:lnTo>
                  <a:lnTo>
                    <a:pt x="9008423" y="591950"/>
                  </a:lnTo>
                  <a:lnTo>
                    <a:pt x="9008423" y="592746"/>
                  </a:lnTo>
                  <a:lnTo>
                    <a:pt x="9023071" y="582797"/>
                  </a:lnTo>
                  <a:lnTo>
                    <a:pt x="9028252" y="584190"/>
                  </a:lnTo>
                  <a:lnTo>
                    <a:pt x="9038216" y="589463"/>
                  </a:lnTo>
                  <a:lnTo>
                    <a:pt x="9043796" y="589463"/>
                  </a:lnTo>
                  <a:lnTo>
                    <a:pt x="9042501" y="586677"/>
                  </a:lnTo>
                  <a:lnTo>
                    <a:pt x="9046088" y="580410"/>
                  </a:lnTo>
                  <a:lnTo>
                    <a:pt x="9043796" y="578917"/>
                  </a:lnTo>
                  <a:lnTo>
                    <a:pt x="9047383" y="578917"/>
                  </a:lnTo>
                  <a:lnTo>
                    <a:pt x="9048081" y="579912"/>
                  </a:lnTo>
                  <a:lnTo>
                    <a:pt x="9047483" y="582001"/>
                  </a:lnTo>
                  <a:lnTo>
                    <a:pt x="9047483" y="585583"/>
                  </a:lnTo>
                  <a:lnTo>
                    <a:pt x="9048679" y="588269"/>
                  </a:lnTo>
                  <a:lnTo>
                    <a:pt x="9050971" y="588866"/>
                  </a:lnTo>
                  <a:lnTo>
                    <a:pt x="9057547" y="587573"/>
                  </a:lnTo>
                  <a:lnTo>
                    <a:pt x="9060038" y="585384"/>
                  </a:lnTo>
                  <a:lnTo>
                    <a:pt x="9061334" y="584489"/>
                  </a:lnTo>
                  <a:lnTo>
                    <a:pt x="9061932" y="584489"/>
                  </a:lnTo>
                  <a:lnTo>
                    <a:pt x="9063725" y="585384"/>
                  </a:lnTo>
                  <a:lnTo>
                    <a:pt x="9064821" y="585384"/>
                  </a:lnTo>
                  <a:lnTo>
                    <a:pt x="9073092" y="582598"/>
                  </a:lnTo>
                  <a:lnTo>
                    <a:pt x="9074387" y="581305"/>
                  </a:lnTo>
                  <a:lnTo>
                    <a:pt x="9075483" y="582399"/>
                  </a:lnTo>
                  <a:lnTo>
                    <a:pt x="9083455" y="579614"/>
                  </a:lnTo>
                  <a:lnTo>
                    <a:pt x="9084651" y="578619"/>
                  </a:lnTo>
                  <a:lnTo>
                    <a:pt x="9090031" y="572550"/>
                  </a:lnTo>
                  <a:lnTo>
                    <a:pt x="9096209" y="567377"/>
                  </a:lnTo>
                  <a:lnTo>
                    <a:pt x="9100693" y="565885"/>
                  </a:lnTo>
                  <a:lnTo>
                    <a:pt x="9104280" y="561905"/>
                  </a:lnTo>
                  <a:lnTo>
                    <a:pt x="9106572" y="560711"/>
                  </a:lnTo>
                  <a:lnTo>
                    <a:pt x="9105875" y="562800"/>
                  </a:lnTo>
                  <a:lnTo>
                    <a:pt x="9105875" y="564691"/>
                  </a:lnTo>
                  <a:lnTo>
                    <a:pt x="9106771" y="566183"/>
                  </a:lnTo>
                  <a:lnTo>
                    <a:pt x="9108465" y="566680"/>
                  </a:lnTo>
                  <a:lnTo>
                    <a:pt x="9109462" y="566083"/>
                  </a:lnTo>
                  <a:lnTo>
                    <a:pt x="9110060" y="564591"/>
                  </a:lnTo>
                  <a:lnTo>
                    <a:pt x="9110658" y="560711"/>
                  </a:lnTo>
                  <a:lnTo>
                    <a:pt x="9112252" y="556632"/>
                  </a:lnTo>
                  <a:lnTo>
                    <a:pt x="9114344" y="555339"/>
                  </a:lnTo>
                  <a:lnTo>
                    <a:pt x="9116935" y="555339"/>
                  </a:lnTo>
                  <a:lnTo>
                    <a:pt x="9120224" y="554046"/>
                  </a:lnTo>
                  <a:lnTo>
                    <a:pt x="9119625" y="555637"/>
                  </a:lnTo>
                  <a:lnTo>
                    <a:pt x="9119625" y="557528"/>
                  </a:lnTo>
                  <a:lnTo>
                    <a:pt x="9119625" y="559418"/>
                  </a:lnTo>
                  <a:lnTo>
                    <a:pt x="9120224" y="561010"/>
                  </a:lnTo>
                  <a:lnTo>
                    <a:pt x="9121220" y="561905"/>
                  </a:lnTo>
                  <a:lnTo>
                    <a:pt x="9122216" y="561905"/>
                  </a:lnTo>
                  <a:lnTo>
                    <a:pt x="9127796" y="560214"/>
                  </a:lnTo>
                  <a:lnTo>
                    <a:pt x="9131682" y="556632"/>
                  </a:lnTo>
                  <a:lnTo>
                    <a:pt x="9134174" y="556632"/>
                  </a:lnTo>
                  <a:lnTo>
                    <a:pt x="9133376" y="558224"/>
                  </a:lnTo>
                  <a:lnTo>
                    <a:pt x="9131483" y="560711"/>
                  </a:lnTo>
                  <a:lnTo>
                    <a:pt x="9130686" y="562601"/>
                  </a:lnTo>
                  <a:lnTo>
                    <a:pt x="9143640" y="559119"/>
                  </a:lnTo>
                  <a:lnTo>
                    <a:pt x="9144238" y="558522"/>
                  </a:lnTo>
                  <a:lnTo>
                    <a:pt x="9144238" y="557727"/>
                  </a:lnTo>
                  <a:lnTo>
                    <a:pt x="9144238" y="556931"/>
                  </a:lnTo>
                  <a:lnTo>
                    <a:pt x="9145035" y="556931"/>
                  </a:lnTo>
                  <a:lnTo>
                    <a:pt x="9145931" y="557528"/>
                  </a:lnTo>
                  <a:lnTo>
                    <a:pt x="9146629" y="560015"/>
                  </a:lnTo>
                  <a:lnTo>
                    <a:pt x="9147327" y="560711"/>
                  </a:lnTo>
                  <a:lnTo>
                    <a:pt x="9149419" y="560114"/>
                  </a:lnTo>
                  <a:lnTo>
                    <a:pt x="9150416" y="558721"/>
                  </a:lnTo>
                  <a:lnTo>
                    <a:pt x="9150416" y="556831"/>
                  </a:lnTo>
                  <a:lnTo>
                    <a:pt x="9148921" y="554742"/>
                  </a:lnTo>
                  <a:lnTo>
                    <a:pt x="9151013" y="553747"/>
                  </a:lnTo>
                  <a:lnTo>
                    <a:pt x="9152109" y="553747"/>
                  </a:lnTo>
                  <a:lnTo>
                    <a:pt x="9152109" y="183355"/>
                  </a:lnTo>
                  <a:lnTo>
                    <a:pt x="9148921" y="183355"/>
                  </a:lnTo>
                  <a:lnTo>
                    <a:pt x="9149917" y="182261"/>
                  </a:lnTo>
                  <a:lnTo>
                    <a:pt x="9149917" y="181067"/>
                  </a:lnTo>
                  <a:lnTo>
                    <a:pt x="9149917" y="179873"/>
                  </a:lnTo>
                  <a:lnTo>
                    <a:pt x="9149320" y="178480"/>
                  </a:lnTo>
                  <a:lnTo>
                    <a:pt x="9142842" y="182360"/>
                  </a:lnTo>
                  <a:lnTo>
                    <a:pt x="9136266" y="184649"/>
                  </a:lnTo>
                  <a:lnTo>
                    <a:pt x="9140252" y="178381"/>
                  </a:lnTo>
                  <a:lnTo>
                    <a:pt x="9147924" y="174401"/>
                  </a:lnTo>
                  <a:lnTo>
                    <a:pt x="9151511" y="173407"/>
                  </a:lnTo>
                  <a:lnTo>
                    <a:pt x="9151511" y="80485"/>
                  </a:lnTo>
                  <a:lnTo>
                    <a:pt x="9151511" y="80485"/>
                  </a:lnTo>
                  <a:lnTo>
                    <a:pt x="9147825" y="78396"/>
                  </a:lnTo>
                  <a:lnTo>
                    <a:pt x="9146828" y="76705"/>
                  </a:lnTo>
                  <a:lnTo>
                    <a:pt x="9138857" y="81381"/>
                  </a:lnTo>
                  <a:lnTo>
                    <a:pt x="9136366" y="78993"/>
                  </a:lnTo>
                  <a:lnTo>
                    <a:pt x="9133576" y="80087"/>
                  </a:lnTo>
                  <a:lnTo>
                    <a:pt x="9130686" y="81978"/>
                  </a:lnTo>
                  <a:lnTo>
                    <a:pt x="9127697" y="82674"/>
                  </a:lnTo>
                  <a:lnTo>
                    <a:pt x="9128793" y="79888"/>
                  </a:lnTo>
                  <a:lnTo>
                    <a:pt x="9129391" y="78993"/>
                  </a:lnTo>
                  <a:lnTo>
                    <a:pt x="9117134" y="76705"/>
                  </a:lnTo>
                  <a:lnTo>
                    <a:pt x="9111056" y="77401"/>
                  </a:lnTo>
                  <a:lnTo>
                    <a:pt x="9108266" y="77401"/>
                  </a:lnTo>
                  <a:lnTo>
                    <a:pt x="9106771" y="75511"/>
                  </a:lnTo>
                  <a:lnTo>
                    <a:pt x="9108565" y="74317"/>
                  </a:lnTo>
                  <a:lnTo>
                    <a:pt x="9100593" y="76108"/>
                  </a:lnTo>
                  <a:lnTo>
                    <a:pt x="9096707" y="76108"/>
                  </a:lnTo>
                  <a:lnTo>
                    <a:pt x="9097505" y="74118"/>
                  </a:lnTo>
                  <a:lnTo>
                    <a:pt x="9094615" y="75014"/>
                  </a:lnTo>
                  <a:lnTo>
                    <a:pt x="9090231" y="75014"/>
                  </a:lnTo>
                  <a:lnTo>
                    <a:pt x="9085547" y="73123"/>
                  </a:lnTo>
                  <a:lnTo>
                    <a:pt x="9082757" y="71034"/>
                  </a:lnTo>
                  <a:lnTo>
                    <a:pt x="9080167" y="69542"/>
                  </a:lnTo>
                  <a:lnTo>
                    <a:pt x="9076181" y="69542"/>
                  </a:lnTo>
                  <a:lnTo>
                    <a:pt x="9072195" y="70338"/>
                  </a:lnTo>
                  <a:lnTo>
                    <a:pt x="9069305" y="71830"/>
                  </a:lnTo>
                  <a:lnTo>
                    <a:pt x="9067611" y="70736"/>
                  </a:lnTo>
                  <a:lnTo>
                    <a:pt x="9056252" y="69542"/>
                  </a:lnTo>
                  <a:lnTo>
                    <a:pt x="9052465" y="70338"/>
                  </a:lnTo>
                  <a:lnTo>
                    <a:pt x="9050771" y="73422"/>
                  </a:lnTo>
                  <a:lnTo>
                    <a:pt x="9049476" y="75014"/>
                  </a:lnTo>
                  <a:lnTo>
                    <a:pt x="9039512" y="74118"/>
                  </a:lnTo>
                  <a:lnTo>
                    <a:pt x="9036223" y="75014"/>
                  </a:lnTo>
                  <a:lnTo>
                    <a:pt x="9033832" y="76804"/>
                  </a:lnTo>
                  <a:lnTo>
                    <a:pt x="9031740" y="79490"/>
                  </a:lnTo>
                  <a:lnTo>
                    <a:pt x="9029747" y="83072"/>
                  </a:lnTo>
                  <a:lnTo>
                    <a:pt x="9028949" y="87051"/>
                  </a:lnTo>
                  <a:lnTo>
                    <a:pt x="9031341" y="89340"/>
                  </a:lnTo>
                  <a:lnTo>
                    <a:pt x="9037918" y="92125"/>
                  </a:lnTo>
                  <a:lnTo>
                    <a:pt x="9039213" y="93518"/>
                  </a:lnTo>
                  <a:lnTo>
                    <a:pt x="9039910" y="94712"/>
                  </a:lnTo>
                  <a:lnTo>
                    <a:pt x="9040907" y="95607"/>
                  </a:lnTo>
                  <a:lnTo>
                    <a:pt x="9042700" y="95607"/>
                  </a:lnTo>
                  <a:lnTo>
                    <a:pt x="9044594" y="95607"/>
                  </a:lnTo>
                  <a:lnTo>
                    <a:pt x="9045889" y="95607"/>
                  </a:lnTo>
                  <a:lnTo>
                    <a:pt x="9046885" y="94613"/>
                  </a:lnTo>
                  <a:lnTo>
                    <a:pt x="9047683" y="93021"/>
                  </a:lnTo>
                  <a:lnTo>
                    <a:pt x="9049676" y="91031"/>
                  </a:lnTo>
                  <a:lnTo>
                    <a:pt x="9052565" y="89439"/>
                  </a:lnTo>
                  <a:lnTo>
                    <a:pt x="9058544" y="87449"/>
                  </a:lnTo>
                  <a:lnTo>
                    <a:pt x="9062131" y="87449"/>
                  </a:lnTo>
                  <a:lnTo>
                    <a:pt x="9076380" y="89439"/>
                  </a:lnTo>
                  <a:lnTo>
                    <a:pt x="9084551" y="93817"/>
                  </a:lnTo>
                  <a:lnTo>
                    <a:pt x="9087440" y="94414"/>
                  </a:lnTo>
                  <a:lnTo>
                    <a:pt x="9097405" y="93817"/>
                  </a:lnTo>
                  <a:lnTo>
                    <a:pt x="9100394" y="94414"/>
                  </a:lnTo>
                  <a:lnTo>
                    <a:pt x="9104380" y="95707"/>
                  </a:lnTo>
                  <a:lnTo>
                    <a:pt x="9107469" y="97597"/>
                  </a:lnTo>
                  <a:lnTo>
                    <a:pt x="9107469" y="99786"/>
                  </a:lnTo>
                  <a:lnTo>
                    <a:pt x="9104480" y="100681"/>
                  </a:lnTo>
                  <a:lnTo>
                    <a:pt x="9065320" y="95010"/>
                  </a:lnTo>
                  <a:lnTo>
                    <a:pt x="9061732" y="95806"/>
                  </a:lnTo>
                  <a:lnTo>
                    <a:pt x="9053562" y="101079"/>
                  </a:lnTo>
                  <a:lnTo>
                    <a:pt x="9050971" y="101079"/>
                  </a:lnTo>
                  <a:lnTo>
                    <a:pt x="9044892" y="100482"/>
                  </a:lnTo>
                  <a:lnTo>
                    <a:pt x="9042601" y="101577"/>
                  </a:lnTo>
                  <a:lnTo>
                    <a:pt x="9040608" y="102969"/>
                  </a:lnTo>
                  <a:lnTo>
                    <a:pt x="9014700" y="109635"/>
                  </a:lnTo>
                  <a:lnTo>
                    <a:pt x="8998160" y="117097"/>
                  </a:lnTo>
                  <a:lnTo>
                    <a:pt x="8986601" y="120479"/>
                  </a:lnTo>
                  <a:lnTo>
                    <a:pt x="8974942" y="121673"/>
                  </a:lnTo>
                  <a:lnTo>
                    <a:pt x="8973348" y="122569"/>
                  </a:lnTo>
                  <a:lnTo>
                    <a:pt x="8972451" y="124658"/>
                  </a:lnTo>
                  <a:lnTo>
                    <a:pt x="8971754" y="127145"/>
                  </a:lnTo>
                  <a:lnTo>
                    <a:pt x="8971056" y="128936"/>
                  </a:lnTo>
                  <a:lnTo>
                    <a:pt x="8969960" y="130528"/>
                  </a:lnTo>
                  <a:lnTo>
                    <a:pt x="8969163" y="131224"/>
                  </a:lnTo>
                  <a:lnTo>
                    <a:pt x="8959199" y="138188"/>
                  </a:lnTo>
                  <a:lnTo>
                    <a:pt x="8957106" y="140476"/>
                  </a:lnTo>
                  <a:lnTo>
                    <a:pt x="8954714" y="142565"/>
                  </a:lnTo>
                  <a:lnTo>
                    <a:pt x="8948836" y="145451"/>
                  </a:lnTo>
                  <a:lnTo>
                    <a:pt x="8946245" y="148435"/>
                  </a:lnTo>
                  <a:lnTo>
                    <a:pt x="8947739" y="149331"/>
                  </a:lnTo>
                  <a:lnTo>
                    <a:pt x="8948935" y="151022"/>
                  </a:lnTo>
                  <a:lnTo>
                    <a:pt x="8949533" y="153111"/>
                  </a:lnTo>
                  <a:lnTo>
                    <a:pt x="8948836" y="155698"/>
                  </a:lnTo>
                  <a:lnTo>
                    <a:pt x="8951526" y="156494"/>
                  </a:lnTo>
                  <a:lnTo>
                    <a:pt x="8954117" y="156494"/>
                  </a:lnTo>
                  <a:lnTo>
                    <a:pt x="8953220" y="156494"/>
                  </a:lnTo>
                  <a:lnTo>
                    <a:pt x="8953220" y="157290"/>
                  </a:lnTo>
                  <a:lnTo>
                    <a:pt x="8952721" y="158682"/>
                  </a:lnTo>
                  <a:lnTo>
                    <a:pt x="8952721" y="160473"/>
                  </a:lnTo>
                  <a:lnTo>
                    <a:pt x="8952721" y="162662"/>
                  </a:lnTo>
                  <a:lnTo>
                    <a:pt x="8951227" y="162662"/>
                  </a:lnTo>
                  <a:lnTo>
                    <a:pt x="8948636" y="161866"/>
                  </a:lnTo>
                  <a:lnTo>
                    <a:pt x="8947042" y="161866"/>
                  </a:lnTo>
                  <a:lnTo>
                    <a:pt x="8947042" y="162662"/>
                  </a:lnTo>
                  <a:lnTo>
                    <a:pt x="8947042" y="166741"/>
                  </a:lnTo>
                  <a:lnTo>
                    <a:pt x="8947042" y="167935"/>
                  </a:lnTo>
                  <a:lnTo>
                    <a:pt x="8945547" y="167935"/>
                  </a:lnTo>
                  <a:lnTo>
                    <a:pt x="8941861" y="167338"/>
                  </a:lnTo>
                  <a:lnTo>
                    <a:pt x="8940465" y="168134"/>
                  </a:lnTo>
                  <a:lnTo>
                    <a:pt x="8939270" y="169129"/>
                  </a:lnTo>
                  <a:lnTo>
                    <a:pt x="8937576" y="169726"/>
                  </a:lnTo>
                  <a:lnTo>
                    <a:pt x="8934387" y="169726"/>
                  </a:lnTo>
                  <a:lnTo>
                    <a:pt x="8932892" y="169129"/>
                  </a:lnTo>
                  <a:lnTo>
                    <a:pt x="8931996" y="167835"/>
                  </a:lnTo>
                  <a:lnTo>
                    <a:pt x="8931199" y="166542"/>
                  </a:lnTo>
                  <a:lnTo>
                    <a:pt x="8930501" y="165846"/>
                  </a:lnTo>
                  <a:lnTo>
                    <a:pt x="8929106" y="165846"/>
                  </a:lnTo>
                  <a:lnTo>
                    <a:pt x="8927412" y="166641"/>
                  </a:lnTo>
                  <a:lnTo>
                    <a:pt x="8925918" y="167736"/>
                  </a:lnTo>
                  <a:lnTo>
                    <a:pt x="8924821" y="168830"/>
                  </a:lnTo>
                  <a:lnTo>
                    <a:pt x="8922629" y="170820"/>
                  </a:lnTo>
                  <a:lnTo>
                    <a:pt x="8919341" y="166940"/>
                  </a:lnTo>
                  <a:lnTo>
                    <a:pt x="8916551" y="166940"/>
                  </a:lnTo>
                  <a:lnTo>
                    <a:pt x="8915754" y="168333"/>
                  </a:lnTo>
                  <a:lnTo>
                    <a:pt x="8915754" y="170422"/>
                  </a:lnTo>
                  <a:lnTo>
                    <a:pt x="8915754" y="172113"/>
                  </a:lnTo>
                  <a:lnTo>
                    <a:pt x="8913960" y="172909"/>
                  </a:lnTo>
                  <a:lnTo>
                    <a:pt x="8908181" y="172909"/>
                  </a:lnTo>
                  <a:lnTo>
                    <a:pt x="8907185" y="173805"/>
                  </a:lnTo>
                  <a:lnTo>
                    <a:pt x="8907185" y="175894"/>
                  </a:lnTo>
                  <a:lnTo>
                    <a:pt x="8905789" y="177386"/>
                  </a:lnTo>
                  <a:lnTo>
                    <a:pt x="8897619" y="182559"/>
                  </a:lnTo>
                  <a:lnTo>
                    <a:pt x="8893134" y="187733"/>
                  </a:lnTo>
                  <a:lnTo>
                    <a:pt x="8890444" y="190021"/>
                  </a:lnTo>
                  <a:lnTo>
                    <a:pt x="8887654" y="191016"/>
                  </a:lnTo>
                  <a:lnTo>
                    <a:pt x="8884366" y="191513"/>
                  </a:lnTo>
                  <a:lnTo>
                    <a:pt x="8878188" y="193901"/>
                  </a:lnTo>
                  <a:lnTo>
                    <a:pt x="8859455" y="195592"/>
                  </a:lnTo>
                  <a:lnTo>
                    <a:pt x="8846701" y="193006"/>
                  </a:lnTo>
                  <a:lnTo>
                    <a:pt x="8843711" y="193006"/>
                  </a:lnTo>
                  <a:lnTo>
                    <a:pt x="8842216" y="194299"/>
                  </a:lnTo>
                  <a:lnTo>
                    <a:pt x="8843312" y="197582"/>
                  </a:lnTo>
                  <a:lnTo>
                    <a:pt x="8846103" y="199771"/>
                  </a:lnTo>
                  <a:lnTo>
                    <a:pt x="8852679" y="200666"/>
                  </a:lnTo>
                  <a:lnTo>
                    <a:pt x="8855868" y="201761"/>
                  </a:lnTo>
                  <a:lnTo>
                    <a:pt x="8855868" y="203054"/>
                  </a:lnTo>
                  <a:lnTo>
                    <a:pt x="8852579" y="204248"/>
                  </a:lnTo>
                  <a:lnTo>
                    <a:pt x="8849690" y="203551"/>
                  </a:lnTo>
                  <a:lnTo>
                    <a:pt x="8846800" y="202258"/>
                  </a:lnTo>
                  <a:lnTo>
                    <a:pt x="8844508" y="202258"/>
                  </a:lnTo>
                  <a:lnTo>
                    <a:pt x="8843113" y="203352"/>
                  </a:lnTo>
                  <a:lnTo>
                    <a:pt x="8843113" y="204447"/>
                  </a:lnTo>
                  <a:lnTo>
                    <a:pt x="8843910" y="205740"/>
                  </a:lnTo>
                  <a:lnTo>
                    <a:pt x="8844408" y="207730"/>
                  </a:lnTo>
                  <a:lnTo>
                    <a:pt x="8844408" y="209521"/>
                  </a:lnTo>
                  <a:lnTo>
                    <a:pt x="8843412" y="209023"/>
                  </a:lnTo>
                  <a:lnTo>
                    <a:pt x="8842316" y="207630"/>
                  </a:lnTo>
                  <a:lnTo>
                    <a:pt x="8841319" y="207033"/>
                  </a:lnTo>
                  <a:lnTo>
                    <a:pt x="8839925" y="208227"/>
                  </a:lnTo>
                  <a:lnTo>
                    <a:pt x="8837533" y="212207"/>
                  </a:lnTo>
                  <a:lnTo>
                    <a:pt x="8836537" y="213003"/>
                  </a:lnTo>
                  <a:lnTo>
                    <a:pt x="8836537" y="213699"/>
                  </a:lnTo>
                  <a:lnTo>
                    <a:pt x="8832452" y="217281"/>
                  </a:lnTo>
                  <a:lnTo>
                    <a:pt x="8830657" y="219569"/>
                  </a:lnTo>
                  <a:lnTo>
                    <a:pt x="8825277" y="225140"/>
                  </a:lnTo>
                  <a:lnTo>
                    <a:pt x="8822985" y="226234"/>
                  </a:lnTo>
                  <a:lnTo>
                    <a:pt x="8821291" y="226234"/>
                  </a:lnTo>
                  <a:lnTo>
                    <a:pt x="8815612" y="228423"/>
                  </a:lnTo>
                  <a:lnTo>
                    <a:pt x="8812224" y="228423"/>
                  </a:lnTo>
                  <a:lnTo>
                    <a:pt x="8810828" y="229020"/>
                  </a:lnTo>
                  <a:lnTo>
                    <a:pt x="8808537" y="232303"/>
                  </a:lnTo>
                  <a:lnTo>
                    <a:pt x="8810230" y="233696"/>
                  </a:lnTo>
                  <a:lnTo>
                    <a:pt x="8816408" y="235387"/>
                  </a:lnTo>
                  <a:lnTo>
                    <a:pt x="8816408" y="237775"/>
                  </a:lnTo>
                  <a:lnTo>
                    <a:pt x="8815312" y="239466"/>
                  </a:lnTo>
                  <a:lnTo>
                    <a:pt x="8813818" y="240461"/>
                  </a:lnTo>
                  <a:lnTo>
                    <a:pt x="8812024" y="240461"/>
                  </a:lnTo>
                  <a:lnTo>
                    <a:pt x="8812024" y="239864"/>
                  </a:lnTo>
                  <a:lnTo>
                    <a:pt x="8809732" y="236780"/>
                  </a:lnTo>
                  <a:lnTo>
                    <a:pt x="8808437" y="235686"/>
                  </a:lnTo>
                  <a:lnTo>
                    <a:pt x="8807142" y="235686"/>
                  </a:lnTo>
                  <a:lnTo>
                    <a:pt x="8806444" y="235686"/>
                  </a:lnTo>
                  <a:lnTo>
                    <a:pt x="8804152" y="237278"/>
                  </a:lnTo>
                  <a:lnTo>
                    <a:pt x="8797277" y="240163"/>
                  </a:lnTo>
                  <a:lnTo>
                    <a:pt x="8790401" y="241555"/>
                  </a:lnTo>
                  <a:lnTo>
                    <a:pt x="8775355" y="242152"/>
                  </a:lnTo>
                  <a:lnTo>
                    <a:pt x="8775355" y="240859"/>
                  </a:lnTo>
                  <a:lnTo>
                    <a:pt x="8784722" y="239864"/>
                  </a:lnTo>
                  <a:lnTo>
                    <a:pt x="8793690" y="237278"/>
                  </a:lnTo>
                  <a:lnTo>
                    <a:pt x="8802359" y="233099"/>
                  </a:lnTo>
                  <a:lnTo>
                    <a:pt x="8805746" y="230214"/>
                  </a:lnTo>
                  <a:lnTo>
                    <a:pt x="8804850" y="227428"/>
                  </a:lnTo>
                  <a:lnTo>
                    <a:pt x="8802757" y="227428"/>
                  </a:lnTo>
                  <a:lnTo>
                    <a:pt x="8795782" y="229219"/>
                  </a:lnTo>
                  <a:lnTo>
                    <a:pt x="8780337" y="230512"/>
                  </a:lnTo>
                  <a:lnTo>
                    <a:pt x="8778344" y="230015"/>
                  </a:lnTo>
                  <a:lnTo>
                    <a:pt x="8776750" y="228523"/>
                  </a:lnTo>
                  <a:lnTo>
                    <a:pt x="8776750" y="226732"/>
                  </a:lnTo>
                  <a:lnTo>
                    <a:pt x="8777548" y="225339"/>
                  </a:lnTo>
                  <a:lnTo>
                    <a:pt x="8778643" y="224643"/>
                  </a:lnTo>
                  <a:lnTo>
                    <a:pt x="8779241" y="224643"/>
                  </a:lnTo>
                  <a:lnTo>
                    <a:pt x="8779241" y="225240"/>
                  </a:lnTo>
                  <a:lnTo>
                    <a:pt x="8782330" y="227428"/>
                  </a:lnTo>
                  <a:lnTo>
                    <a:pt x="8783326" y="224344"/>
                  </a:lnTo>
                  <a:lnTo>
                    <a:pt x="8784821" y="222056"/>
                  </a:lnTo>
                  <a:lnTo>
                    <a:pt x="8787014" y="220763"/>
                  </a:lnTo>
                  <a:lnTo>
                    <a:pt x="8790103" y="220265"/>
                  </a:lnTo>
                  <a:lnTo>
                    <a:pt x="8792394" y="219469"/>
                  </a:lnTo>
                  <a:lnTo>
                    <a:pt x="8798971" y="215490"/>
                  </a:lnTo>
                  <a:lnTo>
                    <a:pt x="8803056" y="211908"/>
                  </a:lnTo>
                  <a:lnTo>
                    <a:pt x="8811825" y="208227"/>
                  </a:lnTo>
                  <a:lnTo>
                    <a:pt x="8815213" y="208227"/>
                  </a:lnTo>
                  <a:lnTo>
                    <a:pt x="8818302" y="208824"/>
                  </a:lnTo>
                  <a:lnTo>
                    <a:pt x="8821192" y="210316"/>
                  </a:lnTo>
                  <a:lnTo>
                    <a:pt x="8823882" y="212306"/>
                  </a:lnTo>
                  <a:lnTo>
                    <a:pt x="8823882" y="208824"/>
                  </a:lnTo>
                  <a:lnTo>
                    <a:pt x="8823882" y="205243"/>
                  </a:lnTo>
                  <a:lnTo>
                    <a:pt x="8822786" y="202158"/>
                  </a:lnTo>
                  <a:lnTo>
                    <a:pt x="8821092" y="200169"/>
                  </a:lnTo>
                  <a:lnTo>
                    <a:pt x="8820195" y="200169"/>
                  </a:lnTo>
                  <a:lnTo>
                    <a:pt x="8816210" y="201363"/>
                  </a:lnTo>
                  <a:lnTo>
                    <a:pt x="8806245" y="194498"/>
                  </a:lnTo>
                  <a:lnTo>
                    <a:pt x="8797177" y="192110"/>
                  </a:lnTo>
                  <a:lnTo>
                    <a:pt x="8794387" y="190817"/>
                  </a:lnTo>
                  <a:lnTo>
                    <a:pt x="8784423" y="182758"/>
                  </a:lnTo>
                  <a:lnTo>
                    <a:pt x="8781732" y="181366"/>
                  </a:lnTo>
                  <a:lnTo>
                    <a:pt x="8778544" y="180868"/>
                  </a:lnTo>
                  <a:lnTo>
                    <a:pt x="8777548" y="180172"/>
                  </a:lnTo>
                  <a:lnTo>
                    <a:pt x="8773661" y="175894"/>
                  </a:lnTo>
                  <a:lnTo>
                    <a:pt x="8748950" y="165945"/>
                  </a:lnTo>
                  <a:lnTo>
                    <a:pt x="8738088" y="165249"/>
                  </a:lnTo>
                  <a:lnTo>
                    <a:pt x="8727526" y="162065"/>
                  </a:lnTo>
                  <a:lnTo>
                    <a:pt x="8723740" y="162065"/>
                  </a:lnTo>
                  <a:lnTo>
                    <a:pt x="8715569" y="165149"/>
                  </a:lnTo>
                  <a:lnTo>
                    <a:pt x="8712978" y="164552"/>
                  </a:lnTo>
                  <a:lnTo>
                    <a:pt x="8711184" y="162065"/>
                  </a:lnTo>
                  <a:lnTo>
                    <a:pt x="8712579" y="160175"/>
                  </a:lnTo>
                  <a:lnTo>
                    <a:pt x="8717661" y="156693"/>
                  </a:lnTo>
                  <a:lnTo>
                    <a:pt x="8719455" y="153708"/>
                  </a:lnTo>
                  <a:lnTo>
                    <a:pt x="8720451" y="150127"/>
                  </a:lnTo>
                  <a:lnTo>
                    <a:pt x="8720451" y="146644"/>
                  </a:lnTo>
                  <a:lnTo>
                    <a:pt x="8718459" y="143859"/>
                  </a:lnTo>
                  <a:lnTo>
                    <a:pt x="8720950" y="143162"/>
                  </a:lnTo>
                  <a:lnTo>
                    <a:pt x="8722743" y="145650"/>
                  </a:lnTo>
                  <a:lnTo>
                    <a:pt x="8725832" y="152912"/>
                  </a:lnTo>
                  <a:lnTo>
                    <a:pt x="8728323" y="154305"/>
                  </a:lnTo>
                  <a:lnTo>
                    <a:pt x="8736594" y="156792"/>
                  </a:lnTo>
                  <a:lnTo>
                    <a:pt x="8742273" y="160274"/>
                  </a:lnTo>
                  <a:lnTo>
                    <a:pt x="8766188" y="165647"/>
                  </a:lnTo>
                  <a:lnTo>
                    <a:pt x="8774359" y="171118"/>
                  </a:lnTo>
                  <a:lnTo>
                    <a:pt x="8780636" y="172810"/>
                  </a:lnTo>
                  <a:lnTo>
                    <a:pt x="8782828" y="174899"/>
                  </a:lnTo>
                  <a:lnTo>
                    <a:pt x="8784622" y="177585"/>
                  </a:lnTo>
                  <a:lnTo>
                    <a:pt x="8787014" y="180271"/>
                  </a:lnTo>
                  <a:lnTo>
                    <a:pt x="8795384" y="184748"/>
                  </a:lnTo>
                  <a:lnTo>
                    <a:pt x="8800764" y="189225"/>
                  </a:lnTo>
                  <a:lnTo>
                    <a:pt x="8806743" y="190916"/>
                  </a:lnTo>
                  <a:lnTo>
                    <a:pt x="8809633" y="192409"/>
                  </a:lnTo>
                  <a:lnTo>
                    <a:pt x="8810430" y="192409"/>
                  </a:lnTo>
                  <a:lnTo>
                    <a:pt x="8811028" y="192409"/>
                  </a:lnTo>
                  <a:lnTo>
                    <a:pt x="8811028" y="192409"/>
                  </a:lnTo>
                  <a:lnTo>
                    <a:pt x="8811028" y="194796"/>
                  </a:lnTo>
                  <a:lnTo>
                    <a:pt x="8811028" y="195791"/>
                  </a:lnTo>
                  <a:lnTo>
                    <a:pt x="8811028" y="196488"/>
                  </a:lnTo>
                  <a:lnTo>
                    <a:pt x="8811725" y="196488"/>
                  </a:lnTo>
                  <a:lnTo>
                    <a:pt x="8812523" y="195891"/>
                  </a:lnTo>
                  <a:lnTo>
                    <a:pt x="8814814" y="193404"/>
                  </a:lnTo>
                  <a:lnTo>
                    <a:pt x="8816110" y="192807"/>
                  </a:lnTo>
                  <a:lnTo>
                    <a:pt x="8819597" y="192011"/>
                  </a:lnTo>
                  <a:lnTo>
                    <a:pt x="8819597" y="189922"/>
                  </a:lnTo>
                  <a:lnTo>
                    <a:pt x="8818202" y="187136"/>
                  </a:lnTo>
                  <a:lnTo>
                    <a:pt x="8816110" y="184350"/>
                  </a:lnTo>
                  <a:lnTo>
                    <a:pt x="8814416" y="180868"/>
                  </a:lnTo>
                  <a:lnTo>
                    <a:pt x="8814416" y="177983"/>
                  </a:lnTo>
                  <a:lnTo>
                    <a:pt x="8815014" y="174700"/>
                  </a:lnTo>
                  <a:lnTo>
                    <a:pt x="8815014" y="170422"/>
                  </a:lnTo>
                  <a:lnTo>
                    <a:pt x="8816408" y="166244"/>
                  </a:lnTo>
                  <a:lnTo>
                    <a:pt x="8819597" y="164652"/>
                  </a:lnTo>
                  <a:lnTo>
                    <a:pt x="8826274" y="164652"/>
                  </a:lnTo>
                  <a:lnTo>
                    <a:pt x="8826274" y="162662"/>
                  </a:lnTo>
                  <a:lnTo>
                    <a:pt x="8822686" y="161468"/>
                  </a:lnTo>
                  <a:lnTo>
                    <a:pt x="8818401" y="158583"/>
                  </a:lnTo>
                  <a:lnTo>
                    <a:pt x="8814615" y="155001"/>
                  </a:lnTo>
                  <a:lnTo>
                    <a:pt x="8812423" y="151619"/>
                  </a:lnTo>
                  <a:lnTo>
                    <a:pt x="8812423" y="151619"/>
                  </a:lnTo>
                  <a:lnTo>
                    <a:pt x="8812423" y="151619"/>
                  </a:lnTo>
                  <a:lnTo>
                    <a:pt x="8812423" y="151619"/>
                  </a:lnTo>
                  <a:lnTo>
                    <a:pt x="8812423" y="150226"/>
                  </a:lnTo>
                  <a:lnTo>
                    <a:pt x="8818701" y="153609"/>
                  </a:lnTo>
                  <a:lnTo>
                    <a:pt x="8821192" y="153609"/>
                  </a:lnTo>
                  <a:lnTo>
                    <a:pt x="8823882" y="152912"/>
                  </a:lnTo>
                  <a:lnTo>
                    <a:pt x="8828964" y="150425"/>
                  </a:lnTo>
                  <a:lnTo>
                    <a:pt x="8841917" y="147639"/>
                  </a:lnTo>
                  <a:lnTo>
                    <a:pt x="8851882" y="148137"/>
                  </a:lnTo>
                  <a:lnTo>
                    <a:pt x="8853875" y="147142"/>
                  </a:lnTo>
                  <a:lnTo>
                    <a:pt x="8852978" y="144456"/>
                  </a:lnTo>
                  <a:lnTo>
                    <a:pt x="8851284" y="143759"/>
                  </a:lnTo>
                  <a:lnTo>
                    <a:pt x="8846103" y="143759"/>
                  </a:lnTo>
                  <a:lnTo>
                    <a:pt x="8844807" y="142565"/>
                  </a:lnTo>
                  <a:lnTo>
                    <a:pt x="8844807" y="140974"/>
                  </a:lnTo>
                  <a:lnTo>
                    <a:pt x="8846103" y="139979"/>
                  </a:lnTo>
                  <a:lnTo>
                    <a:pt x="8848892" y="138984"/>
                  </a:lnTo>
                  <a:lnTo>
                    <a:pt x="8855568" y="138387"/>
                  </a:lnTo>
                  <a:lnTo>
                    <a:pt x="8874899" y="142565"/>
                  </a:lnTo>
                  <a:lnTo>
                    <a:pt x="8888451" y="142565"/>
                  </a:lnTo>
                  <a:lnTo>
                    <a:pt x="8895725" y="141372"/>
                  </a:lnTo>
                  <a:lnTo>
                    <a:pt x="8899910" y="138487"/>
                  </a:lnTo>
                  <a:lnTo>
                    <a:pt x="8901704" y="138487"/>
                  </a:lnTo>
                  <a:lnTo>
                    <a:pt x="8909576" y="132318"/>
                  </a:lnTo>
                  <a:lnTo>
                    <a:pt x="8911967" y="131224"/>
                  </a:lnTo>
                  <a:lnTo>
                    <a:pt x="8917547" y="129632"/>
                  </a:lnTo>
                  <a:lnTo>
                    <a:pt x="8921732" y="126449"/>
                  </a:lnTo>
                  <a:lnTo>
                    <a:pt x="8928409" y="123165"/>
                  </a:lnTo>
                  <a:lnTo>
                    <a:pt x="8938871" y="120380"/>
                  </a:lnTo>
                  <a:lnTo>
                    <a:pt x="8941661" y="120380"/>
                  </a:lnTo>
                  <a:lnTo>
                    <a:pt x="8942857" y="119385"/>
                  </a:lnTo>
                  <a:lnTo>
                    <a:pt x="8951526" y="119385"/>
                  </a:lnTo>
                  <a:lnTo>
                    <a:pt x="8954416" y="118390"/>
                  </a:lnTo>
                  <a:lnTo>
                    <a:pt x="8955711" y="117296"/>
                  </a:lnTo>
                  <a:lnTo>
                    <a:pt x="8959099" y="115903"/>
                  </a:lnTo>
                  <a:lnTo>
                    <a:pt x="8960494" y="114709"/>
                  </a:lnTo>
                  <a:lnTo>
                    <a:pt x="8966074" y="108043"/>
                  </a:lnTo>
                  <a:lnTo>
                    <a:pt x="8950430" y="106850"/>
                  </a:lnTo>
                  <a:lnTo>
                    <a:pt x="8950430" y="106949"/>
                  </a:lnTo>
                  <a:lnTo>
                    <a:pt x="8973847" y="103367"/>
                  </a:lnTo>
                  <a:lnTo>
                    <a:pt x="8993177" y="106452"/>
                  </a:lnTo>
                  <a:lnTo>
                    <a:pt x="8999853" y="105755"/>
                  </a:lnTo>
                  <a:lnTo>
                    <a:pt x="9003241" y="104362"/>
                  </a:lnTo>
                  <a:lnTo>
                    <a:pt x="9006131" y="102373"/>
                  </a:lnTo>
                  <a:lnTo>
                    <a:pt x="9011312" y="97199"/>
                  </a:lnTo>
                  <a:lnTo>
                    <a:pt x="9013305" y="94414"/>
                  </a:lnTo>
                  <a:lnTo>
                    <a:pt x="9014700" y="91727"/>
                  </a:lnTo>
                  <a:lnTo>
                    <a:pt x="9016294" y="89439"/>
                  </a:lnTo>
                  <a:lnTo>
                    <a:pt x="9018985" y="87449"/>
                  </a:lnTo>
                  <a:lnTo>
                    <a:pt x="9023768" y="84962"/>
                  </a:lnTo>
                  <a:lnTo>
                    <a:pt x="9025263" y="83271"/>
                  </a:lnTo>
                  <a:lnTo>
                    <a:pt x="9028551" y="77401"/>
                  </a:lnTo>
                  <a:lnTo>
                    <a:pt x="9030544" y="75113"/>
                  </a:lnTo>
                  <a:lnTo>
                    <a:pt x="9032935" y="73223"/>
                  </a:lnTo>
                  <a:lnTo>
                    <a:pt x="9035526" y="71631"/>
                  </a:lnTo>
                  <a:lnTo>
                    <a:pt x="9032536" y="70139"/>
                  </a:lnTo>
                  <a:lnTo>
                    <a:pt x="9030345" y="71233"/>
                  </a:lnTo>
                  <a:lnTo>
                    <a:pt x="9026956" y="75312"/>
                  </a:lnTo>
                  <a:lnTo>
                    <a:pt x="9024764" y="76605"/>
                  </a:lnTo>
                  <a:lnTo>
                    <a:pt x="9022373" y="77401"/>
                  </a:lnTo>
                  <a:lnTo>
                    <a:pt x="9019782" y="77401"/>
                  </a:lnTo>
                  <a:lnTo>
                    <a:pt x="9018089" y="77401"/>
                  </a:lnTo>
                  <a:lnTo>
                    <a:pt x="9016992" y="77401"/>
                  </a:lnTo>
                  <a:lnTo>
                    <a:pt x="9014900" y="77401"/>
                  </a:lnTo>
                  <a:lnTo>
                    <a:pt x="9013803" y="77401"/>
                  </a:lnTo>
                  <a:lnTo>
                    <a:pt x="9009818" y="80784"/>
                  </a:lnTo>
                  <a:lnTo>
                    <a:pt x="8999853" y="85460"/>
                  </a:lnTo>
                  <a:lnTo>
                    <a:pt x="8996067" y="89041"/>
                  </a:lnTo>
                  <a:lnTo>
                    <a:pt x="8994174" y="89837"/>
                  </a:lnTo>
                  <a:lnTo>
                    <a:pt x="8987697" y="89837"/>
                  </a:lnTo>
                  <a:lnTo>
                    <a:pt x="8985205" y="89837"/>
                  </a:lnTo>
                  <a:lnTo>
                    <a:pt x="8978829" y="91628"/>
                  </a:lnTo>
                  <a:lnTo>
                    <a:pt x="8960394" y="98891"/>
                  </a:lnTo>
                  <a:lnTo>
                    <a:pt x="8940465" y="102273"/>
                  </a:lnTo>
                  <a:lnTo>
                    <a:pt x="8917348" y="108839"/>
                  </a:lnTo>
                  <a:lnTo>
                    <a:pt x="8899810" y="108839"/>
                  </a:lnTo>
                  <a:lnTo>
                    <a:pt x="8891042" y="111426"/>
                  </a:lnTo>
                  <a:lnTo>
                    <a:pt x="8889547" y="110730"/>
                  </a:lnTo>
                  <a:lnTo>
                    <a:pt x="8889547" y="107844"/>
                  </a:lnTo>
                  <a:lnTo>
                    <a:pt x="8889547" y="106949"/>
                  </a:lnTo>
                  <a:lnTo>
                    <a:pt x="8888451" y="106949"/>
                  </a:lnTo>
                  <a:lnTo>
                    <a:pt x="8882074" y="104860"/>
                  </a:lnTo>
                  <a:lnTo>
                    <a:pt x="8880978" y="103865"/>
                  </a:lnTo>
                  <a:lnTo>
                    <a:pt x="8881875" y="103865"/>
                  </a:lnTo>
                  <a:lnTo>
                    <a:pt x="8882472" y="102671"/>
                  </a:lnTo>
                  <a:lnTo>
                    <a:pt x="8884964" y="101577"/>
                  </a:lnTo>
                  <a:lnTo>
                    <a:pt x="8890643" y="100283"/>
                  </a:lnTo>
                  <a:lnTo>
                    <a:pt x="8902800" y="102771"/>
                  </a:lnTo>
                  <a:lnTo>
                    <a:pt x="8905490" y="102771"/>
                  </a:lnTo>
                  <a:lnTo>
                    <a:pt x="8922031" y="99686"/>
                  </a:lnTo>
                  <a:lnTo>
                    <a:pt x="8926316" y="96901"/>
                  </a:lnTo>
                  <a:lnTo>
                    <a:pt x="8932294" y="96105"/>
                  </a:lnTo>
                  <a:lnTo>
                    <a:pt x="8936380" y="93518"/>
                  </a:lnTo>
                  <a:lnTo>
                    <a:pt x="8939369" y="92523"/>
                  </a:lnTo>
                  <a:lnTo>
                    <a:pt x="8955811" y="90136"/>
                  </a:lnTo>
                  <a:lnTo>
                    <a:pt x="8971355" y="85360"/>
                  </a:lnTo>
                  <a:lnTo>
                    <a:pt x="8990487" y="85360"/>
                  </a:lnTo>
                  <a:lnTo>
                    <a:pt x="8996366" y="83370"/>
                  </a:lnTo>
                  <a:lnTo>
                    <a:pt x="9011412" y="74317"/>
                  </a:lnTo>
                  <a:lnTo>
                    <a:pt x="9023369" y="69741"/>
                  </a:lnTo>
                  <a:lnTo>
                    <a:pt x="9041505" y="66259"/>
                  </a:lnTo>
                  <a:lnTo>
                    <a:pt x="9051469" y="66259"/>
                  </a:lnTo>
                  <a:lnTo>
                    <a:pt x="9053263" y="66259"/>
                  </a:lnTo>
                  <a:lnTo>
                    <a:pt x="9054358" y="65065"/>
                  </a:lnTo>
                  <a:lnTo>
                    <a:pt x="9054358" y="64269"/>
                  </a:lnTo>
                  <a:lnTo>
                    <a:pt x="9052665" y="61483"/>
                  </a:lnTo>
                  <a:lnTo>
                    <a:pt x="9052067" y="60190"/>
                  </a:lnTo>
                  <a:lnTo>
                    <a:pt x="9056451" y="58200"/>
                  </a:lnTo>
                  <a:lnTo>
                    <a:pt x="9058743" y="58200"/>
                  </a:lnTo>
                  <a:lnTo>
                    <a:pt x="9060736" y="59394"/>
                  </a:lnTo>
                  <a:lnTo>
                    <a:pt x="9063327" y="57802"/>
                  </a:lnTo>
                  <a:lnTo>
                    <a:pt x="9068807" y="55414"/>
                  </a:lnTo>
                  <a:lnTo>
                    <a:pt x="9071099" y="53226"/>
                  </a:lnTo>
                  <a:lnTo>
                    <a:pt x="9066017" y="53226"/>
                  </a:lnTo>
                  <a:lnTo>
                    <a:pt x="9055455" y="56608"/>
                  </a:lnTo>
                  <a:lnTo>
                    <a:pt x="9050273" y="56608"/>
                  </a:lnTo>
                  <a:lnTo>
                    <a:pt x="9052665" y="54022"/>
                  </a:lnTo>
                  <a:lnTo>
                    <a:pt x="9059640" y="50540"/>
                  </a:lnTo>
                  <a:lnTo>
                    <a:pt x="9059640" y="47953"/>
                  </a:lnTo>
                  <a:lnTo>
                    <a:pt x="9093718" y="43277"/>
                  </a:lnTo>
                  <a:lnTo>
                    <a:pt x="9095313" y="42581"/>
                  </a:lnTo>
                  <a:lnTo>
                    <a:pt x="9096907" y="42581"/>
                  </a:lnTo>
                  <a:lnTo>
                    <a:pt x="9098402" y="43377"/>
                  </a:lnTo>
                  <a:lnTo>
                    <a:pt x="9099298" y="44272"/>
                  </a:lnTo>
                  <a:lnTo>
                    <a:pt x="9100095" y="44869"/>
                  </a:lnTo>
                  <a:lnTo>
                    <a:pt x="9100992" y="44869"/>
                  </a:lnTo>
                  <a:lnTo>
                    <a:pt x="9102287" y="44869"/>
                  </a:lnTo>
                  <a:lnTo>
                    <a:pt x="9103882" y="44869"/>
                  </a:lnTo>
                  <a:lnTo>
                    <a:pt x="9106174" y="43377"/>
                  </a:lnTo>
                  <a:lnTo>
                    <a:pt x="9107569" y="43377"/>
                  </a:lnTo>
                  <a:lnTo>
                    <a:pt x="9108964" y="43377"/>
                  </a:lnTo>
                  <a:lnTo>
                    <a:pt x="9111355" y="44172"/>
                  </a:lnTo>
                  <a:lnTo>
                    <a:pt x="9122416" y="45963"/>
                  </a:lnTo>
                  <a:lnTo>
                    <a:pt x="9125704" y="45963"/>
                  </a:lnTo>
                  <a:lnTo>
                    <a:pt x="9127996" y="45267"/>
                  </a:lnTo>
                  <a:lnTo>
                    <a:pt x="9133974" y="42183"/>
                  </a:lnTo>
                  <a:lnTo>
                    <a:pt x="9135768" y="40491"/>
                  </a:lnTo>
                  <a:lnTo>
                    <a:pt x="9141049" y="37905"/>
                  </a:lnTo>
                  <a:lnTo>
                    <a:pt x="9142544" y="36114"/>
                  </a:lnTo>
                  <a:lnTo>
                    <a:pt x="9139654" y="33826"/>
                  </a:lnTo>
                  <a:lnTo>
                    <a:pt x="9141149" y="32731"/>
                  </a:lnTo>
                  <a:lnTo>
                    <a:pt x="9144935" y="30841"/>
                  </a:lnTo>
                  <a:lnTo>
                    <a:pt x="9147027" y="30841"/>
                  </a:lnTo>
                  <a:lnTo>
                    <a:pt x="9149818" y="30841"/>
                  </a:lnTo>
                  <a:lnTo>
                    <a:pt x="9151313" y="32532"/>
                  </a:lnTo>
                  <a:lnTo>
                    <a:pt x="9153006" y="33229"/>
                  </a:lnTo>
                  <a:lnTo>
                    <a:pt x="9154003" y="32333"/>
                  </a:lnTo>
                  <a:lnTo>
                    <a:pt x="9154003" y="30045"/>
                  </a:lnTo>
                  <a:lnTo>
                    <a:pt x="9154003" y="30045"/>
                  </a:lnTo>
                  <a:lnTo>
                    <a:pt x="9151412" y="28752"/>
                  </a:lnTo>
                  <a:lnTo>
                    <a:pt x="9147327" y="28752"/>
                  </a:lnTo>
                  <a:lnTo>
                    <a:pt x="9121519" y="28752"/>
                  </a:lnTo>
                  <a:lnTo>
                    <a:pt x="9118928" y="27061"/>
                  </a:lnTo>
                  <a:lnTo>
                    <a:pt x="9125006" y="24673"/>
                  </a:lnTo>
                  <a:lnTo>
                    <a:pt x="9152907" y="24673"/>
                  </a:lnTo>
                  <a:lnTo>
                    <a:pt x="9154202" y="24673"/>
                  </a:lnTo>
                  <a:lnTo>
                    <a:pt x="9154202" y="22484"/>
                  </a:lnTo>
                  <a:lnTo>
                    <a:pt x="9151313" y="22484"/>
                  </a:lnTo>
                  <a:lnTo>
                    <a:pt x="9145135" y="22484"/>
                  </a:lnTo>
                  <a:lnTo>
                    <a:pt x="9142344" y="21390"/>
                  </a:lnTo>
                  <a:lnTo>
                    <a:pt x="9141846" y="18505"/>
                  </a:lnTo>
                  <a:lnTo>
                    <a:pt x="9144038" y="15321"/>
                  </a:lnTo>
                  <a:lnTo>
                    <a:pt x="9144038" y="12834"/>
                  </a:lnTo>
                  <a:lnTo>
                    <a:pt x="9149518" y="9352"/>
                  </a:lnTo>
                  <a:lnTo>
                    <a:pt x="9153206" y="8456"/>
                  </a:lnTo>
                  <a:lnTo>
                    <a:pt x="9153206" y="10745"/>
                  </a:lnTo>
                  <a:lnTo>
                    <a:pt x="9151711" y="12635"/>
                  </a:lnTo>
                  <a:lnTo>
                    <a:pt x="9153405" y="14625"/>
                  </a:lnTo>
                  <a:lnTo>
                    <a:pt x="9153405" y="14625"/>
                  </a:lnTo>
                  <a:lnTo>
                    <a:pt x="9153405" y="13630"/>
                  </a:lnTo>
                  <a:lnTo>
                    <a:pt x="9153405" y="13630"/>
                  </a:lnTo>
                  <a:lnTo>
                    <a:pt x="9153405" y="12834"/>
                  </a:lnTo>
                  <a:lnTo>
                    <a:pt x="9153405" y="12834"/>
                  </a:lnTo>
                  <a:lnTo>
                    <a:pt x="9153405" y="796"/>
                  </a:lnTo>
                  <a:lnTo>
                    <a:pt x="9152409" y="796"/>
                  </a:lnTo>
                  <a:lnTo>
                    <a:pt x="9151213" y="796"/>
                  </a:lnTo>
                  <a:lnTo>
                    <a:pt x="9151213" y="796"/>
                  </a:lnTo>
                  <a:lnTo>
                    <a:pt x="6344638" y="796"/>
                  </a:lnTo>
                  <a:close/>
                  <a:moveTo>
                    <a:pt x="4231685" y="600407"/>
                  </a:moveTo>
                  <a:lnTo>
                    <a:pt x="4230589" y="600407"/>
                  </a:lnTo>
                  <a:lnTo>
                    <a:pt x="4227799" y="599710"/>
                  </a:lnTo>
                  <a:lnTo>
                    <a:pt x="4224909" y="600407"/>
                  </a:lnTo>
                  <a:lnTo>
                    <a:pt x="4222418" y="601600"/>
                  </a:lnTo>
                  <a:lnTo>
                    <a:pt x="4220525" y="603690"/>
                  </a:lnTo>
                  <a:lnTo>
                    <a:pt x="4219130" y="607072"/>
                  </a:lnTo>
                  <a:lnTo>
                    <a:pt x="4221422" y="608266"/>
                  </a:lnTo>
                  <a:lnTo>
                    <a:pt x="4223315" y="610256"/>
                  </a:lnTo>
                  <a:lnTo>
                    <a:pt x="4224710" y="612843"/>
                  </a:lnTo>
                  <a:lnTo>
                    <a:pt x="4225906" y="615131"/>
                  </a:lnTo>
                  <a:lnTo>
                    <a:pt x="4215941" y="614434"/>
                  </a:lnTo>
                  <a:lnTo>
                    <a:pt x="4213450" y="615131"/>
                  </a:lnTo>
                  <a:lnTo>
                    <a:pt x="4211358" y="617916"/>
                  </a:lnTo>
                  <a:lnTo>
                    <a:pt x="4211358" y="621001"/>
                  </a:lnTo>
                  <a:lnTo>
                    <a:pt x="4213450" y="626970"/>
                  </a:lnTo>
                  <a:lnTo>
                    <a:pt x="4215045" y="633735"/>
                  </a:lnTo>
                  <a:lnTo>
                    <a:pt x="4220226" y="673530"/>
                  </a:lnTo>
                  <a:lnTo>
                    <a:pt x="4220226" y="677509"/>
                  </a:lnTo>
                  <a:lnTo>
                    <a:pt x="4217037" y="682484"/>
                  </a:lnTo>
                  <a:lnTo>
                    <a:pt x="4216439" y="684175"/>
                  </a:lnTo>
                  <a:lnTo>
                    <a:pt x="4216938" y="685966"/>
                  </a:lnTo>
                  <a:lnTo>
                    <a:pt x="4220625" y="691736"/>
                  </a:lnTo>
                  <a:lnTo>
                    <a:pt x="4227301" y="699496"/>
                  </a:lnTo>
                  <a:lnTo>
                    <a:pt x="4214945" y="699496"/>
                  </a:lnTo>
                  <a:lnTo>
                    <a:pt x="4211258" y="698501"/>
                  </a:lnTo>
                  <a:lnTo>
                    <a:pt x="4207870" y="696412"/>
                  </a:lnTo>
                  <a:lnTo>
                    <a:pt x="4204183" y="693029"/>
                  </a:lnTo>
                  <a:lnTo>
                    <a:pt x="4201094" y="688652"/>
                  </a:lnTo>
                  <a:lnTo>
                    <a:pt x="4199101" y="681190"/>
                  </a:lnTo>
                  <a:lnTo>
                    <a:pt x="4197108" y="681190"/>
                  </a:lnTo>
                  <a:lnTo>
                    <a:pt x="4195116" y="682484"/>
                  </a:lnTo>
                  <a:lnTo>
                    <a:pt x="4193820" y="684474"/>
                  </a:lnTo>
                  <a:lnTo>
                    <a:pt x="4193820" y="686762"/>
                  </a:lnTo>
                  <a:lnTo>
                    <a:pt x="4194318" y="689547"/>
                  </a:lnTo>
                  <a:lnTo>
                    <a:pt x="4194318" y="691836"/>
                  </a:lnTo>
                  <a:lnTo>
                    <a:pt x="4192625" y="692830"/>
                  </a:lnTo>
                  <a:lnTo>
                    <a:pt x="4190133" y="692830"/>
                  </a:lnTo>
                  <a:lnTo>
                    <a:pt x="4189336" y="693427"/>
                  </a:lnTo>
                  <a:lnTo>
                    <a:pt x="4189336" y="702083"/>
                  </a:lnTo>
                  <a:lnTo>
                    <a:pt x="4189336" y="704073"/>
                  </a:lnTo>
                  <a:lnTo>
                    <a:pt x="4190432" y="706659"/>
                  </a:lnTo>
                  <a:lnTo>
                    <a:pt x="4187642" y="709345"/>
                  </a:lnTo>
                  <a:lnTo>
                    <a:pt x="4186447" y="711236"/>
                  </a:lnTo>
                  <a:lnTo>
                    <a:pt x="4186447" y="713723"/>
                  </a:lnTo>
                  <a:lnTo>
                    <a:pt x="4192724" y="723672"/>
                  </a:lnTo>
                  <a:lnTo>
                    <a:pt x="4192724" y="726457"/>
                  </a:lnTo>
                  <a:lnTo>
                    <a:pt x="4188041" y="732625"/>
                  </a:lnTo>
                  <a:lnTo>
                    <a:pt x="4182361" y="737500"/>
                  </a:lnTo>
                  <a:lnTo>
                    <a:pt x="4175087" y="739689"/>
                  </a:lnTo>
                  <a:lnTo>
                    <a:pt x="4167415" y="739689"/>
                  </a:lnTo>
                  <a:lnTo>
                    <a:pt x="4150276" y="734416"/>
                  </a:lnTo>
                  <a:lnTo>
                    <a:pt x="4148681" y="732824"/>
                  </a:lnTo>
                  <a:lnTo>
                    <a:pt x="4146888" y="726358"/>
                  </a:lnTo>
                  <a:lnTo>
                    <a:pt x="4146390" y="721682"/>
                  </a:lnTo>
                  <a:lnTo>
                    <a:pt x="4146390" y="720488"/>
                  </a:lnTo>
                  <a:lnTo>
                    <a:pt x="4142404" y="710539"/>
                  </a:lnTo>
                  <a:lnTo>
                    <a:pt x="4142404" y="708848"/>
                  </a:lnTo>
                  <a:lnTo>
                    <a:pt x="4143201" y="708152"/>
                  </a:lnTo>
                  <a:lnTo>
                    <a:pt x="4144596" y="706560"/>
                  </a:lnTo>
                  <a:lnTo>
                    <a:pt x="4145792" y="704670"/>
                  </a:lnTo>
                  <a:lnTo>
                    <a:pt x="4146390" y="703078"/>
                  </a:lnTo>
                  <a:lnTo>
                    <a:pt x="4145692" y="702182"/>
                  </a:lnTo>
                  <a:lnTo>
                    <a:pt x="4142703" y="700292"/>
                  </a:lnTo>
                  <a:lnTo>
                    <a:pt x="4141906" y="699596"/>
                  </a:lnTo>
                  <a:lnTo>
                    <a:pt x="4141906" y="697705"/>
                  </a:lnTo>
                  <a:lnTo>
                    <a:pt x="4141906" y="693726"/>
                  </a:lnTo>
                  <a:lnTo>
                    <a:pt x="4141906" y="691935"/>
                  </a:lnTo>
                  <a:lnTo>
                    <a:pt x="4141208" y="690642"/>
                  </a:lnTo>
                  <a:lnTo>
                    <a:pt x="4141208" y="689249"/>
                  </a:lnTo>
                  <a:lnTo>
                    <a:pt x="4141208" y="687657"/>
                  </a:lnTo>
                  <a:lnTo>
                    <a:pt x="4141208" y="686065"/>
                  </a:lnTo>
                  <a:lnTo>
                    <a:pt x="4141208" y="684275"/>
                  </a:lnTo>
                  <a:lnTo>
                    <a:pt x="4142603" y="679798"/>
                  </a:lnTo>
                  <a:lnTo>
                    <a:pt x="4142603" y="678106"/>
                  </a:lnTo>
                  <a:lnTo>
                    <a:pt x="4142603" y="674425"/>
                  </a:lnTo>
                  <a:lnTo>
                    <a:pt x="4142603" y="672833"/>
                  </a:lnTo>
                  <a:lnTo>
                    <a:pt x="4144197" y="669153"/>
                  </a:lnTo>
                  <a:lnTo>
                    <a:pt x="4145792" y="666964"/>
                  </a:lnTo>
                  <a:lnTo>
                    <a:pt x="4145792" y="664576"/>
                  </a:lnTo>
                  <a:lnTo>
                    <a:pt x="4142205" y="657413"/>
                  </a:lnTo>
                  <a:lnTo>
                    <a:pt x="4142205" y="654528"/>
                  </a:lnTo>
                  <a:lnTo>
                    <a:pt x="4142902" y="651444"/>
                  </a:lnTo>
                  <a:lnTo>
                    <a:pt x="4144496" y="648061"/>
                  </a:lnTo>
                  <a:lnTo>
                    <a:pt x="4149977" y="639008"/>
                  </a:lnTo>
                  <a:lnTo>
                    <a:pt x="4150674" y="635824"/>
                  </a:lnTo>
                  <a:lnTo>
                    <a:pt x="4150076" y="634531"/>
                  </a:lnTo>
                  <a:lnTo>
                    <a:pt x="4148383" y="632641"/>
                  </a:lnTo>
                  <a:lnTo>
                    <a:pt x="4146190" y="633337"/>
                  </a:lnTo>
                  <a:lnTo>
                    <a:pt x="4140311" y="633337"/>
                  </a:lnTo>
                  <a:lnTo>
                    <a:pt x="4138019" y="628462"/>
                  </a:lnTo>
                  <a:lnTo>
                    <a:pt x="4139116" y="625279"/>
                  </a:lnTo>
                  <a:lnTo>
                    <a:pt x="4141308" y="623488"/>
                  </a:lnTo>
                  <a:lnTo>
                    <a:pt x="4143998" y="622692"/>
                  </a:lnTo>
                  <a:lnTo>
                    <a:pt x="4145194" y="622692"/>
                  </a:lnTo>
                  <a:lnTo>
                    <a:pt x="4147187" y="621001"/>
                  </a:lnTo>
                  <a:lnTo>
                    <a:pt x="4148781" y="617220"/>
                  </a:lnTo>
                  <a:lnTo>
                    <a:pt x="4150774" y="609758"/>
                  </a:lnTo>
                  <a:lnTo>
                    <a:pt x="4152069" y="606376"/>
                  </a:lnTo>
                  <a:lnTo>
                    <a:pt x="4154062" y="602794"/>
                  </a:lnTo>
                  <a:lnTo>
                    <a:pt x="4156553" y="600506"/>
                  </a:lnTo>
                  <a:lnTo>
                    <a:pt x="4159543" y="600506"/>
                  </a:lnTo>
                  <a:lnTo>
                    <a:pt x="4162432" y="601103"/>
                  </a:lnTo>
                  <a:lnTo>
                    <a:pt x="4163927" y="601103"/>
                  </a:lnTo>
                  <a:lnTo>
                    <a:pt x="4169009" y="594935"/>
                  </a:lnTo>
                  <a:lnTo>
                    <a:pt x="4171301" y="593045"/>
                  </a:lnTo>
                  <a:lnTo>
                    <a:pt x="4177180" y="591950"/>
                  </a:lnTo>
                  <a:lnTo>
                    <a:pt x="4179770" y="590756"/>
                  </a:lnTo>
                  <a:lnTo>
                    <a:pt x="4180368" y="589463"/>
                  </a:lnTo>
                  <a:lnTo>
                    <a:pt x="4180966" y="587374"/>
                  </a:lnTo>
                  <a:lnTo>
                    <a:pt x="4181664" y="585583"/>
                  </a:lnTo>
                  <a:lnTo>
                    <a:pt x="4182859" y="584787"/>
                  </a:lnTo>
                  <a:lnTo>
                    <a:pt x="4183557" y="584091"/>
                  </a:lnTo>
                  <a:lnTo>
                    <a:pt x="4186347" y="579614"/>
                  </a:lnTo>
                  <a:lnTo>
                    <a:pt x="4187343" y="576331"/>
                  </a:lnTo>
                  <a:lnTo>
                    <a:pt x="4185052" y="575137"/>
                  </a:lnTo>
                  <a:lnTo>
                    <a:pt x="4181564" y="575833"/>
                  </a:lnTo>
                  <a:lnTo>
                    <a:pt x="4178973" y="577823"/>
                  </a:lnTo>
                  <a:lnTo>
                    <a:pt x="4179770" y="576729"/>
                  </a:lnTo>
                  <a:lnTo>
                    <a:pt x="4178774" y="577624"/>
                  </a:lnTo>
                  <a:lnTo>
                    <a:pt x="4177678" y="577624"/>
                  </a:lnTo>
                  <a:lnTo>
                    <a:pt x="4176582" y="577624"/>
                  </a:lnTo>
                  <a:lnTo>
                    <a:pt x="4175486" y="576729"/>
                  </a:lnTo>
                  <a:lnTo>
                    <a:pt x="4176681" y="574938"/>
                  </a:lnTo>
                  <a:lnTo>
                    <a:pt x="4176681" y="573346"/>
                  </a:lnTo>
                  <a:lnTo>
                    <a:pt x="4175486" y="572351"/>
                  </a:lnTo>
                  <a:lnTo>
                    <a:pt x="4174091" y="572351"/>
                  </a:lnTo>
                  <a:lnTo>
                    <a:pt x="4172098" y="572351"/>
                  </a:lnTo>
                  <a:lnTo>
                    <a:pt x="4168909" y="575336"/>
                  </a:lnTo>
                  <a:lnTo>
                    <a:pt x="4167116" y="576530"/>
                  </a:lnTo>
                  <a:lnTo>
                    <a:pt x="4167116" y="580410"/>
                  </a:lnTo>
                  <a:lnTo>
                    <a:pt x="4164425" y="585086"/>
                  </a:lnTo>
                  <a:lnTo>
                    <a:pt x="4152368" y="599014"/>
                  </a:lnTo>
                  <a:lnTo>
                    <a:pt x="4148881" y="601700"/>
                  </a:lnTo>
                  <a:lnTo>
                    <a:pt x="4144895" y="603491"/>
                  </a:lnTo>
                  <a:lnTo>
                    <a:pt x="4141108" y="602894"/>
                  </a:lnTo>
                  <a:lnTo>
                    <a:pt x="4140311" y="599312"/>
                  </a:lnTo>
                  <a:lnTo>
                    <a:pt x="4141407" y="589960"/>
                  </a:lnTo>
                  <a:lnTo>
                    <a:pt x="4143799" y="586080"/>
                  </a:lnTo>
                  <a:lnTo>
                    <a:pt x="4147984" y="582499"/>
                  </a:lnTo>
                  <a:lnTo>
                    <a:pt x="4150475" y="579216"/>
                  </a:lnTo>
                  <a:lnTo>
                    <a:pt x="4147486" y="576530"/>
                  </a:lnTo>
                  <a:lnTo>
                    <a:pt x="4155357" y="564193"/>
                  </a:lnTo>
                  <a:lnTo>
                    <a:pt x="4160738" y="560413"/>
                  </a:lnTo>
                  <a:lnTo>
                    <a:pt x="4163927" y="551359"/>
                  </a:lnTo>
                  <a:lnTo>
                    <a:pt x="4167016" y="549370"/>
                  </a:lnTo>
                  <a:lnTo>
                    <a:pt x="4169009" y="547579"/>
                  </a:lnTo>
                  <a:lnTo>
                    <a:pt x="4171101" y="543500"/>
                  </a:lnTo>
                  <a:lnTo>
                    <a:pt x="4172795" y="538724"/>
                  </a:lnTo>
                  <a:lnTo>
                    <a:pt x="4173592" y="535242"/>
                  </a:lnTo>
                  <a:lnTo>
                    <a:pt x="4172596" y="530069"/>
                  </a:lnTo>
                  <a:lnTo>
                    <a:pt x="4170005" y="530666"/>
                  </a:lnTo>
                  <a:lnTo>
                    <a:pt x="4166817" y="532357"/>
                  </a:lnTo>
                  <a:lnTo>
                    <a:pt x="4164027" y="530467"/>
                  </a:lnTo>
                  <a:lnTo>
                    <a:pt x="4165123" y="529174"/>
                  </a:lnTo>
                  <a:lnTo>
                    <a:pt x="4166318" y="526885"/>
                  </a:lnTo>
                  <a:lnTo>
                    <a:pt x="4167315" y="524299"/>
                  </a:lnTo>
                  <a:lnTo>
                    <a:pt x="4167315" y="522011"/>
                  </a:lnTo>
                  <a:lnTo>
                    <a:pt x="4166318" y="520220"/>
                  </a:lnTo>
                  <a:lnTo>
                    <a:pt x="4164625" y="519523"/>
                  </a:lnTo>
                  <a:lnTo>
                    <a:pt x="4160340" y="518727"/>
                  </a:lnTo>
                  <a:lnTo>
                    <a:pt x="4160340" y="511365"/>
                  </a:lnTo>
                  <a:lnTo>
                    <a:pt x="4156553" y="509177"/>
                  </a:lnTo>
                  <a:lnTo>
                    <a:pt x="4151073" y="510669"/>
                  </a:lnTo>
                  <a:lnTo>
                    <a:pt x="4141906" y="518031"/>
                  </a:lnTo>
                  <a:lnTo>
                    <a:pt x="4130945" y="519822"/>
                  </a:lnTo>
                  <a:lnTo>
                    <a:pt x="4126062" y="522011"/>
                  </a:lnTo>
                  <a:lnTo>
                    <a:pt x="4126859" y="524995"/>
                  </a:lnTo>
                  <a:lnTo>
                    <a:pt x="4125365" y="528676"/>
                  </a:lnTo>
                  <a:lnTo>
                    <a:pt x="4122874" y="531959"/>
                  </a:lnTo>
                  <a:lnTo>
                    <a:pt x="4120781" y="533949"/>
                  </a:lnTo>
                  <a:lnTo>
                    <a:pt x="4120781" y="535242"/>
                  </a:lnTo>
                  <a:lnTo>
                    <a:pt x="4121379" y="537133"/>
                  </a:lnTo>
                  <a:lnTo>
                    <a:pt x="4122874" y="544495"/>
                  </a:lnTo>
                  <a:lnTo>
                    <a:pt x="4122874" y="546385"/>
                  </a:lnTo>
                  <a:lnTo>
                    <a:pt x="4112311" y="557528"/>
                  </a:lnTo>
                  <a:lnTo>
                    <a:pt x="4107927" y="560313"/>
                  </a:lnTo>
                  <a:lnTo>
                    <a:pt x="4104041" y="560313"/>
                  </a:lnTo>
                  <a:lnTo>
                    <a:pt x="4101649" y="554543"/>
                  </a:lnTo>
                  <a:lnTo>
                    <a:pt x="4101649" y="551658"/>
                  </a:lnTo>
                  <a:lnTo>
                    <a:pt x="4102945" y="545390"/>
                  </a:lnTo>
                  <a:lnTo>
                    <a:pt x="4102945" y="542107"/>
                  </a:lnTo>
                  <a:lnTo>
                    <a:pt x="4102945" y="540814"/>
                  </a:lnTo>
                  <a:lnTo>
                    <a:pt x="4100354" y="537431"/>
                  </a:lnTo>
                  <a:lnTo>
                    <a:pt x="4100354" y="536237"/>
                  </a:lnTo>
                  <a:lnTo>
                    <a:pt x="4100354" y="534645"/>
                  </a:lnTo>
                  <a:lnTo>
                    <a:pt x="4101052" y="524697"/>
                  </a:lnTo>
                  <a:lnTo>
                    <a:pt x="4102745" y="519125"/>
                  </a:lnTo>
                  <a:lnTo>
                    <a:pt x="4107030" y="508182"/>
                  </a:lnTo>
                  <a:lnTo>
                    <a:pt x="4103543" y="514052"/>
                  </a:lnTo>
                  <a:lnTo>
                    <a:pt x="4102845" y="514748"/>
                  </a:lnTo>
                  <a:lnTo>
                    <a:pt x="4102148" y="515345"/>
                  </a:lnTo>
                  <a:lnTo>
                    <a:pt x="4101450" y="516141"/>
                  </a:lnTo>
                  <a:lnTo>
                    <a:pt x="4100852" y="517633"/>
                  </a:lnTo>
                  <a:lnTo>
                    <a:pt x="4100852" y="518628"/>
                  </a:lnTo>
                  <a:lnTo>
                    <a:pt x="4100852" y="521016"/>
                  </a:lnTo>
                  <a:lnTo>
                    <a:pt x="4100852" y="522110"/>
                  </a:lnTo>
                  <a:lnTo>
                    <a:pt x="4100155" y="524597"/>
                  </a:lnTo>
                  <a:lnTo>
                    <a:pt x="4099358" y="526885"/>
                  </a:lnTo>
                  <a:lnTo>
                    <a:pt x="4098162" y="528776"/>
                  </a:lnTo>
                  <a:lnTo>
                    <a:pt x="4096568" y="530566"/>
                  </a:lnTo>
                  <a:lnTo>
                    <a:pt x="4094874" y="531860"/>
                  </a:lnTo>
                  <a:lnTo>
                    <a:pt x="4093180" y="532656"/>
                  </a:lnTo>
                  <a:lnTo>
                    <a:pt x="4092283" y="532656"/>
                  </a:lnTo>
                  <a:lnTo>
                    <a:pt x="4093180" y="529970"/>
                  </a:lnTo>
                  <a:lnTo>
                    <a:pt x="4092183" y="529970"/>
                  </a:lnTo>
                  <a:lnTo>
                    <a:pt x="4093180" y="527582"/>
                  </a:lnTo>
                  <a:lnTo>
                    <a:pt x="4096568" y="521613"/>
                  </a:lnTo>
                  <a:lnTo>
                    <a:pt x="4097564" y="519026"/>
                  </a:lnTo>
                  <a:lnTo>
                    <a:pt x="4098062" y="516738"/>
                  </a:lnTo>
                  <a:lnTo>
                    <a:pt x="4098660" y="508779"/>
                  </a:lnTo>
                  <a:lnTo>
                    <a:pt x="4099258" y="507585"/>
                  </a:lnTo>
                  <a:lnTo>
                    <a:pt x="4100852" y="506192"/>
                  </a:lnTo>
                  <a:lnTo>
                    <a:pt x="4102745" y="505197"/>
                  </a:lnTo>
                  <a:lnTo>
                    <a:pt x="4104838" y="505197"/>
                  </a:lnTo>
                  <a:lnTo>
                    <a:pt x="4106831" y="505794"/>
                  </a:lnTo>
                  <a:lnTo>
                    <a:pt x="4107628" y="507585"/>
                  </a:lnTo>
                  <a:lnTo>
                    <a:pt x="4110020" y="501616"/>
                  </a:lnTo>
                  <a:lnTo>
                    <a:pt x="4110617" y="497537"/>
                  </a:lnTo>
                  <a:lnTo>
                    <a:pt x="4109023" y="492662"/>
                  </a:lnTo>
                  <a:lnTo>
                    <a:pt x="4108226" y="486593"/>
                  </a:lnTo>
                  <a:lnTo>
                    <a:pt x="4107429" y="484802"/>
                  </a:lnTo>
                  <a:lnTo>
                    <a:pt x="4101151" y="474157"/>
                  </a:lnTo>
                  <a:lnTo>
                    <a:pt x="4099457" y="470377"/>
                  </a:lnTo>
                  <a:lnTo>
                    <a:pt x="4099955" y="468685"/>
                  </a:lnTo>
                  <a:lnTo>
                    <a:pt x="4099158" y="467989"/>
                  </a:lnTo>
                  <a:lnTo>
                    <a:pt x="4096767" y="464308"/>
                  </a:lnTo>
                  <a:lnTo>
                    <a:pt x="4096069" y="462716"/>
                  </a:lnTo>
                  <a:lnTo>
                    <a:pt x="4096069" y="460229"/>
                  </a:lnTo>
                  <a:lnTo>
                    <a:pt x="4096568" y="458737"/>
                  </a:lnTo>
                  <a:lnTo>
                    <a:pt x="4096568" y="457344"/>
                  </a:lnTo>
                  <a:lnTo>
                    <a:pt x="4094774" y="455652"/>
                  </a:lnTo>
                  <a:lnTo>
                    <a:pt x="4091984" y="454956"/>
                  </a:lnTo>
                  <a:lnTo>
                    <a:pt x="4088795" y="455752"/>
                  </a:lnTo>
                  <a:lnTo>
                    <a:pt x="4085806" y="457045"/>
                  </a:lnTo>
                  <a:lnTo>
                    <a:pt x="4081422" y="460726"/>
                  </a:lnTo>
                  <a:lnTo>
                    <a:pt x="4075343" y="463910"/>
                  </a:lnTo>
                  <a:lnTo>
                    <a:pt x="4073052" y="466298"/>
                  </a:lnTo>
                  <a:lnTo>
                    <a:pt x="4071856" y="470476"/>
                  </a:lnTo>
                  <a:lnTo>
                    <a:pt x="4071856" y="474356"/>
                  </a:lnTo>
                  <a:lnTo>
                    <a:pt x="4071059" y="477142"/>
                  </a:lnTo>
                  <a:lnTo>
                    <a:pt x="4068069" y="478236"/>
                  </a:lnTo>
                  <a:lnTo>
                    <a:pt x="4065279" y="477341"/>
                  </a:lnTo>
                  <a:lnTo>
                    <a:pt x="4064781" y="475351"/>
                  </a:lnTo>
                  <a:lnTo>
                    <a:pt x="4065778" y="472565"/>
                  </a:lnTo>
                  <a:lnTo>
                    <a:pt x="4067173" y="469780"/>
                  </a:lnTo>
                  <a:lnTo>
                    <a:pt x="4066276" y="468188"/>
                  </a:lnTo>
                  <a:lnTo>
                    <a:pt x="4065080" y="466795"/>
                  </a:lnTo>
                  <a:lnTo>
                    <a:pt x="4063685" y="465900"/>
                  </a:lnTo>
                  <a:lnTo>
                    <a:pt x="4061991" y="465104"/>
                  </a:lnTo>
                  <a:lnTo>
                    <a:pt x="4062888" y="462915"/>
                  </a:lnTo>
                  <a:lnTo>
                    <a:pt x="4063884" y="461323"/>
                  </a:lnTo>
                  <a:lnTo>
                    <a:pt x="4065080" y="460229"/>
                  </a:lnTo>
                  <a:lnTo>
                    <a:pt x="4066475" y="459234"/>
                  </a:lnTo>
                  <a:lnTo>
                    <a:pt x="4067272" y="458737"/>
                  </a:lnTo>
                  <a:lnTo>
                    <a:pt x="4069365" y="458140"/>
                  </a:lnTo>
                  <a:lnTo>
                    <a:pt x="4070262" y="458140"/>
                  </a:lnTo>
                  <a:lnTo>
                    <a:pt x="4070760" y="458140"/>
                  </a:lnTo>
                  <a:lnTo>
                    <a:pt x="4071358" y="455752"/>
                  </a:lnTo>
                  <a:lnTo>
                    <a:pt x="4071358" y="454956"/>
                  </a:lnTo>
                  <a:lnTo>
                    <a:pt x="4073749" y="452270"/>
                  </a:lnTo>
                  <a:lnTo>
                    <a:pt x="4074546" y="451076"/>
                  </a:lnTo>
                  <a:lnTo>
                    <a:pt x="4075543" y="449186"/>
                  </a:lnTo>
                  <a:lnTo>
                    <a:pt x="4077436" y="443913"/>
                  </a:lnTo>
                  <a:lnTo>
                    <a:pt x="4078233" y="442023"/>
                  </a:lnTo>
                  <a:lnTo>
                    <a:pt x="4077635" y="442023"/>
                  </a:lnTo>
                  <a:lnTo>
                    <a:pt x="4077635" y="442023"/>
                  </a:lnTo>
                  <a:lnTo>
                    <a:pt x="4077635" y="442023"/>
                  </a:lnTo>
                  <a:lnTo>
                    <a:pt x="4077635" y="442023"/>
                  </a:lnTo>
                  <a:lnTo>
                    <a:pt x="4076141" y="442023"/>
                  </a:lnTo>
                  <a:lnTo>
                    <a:pt x="4070660" y="442023"/>
                  </a:lnTo>
                  <a:lnTo>
                    <a:pt x="4068866" y="442520"/>
                  </a:lnTo>
                  <a:lnTo>
                    <a:pt x="4067472" y="443217"/>
                  </a:lnTo>
                  <a:lnTo>
                    <a:pt x="4062988" y="446599"/>
                  </a:lnTo>
                  <a:lnTo>
                    <a:pt x="4061194" y="447494"/>
                  </a:lnTo>
                  <a:lnTo>
                    <a:pt x="4059301" y="447494"/>
                  </a:lnTo>
                  <a:lnTo>
                    <a:pt x="4055514" y="447494"/>
                  </a:lnTo>
                  <a:lnTo>
                    <a:pt x="4053521" y="446798"/>
                  </a:lnTo>
                  <a:lnTo>
                    <a:pt x="4052923" y="445903"/>
                  </a:lnTo>
                  <a:lnTo>
                    <a:pt x="4052923" y="444709"/>
                  </a:lnTo>
                  <a:lnTo>
                    <a:pt x="4051528" y="440829"/>
                  </a:lnTo>
                  <a:lnTo>
                    <a:pt x="4051528" y="439834"/>
                  </a:lnTo>
                  <a:lnTo>
                    <a:pt x="4051528" y="439834"/>
                  </a:lnTo>
                  <a:lnTo>
                    <a:pt x="4042561" y="442819"/>
                  </a:lnTo>
                  <a:lnTo>
                    <a:pt x="4041664" y="443913"/>
                  </a:lnTo>
                  <a:lnTo>
                    <a:pt x="4040767" y="445803"/>
                  </a:lnTo>
                  <a:lnTo>
                    <a:pt x="4040767" y="447892"/>
                  </a:lnTo>
                  <a:lnTo>
                    <a:pt x="4040767" y="449982"/>
                  </a:lnTo>
                  <a:lnTo>
                    <a:pt x="4042162" y="449982"/>
                  </a:lnTo>
                  <a:lnTo>
                    <a:pt x="4046945" y="449982"/>
                  </a:lnTo>
                  <a:lnTo>
                    <a:pt x="4048639" y="449982"/>
                  </a:lnTo>
                  <a:lnTo>
                    <a:pt x="4045450" y="457344"/>
                  </a:lnTo>
                  <a:lnTo>
                    <a:pt x="4040767" y="464109"/>
                  </a:lnTo>
                  <a:lnTo>
                    <a:pt x="4041365" y="466994"/>
                  </a:lnTo>
                  <a:lnTo>
                    <a:pt x="4040269" y="470576"/>
                  </a:lnTo>
                  <a:lnTo>
                    <a:pt x="4036881" y="476744"/>
                  </a:lnTo>
                  <a:lnTo>
                    <a:pt x="4036881" y="479430"/>
                  </a:lnTo>
                  <a:lnTo>
                    <a:pt x="4038774" y="482415"/>
                  </a:lnTo>
                  <a:lnTo>
                    <a:pt x="4043358" y="486891"/>
                  </a:lnTo>
                  <a:lnTo>
                    <a:pt x="4040069" y="488085"/>
                  </a:lnTo>
                  <a:lnTo>
                    <a:pt x="4036981" y="487090"/>
                  </a:lnTo>
                  <a:lnTo>
                    <a:pt x="4033991" y="485399"/>
                  </a:lnTo>
                  <a:lnTo>
                    <a:pt x="4027713" y="483807"/>
                  </a:lnTo>
                  <a:lnTo>
                    <a:pt x="4023728" y="481917"/>
                  </a:lnTo>
                  <a:lnTo>
                    <a:pt x="4021237" y="479629"/>
                  </a:lnTo>
                  <a:lnTo>
                    <a:pt x="4022532" y="477341"/>
                  </a:lnTo>
                  <a:lnTo>
                    <a:pt x="4020938" y="476246"/>
                  </a:lnTo>
                  <a:lnTo>
                    <a:pt x="4019642" y="476246"/>
                  </a:lnTo>
                  <a:lnTo>
                    <a:pt x="4018347" y="477042"/>
                  </a:lnTo>
                  <a:lnTo>
                    <a:pt x="4016952" y="477042"/>
                  </a:lnTo>
                  <a:lnTo>
                    <a:pt x="4015358" y="477042"/>
                  </a:lnTo>
                  <a:lnTo>
                    <a:pt x="4012667" y="475351"/>
                  </a:lnTo>
                  <a:lnTo>
                    <a:pt x="4010874" y="475351"/>
                  </a:lnTo>
                  <a:lnTo>
                    <a:pt x="4008084" y="474257"/>
                  </a:lnTo>
                  <a:lnTo>
                    <a:pt x="4006988" y="471172"/>
                  </a:lnTo>
                  <a:lnTo>
                    <a:pt x="4005991" y="449783"/>
                  </a:lnTo>
                  <a:lnTo>
                    <a:pt x="4004596" y="445803"/>
                  </a:lnTo>
                  <a:lnTo>
                    <a:pt x="4001208" y="444012"/>
                  </a:lnTo>
                  <a:lnTo>
                    <a:pt x="3997521" y="442819"/>
                  </a:lnTo>
                  <a:lnTo>
                    <a:pt x="3994731" y="440829"/>
                  </a:lnTo>
                  <a:lnTo>
                    <a:pt x="3994133" y="437844"/>
                  </a:lnTo>
                  <a:lnTo>
                    <a:pt x="3995429" y="431477"/>
                  </a:lnTo>
                  <a:lnTo>
                    <a:pt x="3993834" y="427497"/>
                  </a:lnTo>
                  <a:lnTo>
                    <a:pt x="3993834" y="425209"/>
                  </a:lnTo>
                  <a:lnTo>
                    <a:pt x="3993834" y="424214"/>
                  </a:lnTo>
                  <a:lnTo>
                    <a:pt x="3993237" y="423319"/>
                  </a:lnTo>
                  <a:lnTo>
                    <a:pt x="3991742" y="422225"/>
                  </a:lnTo>
                  <a:lnTo>
                    <a:pt x="3991742" y="422225"/>
                  </a:lnTo>
                  <a:lnTo>
                    <a:pt x="3986959" y="413967"/>
                  </a:lnTo>
                  <a:lnTo>
                    <a:pt x="3984966" y="412176"/>
                  </a:lnTo>
                  <a:lnTo>
                    <a:pt x="3982375" y="411580"/>
                  </a:lnTo>
                  <a:lnTo>
                    <a:pt x="3975101" y="410983"/>
                  </a:lnTo>
                  <a:lnTo>
                    <a:pt x="3971415" y="409590"/>
                  </a:lnTo>
                  <a:lnTo>
                    <a:pt x="3959856" y="401929"/>
                  </a:lnTo>
                  <a:lnTo>
                    <a:pt x="3957265" y="399243"/>
                  </a:lnTo>
                  <a:lnTo>
                    <a:pt x="3954077" y="391980"/>
                  </a:lnTo>
                  <a:lnTo>
                    <a:pt x="3953479" y="390090"/>
                  </a:lnTo>
                  <a:lnTo>
                    <a:pt x="3953479" y="388001"/>
                  </a:lnTo>
                  <a:lnTo>
                    <a:pt x="3953977" y="386310"/>
                  </a:lnTo>
                  <a:lnTo>
                    <a:pt x="3953977" y="385016"/>
                  </a:lnTo>
                  <a:lnTo>
                    <a:pt x="3952582" y="384021"/>
                  </a:lnTo>
                  <a:lnTo>
                    <a:pt x="3953379" y="381634"/>
                  </a:lnTo>
                  <a:lnTo>
                    <a:pt x="3953379" y="379346"/>
                  </a:lnTo>
                  <a:lnTo>
                    <a:pt x="3952781" y="377654"/>
                  </a:lnTo>
                  <a:lnTo>
                    <a:pt x="3949294" y="376560"/>
                  </a:lnTo>
                  <a:lnTo>
                    <a:pt x="3947998" y="375267"/>
                  </a:lnTo>
                  <a:lnTo>
                    <a:pt x="3945408" y="372083"/>
                  </a:lnTo>
                  <a:lnTo>
                    <a:pt x="3935443" y="364721"/>
                  </a:lnTo>
                  <a:lnTo>
                    <a:pt x="3932753" y="361338"/>
                  </a:lnTo>
                  <a:lnTo>
                    <a:pt x="3928767" y="354673"/>
                  </a:lnTo>
                  <a:lnTo>
                    <a:pt x="3925977" y="351688"/>
                  </a:lnTo>
                  <a:lnTo>
                    <a:pt x="3921792" y="350892"/>
                  </a:lnTo>
                  <a:lnTo>
                    <a:pt x="3920098" y="349897"/>
                  </a:lnTo>
                  <a:lnTo>
                    <a:pt x="3919201" y="348504"/>
                  </a:lnTo>
                  <a:lnTo>
                    <a:pt x="3917906" y="345619"/>
                  </a:lnTo>
                  <a:lnTo>
                    <a:pt x="3916610" y="344425"/>
                  </a:lnTo>
                  <a:lnTo>
                    <a:pt x="3911429" y="341242"/>
                  </a:lnTo>
                  <a:lnTo>
                    <a:pt x="3909735" y="339153"/>
                  </a:lnTo>
                  <a:lnTo>
                    <a:pt x="3907642" y="335571"/>
                  </a:lnTo>
                  <a:lnTo>
                    <a:pt x="3906646" y="333283"/>
                  </a:lnTo>
                  <a:lnTo>
                    <a:pt x="3906646" y="331293"/>
                  </a:lnTo>
                  <a:lnTo>
                    <a:pt x="3906646" y="329602"/>
                  </a:lnTo>
                  <a:lnTo>
                    <a:pt x="3907443" y="327513"/>
                  </a:lnTo>
                  <a:lnTo>
                    <a:pt x="3907443" y="325622"/>
                  </a:lnTo>
                  <a:lnTo>
                    <a:pt x="3904354" y="323732"/>
                  </a:lnTo>
                  <a:lnTo>
                    <a:pt x="3899372" y="318459"/>
                  </a:lnTo>
                  <a:lnTo>
                    <a:pt x="3897977" y="316370"/>
                  </a:lnTo>
                  <a:lnTo>
                    <a:pt x="3895884" y="307814"/>
                  </a:lnTo>
                  <a:lnTo>
                    <a:pt x="3898077" y="302442"/>
                  </a:lnTo>
                  <a:lnTo>
                    <a:pt x="3903158" y="299258"/>
                  </a:lnTo>
                  <a:lnTo>
                    <a:pt x="3918105" y="292792"/>
                  </a:lnTo>
                  <a:lnTo>
                    <a:pt x="3920995" y="292195"/>
                  </a:lnTo>
                  <a:lnTo>
                    <a:pt x="3927471" y="292195"/>
                  </a:lnTo>
                  <a:lnTo>
                    <a:pt x="3944810" y="288215"/>
                  </a:lnTo>
                  <a:lnTo>
                    <a:pt x="3949792" y="285728"/>
                  </a:lnTo>
                  <a:lnTo>
                    <a:pt x="3954475" y="281947"/>
                  </a:lnTo>
                  <a:lnTo>
                    <a:pt x="3954475" y="281450"/>
                  </a:lnTo>
                  <a:lnTo>
                    <a:pt x="3954475" y="280853"/>
                  </a:lnTo>
                  <a:lnTo>
                    <a:pt x="3954475" y="280157"/>
                  </a:lnTo>
                  <a:lnTo>
                    <a:pt x="3954475" y="279261"/>
                  </a:lnTo>
                  <a:lnTo>
                    <a:pt x="3941023" y="279261"/>
                  </a:lnTo>
                  <a:lnTo>
                    <a:pt x="3935842" y="277470"/>
                  </a:lnTo>
                  <a:lnTo>
                    <a:pt x="3933151" y="277470"/>
                  </a:lnTo>
                  <a:lnTo>
                    <a:pt x="3921792" y="277470"/>
                  </a:lnTo>
                  <a:lnTo>
                    <a:pt x="3916511" y="276476"/>
                  </a:lnTo>
                  <a:lnTo>
                    <a:pt x="3911030" y="274088"/>
                  </a:lnTo>
                  <a:lnTo>
                    <a:pt x="3909237" y="275779"/>
                  </a:lnTo>
                  <a:lnTo>
                    <a:pt x="3908141" y="278266"/>
                  </a:lnTo>
                  <a:lnTo>
                    <a:pt x="3907344" y="280953"/>
                  </a:lnTo>
                  <a:lnTo>
                    <a:pt x="3906247" y="283141"/>
                  </a:lnTo>
                  <a:lnTo>
                    <a:pt x="3904055" y="284335"/>
                  </a:lnTo>
                  <a:lnTo>
                    <a:pt x="3901465" y="283340"/>
                  </a:lnTo>
                  <a:lnTo>
                    <a:pt x="3899173" y="281350"/>
                  </a:lnTo>
                  <a:lnTo>
                    <a:pt x="3897578" y="279460"/>
                  </a:lnTo>
                  <a:lnTo>
                    <a:pt x="3892796" y="277769"/>
                  </a:lnTo>
                  <a:lnTo>
                    <a:pt x="3881835" y="282942"/>
                  </a:lnTo>
                  <a:lnTo>
                    <a:pt x="3877948" y="281251"/>
                  </a:lnTo>
                  <a:lnTo>
                    <a:pt x="3876255" y="278465"/>
                  </a:lnTo>
                  <a:lnTo>
                    <a:pt x="3874461" y="271899"/>
                  </a:lnTo>
                  <a:lnTo>
                    <a:pt x="3872767" y="269213"/>
                  </a:lnTo>
                  <a:lnTo>
                    <a:pt x="3871073" y="268119"/>
                  </a:lnTo>
                  <a:lnTo>
                    <a:pt x="3867586" y="266726"/>
                  </a:lnTo>
                  <a:lnTo>
                    <a:pt x="3865792" y="265731"/>
                  </a:lnTo>
                  <a:lnTo>
                    <a:pt x="3865792" y="265035"/>
                  </a:lnTo>
                  <a:lnTo>
                    <a:pt x="3863998" y="261652"/>
                  </a:lnTo>
                  <a:lnTo>
                    <a:pt x="3863998" y="261652"/>
                  </a:lnTo>
                  <a:lnTo>
                    <a:pt x="3863102" y="260359"/>
                  </a:lnTo>
                  <a:lnTo>
                    <a:pt x="3859614" y="259563"/>
                  </a:lnTo>
                  <a:lnTo>
                    <a:pt x="3857920" y="256578"/>
                  </a:lnTo>
                  <a:lnTo>
                    <a:pt x="3855927" y="256578"/>
                  </a:lnTo>
                  <a:lnTo>
                    <a:pt x="3853735" y="257076"/>
                  </a:lnTo>
                  <a:lnTo>
                    <a:pt x="3852141" y="257076"/>
                  </a:lnTo>
                  <a:lnTo>
                    <a:pt x="3852141" y="252201"/>
                  </a:lnTo>
                  <a:lnTo>
                    <a:pt x="3853835" y="248022"/>
                  </a:lnTo>
                  <a:lnTo>
                    <a:pt x="3858020" y="241655"/>
                  </a:lnTo>
                  <a:lnTo>
                    <a:pt x="3857322" y="241655"/>
                  </a:lnTo>
                  <a:lnTo>
                    <a:pt x="3856126" y="240959"/>
                  </a:lnTo>
                  <a:lnTo>
                    <a:pt x="3855429" y="240959"/>
                  </a:lnTo>
                  <a:lnTo>
                    <a:pt x="3855927" y="239765"/>
                  </a:lnTo>
                  <a:lnTo>
                    <a:pt x="3857621" y="237079"/>
                  </a:lnTo>
                  <a:lnTo>
                    <a:pt x="3857621" y="236084"/>
                  </a:lnTo>
                  <a:lnTo>
                    <a:pt x="3857621" y="234691"/>
                  </a:lnTo>
                  <a:lnTo>
                    <a:pt x="3857621" y="233895"/>
                  </a:lnTo>
                  <a:lnTo>
                    <a:pt x="3857621" y="233298"/>
                  </a:lnTo>
                  <a:lnTo>
                    <a:pt x="3857621" y="232303"/>
                  </a:lnTo>
                  <a:lnTo>
                    <a:pt x="3859514" y="224742"/>
                  </a:lnTo>
                  <a:lnTo>
                    <a:pt x="3860212" y="222653"/>
                  </a:lnTo>
                  <a:lnTo>
                    <a:pt x="3861507" y="220962"/>
                  </a:lnTo>
                  <a:lnTo>
                    <a:pt x="3863102" y="219270"/>
                  </a:lnTo>
                  <a:lnTo>
                    <a:pt x="3866390" y="216584"/>
                  </a:lnTo>
                  <a:lnTo>
                    <a:pt x="3871472" y="214793"/>
                  </a:lnTo>
                  <a:lnTo>
                    <a:pt x="3872867" y="213500"/>
                  </a:lnTo>
                  <a:lnTo>
                    <a:pt x="3873863" y="211610"/>
                  </a:lnTo>
                  <a:lnTo>
                    <a:pt x="3875059" y="208625"/>
                  </a:lnTo>
                  <a:lnTo>
                    <a:pt x="3875557" y="205740"/>
                  </a:lnTo>
                  <a:lnTo>
                    <a:pt x="3874561" y="204546"/>
                  </a:lnTo>
                  <a:lnTo>
                    <a:pt x="3873564" y="203452"/>
                  </a:lnTo>
                  <a:lnTo>
                    <a:pt x="3874461" y="201164"/>
                  </a:lnTo>
                  <a:lnTo>
                    <a:pt x="3876753" y="197781"/>
                  </a:lnTo>
                  <a:lnTo>
                    <a:pt x="3876753" y="194796"/>
                  </a:lnTo>
                  <a:lnTo>
                    <a:pt x="3877251" y="192807"/>
                  </a:lnTo>
                  <a:lnTo>
                    <a:pt x="3881037" y="187136"/>
                  </a:lnTo>
                  <a:lnTo>
                    <a:pt x="3881037" y="185544"/>
                  </a:lnTo>
                  <a:lnTo>
                    <a:pt x="3879642" y="184450"/>
                  </a:lnTo>
                  <a:lnTo>
                    <a:pt x="3877550" y="182360"/>
                  </a:lnTo>
                  <a:lnTo>
                    <a:pt x="3878845" y="179674"/>
                  </a:lnTo>
                  <a:lnTo>
                    <a:pt x="3883230" y="172810"/>
                  </a:lnTo>
                  <a:lnTo>
                    <a:pt x="3885721" y="170720"/>
                  </a:lnTo>
                  <a:lnTo>
                    <a:pt x="3886817" y="168830"/>
                  </a:lnTo>
                  <a:lnTo>
                    <a:pt x="3887614" y="166840"/>
                  </a:lnTo>
                  <a:lnTo>
                    <a:pt x="3887614" y="165348"/>
                  </a:lnTo>
                  <a:lnTo>
                    <a:pt x="3887614" y="163557"/>
                  </a:lnTo>
                  <a:lnTo>
                    <a:pt x="3887016" y="162761"/>
                  </a:lnTo>
                  <a:lnTo>
                    <a:pt x="3886219" y="162065"/>
                  </a:lnTo>
                  <a:lnTo>
                    <a:pt x="3885322" y="160473"/>
                  </a:lnTo>
                  <a:lnTo>
                    <a:pt x="3884525" y="158782"/>
                  </a:lnTo>
                  <a:lnTo>
                    <a:pt x="3883628" y="155996"/>
                  </a:lnTo>
                  <a:lnTo>
                    <a:pt x="3883628" y="152813"/>
                  </a:lnTo>
                  <a:lnTo>
                    <a:pt x="3884326" y="150127"/>
                  </a:lnTo>
                  <a:lnTo>
                    <a:pt x="3888610" y="147341"/>
                  </a:lnTo>
                  <a:lnTo>
                    <a:pt x="3890703" y="145252"/>
                  </a:lnTo>
                  <a:lnTo>
                    <a:pt x="3889806" y="137691"/>
                  </a:lnTo>
                  <a:lnTo>
                    <a:pt x="3894589" y="133612"/>
                  </a:lnTo>
                  <a:lnTo>
                    <a:pt x="3901166" y="131025"/>
                  </a:lnTo>
                  <a:lnTo>
                    <a:pt x="3906048" y="130130"/>
                  </a:lnTo>
                  <a:lnTo>
                    <a:pt x="3911329" y="130130"/>
                  </a:lnTo>
                  <a:lnTo>
                    <a:pt x="3917408" y="131522"/>
                  </a:lnTo>
                  <a:lnTo>
                    <a:pt x="3922290" y="134805"/>
                  </a:lnTo>
                  <a:lnTo>
                    <a:pt x="3923884" y="140775"/>
                  </a:lnTo>
                  <a:lnTo>
                    <a:pt x="3928767" y="138487"/>
                  </a:lnTo>
                  <a:lnTo>
                    <a:pt x="3963941" y="137293"/>
                  </a:lnTo>
                  <a:lnTo>
                    <a:pt x="3976596" y="140377"/>
                  </a:lnTo>
                  <a:lnTo>
                    <a:pt x="3997222" y="151320"/>
                  </a:lnTo>
                  <a:lnTo>
                    <a:pt x="4003201" y="153509"/>
                  </a:lnTo>
                  <a:lnTo>
                    <a:pt x="4005991" y="155996"/>
                  </a:lnTo>
                  <a:lnTo>
                    <a:pt x="4007087" y="158086"/>
                  </a:lnTo>
                  <a:lnTo>
                    <a:pt x="4008482" y="162960"/>
                  </a:lnTo>
                  <a:lnTo>
                    <a:pt x="4009877" y="165050"/>
                  </a:lnTo>
                  <a:lnTo>
                    <a:pt x="4012966" y="166641"/>
                  </a:lnTo>
                  <a:lnTo>
                    <a:pt x="4015657" y="166641"/>
                  </a:lnTo>
                  <a:lnTo>
                    <a:pt x="4025621" y="164154"/>
                  </a:lnTo>
                  <a:lnTo>
                    <a:pt x="4026518" y="161767"/>
                  </a:lnTo>
                  <a:lnTo>
                    <a:pt x="4025422" y="158881"/>
                  </a:lnTo>
                  <a:lnTo>
                    <a:pt x="4023230" y="156593"/>
                  </a:lnTo>
                  <a:lnTo>
                    <a:pt x="4010475" y="153111"/>
                  </a:lnTo>
                  <a:lnTo>
                    <a:pt x="4007087" y="151619"/>
                  </a:lnTo>
                  <a:lnTo>
                    <a:pt x="3999713" y="140874"/>
                  </a:lnTo>
                  <a:lnTo>
                    <a:pt x="3994333" y="137392"/>
                  </a:lnTo>
                  <a:lnTo>
                    <a:pt x="3980980" y="132816"/>
                  </a:lnTo>
                  <a:lnTo>
                    <a:pt x="3976795" y="126747"/>
                  </a:lnTo>
                  <a:lnTo>
                    <a:pt x="3976198" y="119385"/>
                  </a:lnTo>
                  <a:lnTo>
                    <a:pt x="3975101" y="116798"/>
                  </a:lnTo>
                  <a:lnTo>
                    <a:pt x="3972012" y="115803"/>
                  </a:lnTo>
                  <a:lnTo>
                    <a:pt x="3971215" y="114013"/>
                  </a:lnTo>
                  <a:lnTo>
                    <a:pt x="3972511" y="110033"/>
                  </a:lnTo>
                  <a:lnTo>
                    <a:pt x="3975799" y="102969"/>
                  </a:lnTo>
                  <a:lnTo>
                    <a:pt x="3975799" y="101975"/>
                  </a:lnTo>
                  <a:lnTo>
                    <a:pt x="3975799" y="101278"/>
                  </a:lnTo>
                  <a:lnTo>
                    <a:pt x="3975799" y="100681"/>
                  </a:lnTo>
                  <a:lnTo>
                    <a:pt x="3977792" y="100681"/>
                  </a:lnTo>
                  <a:lnTo>
                    <a:pt x="3978689" y="99885"/>
                  </a:lnTo>
                  <a:lnTo>
                    <a:pt x="3979585" y="98891"/>
                  </a:lnTo>
                  <a:lnTo>
                    <a:pt x="3981678" y="95408"/>
                  </a:lnTo>
                  <a:lnTo>
                    <a:pt x="3982276" y="93817"/>
                  </a:lnTo>
                  <a:lnTo>
                    <a:pt x="3982774" y="87748"/>
                  </a:lnTo>
                  <a:lnTo>
                    <a:pt x="3983671" y="83967"/>
                  </a:lnTo>
                  <a:lnTo>
                    <a:pt x="3985066" y="80585"/>
                  </a:lnTo>
                  <a:lnTo>
                    <a:pt x="3986760" y="77799"/>
                  </a:lnTo>
                  <a:lnTo>
                    <a:pt x="3991543" y="72228"/>
                  </a:lnTo>
                  <a:lnTo>
                    <a:pt x="3992240" y="70437"/>
                  </a:lnTo>
                  <a:lnTo>
                    <a:pt x="3992240" y="68845"/>
                  </a:lnTo>
                  <a:lnTo>
                    <a:pt x="3991742" y="67452"/>
                  </a:lnTo>
                  <a:lnTo>
                    <a:pt x="3991742" y="66159"/>
                  </a:lnTo>
                  <a:lnTo>
                    <a:pt x="3997820" y="56210"/>
                  </a:lnTo>
                  <a:lnTo>
                    <a:pt x="4000012" y="54022"/>
                  </a:lnTo>
                  <a:lnTo>
                    <a:pt x="4004995" y="50341"/>
                  </a:lnTo>
                  <a:lnTo>
                    <a:pt x="4006489" y="48351"/>
                  </a:lnTo>
                  <a:lnTo>
                    <a:pt x="4006489" y="44869"/>
                  </a:lnTo>
                  <a:lnTo>
                    <a:pt x="4006489" y="41884"/>
                  </a:lnTo>
                  <a:lnTo>
                    <a:pt x="4007087" y="39397"/>
                  </a:lnTo>
                  <a:lnTo>
                    <a:pt x="4008582" y="38303"/>
                  </a:lnTo>
                  <a:lnTo>
                    <a:pt x="4011770" y="38303"/>
                  </a:lnTo>
                  <a:lnTo>
                    <a:pt x="4013863" y="39795"/>
                  </a:lnTo>
                  <a:lnTo>
                    <a:pt x="4020639" y="45565"/>
                  </a:lnTo>
                  <a:lnTo>
                    <a:pt x="4022133" y="47555"/>
                  </a:lnTo>
                  <a:lnTo>
                    <a:pt x="4020838" y="50739"/>
                  </a:lnTo>
                  <a:lnTo>
                    <a:pt x="4017849" y="52330"/>
                  </a:lnTo>
                  <a:lnTo>
                    <a:pt x="4011770" y="54320"/>
                  </a:lnTo>
                  <a:lnTo>
                    <a:pt x="4013464" y="56310"/>
                  </a:lnTo>
                  <a:lnTo>
                    <a:pt x="4015955" y="57106"/>
                  </a:lnTo>
                  <a:lnTo>
                    <a:pt x="4018447" y="57106"/>
                  </a:lnTo>
                  <a:lnTo>
                    <a:pt x="4032995" y="54420"/>
                  </a:lnTo>
                  <a:lnTo>
                    <a:pt x="4036482" y="55514"/>
                  </a:lnTo>
                  <a:lnTo>
                    <a:pt x="4035884" y="58300"/>
                  </a:lnTo>
                  <a:lnTo>
                    <a:pt x="4033393" y="61483"/>
                  </a:lnTo>
                  <a:lnTo>
                    <a:pt x="4028012" y="66557"/>
                  </a:lnTo>
                  <a:lnTo>
                    <a:pt x="4025621" y="68149"/>
                  </a:lnTo>
                  <a:lnTo>
                    <a:pt x="4022632" y="68845"/>
                  </a:lnTo>
                  <a:lnTo>
                    <a:pt x="4019343" y="68845"/>
                  </a:lnTo>
                  <a:lnTo>
                    <a:pt x="4016553" y="69741"/>
                  </a:lnTo>
                  <a:lnTo>
                    <a:pt x="4011172" y="73919"/>
                  </a:lnTo>
                  <a:lnTo>
                    <a:pt x="4007685" y="75014"/>
                  </a:lnTo>
                  <a:lnTo>
                    <a:pt x="4001109" y="75014"/>
                  </a:lnTo>
                  <a:lnTo>
                    <a:pt x="3999614" y="75014"/>
                  </a:lnTo>
                  <a:lnTo>
                    <a:pt x="3996625" y="76605"/>
                  </a:lnTo>
                  <a:lnTo>
                    <a:pt x="3995030" y="77103"/>
                  </a:lnTo>
                  <a:lnTo>
                    <a:pt x="3992240" y="78396"/>
                  </a:lnTo>
                  <a:lnTo>
                    <a:pt x="3991343" y="81580"/>
                  </a:lnTo>
                  <a:lnTo>
                    <a:pt x="3991343" y="89340"/>
                  </a:lnTo>
                  <a:lnTo>
                    <a:pt x="3990746" y="91230"/>
                  </a:lnTo>
                  <a:lnTo>
                    <a:pt x="3989151" y="94115"/>
                  </a:lnTo>
                  <a:lnTo>
                    <a:pt x="3989151" y="95906"/>
                  </a:lnTo>
                  <a:lnTo>
                    <a:pt x="3989650" y="97796"/>
                  </a:lnTo>
                  <a:lnTo>
                    <a:pt x="3992141" y="100383"/>
                  </a:lnTo>
                  <a:lnTo>
                    <a:pt x="3992639" y="102074"/>
                  </a:lnTo>
                  <a:lnTo>
                    <a:pt x="3991044" y="102074"/>
                  </a:lnTo>
                  <a:lnTo>
                    <a:pt x="3987457" y="104462"/>
                  </a:lnTo>
                  <a:lnTo>
                    <a:pt x="3982176" y="109138"/>
                  </a:lnTo>
                  <a:lnTo>
                    <a:pt x="3983372" y="111227"/>
                  </a:lnTo>
                  <a:lnTo>
                    <a:pt x="3985166" y="112918"/>
                  </a:lnTo>
                  <a:lnTo>
                    <a:pt x="3993436" y="117793"/>
                  </a:lnTo>
                  <a:lnTo>
                    <a:pt x="3995130" y="119285"/>
                  </a:lnTo>
                  <a:lnTo>
                    <a:pt x="3996923" y="121375"/>
                  </a:lnTo>
                  <a:lnTo>
                    <a:pt x="3999215" y="124658"/>
                  </a:lnTo>
                  <a:lnTo>
                    <a:pt x="4000610" y="125255"/>
                  </a:lnTo>
                  <a:lnTo>
                    <a:pt x="4003101" y="125255"/>
                  </a:lnTo>
                  <a:lnTo>
                    <a:pt x="4005294" y="124061"/>
                  </a:lnTo>
                  <a:lnTo>
                    <a:pt x="4006888" y="122171"/>
                  </a:lnTo>
                  <a:lnTo>
                    <a:pt x="4006888" y="119982"/>
                  </a:lnTo>
                  <a:lnTo>
                    <a:pt x="4005294" y="117893"/>
                  </a:lnTo>
                  <a:lnTo>
                    <a:pt x="4007486" y="114311"/>
                  </a:lnTo>
                  <a:lnTo>
                    <a:pt x="4010874" y="112321"/>
                  </a:lnTo>
                  <a:lnTo>
                    <a:pt x="4014361" y="110928"/>
                  </a:lnTo>
                  <a:lnTo>
                    <a:pt x="4019543" y="106153"/>
                  </a:lnTo>
                  <a:lnTo>
                    <a:pt x="4022931" y="104661"/>
                  </a:lnTo>
                  <a:lnTo>
                    <a:pt x="4026319" y="104661"/>
                  </a:lnTo>
                  <a:lnTo>
                    <a:pt x="4032297" y="107844"/>
                  </a:lnTo>
                  <a:lnTo>
                    <a:pt x="4034988" y="105954"/>
                  </a:lnTo>
                  <a:lnTo>
                    <a:pt x="4039172" y="99587"/>
                  </a:lnTo>
                  <a:lnTo>
                    <a:pt x="4040368" y="98393"/>
                  </a:lnTo>
                  <a:lnTo>
                    <a:pt x="4041863" y="97199"/>
                  </a:lnTo>
                  <a:lnTo>
                    <a:pt x="4043358" y="96403"/>
                  </a:lnTo>
                  <a:lnTo>
                    <a:pt x="4044852" y="96403"/>
                  </a:lnTo>
                  <a:lnTo>
                    <a:pt x="4044852" y="97398"/>
                  </a:lnTo>
                  <a:lnTo>
                    <a:pt x="4045650" y="102074"/>
                  </a:lnTo>
                  <a:lnTo>
                    <a:pt x="4045650" y="103666"/>
                  </a:lnTo>
                  <a:lnTo>
                    <a:pt x="4044155" y="106651"/>
                  </a:lnTo>
                  <a:lnTo>
                    <a:pt x="4042062" y="109834"/>
                  </a:lnTo>
                  <a:lnTo>
                    <a:pt x="4039571" y="112321"/>
                  </a:lnTo>
                  <a:lnTo>
                    <a:pt x="4037279" y="113416"/>
                  </a:lnTo>
                  <a:lnTo>
                    <a:pt x="4030304" y="113416"/>
                  </a:lnTo>
                  <a:lnTo>
                    <a:pt x="4028710" y="113416"/>
                  </a:lnTo>
                  <a:lnTo>
                    <a:pt x="4025920" y="115007"/>
                  </a:lnTo>
                  <a:lnTo>
                    <a:pt x="4024724" y="115007"/>
                  </a:lnTo>
                  <a:lnTo>
                    <a:pt x="4018247" y="113913"/>
                  </a:lnTo>
                  <a:lnTo>
                    <a:pt x="4014860" y="114510"/>
                  </a:lnTo>
                  <a:lnTo>
                    <a:pt x="4013365" y="118092"/>
                  </a:lnTo>
                  <a:lnTo>
                    <a:pt x="4014062" y="121773"/>
                  </a:lnTo>
                  <a:lnTo>
                    <a:pt x="4015557" y="124757"/>
                  </a:lnTo>
                  <a:lnTo>
                    <a:pt x="4017052" y="126747"/>
                  </a:lnTo>
                  <a:lnTo>
                    <a:pt x="4018247" y="127642"/>
                  </a:lnTo>
                  <a:lnTo>
                    <a:pt x="4018746" y="127642"/>
                  </a:lnTo>
                  <a:lnTo>
                    <a:pt x="4018746" y="128339"/>
                  </a:lnTo>
                  <a:lnTo>
                    <a:pt x="4018746" y="129234"/>
                  </a:lnTo>
                  <a:lnTo>
                    <a:pt x="4016454" y="131721"/>
                  </a:lnTo>
                  <a:lnTo>
                    <a:pt x="4015557" y="133711"/>
                  </a:lnTo>
                  <a:lnTo>
                    <a:pt x="4015557" y="135701"/>
                  </a:lnTo>
                  <a:lnTo>
                    <a:pt x="4017052" y="138387"/>
                  </a:lnTo>
                  <a:lnTo>
                    <a:pt x="4018148" y="139183"/>
                  </a:lnTo>
                  <a:lnTo>
                    <a:pt x="4021137" y="139780"/>
                  </a:lnTo>
                  <a:lnTo>
                    <a:pt x="4022233" y="140775"/>
                  </a:lnTo>
                  <a:lnTo>
                    <a:pt x="4022731" y="142068"/>
                  </a:lnTo>
                  <a:lnTo>
                    <a:pt x="4022731" y="144854"/>
                  </a:lnTo>
                  <a:lnTo>
                    <a:pt x="4022731" y="146247"/>
                  </a:lnTo>
                  <a:lnTo>
                    <a:pt x="4024824" y="150624"/>
                  </a:lnTo>
                  <a:lnTo>
                    <a:pt x="4031002" y="157190"/>
                  </a:lnTo>
                  <a:lnTo>
                    <a:pt x="4033293" y="160772"/>
                  </a:lnTo>
                  <a:lnTo>
                    <a:pt x="4032496" y="163060"/>
                  </a:lnTo>
                  <a:lnTo>
                    <a:pt x="4032496" y="164254"/>
                  </a:lnTo>
                  <a:lnTo>
                    <a:pt x="4033293" y="165050"/>
                  </a:lnTo>
                  <a:lnTo>
                    <a:pt x="4033293" y="166244"/>
                  </a:lnTo>
                  <a:lnTo>
                    <a:pt x="4032397" y="173506"/>
                  </a:lnTo>
                  <a:lnTo>
                    <a:pt x="4031799" y="174899"/>
                  </a:lnTo>
                  <a:lnTo>
                    <a:pt x="4030603" y="176292"/>
                  </a:lnTo>
                  <a:lnTo>
                    <a:pt x="4029706" y="177784"/>
                  </a:lnTo>
                  <a:lnTo>
                    <a:pt x="4030205" y="179674"/>
                  </a:lnTo>
                  <a:lnTo>
                    <a:pt x="4033493" y="182360"/>
                  </a:lnTo>
                  <a:lnTo>
                    <a:pt x="4034091" y="183256"/>
                  </a:lnTo>
                  <a:lnTo>
                    <a:pt x="4035386" y="186638"/>
                  </a:lnTo>
                  <a:lnTo>
                    <a:pt x="4038276" y="189225"/>
                  </a:lnTo>
                  <a:lnTo>
                    <a:pt x="4041763" y="191314"/>
                  </a:lnTo>
                  <a:lnTo>
                    <a:pt x="4044454" y="193603"/>
                  </a:lnTo>
                  <a:lnTo>
                    <a:pt x="4046347" y="196488"/>
                  </a:lnTo>
                  <a:lnTo>
                    <a:pt x="4047543" y="199074"/>
                  </a:lnTo>
                  <a:lnTo>
                    <a:pt x="4048838" y="201164"/>
                  </a:lnTo>
                  <a:lnTo>
                    <a:pt x="4051429" y="203253"/>
                  </a:lnTo>
                  <a:lnTo>
                    <a:pt x="4050632" y="204447"/>
                  </a:lnTo>
                  <a:lnTo>
                    <a:pt x="4051429" y="206237"/>
                  </a:lnTo>
                  <a:lnTo>
                    <a:pt x="4051429" y="208227"/>
                  </a:lnTo>
                  <a:lnTo>
                    <a:pt x="4050532" y="210316"/>
                  </a:lnTo>
                  <a:lnTo>
                    <a:pt x="4050532" y="212804"/>
                  </a:lnTo>
                  <a:lnTo>
                    <a:pt x="4051329" y="215490"/>
                  </a:lnTo>
                  <a:lnTo>
                    <a:pt x="4052724" y="216982"/>
                  </a:lnTo>
                  <a:lnTo>
                    <a:pt x="4056610" y="218872"/>
                  </a:lnTo>
                  <a:lnTo>
                    <a:pt x="4059899" y="221459"/>
                  </a:lnTo>
                  <a:lnTo>
                    <a:pt x="4061493" y="223449"/>
                  </a:lnTo>
                  <a:lnTo>
                    <a:pt x="4062689" y="226035"/>
                  </a:lnTo>
                  <a:lnTo>
                    <a:pt x="4062689" y="228821"/>
                  </a:lnTo>
                  <a:lnTo>
                    <a:pt x="4062689" y="230711"/>
                  </a:lnTo>
                  <a:lnTo>
                    <a:pt x="4062689" y="232602"/>
                  </a:lnTo>
                  <a:lnTo>
                    <a:pt x="4062689" y="235288"/>
                  </a:lnTo>
                  <a:lnTo>
                    <a:pt x="4063286" y="236482"/>
                  </a:lnTo>
                  <a:lnTo>
                    <a:pt x="4066575" y="241357"/>
                  </a:lnTo>
                  <a:lnTo>
                    <a:pt x="4068069" y="242650"/>
                  </a:lnTo>
                  <a:lnTo>
                    <a:pt x="4071856" y="244441"/>
                  </a:lnTo>
                  <a:lnTo>
                    <a:pt x="4073649" y="246032"/>
                  </a:lnTo>
                  <a:lnTo>
                    <a:pt x="4078731" y="252400"/>
                  </a:lnTo>
                  <a:lnTo>
                    <a:pt x="4084411" y="257473"/>
                  </a:lnTo>
                  <a:lnTo>
                    <a:pt x="4083514" y="258767"/>
                  </a:lnTo>
                  <a:lnTo>
                    <a:pt x="4081322" y="261552"/>
                  </a:lnTo>
                  <a:lnTo>
                    <a:pt x="4081322" y="263045"/>
                  </a:lnTo>
                  <a:lnTo>
                    <a:pt x="4081920" y="264935"/>
                  </a:lnTo>
                  <a:lnTo>
                    <a:pt x="4084112" y="266527"/>
                  </a:lnTo>
                  <a:lnTo>
                    <a:pt x="4084112" y="268417"/>
                  </a:lnTo>
                  <a:lnTo>
                    <a:pt x="4085407" y="268417"/>
                  </a:lnTo>
                  <a:lnTo>
                    <a:pt x="4084411" y="272496"/>
                  </a:lnTo>
                  <a:lnTo>
                    <a:pt x="4084909" y="276177"/>
                  </a:lnTo>
                  <a:lnTo>
                    <a:pt x="4086503" y="279361"/>
                  </a:lnTo>
                  <a:lnTo>
                    <a:pt x="4088895" y="281649"/>
                  </a:lnTo>
                  <a:lnTo>
                    <a:pt x="4090788" y="282345"/>
                  </a:lnTo>
                  <a:lnTo>
                    <a:pt x="4094774" y="283340"/>
                  </a:lnTo>
                  <a:lnTo>
                    <a:pt x="4096269" y="284634"/>
                  </a:lnTo>
                  <a:lnTo>
                    <a:pt x="4096269" y="286325"/>
                  </a:lnTo>
                  <a:lnTo>
                    <a:pt x="4095272" y="287618"/>
                  </a:lnTo>
                  <a:lnTo>
                    <a:pt x="4093877" y="288514"/>
                  </a:lnTo>
                  <a:lnTo>
                    <a:pt x="4089493" y="290105"/>
                  </a:lnTo>
                  <a:lnTo>
                    <a:pt x="4088994" y="291001"/>
                  </a:lnTo>
                  <a:lnTo>
                    <a:pt x="4088994" y="292095"/>
                  </a:lnTo>
                  <a:lnTo>
                    <a:pt x="4088994" y="293587"/>
                  </a:lnTo>
                  <a:lnTo>
                    <a:pt x="4083414" y="294284"/>
                  </a:lnTo>
                  <a:lnTo>
                    <a:pt x="4083414" y="297169"/>
                  </a:lnTo>
                  <a:lnTo>
                    <a:pt x="4085806" y="300054"/>
                  </a:lnTo>
                  <a:lnTo>
                    <a:pt x="4088895" y="303039"/>
                  </a:lnTo>
                  <a:lnTo>
                    <a:pt x="4090788" y="305526"/>
                  </a:lnTo>
                  <a:lnTo>
                    <a:pt x="4088596" y="307516"/>
                  </a:lnTo>
                  <a:lnTo>
                    <a:pt x="4087600" y="308908"/>
                  </a:lnTo>
                  <a:lnTo>
                    <a:pt x="4087600" y="310401"/>
                  </a:lnTo>
                  <a:lnTo>
                    <a:pt x="4088895" y="313286"/>
                  </a:lnTo>
                  <a:lnTo>
                    <a:pt x="4093578" y="317464"/>
                  </a:lnTo>
                  <a:lnTo>
                    <a:pt x="4095173" y="322936"/>
                  </a:lnTo>
                  <a:lnTo>
                    <a:pt x="4098361" y="328905"/>
                  </a:lnTo>
                  <a:lnTo>
                    <a:pt x="4099756" y="330895"/>
                  </a:lnTo>
                  <a:lnTo>
                    <a:pt x="4102347" y="332984"/>
                  </a:lnTo>
                  <a:lnTo>
                    <a:pt x="4108226" y="336367"/>
                  </a:lnTo>
                  <a:lnTo>
                    <a:pt x="4110717" y="338655"/>
                  </a:lnTo>
                  <a:lnTo>
                    <a:pt x="4112810" y="341441"/>
                  </a:lnTo>
                  <a:lnTo>
                    <a:pt x="4113905" y="343232"/>
                  </a:lnTo>
                  <a:lnTo>
                    <a:pt x="4114603" y="345221"/>
                  </a:lnTo>
                  <a:lnTo>
                    <a:pt x="4114603" y="347012"/>
                  </a:lnTo>
                  <a:lnTo>
                    <a:pt x="4113905" y="350096"/>
                  </a:lnTo>
                  <a:lnTo>
                    <a:pt x="4113905" y="351688"/>
                  </a:lnTo>
                  <a:lnTo>
                    <a:pt x="4115400" y="355071"/>
                  </a:lnTo>
                  <a:lnTo>
                    <a:pt x="4119884" y="360542"/>
                  </a:lnTo>
                  <a:lnTo>
                    <a:pt x="4121379" y="367805"/>
                  </a:lnTo>
                  <a:lnTo>
                    <a:pt x="4124667" y="374073"/>
                  </a:lnTo>
                  <a:lnTo>
                    <a:pt x="4125963" y="378052"/>
                  </a:lnTo>
                  <a:lnTo>
                    <a:pt x="4125963" y="384718"/>
                  </a:lnTo>
                  <a:lnTo>
                    <a:pt x="4126461" y="386409"/>
                  </a:lnTo>
                  <a:lnTo>
                    <a:pt x="4127656" y="387504"/>
                  </a:lnTo>
                  <a:lnTo>
                    <a:pt x="4128952" y="387504"/>
                  </a:lnTo>
                  <a:lnTo>
                    <a:pt x="4129450" y="386807"/>
                  </a:lnTo>
                  <a:lnTo>
                    <a:pt x="4130945" y="386807"/>
                  </a:lnTo>
                  <a:lnTo>
                    <a:pt x="4133735" y="388797"/>
                  </a:lnTo>
                  <a:lnTo>
                    <a:pt x="4135030" y="391682"/>
                  </a:lnTo>
                  <a:lnTo>
                    <a:pt x="4132041" y="395164"/>
                  </a:lnTo>
                  <a:lnTo>
                    <a:pt x="4133436" y="396059"/>
                  </a:lnTo>
                  <a:lnTo>
                    <a:pt x="4134632" y="397154"/>
                  </a:lnTo>
                  <a:lnTo>
                    <a:pt x="4135329" y="398447"/>
                  </a:lnTo>
                  <a:lnTo>
                    <a:pt x="4135329" y="400536"/>
                  </a:lnTo>
                  <a:lnTo>
                    <a:pt x="4134632" y="401133"/>
                  </a:lnTo>
                  <a:lnTo>
                    <a:pt x="4132938" y="401929"/>
                  </a:lnTo>
                  <a:lnTo>
                    <a:pt x="4131144" y="403024"/>
                  </a:lnTo>
                  <a:lnTo>
                    <a:pt x="4130148" y="404814"/>
                  </a:lnTo>
                  <a:lnTo>
                    <a:pt x="4131842" y="404814"/>
                  </a:lnTo>
                  <a:lnTo>
                    <a:pt x="4132938" y="405710"/>
                  </a:lnTo>
                  <a:lnTo>
                    <a:pt x="4138119" y="412375"/>
                  </a:lnTo>
                  <a:lnTo>
                    <a:pt x="4138817" y="413868"/>
                  </a:lnTo>
                  <a:lnTo>
                    <a:pt x="4137721" y="418146"/>
                  </a:lnTo>
                  <a:lnTo>
                    <a:pt x="4134333" y="419141"/>
                  </a:lnTo>
                  <a:lnTo>
                    <a:pt x="4130347" y="419141"/>
                  </a:lnTo>
                  <a:lnTo>
                    <a:pt x="4127557" y="420036"/>
                  </a:lnTo>
                  <a:lnTo>
                    <a:pt x="4128852" y="421031"/>
                  </a:lnTo>
                  <a:lnTo>
                    <a:pt x="4130048" y="422623"/>
                  </a:lnTo>
                  <a:lnTo>
                    <a:pt x="4131842" y="426005"/>
                  </a:lnTo>
                  <a:lnTo>
                    <a:pt x="4132738" y="427199"/>
                  </a:lnTo>
                  <a:lnTo>
                    <a:pt x="4133635" y="427696"/>
                  </a:lnTo>
                  <a:lnTo>
                    <a:pt x="4134233" y="428492"/>
                  </a:lnTo>
                  <a:lnTo>
                    <a:pt x="4134233" y="430184"/>
                  </a:lnTo>
                  <a:lnTo>
                    <a:pt x="4134233" y="432372"/>
                  </a:lnTo>
                  <a:lnTo>
                    <a:pt x="4134233" y="433268"/>
                  </a:lnTo>
                  <a:lnTo>
                    <a:pt x="4134233" y="434362"/>
                  </a:lnTo>
                  <a:lnTo>
                    <a:pt x="4136325" y="437446"/>
                  </a:lnTo>
                  <a:lnTo>
                    <a:pt x="4141906" y="442520"/>
                  </a:lnTo>
                  <a:lnTo>
                    <a:pt x="4143799" y="445007"/>
                  </a:lnTo>
                  <a:lnTo>
                    <a:pt x="4142105" y="447892"/>
                  </a:lnTo>
                  <a:lnTo>
                    <a:pt x="4142902" y="449683"/>
                  </a:lnTo>
                  <a:lnTo>
                    <a:pt x="4146788" y="452668"/>
                  </a:lnTo>
                  <a:lnTo>
                    <a:pt x="4148582" y="454658"/>
                  </a:lnTo>
                  <a:lnTo>
                    <a:pt x="4152269" y="457344"/>
                  </a:lnTo>
                  <a:lnTo>
                    <a:pt x="4154262" y="459333"/>
                  </a:lnTo>
                  <a:lnTo>
                    <a:pt x="4158745" y="466497"/>
                  </a:lnTo>
                  <a:lnTo>
                    <a:pt x="4159941" y="467491"/>
                  </a:lnTo>
                  <a:lnTo>
                    <a:pt x="4159941" y="468984"/>
                  </a:lnTo>
                  <a:lnTo>
                    <a:pt x="4158546" y="472267"/>
                  </a:lnTo>
                  <a:lnTo>
                    <a:pt x="4155457" y="477142"/>
                  </a:lnTo>
                  <a:lnTo>
                    <a:pt x="4154461" y="479131"/>
                  </a:lnTo>
                  <a:lnTo>
                    <a:pt x="4154461" y="480425"/>
                  </a:lnTo>
                  <a:lnTo>
                    <a:pt x="4154461" y="481818"/>
                  </a:lnTo>
                  <a:lnTo>
                    <a:pt x="4154461" y="482514"/>
                  </a:lnTo>
                  <a:lnTo>
                    <a:pt x="4155059" y="484106"/>
                  </a:lnTo>
                  <a:lnTo>
                    <a:pt x="4155059" y="484902"/>
                  </a:lnTo>
                  <a:lnTo>
                    <a:pt x="4165023" y="484902"/>
                  </a:lnTo>
                  <a:lnTo>
                    <a:pt x="4169806" y="487190"/>
                  </a:lnTo>
                  <a:lnTo>
                    <a:pt x="4171998" y="488881"/>
                  </a:lnTo>
                  <a:lnTo>
                    <a:pt x="4174091" y="491368"/>
                  </a:lnTo>
                  <a:lnTo>
                    <a:pt x="4177777" y="497636"/>
                  </a:lnTo>
                  <a:lnTo>
                    <a:pt x="4178874" y="499128"/>
                  </a:lnTo>
                  <a:lnTo>
                    <a:pt x="4178874" y="499725"/>
                  </a:lnTo>
                  <a:lnTo>
                    <a:pt x="4178874" y="499725"/>
                  </a:lnTo>
                  <a:lnTo>
                    <a:pt x="4177877" y="499725"/>
                  </a:lnTo>
                  <a:lnTo>
                    <a:pt x="4175087" y="499725"/>
                  </a:lnTo>
                  <a:lnTo>
                    <a:pt x="4173493" y="499725"/>
                  </a:lnTo>
                  <a:lnTo>
                    <a:pt x="4172098" y="500422"/>
                  </a:lnTo>
                  <a:lnTo>
                    <a:pt x="4171002" y="501417"/>
                  </a:lnTo>
                  <a:lnTo>
                    <a:pt x="4169906" y="501914"/>
                  </a:lnTo>
                  <a:lnTo>
                    <a:pt x="4165422" y="500820"/>
                  </a:lnTo>
                  <a:lnTo>
                    <a:pt x="4165920" y="502710"/>
                  </a:lnTo>
                  <a:lnTo>
                    <a:pt x="4166916" y="503904"/>
                  </a:lnTo>
                  <a:lnTo>
                    <a:pt x="4168909" y="505595"/>
                  </a:lnTo>
                  <a:lnTo>
                    <a:pt x="4173792" y="514052"/>
                  </a:lnTo>
                  <a:lnTo>
                    <a:pt x="4196610" y="539819"/>
                  </a:lnTo>
                  <a:lnTo>
                    <a:pt x="4192425" y="545490"/>
                  </a:lnTo>
                  <a:lnTo>
                    <a:pt x="4191728" y="548176"/>
                  </a:lnTo>
                  <a:lnTo>
                    <a:pt x="4195315" y="549270"/>
                  </a:lnTo>
                  <a:lnTo>
                    <a:pt x="4196411" y="550663"/>
                  </a:lnTo>
                  <a:lnTo>
                    <a:pt x="4202290" y="560612"/>
                  </a:lnTo>
                  <a:lnTo>
                    <a:pt x="4203486" y="563994"/>
                  </a:lnTo>
                  <a:lnTo>
                    <a:pt x="4204383" y="565586"/>
                  </a:lnTo>
                  <a:lnTo>
                    <a:pt x="4205479" y="566183"/>
                  </a:lnTo>
                  <a:lnTo>
                    <a:pt x="4206575" y="566183"/>
                  </a:lnTo>
                  <a:lnTo>
                    <a:pt x="4207472" y="566183"/>
                  </a:lnTo>
                  <a:lnTo>
                    <a:pt x="4207472" y="568372"/>
                  </a:lnTo>
                  <a:lnTo>
                    <a:pt x="4208368" y="570958"/>
                  </a:lnTo>
                  <a:lnTo>
                    <a:pt x="4210461" y="572550"/>
                  </a:lnTo>
                  <a:lnTo>
                    <a:pt x="4213151" y="573446"/>
                  </a:lnTo>
                  <a:lnTo>
                    <a:pt x="4215742" y="573446"/>
                  </a:lnTo>
                  <a:lnTo>
                    <a:pt x="4217735" y="574341"/>
                  </a:lnTo>
                  <a:lnTo>
                    <a:pt x="4219528" y="576629"/>
                  </a:lnTo>
                  <a:lnTo>
                    <a:pt x="4222318" y="581504"/>
                  </a:lnTo>
                  <a:lnTo>
                    <a:pt x="4229294" y="591453"/>
                  </a:lnTo>
                  <a:lnTo>
                    <a:pt x="4231386" y="594636"/>
                  </a:lnTo>
                  <a:lnTo>
                    <a:pt x="4231386" y="595532"/>
                  </a:lnTo>
                  <a:close/>
                  <a:moveTo>
                    <a:pt x="5276055" y="814603"/>
                  </a:moveTo>
                  <a:lnTo>
                    <a:pt x="5273563" y="813708"/>
                  </a:lnTo>
                  <a:lnTo>
                    <a:pt x="5271870" y="809927"/>
                  </a:lnTo>
                  <a:lnTo>
                    <a:pt x="5270774" y="812215"/>
                  </a:lnTo>
                  <a:lnTo>
                    <a:pt x="5268183" y="815797"/>
                  </a:lnTo>
                  <a:lnTo>
                    <a:pt x="5268183" y="817090"/>
                  </a:lnTo>
                  <a:lnTo>
                    <a:pt x="5266887" y="818384"/>
                  </a:lnTo>
                  <a:lnTo>
                    <a:pt x="5265492" y="819279"/>
                  </a:lnTo>
                  <a:lnTo>
                    <a:pt x="5262703" y="818085"/>
                  </a:lnTo>
                  <a:lnTo>
                    <a:pt x="5259314" y="818085"/>
                  </a:lnTo>
                  <a:lnTo>
                    <a:pt x="5256126" y="818981"/>
                  </a:lnTo>
                  <a:lnTo>
                    <a:pt x="5253336" y="820473"/>
                  </a:lnTo>
                  <a:lnTo>
                    <a:pt x="5255229" y="822264"/>
                  </a:lnTo>
                  <a:lnTo>
                    <a:pt x="5258717" y="822861"/>
                  </a:lnTo>
                  <a:lnTo>
                    <a:pt x="5265990" y="822861"/>
                  </a:lnTo>
                  <a:lnTo>
                    <a:pt x="5265990" y="824651"/>
                  </a:lnTo>
                  <a:lnTo>
                    <a:pt x="5265990" y="829228"/>
                  </a:lnTo>
                  <a:lnTo>
                    <a:pt x="5265094" y="835893"/>
                  </a:lnTo>
                  <a:lnTo>
                    <a:pt x="5264097" y="837485"/>
                  </a:lnTo>
                  <a:lnTo>
                    <a:pt x="5263201" y="837485"/>
                  </a:lnTo>
                  <a:lnTo>
                    <a:pt x="5262105" y="837485"/>
                  </a:lnTo>
                  <a:lnTo>
                    <a:pt x="5260809" y="838281"/>
                  </a:lnTo>
                  <a:lnTo>
                    <a:pt x="5259713" y="839972"/>
                  </a:lnTo>
                  <a:lnTo>
                    <a:pt x="5259713" y="842360"/>
                  </a:lnTo>
                  <a:lnTo>
                    <a:pt x="5259713" y="844250"/>
                  </a:lnTo>
                  <a:lnTo>
                    <a:pt x="5264297" y="846439"/>
                  </a:lnTo>
                  <a:lnTo>
                    <a:pt x="5264994" y="849722"/>
                  </a:lnTo>
                  <a:lnTo>
                    <a:pt x="5264396" y="857880"/>
                  </a:lnTo>
                  <a:lnTo>
                    <a:pt x="5264396" y="859571"/>
                  </a:lnTo>
                  <a:lnTo>
                    <a:pt x="5264994" y="862755"/>
                  </a:lnTo>
                  <a:lnTo>
                    <a:pt x="5264994" y="863650"/>
                  </a:lnTo>
                  <a:lnTo>
                    <a:pt x="5264396" y="865441"/>
                  </a:lnTo>
                  <a:lnTo>
                    <a:pt x="5262105" y="869023"/>
                  </a:lnTo>
                  <a:lnTo>
                    <a:pt x="5262105" y="870018"/>
                  </a:lnTo>
                  <a:lnTo>
                    <a:pt x="5262105" y="871410"/>
                  </a:lnTo>
                  <a:lnTo>
                    <a:pt x="5261008" y="872704"/>
                  </a:lnTo>
                  <a:lnTo>
                    <a:pt x="5259713" y="873699"/>
                  </a:lnTo>
                  <a:lnTo>
                    <a:pt x="5258517" y="873699"/>
                  </a:lnTo>
                  <a:lnTo>
                    <a:pt x="5257321" y="874594"/>
                  </a:lnTo>
                  <a:lnTo>
                    <a:pt x="5257321" y="876683"/>
                  </a:lnTo>
                  <a:lnTo>
                    <a:pt x="5258417" y="882155"/>
                  </a:lnTo>
                  <a:lnTo>
                    <a:pt x="5258417" y="882951"/>
                  </a:lnTo>
                  <a:lnTo>
                    <a:pt x="5258417" y="883747"/>
                  </a:lnTo>
                  <a:lnTo>
                    <a:pt x="5258417" y="885239"/>
                  </a:lnTo>
                  <a:lnTo>
                    <a:pt x="5258417" y="887030"/>
                  </a:lnTo>
                  <a:lnTo>
                    <a:pt x="5257621" y="888124"/>
                  </a:lnTo>
                  <a:lnTo>
                    <a:pt x="5257621" y="889418"/>
                  </a:lnTo>
                  <a:lnTo>
                    <a:pt x="5259713" y="893795"/>
                  </a:lnTo>
                  <a:lnTo>
                    <a:pt x="5260908" y="897377"/>
                  </a:lnTo>
                  <a:lnTo>
                    <a:pt x="5261806" y="901157"/>
                  </a:lnTo>
                  <a:lnTo>
                    <a:pt x="5261806" y="903744"/>
                  </a:lnTo>
                  <a:lnTo>
                    <a:pt x="5261008" y="905933"/>
                  </a:lnTo>
                  <a:lnTo>
                    <a:pt x="5259115" y="904241"/>
                  </a:lnTo>
                  <a:lnTo>
                    <a:pt x="5258417" y="901555"/>
                  </a:lnTo>
                  <a:lnTo>
                    <a:pt x="5258417" y="898570"/>
                  </a:lnTo>
                  <a:lnTo>
                    <a:pt x="5257421" y="896282"/>
                  </a:lnTo>
                  <a:lnTo>
                    <a:pt x="5254830" y="894094"/>
                  </a:lnTo>
                  <a:lnTo>
                    <a:pt x="5253435" y="895188"/>
                  </a:lnTo>
                  <a:lnTo>
                    <a:pt x="5252439" y="897775"/>
                  </a:lnTo>
                  <a:lnTo>
                    <a:pt x="5250944" y="900262"/>
                  </a:lnTo>
                  <a:lnTo>
                    <a:pt x="5246361" y="896282"/>
                  </a:lnTo>
                  <a:lnTo>
                    <a:pt x="5245763" y="894989"/>
                  </a:lnTo>
                  <a:lnTo>
                    <a:pt x="5245065" y="893298"/>
                  </a:lnTo>
                  <a:lnTo>
                    <a:pt x="5243471" y="893298"/>
                  </a:lnTo>
                  <a:lnTo>
                    <a:pt x="5239186" y="894491"/>
                  </a:lnTo>
                  <a:lnTo>
                    <a:pt x="5236097" y="894491"/>
                  </a:lnTo>
                  <a:lnTo>
                    <a:pt x="5236097" y="895486"/>
                  </a:lnTo>
                  <a:lnTo>
                    <a:pt x="5235201" y="898272"/>
                  </a:lnTo>
                  <a:lnTo>
                    <a:pt x="5234204" y="900560"/>
                  </a:lnTo>
                  <a:lnTo>
                    <a:pt x="5229720" y="908022"/>
                  </a:lnTo>
                  <a:lnTo>
                    <a:pt x="5226133" y="912598"/>
                  </a:lnTo>
                  <a:lnTo>
                    <a:pt x="5224738" y="912598"/>
                  </a:lnTo>
                  <a:lnTo>
                    <a:pt x="5223243" y="910012"/>
                  </a:lnTo>
                  <a:lnTo>
                    <a:pt x="5221848" y="906728"/>
                  </a:lnTo>
                  <a:lnTo>
                    <a:pt x="5221250" y="904241"/>
                  </a:lnTo>
                  <a:lnTo>
                    <a:pt x="5221250" y="904241"/>
                  </a:lnTo>
                  <a:lnTo>
                    <a:pt x="5221250" y="903445"/>
                  </a:lnTo>
                  <a:lnTo>
                    <a:pt x="5221250" y="902351"/>
                  </a:lnTo>
                  <a:lnTo>
                    <a:pt x="5221250" y="901058"/>
                  </a:lnTo>
                  <a:lnTo>
                    <a:pt x="5222546" y="898869"/>
                  </a:lnTo>
                  <a:lnTo>
                    <a:pt x="5222546" y="897675"/>
                  </a:lnTo>
                  <a:lnTo>
                    <a:pt x="5221250" y="896382"/>
                  </a:lnTo>
                  <a:lnTo>
                    <a:pt x="5219557" y="897277"/>
                  </a:lnTo>
                  <a:lnTo>
                    <a:pt x="5216468" y="901157"/>
                  </a:lnTo>
                  <a:lnTo>
                    <a:pt x="5215372" y="895685"/>
                  </a:lnTo>
                  <a:lnTo>
                    <a:pt x="5216268" y="891009"/>
                  </a:lnTo>
                  <a:lnTo>
                    <a:pt x="5216268" y="887129"/>
                  </a:lnTo>
                  <a:lnTo>
                    <a:pt x="5211386" y="882951"/>
                  </a:lnTo>
                  <a:lnTo>
                    <a:pt x="5211386" y="879469"/>
                  </a:lnTo>
                  <a:lnTo>
                    <a:pt x="5209692" y="877280"/>
                  </a:lnTo>
                  <a:lnTo>
                    <a:pt x="5207699" y="877280"/>
                  </a:lnTo>
                  <a:lnTo>
                    <a:pt x="5206703" y="881857"/>
                  </a:lnTo>
                  <a:lnTo>
                    <a:pt x="5206703" y="884742"/>
                  </a:lnTo>
                  <a:lnTo>
                    <a:pt x="5207499" y="885339"/>
                  </a:lnTo>
                  <a:lnTo>
                    <a:pt x="5208595" y="885339"/>
                  </a:lnTo>
                  <a:lnTo>
                    <a:pt x="5209990" y="886831"/>
                  </a:lnTo>
                  <a:lnTo>
                    <a:pt x="5209990" y="888920"/>
                  </a:lnTo>
                  <a:lnTo>
                    <a:pt x="5209990" y="890711"/>
                  </a:lnTo>
                  <a:lnTo>
                    <a:pt x="5209990" y="892104"/>
                  </a:lnTo>
                  <a:lnTo>
                    <a:pt x="5211685" y="892104"/>
                  </a:lnTo>
                  <a:lnTo>
                    <a:pt x="5210489" y="894491"/>
                  </a:lnTo>
                  <a:lnTo>
                    <a:pt x="5208197" y="896481"/>
                  </a:lnTo>
                  <a:lnTo>
                    <a:pt x="5203813" y="899167"/>
                  </a:lnTo>
                  <a:lnTo>
                    <a:pt x="5199926" y="903246"/>
                  </a:lnTo>
                  <a:lnTo>
                    <a:pt x="5198432" y="903843"/>
                  </a:lnTo>
                  <a:lnTo>
                    <a:pt x="5196738" y="903047"/>
                  </a:lnTo>
                  <a:lnTo>
                    <a:pt x="5195243" y="902053"/>
                  </a:lnTo>
                  <a:lnTo>
                    <a:pt x="5193748" y="901456"/>
                  </a:lnTo>
                  <a:lnTo>
                    <a:pt x="5192154" y="901456"/>
                  </a:lnTo>
                  <a:lnTo>
                    <a:pt x="5191257" y="900859"/>
                  </a:lnTo>
                  <a:lnTo>
                    <a:pt x="5190361" y="900063"/>
                  </a:lnTo>
                  <a:lnTo>
                    <a:pt x="5188966" y="899466"/>
                  </a:lnTo>
                  <a:lnTo>
                    <a:pt x="5184283" y="899466"/>
                  </a:lnTo>
                  <a:lnTo>
                    <a:pt x="5181991" y="898371"/>
                  </a:lnTo>
                  <a:lnTo>
                    <a:pt x="5179599" y="895984"/>
                  </a:lnTo>
                  <a:lnTo>
                    <a:pt x="5177706" y="892900"/>
                  </a:lnTo>
                  <a:lnTo>
                    <a:pt x="5176809" y="890114"/>
                  </a:lnTo>
                  <a:lnTo>
                    <a:pt x="5178902" y="889219"/>
                  </a:lnTo>
                  <a:lnTo>
                    <a:pt x="5180895" y="887627"/>
                  </a:lnTo>
                  <a:lnTo>
                    <a:pt x="5182489" y="885538"/>
                  </a:lnTo>
                  <a:lnTo>
                    <a:pt x="5183784" y="883249"/>
                  </a:lnTo>
                  <a:lnTo>
                    <a:pt x="5184581" y="880762"/>
                  </a:lnTo>
                  <a:lnTo>
                    <a:pt x="5185179" y="877678"/>
                  </a:lnTo>
                  <a:lnTo>
                    <a:pt x="5186076" y="875191"/>
                  </a:lnTo>
                  <a:lnTo>
                    <a:pt x="5187670" y="874097"/>
                  </a:lnTo>
                  <a:lnTo>
                    <a:pt x="5191357" y="874097"/>
                  </a:lnTo>
                  <a:lnTo>
                    <a:pt x="5192553" y="874097"/>
                  </a:lnTo>
                  <a:lnTo>
                    <a:pt x="5193450" y="873201"/>
                  </a:lnTo>
                  <a:lnTo>
                    <a:pt x="5193450" y="872206"/>
                  </a:lnTo>
                  <a:lnTo>
                    <a:pt x="5193450" y="871211"/>
                  </a:lnTo>
                  <a:lnTo>
                    <a:pt x="5194745" y="870615"/>
                  </a:lnTo>
                  <a:lnTo>
                    <a:pt x="5196539" y="870615"/>
                  </a:lnTo>
                  <a:lnTo>
                    <a:pt x="5200624" y="873102"/>
                  </a:lnTo>
                  <a:lnTo>
                    <a:pt x="5203015" y="873699"/>
                  </a:lnTo>
                  <a:lnTo>
                    <a:pt x="5204710" y="872604"/>
                  </a:lnTo>
                  <a:lnTo>
                    <a:pt x="5205208" y="870217"/>
                  </a:lnTo>
                  <a:lnTo>
                    <a:pt x="5205208" y="869222"/>
                  </a:lnTo>
                  <a:lnTo>
                    <a:pt x="5200126" y="870217"/>
                  </a:lnTo>
                  <a:lnTo>
                    <a:pt x="5196937" y="870217"/>
                  </a:lnTo>
                  <a:lnTo>
                    <a:pt x="5195343" y="869023"/>
                  </a:lnTo>
                  <a:lnTo>
                    <a:pt x="5195343" y="866933"/>
                  </a:lnTo>
                  <a:lnTo>
                    <a:pt x="5196937" y="863949"/>
                  </a:lnTo>
                  <a:lnTo>
                    <a:pt x="5196140" y="863949"/>
                  </a:lnTo>
                  <a:lnTo>
                    <a:pt x="5193948" y="864645"/>
                  </a:lnTo>
                  <a:lnTo>
                    <a:pt x="5187870" y="869620"/>
                  </a:lnTo>
                  <a:lnTo>
                    <a:pt x="5186475" y="869620"/>
                  </a:lnTo>
                  <a:lnTo>
                    <a:pt x="5185379" y="867232"/>
                  </a:lnTo>
                  <a:lnTo>
                    <a:pt x="5184482" y="864745"/>
                  </a:lnTo>
                  <a:lnTo>
                    <a:pt x="5183485" y="863352"/>
                  </a:lnTo>
                  <a:lnTo>
                    <a:pt x="5181692" y="864446"/>
                  </a:lnTo>
                  <a:lnTo>
                    <a:pt x="5181692" y="866734"/>
                  </a:lnTo>
                  <a:lnTo>
                    <a:pt x="5181692" y="872107"/>
                  </a:lnTo>
                  <a:lnTo>
                    <a:pt x="5181692" y="874992"/>
                  </a:lnTo>
                  <a:lnTo>
                    <a:pt x="5179499" y="875489"/>
                  </a:lnTo>
                  <a:lnTo>
                    <a:pt x="5178702" y="877081"/>
                  </a:lnTo>
                  <a:lnTo>
                    <a:pt x="5178702" y="878971"/>
                  </a:lnTo>
                  <a:lnTo>
                    <a:pt x="5177806" y="880563"/>
                  </a:lnTo>
                  <a:lnTo>
                    <a:pt x="5176610" y="880563"/>
                  </a:lnTo>
                  <a:lnTo>
                    <a:pt x="5175713" y="880563"/>
                  </a:lnTo>
                  <a:lnTo>
                    <a:pt x="5175015" y="880563"/>
                  </a:lnTo>
                  <a:lnTo>
                    <a:pt x="5174318" y="880563"/>
                  </a:lnTo>
                  <a:lnTo>
                    <a:pt x="5171329" y="882553"/>
                  </a:lnTo>
                  <a:lnTo>
                    <a:pt x="5170432" y="882553"/>
                  </a:lnTo>
                  <a:lnTo>
                    <a:pt x="5169735" y="882553"/>
                  </a:lnTo>
                  <a:lnTo>
                    <a:pt x="5163457" y="885040"/>
                  </a:lnTo>
                  <a:lnTo>
                    <a:pt x="5161863" y="886433"/>
                  </a:lnTo>
                  <a:lnTo>
                    <a:pt x="5161564" y="888920"/>
                  </a:lnTo>
                  <a:lnTo>
                    <a:pt x="5159870" y="890214"/>
                  </a:lnTo>
                  <a:lnTo>
                    <a:pt x="5158475" y="892900"/>
                  </a:lnTo>
                  <a:lnTo>
                    <a:pt x="5155485" y="886035"/>
                  </a:lnTo>
                  <a:lnTo>
                    <a:pt x="5155485" y="884344"/>
                  </a:lnTo>
                  <a:lnTo>
                    <a:pt x="5155485" y="882951"/>
                  </a:lnTo>
                  <a:lnTo>
                    <a:pt x="5154888" y="882951"/>
                  </a:lnTo>
                  <a:lnTo>
                    <a:pt x="5154090" y="882951"/>
                  </a:lnTo>
                  <a:lnTo>
                    <a:pt x="5153094" y="882951"/>
                  </a:lnTo>
                  <a:lnTo>
                    <a:pt x="5151799" y="882155"/>
                  </a:lnTo>
                  <a:lnTo>
                    <a:pt x="5151001" y="882155"/>
                  </a:lnTo>
                  <a:lnTo>
                    <a:pt x="5150304" y="881558"/>
                  </a:lnTo>
                  <a:lnTo>
                    <a:pt x="5149108" y="880265"/>
                  </a:lnTo>
                  <a:lnTo>
                    <a:pt x="5148012" y="878474"/>
                  </a:lnTo>
                  <a:lnTo>
                    <a:pt x="5147215" y="876385"/>
                  </a:lnTo>
                  <a:lnTo>
                    <a:pt x="5147215" y="874196"/>
                  </a:lnTo>
                  <a:lnTo>
                    <a:pt x="5148710" y="872704"/>
                  </a:lnTo>
                  <a:lnTo>
                    <a:pt x="5150802" y="872704"/>
                  </a:lnTo>
                  <a:lnTo>
                    <a:pt x="5152496" y="874594"/>
                  </a:lnTo>
                  <a:lnTo>
                    <a:pt x="5154788" y="878474"/>
                  </a:lnTo>
                  <a:lnTo>
                    <a:pt x="5156581" y="880265"/>
                  </a:lnTo>
                  <a:lnTo>
                    <a:pt x="5158175" y="881359"/>
                  </a:lnTo>
                  <a:lnTo>
                    <a:pt x="5159970" y="881359"/>
                  </a:lnTo>
                  <a:lnTo>
                    <a:pt x="5161564" y="881359"/>
                  </a:lnTo>
                  <a:lnTo>
                    <a:pt x="5162959" y="881359"/>
                  </a:lnTo>
                  <a:lnTo>
                    <a:pt x="5162959" y="881359"/>
                  </a:lnTo>
                  <a:lnTo>
                    <a:pt x="5162959" y="881359"/>
                  </a:lnTo>
                  <a:lnTo>
                    <a:pt x="5164055" y="880364"/>
                  </a:lnTo>
                  <a:lnTo>
                    <a:pt x="5164055" y="879469"/>
                  </a:lnTo>
                  <a:lnTo>
                    <a:pt x="5164055" y="877479"/>
                  </a:lnTo>
                  <a:lnTo>
                    <a:pt x="5164055" y="876385"/>
                  </a:lnTo>
                  <a:lnTo>
                    <a:pt x="5164752" y="874196"/>
                  </a:lnTo>
                  <a:lnTo>
                    <a:pt x="5164752" y="871609"/>
                  </a:lnTo>
                  <a:lnTo>
                    <a:pt x="5164254" y="869222"/>
                  </a:lnTo>
                  <a:lnTo>
                    <a:pt x="5163656" y="867729"/>
                  </a:lnTo>
                  <a:lnTo>
                    <a:pt x="5161264" y="863949"/>
                  </a:lnTo>
                  <a:lnTo>
                    <a:pt x="5161264" y="862556"/>
                  </a:lnTo>
                  <a:lnTo>
                    <a:pt x="5162759" y="859571"/>
                  </a:lnTo>
                  <a:lnTo>
                    <a:pt x="5160468" y="859571"/>
                  </a:lnTo>
                  <a:lnTo>
                    <a:pt x="5158375" y="858776"/>
                  </a:lnTo>
                  <a:lnTo>
                    <a:pt x="5159372" y="857482"/>
                  </a:lnTo>
                  <a:lnTo>
                    <a:pt x="5158275" y="854000"/>
                  </a:lnTo>
                  <a:lnTo>
                    <a:pt x="5160368" y="849424"/>
                  </a:lnTo>
                  <a:lnTo>
                    <a:pt x="5161364" y="845345"/>
                  </a:lnTo>
                  <a:lnTo>
                    <a:pt x="5157080" y="843653"/>
                  </a:lnTo>
                  <a:lnTo>
                    <a:pt x="5157080" y="844250"/>
                  </a:lnTo>
                  <a:lnTo>
                    <a:pt x="5156482" y="847235"/>
                  </a:lnTo>
                  <a:lnTo>
                    <a:pt x="5156482" y="848329"/>
                  </a:lnTo>
                  <a:lnTo>
                    <a:pt x="5155684" y="849424"/>
                  </a:lnTo>
                  <a:lnTo>
                    <a:pt x="5152994" y="851911"/>
                  </a:lnTo>
                  <a:lnTo>
                    <a:pt x="5151998" y="853801"/>
                  </a:lnTo>
                  <a:lnTo>
                    <a:pt x="5151001" y="854597"/>
                  </a:lnTo>
                  <a:lnTo>
                    <a:pt x="5149506" y="854597"/>
                  </a:lnTo>
                  <a:lnTo>
                    <a:pt x="5148909" y="853702"/>
                  </a:lnTo>
                  <a:lnTo>
                    <a:pt x="5148909" y="852010"/>
                  </a:lnTo>
                  <a:lnTo>
                    <a:pt x="5148211" y="848827"/>
                  </a:lnTo>
                  <a:lnTo>
                    <a:pt x="5147215" y="849921"/>
                  </a:lnTo>
                  <a:lnTo>
                    <a:pt x="5146617" y="851214"/>
                  </a:lnTo>
                  <a:lnTo>
                    <a:pt x="5145621" y="854597"/>
                  </a:lnTo>
                  <a:lnTo>
                    <a:pt x="5144524" y="851811"/>
                  </a:lnTo>
                  <a:lnTo>
                    <a:pt x="5144524" y="845146"/>
                  </a:lnTo>
                  <a:lnTo>
                    <a:pt x="5144524" y="843653"/>
                  </a:lnTo>
                  <a:lnTo>
                    <a:pt x="5142930" y="844648"/>
                  </a:lnTo>
                  <a:lnTo>
                    <a:pt x="5141635" y="846539"/>
                  </a:lnTo>
                  <a:lnTo>
                    <a:pt x="5140439" y="846539"/>
                  </a:lnTo>
                  <a:lnTo>
                    <a:pt x="5139243" y="843355"/>
                  </a:lnTo>
                  <a:lnTo>
                    <a:pt x="5139243" y="838978"/>
                  </a:lnTo>
                  <a:lnTo>
                    <a:pt x="5140937" y="832312"/>
                  </a:lnTo>
                  <a:lnTo>
                    <a:pt x="5143329" y="827735"/>
                  </a:lnTo>
                  <a:lnTo>
                    <a:pt x="5145621" y="829427"/>
                  </a:lnTo>
                  <a:lnTo>
                    <a:pt x="5145621" y="832212"/>
                  </a:lnTo>
                  <a:lnTo>
                    <a:pt x="5145023" y="835694"/>
                  </a:lnTo>
                  <a:lnTo>
                    <a:pt x="5145023" y="838580"/>
                  </a:lnTo>
                  <a:lnTo>
                    <a:pt x="5148710" y="840171"/>
                  </a:lnTo>
                  <a:lnTo>
                    <a:pt x="5150902" y="841763"/>
                  </a:lnTo>
                  <a:lnTo>
                    <a:pt x="5153094" y="842460"/>
                  </a:lnTo>
                  <a:lnTo>
                    <a:pt x="5153094" y="843056"/>
                  </a:lnTo>
                  <a:lnTo>
                    <a:pt x="5153094" y="843056"/>
                  </a:lnTo>
                  <a:lnTo>
                    <a:pt x="5154489" y="842062"/>
                  </a:lnTo>
                  <a:lnTo>
                    <a:pt x="5154489" y="841166"/>
                  </a:lnTo>
                  <a:lnTo>
                    <a:pt x="5155784" y="837485"/>
                  </a:lnTo>
                  <a:lnTo>
                    <a:pt x="5157179" y="836689"/>
                  </a:lnTo>
                  <a:lnTo>
                    <a:pt x="5158275" y="836689"/>
                  </a:lnTo>
                  <a:lnTo>
                    <a:pt x="5159073" y="836689"/>
                  </a:lnTo>
                  <a:lnTo>
                    <a:pt x="5159073" y="834202"/>
                  </a:lnTo>
                  <a:lnTo>
                    <a:pt x="5158375" y="830720"/>
                  </a:lnTo>
                  <a:lnTo>
                    <a:pt x="5156781" y="828730"/>
                  </a:lnTo>
                  <a:lnTo>
                    <a:pt x="5151998" y="826741"/>
                  </a:lnTo>
                  <a:lnTo>
                    <a:pt x="5152595" y="824452"/>
                  </a:lnTo>
                  <a:lnTo>
                    <a:pt x="5153791" y="822861"/>
                  </a:lnTo>
                  <a:lnTo>
                    <a:pt x="5155286" y="822264"/>
                  </a:lnTo>
                  <a:lnTo>
                    <a:pt x="5157179" y="823259"/>
                  </a:lnTo>
                  <a:lnTo>
                    <a:pt x="5159272" y="821070"/>
                  </a:lnTo>
                  <a:lnTo>
                    <a:pt x="5165550" y="821070"/>
                  </a:lnTo>
                  <a:lnTo>
                    <a:pt x="5167542" y="817289"/>
                  </a:lnTo>
                  <a:lnTo>
                    <a:pt x="5168837" y="816593"/>
                  </a:lnTo>
                  <a:lnTo>
                    <a:pt x="5169635" y="815697"/>
                  </a:lnTo>
                  <a:lnTo>
                    <a:pt x="5168937" y="814006"/>
                  </a:lnTo>
                  <a:lnTo>
                    <a:pt x="5167443" y="812812"/>
                  </a:lnTo>
                  <a:lnTo>
                    <a:pt x="5166048" y="812812"/>
                  </a:lnTo>
                  <a:lnTo>
                    <a:pt x="5164952" y="812215"/>
                  </a:lnTo>
                  <a:lnTo>
                    <a:pt x="5164254" y="809927"/>
                  </a:lnTo>
                  <a:lnTo>
                    <a:pt x="5164254" y="809231"/>
                  </a:lnTo>
                  <a:lnTo>
                    <a:pt x="5165350" y="809231"/>
                  </a:lnTo>
                  <a:lnTo>
                    <a:pt x="5166048" y="808634"/>
                  </a:lnTo>
                  <a:lnTo>
                    <a:pt x="5166048" y="806843"/>
                  </a:lnTo>
                  <a:lnTo>
                    <a:pt x="5165051" y="805848"/>
                  </a:lnTo>
                  <a:lnTo>
                    <a:pt x="5161464" y="803659"/>
                  </a:lnTo>
                  <a:lnTo>
                    <a:pt x="5158873" y="802864"/>
                  </a:lnTo>
                  <a:lnTo>
                    <a:pt x="5157877" y="801769"/>
                  </a:lnTo>
                  <a:lnTo>
                    <a:pt x="5157877" y="800078"/>
                  </a:lnTo>
                  <a:lnTo>
                    <a:pt x="5157877" y="798088"/>
                  </a:lnTo>
                  <a:lnTo>
                    <a:pt x="5158674" y="797193"/>
                  </a:lnTo>
                  <a:lnTo>
                    <a:pt x="5161564" y="797193"/>
                  </a:lnTo>
                  <a:lnTo>
                    <a:pt x="5164952" y="797193"/>
                  </a:lnTo>
                  <a:lnTo>
                    <a:pt x="5167742" y="796198"/>
                  </a:lnTo>
                  <a:lnTo>
                    <a:pt x="5170233" y="794208"/>
                  </a:lnTo>
                  <a:lnTo>
                    <a:pt x="5172126" y="791224"/>
                  </a:lnTo>
                  <a:lnTo>
                    <a:pt x="5173122" y="785354"/>
                  </a:lnTo>
                  <a:lnTo>
                    <a:pt x="5174318" y="782170"/>
                  </a:lnTo>
                  <a:lnTo>
                    <a:pt x="5174318" y="780379"/>
                  </a:lnTo>
                  <a:lnTo>
                    <a:pt x="5174318" y="776400"/>
                  </a:lnTo>
                  <a:lnTo>
                    <a:pt x="5174318" y="774609"/>
                  </a:lnTo>
                  <a:lnTo>
                    <a:pt x="5174318" y="772818"/>
                  </a:lnTo>
                  <a:lnTo>
                    <a:pt x="5176112" y="770331"/>
                  </a:lnTo>
                  <a:lnTo>
                    <a:pt x="5181094" y="768242"/>
                  </a:lnTo>
                  <a:lnTo>
                    <a:pt x="5183485" y="766551"/>
                  </a:lnTo>
                  <a:lnTo>
                    <a:pt x="5191457" y="759587"/>
                  </a:lnTo>
                  <a:lnTo>
                    <a:pt x="5193550" y="758194"/>
                  </a:lnTo>
                  <a:lnTo>
                    <a:pt x="5195542" y="757497"/>
                  </a:lnTo>
                  <a:lnTo>
                    <a:pt x="5197137" y="757497"/>
                  </a:lnTo>
                  <a:lnTo>
                    <a:pt x="5198731" y="757497"/>
                  </a:lnTo>
                  <a:lnTo>
                    <a:pt x="5200524" y="758094"/>
                  </a:lnTo>
                  <a:lnTo>
                    <a:pt x="5205308" y="761576"/>
                  </a:lnTo>
                  <a:lnTo>
                    <a:pt x="5205905" y="762173"/>
                  </a:lnTo>
                  <a:lnTo>
                    <a:pt x="5206603" y="763666"/>
                  </a:lnTo>
                  <a:lnTo>
                    <a:pt x="5207201" y="765456"/>
                  </a:lnTo>
                  <a:lnTo>
                    <a:pt x="5207201" y="766949"/>
                  </a:lnTo>
                  <a:lnTo>
                    <a:pt x="5207997" y="768441"/>
                  </a:lnTo>
                  <a:lnTo>
                    <a:pt x="5209592" y="767645"/>
                  </a:lnTo>
                  <a:lnTo>
                    <a:pt x="5214873" y="763168"/>
                  </a:lnTo>
                  <a:lnTo>
                    <a:pt x="5216168" y="763168"/>
                  </a:lnTo>
                  <a:lnTo>
                    <a:pt x="5217663" y="763168"/>
                  </a:lnTo>
                  <a:lnTo>
                    <a:pt x="5218659" y="764063"/>
                  </a:lnTo>
                  <a:lnTo>
                    <a:pt x="5219357" y="765755"/>
                  </a:lnTo>
                  <a:lnTo>
                    <a:pt x="5220154" y="767247"/>
                  </a:lnTo>
                  <a:lnTo>
                    <a:pt x="5221550" y="767844"/>
                  </a:lnTo>
                  <a:lnTo>
                    <a:pt x="5224937" y="768540"/>
                  </a:lnTo>
                  <a:lnTo>
                    <a:pt x="5226631" y="770431"/>
                  </a:lnTo>
                  <a:lnTo>
                    <a:pt x="5229222" y="776698"/>
                  </a:lnTo>
                  <a:lnTo>
                    <a:pt x="5229222" y="777693"/>
                  </a:lnTo>
                  <a:lnTo>
                    <a:pt x="5229222" y="778290"/>
                  </a:lnTo>
                  <a:lnTo>
                    <a:pt x="5230219" y="778290"/>
                  </a:lnTo>
                  <a:lnTo>
                    <a:pt x="5231015" y="778290"/>
                  </a:lnTo>
                  <a:lnTo>
                    <a:pt x="5231713" y="778290"/>
                  </a:lnTo>
                  <a:lnTo>
                    <a:pt x="5232809" y="778290"/>
                  </a:lnTo>
                  <a:lnTo>
                    <a:pt x="5233905" y="779285"/>
                  </a:lnTo>
                  <a:lnTo>
                    <a:pt x="5236197" y="782270"/>
                  </a:lnTo>
                  <a:lnTo>
                    <a:pt x="5237492" y="782966"/>
                  </a:lnTo>
                  <a:lnTo>
                    <a:pt x="5243172" y="783662"/>
                  </a:lnTo>
                  <a:lnTo>
                    <a:pt x="5244468" y="782469"/>
                  </a:lnTo>
                  <a:lnTo>
                    <a:pt x="5244468" y="778290"/>
                  </a:lnTo>
                  <a:lnTo>
                    <a:pt x="5243670" y="776201"/>
                  </a:lnTo>
                  <a:lnTo>
                    <a:pt x="5242973" y="775306"/>
                  </a:lnTo>
                  <a:lnTo>
                    <a:pt x="5240980" y="773614"/>
                  </a:lnTo>
                  <a:lnTo>
                    <a:pt x="5240382" y="773614"/>
                  </a:lnTo>
                  <a:lnTo>
                    <a:pt x="5238888" y="773614"/>
                  </a:lnTo>
                  <a:lnTo>
                    <a:pt x="5238888" y="773614"/>
                  </a:lnTo>
                  <a:lnTo>
                    <a:pt x="5238888" y="772818"/>
                  </a:lnTo>
                  <a:lnTo>
                    <a:pt x="5238888" y="771625"/>
                  </a:lnTo>
                  <a:lnTo>
                    <a:pt x="5238888" y="769535"/>
                  </a:lnTo>
                  <a:lnTo>
                    <a:pt x="5238888" y="769038"/>
                  </a:lnTo>
                  <a:lnTo>
                    <a:pt x="5237990" y="768043"/>
                  </a:lnTo>
                  <a:lnTo>
                    <a:pt x="5237393" y="765854"/>
                  </a:lnTo>
                  <a:lnTo>
                    <a:pt x="5236695" y="764362"/>
                  </a:lnTo>
                  <a:lnTo>
                    <a:pt x="5235400" y="764959"/>
                  </a:lnTo>
                  <a:lnTo>
                    <a:pt x="5234005" y="766252"/>
                  </a:lnTo>
                  <a:lnTo>
                    <a:pt x="5232809" y="766252"/>
                  </a:lnTo>
                  <a:lnTo>
                    <a:pt x="5224937" y="759388"/>
                  </a:lnTo>
                  <a:lnTo>
                    <a:pt x="5223741" y="757398"/>
                  </a:lnTo>
                  <a:lnTo>
                    <a:pt x="5225435" y="755408"/>
                  </a:lnTo>
                  <a:lnTo>
                    <a:pt x="5227328" y="754214"/>
                  </a:lnTo>
                  <a:lnTo>
                    <a:pt x="5229321" y="754214"/>
                  </a:lnTo>
                  <a:lnTo>
                    <a:pt x="5239286" y="759885"/>
                  </a:lnTo>
                  <a:lnTo>
                    <a:pt x="5241179" y="764760"/>
                  </a:lnTo>
                  <a:lnTo>
                    <a:pt x="5242176" y="765854"/>
                  </a:lnTo>
                  <a:lnTo>
                    <a:pt x="5250446" y="766949"/>
                  </a:lnTo>
                  <a:lnTo>
                    <a:pt x="5252239" y="767844"/>
                  </a:lnTo>
                  <a:lnTo>
                    <a:pt x="5253336" y="770033"/>
                  </a:lnTo>
                  <a:lnTo>
                    <a:pt x="5254232" y="772520"/>
                  </a:lnTo>
                  <a:lnTo>
                    <a:pt x="5255229" y="774510"/>
                  </a:lnTo>
                  <a:lnTo>
                    <a:pt x="5257023" y="777196"/>
                  </a:lnTo>
                  <a:lnTo>
                    <a:pt x="5259115" y="781275"/>
                  </a:lnTo>
                  <a:lnTo>
                    <a:pt x="5260410" y="785652"/>
                  </a:lnTo>
                  <a:lnTo>
                    <a:pt x="5260410" y="788935"/>
                  </a:lnTo>
                  <a:lnTo>
                    <a:pt x="5258517" y="790627"/>
                  </a:lnTo>
                  <a:lnTo>
                    <a:pt x="5257123" y="789532"/>
                  </a:lnTo>
                  <a:lnTo>
                    <a:pt x="5255130" y="785354"/>
                  </a:lnTo>
                  <a:lnTo>
                    <a:pt x="5253934" y="784259"/>
                  </a:lnTo>
                  <a:lnTo>
                    <a:pt x="5252837" y="783563"/>
                  </a:lnTo>
                  <a:lnTo>
                    <a:pt x="5251343" y="783563"/>
                  </a:lnTo>
                  <a:lnTo>
                    <a:pt x="5249051" y="783563"/>
                  </a:lnTo>
                  <a:lnTo>
                    <a:pt x="5252837" y="792517"/>
                  </a:lnTo>
                  <a:lnTo>
                    <a:pt x="5253435" y="795700"/>
                  </a:lnTo>
                  <a:lnTo>
                    <a:pt x="5253435" y="799481"/>
                  </a:lnTo>
                  <a:lnTo>
                    <a:pt x="5250446" y="807937"/>
                  </a:lnTo>
                  <a:lnTo>
                    <a:pt x="5253834" y="807142"/>
                  </a:lnTo>
                  <a:lnTo>
                    <a:pt x="5255727" y="804256"/>
                  </a:lnTo>
                  <a:lnTo>
                    <a:pt x="5256923" y="801272"/>
                  </a:lnTo>
                  <a:lnTo>
                    <a:pt x="5258617" y="799879"/>
                  </a:lnTo>
                  <a:lnTo>
                    <a:pt x="5259912" y="799879"/>
                  </a:lnTo>
                  <a:lnTo>
                    <a:pt x="5260610" y="799183"/>
                  </a:lnTo>
                  <a:lnTo>
                    <a:pt x="5261507" y="799183"/>
                  </a:lnTo>
                  <a:lnTo>
                    <a:pt x="5263400" y="800277"/>
                  </a:lnTo>
                  <a:lnTo>
                    <a:pt x="5264197" y="801172"/>
                  </a:lnTo>
                  <a:lnTo>
                    <a:pt x="5267087" y="804953"/>
                  </a:lnTo>
                  <a:lnTo>
                    <a:pt x="5267685" y="806644"/>
                  </a:lnTo>
                  <a:lnTo>
                    <a:pt x="5269179" y="806644"/>
                  </a:lnTo>
                  <a:lnTo>
                    <a:pt x="5272468" y="806644"/>
                  </a:lnTo>
                  <a:lnTo>
                    <a:pt x="5275955" y="807738"/>
                  </a:lnTo>
                  <a:lnTo>
                    <a:pt x="5278147" y="809529"/>
                  </a:lnTo>
                  <a:lnTo>
                    <a:pt x="5278745" y="813509"/>
                  </a:lnTo>
                  <a:close/>
                  <a:moveTo>
                    <a:pt x="7035670" y="1561455"/>
                  </a:moveTo>
                  <a:lnTo>
                    <a:pt x="7035670" y="1561455"/>
                  </a:lnTo>
                  <a:lnTo>
                    <a:pt x="7036267" y="1561455"/>
                  </a:lnTo>
                  <a:lnTo>
                    <a:pt x="7043442" y="1562351"/>
                  </a:lnTo>
                  <a:lnTo>
                    <a:pt x="7044737" y="1562848"/>
                  </a:lnTo>
                  <a:lnTo>
                    <a:pt x="7045335" y="1562848"/>
                  </a:lnTo>
                  <a:lnTo>
                    <a:pt x="7046531" y="1563942"/>
                  </a:lnTo>
                  <a:lnTo>
                    <a:pt x="7046531" y="1563942"/>
                  </a:lnTo>
                  <a:lnTo>
                    <a:pt x="7048225" y="1563942"/>
                  </a:lnTo>
                  <a:lnTo>
                    <a:pt x="7049919" y="1564639"/>
                  </a:lnTo>
                  <a:lnTo>
                    <a:pt x="7049919" y="1564639"/>
                  </a:lnTo>
                  <a:lnTo>
                    <a:pt x="7049919" y="1565733"/>
                  </a:lnTo>
                  <a:lnTo>
                    <a:pt x="7048225" y="1565733"/>
                  </a:lnTo>
                  <a:lnTo>
                    <a:pt x="7047328" y="1565733"/>
                  </a:lnTo>
                  <a:lnTo>
                    <a:pt x="7044538" y="1567424"/>
                  </a:lnTo>
                  <a:lnTo>
                    <a:pt x="7043841" y="1567424"/>
                  </a:lnTo>
                  <a:lnTo>
                    <a:pt x="7042844" y="1567424"/>
                  </a:lnTo>
                  <a:lnTo>
                    <a:pt x="7040652" y="1567424"/>
                  </a:lnTo>
                  <a:lnTo>
                    <a:pt x="7038559" y="1567424"/>
                  </a:lnTo>
                  <a:lnTo>
                    <a:pt x="7038559" y="1567424"/>
                  </a:lnTo>
                  <a:lnTo>
                    <a:pt x="7038559" y="1567424"/>
                  </a:lnTo>
                  <a:lnTo>
                    <a:pt x="7037862" y="1566430"/>
                  </a:lnTo>
                  <a:lnTo>
                    <a:pt x="7035769" y="1564440"/>
                  </a:lnTo>
                  <a:lnTo>
                    <a:pt x="7035072" y="1563246"/>
                  </a:lnTo>
                  <a:lnTo>
                    <a:pt x="7035072" y="1562052"/>
                  </a:lnTo>
                  <a:close/>
                  <a:moveTo>
                    <a:pt x="7039954" y="1547029"/>
                  </a:moveTo>
                  <a:lnTo>
                    <a:pt x="7039954" y="1546333"/>
                  </a:lnTo>
                  <a:lnTo>
                    <a:pt x="7040652" y="1545836"/>
                  </a:lnTo>
                  <a:lnTo>
                    <a:pt x="7040652" y="1545836"/>
                  </a:lnTo>
                  <a:lnTo>
                    <a:pt x="7045435" y="1544045"/>
                  </a:lnTo>
                  <a:lnTo>
                    <a:pt x="7046132" y="1544045"/>
                  </a:lnTo>
                  <a:lnTo>
                    <a:pt x="7046730" y="1544045"/>
                  </a:lnTo>
                  <a:lnTo>
                    <a:pt x="7046730" y="1545537"/>
                  </a:lnTo>
                  <a:lnTo>
                    <a:pt x="7044936" y="1547428"/>
                  </a:lnTo>
                  <a:lnTo>
                    <a:pt x="7042545" y="1548820"/>
                  </a:lnTo>
                  <a:lnTo>
                    <a:pt x="7040851" y="1548820"/>
                  </a:lnTo>
                  <a:lnTo>
                    <a:pt x="7040253" y="1548820"/>
                  </a:lnTo>
                  <a:lnTo>
                    <a:pt x="7039655" y="1548820"/>
                  </a:lnTo>
                  <a:lnTo>
                    <a:pt x="7039157" y="1548820"/>
                  </a:lnTo>
                  <a:lnTo>
                    <a:pt x="7039157" y="1548124"/>
                  </a:lnTo>
                  <a:close/>
                  <a:moveTo>
                    <a:pt x="6740025" y="1741328"/>
                  </a:moveTo>
                  <a:lnTo>
                    <a:pt x="6744410" y="1738941"/>
                  </a:lnTo>
                  <a:lnTo>
                    <a:pt x="6749093" y="1737846"/>
                  </a:lnTo>
                  <a:lnTo>
                    <a:pt x="6754972" y="1737846"/>
                  </a:lnTo>
                  <a:lnTo>
                    <a:pt x="6753677" y="1739637"/>
                  </a:lnTo>
                  <a:lnTo>
                    <a:pt x="6749492" y="1743119"/>
                  </a:lnTo>
                  <a:lnTo>
                    <a:pt x="6744908" y="1744711"/>
                  </a:lnTo>
                  <a:lnTo>
                    <a:pt x="6734944" y="174560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73" name="Freeform: Shape 1272">
              <a:extLst>
                <a:ext uri="{FF2B5EF4-FFF2-40B4-BE49-F238E27FC236}">
                  <a16:creationId xmlns:a16="http://schemas.microsoft.com/office/drawing/2014/main" id="{F9ADED80-15AC-423D-B6FF-192C7D0A272B}"/>
                </a:ext>
              </a:extLst>
            </p:cNvPr>
            <p:cNvSpPr/>
            <p:nvPr/>
          </p:nvSpPr>
          <p:spPr>
            <a:xfrm>
              <a:off x="6037865" y="258106"/>
              <a:ext cx="11160" cy="9650"/>
            </a:xfrm>
            <a:custGeom>
              <a:avLst/>
              <a:gdLst>
                <a:gd name="connsiteX0" fmla="*/ 5181 w 11160"/>
                <a:gd name="connsiteY0" fmla="*/ 4477 h 9650"/>
                <a:gd name="connsiteX1" fmla="*/ 4483 w 11160"/>
                <a:gd name="connsiteY1" fmla="*/ 5074 h 9650"/>
                <a:gd name="connsiteX2" fmla="*/ 3587 w 11160"/>
                <a:gd name="connsiteY2" fmla="*/ 5372 h 9650"/>
                <a:gd name="connsiteX3" fmla="*/ 2690 w 11160"/>
                <a:gd name="connsiteY3" fmla="*/ 5969 h 9650"/>
                <a:gd name="connsiteX4" fmla="*/ 1395 w 11160"/>
                <a:gd name="connsiteY4" fmla="*/ 7561 h 9650"/>
                <a:gd name="connsiteX5" fmla="*/ 0 w 11160"/>
                <a:gd name="connsiteY5" fmla="*/ 8655 h 9650"/>
                <a:gd name="connsiteX6" fmla="*/ 398 w 11160"/>
                <a:gd name="connsiteY6" fmla="*/ 8954 h 9650"/>
                <a:gd name="connsiteX7" fmla="*/ 5679 w 11160"/>
                <a:gd name="connsiteY7" fmla="*/ 9650 h 9650"/>
                <a:gd name="connsiteX8" fmla="*/ 9466 w 11160"/>
                <a:gd name="connsiteY8" fmla="*/ 8556 h 9650"/>
                <a:gd name="connsiteX9" fmla="*/ 11060 w 11160"/>
                <a:gd name="connsiteY9" fmla="*/ 6069 h 9650"/>
                <a:gd name="connsiteX10" fmla="*/ 11160 w 11160"/>
                <a:gd name="connsiteY10" fmla="*/ 3084 h 9650"/>
                <a:gd name="connsiteX11" fmla="*/ 9565 w 11160"/>
                <a:gd name="connsiteY11" fmla="*/ 995 h 9650"/>
                <a:gd name="connsiteX12" fmla="*/ 6078 w 11160"/>
                <a:gd name="connsiteY12" fmla="*/ 1094 h 9650"/>
                <a:gd name="connsiteX13" fmla="*/ 4384 w 11160"/>
                <a:gd name="connsiteY13" fmla="*/ 0 h 9650"/>
                <a:gd name="connsiteX14" fmla="*/ 5381 w 11160"/>
                <a:gd name="connsiteY14" fmla="*/ 3084 h 9650"/>
                <a:gd name="connsiteX15" fmla="*/ 5181 w 11160"/>
                <a:gd name="connsiteY15" fmla="*/ 4477 h 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160" h="9650">
                  <a:moveTo>
                    <a:pt x="5181" y="4477"/>
                  </a:moveTo>
                  <a:lnTo>
                    <a:pt x="4483" y="5074"/>
                  </a:lnTo>
                  <a:lnTo>
                    <a:pt x="3587" y="5372"/>
                  </a:lnTo>
                  <a:lnTo>
                    <a:pt x="2690" y="5969"/>
                  </a:lnTo>
                  <a:lnTo>
                    <a:pt x="1395" y="7561"/>
                  </a:lnTo>
                  <a:lnTo>
                    <a:pt x="0" y="8655"/>
                  </a:lnTo>
                  <a:lnTo>
                    <a:pt x="398" y="8954"/>
                  </a:lnTo>
                  <a:lnTo>
                    <a:pt x="5679" y="9650"/>
                  </a:lnTo>
                  <a:lnTo>
                    <a:pt x="9466" y="8556"/>
                  </a:lnTo>
                  <a:lnTo>
                    <a:pt x="11060" y="6069"/>
                  </a:lnTo>
                  <a:lnTo>
                    <a:pt x="11160" y="3084"/>
                  </a:lnTo>
                  <a:lnTo>
                    <a:pt x="9565" y="995"/>
                  </a:lnTo>
                  <a:lnTo>
                    <a:pt x="6078" y="1094"/>
                  </a:lnTo>
                  <a:lnTo>
                    <a:pt x="4384" y="0"/>
                  </a:lnTo>
                  <a:lnTo>
                    <a:pt x="5381" y="3084"/>
                  </a:lnTo>
                  <a:lnTo>
                    <a:pt x="5181" y="447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4" name="Freeform: Shape 1273">
              <a:extLst>
                <a:ext uri="{FF2B5EF4-FFF2-40B4-BE49-F238E27FC236}">
                  <a16:creationId xmlns:a16="http://schemas.microsoft.com/office/drawing/2014/main" id="{6D54C07B-8D3F-41ED-A7B4-F4A9C0B777D7}"/>
                </a:ext>
              </a:extLst>
            </p:cNvPr>
            <p:cNvSpPr/>
            <p:nvPr/>
          </p:nvSpPr>
          <p:spPr>
            <a:xfrm>
              <a:off x="-2074259" y="442157"/>
              <a:ext cx="1693" cy="2089"/>
            </a:xfrm>
            <a:custGeom>
              <a:avLst/>
              <a:gdLst>
                <a:gd name="connsiteX0" fmla="*/ 1694 w 1693"/>
                <a:gd name="connsiteY0" fmla="*/ 1492 h 2089"/>
                <a:gd name="connsiteX1" fmla="*/ 0 w 1693"/>
                <a:gd name="connsiteY1" fmla="*/ 0 h 2089"/>
                <a:gd name="connsiteX2" fmla="*/ 1594 w 1693"/>
                <a:gd name="connsiteY2" fmla="*/ 2089 h 2089"/>
                <a:gd name="connsiteX3" fmla="*/ 1694 w 1693"/>
                <a:gd name="connsiteY3" fmla="*/ 1492 h 2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3" h="2089">
                  <a:moveTo>
                    <a:pt x="1694" y="1492"/>
                  </a:moveTo>
                  <a:lnTo>
                    <a:pt x="0" y="0"/>
                  </a:lnTo>
                  <a:lnTo>
                    <a:pt x="1594" y="2089"/>
                  </a:lnTo>
                  <a:lnTo>
                    <a:pt x="1694" y="14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5" name="Freeform: Shape 1274">
              <a:extLst>
                <a:ext uri="{FF2B5EF4-FFF2-40B4-BE49-F238E27FC236}">
                  <a16:creationId xmlns:a16="http://schemas.microsoft.com/office/drawing/2014/main" id="{E63AB821-2020-4C2A-89B5-3D90728BCE16}"/>
                </a:ext>
              </a:extLst>
            </p:cNvPr>
            <p:cNvSpPr/>
            <p:nvPr/>
          </p:nvSpPr>
          <p:spPr>
            <a:xfrm>
              <a:off x="6297338" y="-418308"/>
              <a:ext cx="2889" cy="1293"/>
            </a:xfrm>
            <a:custGeom>
              <a:avLst/>
              <a:gdLst>
                <a:gd name="connsiteX0" fmla="*/ 2591 w 2889"/>
                <a:gd name="connsiteY0" fmla="*/ 1293 h 1293"/>
                <a:gd name="connsiteX1" fmla="*/ 2889 w 2889"/>
                <a:gd name="connsiteY1" fmla="*/ 1194 h 1293"/>
                <a:gd name="connsiteX2" fmla="*/ 2889 w 2889"/>
                <a:gd name="connsiteY2" fmla="*/ 895 h 1293"/>
                <a:gd name="connsiteX3" fmla="*/ 0 w 2889"/>
                <a:gd name="connsiteY3" fmla="*/ 0 h 1293"/>
                <a:gd name="connsiteX4" fmla="*/ 2591 w 2889"/>
                <a:gd name="connsiteY4" fmla="*/ 1293 h 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9" h="1293">
                  <a:moveTo>
                    <a:pt x="2591" y="1293"/>
                  </a:moveTo>
                  <a:lnTo>
                    <a:pt x="2889" y="1194"/>
                  </a:lnTo>
                  <a:lnTo>
                    <a:pt x="2889" y="895"/>
                  </a:lnTo>
                  <a:lnTo>
                    <a:pt x="0" y="0"/>
                  </a:lnTo>
                  <a:lnTo>
                    <a:pt x="2591" y="12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6" name="Freeform: Shape 1275">
              <a:extLst>
                <a:ext uri="{FF2B5EF4-FFF2-40B4-BE49-F238E27FC236}">
                  <a16:creationId xmlns:a16="http://schemas.microsoft.com/office/drawing/2014/main" id="{DF0D9A7C-BD37-4F3F-BC0F-61E5988DCABE}"/>
                </a:ext>
              </a:extLst>
            </p:cNvPr>
            <p:cNvSpPr/>
            <p:nvPr/>
          </p:nvSpPr>
          <p:spPr>
            <a:xfrm>
              <a:off x="6287871" y="-438305"/>
              <a:ext cx="12355" cy="14027"/>
            </a:xfrm>
            <a:custGeom>
              <a:avLst/>
              <a:gdLst>
                <a:gd name="connsiteX0" fmla="*/ 12157 w 12355"/>
                <a:gd name="connsiteY0" fmla="*/ 6168 h 14027"/>
                <a:gd name="connsiteX1" fmla="*/ 10463 w 12355"/>
                <a:gd name="connsiteY1" fmla="*/ 4278 h 14027"/>
                <a:gd name="connsiteX2" fmla="*/ 11957 w 12355"/>
                <a:gd name="connsiteY2" fmla="*/ 2288 h 14027"/>
                <a:gd name="connsiteX3" fmla="*/ 11559 w 12355"/>
                <a:gd name="connsiteY3" fmla="*/ 0 h 14027"/>
                <a:gd name="connsiteX4" fmla="*/ 7971 w 12355"/>
                <a:gd name="connsiteY4" fmla="*/ 895 h 14027"/>
                <a:gd name="connsiteX5" fmla="*/ 2391 w 12355"/>
                <a:gd name="connsiteY5" fmla="*/ 4377 h 14027"/>
                <a:gd name="connsiteX6" fmla="*/ 2192 w 12355"/>
                <a:gd name="connsiteY6" fmla="*/ 6865 h 14027"/>
                <a:gd name="connsiteX7" fmla="*/ 0 w 12355"/>
                <a:gd name="connsiteY7" fmla="*/ 9949 h 14027"/>
                <a:gd name="connsiteX8" fmla="*/ 498 w 12355"/>
                <a:gd name="connsiteY8" fmla="*/ 12933 h 14027"/>
                <a:gd name="connsiteX9" fmla="*/ 3288 w 12355"/>
                <a:gd name="connsiteY9" fmla="*/ 14028 h 14027"/>
                <a:gd name="connsiteX10" fmla="*/ 9466 w 12355"/>
                <a:gd name="connsiteY10" fmla="*/ 13829 h 14027"/>
                <a:gd name="connsiteX11" fmla="*/ 12356 w 12355"/>
                <a:gd name="connsiteY11" fmla="*/ 13630 h 14027"/>
                <a:gd name="connsiteX12" fmla="*/ 12356 w 12355"/>
                <a:gd name="connsiteY12" fmla="*/ 6268 h 14027"/>
                <a:gd name="connsiteX13" fmla="*/ 12157 w 12355"/>
                <a:gd name="connsiteY13" fmla="*/ 6168 h 14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355" h="14027">
                  <a:moveTo>
                    <a:pt x="12157" y="6168"/>
                  </a:moveTo>
                  <a:lnTo>
                    <a:pt x="10463" y="4278"/>
                  </a:lnTo>
                  <a:lnTo>
                    <a:pt x="11957" y="2288"/>
                  </a:lnTo>
                  <a:lnTo>
                    <a:pt x="11559" y="0"/>
                  </a:lnTo>
                  <a:lnTo>
                    <a:pt x="7971" y="895"/>
                  </a:lnTo>
                  <a:lnTo>
                    <a:pt x="2391" y="4377"/>
                  </a:lnTo>
                  <a:lnTo>
                    <a:pt x="2192" y="6865"/>
                  </a:lnTo>
                  <a:lnTo>
                    <a:pt x="0" y="9949"/>
                  </a:lnTo>
                  <a:lnTo>
                    <a:pt x="498" y="12933"/>
                  </a:lnTo>
                  <a:lnTo>
                    <a:pt x="3288" y="14028"/>
                  </a:lnTo>
                  <a:lnTo>
                    <a:pt x="9466" y="13829"/>
                  </a:lnTo>
                  <a:lnTo>
                    <a:pt x="12356" y="13630"/>
                  </a:lnTo>
                  <a:lnTo>
                    <a:pt x="12356" y="6268"/>
                  </a:lnTo>
                  <a:lnTo>
                    <a:pt x="12157" y="616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7" name="Freeform: Shape 1276">
              <a:extLst>
                <a:ext uri="{FF2B5EF4-FFF2-40B4-BE49-F238E27FC236}">
                  <a16:creationId xmlns:a16="http://schemas.microsoft.com/office/drawing/2014/main" id="{AF8EEF1D-E01B-450F-91BD-9E3A0488EDC0}"/>
                </a:ext>
              </a:extLst>
            </p:cNvPr>
            <p:cNvSpPr/>
            <p:nvPr/>
          </p:nvSpPr>
          <p:spPr>
            <a:xfrm>
              <a:off x="4182890" y="1106435"/>
              <a:ext cx="11359" cy="5173"/>
            </a:xfrm>
            <a:custGeom>
              <a:avLst/>
              <a:gdLst>
                <a:gd name="connsiteX0" fmla="*/ 7075 w 11359"/>
                <a:gd name="connsiteY0" fmla="*/ 995 h 5173"/>
                <a:gd name="connsiteX1" fmla="*/ 4584 w 11359"/>
                <a:gd name="connsiteY1" fmla="*/ 0 h 5173"/>
                <a:gd name="connsiteX2" fmla="*/ 1395 w 11359"/>
                <a:gd name="connsiteY2" fmla="*/ 2189 h 5173"/>
                <a:gd name="connsiteX3" fmla="*/ 0 w 11359"/>
                <a:gd name="connsiteY3" fmla="*/ 2885 h 5173"/>
                <a:gd name="connsiteX4" fmla="*/ 100 w 11359"/>
                <a:gd name="connsiteY4" fmla="*/ 3084 h 5173"/>
                <a:gd name="connsiteX5" fmla="*/ 299 w 11359"/>
                <a:gd name="connsiteY5" fmla="*/ 3582 h 5173"/>
                <a:gd name="connsiteX6" fmla="*/ 398 w 11359"/>
                <a:gd name="connsiteY6" fmla="*/ 3781 h 5173"/>
                <a:gd name="connsiteX7" fmla="*/ 598 w 11359"/>
                <a:gd name="connsiteY7" fmla="*/ 4079 h 5173"/>
                <a:gd name="connsiteX8" fmla="*/ 1893 w 11359"/>
                <a:gd name="connsiteY8" fmla="*/ 5074 h 5173"/>
                <a:gd name="connsiteX9" fmla="*/ 2292 w 11359"/>
                <a:gd name="connsiteY9" fmla="*/ 5173 h 5173"/>
                <a:gd name="connsiteX10" fmla="*/ 3787 w 11359"/>
                <a:gd name="connsiteY10" fmla="*/ 5074 h 5173"/>
                <a:gd name="connsiteX11" fmla="*/ 6078 w 11359"/>
                <a:gd name="connsiteY11" fmla="*/ 5173 h 5173"/>
                <a:gd name="connsiteX12" fmla="*/ 11360 w 11359"/>
                <a:gd name="connsiteY12" fmla="*/ 3582 h 5173"/>
                <a:gd name="connsiteX13" fmla="*/ 9666 w 11359"/>
                <a:gd name="connsiteY13" fmla="*/ 2885 h 5173"/>
                <a:gd name="connsiteX14" fmla="*/ 7075 w 11359"/>
                <a:gd name="connsiteY14" fmla="*/ 995 h 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359" h="5173">
                  <a:moveTo>
                    <a:pt x="7075" y="995"/>
                  </a:moveTo>
                  <a:lnTo>
                    <a:pt x="4584" y="0"/>
                  </a:lnTo>
                  <a:lnTo>
                    <a:pt x="1395" y="2189"/>
                  </a:lnTo>
                  <a:lnTo>
                    <a:pt x="0" y="2885"/>
                  </a:lnTo>
                  <a:lnTo>
                    <a:pt x="100" y="3084"/>
                  </a:lnTo>
                  <a:lnTo>
                    <a:pt x="299" y="3582"/>
                  </a:lnTo>
                  <a:lnTo>
                    <a:pt x="398" y="3781"/>
                  </a:lnTo>
                  <a:lnTo>
                    <a:pt x="598" y="4079"/>
                  </a:lnTo>
                  <a:lnTo>
                    <a:pt x="1893" y="5074"/>
                  </a:lnTo>
                  <a:lnTo>
                    <a:pt x="2292" y="5173"/>
                  </a:lnTo>
                  <a:lnTo>
                    <a:pt x="3787" y="5074"/>
                  </a:lnTo>
                  <a:lnTo>
                    <a:pt x="6078" y="5173"/>
                  </a:lnTo>
                  <a:lnTo>
                    <a:pt x="11360" y="3582"/>
                  </a:lnTo>
                  <a:lnTo>
                    <a:pt x="9666" y="2885"/>
                  </a:lnTo>
                  <a:lnTo>
                    <a:pt x="7075" y="9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8" name="Freeform: Shape 1277">
              <a:extLst>
                <a:ext uri="{FF2B5EF4-FFF2-40B4-BE49-F238E27FC236}">
                  <a16:creationId xmlns:a16="http://schemas.microsoft.com/office/drawing/2014/main" id="{EDA1AA4D-2AD0-4E64-B721-E28FA0366032}"/>
                </a:ext>
              </a:extLst>
            </p:cNvPr>
            <p:cNvSpPr/>
            <p:nvPr/>
          </p:nvSpPr>
          <p:spPr>
            <a:xfrm>
              <a:off x="4243175" y="1065844"/>
              <a:ext cx="3388" cy="696"/>
            </a:xfrm>
            <a:custGeom>
              <a:avLst/>
              <a:gdLst>
                <a:gd name="connsiteX0" fmla="*/ 0 w 3388"/>
                <a:gd name="connsiteY0" fmla="*/ 696 h 696"/>
                <a:gd name="connsiteX1" fmla="*/ 3388 w 3388"/>
                <a:gd name="connsiteY1" fmla="*/ 199 h 696"/>
                <a:gd name="connsiteX2" fmla="*/ 2292 w 3388"/>
                <a:gd name="connsiteY2" fmla="*/ 0 h 696"/>
                <a:gd name="connsiteX3" fmla="*/ 0 w 3388"/>
                <a:gd name="connsiteY3" fmla="*/ 696 h 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88" h="696">
                  <a:moveTo>
                    <a:pt x="0" y="696"/>
                  </a:moveTo>
                  <a:lnTo>
                    <a:pt x="3388" y="199"/>
                  </a:lnTo>
                  <a:lnTo>
                    <a:pt x="2292" y="0"/>
                  </a:lnTo>
                  <a:lnTo>
                    <a:pt x="0" y="6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79" name="Freeform: Shape 1278">
              <a:extLst>
                <a:ext uri="{FF2B5EF4-FFF2-40B4-BE49-F238E27FC236}">
                  <a16:creationId xmlns:a16="http://schemas.microsoft.com/office/drawing/2014/main" id="{4AC21FF6-C827-4B5A-94F7-969BDFC1E570}"/>
                </a:ext>
              </a:extLst>
            </p:cNvPr>
            <p:cNvSpPr/>
            <p:nvPr/>
          </p:nvSpPr>
          <p:spPr>
            <a:xfrm>
              <a:off x="4192556" y="1096287"/>
              <a:ext cx="14149" cy="6665"/>
            </a:xfrm>
            <a:custGeom>
              <a:avLst/>
              <a:gdLst>
                <a:gd name="connsiteX0" fmla="*/ 7174 w 14149"/>
                <a:gd name="connsiteY0" fmla="*/ 5472 h 6665"/>
                <a:gd name="connsiteX1" fmla="*/ 9865 w 14149"/>
                <a:gd name="connsiteY1" fmla="*/ 4377 h 6665"/>
                <a:gd name="connsiteX2" fmla="*/ 11758 w 14149"/>
                <a:gd name="connsiteY2" fmla="*/ 2786 h 6665"/>
                <a:gd name="connsiteX3" fmla="*/ 12754 w 14149"/>
                <a:gd name="connsiteY3" fmla="*/ 1492 h 6665"/>
                <a:gd name="connsiteX4" fmla="*/ 14149 w 14149"/>
                <a:gd name="connsiteY4" fmla="*/ 199 h 6665"/>
                <a:gd name="connsiteX5" fmla="*/ 14149 w 14149"/>
                <a:gd name="connsiteY5" fmla="*/ 199 h 6665"/>
                <a:gd name="connsiteX6" fmla="*/ 14050 w 14149"/>
                <a:gd name="connsiteY6" fmla="*/ 199 h 6665"/>
                <a:gd name="connsiteX7" fmla="*/ 12654 w 14149"/>
                <a:gd name="connsiteY7" fmla="*/ 0 h 6665"/>
                <a:gd name="connsiteX8" fmla="*/ 11957 w 14149"/>
                <a:gd name="connsiteY8" fmla="*/ 0 h 6665"/>
                <a:gd name="connsiteX9" fmla="*/ 9267 w 14149"/>
                <a:gd name="connsiteY9" fmla="*/ 497 h 6665"/>
                <a:gd name="connsiteX10" fmla="*/ 6776 w 14149"/>
                <a:gd name="connsiteY10" fmla="*/ 497 h 6665"/>
                <a:gd name="connsiteX11" fmla="*/ 5978 w 14149"/>
                <a:gd name="connsiteY11" fmla="*/ 796 h 6665"/>
                <a:gd name="connsiteX12" fmla="*/ 5381 w 14149"/>
                <a:gd name="connsiteY12" fmla="*/ 1492 h 6665"/>
                <a:gd name="connsiteX13" fmla="*/ 3288 w 14149"/>
                <a:gd name="connsiteY13" fmla="*/ 4676 h 6665"/>
                <a:gd name="connsiteX14" fmla="*/ 2790 w 14149"/>
                <a:gd name="connsiteY14" fmla="*/ 5173 h 6665"/>
                <a:gd name="connsiteX15" fmla="*/ 0 w 14149"/>
                <a:gd name="connsiteY15" fmla="*/ 6666 h 6665"/>
                <a:gd name="connsiteX16" fmla="*/ 1794 w 14149"/>
                <a:gd name="connsiteY16" fmla="*/ 6666 h 6665"/>
                <a:gd name="connsiteX17" fmla="*/ 7174 w 14149"/>
                <a:gd name="connsiteY17" fmla="*/ 5472 h 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149" h="6665">
                  <a:moveTo>
                    <a:pt x="7174" y="5472"/>
                  </a:moveTo>
                  <a:lnTo>
                    <a:pt x="9865" y="4377"/>
                  </a:lnTo>
                  <a:lnTo>
                    <a:pt x="11758" y="2786"/>
                  </a:lnTo>
                  <a:lnTo>
                    <a:pt x="12754" y="1492"/>
                  </a:lnTo>
                  <a:lnTo>
                    <a:pt x="14149" y="199"/>
                  </a:lnTo>
                  <a:lnTo>
                    <a:pt x="14149" y="199"/>
                  </a:lnTo>
                  <a:lnTo>
                    <a:pt x="14050" y="199"/>
                  </a:lnTo>
                  <a:lnTo>
                    <a:pt x="12654" y="0"/>
                  </a:lnTo>
                  <a:lnTo>
                    <a:pt x="11957" y="0"/>
                  </a:lnTo>
                  <a:lnTo>
                    <a:pt x="9267" y="497"/>
                  </a:lnTo>
                  <a:lnTo>
                    <a:pt x="6776" y="497"/>
                  </a:lnTo>
                  <a:lnTo>
                    <a:pt x="5978" y="796"/>
                  </a:lnTo>
                  <a:lnTo>
                    <a:pt x="5381" y="1492"/>
                  </a:lnTo>
                  <a:lnTo>
                    <a:pt x="3288" y="4676"/>
                  </a:lnTo>
                  <a:lnTo>
                    <a:pt x="2790" y="5173"/>
                  </a:lnTo>
                  <a:lnTo>
                    <a:pt x="0" y="6666"/>
                  </a:lnTo>
                  <a:lnTo>
                    <a:pt x="1794" y="6666"/>
                  </a:lnTo>
                  <a:lnTo>
                    <a:pt x="7174" y="547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23E92951-5128-48B2-B5F4-3CE789F382AB}"/>
                </a:ext>
              </a:extLst>
            </p:cNvPr>
            <p:cNvSpPr/>
            <p:nvPr/>
          </p:nvSpPr>
          <p:spPr>
            <a:xfrm>
              <a:off x="4196641" y="1108425"/>
              <a:ext cx="1295" cy="795"/>
            </a:xfrm>
            <a:custGeom>
              <a:avLst/>
              <a:gdLst>
                <a:gd name="connsiteX0" fmla="*/ 0 w 1295"/>
                <a:gd name="connsiteY0" fmla="*/ 796 h 795"/>
                <a:gd name="connsiteX1" fmla="*/ 1295 w 1295"/>
                <a:gd name="connsiteY1" fmla="*/ 298 h 795"/>
                <a:gd name="connsiteX2" fmla="*/ 1196 w 1295"/>
                <a:gd name="connsiteY2" fmla="*/ 0 h 795"/>
                <a:gd name="connsiteX3" fmla="*/ 0 w 1295"/>
                <a:gd name="connsiteY3" fmla="*/ 796 h 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5" h="795">
                  <a:moveTo>
                    <a:pt x="0" y="796"/>
                  </a:moveTo>
                  <a:lnTo>
                    <a:pt x="1295" y="298"/>
                  </a:lnTo>
                  <a:lnTo>
                    <a:pt x="1196" y="0"/>
                  </a:lnTo>
                  <a:lnTo>
                    <a:pt x="0" y="7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A6B8EFED-2289-428A-80DE-B48551C36C78}"/>
                </a:ext>
              </a:extLst>
            </p:cNvPr>
            <p:cNvSpPr/>
            <p:nvPr/>
          </p:nvSpPr>
          <p:spPr>
            <a:xfrm>
              <a:off x="4181495" y="1113996"/>
              <a:ext cx="16043" cy="7958"/>
            </a:xfrm>
            <a:custGeom>
              <a:avLst/>
              <a:gdLst>
                <a:gd name="connsiteX0" fmla="*/ 1097 w 16043"/>
                <a:gd name="connsiteY0" fmla="*/ 3880 h 7958"/>
                <a:gd name="connsiteX1" fmla="*/ 3189 w 16043"/>
                <a:gd name="connsiteY1" fmla="*/ 5870 h 7958"/>
                <a:gd name="connsiteX2" fmla="*/ 3886 w 16043"/>
                <a:gd name="connsiteY2" fmla="*/ 6865 h 7958"/>
                <a:gd name="connsiteX3" fmla="*/ 4185 w 16043"/>
                <a:gd name="connsiteY3" fmla="*/ 7163 h 7958"/>
                <a:gd name="connsiteX4" fmla="*/ 4584 w 16043"/>
                <a:gd name="connsiteY4" fmla="*/ 7362 h 7958"/>
                <a:gd name="connsiteX5" fmla="*/ 6677 w 16043"/>
                <a:gd name="connsiteY5" fmla="*/ 7760 h 7958"/>
                <a:gd name="connsiteX6" fmla="*/ 8769 w 16043"/>
                <a:gd name="connsiteY6" fmla="*/ 7959 h 7958"/>
                <a:gd name="connsiteX7" fmla="*/ 9865 w 16043"/>
                <a:gd name="connsiteY7" fmla="*/ 7660 h 7958"/>
                <a:gd name="connsiteX8" fmla="*/ 10562 w 16043"/>
                <a:gd name="connsiteY8" fmla="*/ 7462 h 7958"/>
                <a:gd name="connsiteX9" fmla="*/ 13353 w 16043"/>
                <a:gd name="connsiteY9" fmla="*/ 5770 h 7958"/>
                <a:gd name="connsiteX10" fmla="*/ 14249 w 16043"/>
                <a:gd name="connsiteY10" fmla="*/ 5571 h 7958"/>
                <a:gd name="connsiteX11" fmla="*/ 15943 w 16043"/>
                <a:gd name="connsiteY11" fmla="*/ 5472 h 7958"/>
                <a:gd name="connsiteX12" fmla="*/ 16043 w 16043"/>
                <a:gd name="connsiteY12" fmla="*/ 4875 h 7958"/>
                <a:gd name="connsiteX13" fmla="*/ 15943 w 16043"/>
                <a:gd name="connsiteY13" fmla="*/ 4278 h 7958"/>
                <a:gd name="connsiteX14" fmla="*/ 15445 w 16043"/>
                <a:gd name="connsiteY14" fmla="*/ 4178 h 7958"/>
                <a:gd name="connsiteX15" fmla="*/ 13751 w 16043"/>
                <a:gd name="connsiteY15" fmla="*/ 3482 h 7958"/>
                <a:gd name="connsiteX16" fmla="*/ 12057 w 16043"/>
                <a:gd name="connsiteY16" fmla="*/ 2985 h 7958"/>
                <a:gd name="connsiteX17" fmla="*/ 11559 w 16043"/>
                <a:gd name="connsiteY17" fmla="*/ 2786 h 7958"/>
                <a:gd name="connsiteX18" fmla="*/ 10363 w 16043"/>
                <a:gd name="connsiteY18" fmla="*/ 1691 h 7958"/>
                <a:gd name="connsiteX19" fmla="*/ 9766 w 16043"/>
                <a:gd name="connsiteY19" fmla="*/ 1393 h 7958"/>
                <a:gd name="connsiteX20" fmla="*/ 8470 w 16043"/>
                <a:gd name="connsiteY20" fmla="*/ 895 h 7958"/>
                <a:gd name="connsiteX21" fmla="*/ 1295 w 16043"/>
                <a:gd name="connsiteY21" fmla="*/ 0 h 7958"/>
                <a:gd name="connsiteX22" fmla="*/ 997 w 16043"/>
                <a:gd name="connsiteY22" fmla="*/ 0 h 7958"/>
                <a:gd name="connsiteX23" fmla="*/ 698 w 16043"/>
                <a:gd name="connsiteY23" fmla="*/ 99 h 7958"/>
                <a:gd name="connsiteX24" fmla="*/ 399 w 16043"/>
                <a:gd name="connsiteY24" fmla="*/ 298 h 7958"/>
                <a:gd name="connsiteX25" fmla="*/ 0 w 16043"/>
                <a:gd name="connsiteY25" fmla="*/ 1492 h 7958"/>
                <a:gd name="connsiteX26" fmla="*/ 399 w 16043"/>
                <a:gd name="connsiteY26" fmla="*/ 2686 h 7958"/>
                <a:gd name="connsiteX27" fmla="*/ 1097 w 16043"/>
                <a:gd name="connsiteY27" fmla="*/ 3880 h 7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043" h="7958">
                  <a:moveTo>
                    <a:pt x="1097" y="3880"/>
                  </a:moveTo>
                  <a:lnTo>
                    <a:pt x="3189" y="5870"/>
                  </a:lnTo>
                  <a:lnTo>
                    <a:pt x="3886" y="6865"/>
                  </a:lnTo>
                  <a:lnTo>
                    <a:pt x="4185" y="7163"/>
                  </a:lnTo>
                  <a:lnTo>
                    <a:pt x="4584" y="7362"/>
                  </a:lnTo>
                  <a:lnTo>
                    <a:pt x="6677" y="7760"/>
                  </a:lnTo>
                  <a:lnTo>
                    <a:pt x="8769" y="7959"/>
                  </a:lnTo>
                  <a:lnTo>
                    <a:pt x="9865" y="7660"/>
                  </a:lnTo>
                  <a:lnTo>
                    <a:pt x="10562" y="7462"/>
                  </a:lnTo>
                  <a:lnTo>
                    <a:pt x="13353" y="5770"/>
                  </a:lnTo>
                  <a:lnTo>
                    <a:pt x="14249" y="5571"/>
                  </a:lnTo>
                  <a:lnTo>
                    <a:pt x="15943" y="5472"/>
                  </a:lnTo>
                  <a:lnTo>
                    <a:pt x="16043" y="4875"/>
                  </a:lnTo>
                  <a:lnTo>
                    <a:pt x="15943" y="4278"/>
                  </a:lnTo>
                  <a:lnTo>
                    <a:pt x="15445" y="4178"/>
                  </a:lnTo>
                  <a:lnTo>
                    <a:pt x="13751" y="3482"/>
                  </a:lnTo>
                  <a:lnTo>
                    <a:pt x="12057" y="2985"/>
                  </a:lnTo>
                  <a:lnTo>
                    <a:pt x="11559" y="2786"/>
                  </a:lnTo>
                  <a:lnTo>
                    <a:pt x="10363" y="1691"/>
                  </a:lnTo>
                  <a:lnTo>
                    <a:pt x="9766" y="1393"/>
                  </a:lnTo>
                  <a:lnTo>
                    <a:pt x="8470" y="895"/>
                  </a:lnTo>
                  <a:lnTo>
                    <a:pt x="1295" y="0"/>
                  </a:lnTo>
                  <a:lnTo>
                    <a:pt x="997" y="0"/>
                  </a:lnTo>
                  <a:lnTo>
                    <a:pt x="698" y="99"/>
                  </a:lnTo>
                  <a:lnTo>
                    <a:pt x="399" y="298"/>
                  </a:lnTo>
                  <a:lnTo>
                    <a:pt x="0" y="1492"/>
                  </a:lnTo>
                  <a:lnTo>
                    <a:pt x="399" y="2686"/>
                  </a:lnTo>
                  <a:lnTo>
                    <a:pt x="1097" y="388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0D34A4E3-0D25-4170-B02D-161B54703B83}"/>
                </a:ext>
              </a:extLst>
            </p:cNvPr>
            <p:cNvSpPr/>
            <p:nvPr/>
          </p:nvSpPr>
          <p:spPr>
            <a:xfrm>
              <a:off x="4631189" y="786981"/>
              <a:ext cx="12555" cy="9451"/>
            </a:xfrm>
            <a:custGeom>
              <a:avLst/>
              <a:gdLst>
                <a:gd name="connsiteX0" fmla="*/ 8470 w 12555"/>
                <a:gd name="connsiteY0" fmla="*/ 100 h 9451"/>
                <a:gd name="connsiteX1" fmla="*/ 5780 w 12555"/>
                <a:gd name="connsiteY1" fmla="*/ 796 h 9451"/>
                <a:gd name="connsiteX2" fmla="*/ 3189 w 12555"/>
                <a:gd name="connsiteY2" fmla="*/ 2189 h 9451"/>
                <a:gd name="connsiteX3" fmla="*/ 1395 w 12555"/>
                <a:gd name="connsiteY3" fmla="*/ 3681 h 9451"/>
                <a:gd name="connsiteX4" fmla="*/ 399 w 12555"/>
                <a:gd name="connsiteY4" fmla="*/ 5173 h 9451"/>
                <a:gd name="connsiteX5" fmla="*/ 0 w 12555"/>
                <a:gd name="connsiteY5" fmla="*/ 6765 h 9451"/>
                <a:gd name="connsiteX6" fmla="*/ 100 w 12555"/>
                <a:gd name="connsiteY6" fmla="*/ 8357 h 9451"/>
                <a:gd name="connsiteX7" fmla="*/ 1097 w 12555"/>
                <a:gd name="connsiteY7" fmla="*/ 9153 h 9451"/>
                <a:gd name="connsiteX8" fmla="*/ 3089 w 12555"/>
                <a:gd name="connsiteY8" fmla="*/ 9451 h 9451"/>
                <a:gd name="connsiteX9" fmla="*/ 5480 w 12555"/>
                <a:gd name="connsiteY9" fmla="*/ 8954 h 9451"/>
                <a:gd name="connsiteX10" fmla="*/ 7872 w 12555"/>
                <a:gd name="connsiteY10" fmla="*/ 7163 h 9451"/>
                <a:gd name="connsiteX11" fmla="*/ 12157 w 12555"/>
                <a:gd name="connsiteY11" fmla="*/ 2885 h 9451"/>
                <a:gd name="connsiteX12" fmla="*/ 12555 w 12555"/>
                <a:gd name="connsiteY12" fmla="*/ 0 h 9451"/>
                <a:gd name="connsiteX13" fmla="*/ 12257 w 12555"/>
                <a:gd name="connsiteY13" fmla="*/ 0 h 9451"/>
                <a:gd name="connsiteX14" fmla="*/ 8470 w 12555"/>
                <a:gd name="connsiteY14" fmla="*/ 100 h 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555" h="9451">
                  <a:moveTo>
                    <a:pt x="8470" y="100"/>
                  </a:moveTo>
                  <a:lnTo>
                    <a:pt x="5780" y="796"/>
                  </a:lnTo>
                  <a:lnTo>
                    <a:pt x="3189" y="2189"/>
                  </a:lnTo>
                  <a:lnTo>
                    <a:pt x="1395" y="3681"/>
                  </a:lnTo>
                  <a:lnTo>
                    <a:pt x="399" y="5173"/>
                  </a:lnTo>
                  <a:lnTo>
                    <a:pt x="0" y="6765"/>
                  </a:lnTo>
                  <a:lnTo>
                    <a:pt x="100" y="8357"/>
                  </a:lnTo>
                  <a:lnTo>
                    <a:pt x="1097" y="9153"/>
                  </a:lnTo>
                  <a:lnTo>
                    <a:pt x="3089" y="9451"/>
                  </a:lnTo>
                  <a:lnTo>
                    <a:pt x="5480" y="8954"/>
                  </a:lnTo>
                  <a:lnTo>
                    <a:pt x="7872" y="7163"/>
                  </a:lnTo>
                  <a:lnTo>
                    <a:pt x="12157" y="2885"/>
                  </a:lnTo>
                  <a:lnTo>
                    <a:pt x="12555" y="0"/>
                  </a:lnTo>
                  <a:lnTo>
                    <a:pt x="12257" y="0"/>
                  </a:lnTo>
                  <a:lnTo>
                    <a:pt x="8470" y="10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3" name="Freeform: Shape 1282">
              <a:extLst>
                <a:ext uri="{FF2B5EF4-FFF2-40B4-BE49-F238E27FC236}">
                  <a16:creationId xmlns:a16="http://schemas.microsoft.com/office/drawing/2014/main" id="{C8D99163-08F7-4B62-83D2-9CB0EB8CE255}"/>
                </a:ext>
              </a:extLst>
            </p:cNvPr>
            <p:cNvSpPr/>
            <p:nvPr/>
          </p:nvSpPr>
          <p:spPr>
            <a:xfrm>
              <a:off x="4543900" y="851648"/>
              <a:ext cx="39957" cy="28552"/>
            </a:xfrm>
            <a:custGeom>
              <a:avLst/>
              <a:gdLst>
                <a:gd name="connsiteX0" fmla="*/ 39260 w 39957"/>
                <a:gd name="connsiteY0" fmla="*/ 1592 h 28552"/>
                <a:gd name="connsiteX1" fmla="*/ 37566 w 39957"/>
                <a:gd name="connsiteY1" fmla="*/ 497 h 28552"/>
                <a:gd name="connsiteX2" fmla="*/ 35673 w 39957"/>
                <a:gd name="connsiteY2" fmla="*/ 0 h 28552"/>
                <a:gd name="connsiteX3" fmla="*/ 30392 w 39957"/>
                <a:gd name="connsiteY3" fmla="*/ 1094 h 28552"/>
                <a:gd name="connsiteX4" fmla="*/ 25509 w 39957"/>
                <a:gd name="connsiteY4" fmla="*/ 4875 h 28552"/>
                <a:gd name="connsiteX5" fmla="*/ 16641 w 39957"/>
                <a:gd name="connsiteY5" fmla="*/ 13530 h 28552"/>
                <a:gd name="connsiteX6" fmla="*/ 5082 w 39957"/>
                <a:gd name="connsiteY6" fmla="*/ 20793 h 28552"/>
                <a:gd name="connsiteX7" fmla="*/ 0 w 39957"/>
                <a:gd name="connsiteY7" fmla="*/ 25469 h 28552"/>
                <a:gd name="connsiteX8" fmla="*/ 1395 w 39957"/>
                <a:gd name="connsiteY8" fmla="*/ 28453 h 28552"/>
                <a:gd name="connsiteX9" fmla="*/ 6776 w 39957"/>
                <a:gd name="connsiteY9" fmla="*/ 28553 h 28552"/>
                <a:gd name="connsiteX10" fmla="*/ 11858 w 39957"/>
                <a:gd name="connsiteY10" fmla="*/ 27857 h 28552"/>
                <a:gd name="connsiteX11" fmla="*/ 14150 w 39957"/>
                <a:gd name="connsiteY11" fmla="*/ 26563 h 28552"/>
                <a:gd name="connsiteX12" fmla="*/ 39858 w 39957"/>
                <a:gd name="connsiteY12" fmla="*/ 3582 h 28552"/>
                <a:gd name="connsiteX13" fmla="*/ 39957 w 39957"/>
                <a:gd name="connsiteY13" fmla="*/ 3184 h 28552"/>
                <a:gd name="connsiteX14" fmla="*/ 39260 w 39957"/>
                <a:gd name="connsiteY14" fmla="*/ 1592 h 2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957" h="28552">
                  <a:moveTo>
                    <a:pt x="39260" y="1592"/>
                  </a:moveTo>
                  <a:lnTo>
                    <a:pt x="37566" y="497"/>
                  </a:lnTo>
                  <a:lnTo>
                    <a:pt x="35673" y="0"/>
                  </a:lnTo>
                  <a:lnTo>
                    <a:pt x="30392" y="1094"/>
                  </a:lnTo>
                  <a:lnTo>
                    <a:pt x="25509" y="4875"/>
                  </a:lnTo>
                  <a:lnTo>
                    <a:pt x="16641" y="13530"/>
                  </a:lnTo>
                  <a:lnTo>
                    <a:pt x="5082" y="20793"/>
                  </a:lnTo>
                  <a:lnTo>
                    <a:pt x="0" y="25469"/>
                  </a:lnTo>
                  <a:lnTo>
                    <a:pt x="1395" y="28453"/>
                  </a:lnTo>
                  <a:lnTo>
                    <a:pt x="6776" y="28553"/>
                  </a:lnTo>
                  <a:lnTo>
                    <a:pt x="11858" y="27857"/>
                  </a:lnTo>
                  <a:lnTo>
                    <a:pt x="14150" y="26563"/>
                  </a:lnTo>
                  <a:lnTo>
                    <a:pt x="39858" y="3582"/>
                  </a:lnTo>
                  <a:lnTo>
                    <a:pt x="39957" y="3184"/>
                  </a:lnTo>
                  <a:lnTo>
                    <a:pt x="39260" y="15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4" name="Freeform: Shape 1283">
              <a:extLst>
                <a:ext uri="{FF2B5EF4-FFF2-40B4-BE49-F238E27FC236}">
                  <a16:creationId xmlns:a16="http://schemas.microsoft.com/office/drawing/2014/main" id="{B3643834-CFC6-477E-90B2-982BFEE5875F}"/>
                </a:ext>
              </a:extLst>
            </p:cNvPr>
            <p:cNvSpPr/>
            <p:nvPr/>
          </p:nvSpPr>
          <p:spPr>
            <a:xfrm>
              <a:off x="4158477" y="1127128"/>
              <a:ext cx="31088" cy="13231"/>
            </a:xfrm>
            <a:custGeom>
              <a:avLst/>
              <a:gdLst>
                <a:gd name="connsiteX0" fmla="*/ 23118 w 31088"/>
                <a:gd name="connsiteY0" fmla="*/ 1194 h 13231"/>
                <a:gd name="connsiteX1" fmla="*/ 22619 w 31088"/>
                <a:gd name="connsiteY1" fmla="*/ 1492 h 13231"/>
                <a:gd name="connsiteX2" fmla="*/ 21623 w 31088"/>
                <a:gd name="connsiteY2" fmla="*/ 2189 h 13231"/>
                <a:gd name="connsiteX3" fmla="*/ 20826 w 31088"/>
                <a:gd name="connsiteY3" fmla="*/ 2786 h 13231"/>
                <a:gd name="connsiteX4" fmla="*/ 16940 w 31088"/>
                <a:gd name="connsiteY4" fmla="*/ 4278 h 13231"/>
                <a:gd name="connsiteX5" fmla="*/ 15544 w 31088"/>
                <a:gd name="connsiteY5" fmla="*/ 4477 h 13231"/>
                <a:gd name="connsiteX6" fmla="*/ 5680 w 31088"/>
                <a:gd name="connsiteY6" fmla="*/ 3979 h 13231"/>
                <a:gd name="connsiteX7" fmla="*/ 4783 w 31088"/>
                <a:gd name="connsiteY7" fmla="*/ 4178 h 13231"/>
                <a:gd name="connsiteX8" fmla="*/ 3089 w 31088"/>
                <a:gd name="connsiteY8" fmla="*/ 5074 h 13231"/>
                <a:gd name="connsiteX9" fmla="*/ 1495 w 31088"/>
                <a:gd name="connsiteY9" fmla="*/ 6168 h 13231"/>
                <a:gd name="connsiteX10" fmla="*/ 399 w 31088"/>
                <a:gd name="connsiteY10" fmla="*/ 7362 h 13231"/>
                <a:gd name="connsiteX11" fmla="*/ 0 w 31088"/>
                <a:gd name="connsiteY11" fmla="*/ 8755 h 13231"/>
                <a:gd name="connsiteX12" fmla="*/ 100 w 31088"/>
                <a:gd name="connsiteY12" fmla="*/ 10247 h 13231"/>
                <a:gd name="connsiteX13" fmla="*/ 897 w 31088"/>
                <a:gd name="connsiteY13" fmla="*/ 11839 h 13231"/>
                <a:gd name="connsiteX14" fmla="*/ 1595 w 31088"/>
                <a:gd name="connsiteY14" fmla="*/ 12535 h 13231"/>
                <a:gd name="connsiteX15" fmla="*/ 2491 w 31088"/>
                <a:gd name="connsiteY15" fmla="*/ 13033 h 13231"/>
                <a:gd name="connsiteX16" fmla="*/ 3388 w 31088"/>
                <a:gd name="connsiteY16" fmla="*/ 13232 h 13231"/>
                <a:gd name="connsiteX17" fmla="*/ 8669 w 31088"/>
                <a:gd name="connsiteY17" fmla="*/ 13132 h 13231"/>
                <a:gd name="connsiteX18" fmla="*/ 11758 w 31088"/>
                <a:gd name="connsiteY18" fmla="*/ 11541 h 13231"/>
                <a:gd name="connsiteX19" fmla="*/ 14548 w 31088"/>
                <a:gd name="connsiteY19" fmla="*/ 11043 h 13231"/>
                <a:gd name="connsiteX20" fmla="*/ 16043 w 31088"/>
                <a:gd name="connsiteY20" fmla="*/ 9849 h 13231"/>
                <a:gd name="connsiteX21" fmla="*/ 19929 w 31088"/>
                <a:gd name="connsiteY21" fmla="*/ 4079 h 13231"/>
                <a:gd name="connsiteX22" fmla="*/ 21922 w 31088"/>
                <a:gd name="connsiteY22" fmla="*/ 2189 h 13231"/>
                <a:gd name="connsiteX23" fmla="*/ 27502 w 31088"/>
                <a:gd name="connsiteY23" fmla="*/ 995 h 13231"/>
                <a:gd name="connsiteX24" fmla="*/ 30890 w 31088"/>
                <a:gd name="connsiteY24" fmla="*/ 995 h 13231"/>
                <a:gd name="connsiteX25" fmla="*/ 31089 w 31088"/>
                <a:gd name="connsiteY25" fmla="*/ 0 h 13231"/>
                <a:gd name="connsiteX26" fmla="*/ 23118 w 31088"/>
                <a:gd name="connsiteY26" fmla="*/ 1194 h 1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088" h="13231">
                  <a:moveTo>
                    <a:pt x="23118" y="1194"/>
                  </a:moveTo>
                  <a:lnTo>
                    <a:pt x="22619" y="1492"/>
                  </a:lnTo>
                  <a:lnTo>
                    <a:pt x="21623" y="2189"/>
                  </a:lnTo>
                  <a:lnTo>
                    <a:pt x="20826" y="2786"/>
                  </a:lnTo>
                  <a:lnTo>
                    <a:pt x="16940" y="4278"/>
                  </a:lnTo>
                  <a:lnTo>
                    <a:pt x="15544" y="4477"/>
                  </a:lnTo>
                  <a:lnTo>
                    <a:pt x="5680" y="3979"/>
                  </a:lnTo>
                  <a:lnTo>
                    <a:pt x="4783" y="4178"/>
                  </a:lnTo>
                  <a:lnTo>
                    <a:pt x="3089" y="5074"/>
                  </a:lnTo>
                  <a:lnTo>
                    <a:pt x="1495" y="6168"/>
                  </a:lnTo>
                  <a:lnTo>
                    <a:pt x="399" y="7362"/>
                  </a:lnTo>
                  <a:lnTo>
                    <a:pt x="0" y="8755"/>
                  </a:lnTo>
                  <a:lnTo>
                    <a:pt x="100" y="10247"/>
                  </a:lnTo>
                  <a:lnTo>
                    <a:pt x="897" y="11839"/>
                  </a:lnTo>
                  <a:lnTo>
                    <a:pt x="1595" y="12535"/>
                  </a:lnTo>
                  <a:lnTo>
                    <a:pt x="2491" y="13033"/>
                  </a:lnTo>
                  <a:lnTo>
                    <a:pt x="3388" y="13232"/>
                  </a:lnTo>
                  <a:lnTo>
                    <a:pt x="8669" y="13132"/>
                  </a:lnTo>
                  <a:lnTo>
                    <a:pt x="11758" y="11541"/>
                  </a:lnTo>
                  <a:lnTo>
                    <a:pt x="14548" y="11043"/>
                  </a:lnTo>
                  <a:lnTo>
                    <a:pt x="16043" y="9849"/>
                  </a:lnTo>
                  <a:lnTo>
                    <a:pt x="19929" y="4079"/>
                  </a:lnTo>
                  <a:lnTo>
                    <a:pt x="21922" y="2189"/>
                  </a:lnTo>
                  <a:lnTo>
                    <a:pt x="27502" y="995"/>
                  </a:lnTo>
                  <a:lnTo>
                    <a:pt x="30890" y="995"/>
                  </a:lnTo>
                  <a:lnTo>
                    <a:pt x="31089" y="0"/>
                  </a:lnTo>
                  <a:lnTo>
                    <a:pt x="23118" y="11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5" name="Freeform: Shape 1284">
              <a:extLst>
                <a:ext uri="{FF2B5EF4-FFF2-40B4-BE49-F238E27FC236}">
                  <a16:creationId xmlns:a16="http://schemas.microsoft.com/office/drawing/2014/main" id="{3956BA63-9483-48FF-8AE0-B2B281F3AE6E}"/>
                </a:ext>
              </a:extLst>
            </p:cNvPr>
            <p:cNvSpPr/>
            <p:nvPr/>
          </p:nvSpPr>
          <p:spPr>
            <a:xfrm>
              <a:off x="4186179" y="1096387"/>
              <a:ext cx="7871" cy="5770"/>
            </a:xfrm>
            <a:custGeom>
              <a:avLst/>
              <a:gdLst>
                <a:gd name="connsiteX0" fmla="*/ 797 w 7871"/>
                <a:gd name="connsiteY0" fmla="*/ 5372 h 5770"/>
                <a:gd name="connsiteX1" fmla="*/ 1395 w 7871"/>
                <a:gd name="connsiteY1" fmla="*/ 5671 h 5770"/>
                <a:gd name="connsiteX2" fmla="*/ 1993 w 7871"/>
                <a:gd name="connsiteY2" fmla="*/ 5770 h 5770"/>
                <a:gd name="connsiteX3" fmla="*/ 3687 w 7871"/>
                <a:gd name="connsiteY3" fmla="*/ 5273 h 5770"/>
                <a:gd name="connsiteX4" fmla="*/ 6078 w 7871"/>
                <a:gd name="connsiteY4" fmla="*/ 3880 h 5770"/>
                <a:gd name="connsiteX5" fmla="*/ 7872 w 7871"/>
                <a:gd name="connsiteY5" fmla="*/ 1990 h 5770"/>
                <a:gd name="connsiteX6" fmla="*/ 7772 w 7871"/>
                <a:gd name="connsiteY6" fmla="*/ 199 h 5770"/>
                <a:gd name="connsiteX7" fmla="*/ 7174 w 7871"/>
                <a:gd name="connsiteY7" fmla="*/ 0 h 5770"/>
                <a:gd name="connsiteX8" fmla="*/ 6477 w 7871"/>
                <a:gd name="connsiteY8" fmla="*/ 99 h 5770"/>
                <a:gd name="connsiteX9" fmla="*/ 1694 w 7871"/>
                <a:gd name="connsiteY9" fmla="*/ 1890 h 5770"/>
                <a:gd name="connsiteX10" fmla="*/ 1196 w 7871"/>
                <a:gd name="connsiteY10" fmla="*/ 2288 h 5770"/>
                <a:gd name="connsiteX11" fmla="*/ 498 w 7871"/>
                <a:gd name="connsiteY11" fmla="*/ 2786 h 5770"/>
                <a:gd name="connsiteX12" fmla="*/ 0 w 7871"/>
                <a:gd name="connsiteY12" fmla="*/ 3482 h 5770"/>
                <a:gd name="connsiteX13" fmla="*/ 0 w 7871"/>
                <a:gd name="connsiteY13" fmla="*/ 4278 h 5770"/>
                <a:gd name="connsiteX14" fmla="*/ 299 w 7871"/>
                <a:gd name="connsiteY14" fmla="*/ 4974 h 5770"/>
                <a:gd name="connsiteX15" fmla="*/ 797 w 7871"/>
                <a:gd name="connsiteY15" fmla="*/ 5372 h 5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71" h="5770">
                  <a:moveTo>
                    <a:pt x="797" y="5372"/>
                  </a:moveTo>
                  <a:lnTo>
                    <a:pt x="1395" y="5671"/>
                  </a:lnTo>
                  <a:lnTo>
                    <a:pt x="1993" y="5770"/>
                  </a:lnTo>
                  <a:lnTo>
                    <a:pt x="3687" y="5273"/>
                  </a:lnTo>
                  <a:lnTo>
                    <a:pt x="6078" y="3880"/>
                  </a:lnTo>
                  <a:lnTo>
                    <a:pt x="7872" y="1990"/>
                  </a:lnTo>
                  <a:lnTo>
                    <a:pt x="7772" y="199"/>
                  </a:lnTo>
                  <a:lnTo>
                    <a:pt x="7174" y="0"/>
                  </a:lnTo>
                  <a:lnTo>
                    <a:pt x="6477" y="99"/>
                  </a:lnTo>
                  <a:lnTo>
                    <a:pt x="1694" y="1890"/>
                  </a:lnTo>
                  <a:lnTo>
                    <a:pt x="1196" y="2288"/>
                  </a:lnTo>
                  <a:lnTo>
                    <a:pt x="498" y="2786"/>
                  </a:lnTo>
                  <a:lnTo>
                    <a:pt x="0" y="3482"/>
                  </a:lnTo>
                  <a:lnTo>
                    <a:pt x="0" y="4278"/>
                  </a:lnTo>
                  <a:lnTo>
                    <a:pt x="299" y="4974"/>
                  </a:lnTo>
                  <a:lnTo>
                    <a:pt x="797" y="537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6" name="Freeform: Shape 1285">
              <a:extLst>
                <a:ext uri="{FF2B5EF4-FFF2-40B4-BE49-F238E27FC236}">
                  <a16:creationId xmlns:a16="http://schemas.microsoft.com/office/drawing/2014/main" id="{6DBED414-F0DD-417D-936B-3AE86BA96A94}"/>
                </a:ext>
              </a:extLst>
            </p:cNvPr>
            <p:cNvSpPr/>
            <p:nvPr/>
          </p:nvSpPr>
          <p:spPr>
            <a:xfrm>
              <a:off x="4196442" y="1067933"/>
              <a:ext cx="38363" cy="25070"/>
            </a:xfrm>
            <a:custGeom>
              <a:avLst/>
              <a:gdLst>
                <a:gd name="connsiteX0" fmla="*/ 20826 w 38363"/>
                <a:gd name="connsiteY0" fmla="*/ 17510 h 25070"/>
                <a:gd name="connsiteX1" fmla="*/ 28000 w 38363"/>
                <a:gd name="connsiteY1" fmla="*/ 10347 h 25070"/>
                <a:gd name="connsiteX2" fmla="*/ 28199 w 38363"/>
                <a:gd name="connsiteY2" fmla="*/ 9849 h 25070"/>
                <a:gd name="connsiteX3" fmla="*/ 28399 w 38363"/>
                <a:gd name="connsiteY3" fmla="*/ 9352 h 25070"/>
                <a:gd name="connsiteX4" fmla="*/ 29097 w 38363"/>
                <a:gd name="connsiteY4" fmla="*/ 8357 h 25070"/>
                <a:gd name="connsiteX5" fmla="*/ 32086 w 38363"/>
                <a:gd name="connsiteY5" fmla="*/ 5372 h 25070"/>
                <a:gd name="connsiteX6" fmla="*/ 34577 w 38363"/>
                <a:gd name="connsiteY6" fmla="*/ 3781 h 25070"/>
                <a:gd name="connsiteX7" fmla="*/ 37168 w 38363"/>
                <a:gd name="connsiteY7" fmla="*/ 2487 h 25070"/>
                <a:gd name="connsiteX8" fmla="*/ 38363 w 38363"/>
                <a:gd name="connsiteY8" fmla="*/ 1492 h 25070"/>
                <a:gd name="connsiteX9" fmla="*/ 38264 w 38363"/>
                <a:gd name="connsiteY9" fmla="*/ 497 h 25070"/>
                <a:gd name="connsiteX10" fmla="*/ 36968 w 38363"/>
                <a:gd name="connsiteY10" fmla="*/ 0 h 25070"/>
                <a:gd name="connsiteX11" fmla="*/ 35573 w 38363"/>
                <a:gd name="connsiteY11" fmla="*/ 99 h 25070"/>
                <a:gd name="connsiteX12" fmla="*/ 28897 w 38363"/>
                <a:gd name="connsiteY12" fmla="*/ 1990 h 25070"/>
                <a:gd name="connsiteX13" fmla="*/ 28000 w 38363"/>
                <a:gd name="connsiteY13" fmla="*/ 1990 h 25070"/>
                <a:gd name="connsiteX14" fmla="*/ 26206 w 38363"/>
                <a:gd name="connsiteY14" fmla="*/ 1592 h 25070"/>
                <a:gd name="connsiteX15" fmla="*/ 25410 w 38363"/>
                <a:gd name="connsiteY15" fmla="*/ 1492 h 25070"/>
                <a:gd name="connsiteX16" fmla="*/ 24114 w 38363"/>
                <a:gd name="connsiteY16" fmla="*/ 1791 h 25070"/>
                <a:gd name="connsiteX17" fmla="*/ 18833 w 38363"/>
                <a:gd name="connsiteY17" fmla="*/ 4079 h 25070"/>
                <a:gd name="connsiteX18" fmla="*/ 15943 w 38363"/>
                <a:gd name="connsiteY18" fmla="*/ 5969 h 25070"/>
                <a:gd name="connsiteX19" fmla="*/ 13552 w 38363"/>
                <a:gd name="connsiteY19" fmla="*/ 7859 h 25070"/>
                <a:gd name="connsiteX20" fmla="*/ 7673 w 38363"/>
                <a:gd name="connsiteY20" fmla="*/ 14227 h 25070"/>
                <a:gd name="connsiteX21" fmla="*/ 4883 w 38363"/>
                <a:gd name="connsiteY21" fmla="*/ 16117 h 25070"/>
                <a:gd name="connsiteX22" fmla="*/ 2192 w 38363"/>
                <a:gd name="connsiteY22" fmla="*/ 18903 h 25070"/>
                <a:gd name="connsiteX23" fmla="*/ 399 w 38363"/>
                <a:gd name="connsiteY23" fmla="*/ 21489 h 25070"/>
                <a:gd name="connsiteX24" fmla="*/ 0 w 38363"/>
                <a:gd name="connsiteY24" fmla="*/ 22683 h 25070"/>
                <a:gd name="connsiteX25" fmla="*/ 199 w 38363"/>
                <a:gd name="connsiteY25" fmla="*/ 23678 h 25070"/>
                <a:gd name="connsiteX26" fmla="*/ 1097 w 38363"/>
                <a:gd name="connsiteY26" fmla="*/ 24474 h 25070"/>
                <a:gd name="connsiteX27" fmla="*/ 2990 w 38363"/>
                <a:gd name="connsiteY27" fmla="*/ 25071 h 25070"/>
                <a:gd name="connsiteX28" fmla="*/ 10961 w 38363"/>
                <a:gd name="connsiteY28" fmla="*/ 24872 h 25070"/>
                <a:gd name="connsiteX29" fmla="*/ 15046 w 38363"/>
                <a:gd name="connsiteY29" fmla="*/ 23977 h 25070"/>
                <a:gd name="connsiteX30" fmla="*/ 16840 w 38363"/>
                <a:gd name="connsiteY30" fmla="*/ 23379 h 25070"/>
                <a:gd name="connsiteX31" fmla="*/ 17039 w 38363"/>
                <a:gd name="connsiteY31" fmla="*/ 22982 h 25070"/>
                <a:gd name="connsiteX32" fmla="*/ 20826 w 38363"/>
                <a:gd name="connsiteY32" fmla="*/ 17510 h 2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8363" h="25070">
                  <a:moveTo>
                    <a:pt x="20826" y="17510"/>
                  </a:moveTo>
                  <a:lnTo>
                    <a:pt x="28000" y="10347"/>
                  </a:lnTo>
                  <a:lnTo>
                    <a:pt x="28199" y="9849"/>
                  </a:lnTo>
                  <a:lnTo>
                    <a:pt x="28399" y="9352"/>
                  </a:lnTo>
                  <a:lnTo>
                    <a:pt x="29097" y="8357"/>
                  </a:lnTo>
                  <a:lnTo>
                    <a:pt x="32086" y="5372"/>
                  </a:lnTo>
                  <a:lnTo>
                    <a:pt x="34577" y="3781"/>
                  </a:lnTo>
                  <a:lnTo>
                    <a:pt x="37168" y="2487"/>
                  </a:lnTo>
                  <a:lnTo>
                    <a:pt x="38363" y="1492"/>
                  </a:lnTo>
                  <a:lnTo>
                    <a:pt x="38264" y="497"/>
                  </a:lnTo>
                  <a:lnTo>
                    <a:pt x="36968" y="0"/>
                  </a:lnTo>
                  <a:lnTo>
                    <a:pt x="35573" y="99"/>
                  </a:lnTo>
                  <a:lnTo>
                    <a:pt x="28897" y="1990"/>
                  </a:lnTo>
                  <a:lnTo>
                    <a:pt x="28000" y="1990"/>
                  </a:lnTo>
                  <a:lnTo>
                    <a:pt x="26206" y="1592"/>
                  </a:lnTo>
                  <a:lnTo>
                    <a:pt x="25410" y="1492"/>
                  </a:lnTo>
                  <a:lnTo>
                    <a:pt x="24114" y="1791"/>
                  </a:lnTo>
                  <a:lnTo>
                    <a:pt x="18833" y="4079"/>
                  </a:lnTo>
                  <a:lnTo>
                    <a:pt x="15943" y="5969"/>
                  </a:lnTo>
                  <a:lnTo>
                    <a:pt x="13552" y="7859"/>
                  </a:lnTo>
                  <a:lnTo>
                    <a:pt x="7673" y="14227"/>
                  </a:lnTo>
                  <a:lnTo>
                    <a:pt x="4883" y="16117"/>
                  </a:lnTo>
                  <a:lnTo>
                    <a:pt x="2192" y="18903"/>
                  </a:lnTo>
                  <a:lnTo>
                    <a:pt x="399" y="21489"/>
                  </a:lnTo>
                  <a:lnTo>
                    <a:pt x="0" y="22683"/>
                  </a:lnTo>
                  <a:lnTo>
                    <a:pt x="199" y="23678"/>
                  </a:lnTo>
                  <a:lnTo>
                    <a:pt x="1097" y="24474"/>
                  </a:lnTo>
                  <a:lnTo>
                    <a:pt x="2990" y="25071"/>
                  </a:lnTo>
                  <a:lnTo>
                    <a:pt x="10961" y="24872"/>
                  </a:lnTo>
                  <a:lnTo>
                    <a:pt x="15046" y="23977"/>
                  </a:lnTo>
                  <a:lnTo>
                    <a:pt x="16840" y="23379"/>
                  </a:lnTo>
                  <a:lnTo>
                    <a:pt x="17039" y="22982"/>
                  </a:lnTo>
                  <a:lnTo>
                    <a:pt x="20826" y="1751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7" name="Freeform: Shape 1286">
              <a:extLst>
                <a:ext uri="{FF2B5EF4-FFF2-40B4-BE49-F238E27FC236}">
                  <a16:creationId xmlns:a16="http://schemas.microsoft.com/office/drawing/2014/main" id="{8A28F796-2B2D-4383-940E-179B033E97B3}"/>
                </a:ext>
              </a:extLst>
            </p:cNvPr>
            <p:cNvSpPr/>
            <p:nvPr/>
          </p:nvSpPr>
          <p:spPr>
            <a:xfrm>
              <a:off x="2977097" y="1019383"/>
              <a:ext cx="27801" cy="22782"/>
            </a:xfrm>
            <a:custGeom>
              <a:avLst/>
              <a:gdLst>
                <a:gd name="connsiteX0" fmla="*/ 7872 w 27801"/>
                <a:gd name="connsiteY0" fmla="*/ 18306 h 22782"/>
                <a:gd name="connsiteX1" fmla="*/ 11957 w 27801"/>
                <a:gd name="connsiteY1" fmla="*/ 21390 h 22782"/>
                <a:gd name="connsiteX2" fmla="*/ 13950 w 27801"/>
                <a:gd name="connsiteY2" fmla="*/ 22385 h 22782"/>
                <a:gd name="connsiteX3" fmla="*/ 16840 w 27801"/>
                <a:gd name="connsiteY3" fmla="*/ 22783 h 22782"/>
                <a:gd name="connsiteX4" fmla="*/ 18833 w 27801"/>
                <a:gd name="connsiteY4" fmla="*/ 22186 h 22782"/>
                <a:gd name="connsiteX5" fmla="*/ 20826 w 27801"/>
                <a:gd name="connsiteY5" fmla="*/ 20793 h 22782"/>
                <a:gd name="connsiteX6" fmla="*/ 26008 w 27801"/>
                <a:gd name="connsiteY6" fmla="*/ 15023 h 22782"/>
                <a:gd name="connsiteX7" fmla="*/ 27104 w 27801"/>
                <a:gd name="connsiteY7" fmla="*/ 12834 h 22782"/>
                <a:gd name="connsiteX8" fmla="*/ 27602 w 27801"/>
                <a:gd name="connsiteY8" fmla="*/ 10148 h 22782"/>
                <a:gd name="connsiteX9" fmla="*/ 27801 w 27801"/>
                <a:gd name="connsiteY9" fmla="*/ 6666 h 22782"/>
                <a:gd name="connsiteX10" fmla="*/ 27203 w 27801"/>
                <a:gd name="connsiteY10" fmla="*/ 5372 h 22782"/>
                <a:gd name="connsiteX11" fmla="*/ 25708 w 27801"/>
                <a:gd name="connsiteY11" fmla="*/ 5372 h 22782"/>
                <a:gd name="connsiteX12" fmla="*/ 23417 w 27801"/>
                <a:gd name="connsiteY12" fmla="*/ 6069 h 22782"/>
                <a:gd name="connsiteX13" fmla="*/ 22221 w 27801"/>
                <a:gd name="connsiteY13" fmla="*/ 5273 h 22782"/>
                <a:gd name="connsiteX14" fmla="*/ 19032 w 27801"/>
                <a:gd name="connsiteY14" fmla="*/ 1691 h 22782"/>
                <a:gd name="connsiteX15" fmla="*/ 16940 w 27801"/>
                <a:gd name="connsiteY15" fmla="*/ 0 h 22782"/>
                <a:gd name="connsiteX16" fmla="*/ 14748 w 27801"/>
                <a:gd name="connsiteY16" fmla="*/ 199 h 22782"/>
                <a:gd name="connsiteX17" fmla="*/ 12456 w 27801"/>
                <a:gd name="connsiteY17" fmla="*/ 1194 h 22782"/>
                <a:gd name="connsiteX18" fmla="*/ 9865 w 27801"/>
                <a:gd name="connsiteY18" fmla="*/ 1691 h 22782"/>
                <a:gd name="connsiteX19" fmla="*/ 8769 w 27801"/>
                <a:gd name="connsiteY19" fmla="*/ 2089 h 22782"/>
                <a:gd name="connsiteX20" fmla="*/ 7971 w 27801"/>
                <a:gd name="connsiteY20" fmla="*/ 3184 h 22782"/>
                <a:gd name="connsiteX21" fmla="*/ 6875 w 27801"/>
                <a:gd name="connsiteY21" fmla="*/ 5074 h 22782"/>
                <a:gd name="connsiteX22" fmla="*/ 3388 w 27801"/>
                <a:gd name="connsiteY22" fmla="*/ 8357 h 22782"/>
                <a:gd name="connsiteX23" fmla="*/ 1893 w 27801"/>
                <a:gd name="connsiteY23" fmla="*/ 10148 h 22782"/>
                <a:gd name="connsiteX24" fmla="*/ 797 w 27801"/>
                <a:gd name="connsiteY24" fmla="*/ 12137 h 22782"/>
                <a:gd name="connsiteX25" fmla="*/ 199 w 27801"/>
                <a:gd name="connsiteY25" fmla="*/ 14525 h 22782"/>
                <a:gd name="connsiteX26" fmla="*/ 0 w 27801"/>
                <a:gd name="connsiteY26" fmla="*/ 17808 h 22782"/>
                <a:gd name="connsiteX27" fmla="*/ 5879 w 27801"/>
                <a:gd name="connsiteY27" fmla="*/ 17808 h 22782"/>
                <a:gd name="connsiteX28" fmla="*/ 7872 w 27801"/>
                <a:gd name="connsiteY28" fmla="*/ 18306 h 22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7801" h="22782">
                  <a:moveTo>
                    <a:pt x="7872" y="18306"/>
                  </a:moveTo>
                  <a:lnTo>
                    <a:pt x="11957" y="21390"/>
                  </a:lnTo>
                  <a:lnTo>
                    <a:pt x="13950" y="22385"/>
                  </a:lnTo>
                  <a:lnTo>
                    <a:pt x="16840" y="22783"/>
                  </a:lnTo>
                  <a:lnTo>
                    <a:pt x="18833" y="22186"/>
                  </a:lnTo>
                  <a:lnTo>
                    <a:pt x="20826" y="20793"/>
                  </a:lnTo>
                  <a:lnTo>
                    <a:pt x="26008" y="15023"/>
                  </a:lnTo>
                  <a:lnTo>
                    <a:pt x="27104" y="12834"/>
                  </a:lnTo>
                  <a:lnTo>
                    <a:pt x="27602" y="10148"/>
                  </a:lnTo>
                  <a:lnTo>
                    <a:pt x="27801" y="6666"/>
                  </a:lnTo>
                  <a:lnTo>
                    <a:pt x="27203" y="5372"/>
                  </a:lnTo>
                  <a:lnTo>
                    <a:pt x="25708" y="5372"/>
                  </a:lnTo>
                  <a:lnTo>
                    <a:pt x="23417" y="6069"/>
                  </a:lnTo>
                  <a:lnTo>
                    <a:pt x="22221" y="5273"/>
                  </a:lnTo>
                  <a:lnTo>
                    <a:pt x="19032" y="1691"/>
                  </a:lnTo>
                  <a:lnTo>
                    <a:pt x="16940" y="0"/>
                  </a:lnTo>
                  <a:lnTo>
                    <a:pt x="14748" y="199"/>
                  </a:lnTo>
                  <a:lnTo>
                    <a:pt x="12456" y="1194"/>
                  </a:lnTo>
                  <a:lnTo>
                    <a:pt x="9865" y="1691"/>
                  </a:lnTo>
                  <a:lnTo>
                    <a:pt x="8769" y="2089"/>
                  </a:lnTo>
                  <a:lnTo>
                    <a:pt x="7971" y="3184"/>
                  </a:lnTo>
                  <a:lnTo>
                    <a:pt x="6875" y="5074"/>
                  </a:lnTo>
                  <a:lnTo>
                    <a:pt x="3388" y="8357"/>
                  </a:lnTo>
                  <a:lnTo>
                    <a:pt x="1893" y="10148"/>
                  </a:lnTo>
                  <a:lnTo>
                    <a:pt x="797" y="12137"/>
                  </a:lnTo>
                  <a:lnTo>
                    <a:pt x="199" y="14525"/>
                  </a:lnTo>
                  <a:lnTo>
                    <a:pt x="0" y="17808"/>
                  </a:lnTo>
                  <a:lnTo>
                    <a:pt x="5879" y="17808"/>
                  </a:lnTo>
                  <a:lnTo>
                    <a:pt x="7872" y="1830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8" name="Freeform: Shape 1287">
              <a:extLst>
                <a:ext uri="{FF2B5EF4-FFF2-40B4-BE49-F238E27FC236}">
                  <a16:creationId xmlns:a16="http://schemas.microsoft.com/office/drawing/2014/main" id="{F57BDF7A-5ED6-48A0-9B74-F39499291962}"/>
                </a:ext>
              </a:extLst>
            </p:cNvPr>
            <p:cNvSpPr/>
            <p:nvPr/>
          </p:nvSpPr>
          <p:spPr>
            <a:xfrm>
              <a:off x="1562948" y="502347"/>
              <a:ext cx="18334" cy="21290"/>
            </a:xfrm>
            <a:custGeom>
              <a:avLst/>
              <a:gdLst>
                <a:gd name="connsiteX0" fmla="*/ 12256 w 18334"/>
                <a:gd name="connsiteY0" fmla="*/ 19500 h 21290"/>
                <a:gd name="connsiteX1" fmla="*/ 14150 w 18334"/>
                <a:gd name="connsiteY1" fmla="*/ 18405 h 21290"/>
                <a:gd name="connsiteX2" fmla="*/ 16043 w 18334"/>
                <a:gd name="connsiteY2" fmla="*/ 16117 h 21290"/>
                <a:gd name="connsiteX3" fmla="*/ 17239 w 18334"/>
                <a:gd name="connsiteY3" fmla="*/ 13431 h 21290"/>
                <a:gd name="connsiteX4" fmla="*/ 17039 w 18334"/>
                <a:gd name="connsiteY4" fmla="*/ 10944 h 21290"/>
                <a:gd name="connsiteX5" fmla="*/ 15345 w 18334"/>
                <a:gd name="connsiteY5" fmla="*/ 8059 h 21290"/>
                <a:gd name="connsiteX6" fmla="*/ 15146 w 18334"/>
                <a:gd name="connsiteY6" fmla="*/ 6069 h 21290"/>
                <a:gd name="connsiteX7" fmla="*/ 16242 w 18334"/>
                <a:gd name="connsiteY7" fmla="*/ 4477 h 21290"/>
                <a:gd name="connsiteX8" fmla="*/ 18334 w 18334"/>
                <a:gd name="connsiteY8" fmla="*/ 2288 h 21290"/>
                <a:gd name="connsiteX9" fmla="*/ 17338 w 18334"/>
                <a:gd name="connsiteY9" fmla="*/ 0 h 21290"/>
                <a:gd name="connsiteX10" fmla="*/ 15046 w 18334"/>
                <a:gd name="connsiteY10" fmla="*/ 1194 h 21290"/>
                <a:gd name="connsiteX11" fmla="*/ 10463 w 18334"/>
                <a:gd name="connsiteY11" fmla="*/ 5770 h 21290"/>
                <a:gd name="connsiteX12" fmla="*/ 5181 w 18334"/>
                <a:gd name="connsiteY12" fmla="*/ 8059 h 21290"/>
                <a:gd name="connsiteX13" fmla="*/ 2690 w 18334"/>
                <a:gd name="connsiteY13" fmla="*/ 9949 h 21290"/>
                <a:gd name="connsiteX14" fmla="*/ 1295 w 18334"/>
                <a:gd name="connsiteY14" fmla="*/ 14824 h 21290"/>
                <a:gd name="connsiteX15" fmla="*/ 498 w 18334"/>
                <a:gd name="connsiteY15" fmla="*/ 16216 h 21290"/>
                <a:gd name="connsiteX16" fmla="*/ 0 w 18334"/>
                <a:gd name="connsiteY16" fmla="*/ 17510 h 21290"/>
                <a:gd name="connsiteX17" fmla="*/ 498 w 18334"/>
                <a:gd name="connsiteY17" fmla="*/ 19002 h 21290"/>
                <a:gd name="connsiteX18" fmla="*/ 1495 w 18334"/>
                <a:gd name="connsiteY18" fmla="*/ 19301 h 21290"/>
                <a:gd name="connsiteX19" fmla="*/ 3587 w 18334"/>
                <a:gd name="connsiteY19" fmla="*/ 16813 h 21290"/>
                <a:gd name="connsiteX20" fmla="*/ 4882 w 18334"/>
                <a:gd name="connsiteY20" fmla="*/ 16216 h 21290"/>
                <a:gd name="connsiteX21" fmla="*/ 6975 w 18334"/>
                <a:gd name="connsiteY21" fmla="*/ 17410 h 21290"/>
                <a:gd name="connsiteX22" fmla="*/ 9765 w 18334"/>
                <a:gd name="connsiteY22" fmla="*/ 19897 h 21290"/>
                <a:gd name="connsiteX23" fmla="*/ 11957 w 18334"/>
                <a:gd name="connsiteY23" fmla="*/ 21290 h 21290"/>
                <a:gd name="connsiteX24" fmla="*/ 12256 w 18334"/>
                <a:gd name="connsiteY24" fmla="*/ 19500 h 21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334" h="21290">
                  <a:moveTo>
                    <a:pt x="12256" y="19500"/>
                  </a:moveTo>
                  <a:lnTo>
                    <a:pt x="14150" y="18405"/>
                  </a:lnTo>
                  <a:lnTo>
                    <a:pt x="16043" y="16117"/>
                  </a:lnTo>
                  <a:lnTo>
                    <a:pt x="17239" y="13431"/>
                  </a:lnTo>
                  <a:lnTo>
                    <a:pt x="17039" y="10944"/>
                  </a:lnTo>
                  <a:lnTo>
                    <a:pt x="15345" y="8059"/>
                  </a:lnTo>
                  <a:lnTo>
                    <a:pt x="15146" y="6069"/>
                  </a:lnTo>
                  <a:lnTo>
                    <a:pt x="16242" y="4477"/>
                  </a:lnTo>
                  <a:lnTo>
                    <a:pt x="18334" y="2288"/>
                  </a:lnTo>
                  <a:lnTo>
                    <a:pt x="17338" y="0"/>
                  </a:lnTo>
                  <a:lnTo>
                    <a:pt x="15046" y="1194"/>
                  </a:lnTo>
                  <a:lnTo>
                    <a:pt x="10463" y="5770"/>
                  </a:lnTo>
                  <a:lnTo>
                    <a:pt x="5181" y="8059"/>
                  </a:lnTo>
                  <a:lnTo>
                    <a:pt x="2690" y="9949"/>
                  </a:lnTo>
                  <a:lnTo>
                    <a:pt x="1295" y="14824"/>
                  </a:lnTo>
                  <a:lnTo>
                    <a:pt x="498" y="16216"/>
                  </a:lnTo>
                  <a:lnTo>
                    <a:pt x="0" y="17510"/>
                  </a:lnTo>
                  <a:lnTo>
                    <a:pt x="498" y="19002"/>
                  </a:lnTo>
                  <a:lnTo>
                    <a:pt x="1495" y="19301"/>
                  </a:lnTo>
                  <a:lnTo>
                    <a:pt x="3587" y="16813"/>
                  </a:lnTo>
                  <a:lnTo>
                    <a:pt x="4882" y="16216"/>
                  </a:lnTo>
                  <a:lnTo>
                    <a:pt x="6975" y="17410"/>
                  </a:lnTo>
                  <a:lnTo>
                    <a:pt x="9765" y="19897"/>
                  </a:lnTo>
                  <a:lnTo>
                    <a:pt x="11957" y="21290"/>
                  </a:lnTo>
                  <a:lnTo>
                    <a:pt x="12256" y="1950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89" name="Freeform: Shape 1288">
              <a:extLst>
                <a:ext uri="{FF2B5EF4-FFF2-40B4-BE49-F238E27FC236}">
                  <a16:creationId xmlns:a16="http://schemas.microsoft.com/office/drawing/2014/main" id="{A7A57628-795E-4807-A66A-212D4DFDD9ED}"/>
                </a:ext>
              </a:extLst>
            </p:cNvPr>
            <p:cNvSpPr/>
            <p:nvPr/>
          </p:nvSpPr>
          <p:spPr>
            <a:xfrm>
              <a:off x="3185553" y="1094098"/>
              <a:ext cx="17238" cy="12933"/>
            </a:xfrm>
            <a:custGeom>
              <a:avLst/>
              <a:gdLst>
                <a:gd name="connsiteX0" fmla="*/ 16441 w 17238"/>
                <a:gd name="connsiteY0" fmla="*/ 2189 h 12933"/>
                <a:gd name="connsiteX1" fmla="*/ 16840 w 17238"/>
                <a:gd name="connsiteY1" fmla="*/ 1592 h 12933"/>
                <a:gd name="connsiteX2" fmla="*/ 17039 w 17238"/>
                <a:gd name="connsiteY2" fmla="*/ 1194 h 12933"/>
                <a:gd name="connsiteX3" fmla="*/ 17238 w 17238"/>
                <a:gd name="connsiteY3" fmla="*/ 696 h 12933"/>
                <a:gd name="connsiteX4" fmla="*/ 17238 w 17238"/>
                <a:gd name="connsiteY4" fmla="*/ 0 h 12933"/>
                <a:gd name="connsiteX5" fmla="*/ 8370 w 17238"/>
                <a:gd name="connsiteY5" fmla="*/ 1592 h 12933"/>
                <a:gd name="connsiteX6" fmla="*/ 6576 w 17238"/>
                <a:gd name="connsiteY6" fmla="*/ 2786 h 12933"/>
                <a:gd name="connsiteX7" fmla="*/ 5679 w 17238"/>
                <a:gd name="connsiteY7" fmla="*/ 3681 h 12933"/>
                <a:gd name="connsiteX8" fmla="*/ 4683 w 17238"/>
                <a:gd name="connsiteY8" fmla="*/ 4576 h 12933"/>
                <a:gd name="connsiteX9" fmla="*/ 3388 w 17238"/>
                <a:gd name="connsiteY9" fmla="*/ 5273 h 12933"/>
                <a:gd name="connsiteX10" fmla="*/ 2192 w 17238"/>
                <a:gd name="connsiteY10" fmla="*/ 5571 h 12933"/>
                <a:gd name="connsiteX11" fmla="*/ 598 w 17238"/>
                <a:gd name="connsiteY11" fmla="*/ 9153 h 12933"/>
                <a:gd name="connsiteX12" fmla="*/ 0 w 17238"/>
                <a:gd name="connsiteY12" fmla="*/ 10048 h 12933"/>
                <a:gd name="connsiteX13" fmla="*/ 4483 w 17238"/>
                <a:gd name="connsiteY13" fmla="*/ 12933 h 12933"/>
                <a:gd name="connsiteX14" fmla="*/ 9367 w 17238"/>
                <a:gd name="connsiteY14" fmla="*/ 12137 h 12933"/>
                <a:gd name="connsiteX15" fmla="*/ 13551 w 17238"/>
                <a:gd name="connsiteY15" fmla="*/ 8257 h 12933"/>
                <a:gd name="connsiteX16" fmla="*/ 16441 w 17238"/>
                <a:gd name="connsiteY16" fmla="*/ 2189 h 12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238" h="12933">
                  <a:moveTo>
                    <a:pt x="16441" y="2189"/>
                  </a:moveTo>
                  <a:lnTo>
                    <a:pt x="16840" y="1592"/>
                  </a:lnTo>
                  <a:lnTo>
                    <a:pt x="17039" y="1194"/>
                  </a:lnTo>
                  <a:lnTo>
                    <a:pt x="17238" y="696"/>
                  </a:lnTo>
                  <a:lnTo>
                    <a:pt x="17238" y="0"/>
                  </a:lnTo>
                  <a:lnTo>
                    <a:pt x="8370" y="1592"/>
                  </a:lnTo>
                  <a:lnTo>
                    <a:pt x="6576" y="2786"/>
                  </a:lnTo>
                  <a:lnTo>
                    <a:pt x="5679" y="3681"/>
                  </a:lnTo>
                  <a:lnTo>
                    <a:pt x="4683" y="4576"/>
                  </a:lnTo>
                  <a:lnTo>
                    <a:pt x="3388" y="5273"/>
                  </a:lnTo>
                  <a:lnTo>
                    <a:pt x="2192" y="5571"/>
                  </a:lnTo>
                  <a:lnTo>
                    <a:pt x="598" y="9153"/>
                  </a:lnTo>
                  <a:lnTo>
                    <a:pt x="0" y="10048"/>
                  </a:lnTo>
                  <a:lnTo>
                    <a:pt x="4483" y="12933"/>
                  </a:lnTo>
                  <a:lnTo>
                    <a:pt x="9367" y="12137"/>
                  </a:lnTo>
                  <a:lnTo>
                    <a:pt x="13551" y="8257"/>
                  </a:lnTo>
                  <a:lnTo>
                    <a:pt x="16441" y="218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0" name="Freeform: Shape 1289">
              <a:extLst>
                <a:ext uri="{FF2B5EF4-FFF2-40B4-BE49-F238E27FC236}">
                  <a16:creationId xmlns:a16="http://schemas.microsoft.com/office/drawing/2014/main" id="{041214AD-62C8-4F14-8ACA-38D6F16A6E3E}"/>
                </a:ext>
              </a:extLst>
            </p:cNvPr>
            <p:cNvSpPr/>
            <p:nvPr/>
          </p:nvSpPr>
          <p:spPr>
            <a:xfrm>
              <a:off x="2898079" y="968346"/>
              <a:ext cx="41452" cy="39397"/>
            </a:xfrm>
            <a:custGeom>
              <a:avLst/>
              <a:gdLst>
                <a:gd name="connsiteX0" fmla="*/ 22121 w 41452"/>
                <a:gd name="connsiteY0" fmla="*/ 39397 h 39397"/>
                <a:gd name="connsiteX1" fmla="*/ 23317 w 41452"/>
                <a:gd name="connsiteY1" fmla="*/ 38900 h 39397"/>
                <a:gd name="connsiteX2" fmla="*/ 25708 w 41452"/>
                <a:gd name="connsiteY2" fmla="*/ 36512 h 39397"/>
                <a:gd name="connsiteX3" fmla="*/ 26506 w 41452"/>
                <a:gd name="connsiteY3" fmla="*/ 36015 h 39397"/>
                <a:gd name="connsiteX4" fmla="*/ 27502 w 41452"/>
                <a:gd name="connsiteY4" fmla="*/ 34423 h 39397"/>
                <a:gd name="connsiteX5" fmla="*/ 28399 w 41452"/>
                <a:gd name="connsiteY5" fmla="*/ 27260 h 39397"/>
                <a:gd name="connsiteX6" fmla="*/ 30391 w 41452"/>
                <a:gd name="connsiteY6" fmla="*/ 25071 h 39397"/>
                <a:gd name="connsiteX7" fmla="*/ 32684 w 41452"/>
                <a:gd name="connsiteY7" fmla="*/ 25966 h 39397"/>
                <a:gd name="connsiteX8" fmla="*/ 35175 w 41452"/>
                <a:gd name="connsiteY8" fmla="*/ 27857 h 39397"/>
                <a:gd name="connsiteX9" fmla="*/ 37367 w 41452"/>
                <a:gd name="connsiteY9" fmla="*/ 28255 h 39397"/>
                <a:gd name="connsiteX10" fmla="*/ 38961 w 41452"/>
                <a:gd name="connsiteY10" fmla="*/ 21290 h 39397"/>
                <a:gd name="connsiteX11" fmla="*/ 40455 w 41452"/>
                <a:gd name="connsiteY11" fmla="*/ 18107 h 39397"/>
                <a:gd name="connsiteX12" fmla="*/ 41452 w 41452"/>
                <a:gd name="connsiteY12" fmla="*/ 15222 h 39397"/>
                <a:gd name="connsiteX13" fmla="*/ 40854 w 41452"/>
                <a:gd name="connsiteY13" fmla="*/ 12834 h 39397"/>
                <a:gd name="connsiteX14" fmla="*/ 39858 w 41452"/>
                <a:gd name="connsiteY14" fmla="*/ 12536 h 39397"/>
                <a:gd name="connsiteX15" fmla="*/ 38762 w 41452"/>
                <a:gd name="connsiteY15" fmla="*/ 12933 h 39397"/>
                <a:gd name="connsiteX16" fmla="*/ 37466 w 41452"/>
                <a:gd name="connsiteY16" fmla="*/ 13232 h 39397"/>
                <a:gd name="connsiteX17" fmla="*/ 36071 w 41452"/>
                <a:gd name="connsiteY17" fmla="*/ 12237 h 39397"/>
                <a:gd name="connsiteX18" fmla="*/ 34676 w 41452"/>
                <a:gd name="connsiteY18" fmla="*/ 9949 h 39397"/>
                <a:gd name="connsiteX19" fmla="*/ 34078 w 41452"/>
                <a:gd name="connsiteY19" fmla="*/ 8755 h 39397"/>
                <a:gd name="connsiteX20" fmla="*/ 33779 w 41452"/>
                <a:gd name="connsiteY20" fmla="*/ 7760 h 39397"/>
                <a:gd name="connsiteX21" fmla="*/ 32982 w 41452"/>
                <a:gd name="connsiteY21" fmla="*/ 7462 h 39397"/>
                <a:gd name="connsiteX22" fmla="*/ 27801 w 41452"/>
                <a:gd name="connsiteY22" fmla="*/ 7263 h 39397"/>
                <a:gd name="connsiteX23" fmla="*/ 26605 w 41452"/>
                <a:gd name="connsiteY23" fmla="*/ 6566 h 39397"/>
                <a:gd name="connsiteX24" fmla="*/ 23417 w 41452"/>
                <a:gd name="connsiteY24" fmla="*/ 2885 h 39397"/>
                <a:gd name="connsiteX25" fmla="*/ 20626 w 41452"/>
                <a:gd name="connsiteY25" fmla="*/ 2587 h 39397"/>
                <a:gd name="connsiteX26" fmla="*/ 18036 w 41452"/>
                <a:gd name="connsiteY26" fmla="*/ 1592 h 39397"/>
                <a:gd name="connsiteX27" fmla="*/ 15644 w 41452"/>
                <a:gd name="connsiteY27" fmla="*/ 1094 h 39397"/>
                <a:gd name="connsiteX28" fmla="*/ 10861 w 41452"/>
                <a:gd name="connsiteY28" fmla="*/ 3383 h 39397"/>
                <a:gd name="connsiteX29" fmla="*/ 7773 w 41452"/>
                <a:gd name="connsiteY29" fmla="*/ 2686 h 39397"/>
                <a:gd name="connsiteX30" fmla="*/ 3488 w 41452"/>
                <a:gd name="connsiteY30" fmla="*/ 597 h 39397"/>
                <a:gd name="connsiteX31" fmla="*/ 997 w 41452"/>
                <a:gd name="connsiteY31" fmla="*/ 0 h 39397"/>
                <a:gd name="connsiteX32" fmla="*/ 399 w 41452"/>
                <a:gd name="connsiteY32" fmla="*/ 597 h 39397"/>
                <a:gd name="connsiteX33" fmla="*/ 0 w 41452"/>
                <a:gd name="connsiteY33" fmla="*/ 2885 h 39397"/>
                <a:gd name="connsiteX34" fmla="*/ 100 w 41452"/>
                <a:gd name="connsiteY34" fmla="*/ 3980 h 39397"/>
                <a:gd name="connsiteX35" fmla="*/ 399 w 41452"/>
                <a:gd name="connsiteY35" fmla="*/ 5472 h 39397"/>
                <a:gd name="connsiteX36" fmla="*/ 897 w 41452"/>
                <a:gd name="connsiteY36" fmla="*/ 6666 h 39397"/>
                <a:gd name="connsiteX37" fmla="*/ 1295 w 41452"/>
                <a:gd name="connsiteY37" fmla="*/ 7263 h 39397"/>
                <a:gd name="connsiteX38" fmla="*/ 4086 w 41452"/>
                <a:gd name="connsiteY38" fmla="*/ 15023 h 39397"/>
                <a:gd name="connsiteX39" fmla="*/ 5182 w 41452"/>
                <a:gd name="connsiteY39" fmla="*/ 17211 h 39397"/>
                <a:gd name="connsiteX40" fmla="*/ 13353 w 41452"/>
                <a:gd name="connsiteY40" fmla="*/ 25568 h 39397"/>
                <a:gd name="connsiteX41" fmla="*/ 14449 w 41452"/>
                <a:gd name="connsiteY41" fmla="*/ 27260 h 39397"/>
                <a:gd name="connsiteX42" fmla="*/ 14747 w 41452"/>
                <a:gd name="connsiteY42" fmla="*/ 28752 h 39397"/>
                <a:gd name="connsiteX43" fmla="*/ 14947 w 41452"/>
                <a:gd name="connsiteY43" fmla="*/ 30244 h 39397"/>
                <a:gd name="connsiteX44" fmla="*/ 15544 w 41452"/>
                <a:gd name="connsiteY44" fmla="*/ 31737 h 39397"/>
                <a:gd name="connsiteX45" fmla="*/ 16342 w 41452"/>
                <a:gd name="connsiteY45" fmla="*/ 32632 h 39397"/>
                <a:gd name="connsiteX46" fmla="*/ 18335 w 41452"/>
                <a:gd name="connsiteY46" fmla="*/ 34224 h 39397"/>
                <a:gd name="connsiteX47" fmla="*/ 19131 w 41452"/>
                <a:gd name="connsiteY47" fmla="*/ 34920 h 39397"/>
                <a:gd name="connsiteX48" fmla="*/ 19829 w 41452"/>
                <a:gd name="connsiteY48" fmla="*/ 36810 h 39397"/>
                <a:gd name="connsiteX49" fmla="*/ 19929 w 41452"/>
                <a:gd name="connsiteY49" fmla="*/ 38203 h 39397"/>
                <a:gd name="connsiteX50" fmla="*/ 20427 w 41452"/>
                <a:gd name="connsiteY50" fmla="*/ 39099 h 39397"/>
                <a:gd name="connsiteX51" fmla="*/ 22121 w 41452"/>
                <a:gd name="connsiteY51" fmla="*/ 39397 h 39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1452" h="39397">
                  <a:moveTo>
                    <a:pt x="22121" y="39397"/>
                  </a:moveTo>
                  <a:lnTo>
                    <a:pt x="23317" y="38900"/>
                  </a:lnTo>
                  <a:lnTo>
                    <a:pt x="25708" y="36512"/>
                  </a:lnTo>
                  <a:lnTo>
                    <a:pt x="26506" y="36015"/>
                  </a:lnTo>
                  <a:lnTo>
                    <a:pt x="27502" y="34423"/>
                  </a:lnTo>
                  <a:lnTo>
                    <a:pt x="28399" y="27260"/>
                  </a:lnTo>
                  <a:lnTo>
                    <a:pt x="30391" y="25071"/>
                  </a:lnTo>
                  <a:lnTo>
                    <a:pt x="32684" y="25966"/>
                  </a:lnTo>
                  <a:lnTo>
                    <a:pt x="35175" y="27857"/>
                  </a:lnTo>
                  <a:lnTo>
                    <a:pt x="37367" y="28255"/>
                  </a:lnTo>
                  <a:lnTo>
                    <a:pt x="38961" y="21290"/>
                  </a:lnTo>
                  <a:lnTo>
                    <a:pt x="40455" y="18107"/>
                  </a:lnTo>
                  <a:lnTo>
                    <a:pt x="41452" y="15222"/>
                  </a:lnTo>
                  <a:lnTo>
                    <a:pt x="40854" y="12834"/>
                  </a:lnTo>
                  <a:lnTo>
                    <a:pt x="39858" y="12536"/>
                  </a:lnTo>
                  <a:lnTo>
                    <a:pt x="38762" y="12933"/>
                  </a:lnTo>
                  <a:lnTo>
                    <a:pt x="37466" y="13232"/>
                  </a:lnTo>
                  <a:lnTo>
                    <a:pt x="36071" y="12237"/>
                  </a:lnTo>
                  <a:lnTo>
                    <a:pt x="34676" y="9949"/>
                  </a:lnTo>
                  <a:lnTo>
                    <a:pt x="34078" y="8755"/>
                  </a:lnTo>
                  <a:lnTo>
                    <a:pt x="33779" y="7760"/>
                  </a:lnTo>
                  <a:lnTo>
                    <a:pt x="32982" y="7462"/>
                  </a:lnTo>
                  <a:lnTo>
                    <a:pt x="27801" y="7263"/>
                  </a:lnTo>
                  <a:lnTo>
                    <a:pt x="26605" y="6566"/>
                  </a:lnTo>
                  <a:lnTo>
                    <a:pt x="23417" y="2885"/>
                  </a:lnTo>
                  <a:lnTo>
                    <a:pt x="20626" y="2587"/>
                  </a:lnTo>
                  <a:lnTo>
                    <a:pt x="18036" y="1592"/>
                  </a:lnTo>
                  <a:lnTo>
                    <a:pt x="15644" y="1094"/>
                  </a:lnTo>
                  <a:lnTo>
                    <a:pt x="10861" y="3383"/>
                  </a:lnTo>
                  <a:lnTo>
                    <a:pt x="7773" y="2686"/>
                  </a:lnTo>
                  <a:lnTo>
                    <a:pt x="3488" y="597"/>
                  </a:lnTo>
                  <a:lnTo>
                    <a:pt x="997" y="0"/>
                  </a:lnTo>
                  <a:lnTo>
                    <a:pt x="399" y="597"/>
                  </a:lnTo>
                  <a:lnTo>
                    <a:pt x="0" y="2885"/>
                  </a:lnTo>
                  <a:lnTo>
                    <a:pt x="100" y="3980"/>
                  </a:lnTo>
                  <a:lnTo>
                    <a:pt x="399" y="5472"/>
                  </a:lnTo>
                  <a:lnTo>
                    <a:pt x="897" y="6666"/>
                  </a:lnTo>
                  <a:lnTo>
                    <a:pt x="1295" y="7263"/>
                  </a:lnTo>
                  <a:lnTo>
                    <a:pt x="4086" y="15023"/>
                  </a:lnTo>
                  <a:lnTo>
                    <a:pt x="5182" y="17211"/>
                  </a:lnTo>
                  <a:lnTo>
                    <a:pt x="13353" y="25568"/>
                  </a:lnTo>
                  <a:lnTo>
                    <a:pt x="14449" y="27260"/>
                  </a:lnTo>
                  <a:lnTo>
                    <a:pt x="14747" y="28752"/>
                  </a:lnTo>
                  <a:lnTo>
                    <a:pt x="14947" y="30244"/>
                  </a:lnTo>
                  <a:lnTo>
                    <a:pt x="15544" y="31737"/>
                  </a:lnTo>
                  <a:lnTo>
                    <a:pt x="16342" y="32632"/>
                  </a:lnTo>
                  <a:lnTo>
                    <a:pt x="18335" y="34224"/>
                  </a:lnTo>
                  <a:lnTo>
                    <a:pt x="19131" y="34920"/>
                  </a:lnTo>
                  <a:lnTo>
                    <a:pt x="19829" y="36810"/>
                  </a:lnTo>
                  <a:lnTo>
                    <a:pt x="19929" y="38203"/>
                  </a:lnTo>
                  <a:lnTo>
                    <a:pt x="20427" y="39099"/>
                  </a:lnTo>
                  <a:lnTo>
                    <a:pt x="22121" y="393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1" name="Freeform: Shape 1290">
              <a:extLst>
                <a:ext uri="{FF2B5EF4-FFF2-40B4-BE49-F238E27FC236}">
                  <a16:creationId xmlns:a16="http://schemas.microsoft.com/office/drawing/2014/main" id="{81920095-493C-49B2-8F27-E5BE33F72281}"/>
                </a:ext>
              </a:extLst>
            </p:cNvPr>
            <p:cNvSpPr/>
            <p:nvPr/>
          </p:nvSpPr>
          <p:spPr>
            <a:xfrm>
              <a:off x="2353325" y="351325"/>
              <a:ext cx="11458" cy="12634"/>
            </a:xfrm>
            <a:custGeom>
              <a:avLst/>
              <a:gdLst>
                <a:gd name="connsiteX0" fmla="*/ 7971 w 11458"/>
                <a:gd name="connsiteY0" fmla="*/ 3681 h 12634"/>
                <a:gd name="connsiteX1" fmla="*/ 6477 w 11458"/>
                <a:gd name="connsiteY1" fmla="*/ 1791 h 12634"/>
                <a:gd name="connsiteX2" fmla="*/ 4384 w 11458"/>
                <a:gd name="connsiteY2" fmla="*/ 0 h 12634"/>
                <a:gd name="connsiteX3" fmla="*/ 1694 w 11458"/>
                <a:gd name="connsiteY3" fmla="*/ 199 h 12634"/>
                <a:gd name="connsiteX4" fmla="*/ 199 w 11458"/>
                <a:gd name="connsiteY4" fmla="*/ 1393 h 12634"/>
                <a:gd name="connsiteX5" fmla="*/ 0 w 11458"/>
                <a:gd name="connsiteY5" fmla="*/ 3184 h 12634"/>
                <a:gd name="connsiteX6" fmla="*/ 996 w 11458"/>
                <a:gd name="connsiteY6" fmla="*/ 5671 h 12634"/>
                <a:gd name="connsiteX7" fmla="*/ 2691 w 11458"/>
                <a:gd name="connsiteY7" fmla="*/ 7660 h 12634"/>
                <a:gd name="connsiteX8" fmla="*/ 8868 w 11458"/>
                <a:gd name="connsiteY8" fmla="*/ 12635 h 12634"/>
                <a:gd name="connsiteX9" fmla="*/ 11459 w 11458"/>
                <a:gd name="connsiteY9" fmla="*/ 5671 h 12634"/>
                <a:gd name="connsiteX10" fmla="*/ 9466 w 11458"/>
                <a:gd name="connsiteY10" fmla="*/ 5173 h 12634"/>
                <a:gd name="connsiteX11" fmla="*/ 7971 w 11458"/>
                <a:gd name="connsiteY11" fmla="*/ 3681 h 12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458" h="12634">
                  <a:moveTo>
                    <a:pt x="7971" y="3681"/>
                  </a:moveTo>
                  <a:lnTo>
                    <a:pt x="6477" y="1791"/>
                  </a:lnTo>
                  <a:lnTo>
                    <a:pt x="4384" y="0"/>
                  </a:lnTo>
                  <a:lnTo>
                    <a:pt x="1694" y="199"/>
                  </a:lnTo>
                  <a:lnTo>
                    <a:pt x="199" y="1393"/>
                  </a:lnTo>
                  <a:lnTo>
                    <a:pt x="0" y="3184"/>
                  </a:lnTo>
                  <a:lnTo>
                    <a:pt x="996" y="5671"/>
                  </a:lnTo>
                  <a:lnTo>
                    <a:pt x="2691" y="7660"/>
                  </a:lnTo>
                  <a:lnTo>
                    <a:pt x="8868" y="12635"/>
                  </a:lnTo>
                  <a:lnTo>
                    <a:pt x="11459" y="5671"/>
                  </a:lnTo>
                  <a:lnTo>
                    <a:pt x="9466" y="5173"/>
                  </a:lnTo>
                  <a:lnTo>
                    <a:pt x="7971" y="368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2" name="Freeform: Shape 1291">
              <a:extLst>
                <a:ext uri="{FF2B5EF4-FFF2-40B4-BE49-F238E27FC236}">
                  <a16:creationId xmlns:a16="http://schemas.microsoft.com/office/drawing/2014/main" id="{86CA9EFB-1EE8-484F-BAFE-5599E2270239}"/>
                </a:ext>
              </a:extLst>
            </p:cNvPr>
            <p:cNvSpPr/>
            <p:nvPr/>
          </p:nvSpPr>
          <p:spPr>
            <a:xfrm>
              <a:off x="3387930" y="1200649"/>
              <a:ext cx="12156" cy="13132"/>
            </a:xfrm>
            <a:custGeom>
              <a:avLst/>
              <a:gdLst>
                <a:gd name="connsiteX0" fmla="*/ 0 w 12156"/>
                <a:gd name="connsiteY0" fmla="*/ 3283 h 13132"/>
                <a:gd name="connsiteX1" fmla="*/ 1794 w 12156"/>
                <a:gd name="connsiteY1" fmla="*/ 6765 h 13132"/>
                <a:gd name="connsiteX2" fmla="*/ 4583 w 12156"/>
                <a:gd name="connsiteY2" fmla="*/ 10446 h 13132"/>
                <a:gd name="connsiteX3" fmla="*/ 7374 w 12156"/>
                <a:gd name="connsiteY3" fmla="*/ 13033 h 13132"/>
                <a:gd name="connsiteX4" fmla="*/ 9565 w 12156"/>
                <a:gd name="connsiteY4" fmla="*/ 13132 h 13132"/>
                <a:gd name="connsiteX5" fmla="*/ 7872 w 12156"/>
                <a:gd name="connsiteY5" fmla="*/ 10844 h 13132"/>
                <a:gd name="connsiteX6" fmla="*/ 8769 w 12156"/>
                <a:gd name="connsiteY6" fmla="*/ 7860 h 13132"/>
                <a:gd name="connsiteX7" fmla="*/ 10761 w 12156"/>
                <a:gd name="connsiteY7" fmla="*/ 4875 h 13132"/>
                <a:gd name="connsiteX8" fmla="*/ 12156 w 12156"/>
                <a:gd name="connsiteY8" fmla="*/ 2189 h 13132"/>
                <a:gd name="connsiteX9" fmla="*/ 10064 w 12156"/>
                <a:gd name="connsiteY9" fmla="*/ 597 h 13132"/>
                <a:gd name="connsiteX10" fmla="*/ 3687 w 12156"/>
                <a:gd name="connsiteY10" fmla="*/ 1592 h 13132"/>
                <a:gd name="connsiteX11" fmla="*/ 896 w 12156"/>
                <a:gd name="connsiteY11" fmla="*/ 0 h 13132"/>
                <a:gd name="connsiteX12" fmla="*/ 0 w 12156"/>
                <a:gd name="connsiteY12" fmla="*/ 3283 h 13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56" h="13132">
                  <a:moveTo>
                    <a:pt x="0" y="3283"/>
                  </a:moveTo>
                  <a:lnTo>
                    <a:pt x="1794" y="6765"/>
                  </a:lnTo>
                  <a:lnTo>
                    <a:pt x="4583" y="10446"/>
                  </a:lnTo>
                  <a:lnTo>
                    <a:pt x="7374" y="13033"/>
                  </a:lnTo>
                  <a:lnTo>
                    <a:pt x="9565" y="13132"/>
                  </a:lnTo>
                  <a:lnTo>
                    <a:pt x="7872" y="10844"/>
                  </a:lnTo>
                  <a:lnTo>
                    <a:pt x="8769" y="7860"/>
                  </a:lnTo>
                  <a:lnTo>
                    <a:pt x="10761" y="4875"/>
                  </a:lnTo>
                  <a:lnTo>
                    <a:pt x="12156" y="2189"/>
                  </a:lnTo>
                  <a:lnTo>
                    <a:pt x="10064" y="597"/>
                  </a:lnTo>
                  <a:lnTo>
                    <a:pt x="3687" y="1592"/>
                  </a:lnTo>
                  <a:lnTo>
                    <a:pt x="896" y="0"/>
                  </a:lnTo>
                  <a:lnTo>
                    <a:pt x="0" y="328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3" name="Freeform: Shape 1292">
              <a:extLst>
                <a:ext uri="{FF2B5EF4-FFF2-40B4-BE49-F238E27FC236}">
                  <a16:creationId xmlns:a16="http://schemas.microsoft.com/office/drawing/2014/main" id="{2E86C3DB-82F7-496D-9A8D-C7D6B3E1C30E}"/>
                </a:ext>
              </a:extLst>
            </p:cNvPr>
            <p:cNvSpPr/>
            <p:nvPr/>
          </p:nvSpPr>
          <p:spPr>
            <a:xfrm>
              <a:off x="3390222" y="1124840"/>
              <a:ext cx="21224" cy="16614"/>
            </a:xfrm>
            <a:custGeom>
              <a:avLst/>
              <a:gdLst>
                <a:gd name="connsiteX0" fmla="*/ 17238 w 21224"/>
                <a:gd name="connsiteY0" fmla="*/ 0 h 16614"/>
                <a:gd name="connsiteX1" fmla="*/ 15445 w 21224"/>
                <a:gd name="connsiteY1" fmla="*/ 895 h 16614"/>
                <a:gd name="connsiteX2" fmla="*/ 14050 w 21224"/>
                <a:gd name="connsiteY2" fmla="*/ 2388 h 16614"/>
                <a:gd name="connsiteX3" fmla="*/ 12854 w 21224"/>
                <a:gd name="connsiteY3" fmla="*/ 3979 h 16614"/>
                <a:gd name="connsiteX4" fmla="*/ 11260 w 21224"/>
                <a:gd name="connsiteY4" fmla="*/ 4676 h 16614"/>
                <a:gd name="connsiteX5" fmla="*/ 9067 w 21224"/>
                <a:gd name="connsiteY5" fmla="*/ 4278 h 16614"/>
                <a:gd name="connsiteX6" fmla="*/ 7075 w 21224"/>
                <a:gd name="connsiteY6" fmla="*/ 3283 h 16614"/>
                <a:gd name="connsiteX7" fmla="*/ 5580 w 21224"/>
                <a:gd name="connsiteY7" fmla="*/ 2189 h 16614"/>
                <a:gd name="connsiteX8" fmla="*/ 698 w 21224"/>
                <a:gd name="connsiteY8" fmla="*/ 5969 h 16614"/>
                <a:gd name="connsiteX9" fmla="*/ 0 w 21224"/>
                <a:gd name="connsiteY9" fmla="*/ 8257 h 16614"/>
                <a:gd name="connsiteX10" fmla="*/ 1196 w 21224"/>
                <a:gd name="connsiteY10" fmla="*/ 12237 h 16614"/>
                <a:gd name="connsiteX11" fmla="*/ 2093 w 21224"/>
                <a:gd name="connsiteY11" fmla="*/ 13928 h 16614"/>
                <a:gd name="connsiteX12" fmla="*/ 3189 w 21224"/>
                <a:gd name="connsiteY12" fmla="*/ 15321 h 16614"/>
                <a:gd name="connsiteX13" fmla="*/ 4384 w 21224"/>
                <a:gd name="connsiteY13" fmla="*/ 16316 h 16614"/>
                <a:gd name="connsiteX14" fmla="*/ 5978 w 21224"/>
                <a:gd name="connsiteY14" fmla="*/ 16614 h 16614"/>
                <a:gd name="connsiteX15" fmla="*/ 7075 w 21224"/>
                <a:gd name="connsiteY15" fmla="*/ 16017 h 16614"/>
                <a:gd name="connsiteX16" fmla="*/ 8370 w 21224"/>
                <a:gd name="connsiteY16" fmla="*/ 13132 h 16614"/>
                <a:gd name="connsiteX17" fmla="*/ 9865 w 21224"/>
                <a:gd name="connsiteY17" fmla="*/ 12237 h 16614"/>
                <a:gd name="connsiteX18" fmla="*/ 8968 w 21224"/>
                <a:gd name="connsiteY18" fmla="*/ 14426 h 16614"/>
                <a:gd name="connsiteX19" fmla="*/ 16442 w 21224"/>
                <a:gd name="connsiteY19" fmla="*/ 9153 h 16614"/>
                <a:gd name="connsiteX20" fmla="*/ 19431 w 21224"/>
                <a:gd name="connsiteY20" fmla="*/ 7760 h 16614"/>
                <a:gd name="connsiteX21" fmla="*/ 18534 w 21224"/>
                <a:gd name="connsiteY21" fmla="*/ 6666 h 16614"/>
                <a:gd name="connsiteX22" fmla="*/ 19131 w 21224"/>
                <a:gd name="connsiteY22" fmla="*/ 5969 h 16614"/>
                <a:gd name="connsiteX23" fmla="*/ 19630 w 21224"/>
                <a:gd name="connsiteY23" fmla="*/ 5173 h 16614"/>
                <a:gd name="connsiteX24" fmla="*/ 20227 w 21224"/>
                <a:gd name="connsiteY24" fmla="*/ 3482 h 16614"/>
                <a:gd name="connsiteX25" fmla="*/ 21224 w 21224"/>
                <a:gd name="connsiteY25" fmla="*/ 2189 h 16614"/>
                <a:gd name="connsiteX26" fmla="*/ 19929 w 21224"/>
                <a:gd name="connsiteY26" fmla="*/ 1492 h 16614"/>
                <a:gd name="connsiteX27" fmla="*/ 19331 w 21224"/>
                <a:gd name="connsiteY27" fmla="*/ 1194 h 16614"/>
                <a:gd name="connsiteX28" fmla="*/ 18534 w 21224"/>
                <a:gd name="connsiteY28" fmla="*/ 1194 h 16614"/>
                <a:gd name="connsiteX29" fmla="*/ 19431 w 21224"/>
                <a:gd name="connsiteY29" fmla="*/ 99 h 16614"/>
                <a:gd name="connsiteX30" fmla="*/ 17238 w 21224"/>
                <a:gd name="connsiteY30" fmla="*/ 0 h 16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224" h="16614">
                  <a:moveTo>
                    <a:pt x="17238" y="0"/>
                  </a:moveTo>
                  <a:lnTo>
                    <a:pt x="15445" y="895"/>
                  </a:lnTo>
                  <a:lnTo>
                    <a:pt x="14050" y="2388"/>
                  </a:lnTo>
                  <a:lnTo>
                    <a:pt x="12854" y="3979"/>
                  </a:lnTo>
                  <a:lnTo>
                    <a:pt x="11260" y="4676"/>
                  </a:lnTo>
                  <a:lnTo>
                    <a:pt x="9067" y="4278"/>
                  </a:lnTo>
                  <a:lnTo>
                    <a:pt x="7075" y="3283"/>
                  </a:lnTo>
                  <a:lnTo>
                    <a:pt x="5580" y="2189"/>
                  </a:lnTo>
                  <a:lnTo>
                    <a:pt x="698" y="5969"/>
                  </a:lnTo>
                  <a:lnTo>
                    <a:pt x="0" y="8257"/>
                  </a:lnTo>
                  <a:lnTo>
                    <a:pt x="1196" y="12237"/>
                  </a:lnTo>
                  <a:lnTo>
                    <a:pt x="2093" y="13928"/>
                  </a:lnTo>
                  <a:lnTo>
                    <a:pt x="3189" y="15321"/>
                  </a:lnTo>
                  <a:lnTo>
                    <a:pt x="4384" y="16316"/>
                  </a:lnTo>
                  <a:lnTo>
                    <a:pt x="5978" y="16614"/>
                  </a:lnTo>
                  <a:lnTo>
                    <a:pt x="7075" y="16017"/>
                  </a:lnTo>
                  <a:lnTo>
                    <a:pt x="8370" y="13132"/>
                  </a:lnTo>
                  <a:lnTo>
                    <a:pt x="9865" y="12237"/>
                  </a:lnTo>
                  <a:lnTo>
                    <a:pt x="8968" y="14426"/>
                  </a:lnTo>
                  <a:lnTo>
                    <a:pt x="16442" y="9153"/>
                  </a:lnTo>
                  <a:lnTo>
                    <a:pt x="19431" y="7760"/>
                  </a:lnTo>
                  <a:lnTo>
                    <a:pt x="18534" y="6666"/>
                  </a:lnTo>
                  <a:lnTo>
                    <a:pt x="19131" y="5969"/>
                  </a:lnTo>
                  <a:lnTo>
                    <a:pt x="19630" y="5173"/>
                  </a:lnTo>
                  <a:lnTo>
                    <a:pt x="20227" y="3482"/>
                  </a:lnTo>
                  <a:lnTo>
                    <a:pt x="21224" y="2189"/>
                  </a:lnTo>
                  <a:lnTo>
                    <a:pt x="19929" y="1492"/>
                  </a:lnTo>
                  <a:lnTo>
                    <a:pt x="19331" y="1194"/>
                  </a:lnTo>
                  <a:lnTo>
                    <a:pt x="18534" y="1194"/>
                  </a:lnTo>
                  <a:lnTo>
                    <a:pt x="19431" y="99"/>
                  </a:lnTo>
                  <a:lnTo>
                    <a:pt x="17238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4" name="Freeform: Shape 1293">
              <a:extLst>
                <a:ext uri="{FF2B5EF4-FFF2-40B4-BE49-F238E27FC236}">
                  <a16:creationId xmlns:a16="http://schemas.microsoft.com/office/drawing/2014/main" id="{19CDB6ED-99E9-4600-9B09-7F7EA0E29363}"/>
                </a:ext>
              </a:extLst>
            </p:cNvPr>
            <p:cNvSpPr/>
            <p:nvPr/>
          </p:nvSpPr>
          <p:spPr>
            <a:xfrm>
              <a:off x="1544714" y="489712"/>
              <a:ext cx="44441" cy="24175"/>
            </a:xfrm>
            <a:custGeom>
              <a:avLst/>
              <a:gdLst>
                <a:gd name="connsiteX0" fmla="*/ 22121 w 44441"/>
                <a:gd name="connsiteY0" fmla="*/ 18107 h 24175"/>
                <a:gd name="connsiteX1" fmla="*/ 23915 w 44441"/>
                <a:gd name="connsiteY1" fmla="*/ 16714 h 24175"/>
                <a:gd name="connsiteX2" fmla="*/ 27203 w 44441"/>
                <a:gd name="connsiteY2" fmla="*/ 12834 h 24175"/>
                <a:gd name="connsiteX3" fmla="*/ 30790 w 44441"/>
                <a:gd name="connsiteY3" fmla="*/ 10247 h 24175"/>
                <a:gd name="connsiteX4" fmla="*/ 34776 w 44441"/>
                <a:gd name="connsiteY4" fmla="*/ 9053 h 24175"/>
                <a:gd name="connsiteX5" fmla="*/ 39259 w 44441"/>
                <a:gd name="connsiteY5" fmla="*/ 9252 h 24175"/>
                <a:gd name="connsiteX6" fmla="*/ 38662 w 44441"/>
                <a:gd name="connsiteY6" fmla="*/ 10844 h 24175"/>
                <a:gd name="connsiteX7" fmla="*/ 38263 w 44441"/>
                <a:gd name="connsiteY7" fmla="*/ 11441 h 24175"/>
                <a:gd name="connsiteX8" fmla="*/ 39758 w 44441"/>
                <a:gd name="connsiteY8" fmla="*/ 12436 h 24175"/>
                <a:gd name="connsiteX9" fmla="*/ 41252 w 44441"/>
                <a:gd name="connsiteY9" fmla="*/ 11441 h 24175"/>
                <a:gd name="connsiteX10" fmla="*/ 44441 w 44441"/>
                <a:gd name="connsiteY10" fmla="*/ 6865 h 24175"/>
                <a:gd name="connsiteX11" fmla="*/ 43245 w 44441"/>
                <a:gd name="connsiteY11" fmla="*/ 6069 h 24175"/>
                <a:gd name="connsiteX12" fmla="*/ 42648 w 44441"/>
                <a:gd name="connsiteY12" fmla="*/ 5074 h 24175"/>
                <a:gd name="connsiteX13" fmla="*/ 42747 w 44441"/>
                <a:gd name="connsiteY13" fmla="*/ 3780 h 24175"/>
                <a:gd name="connsiteX14" fmla="*/ 43544 w 44441"/>
                <a:gd name="connsiteY14" fmla="*/ 2288 h 24175"/>
                <a:gd name="connsiteX15" fmla="*/ 42947 w 44441"/>
                <a:gd name="connsiteY15" fmla="*/ 2288 h 24175"/>
                <a:gd name="connsiteX16" fmla="*/ 42548 w 44441"/>
                <a:gd name="connsiteY16" fmla="*/ 1990 h 24175"/>
                <a:gd name="connsiteX17" fmla="*/ 42249 w 44441"/>
                <a:gd name="connsiteY17" fmla="*/ 1592 h 24175"/>
                <a:gd name="connsiteX18" fmla="*/ 41850 w 44441"/>
                <a:gd name="connsiteY18" fmla="*/ 1194 h 24175"/>
                <a:gd name="connsiteX19" fmla="*/ 38761 w 44441"/>
                <a:gd name="connsiteY19" fmla="*/ 100 h 24175"/>
                <a:gd name="connsiteX20" fmla="*/ 37865 w 44441"/>
                <a:gd name="connsiteY20" fmla="*/ 0 h 24175"/>
                <a:gd name="connsiteX21" fmla="*/ 36569 w 44441"/>
                <a:gd name="connsiteY21" fmla="*/ 298 h 24175"/>
                <a:gd name="connsiteX22" fmla="*/ 35872 w 44441"/>
                <a:gd name="connsiteY22" fmla="*/ 995 h 24175"/>
                <a:gd name="connsiteX23" fmla="*/ 35374 w 44441"/>
                <a:gd name="connsiteY23" fmla="*/ 1691 h 24175"/>
                <a:gd name="connsiteX24" fmla="*/ 34776 w 44441"/>
                <a:gd name="connsiteY24" fmla="*/ 2288 h 24175"/>
                <a:gd name="connsiteX25" fmla="*/ 34377 w 44441"/>
                <a:gd name="connsiteY25" fmla="*/ 2885 h 24175"/>
                <a:gd name="connsiteX26" fmla="*/ 34277 w 44441"/>
                <a:gd name="connsiteY26" fmla="*/ 3681 h 24175"/>
                <a:gd name="connsiteX27" fmla="*/ 33879 w 44441"/>
                <a:gd name="connsiteY27" fmla="*/ 4278 h 24175"/>
                <a:gd name="connsiteX28" fmla="*/ 32584 w 44441"/>
                <a:gd name="connsiteY28" fmla="*/ 4576 h 24175"/>
                <a:gd name="connsiteX29" fmla="*/ 31687 w 44441"/>
                <a:gd name="connsiteY29" fmla="*/ 4377 h 24175"/>
                <a:gd name="connsiteX30" fmla="*/ 29793 w 44441"/>
                <a:gd name="connsiteY30" fmla="*/ 3681 h 24175"/>
                <a:gd name="connsiteX31" fmla="*/ 28697 w 44441"/>
                <a:gd name="connsiteY31" fmla="*/ 3582 h 24175"/>
                <a:gd name="connsiteX32" fmla="*/ 26705 w 44441"/>
                <a:gd name="connsiteY32" fmla="*/ 4377 h 24175"/>
                <a:gd name="connsiteX33" fmla="*/ 22818 w 44441"/>
                <a:gd name="connsiteY33" fmla="*/ 6765 h 24175"/>
                <a:gd name="connsiteX34" fmla="*/ 20826 w 44441"/>
                <a:gd name="connsiteY34" fmla="*/ 6865 h 24175"/>
                <a:gd name="connsiteX35" fmla="*/ 19729 w 44441"/>
                <a:gd name="connsiteY35" fmla="*/ 5870 h 24175"/>
                <a:gd name="connsiteX36" fmla="*/ 18733 w 44441"/>
                <a:gd name="connsiteY36" fmla="*/ 4278 h 24175"/>
                <a:gd name="connsiteX37" fmla="*/ 17238 w 44441"/>
                <a:gd name="connsiteY37" fmla="*/ 2885 h 24175"/>
                <a:gd name="connsiteX38" fmla="*/ 14947 w 44441"/>
                <a:gd name="connsiteY38" fmla="*/ 2288 h 24175"/>
                <a:gd name="connsiteX39" fmla="*/ 13053 w 44441"/>
                <a:gd name="connsiteY39" fmla="*/ 2985 h 24175"/>
                <a:gd name="connsiteX40" fmla="*/ 8470 w 44441"/>
                <a:gd name="connsiteY40" fmla="*/ 6168 h 24175"/>
                <a:gd name="connsiteX41" fmla="*/ 6178 w 44441"/>
                <a:gd name="connsiteY41" fmla="*/ 6865 h 24175"/>
                <a:gd name="connsiteX42" fmla="*/ 4285 w 44441"/>
                <a:gd name="connsiteY42" fmla="*/ 6168 h 24175"/>
                <a:gd name="connsiteX43" fmla="*/ 2292 w 44441"/>
                <a:gd name="connsiteY43" fmla="*/ 4875 h 24175"/>
                <a:gd name="connsiteX44" fmla="*/ 697 w 44441"/>
                <a:gd name="connsiteY44" fmla="*/ 4576 h 24175"/>
                <a:gd name="connsiteX45" fmla="*/ 0 w 44441"/>
                <a:gd name="connsiteY45" fmla="*/ 6865 h 24175"/>
                <a:gd name="connsiteX46" fmla="*/ 398 w 44441"/>
                <a:gd name="connsiteY46" fmla="*/ 8058 h 24175"/>
                <a:gd name="connsiteX47" fmla="*/ 1196 w 44441"/>
                <a:gd name="connsiteY47" fmla="*/ 9551 h 24175"/>
                <a:gd name="connsiteX48" fmla="*/ 2192 w 44441"/>
                <a:gd name="connsiteY48" fmla="*/ 10944 h 24175"/>
                <a:gd name="connsiteX49" fmla="*/ 3089 w 44441"/>
                <a:gd name="connsiteY49" fmla="*/ 11441 h 24175"/>
                <a:gd name="connsiteX50" fmla="*/ 4384 w 44441"/>
                <a:gd name="connsiteY50" fmla="*/ 11839 h 24175"/>
                <a:gd name="connsiteX51" fmla="*/ 5181 w 44441"/>
                <a:gd name="connsiteY51" fmla="*/ 12635 h 24175"/>
                <a:gd name="connsiteX52" fmla="*/ 7075 w 44441"/>
                <a:gd name="connsiteY52" fmla="*/ 17510 h 24175"/>
                <a:gd name="connsiteX53" fmla="*/ 8270 w 44441"/>
                <a:gd name="connsiteY53" fmla="*/ 22186 h 24175"/>
                <a:gd name="connsiteX54" fmla="*/ 9566 w 44441"/>
                <a:gd name="connsiteY54" fmla="*/ 24175 h 24175"/>
                <a:gd name="connsiteX55" fmla="*/ 11459 w 44441"/>
                <a:gd name="connsiteY55" fmla="*/ 22783 h 24175"/>
                <a:gd name="connsiteX56" fmla="*/ 14548 w 44441"/>
                <a:gd name="connsiteY56" fmla="*/ 19699 h 24175"/>
                <a:gd name="connsiteX57" fmla="*/ 16541 w 44441"/>
                <a:gd name="connsiteY57" fmla="*/ 18405 h 24175"/>
                <a:gd name="connsiteX58" fmla="*/ 18036 w 44441"/>
                <a:gd name="connsiteY58" fmla="*/ 18206 h 24175"/>
                <a:gd name="connsiteX59" fmla="*/ 20028 w 44441"/>
                <a:gd name="connsiteY59" fmla="*/ 18405 h 24175"/>
                <a:gd name="connsiteX60" fmla="*/ 22121 w 44441"/>
                <a:gd name="connsiteY60" fmla="*/ 18107 h 2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4441" h="24175">
                  <a:moveTo>
                    <a:pt x="22121" y="18107"/>
                  </a:moveTo>
                  <a:lnTo>
                    <a:pt x="23915" y="16714"/>
                  </a:lnTo>
                  <a:lnTo>
                    <a:pt x="27203" y="12834"/>
                  </a:lnTo>
                  <a:lnTo>
                    <a:pt x="30790" y="10247"/>
                  </a:lnTo>
                  <a:lnTo>
                    <a:pt x="34776" y="9053"/>
                  </a:lnTo>
                  <a:lnTo>
                    <a:pt x="39259" y="9252"/>
                  </a:lnTo>
                  <a:lnTo>
                    <a:pt x="38662" y="10844"/>
                  </a:lnTo>
                  <a:lnTo>
                    <a:pt x="38263" y="11441"/>
                  </a:lnTo>
                  <a:lnTo>
                    <a:pt x="39758" y="12436"/>
                  </a:lnTo>
                  <a:lnTo>
                    <a:pt x="41252" y="11441"/>
                  </a:lnTo>
                  <a:lnTo>
                    <a:pt x="44441" y="6865"/>
                  </a:lnTo>
                  <a:lnTo>
                    <a:pt x="43245" y="6069"/>
                  </a:lnTo>
                  <a:lnTo>
                    <a:pt x="42648" y="5074"/>
                  </a:lnTo>
                  <a:lnTo>
                    <a:pt x="42747" y="3780"/>
                  </a:lnTo>
                  <a:lnTo>
                    <a:pt x="43544" y="2288"/>
                  </a:lnTo>
                  <a:lnTo>
                    <a:pt x="42947" y="2288"/>
                  </a:lnTo>
                  <a:lnTo>
                    <a:pt x="42548" y="1990"/>
                  </a:lnTo>
                  <a:lnTo>
                    <a:pt x="42249" y="1592"/>
                  </a:lnTo>
                  <a:lnTo>
                    <a:pt x="41850" y="1194"/>
                  </a:lnTo>
                  <a:lnTo>
                    <a:pt x="38761" y="100"/>
                  </a:lnTo>
                  <a:lnTo>
                    <a:pt x="37865" y="0"/>
                  </a:lnTo>
                  <a:lnTo>
                    <a:pt x="36569" y="298"/>
                  </a:lnTo>
                  <a:lnTo>
                    <a:pt x="35872" y="995"/>
                  </a:lnTo>
                  <a:lnTo>
                    <a:pt x="35374" y="1691"/>
                  </a:lnTo>
                  <a:lnTo>
                    <a:pt x="34776" y="2288"/>
                  </a:lnTo>
                  <a:lnTo>
                    <a:pt x="34377" y="2885"/>
                  </a:lnTo>
                  <a:lnTo>
                    <a:pt x="34277" y="3681"/>
                  </a:lnTo>
                  <a:lnTo>
                    <a:pt x="33879" y="4278"/>
                  </a:lnTo>
                  <a:lnTo>
                    <a:pt x="32584" y="4576"/>
                  </a:lnTo>
                  <a:lnTo>
                    <a:pt x="31687" y="4377"/>
                  </a:lnTo>
                  <a:lnTo>
                    <a:pt x="29793" y="3681"/>
                  </a:lnTo>
                  <a:lnTo>
                    <a:pt x="28697" y="3582"/>
                  </a:lnTo>
                  <a:lnTo>
                    <a:pt x="26705" y="4377"/>
                  </a:lnTo>
                  <a:lnTo>
                    <a:pt x="22818" y="6765"/>
                  </a:lnTo>
                  <a:lnTo>
                    <a:pt x="20826" y="6865"/>
                  </a:lnTo>
                  <a:lnTo>
                    <a:pt x="19729" y="5870"/>
                  </a:lnTo>
                  <a:lnTo>
                    <a:pt x="18733" y="4278"/>
                  </a:lnTo>
                  <a:lnTo>
                    <a:pt x="17238" y="2885"/>
                  </a:lnTo>
                  <a:lnTo>
                    <a:pt x="14947" y="2288"/>
                  </a:lnTo>
                  <a:lnTo>
                    <a:pt x="13053" y="2985"/>
                  </a:lnTo>
                  <a:lnTo>
                    <a:pt x="8470" y="6168"/>
                  </a:lnTo>
                  <a:lnTo>
                    <a:pt x="6178" y="6865"/>
                  </a:lnTo>
                  <a:lnTo>
                    <a:pt x="4285" y="6168"/>
                  </a:lnTo>
                  <a:lnTo>
                    <a:pt x="2292" y="4875"/>
                  </a:lnTo>
                  <a:lnTo>
                    <a:pt x="697" y="4576"/>
                  </a:lnTo>
                  <a:lnTo>
                    <a:pt x="0" y="6865"/>
                  </a:lnTo>
                  <a:lnTo>
                    <a:pt x="398" y="8058"/>
                  </a:lnTo>
                  <a:lnTo>
                    <a:pt x="1196" y="9551"/>
                  </a:lnTo>
                  <a:lnTo>
                    <a:pt x="2192" y="10944"/>
                  </a:lnTo>
                  <a:lnTo>
                    <a:pt x="3089" y="11441"/>
                  </a:lnTo>
                  <a:lnTo>
                    <a:pt x="4384" y="11839"/>
                  </a:lnTo>
                  <a:lnTo>
                    <a:pt x="5181" y="12635"/>
                  </a:lnTo>
                  <a:lnTo>
                    <a:pt x="7075" y="17510"/>
                  </a:lnTo>
                  <a:lnTo>
                    <a:pt x="8270" y="22186"/>
                  </a:lnTo>
                  <a:lnTo>
                    <a:pt x="9566" y="24175"/>
                  </a:lnTo>
                  <a:lnTo>
                    <a:pt x="11459" y="22783"/>
                  </a:lnTo>
                  <a:lnTo>
                    <a:pt x="14548" y="19699"/>
                  </a:lnTo>
                  <a:lnTo>
                    <a:pt x="16541" y="18405"/>
                  </a:lnTo>
                  <a:lnTo>
                    <a:pt x="18036" y="18206"/>
                  </a:lnTo>
                  <a:lnTo>
                    <a:pt x="20028" y="18405"/>
                  </a:lnTo>
                  <a:lnTo>
                    <a:pt x="22121" y="1810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5" name="Freeform: Shape 1294">
              <a:extLst>
                <a:ext uri="{FF2B5EF4-FFF2-40B4-BE49-F238E27FC236}">
                  <a16:creationId xmlns:a16="http://schemas.microsoft.com/office/drawing/2014/main" id="{F4719E26-6D9E-421B-9B61-1A7F48A01376}"/>
                </a:ext>
              </a:extLst>
            </p:cNvPr>
            <p:cNvSpPr/>
            <p:nvPr/>
          </p:nvSpPr>
          <p:spPr>
            <a:xfrm>
              <a:off x="2842379" y="869655"/>
              <a:ext cx="15743" cy="6665"/>
            </a:xfrm>
            <a:custGeom>
              <a:avLst/>
              <a:gdLst>
                <a:gd name="connsiteX0" fmla="*/ 9964 w 15743"/>
                <a:gd name="connsiteY0" fmla="*/ 4377 h 6665"/>
                <a:gd name="connsiteX1" fmla="*/ 12057 w 15743"/>
                <a:gd name="connsiteY1" fmla="*/ 4477 h 6665"/>
                <a:gd name="connsiteX2" fmla="*/ 13850 w 15743"/>
                <a:gd name="connsiteY2" fmla="*/ 4278 h 6665"/>
                <a:gd name="connsiteX3" fmla="*/ 15743 w 15743"/>
                <a:gd name="connsiteY3" fmla="*/ 3283 h 6665"/>
                <a:gd name="connsiteX4" fmla="*/ 13651 w 15743"/>
                <a:gd name="connsiteY4" fmla="*/ 2587 h 6665"/>
                <a:gd name="connsiteX5" fmla="*/ 11459 w 15743"/>
                <a:gd name="connsiteY5" fmla="*/ 2885 h 6665"/>
                <a:gd name="connsiteX6" fmla="*/ 9167 w 15743"/>
                <a:gd name="connsiteY6" fmla="*/ 2686 h 6665"/>
                <a:gd name="connsiteX7" fmla="*/ 6975 w 15743"/>
                <a:gd name="connsiteY7" fmla="*/ 1094 h 6665"/>
                <a:gd name="connsiteX8" fmla="*/ 4683 w 15743"/>
                <a:gd name="connsiteY8" fmla="*/ 0 h 6665"/>
                <a:gd name="connsiteX9" fmla="*/ 2590 w 15743"/>
                <a:gd name="connsiteY9" fmla="*/ 1194 h 6665"/>
                <a:gd name="connsiteX10" fmla="*/ 896 w 15743"/>
                <a:gd name="connsiteY10" fmla="*/ 3582 h 6665"/>
                <a:gd name="connsiteX11" fmla="*/ 0 w 15743"/>
                <a:gd name="connsiteY11" fmla="*/ 6666 h 6665"/>
                <a:gd name="connsiteX12" fmla="*/ 2092 w 15743"/>
                <a:gd name="connsiteY12" fmla="*/ 6666 h 6665"/>
                <a:gd name="connsiteX13" fmla="*/ 7971 w 15743"/>
                <a:gd name="connsiteY13" fmla="*/ 4477 h 6665"/>
                <a:gd name="connsiteX14" fmla="*/ 9964 w 15743"/>
                <a:gd name="connsiteY14" fmla="*/ 4377 h 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743" h="6665">
                  <a:moveTo>
                    <a:pt x="9964" y="4377"/>
                  </a:moveTo>
                  <a:lnTo>
                    <a:pt x="12057" y="4477"/>
                  </a:lnTo>
                  <a:lnTo>
                    <a:pt x="13850" y="4278"/>
                  </a:lnTo>
                  <a:lnTo>
                    <a:pt x="15743" y="3283"/>
                  </a:lnTo>
                  <a:lnTo>
                    <a:pt x="13651" y="2587"/>
                  </a:lnTo>
                  <a:lnTo>
                    <a:pt x="11459" y="2885"/>
                  </a:lnTo>
                  <a:lnTo>
                    <a:pt x="9167" y="2686"/>
                  </a:lnTo>
                  <a:lnTo>
                    <a:pt x="6975" y="1094"/>
                  </a:lnTo>
                  <a:lnTo>
                    <a:pt x="4683" y="0"/>
                  </a:lnTo>
                  <a:lnTo>
                    <a:pt x="2590" y="1194"/>
                  </a:lnTo>
                  <a:lnTo>
                    <a:pt x="896" y="3582"/>
                  </a:lnTo>
                  <a:lnTo>
                    <a:pt x="0" y="6666"/>
                  </a:lnTo>
                  <a:lnTo>
                    <a:pt x="2092" y="6666"/>
                  </a:lnTo>
                  <a:lnTo>
                    <a:pt x="7971" y="4477"/>
                  </a:lnTo>
                  <a:lnTo>
                    <a:pt x="9964" y="437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6" name="Freeform: Shape 1295">
              <a:extLst>
                <a:ext uri="{FF2B5EF4-FFF2-40B4-BE49-F238E27FC236}">
                  <a16:creationId xmlns:a16="http://schemas.microsoft.com/office/drawing/2014/main" id="{CB392379-4C64-4393-8A8E-7CF126799CBB}"/>
                </a:ext>
              </a:extLst>
            </p:cNvPr>
            <p:cNvSpPr/>
            <p:nvPr/>
          </p:nvSpPr>
          <p:spPr>
            <a:xfrm>
              <a:off x="2465425" y="559652"/>
              <a:ext cx="9566" cy="6665"/>
            </a:xfrm>
            <a:custGeom>
              <a:avLst/>
              <a:gdLst>
                <a:gd name="connsiteX0" fmla="*/ 0 w 9566"/>
                <a:gd name="connsiteY0" fmla="*/ 0 h 6665"/>
                <a:gd name="connsiteX1" fmla="*/ 1794 w 9566"/>
                <a:gd name="connsiteY1" fmla="*/ 4377 h 6665"/>
                <a:gd name="connsiteX2" fmla="*/ 4584 w 9566"/>
                <a:gd name="connsiteY2" fmla="*/ 6666 h 6665"/>
                <a:gd name="connsiteX3" fmla="*/ 7473 w 9566"/>
                <a:gd name="connsiteY3" fmla="*/ 6069 h 6665"/>
                <a:gd name="connsiteX4" fmla="*/ 9566 w 9566"/>
                <a:gd name="connsiteY4" fmla="*/ 2189 h 6665"/>
                <a:gd name="connsiteX5" fmla="*/ 2691 w 9566"/>
                <a:gd name="connsiteY5" fmla="*/ 0 h 6665"/>
                <a:gd name="connsiteX6" fmla="*/ 0 w 9566"/>
                <a:gd name="connsiteY6" fmla="*/ 0 h 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66" h="6665">
                  <a:moveTo>
                    <a:pt x="0" y="0"/>
                  </a:moveTo>
                  <a:lnTo>
                    <a:pt x="1794" y="4377"/>
                  </a:lnTo>
                  <a:lnTo>
                    <a:pt x="4584" y="6666"/>
                  </a:lnTo>
                  <a:lnTo>
                    <a:pt x="7473" y="6069"/>
                  </a:lnTo>
                  <a:lnTo>
                    <a:pt x="9566" y="2189"/>
                  </a:lnTo>
                  <a:lnTo>
                    <a:pt x="26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7" name="Freeform: Shape 1296">
              <a:extLst>
                <a:ext uri="{FF2B5EF4-FFF2-40B4-BE49-F238E27FC236}">
                  <a16:creationId xmlns:a16="http://schemas.microsoft.com/office/drawing/2014/main" id="{A6291655-D578-445F-B2EC-7E648610E038}"/>
                </a:ext>
              </a:extLst>
            </p:cNvPr>
            <p:cNvSpPr/>
            <p:nvPr/>
          </p:nvSpPr>
          <p:spPr>
            <a:xfrm>
              <a:off x="2435930" y="552190"/>
              <a:ext cx="19032" cy="16614"/>
            </a:xfrm>
            <a:custGeom>
              <a:avLst/>
              <a:gdLst>
                <a:gd name="connsiteX0" fmla="*/ 2691 w 19032"/>
                <a:gd name="connsiteY0" fmla="*/ 12237 h 16614"/>
                <a:gd name="connsiteX1" fmla="*/ 1295 w 19032"/>
                <a:gd name="connsiteY1" fmla="*/ 13431 h 16614"/>
                <a:gd name="connsiteX2" fmla="*/ 698 w 19032"/>
                <a:gd name="connsiteY2" fmla="*/ 14724 h 16614"/>
                <a:gd name="connsiteX3" fmla="*/ 2292 w 19032"/>
                <a:gd name="connsiteY3" fmla="*/ 15520 h 16614"/>
                <a:gd name="connsiteX4" fmla="*/ 7872 w 19032"/>
                <a:gd name="connsiteY4" fmla="*/ 16614 h 16614"/>
                <a:gd name="connsiteX5" fmla="*/ 10861 w 19032"/>
                <a:gd name="connsiteY5" fmla="*/ 16316 h 16614"/>
                <a:gd name="connsiteX6" fmla="*/ 19032 w 19032"/>
                <a:gd name="connsiteY6" fmla="*/ 14326 h 16614"/>
                <a:gd name="connsiteX7" fmla="*/ 13053 w 19032"/>
                <a:gd name="connsiteY7" fmla="*/ 8655 h 16614"/>
                <a:gd name="connsiteX8" fmla="*/ 10164 w 19032"/>
                <a:gd name="connsiteY8" fmla="*/ 2786 h 16614"/>
                <a:gd name="connsiteX9" fmla="*/ 8669 w 19032"/>
                <a:gd name="connsiteY9" fmla="*/ 696 h 16614"/>
                <a:gd name="connsiteX10" fmla="*/ 6278 w 19032"/>
                <a:gd name="connsiteY10" fmla="*/ 0 h 16614"/>
                <a:gd name="connsiteX11" fmla="*/ 3587 w 19032"/>
                <a:gd name="connsiteY11" fmla="*/ 100 h 16614"/>
                <a:gd name="connsiteX12" fmla="*/ 1295 w 19032"/>
                <a:gd name="connsiteY12" fmla="*/ 995 h 16614"/>
                <a:gd name="connsiteX13" fmla="*/ 0 w 19032"/>
                <a:gd name="connsiteY13" fmla="*/ 2885 h 16614"/>
                <a:gd name="connsiteX14" fmla="*/ 100 w 19032"/>
                <a:gd name="connsiteY14" fmla="*/ 4477 h 16614"/>
                <a:gd name="connsiteX15" fmla="*/ 797 w 19032"/>
                <a:gd name="connsiteY15" fmla="*/ 6367 h 16614"/>
                <a:gd name="connsiteX16" fmla="*/ 1595 w 19032"/>
                <a:gd name="connsiteY16" fmla="*/ 7959 h 16614"/>
                <a:gd name="connsiteX17" fmla="*/ 2292 w 19032"/>
                <a:gd name="connsiteY17" fmla="*/ 8655 h 16614"/>
                <a:gd name="connsiteX18" fmla="*/ 3886 w 19032"/>
                <a:gd name="connsiteY18" fmla="*/ 9053 h 16614"/>
                <a:gd name="connsiteX19" fmla="*/ 4185 w 19032"/>
                <a:gd name="connsiteY19" fmla="*/ 10048 h 16614"/>
                <a:gd name="connsiteX20" fmla="*/ 3488 w 19032"/>
                <a:gd name="connsiteY20" fmla="*/ 11939 h 16614"/>
                <a:gd name="connsiteX21" fmla="*/ 2691 w 19032"/>
                <a:gd name="connsiteY21" fmla="*/ 12237 h 16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032" h="16614">
                  <a:moveTo>
                    <a:pt x="2691" y="12237"/>
                  </a:moveTo>
                  <a:lnTo>
                    <a:pt x="1295" y="13431"/>
                  </a:lnTo>
                  <a:lnTo>
                    <a:pt x="698" y="14724"/>
                  </a:lnTo>
                  <a:lnTo>
                    <a:pt x="2292" y="15520"/>
                  </a:lnTo>
                  <a:lnTo>
                    <a:pt x="7872" y="16614"/>
                  </a:lnTo>
                  <a:lnTo>
                    <a:pt x="10861" y="16316"/>
                  </a:lnTo>
                  <a:lnTo>
                    <a:pt x="19032" y="14326"/>
                  </a:lnTo>
                  <a:lnTo>
                    <a:pt x="13053" y="8655"/>
                  </a:lnTo>
                  <a:lnTo>
                    <a:pt x="10164" y="2786"/>
                  </a:lnTo>
                  <a:lnTo>
                    <a:pt x="8669" y="696"/>
                  </a:lnTo>
                  <a:lnTo>
                    <a:pt x="6278" y="0"/>
                  </a:lnTo>
                  <a:lnTo>
                    <a:pt x="3587" y="100"/>
                  </a:lnTo>
                  <a:lnTo>
                    <a:pt x="1295" y="995"/>
                  </a:lnTo>
                  <a:lnTo>
                    <a:pt x="0" y="2885"/>
                  </a:lnTo>
                  <a:lnTo>
                    <a:pt x="100" y="4477"/>
                  </a:lnTo>
                  <a:lnTo>
                    <a:pt x="797" y="6367"/>
                  </a:lnTo>
                  <a:lnTo>
                    <a:pt x="1595" y="7959"/>
                  </a:lnTo>
                  <a:lnTo>
                    <a:pt x="2292" y="8655"/>
                  </a:lnTo>
                  <a:lnTo>
                    <a:pt x="3886" y="9053"/>
                  </a:lnTo>
                  <a:lnTo>
                    <a:pt x="4185" y="10048"/>
                  </a:lnTo>
                  <a:lnTo>
                    <a:pt x="3488" y="11939"/>
                  </a:lnTo>
                  <a:lnTo>
                    <a:pt x="2691" y="1223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8" name="Freeform: Shape 1297">
              <a:extLst>
                <a:ext uri="{FF2B5EF4-FFF2-40B4-BE49-F238E27FC236}">
                  <a16:creationId xmlns:a16="http://schemas.microsoft.com/office/drawing/2014/main" id="{FA0A40E0-90F9-43E9-83ED-B2DD97EBE607}"/>
                </a:ext>
              </a:extLst>
            </p:cNvPr>
            <p:cNvSpPr/>
            <p:nvPr/>
          </p:nvSpPr>
          <p:spPr>
            <a:xfrm>
              <a:off x="2399361" y="548509"/>
              <a:ext cx="35672" cy="18106"/>
            </a:xfrm>
            <a:custGeom>
              <a:avLst/>
              <a:gdLst>
                <a:gd name="connsiteX0" fmla="*/ 12156 w 35672"/>
                <a:gd name="connsiteY0" fmla="*/ 11740 h 18106"/>
                <a:gd name="connsiteX1" fmla="*/ 12256 w 35672"/>
                <a:gd name="connsiteY1" fmla="*/ 13033 h 18106"/>
                <a:gd name="connsiteX2" fmla="*/ 11160 w 35672"/>
                <a:gd name="connsiteY2" fmla="*/ 17808 h 18106"/>
                <a:gd name="connsiteX3" fmla="*/ 13751 w 35672"/>
                <a:gd name="connsiteY3" fmla="*/ 17112 h 18106"/>
                <a:gd name="connsiteX4" fmla="*/ 16940 w 35672"/>
                <a:gd name="connsiteY4" fmla="*/ 16714 h 18106"/>
                <a:gd name="connsiteX5" fmla="*/ 18633 w 35672"/>
                <a:gd name="connsiteY5" fmla="*/ 17012 h 18106"/>
                <a:gd name="connsiteX6" fmla="*/ 21623 w 35672"/>
                <a:gd name="connsiteY6" fmla="*/ 17808 h 18106"/>
                <a:gd name="connsiteX7" fmla="*/ 28698 w 35672"/>
                <a:gd name="connsiteY7" fmla="*/ 18107 h 18106"/>
                <a:gd name="connsiteX8" fmla="*/ 29793 w 35672"/>
                <a:gd name="connsiteY8" fmla="*/ 16614 h 18106"/>
                <a:gd name="connsiteX9" fmla="*/ 29694 w 35672"/>
                <a:gd name="connsiteY9" fmla="*/ 12336 h 18106"/>
                <a:gd name="connsiteX10" fmla="*/ 32982 w 35672"/>
                <a:gd name="connsiteY10" fmla="*/ 13431 h 18106"/>
                <a:gd name="connsiteX11" fmla="*/ 34477 w 35672"/>
                <a:gd name="connsiteY11" fmla="*/ 12038 h 18106"/>
                <a:gd name="connsiteX12" fmla="*/ 34875 w 35672"/>
                <a:gd name="connsiteY12" fmla="*/ 8755 h 18106"/>
                <a:gd name="connsiteX13" fmla="*/ 34875 w 35672"/>
                <a:gd name="connsiteY13" fmla="*/ 4377 h 18106"/>
                <a:gd name="connsiteX14" fmla="*/ 35573 w 35672"/>
                <a:gd name="connsiteY14" fmla="*/ 3283 h 18106"/>
                <a:gd name="connsiteX15" fmla="*/ 35673 w 35672"/>
                <a:gd name="connsiteY15" fmla="*/ 2686 h 18106"/>
                <a:gd name="connsiteX16" fmla="*/ 35673 w 35672"/>
                <a:gd name="connsiteY16" fmla="*/ 1890 h 18106"/>
                <a:gd name="connsiteX17" fmla="*/ 34477 w 35672"/>
                <a:gd name="connsiteY17" fmla="*/ 1393 h 18106"/>
                <a:gd name="connsiteX18" fmla="*/ 9964 w 35672"/>
                <a:gd name="connsiteY18" fmla="*/ 0 h 18106"/>
                <a:gd name="connsiteX19" fmla="*/ 3487 w 35672"/>
                <a:gd name="connsiteY19" fmla="*/ 1890 h 18106"/>
                <a:gd name="connsiteX20" fmla="*/ 0 w 35672"/>
                <a:gd name="connsiteY20" fmla="*/ 3880 h 18106"/>
                <a:gd name="connsiteX21" fmla="*/ 10961 w 35672"/>
                <a:gd name="connsiteY21" fmla="*/ 10546 h 18106"/>
                <a:gd name="connsiteX22" fmla="*/ 12156 w 35672"/>
                <a:gd name="connsiteY22" fmla="*/ 11740 h 18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672" h="18106">
                  <a:moveTo>
                    <a:pt x="12156" y="11740"/>
                  </a:moveTo>
                  <a:lnTo>
                    <a:pt x="12256" y="13033"/>
                  </a:lnTo>
                  <a:lnTo>
                    <a:pt x="11160" y="17808"/>
                  </a:lnTo>
                  <a:lnTo>
                    <a:pt x="13751" y="17112"/>
                  </a:lnTo>
                  <a:lnTo>
                    <a:pt x="16940" y="16714"/>
                  </a:lnTo>
                  <a:lnTo>
                    <a:pt x="18633" y="17012"/>
                  </a:lnTo>
                  <a:lnTo>
                    <a:pt x="21623" y="17808"/>
                  </a:lnTo>
                  <a:lnTo>
                    <a:pt x="28698" y="18107"/>
                  </a:lnTo>
                  <a:lnTo>
                    <a:pt x="29793" y="16614"/>
                  </a:lnTo>
                  <a:lnTo>
                    <a:pt x="29694" y="12336"/>
                  </a:lnTo>
                  <a:lnTo>
                    <a:pt x="32982" y="13431"/>
                  </a:lnTo>
                  <a:lnTo>
                    <a:pt x="34477" y="12038"/>
                  </a:lnTo>
                  <a:lnTo>
                    <a:pt x="34875" y="8755"/>
                  </a:lnTo>
                  <a:lnTo>
                    <a:pt x="34875" y="4377"/>
                  </a:lnTo>
                  <a:lnTo>
                    <a:pt x="35573" y="3283"/>
                  </a:lnTo>
                  <a:lnTo>
                    <a:pt x="35673" y="2686"/>
                  </a:lnTo>
                  <a:lnTo>
                    <a:pt x="35673" y="1890"/>
                  </a:lnTo>
                  <a:lnTo>
                    <a:pt x="34477" y="1393"/>
                  </a:lnTo>
                  <a:lnTo>
                    <a:pt x="9964" y="0"/>
                  </a:lnTo>
                  <a:lnTo>
                    <a:pt x="3487" y="1890"/>
                  </a:lnTo>
                  <a:lnTo>
                    <a:pt x="0" y="3880"/>
                  </a:lnTo>
                  <a:lnTo>
                    <a:pt x="10961" y="10546"/>
                  </a:lnTo>
                  <a:lnTo>
                    <a:pt x="12156" y="1174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99" name="Freeform: Shape 1298">
              <a:extLst>
                <a:ext uri="{FF2B5EF4-FFF2-40B4-BE49-F238E27FC236}">
                  <a16:creationId xmlns:a16="http://schemas.microsoft.com/office/drawing/2014/main" id="{AC0ACB66-4136-49CF-9113-71FF35FB8D3D}"/>
                </a:ext>
              </a:extLst>
            </p:cNvPr>
            <p:cNvSpPr/>
            <p:nvPr/>
          </p:nvSpPr>
          <p:spPr>
            <a:xfrm>
              <a:off x="2392485" y="552389"/>
              <a:ext cx="19131" cy="23280"/>
            </a:xfrm>
            <a:custGeom>
              <a:avLst/>
              <a:gdLst>
                <a:gd name="connsiteX0" fmla="*/ 0 w 19131"/>
                <a:gd name="connsiteY0" fmla="*/ 4377 h 23280"/>
                <a:gd name="connsiteX1" fmla="*/ 299 w 19131"/>
                <a:gd name="connsiteY1" fmla="*/ 8058 h 23280"/>
                <a:gd name="connsiteX2" fmla="*/ 1694 w 19131"/>
                <a:gd name="connsiteY2" fmla="*/ 15321 h 23280"/>
                <a:gd name="connsiteX3" fmla="*/ 3886 w 19131"/>
                <a:gd name="connsiteY3" fmla="*/ 22086 h 23280"/>
                <a:gd name="connsiteX4" fmla="*/ 4783 w 19131"/>
                <a:gd name="connsiteY4" fmla="*/ 22982 h 23280"/>
                <a:gd name="connsiteX5" fmla="*/ 6477 w 19131"/>
                <a:gd name="connsiteY5" fmla="*/ 23280 h 23280"/>
                <a:gd name="connsiteX6" fmla="*/ 7773 w 19131"/>
                <a:gd name="connsiteY6" fmla="*/ 23081 h 23280"/>
                <a:gd name="connsiteX7" fmla="*/ 9067 w 19131"/>
                <a:gd name="connsiteY7" fmla="*/ 22584 h 23280"/>
                <a:gd name="connsiteX8" fmla="*/ 10064 w 19131"/>
                <a:gd name="connsiteY8" fmla="*/ 21688 h 23280"/>
                <a:gd name="connsiteX9" fmla="*/ 10363 w 19131"/>
                <a:gd name="connsiteY9" fmla="*/ 20395 h 23280"/>
                <a:gd name="connsiteX10" fmla="*/ 10264 w 19131"/>
                <a:gd name="connsiteY10" fmla="*/ 18107 h 23280"/>
                <a:gd name="connsiteX11" fmla="*/ 13651 w 19131"/>
                <a:gd name="connsiteY11" fmla="*/ 15321 h 23280"/>
                <a:gd name="connsiteX12" fmla="*/ 14747 w 19131"/>
                <a:gd name="connsiteY12" fmla="*/ 14824 h 23280"/>
                <a:gd name="connsiteX13" fmla="*/ 18036 w 19131"/>
                <a:gd name="connsiteY13" fmla="*/ 13928 h 23280"/>
                <a:gd name="connsiteX14" fmla="*/ 19131 w 19131"/>
                <a:gd name="connsiteY14" fmla="*/ 9153 h 23280"/>
                <a:gd name="connsiteX15" fmla="*/ 19032 w 19131"/>
                <a:gd name="connsiteY15" fmla="*/ 7860 h 23280"/>
                <a:gd name="connsiteX16" fmla="*/ 17836 w 19131"/>
                <a:gd name="connsiteY16" fmla="*/ 6666 h 23280"/>
                <a:gd name="connsiteX17" fmla="*/ 6875 w 19131"/>
                <a:gd name="connsiteY17" fmla="*/ 0 h 23280"/>
                <a:gd name="connsiteX18" fmla="*/ 1495 w 19131"/>
                <a:gd name="connsiteY18" fmla="*/ 2985 h 23280"/>
                <a:gd name="connsiteX19" fmla="*/ 0 w 19131"/>
                <a:gd name="connsiteY19" fmla="*/ 4377 h 2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131" h="23280">
                  <a:moveTo>
                    <a:pt x="0" y="4377"/>
                  </a:moveTo>
                  <a:lnTo>
                    <a:pt x="299" y="8058"/>
                  </a:lnTo>
                  <a:lnTo>
                    <a:pt x="1694" y="15321"/>
                  </a:lnTo>
                  <a:lnTo>
                    <a:pt x="3886" y="22086"/>
                  </a:lnTo>
                  <a:lnTo>
                    <a:pt x="4783" y="22982"/>
                  </a:lnTo>
                  <a:lnTo>
                    <a:pt x="6477" y="23280"/>
                  </a:lnTo>
                  <a:lnTo>
                    <a:pt x="7773" y="23081"/>
                  </a:lnTo>
                  <a:lnTo>
                    <a:pt x="9067" y="22584"/>
                  </a:lnTo>
                  <a:lnTo>
                    <a:pt x="10064" y="21688"/>
                  </a:lnTo>
                  <a:lnTo>
                    <a:pt x="10363" y="20395"/>
                  </a:lnTo>
                  <a:lnTo>
                    <a:pt x="10264" y="18107"/>
                  </a:lnTo>
                  <a:lnTo>
                    <a:pt x="13651" y="15321"/>
                  </a:lnTo>
                  <a:lnTo>
                    <a:pt x="14747" y="14824"/>
                  </a:lnTo>
                  <a:lnTo>
                    <a:pt x="18036" y="13928"/>
                  </a:lnTo>
                  <a:lnTo>
                    <a:pt x="19131" y="9153"/>
                  </a:lnTo>
                  <a:lnTo>
                    <a:pt x="19032" y="7860"/>
                  </a:lnTo>
                  <a:lnTo>
                    <a:pt x="17836" y="6666"/>
                  </a:lnTo>
                  <a:lnTo>
                    <a:pt x="6875" y="0"/>
                  </a:lnTo>
                  <a:lnTo>
                    <a:pt x="1495" y="2985"/>
                  </a:lnTo>
                  <a:lnTo>
                    <a:pt x="0" y="437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0" name="Freeform: Shape 1299">
              <a:extLst>
                <a:ext uri="{FF2B5EF4-FFF2-40B4-BE49-F238E27FC236}">
                  <a16:creationId xmlns:a16="http://schemas.microsoft.com/office/drawing/2014/main" id="{1FC88CC0-A87D-4A98-84FE-461C3ED2922C}"/>
                </a:ext>
              </a:extLst>
            </p:cNvPr>
            <p:cNvSpPr/>
            <p:nvPr/>
          </p:nvSpPr>
          <p:spPr>
            <a:xfrm>
              <a:off x="2264343" y="647300"/>
              <a:ext cx="10960" cy="9451"/>
            </a:xfrm>
            <a:custGeom>
              <a:avLst/>
              <a:gdLst>
                <a:gd name="connsiteX0" fmla="*/ 0 w 10960"/>
                <a:gd name="connsiteY0" fmla="*/ 2985 h 9451"/>
                <a:gd name="connsiteX1" fmla="*/ 498 w 10960"/>
                <a:gd name="connsiteY1" fmla="*/ 9451 h 9451"/>
                <a:gd name="connsiteX2" fmla="*/ 9167 w 10960"/>
                <a:gd name="connsiteY2" fmla="*/ 4875 h 9451"/>
                <a:gd name="connsiteX3" fmla="*/ 10961 w 10960"/>
                <a:gd name="connsiteY3" fmla="*/ 3482 h 9451"/>
                <a:gd name="connsiteX4" fmla="*/ 8071 w 10960"/>
                <a:gd name="connsiteY4" fmla="*/ 2388 h 9451"/>
                <a:gd name="connsiteX5" fmla="*/ 6776 w 10960"/>
                <a:gd name="connsiteY5" fmla="*/ 1592 h 9451"/>
                <a:gd name="connsiteX6" fmla="*/ 5680 w 10960"/>
                <a:gd name="connsiteY6" fmla="*/ 99 h 9451"/>
                <a:gd name="connsiteX7" fmla="*/ 1295 w 10960"/>
                <a:gd name="connsiteY7" fmla="*/ 0 h 9451"/>
                <a:gd name="connsiteX8" fmla="*/ 996 w 10960"/>
                <a:gd name="connsiteY8" fmla="*/ 0 h 9451"/>
                <a:gd name="connsiteX9" fmla="*/ 299 w 10960"/>
                <a:gd name="connsiteY9" fmla="*/ 1592 h 9451"/>
                <a:gd name="connsiteX10" fmla="*/ 0 w 10960"/>
                <a:gd name="connsiteY10" fmla="*/ 2985 h 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60" h="9451">
                  <a:moveTo>
                    <a:pt x="0" y="2985"/>
                  </a:moveTo>
                  <a:lnTo>
                    <a:pt x="498" y="9451"/>
                  </a:lnTo>
                  <a:lnTo>
                    <a:pt x="9167" y="4875"/>
                  </a:lnTo>
                  <a:lnTo>
                    <a:pt x="10961" y="3482"/>
                  </a:lnTo>
                  <a:lnTo>
                    <a:pt x="8071" y="2388"/>
                  </a:lnTo>
                  <a:lnTo>
                    <a:pt x="6776" y="1592"/>
                  </a:lnTo>
                  <a:lnTo>
                    <a:pt x="5680" y="99"/>
                  </a:lnTo>
                  <a:lnTo>
                    <a:pt x="1295" y="0"/>
                  </a:lnTo>
                  <a:lnTo>
                    <a:pt x="996" y="0"/>
                  </a:lnTo>
                  <a:lnTo>
                    <a:pt x="299" y="1592"/>
                  </a:lnTo>
                  <a:lnTo>
                    <a:pt x="0" y="298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1" name="Freeform: Shape 1300">
              <a:extLst>
                <a:ext uri="{FF2B5EF4-FFF2-40B4-BE49-F238E27FC236}">
                  <a16:creationId xmlns:a16="http://schemas.microsoft.com/office/drawing/2014/main" id="{389AE75B-9B91-4590-B745-931744C54989}"/>
                </a:ext>
              </a:extLst>
            </p:cNvPr>
            <p:cNvSpPr/>
            <p:nvPr/>
          </p:nvSpPr>
          <p:spPr>
            <a:xfrm>
              <a:off x="2256172" y="647300"/>
              <a:ext cx="9167" cy="10247"/>
            </a:xfrm>
            <a:custGeom>
              <a:avLst/>
              <a:gdLst>
                <a:gd name="connsiteX0" fmla="*/ 5680 w 9167"/>
                <a:gd name="connsiteY0" fmla="*/ 1890 h 10247"/>
                <a:gd name="connsiteX1" fmla="*/ 4384 w 9167"/>
                <a:gd name="connsiteY1" fmla="*/ 3084 h 10247"/>
                <a:gd name="connsiteX2" fmla="*/ 2989 w 9167"/>
                <a:gd name="connsiteY2" fmla="*/ 4178 h 10247"/>
                <a:gd name="connsiteX3" fmla="*/ 0 w 9167"/>
                <a:gd name="connsiteY3" fmla="*/ 5671 h 10247"/>
                <a:gd name="connsiteX4" fmla="*/ 498 w 9167"/>
                <a:gd name="connsiteY4" fmla="*/ 6865 h 10247"/>
                <a:gd name="connsiteX5" fmla="*/ 1096 w 9167"/>
                <a:gd name="connsiteY5" fmla="*/ 7760 h 10247"/>
                <a:gd name="connsiteX6" fmla="*/ 1694 w 9167"/>
                <a:gd name="connsiteY6" fmla="*/ 8556 h 10247"/>
                <a:gd name="connsiteX7" fmla="*/ 2591 w 9167"/>
                <a:gd name="connsiteY7" fmla="*/ 9252 h 10247"/>
                <a:gd name="connsiteX8" fmla="*/ 4085 w 9167"/>
                <a:gd name="connsiteY8" fmla="*/ 8158 h 10247"/>
                <a:gd name="connsiteX9" fmla="*/ 4982 w 9167"/>
                <a:gd name="connsiteY9" fmla="*/ 8655 h 10247"/>
                <a:gd name="connsiteX10" fmla="*/ 5480 w 9167"/>
                <a:gd name="connsiteY10" fmla="*/ 9750 h 10247"/>
                <a:gd name="connsiteX11" fmla="*/ 6178 w 9167"/>
                <a:gd name="connsiteY11" fmla="*/ 10247 h 10247"/>
                <a:gd name="connsiteX12" fmla="*/ 7573 w 9167"/>
                <a:gd name="connsiteY12" fmla="*/ 10048 h 10247"/>
                <a:gd name="connsiteX13" fmla="*/ 8669 w 9167"/>
                <a:gd name="connsiteY13" fmla="*/ 9451 h 10247"/>
                <a:gd name="connsiteX14" fmla="*/ 8171 w 9167"/>
                <a:gd name="connsiteY14" fmla="*/ 2985 h 10247"/>
                <a:gd name="connsiteX15" fmla="*/ 8470 w 9167"/>
                <a:gd name="connsiteY15" fmla="*/ 1592 h 10247"/>
                <a:gd name="connsiteX16" fmla="*/ 9167 w 9167"/>
                <a:gd name="connsiteY16" fmla="*/ 0 h 10247"/>
                <a:gd name="connsiteX17" fmla="*/ 7374 w 9167"/>
                <a:gd name="connsiteY17" fmla="*/ 497 h 10247"/>
                <a:gd name="connsiteX18" fmla="*/ 5680 w 9167"/>
                <a:gd name="connsiteY18" fmla="*/ 1890 h 10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67" h="10247">
                  <a:moveTo>
                    <a:pt x="5680" y="1890"/>
                  </a:moveTo>
                  <a:lnTo>
                    <a:pt x="4384" y="3084"/>
                  </a:lnTo>
                  <a:lnTo>
                    <a:pt x="2989" y="4178"/>
                  </a:lnTo>
                  <a:lnTo>
                    <a:pt x="0" y="5671"/>
                  </a:lnTo>
                  <a:lnTo>
                    <a:pt x="498" y="6865"/>
                  </a:lnTo>
                  <a:lnTo>
                    <a:pt x="1096" y="7760"/>
                  </a:lnTo>
                  <a:lnTo>
                    <a:pt x="1694" y="8556"/>
                  </a:lnTo>
                  <a:lnTo>
                    <a:pt x="2591" y="9252"/>
                  </a:lnTo>
                  <a:lnTo>
                    <a:pt x="4085" y="8158"/>
                  </a:lnTo>
                  <a:lnTo>
                    <a:pt x="4982" y="8655"/>
                  </a:lnTo>
                  <a:lnTo>
                    <a:pt x="5480" y="9750"/>
                  </a:lnTo>
                  <a:lnTo>
                    <a:pt x="6178" y="10247"/>
                  </a:lnTo>
                  <a:lnTo>
                    <a:pt x="7573" y="10048"/>
                  </a:lnTo>
                  <a:lnTo>
                    <a:pt x="8669" y="9451"/>
                  </a:lnTo>
                  <a:lnTo>
                    <a:pt x="8171" y="2985"/>
                  </a:lnTo>
                  <a:lnTo>
                    <a:pt x="8470" y="1592"/>
                  </a:lnTo>
                  <a:lnTo>
                    <a:pt x="9167" y="0"/>
                  </a:lnTo>
                  <a:lnTo>
                    <a:pt x="7374" y="497"/>
                  </a:lnTo>
                  <a:lnTo>
                    <a:pt x="5680" y="18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2" name="Freeform: Shape 1301">
              <a:extLst>
                <a:ext uri="{FF2B5EF4-FFF2-40B4-BE49-F238E27FC236}">
                  <a16:creationId xmlns:a16="http://schemas.microsoft.com/office/drawing/2014/main" id="{EF9ECCD0-85AE-40C7-A2C7-F7014C11F3FA}"/>
                </a:ext>
              </a:extLst>
            </p:cNvPr>
            <p:cNvSpPr/>
            <p:nvPr/>
          </p:nvSpPr>
          <p:spPr>
            <a:xfrm>
              <a:off x="2664215" y="724403"/>
              <a:ext cx="46035" cy="15022"/>
            </a:xfrm>
            <a:custGeom>
              <a:avLst/>
              <a:gdLst>
                <a:gd name="connsiteX0" fmla="*/ 43743 w 46035"/>
                <a:gd name="connsiteY0" fmla="*/ 5770 h 15022"/>
                <a:gd name="connsiteX1" fmla="*/ 33082 w 46035"/>
                <a:gd name="connsiteY1" fmla="*/ 1592 h 15022"/>
                <a:gd name="connsiteX2" fmla="*/ 30591 w 46035"/>
                <a:gd name="connsiteY2" fmla="*/ 1094 h 15022"/>
                <a:gd name="connsiteX3" fmla="*/ 28000 w 46035"/>
                <a:gd name="connsiteY3" fmla="*/ 0 h 15022"/>
                <a:gd name="connsiteX4" fmla="*/ 12156 w 46035"/>
                <a:gd name="connsiteY4" fmla="*/ 696 h 15022"/>
                <a:gd name="connsiteX5" fmla="*/ 9267 w 46035"/>
                <a:gd name="connsiteY5" fmla="*/ 2388 h 15022"/>
                <a:gd name="connsiteX6" fmla="*/ 3687 w 46035"/>
                <a:gd name="connsiteY6" fmla="*/ 6964 h 15022"/>
                <a:gd name="connsiteX7" fmla="*/ 100 w 46035"/>
                <a:gd name="connsiteY7" fmla="*/ 7959 h 15022"/>
                <a:gd name="connsiteX8" fmla="*/ 0 w 46035"/>
                <a:gd name="connsiteY8" fmla="*/ 8854 h 15022"/>
                <a:gd name="connsiteX9" fmla="*/ 0 w 46035"/>
                <a:gd name="connsiteY9" fmla="*/ 9949 h 15022"/>
                <a:gd name="connsiteX10" fmla="*/ 199 w 46035"/>
                <a:gd name="connsiteY10" fmla="*/ 10944 h 15022"/>
                <a:gd name="connsiteX11" fmla="*/ 598 w 46035"/>
                <a:gd name="connsiteY11" fmla="*/ 11342 h 15022"/>
                <a:gd name="connsiteX12" fmla="*/ 1096 w 46035"/>
                <a:gd name="connsiteY12" fmla="*/ 11739 h 15022"/>
                <a:gd name="connsiteX13" fmla="*/ 1494 w 46035"/>
                <a:gd name="connsiteY13" fmla="*/ 12535 h 15022"/>
                <a:gd name="connsiteX14" fmla="*/ 2092 w 46035"/>
                <a:gd name="connsiteY14" fmla="*/ 13331 h 15022"/>
                <a:gd name="connsiteX15" fmla="*/ 3189 w 46035"/>
                <a:gd name="connsiteY15" fmla="*/ 13729 h 15022"/>
                <a:gd name="connsiteX16" fmla="*/ 4185 w 46035"/>
                <a:gd name="connsiteY16" fmla="*/ 13829 h 15022"/>
                <a:gd name="connsiteX17" fmla="*/ 6078 w 46035"/>
                <a:gd name="connsiteY17" fmla="*/ 14525 h 15022"/>
                <a:gd name="connsiteX18" fmla="*/ 15544 w 46035"/>
                <a:gd name="connsiteY18" fmla="*/ 15023 h 15022"/>
                <a:gd name="connsiteX19" fmla="*/ 19131 w 46035"/>
                <a:gd name="connsiteY19" fmla="*/ 14227 h 15022"/>
                <a:gd name="connsiteX20" fmla="*/ 22719 w 46035"/>
                <a:gd name="connsiteY20" fmla="*/ 12535 h 15022"/>
                <a:gd name="connsiteX21" fmla="*/ 25110 w 46035"/>
                <a:gd name="connsiteY21" fmla="*/ 14326 h 15022"/>
                <a:gd name="connsiteX22" fmla="*/ 28100 w 46035"/>
                <a:gd name="connsiteY22" fmla="*/ 14824 h 15022"/>
                <a:gd name="connsiteX23" fmla="*/ 31089 w 46035"/>
                <a:gd name="connsiteY23" fmla="*/ 14426 h 15022"/>
                <a:gd name="connsiteX24" fmla="*/ 36071 w 46035"/>
                <a:gd name="connsiteY24" fmla="*/ 13232 h 15022"/>
                <a:gd name="connsiteX25" fmla="*/ 37067 w 46035"/>
                <a:gd name="connsiteY25" fmla="*/ 12734 h 15022"/>
                <a:gd name="connsiteX26" fmla="*/ 37964 w 46035"/>
                <a:gd name="connsiteY26" fmla="*/ 11938 h 15022"/>
                <a:gd name="connsiteX27" fmla="*/ 39160 w 46035"/>
                <a:gd name="connsiteY27" fmla="*/ 11143 h 15022"/>
                <a:gd name="connsiteX28" fmla="*/ 42249 w 46035"/>
                <a:gd name="connsiteY28" fmla="*/ 11541 h 15022"/>
                <a:gd name="connsiteX29" fmla="*/ 43644 w 46035"/>
                <a:gd name="connsiteY29" fmla="*/ 11342 h 15022"/>
                <a:gd name="connsiteX30" fmla="*/ 46036 w 46035"/>
                <a:gd name="connsiteY30" fmla="*/ 9252 h 15022"/>
                <a:gd name="connsiteX31" fmla="*/ 45736 w 46035"/>
                <a:gd name="connsiteY31" fmla="*/ 7362 h 15022"/>
                <a:gd name="connsiteX32" fmla="*/ 43743 w 46035"/>
                <a:gd name="connsiteY32" fmla="*/ 5770 h 15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6035" h="15022">
                  <a:moveTo>
                    <a:pt x="43743" y="5770"/>
                  </a:moveTo>
                  <a:lnTo>
                    <a:pt x="33082" y="1592"/>
                  </a:lnTo>
                  <a:lnTo>
                    <a:pt x="30591" y="1094"/>
                  </a:lnTo>
                  <a:lnTo>
                    <a:pt x="28000" y="0"/>
                  </a:lnTo>
                  <a:lnTo>
                    <a:pt x="12156" y="696"/>
                  </a:lnTo>
                  <a:lnTo>
                    <a:pt x="9267" y="2388"/>
                  </a:lnTo>
                  <a:lnTo>
                    <a:pt x="3687" y="6964"/>
                  </a:lnTo>
                  <a:lnTo>
                    <a:pt x="100" y="7959"/>
                  </a:lnTo>
                  <a:lnTo>
                    <a:pt x="0" y="8854"/>
                  </a:lnTo>
                  <a:lnTo>
                    <a:pt x="0" y="9949"/>
                  </a:lnTo>
                  <a:lnTo>
                    <a:pt x="199" y="10944"/>
                  </a:lnTo>
                  <a:lnTo>
                    <a:pt x="598" y="11342"/>
                  </a:lnTo>
                  <a:lnTo>
                    <a:pt x="1096" y="11739"/>
                  </a:lnTo>
                  <a:lnTo>
                    <a:pt x="1494" y="12535"/>
                  </a:lnTo>
                  <a:lnTo>
                    <a:pt x="2092" y="13331"/>
                  </a:lnTo>
                  <a:lnTo>
                    <a:pt x="3189" y="13729"/>
                  </a:lnTo>
                  <a:lnTo>
                    <a:pt x="4185" y="13829"/>
                  </a:lnTo>
                  <a:lnTo>
                    <a:pt x="6078" y="14525"/>
                  </a:lnTo>
                  <a:lnTo>
                    <a:pt x="15544" y="15023"/>
                  </a:lnTo>
                  <a:lnTo>
                    <a:pt x="19131" y="14227"/>
                  </a:lnTo>
                  <a:lnTo>
                    <a:pt x="22719" y="12535"/>
                  </a:lnTo>
                  <a:lnTo>
                    <a:pt x="25110" y="14326"/>
                  </a:lnTo>
                  <a:lnTo>
                    <a:pt x="28100" y="14824"/>
                  </a:lnTo>
                  <a:lnTo>
                    <a:pt x="31089" y="14426"/>
                  </a:lnTo>
                  <a:lnTo>
                    <a:pt x="36071" y="13232"/>
                  </a:lnTo>
                  <a:lnTo>
                    <a:pt x="37067" y="12734"/>
                  </a:lnTo>
                  <a:lnTo>
                    <a:pt x="37964" y="11938"/>
                  </a:lnTo>
                  <a:lnTo>
                    <a:pt x="39160" y="11143"/>
                  </a:lnTo>
                  <a:lnTo>
                    <a:pt x="42249" y="11541"/>
                  </a:lnTo>
                  <a:lnTo>
                    <a:pt x="43644" y="11342"/>
                  </a:lnTo>
                  <a:lnTo>
                    <a:pt x="46036" y="9252"/>
                  </a:lnTo>
                  <a:lnTo>
                    <a:pt x="45736" y="7362"/>
                  </a:lnTo>
                  <a:lnTo>
                    <a:pt x="43743" y="577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3" name="Freeform: Shape 1302">
              <a:extLst>
                <a:ext uri="{FF2B5EF4-FFF2-40B4-BE49-F238E27FC236}">
                  <a16:creationId xmlns:a16="http://schemas.microsoft.com/office/drawing/2014/main" id="{972EB4B6-9ABF-4DBC-A3B0-FA853557F57E}"/>
                </a:ext>
              </a:extLst>
            </p:cNvPr>
            <p:cNvSpPr/>
            <p:nvPr/>
          </p:nvSpPr>
          <p:spPr>
            <a:xfrm>
              <a:off x="1318521" y="142402"/>
              <a:ext cx="29992" cy="15420"/>
            </a:xfrm>
            <a:custGeom>
              <a:avLst/>
              <a:gdLst>
                <a:gd name="connsiteX0" fmla="*/ 25609 w 29992"/>
                <a:gd name="connsiteY0" fmla="*/ 0 h 15420"/>
                <a:gd name="connsiteX1" fmla="*/ 16441 w 29992"/>
                <a:gd name="connsiteY1" fmla="*/ 995 h 15420"/>
                <a:gd name="connsiteX2" fmla="*/ 13253 w 29992"/>
                <a:gd name="connsiteY2" fmla="*/ 2388 h 15420"/>
                <a:gd name="connsiteX3" fmla="*/ 2890 w 29992"/>
                <a:gd name="connsiteY3" fmla="*/ 9153 h 15420"/>
                <a:gd name="connsiteX4" fmla="*/ 399 w 29992"/>
                <a:gd name="connsiteY4" fmla="*/ 11640 h 15420"/>
                <a:gd name="connsiteX5" fmla="*/ 0 w 29992"/>
                <a:gd name="connsiteY5" fmla="*/ 14923 h 15420"/>
                <a:gd name="connsiteX6" fmla="*/ 1694 w 29992"/>
                <a:gd name="connsiteY6" fmla="*/ 15421 h 15420"/>
                <a:gd name="connsiteX7" fmla="*/ 5680 w 29992"/>
                <a:gd name="connsiteY7" fmla="*/ 13829 h 15420"/>
                <a:gd name="connsiteX8" fmla="*/ 9665 w 29992"/>
                <a:gd name="connsiteY8" fmla="*/ 13033 h 15420"/>
                <a:gd name="connsiteX9" fmla="*/ 18036 w 29992"/>
                <a:gd name="connsiteY9" fmla="*/ 12237 h 15420"/>
                <a:gd name="connsiteX10" fmla="*/ 22520 w 29992"/>
                <a:gd name="connsiteY10" fmla="*/ 10745 h 15420"/>
                <a:gd name="connsiteX11" fmla="*/ 26705 w 29992"/>
                <a:gd name="connsiteY11" fmla="*/ 8158 h 15420"/>
                <a:gd name="connsiteX12" fmla="*/ 29993 w 29992"/>
                <a:gd name="connsiteY12" fmla="*/ 4477 h 15420"/>
                <a:gd name="connsiteX13" fmla="*/ 29793 w 29992"/>
                <a:gd name="connsiteY13" fmla="*/ 796 h 15420"/>
                <a:gd name="connsiteX14" fmla="*/ 25609 w 29992"/>
                <a:gd name="connsiteY14" fmla="*/ 0 h 15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992" h="15420">
                  <a:moveTo>
                    <a:pt x="25609" y="0"/>
                  </a:moveTo>
                  <a:lnTo>
                    <a:pt x="16441" y="995"/>
                  </a:lnTo>
                  <a:lnTo>
                    <a:pt x="13253" y="2388"/>
                  </a:lnTo>
                  <a:lnTo>
                    <a:pt x="2890" y="9153"/>
                  </a:lnTo>
                  <a:lnTo>
                    <a:pt x="399" y="11640"/>
                  </a:lnTo>
                  <a:lnTo>
                    <a:pt x="0" y="14923"/>
                  </a:lnTo>
                  <a:lnTo>
                    <a:pt x="1694" y="15421"/>
                  </a:lnTo>
                  <a:lnTo>
                    <a:pt x="5680" y="13829"/>
                  </a:lnTo>
                  <a:lnTo>
                    <a:pt x="9665" y="13033"/>
                  </a:lnTo>
                  <a:lnTo>
                    <a:pt x="18036" y="12237"/>
                  </a:lnTo>
                  <a:lnTo>
                    <a:pt x="22520" y="10745"/>
                  </a:lnTo>
                  <a:lnTo>
                    <a:pt x="26705" y="8158"/>
                  </a:lnTo>
                  <a:lnTo>
                    <a:pt x="29993" y="4477"/>
                  </a:lnTo>
                  <a:lnTo>
                    <a:pt x="29793" y="796"/>
                  </a:lnTo>
                  <a:lnTo>
                    <a:pt x="25609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A34133C2-158B-40E2-B2BF-E4B989DB6F79}"/>
                </a:ext>
              </a:extLst>
            </p:cNvPr>
            <p:cNvSpPr/>
            <p:nvPr/>
          </p:nvSpPr>
          <p:spPr>
            <a:xfrm>
              <a:off x="3195019" y="1127029"/>
              <a:ext cx="8768" cy="5571"/>
            </a:xfrm>
            <a:custGeom>
              <a:avLst/>
              <a:gdLst>
                <a:gd name="connsiteX0" fmla="*/ 6875 w 8768"/>
                <a:gd name="connsiteY0" fmla="*/ 5571 h 5571"/>
                <a:gd name="connsiteX1" fmla="*/ 8769 w 8768"/>
                <a:gd name="connsiteY1" fmla="*/ 2288 h 5571"/>
                <a:gd name="connsiteX2" fmla="*/ 7573 w 8768"/>
                <a:gd name="connsiteY2" fmla="*/ 2487 h 5571"/>
                <a:gd name="connsiteX3" fmla="*/ 6577 w 8768"/>
                <a:gd name="connsiteY3" fmla="*/ 2189 h 5571"/>
                <a:gd name="connsiteX4" fmla="*/ 5879 w 8768"/>
                <a:gd name="connsiteY4" fmla="*/ 1791 h 5571"/>
                <a:gd name="connsiteX5" fmla="*/ 5182 w 8768"/>
                <a:gd name="connsiteY5" fmla="*/ 1293 h 5571"/>
                <a:gd name="connsiteX6" fmla="*/ 4783 w 8768"/>
                <a:gd name="connsiteY6" fmla="*/ 1094 h 5571"/>
                <a:gd name="connsiteX7" fmla="*/ 4384 w 8768"/>
                <a:gd name="connsiteY7" fmla="*/ 995 h 5571"/>
                <a:gd name="connsiteX8" fmla="*/ 3986 w 8768"/>
                <a:gd name="connsiteY8" fmla="*/ 696 h 5571"/>
                <a:gd name="connsiteX9" fmla="*/ 3588 w 8768"/>
                <a:gd name="connsiteY9" fmla="*/ 0 h 5571"/>
                <a:gd name="connsiteX10" fmla="*/ 2790 w 8768"/>
                <a:gd name="connsiteY10" fmla="*/ 1194 h 5571"/>
                <a:gd name="connsiteX11" fmla="*/ 1993 w 8768"/>
                <a:gd name="connsiteY11" fmla="*/ 1890 h 5571"/>
                <a:gd name="connsiteX12" fmla="*/ 0 w 8768"/>
                <a:gd name="connsiteY12" fmla="*/ 2288 h 5571"/>
                <a:gd name="connsiteX13" fmla="*/ 4584 w 8768"/>
                <a:gd name="connsiteY13" fmla="*/ 5372 h 5571"/>
                <a:gd name="connsiteX14" fmla="*/ 6875 w 8768"/>
                <a:gd name="connsiteY14" fmla="*/ 5571 h 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68" h="5571">
                  <a:moveTo>
                    <a:pt x="6875" y="5571"/>
                  </a:moveTo>
                  <a:lnTo>
                    <a:pt x="8769" y="2288"/>
                  </a:lnTo>
                  <a:lnTo>
                    <a:pt x="7573" y="2487"/>
                  </a:lnTo>
                  <a:lnTo>
                    <a:pt x="6577" y="2189"/>
                  </a:lnTo>
                  <a:lnTo>
                    <a:pt x="5879" y="1791"/>
                  </a:lnTo>
                  <a:lnTo>
                    <a:pt x="5182" y="1293"/>
                  </a:lnTo>
                  <a:lnTo>
                    <a:pt x="4783" y="1094"/>
                  </a:lnTo>
                  <a:lnTo>
                    <a:pt x="4384" y="995"/>
                  </a:lnTo>
                  <a:lnTo>
                    <a:pt x="3986" y="696"/>
                  </a:lnTo>
                  <a:lnTo>
                    <a:pt x="3588" y="0"/>
                  </a:lnTo>
                  <a:lnTo>
                    <a:pt x="2790" y="1194"/>
                  </a:lnTo>
                  <a:lnTo>
                    <a:pt x="1993" y="1890"/>
                  </a:lnTo>
                  <a:lnTo>
                    <a:pt x="0" y="2288"/>
                  </a:lnTo>
                  <a:lnTo>
                    <a:pt x="4584" y="5372"/>
                  </a:lnTo>
                  <a:lnTo>
                    <a:pt x="6875" y="557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7A36512C-E239-4193-8DB6-142567CC6C75}"/>
                </a:ext>
              </a:extLst>
            </p:cNvPr>
            <p:cNvSpPr/>
            <p:nvPr/>
          </p:nvSpPr>
          <p:spPr>
            <a:xfrm>
              <a:off x="2525809" y="580146"/>
              <a:ext cx="12654" cy="9053"/>
            </a:xfrm>
            <a:custGeom>
              <a:avLst/>
              <a:gdLst>
                <a:gd name="connsiteX0" fmla="*/ 11459 w 12654"/>
                <a:gd name="connsiteY0" fmla="*/ 6168 h 9053"/>
                <a:gd name="connsiteX1" fmla="*/ 12655 w 12654"/>
                <a:gd name="connsiteY1" fmla="*/ 4079 h 9053"/>
                <a:gd name="connsiteX2" fmla="*/ 11758 w 12654"/>
                <a:gd name="connsiteY2" fmla="*/ 1194 h 9053"/>
                <a:gd name="connsiteX3" fmla="*/ 10961 w 12654"/>
                <a:gd name="connsiteY3" fmla="*/ 895 h 9053"/>
                <a:gd name="connsiteX4" fmla="*/ 9067 w 12654"/>
                <a:gd name="connsiteY4" fmla="*/ 398 h 9053"/>
                <a:gd name="connsiteX5" fmla="*/ 8271 w 12654"/>
                <a:gd name="connsiteY5" fmla="*/ 0 h 9053"/>
                <a:gd name="connsiteX6" fmla="*/ 6676 w 12654"/>
                <a:gd name="connsiteY6" fmla="*/ 2189 h 9053"/>
                <a:gd name="connsiteX7" fmla="*/ 1993 w 12654"/>
                <a:gd name="connsiteY7" fmla="*/ 2786 h 9053"/>
                <a:gd name="connsiteX8" fmla="*/ 0 w 12654"/>
                <a:gd name="connsiteY8" fmla="*/ 4079 h 9053"/>
                <a:gd name="connsiteX9" fmla="*/ 100 w 12654"/>
                <a:gd name="connsiteY9" fmla="*/ 5969 h 9053"/>
                <a:gd name="connsiteX10" fmla="*/ 2491 w 12654"/>
                <a:gd name="connsiteY10" fmla="*/ 6765 h 9053"/>
                <a:gd name="connsiteX11" fmla="*/ 7473 w 12654"/>
                <a:gd name="connsiteY11" fmla="*/ 6964 h 9053"/>
                <a:gd name="connsiteX12" fmla="*/ 6576 w 12654"/>
                <a:gd name="connsiteY12" fmla="*/ 9053 h 9053"/>
                <a:gd name="connsiteX13" fmla="*/ 11459 w 12654"/>
                <a:gd name="connsiteY13" fmla="*/ 6168 h 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654" h="9053">
                  <a:moveTo>
                    <a:pt x="11459" y="6168"/>
                  </a:moveTo>
                  <a:lnTo>
                    <a:pt x="12655" y="4079"/>
                  </a:lnTo>
                  <a:lnTo>
                    <a:pt x="11758" y="1194"/>
                  </a:lnTo>
                  <a:lnTo>
                    <a:pt x="10961" y="895"/>
                  </a:lnTo>
                  <a:lnTo>
                    <a:pt x="9067" y="398"/>
                  </a:lnTo>
                  <a:lnTo>
                    <a:pt x="8271" y="0"/>
                  </a:lnTo>
                  <a:lnTo>
                    <a:pt x="6676" y="2189"/>
                  </a:lnTo>
                  <a:lnTo>
                    <a:pt x="1993" y="2786"/>
                  </a:lnTo>
                  <a:lnTo>
                    <a:pt x="0" y="4079"/>
                  </a:lnTo>
                  <a:lnTo>
                    <a:pt x="100" y="5969"/>
                  </a:lnTo>
                  <a:lnTo>
                    <a:pt x="2491" y="6765"/>
                  </a:lnTo>
                  <a:lnTo>
                    <a:pt x="7473" y="6964"/>
                  </a:lnTo>
                  <a:lnTo>
                    <a:pt x="6576" y="9053"/>
                  </a:lnTo>
                  <a:lnTo>
                    <a:pt x="11459" y="616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81725D5C-5845-42C6-9256-D0A38724FD5C}"/>
                </a:ext>
              </a:extLst>
            </p:cNvPr>
            <p:cNvSpPr/>
            <p:nvPr/>
          </p:nvSpPr>
          <p:spPr>
            <a:xfrm>
              <a:off x="1252956" y="59429"/>
              <a:ext cx="697" cy="1492"/>
            </a:xfrm>
            <a:custGeom>
              <a:avLst/>
              <a:gdLst>
                <a:gd name="connsiteX0" fmla="*/ 598 w 697"/>
                <a:gd name="connsiteY0" fmla="*/ 0 h 1492"/>
                <a:gd name="connsiteX1" fmla="*/ 0 w 697"/>
                <a:gd name="connsiteY1" fmla="*/ 1492 h 1492"/>
                <a:gd name="connsiteX2" fmla="*/ 697 w 697"/>
                <a:gd name="connsiteY2" fmla="*/ 298 h 1492"/>
                <a:gd name="connsiteX3" fmla="*/ 598 w 697"/>
                <a:gd name="connsiteY3" fmla="*/ 0 h 1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" h="1492">
                  <a:moveTo>
                    <a:pt x="598" y="0"/>
                  </a:moveTo>
                  <a:lnTo>
                    <a:pt x="0" y="1492"/>
                  </a:lnTo>
                  <a:lnTo>
                    <a:pt x="697" y="298"/>
                  </a:lnTo>
                  <a:lnTo>
                    <a:pt x="598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F8D5EE90-4AAB-4435-934F-3286CFCD058B}"/>
                </a:ext>
              </a:extLst>
            </p:cNvPr>
            <p:cNvSpPr/>
            <p:nvPr/>
          </p:nvSpPr>
          <p:spPr>
            <a:xfrm>
              <a:off x="1238109" y="57041"/>
              <a:ext cx="15445" cy="28353"/>
            </a:xfrm>
            <a:custGeom>
              <a:avLst/>
              <a:gdLst>
                <a:gd name="connsiteX0" fmla="*/ 14648 w 15445"/>
                <a:gd name="connsiteY0" fmla="*/ 597 h 28353"/>
                <a:gd name="connsiteX1" fmla="*/ 12655 w 15445"/>
                <a:gd name="connsiteY1" fmla="*/ 0 h 28353"/>
                <a:gd name="connsiteX2" fmla="*/ 10562 w 15445"/>
                <a:gd name="connsiteY2" fmla="*/ 398 h 28353"/>
                <a:gd name="connsiteX3" fmla="*/ 8669 w 15445"/>
                <a:gd name="connsiteY3" fmla="*/ 1393 h 28353"/>
                <a:gd name="connsiteX4" fmla="*/ 7075 w 15445"/>
                <a:gd name="connsiteY4" fmla="*/ 2786 h 28353"/>
                <a:gd name="connsiteX5" fmla="*/ 6477 w 15445"/>
                <a:gd name="connsiteY5" fmla="*/ 3979 h 28353"/>
                <a:gd name="connsiteX6" fmla="*/ 5879 w 15445"/>
                <a:gd name="connsiteY6" fmla="*/ 11938 h 28353"/>
                <a:gd name="connsiteX7" fmla="*/ 5381 w 15445"/>
                <a:gd name="connsiteY7" fmla="*/ 14227 h 28353"/>
                <a:gd name="connsiteX8" fmla="*/ 4384 w 15445"/>
                <a:gd name="connsiteY8" fmla="*/ 16813 h 28353"/>
                <a:gd name="connsiteX9" fmla="*/ 997 w 15445"/>
                <a:gd name="connsiteY9" fmla="*/ 22783 h 28353"/>
                <a:gd name="connsiteX10" fmla="*/ 0 w 15445"/>
                <a:gd name="connsiteY10" fmla="*/ 25170 h 28353"/>
                <a:gd name="connsiteX11" fmla="*/ 997 w 15445"/>
                <a:gd name="connsiteY11" fmla="*/ 25170 h 28353"/>
                <a:gd name="connsiteX12" fmla="*/ 100 w 15445"/>
                <a:gd name="connsiteY12" fmla="*/ 27856 h 28353"/>
                <a:gd name="connsiteX13" fmla="*/ 997 w 15445"/>
                <a:gd name="connsiteY13" fmla="*/ 28354 h 28353"/>
                <a:gd name="connsiteX14" fmla="*/ 2691 w 15445"/>
                <a:gd name="connsiteY14" fmla="*/ 27558 h 28353"/>
                <a:gd name="connsiteX15" fmla="*/ 4384 w 15445"/>
                <a:gd name="connsiteY15" fmla="*/ 26265 h 28353"/>
                <a:gd name="connsiteX16" fmla="*/ 5979 w 15445"/>
                <a:gd name="connsiteY16" fmla="*/ 24474 h 28353"/>
                <a:gd name="connsiteX17" fmla="*/ 7174 w 15445"/>
                <a:gd name="connsiteY17" fmla="*/ 22584 h 28353"/>
                <a:gd name="connsiteX18" fmla="*/ 7972 w 15445"/>
                <a:gd name="connsiteY18" fmla="*/ 20295 h 28353"/>
                <a:gd name="connsiteX19" fmla="*/ 8669 w 15445"/>
                <a:gd name="connsiteY19" fmla="*/ 17808 h 28353"/>
                <a:gd name="connsiteX20" fmla="*/ 8868 w 15445"/>
                <a:gd name="connsiteY20" fmla="*/ 16714 h 28353"/>
                <a:gd name="connsiteX21" fmla="*/ 8570 w 15445"/>
                <a:gd name="connsiteY21" fmla="*/ 14326 h 28353"/>
                <a:gd name="connsiteX22" fmla="*/ 8669 w 15445"/>
                <a:gd name="connsiteY22" fmla="*/ 13331 h 28353"/>
                <a:gd name="connsiteX23" fmla="*/ 9267 w 15445"/>
                <a:gd name="connsiteY23" fmla="*/ 11839 h 28353"/>
                <a:gd name="connsiteX24" fmla="*/ 9964 w 15445"/>
                <a:gd name="connsiteY24" fmla="*/ 11043 h 28353"/>
                <a:gd name="connsiteX25" fmla="*/ 10762 w 15445"/>
                <a:gd name="connsiteY25" fmla="*/ 10446 h 28353"/>
                <a:gd name="connsiteX26" fmla="*/ 11360 w 15445"/>
                <a:gd name="connsiteY26" fmla="*/ 9750 h 28353"/>
                <a:gd name="connsiteX27" fmla="*/ 14847 w 15445"/>
                <a:gd name="connsiteY27" fmla="*/ 3880 h 28353"/>
                <a:gd name="connsiteX28" fmla="*/ 15445 w 15445"/>
                <a:gd name="connsiteY28" fmla="*/ 2388 h 28353"/>
                <a:gd name="connsiteX29" fmla="*/ 14648 w 15445"/>
                <a:gd name="connsiteY29" fmla="*/ 597 h 28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445" h="28353">
                  <a:moveTo>
                    <a:pt x="14648" y="597"/>
                  </a:moveTo>
                  <a:lnTo>
                    <a:pt x="12655" y="0"/>
                  </a:lnTo>
                  <a:lnTo>
                    <a:pt x="10562" y="398"/>
                  </a:lnTo>
                  <a:lnTo>
                    <a:pt x="8669" y="1393"/>
                  </a:lnTo>
                  <a:lnTo>
                    <a:pt x="7075" y="2786"/>
                  </a:lnTo>
                  <a:lnTo>
                    <a:pt x="6477" y="3979"/>
                  </a:lnTo>
                  <a:lnTo>
                    <a:pt x="5879" y="11938"/>
                  </a:lnTo>
                  <a:lnTo>
                    <a:pt x="5381" y="14227"/>
                  </a:lnTo>
                  <a:lnTo>
                    <a:pt x="4384" y="16813"/>
                  </a:lnTo>
                  <a:lnTo>
                    <a:pt x="997" y="22783"/>
                  </a:lnTo>
                  <a:lnTo>
                    <a:pt x="0" y="25170"/>
                  </a:lnTo>
                  <a:lnTo>
                    <a:pt x="997" y="25170"/>
                  </a:lnTo>
                  <a:lnTo>
                    <a:pt x="100" y="27856"/>
                  </a:lnTo>
                  <a:lnTo>
                    <a:pt x="997" y="28354"/>
                  </a:lnTo>
                  <a:lnTo>
                    <a:pt x="2691" y="27558"/>
                  </a:lnTo>
                  <a:lnTo>
                    <a:pt x="4384" y="26265"/>
                  </a:lnTo>
                  <a:lnTo>
                    <a:pt x="5979" y="24474"/>
                  </a:lnTo>
                  <a:lnTo>
                    <a:pt x="7174" y="22584"/>
                  </a:lnTo>
                  <a:lnTo>
                    <a:pt x="7972" y="20295"/>
                  </a:lnTo>
                  <a:lnTo>
                    <a:pt x="8669" y="17808"/>
                  </a:lnTo>
                  <a:lnTo>
                    <a:pt x="8868" y="16714"/>
                  </a:lnTo>
                  <a:lnTo>
                    <a:pt x="8570" y="14326"/>
                  </a:lnTo>
                  <a:lnTo>
                    <a:pt x="8669" y="13331"/>
                  </a:lnTo>
                  <a:lnTo>
                    <a:pt x="9267" y="11839"/>
                  </a:lnTo>
                  <a:lnTo>
                    <a:pt x="9964" y="11043"/>
                  </a:lnTo>
                  <a:lnTo>
                    <a:pt x="10762" y="10446"/>
                  </a:lnTo>
                  <a:lnTo>
                    <a:pt x="11360" y="9750"/>
                  </a:lnTo>
                  <a:lnTo>
                    <a:pt x="14847" y="3880"/>
                  </a:lnTo>
                  <a:lnTo>
                    <a:pt x="15445" y="2388"/>
                  </a:lnTo>
                  <a:lnTo>
                    <a:pt x="14648" y="5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A04EBAF8-201C-4AF1-B845-9B7CCC2D0FAB}"/>
                </a:ext>
              </a:extLst>
            </p:cNvPr>
            <p:cNvSpPr/>
            <p:nvPr/>
          </p:nvSpPr>
          <p:spPr>
            <a:xfrm>
              <a:off x="3170108" y="1009335"/>
              <a:ext cx="21623" cy="12634"/>
            </a:xfrm>
            <a:custGeom>
              <a:avLst/>
              <a:gdLst>
                <a:gd name="connsiteX0" fmla="*/ 21523 w 21623"/>
                <a:gd name="connsiteY0" fmla="*/ 2885 h 12634"/>
                <a:gd name="connsiteX1" fmla="*/ 20328 w 21623"/>
                <a:gd name="connsiteY1" fmla="*/ 995 h 12634"/>
                <a:gd name="connsiteX2" fmla="*/ 18036 w 21623"/>
                <a:gd name="connsiteY2" fmla="*/ 0 h 12634"/>
                <a:gd name="connsiteX3" fmla="*/ 15844 w 21623"/>
                <a:gd name="connsiteY3" fmla="*/ 199 h 12634"/>
                <a:gd name="connsiteX4" fmla="*/ 14548 w 21623"/>
                <a:gd name="connsiteY4" fmla="*/ 1791 h 12634"/>
                <a:gd name="connsiteX5" fmla="*/ 13651 w 21623"/>
                <a:gd name="connsiteY5" fmla="*/ 1791 h 12634"/>
                <a:gd name="connsiteX6" fmla="*/ 11659 w 21623"/>
                <a:gd name="connsiteY6" fmla="*/ 398 h 12634"/>
                <a:gd name="connsiteX7" fmla="*/ 8669 w 21623"/>
                <a:gd name="connsiteY7" fmla="*/ 597 h 12634"/>
                <a:gd name="connsiteX8" fmla="*/ 2890 w 21623"/>
                <a:gd name="connsiteY8" fmla="*/ 1791 h 12634"/>
                <a:gd name="connsiteX9" fmla="*/ 199 w 21623"/>
                <a:gd name="connsiteY9" fmla="*/ 2885 h 12634"/>
                <a:gd name="connsiteX10" fmla="*/ 0 w 21623"/>
                <a:gd name="connsiteY10" fmla="*/ 5074 h 12634"/>
                <a:gd name="connsiteX11" fmla="*/ 1694 w 21623"/>
                <a:gd name="connsiteY11" fmla="*/ 7462 h 12634"/>
                <a:gd name="connsiteX12" fmla="*/ 4584 w 21623"/>
                <a:gd name="connsiteY12" fmla="*/ 8456 h 12634"/>
                <a:gd name="connsiteX13" fmla="*/ 5381 w 21623"/>
                <a:gd name="connsiteY13" fmla="*/ 8854 h 12634"/>
                <a:gd name="connsiteX14" fmla="*/ 6975 w 21623"/>
                <a:gd name="connsiteY14" fmla="*/ 10347 h 12634"/>
                <a:gd name="connsiteX15" fmla="*/ 7673 w 21623"/>
                <a:gd name="connsiteY15" fmla="*/ 10745 h 12634"/>
                <a:gd name="connsiteX16" fmla="*/ 8370 w 21623"/>
                <a:gd name="connsiteY16" fmla="*/ 10645 h 12634"/>
                <a:gd name="connsiteX17" fmla="*/ 9466 w 21623"/>
                <a:gd name="connsiteY17" fmla="*/ 9650 h 12634"/>
                <a:gd name="connsiteX18" fmla="*/ 10264 w 21623"/>
                <a:gd name="connsiteY18" fmla="*/ 9451 h 12634"/>
                <a:gd name="connsiteX19" fmla="*/ 14947 w 21623"/>
                <a:gd name="connsiteY19" fmla="*/ 9252 h 12634"/>
                <a:gd name="connsiteX20" fmla="*/ 16342 w 21623"/>
                <a:gd name="connsiteY20" fmla="*/ 9451 h 12634"/>
                <a:gd name="connsiteX21" fmla="*/ 17537 w 21623"/>
                <a:gd name="connsiteY21" fmla="*/ 10645 h 12634"/>
                <a:gd name="connsiteX22" fmla="*/ 18335 w 21623"/>
                <a:gd name="connsiteY22" fmla="*/ 11938 h 12634"/>
                <a:gd name="connsiteX23" fmla="*/ 19231 w 21623"/>
                <a:gd name="connsiteY23" fmla="*/ 12635 h 12634"/>
                <a:gd name="connsiteX24" fmla="*/ 20626 w 21623"/>
                <a:gd name="connsiteY24" fmla="*/ 11739 h 12634"/>
                <a:gd name="connsiteX25" fmla="*/ 21523 w 21623"/>
                <a:gd name="connsiteY25" fmla="*/ 10148 h 12634"/>
                <a:gd name="connsiteX26" fmla="*/ 21623 w 21623"/>
                <a:gd name="connsiteY26" fmla="*/ 8556 h 12634"/>
                <a:gd name="connsiteX27" fmla="*/ 21025 w 21623"/>
                <a:gd name="connsiteY27" fmla="*/ 7163 h 12634"/>
                <a:gd name="connsiteX28" fmla="*/ 19730 w 21623"/>
                <a:gd name="connsiteY28" fmla="*/ 6268 h 12634"/>
                <a:gd name="connsiteX29" fmla="*/ 21025 w 21623"/>
                <a:gd name="connsiteY29" fmla="*/ 3681 h 12634"/>
                <a:gd name="connsiteX30" fmla="*/ 21523 w 21623"/>
                <a:gd name="connsiteY30" fmla="*/ 2885 h 12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623" h="12634">
                  <a:moveTo>
                    <a:pt x="21523" y="2885"/>
                  </a:moveTo>
                  <a:lnTo>
                    <a:pt x="20328" y="995"/>
                  </a:lnTo>
                  <a:lnTo>
                    <a:pt x="18036" y="0"/>
                  </a:lnTo>
                  <a:lnTo>
                    <a:pt x="15844" y="199"/>
                  </a:lnTo>
                  <a:lnTo>
                    <a:pt x="14548" y="1791"/>
                  </a:lnTo>
                  <a:lnTo>
                    <a:pt x="13651" y="1791"/>
                  </a:lnTo>
                  <a:lnTo>
                    <a:pt x="11659" y="398"/>
                  </a:lnTo>
                  <a:lnTo>
                    <a:pt x="8669" y="597"/>
                  </a:lnTo>
                  <a:lnTo>
                    <a:pt x="2890" y="1791"/>
                  </a:lnTo>
                  <a:lnTo>
                    <a:pt x="199" y="2885"/>
                  </a:lnTo>
                  <a:lnTo>
                    <a:pt x="0" y="5074"/>
                  </a:lnTo>
                  <a:lnTo>
                    <a:pt x="1694" y="7462"/>
                  </a:lnTo>
                  <a:lnTo>
                    <a:pt x="4584" y="8456"/>
                  </a:lnTo>
                  <a:lnTo>
                    <a:pt x="5381" y="8854"/>
                  </a:lnTo>
                  <a:lnTo>
                    <a:pt x="6975" y="10347"/>
                  </a:lnTo>
                  <a:lnTo>
                    <a:pt x="7673" y="10745"/>
                  </a:lnTo>
                  <a:lnTo>
                    <a:pt x="8370" y="10645"/>
                  </a:lnTo>
                  <a:lnTo>
                    <a:pt x="9466" y="9650"/>
                  </a:lnTo>
                  <a:lnTo>
                    <a:pt x="10264" y="9451"/>
                  </a:lnTo>
                  <a:lnTo>
                    <a:pt x="14947" y="9252"/>
                  </a:lnTo>
                  <a:lnTo>
                    <a:pt x="16342" y="9451"/>
                  </a:lnTo>
                  <a:lnTo>
                    <a:pt x="17537" y="10645"/>
                  </a:lnTo>
                  <a:lnTo>
                    <a:pt x="18335" y="11938"/>
                  </a:lnTo>
                  <a:lnTo>
                    <a:pt x="19231" y="12635"/>
                  </a:lnTo>
                  <a:lnTo>
                    <a:pt x="20626" y="11739"/>
                  </a:lnTo>
                  <a:lnTo>
                    <a:pt x="21523" y="10148"/>
                  </a:lnTo>
                  <a:lnTo>
                    <a:pt x="21623" y="8556"/>
                  </a:lnTo>
                  <a:lnTo>
                    <a:pt x="21025" y="7163"/>
                  </a:lnTo>
                  <a:lnTo>
                    <a:pt x="19730" y="6268"/>
                  </a:lnTo>
                  <a:lnTo>
                    <a:pt x="21025" y="3681"/>
                  </a:lnTo>
                  <a:lnTo>
                    <a:pt x="21523" y="288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5E5F372F-8E4A-47D8-AED5-63934CC89908}"/>
                </a:ext>
              </a:extLst>
            </p:cNvPr>
            <p:cNvSpPr/>
            <p:nvPr/>
          </p:nvSpPr>
          <p:spPr>
            <a:xfrm>
              <a:off x="1219874" y="-47419"/>
              <a:ext cx="16540" cy="15520"/>
            </a:xfrm>
            <a:custGeom>
              <a:avLst/>
              <a:gdLst>
                <a:gd name="connsiteX0" fmla="*/ 15644 w 16540"/>
                <a:gd name="connsiteY0" fmla="*/ 3582 h 15520"/>
                <a:gd name="connsiteX1" fmla="*/ 15744 w 16540"/>
                <a:gd name="connsiteY1" fmla="*/ 2587 h 15520"/>
                <a:gd name="connsiteX2" fmla="*/ 15644 w 16540"/>
                <a:gd name="connsiteY2" fmla="*/ 1293 h 15520"/>
                <a:gd name="connsiteX3" fmla="*/ 11658 w 16540"/>
                <a:gd name="connsiteY3" fmla="*/ 0 h 15520"/>
                <a:gd name="connsiteX4" fmla="*/ 5680 w 16540"/>
                <a:gd name="connsiteY4" fmla="*/ 2686 h 15520"/>
                <a:gd name="connsiteX5" fmla="*/ 797 w 16540"/>
                <a:gd name="connsiteY5" fmla="*/ 7660 h 15520"/>
                <a:gd name="connsiteX6" fmla="*/ 0 w 16540"/>
                <a:gd name="connsiteY6" fmla="*/ 13232 h 15520"/>
                <a:gd name="connsiteX7" fmla="*/ 2092 w 16540"/>
                <a:gd name="connsiteY7" fmla="*/ 15520 h 15520"/>
                <a:gd name="connsiteX8" fmla="*/ 4584 w 16540"/>
                <a:gd name="connsiteY8" fmla="*/ 15321 h 15520"/>
                <a:gd name="connsiteX9" fmla="*/ 9167 w 16540"/>
                <a:gd name="connsiteY9" fmla="*/ 13232 h 15520"/>
                <a:gd name="connsiteX10" fmla="*/ 10164 w 16540"/>
                <a:gd name="connsiteY10" fmla="*/ 11441 h 15520"/>
                <a:gd name="connsiteX11" fmla="*/ 11160 w 16540"/>
                <a:gd name="connsiteY11" fmla="*/ 10148 h 15520"/>
                <a:gd name="connsiteX12" fmla="*/ 13751 w 16540"/>
                <a:gd name="connsiteY12" fmla="*/ 9153 h 15520"/>
                <a:gd name="connsiteX13" fmla="*/ 14847 w 16540"/>
                <a:gd name="connsiteY13" fmla="*/ 7959 h 15520"/>
                <a:gd name="connsiteX14" fmla="*/ 16541 w 16540"/>
                <a:gd name="connsiteY14" fmla="*/ 4974 h 15520"/>
                <a:gd name="connsiteX15" fmla="*/ 15744 w 16540"/>
                <a:gd name="connsiteY15" fmla="*/ 4377 h 15520"/>
                <a:gd name="connsiteX16" fmla="*/ 15644 w 16540"/>
                <a:gd name="connsiteY16" fmla="*/ 3582 h 15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540" h="15520">
                  <a:moveTo>
                    <a:pt x="15644" y="3582"/>
                  </a:moveTo>
                  <a:lnTo>
                    <a:pt x="15744" y="2587"/>
                  </a:lnTo>
                  <a:lnTo>
                    <a:pt x="15644" y="1293"/>
                  </a:lnTo>
                  <a:lnTo>
                    <a:pt x="11658" y="0"/>
                  </a:lnTo>
                  <a:lnTo>
                    <a:pt x="5680" y="2686"/>
                  </a:lnTo>
                  <a:lnTo>
                    <a:pt x="797" y="7660"/>
                  </a:lnTo>
                  <a:lnTo>
                    <a:pt x="0" y="13232"/>
                  </a:lnTo>
                  <a:lnTo>
                    <a:pt x="2092" y="15520"/>
                  </a:lnTo>
                  <a:lnTo>
                    <a:pt x="4584" y="15321"/>
                  </a:lnTo>
                  <a:lnTo>
                    <a:pt x="9167" y="13232"/>
                  </a:lnTo>
                  <a:lnTo>
                    <a:pt x="10164" y="11441"/>
                  </a:lnTo>
                  <a:lnTo>
                    <a:pt x="11160" y="10148"/>
                  </a:lnTo>
                  <a:lnTo>
                    <a:pt x="13751" y="9153"/>
                  </a:lnTo>
                  <a:lnTo>
                    <a:pt x="14847" y="7959"/>
                  </a:lnTo>
                  <a:lnTo>
                    <a:pt x="16541" y="4974"/>
                  </a:lnTo>
                  <a:lnTo>
                    <a:pt x="15744" y="4377"/>
                  </a:lnTo>
                  <a:lnTo>
                    <a:pt x="15644" y="358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0" name="Freeform: Shape 1309">
              <a:extLst>
                <a:ext uri="{FF2B5EF4-FFF2-40B4-BE49-F238E27FC236}">
                  <a16:creationId xmlns:a16="http://schemas.microsoft.com/office/drawing/2014/main" id="{EE14DF1C-7B9D-458B-9238-5576DACE3D99}"/>
                </a:ext>
              </a:extLst>
            </p:cNvPr>
            <p:cNvSpPr/>
            <p:nvPr/>
          </p:nvSpPr>
          <p:spPr>
            <a:xfrm>
              <a:off x="1291518" y="153544"/>
              <a:ext cx="23515" cy="31935"/>
            </a:xfrm>
            <a:custGeom>
              <a:avLst/>
              <a:gdLst>
                <a:gd name="connsiteX0" fmla="*/ 11758 w 23515"/>
                <a:gd name="connsiteY0" fmla="*/ 27558 h 31935"/>
                <a:gd name="connsiteX1" fmla="*/ 15544 w 23515"/>
                <a:gd name="connsiteY1" fmla="*/ 22484 h 31935"/>
                <a:gd name="connsiteX2" fmla="*/ 19630 w 23515"/>
                <a:gd name="connsiteY2" fmla="*/ 8854 h 31935"/>
                <a:gd name="connsiteX3" fmla="*/ 23018 w 23515"/>
                <a:gd name="connsiteY3" fmla="*/ 2686 h 31935"/>
                <a:gd name="connsiteX4" fmla="*/ 23516 w 23515"/>
                <a:gd name="connsiteY4" fmla="*/ 298 h 31935"/>
                <a:gd name="connsiteX5" fmla="*/ 20925 w 23515"/>
                <a:gd name="connsiteY5" fmla="*/ 0 h 31935"/>
                <a:gd name="connsiteX6" fmla="*/ 18833 w 23515"/>
                <a:gd name="connsiteY6" fmla="*/ 199 h 31935"/>
                <a:gd name="connsiteX7" fmla="*/ 14747 w 23515"/>
                <a:gd name="connsiteY7" fmla="*/ 5173 h 31935"/>
                <a:gd name="connsiteX8" fmla="*/ 14050 w 23515"/>
                <a:gd name="connsiteY8" fmla="*/ 7263 h 31935"/>
                <a:gd name="connsiteX9" fmla="*/ 13950 w 23515"/>
                <a:gd name="connsiteY9" fmla="*/ 8954 h 31935"/>
                <a:gd name="connsiteX10" fmla="*/ 14050 w 23515"/>
                <a:gd name="connsiteY10" fmla="*/ 10546 h 31935"/>
                <a:gd name="connsiteX11" fmla="*/ 13850 w 23515"/>
                <a:gd name="connsiteY11" fmla="*/ 12237 h 31935"/>
                <a:gd name="connsiteX12" fmla="*/ 13153 w 23515"/>
                <a:gd name="connsiteY12" fmla="*/ 14227 h 31935"/>
                <a:gd name="connsiteX13" fmla="*/ 12754 w 23515"/>
                <a:gd name="connsiteY13" fmla="*/ 15222 h 31935"/>
                <a:gd name="connsiteX14" fmla="*/ 10861 w 23515"/>
                <a:gd name="connsiteY14" fmla="*/ 17510 h 31935"/>
                <a:gd name="connsiteX15" fmla="*/ 9665 w 23515"/>
                <a:gd name="connsiteY15" fmla="*/ 18107 h 31935"/>
                <a:gd name="connsiteX16" fmla="*/ 7971 w 23515"/>
                <a:gd name="connsiteY16" fmla="*/ 18306 h 31935"/>
                <a:gd name="connsiteX17" fmla="*/ 4783 w 23515"/>
                <a:gd name="connsiteY17" fmla="*/ 18007 h 31935"/>
                <a:gd name="connsiteX18" fmla="*/ 3089 w 23515"/>
                <a:gd name="connsiteY18" fmla="*/ 18604 h 31935"/>
                <a:gd name="connsiteX19" fmla="*/ 2790 w 23515"/>
                <a:gd name="connsiteY19" fmla="*/ 19997 h 31935"/>
                <a:gd name="connsiteX20" fmla="*/ 2889 w 23515"/>
                <a:gd name="connsiteY20" fmla="*/ 21887 h 31935"/>
                <a:gd name="connsiteX21" fmla="*/ 2591 w 23515"/>
                <a:gd name="connsiteY21" fmla="*/ 23877 h 31935"/>
                <a:gd name="connsiteX22" fmla="*/ 1794 w 23515"/>
                <a:gd name="connsiteY22" fmla="*/ 24971 h 31935"/>
                <a:gd name="connsiteX23" fmla="*/ 797 w 23515"/>
                <a:gd name="connsiteY23" fmla="*/ 25469 h 31935"/>
                <a:gd name="connsiteX24" fmla="*/ 99 w 23515"/>
                <a:gd name="connsiteY24" fmla="*/ 26265 h 31935"/>
                <a:gd name="connsiteX25" fmla="*/ 0 w 23515"/>
                <a:gd name="connsiteY25" fmla="*/ 28553 h 31935"/>
                <a:gd name="connsiteX26" fmla="*/ 797 w 23515"/>
                <a:gd name="connsiteY26" fmla="*/ 30344 h 31935"/>
                <a:gd name="connsiteX27" fmla="*/ 2092 w 23515"/>
                <a:gd name="connsiteY27" fmla="*/ 31935 h 31935"/>
                <a:gd name="connsiteX28" fmla="*/ 6676 w 23515"/>
                <a:gd name="connsiteY28" fmla="*/ 30344 h 31935"/>
                <a:gd name="connsiteX29" fmla="*/ 11758 w 23515"/>
                <a:gd name="connsiteY29" fmla="*/ 27558 h 31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3515" h="31935">
                  <a:moveTo>
                    <a:pt x="11758" y="27558"/>
                  </a:moveTo>
                  <a:lnTo>
                    <a:pt x="15544" y="22484"/>
                  </a:lnTo>
                  <a:lnTo>
                    <a:pt x="19630" y="8854"/>
                  </a:lnTo>
                  <a:lnTo>
                    <a:pt x="23018" y="2686"/>
                  </a:lnTo>
                  <a:lnTo>
                    <a:pt x="23516" y="298"/>
                  </a:lnTo>
                  <a:lnTo>
                    <a:pt x="20925" y="0"/>
                  </a:lnTo>
                  <a:lnTo>
                    <a:pt x="18833" y="199"/>
                  </a:lnTo>
                  <a:lnTo>
                    <a:pt x="14747" y="5173"/>
                  </a:lnTo>
                  <a:lnTo>
                    <a:pt x="14050" y="7263"/>
                  </a:lnTo>
                  <a:lnTo>
                    <a:pt x="13950" y="8954"/>
                  </a:lnTo>
                  <a:lnTo>
                    <a:pt x="14050" y="10546"/>
                  </a:lnTo>
                  <a:lnTo>
                    <a:pt x="13850" y="12237"/>
                  </a:lnTo>
                  <a:lnTo>
                    <a:pt x="13153" y="14227"/>
                  </a:lnTo>
                  <a:lnTo>
                    <a:pt x="12754" y="15222"/>
                  </a:lnTo>
                  <a:lnTo>
                    <a:pt x="10861" y="17510"/>
                  </a:lnTo>
                  <a:lnTo>
                    <a:pt x="9665" y="18107"/>
                  </a:lnTo>
                  <a:lnTo>
                    <a:pt x="7971" y="18306"/>
                  </a:lnTo>
                  <a:lnTo>
                    <a:pt x="4783" y="18007"/>
                  </a:lnTo>
                  <a:lnTo>
                    <a:pt x="3089" y="18604"/>
                  </a:lnTo>
                  <a:lnTo>
                    <a:pt x="2790" y="19997"/>
                  </a:lnTo>
                  <a:lnTo>
                    <a:pt x="2889" y="21887"/>
                  </a:lnTo>
                  <a:lnTo>
                    <a:pt x="2591" y="23877"/>
                  </a:lnTo>
                  <a:lnTo>
                    <a:pt x="1794" y="24971"/>
                  </a:lnTo>
                  <a:lnTo>
                    <a:pt x="797" y="25469"/>
                  </a:lnTo>
                  <a:lnTo>
                    <a:pt x="99" y="26265"/>
                  </a:lnTo>
                  <a:lnTo>
                    <a:pt x="0" y="28553"/>
                  </a:lnTo>
                  <a:lnTo>
                    <a:pt x="797" y="30344"/>
                  </a:lnTo>
                  <a:lnTo>
                    <a:pt x="2092" y="31935"/>
                  </a:lnTo>
                  <a:lnTo>
                    <a:pt x="6676" y="30344"/>
                  </a:lnTo>
                  <a:lnTo>
                    <a:pt x="11758" y="2755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5685B50F-778D-4201-AC42-84BDC70BA178}"/>
                </a:ext>
              </a:extLst>
            </p:cNvPr>
            <p:cNvSpPr/>
            <p:nvPr/>
          </p:nvSpPr>
          <p:spPr>
            <a:xfrm>
              <a:off x="1283247" y="152947"/>
              <a:ext cx="27103" cy="33228"/>
            </a:xfrm>
            <a:custGeom>
              <a:avLst/>
              <a:gdLst>
                <a:gd name="connsiteX0" fmla="*/ 8271 w 27103"/>
                <a:gd name="connsiteY0" fmla="*/ 29150 h 33228"/>
                <a:gd name="connsiteX1" fmla="*/ 8370 w 27103"/>
                <a:gd name="connsiteY1" fmla="*/ 26862 h 33228"/>
                <a:gd name="connsiteX2" fmla="*/ 9068 w 27103"/>
                <a:gd name="connsiteY2" fmla="*/ 26066 h 33228"/>
                <a:gd name="connsiteX3" fmla="*/ 10064 w 27103"/>
                <a:gd name="connsiteY3" fmla="*/ 25568 h 33228"/>
                <a:gd name="connsiteX4" fmla="*/ 10861 w 27103"/>
                <a:gd name="connsiteY4" fmla="*/ 24474 h 33228"/>
                <a:gd name="connsiteX5" fmla="*/ 11160 w 27103"/>
                <a:gd name="connsiteY5" fmla="*/ 22484 h 33228"/>
                <a:gd name="connsiteX6" fmla="*/ 11061 w 27103"/>
                <a:gd name="connsiteY6" fmla="*/ 20594 h 33228"/>
                <a:gd name="connsiteX7" fmla="*/ 11360 w 27103"/>
                <a:gd name="connsiteY7" fmla="*/ 19201 h 33228"/>
                <a:gd name="connsiteX8" fmla="*/ 13053 w 27103"/>
                <a:gd name="connsiteY8" fmla="*/ 18604 h 33228"/>
                <a:gd name="connsiteX9" fmla="*/ 16242 w 27103"/>
                <a:gd name="connsiteY9" fmla="*/ 18903 h 33228"/>
                <a:gd name="connsiteX10" fmla="*/ 17936 w 27103"/>
                <a:gd name="connsiteY10" fmla="*/ 18704 h 33228"/>
                <a:gd name="connsiteX11" fmla="*/ 19132 w 27103"/>
                <a:gd name="connsiteY11" fmla="*/ 18107 h 33228"/>
                <a:gd name="connsiteX12" fmla="*/ 21025 w 27103"/>
                <a:gd name="connsiteY12" fmla="*/ 15819 h 33228"/>
                <a:gd name="connsiteX13" fmla="*/ 21423 w 27103"/>
                <a:gd name="connsiteY13" fmla="*/ 14824 h 33228"/>
                <a:gd name="connsiteX14" fmla="*/ 22121 w 27103"/>
                <a:gd name="connsiteY14" fmla="*/ 12834 h 33228"/>
                <a:gd name="connsiteX15" fmla="*/ 22320 w 27103"/>
                <a:gd name="connsiteY15" fmla="*/ 11143 h 33228"/>
                <a:gd name="connsiteX16" fmla="*/ 22221 w 27103"/>
                <a:gd name="connsiteY16" fmla="*/ 9551 h 33228"/>
                <a:gd name="connsiteX17" fmla="*/ 22320 w 27103"/>
                <a:gd name="connsiteY17" fmla="*/ 7859 h 33228"/>
                <a:gd name="connsiteX18" fmla="*/ 23018 w 27103"/>
                <a:gd name="connsiteY18" fmla="*/ 5770 h 33228"/>
                <a:gd name="connsiteX19" fmla="*/ 27103 w 27103"/>
                <a:gd name="connsiteY19" fmla="*/ 796 h 33228"/>
                <a:gd name="connsiteX20" fmla="*/ 25609 w 27103"/>
                <a:gd name="connsiteY20" fmla="*/ 895 h 33228"/>
                <a:gd name="connsiteX21" fmla="*/ 22719 w 27103"/>
                <a:gd name="connsiteY21" fmla="*/ 497 h 33228"/>
                <a:gd name="connsiteX22" fmla="*/ 19730 w 27103"/>
                <a:gd name="connsiteY22" fmla="*/ 0 h 33228"/>
                <a:gd name="connsiteX23" fmla="*/ 17239 w 27103"/>
                <a:gd name="connsiteY23" fmla="*/ 2288 h 33228"/>
                <a:gd name="connsiteX24" fmla="*/ 15246 w 27103"/>
                <a:gd name="connsiteY24" fmla="*/ 5870 h 33228"/>
                <a:gd name="connsiteX25" fmla="*/ 13950 w 27103"/>
                <a:gd name="connsiteY25" fmla="*/ 9252 h 33228"/>
                <a:gd name="connsiteX26" fmla="*/ 11957 w 27103"/>
                <a:gd name="connsiteY26" fmla="*/ 16714 h 33228"/>
                <a:gd name="connsiteX27" fmla="*/ 10363 w 27103"/>
                <a:gd name="connsiteY27" fmla="*/ 20494 h 33228"/>
                <a:gd name="connsiteX28" fmla="*/ 8370 w 27103"/>
                <a:gd name="connsiteY28" fmla="*/ 22186 h 33228"/>
                <a:gd name="connsiteX29" fmla="*/ 5979 w 27103"/>
                <a:gd name="connsiteY29" fmla="*/ 22285 h 33228"/>
                <a:gd name="connsiteX30" fmla="*/ 3189 w 27103"/>
                <a:gd name="connsiteY30" fmla="*/ 23081 h 33228"/>
                <a:gd name="connsiteX31" fmla="*/ 1096 w 27103"/>
                <a:gd name="connsiteY31" fmla="*/ 24872 h 33228"/>
                <a:gd name="connsiteX32" fmla="*/ 0 w 27103"/>
                <a:gd name="connsiteY32" fmla="*/ 28155 h 33228"/>
                <a:gd name="connsiteX33" fmla="*/ 2292 w 27103"/>
                <a:gd name="connsiteY33" fmla="*/ 32930 h 33228"/>
                <a:gd name="connsiteX34" fmla="*/ 8171 w 27103"/>
                <a:gd name="connsiteY34" fmla="*/ 33229 h 33228"/>
                <a:gd name="connsiteX35" fmla="*/ 10363 w 27103"/>
                <a:gd name="connsiteY35" fmla="*/ 32532 h 33228"/>
                <a:gd name="connsiteX36" fmla="*/ 9068 w 27103"/>
                <a:gd name="connsiteY36" fmla="*/ 30941 h 33228"/>
                <a:gd name="connsiteX37" fmla="*/ 8271 w 27103"/>
                <a:gd name="connsiteY37" fmla="*/ 29150 h 33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7103" h="33228">
                  <a:moveTo>
                    <a:pt x="8271" y="29150"/>
                  </a:moveTo>
                  <a:lnTo>
                    <a:pt x="8370" y="26862"/>
                  </a:lnTo>
                  <a:lnTo>
                    <a:pt x="9068" y="26066"/>
                  </a:lnTo>
                  <a:lnTo>
                    <a:pt x="10064" y="25568"/>
                  </a:lnTo>
                  <a:lnTo>
                    <a:pt x="10861" y="24474"/>
                  </a:lnTo>
                  <a:lnTo>
                    <a:pt x="11160" y="22484"/>
                  </a:lnTo>
                  <a:lnTo>
                    <a:pt x="11061" y="20594"/>
                  </a:lnTo>
                  <a:lnTo>
                    <a:pt x="11360" y="19201"/>
                  </a:lnTo>
                  <a:lnTo>
                    <a:pt x="13053" y="18604"/>
                  </a:lnTo>
                  <a:lnTo>
                    <a:pt x="16242" y="18903"/>
                  </a:lnTo>
                  <a:lnTo>
                    <a:pt x="17936" y="18704"/>
                  </a:lnTo>
                  <a:lnTo>
                    <a:pt x="19132" y="18107"/>
                  </a:lnTo>
                  <a:lnTo>
                    <a:pt x="21025" y="15819"/>
                  </a:lnTo>
                  <a:lnTo>
                    <a:pt x="21423" y="14824"/>
                  </a:lnTo>
                  <a:lnTo>
                    <a:pt x="22121" y="12834"/>
                  </a:lnTo>
                  <a:lnTo>
                    <a:pt x="22320" y="11143"/>
                  </a:lnTo>
                  <a:lnTo>
                    <a:pt x="22221" y="9551"/>
                  </a:lnTo>
                  <a:lnTo>
                    <a:pt x="22320" y="7859"/>
                  </a:lnTo>
                  <a:lnTo>
                    <a:pt x="23018" y="5770"/>
                  </a:lnTo>
                  <a:lnTo>
                    <a:pt x="27103" y="796"/>
                  </a:lnTo>
                  <a:lnTo>
                    <a:pt x="25609" y="895"/>
                  </a:lnTo>
                  <a:lnTo>
                    <a:pt x="22719" y="497"/>
                  </a:lnTo>
                  <a:lnTo>
                    <a:pt x="19730" y="0"/>
                  </a:lnTo>
                  <a:lnTo>
                    <a:pt x="17239" y="2288"/>
                  </a:lnTo>
                  <a:lnTo>
                    <a:pt x="15246" y="5870"/>
                  </a:lnTo>
                  <a:lnTo>
                    <a:pt x="13950" y="9252"/>
                  </a:lnTo>
                  <a:lnTo>
                    <a:pt x="11957" y="16714"/>
                  </a:lnTo>
                  <a:lnTo>
                    <a:pt x="10363" y="20494"/>
                  </a:lnTo>
                  <a:lnTo>
                    <a:pt x="8370" y="22186"/>
                  </a:lnTo>
                  <a:lnTo>
                    <a:pt x="5979" y="22285"/>
                  </a:lnTo>
                  <a:lnTo>
                    <a:pt x="3189" y="23081"/>
                  </a:lnTo>
                  <a:lnTo>
                    <a:pt x="1096" y="24872"/>
                  </a:lnTo>
                  <a:lnTo>
                    <a:pt x="0" y="28155"/>
                  </a:lnTo>
                  <a:lnTo>
                    <a:pt x="2292" y="32930"/>
                  </a:lnTo>
                  <a:lnTo>
                    <a:pt x="8171" y="33229"/>
                  </a:lnTo>
                  <a:lnTo>
                    <a:pt x="10363" y="32532"/>
                  </a:lnTo>
                  <a:lnTo>
                    <a:pt x="9068" y="30941"/>
                  </a:lnTo>
                  <a:lnTo>
                    <a:pt x="8271" y="2915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47D06E77-ABFB-47F4-969D-95E8F2264CF7}"/>
                </a:ext>
              </a:extLst>
            </p:cNvPr>
            <p:cNvSpPr/>
            <p:nvPr/>
          </p:nvSpPr>
          <p:spPr>
            <a:xfrm>
              <a:off x="1130493" y="-79056"/>
              <a:ext cx="19829" cy="43674"/>
            </a:xfrm>
            <a:custGeom>
              <a:avLst/>
              <a:gdLst>
                <a:gd name="connsiteX0" fmla="*/ 16441 w 19829"/>
                <a:gd name="connsiteY0" fmla="*/ 25767 h 43674"/>
                <a:gd name="connsiteX1" fmla="*/ 15943 w 19829"/>
                <a:gd name="connsiteY1" fmla="*/ 23678 h 43674"/>
                <a:gd name="connsiteX2" fmla="*/ 16043 w 19829"/>
                <a:gd name="connsiteY2" fmla="*/ 21987 h 43674"/>
                <a:gd name="connsiteX3" fmla="*/ 16341 w 19829"/>
                <a:gd name="connsiteY3" fmla="*/ 20395 h 43674"/>
                <a:gd name="connsiteX4" fmla="*/ 16441 w 19829"/>
                <a:gd name="connsiteY4" fmla="*/ 18704 h 43674"/>
                <a:gd name="connsiteX5" fmla="*/ 16640 w 19829"/>
                <a:gd name="connsiteY5" fmla="*/ 18803 h 43674"/>
                <a:gd name="connsiteX6" fmla="*/ 16939 w 19829"/>
                <a:gd name="connsiteY6" fmla="*/ 18107 h 43674"/>
                <a:gd name="connsiteX7" fmla="*/ 17139 w 19829"/>
                <a:gd name="connsiteY7" fmla="*/ 17112 h 43674"/>
                <a:gd name="connsiteX8" fmla="*/ 17338 w 19829"/>
                <a:gd name="connsiteY8" fmla="*/ 16216 h 43674"/>
                <a:gd name="connsiteX9" fmla="*/ 17039 w 19829"/>
                <a:gd name="connsiteY9" fmla="*/ 15520 h 43674"/>
                <a:gd name="connsiteX10" fmla="*/ 15943 w 19829"/>
                <a:gd name="connsiteY10" fmla="*/ 14127 h 43674"/>
                <a:gd name="connsiteX11" fmla="*/ 15644 w 19829"/>
                <a:gd name="connsiteY11" fmla="*/ 13331 h 43674"/>
                <a:gd name="connsiteX12" fmla="*/ 15345 w 19829"/>
                <a:gd name="connsiteY12" fmla="*/ 9650 h 43674"/>
                <a:gd name="connsiteX13" fmla="*/ 14747 w 19829"/>
                <a:gd name="connsiteY13" fmla="*/ 6666 h 43674"/>
                <a:gd name="connsiteX14" fmla="*/ 12157 w 19829"/>
                <a:gd name="connsiteY14" fmla="*/ 796 h 43674"/>
                <a:gd name="connsiteX15" fmla="*/ 9765 w 19829"/>
                <a:gd name="connsiteY15" fmla="*/ 0 h 43674"/>
                <a:gd name="connsiteX16" fmla="*/ 6676 w 19829"/>
                <a:gd name="connsiteY16" fmla="*/ 2089 h 43674"/>
                <a:gd name="connsiteX17" fmla="*/ 4584 w 19829"/>
                <a:gd name="connsiteY17" fmla="*/ 5273 h 43674"/>
                <a:gd name="connsiteX18" fmla="*/ 5181 w 19829"/>
                <a:gd name="connsiteY18" fmla="*/ 7959 h 43674"/>
                <a:gd name="connsiteX19" fmla="*/ 3787 w 19829"/>
                <a:gd name="connsiteY19" fmla="*/ 10944 h 43674"/>
                <a:gd name="connsiteX20" fmla="*/ 5879 w 19829"/>
                <a:gd name="connsiteY20" fmla="*/ 15421 h 43674"/>
                <a:gd name="connsiteX21" fmla="*/ 5181 w 19829"/>
                <a:gd name="connsiteY21" fmla="*/ 18704 h 43674"/>
                <a:gd name="connsiteX22" fmla="*/ 2989 w 19829"/>
                <a:gd name="connsiteY22" fmla="*/ 17012 h 43674"/>
                <a:gd name="connsiteX23" fmla="*/ 1395 w 19829"/>
                <a:gd name="connsiteY23" fmla="*/ 16415 h 43674"/>
                <a:gd name="connsiteX24" fmla="*/ 299 w 19829"/>
                <a:gd name="connsiteY24" fmla="*/ 17311 h 43674"/>
                <a:gd name="connsiteX25" fmla="*/ 0 w 19829"/>
                <a:gd name="connsiteY25" fmla="*/ 19897 h 43674"/>
                <a:gd name="connsiteX26" fmla="*/ 399 w 19829"/>
                <a:gd name="connsiteY26" fmla="*/ 21688 h 43674"/>
                <a:gd name="connsiteX27" fmla="*/ 2092 w 19829"/>
                <a:gd name="connsiteY27" fmla="*/ 25270 h 43674"/>
                <a:gd name="connsiteX28" fmla="*/ 2491 w 19829"/>
                <a:gd name="connsiteY28" fmla="*/ 27558 h 43674"/>
                <a:gd name="connsiteX29" fmla="*/ 4185 w 19829"/>
                <a:gd name="connsiteY29" fmla="*/ 32333 h 43674"/>
                <a:gd name="connsiteX30" fmla="*/ 10861 w 19829"/>
                <a:gd name="connsiteY30" fmla="*/ 40093 h 43674"/>
                <a:gd name="connsiteX31" fmla="*/ 11260 w 19829"/>
                <a:gd name="connsiteY31" fmla="*/ 43675 h 43674"/>
                <a:gd name="connsiteX32" fmla="*/ 16341 w 19829"/>
                <a:gd name="connsiteY32" fmla="*/ 41188 h 43674"/>
                <a:gd name="connsiteX33" fmla="*/ 18833 w 19829"/>
                <a:gd name="connsiteY33" fmla="*/ 39496 h 43674"/>
                <a:gd name="connsiteX34" fmla="*/ 19829 w 19829"/>
                <a:gd name="connsiteY34" fmla="*/ 37109 h 43674"/>
                <a:gd name="connsiteX35" fmla="*/ 19829 w 19829"/>
                <a:gd name="connsiteY35" fmla="*/ 30045 h 43674"/>
                <a:gd name="connsiteX36" fmla="*/ 19331 w 19829"/>
                <a:gd name="connsiteY36" fmla="*/ 29150 h 43674"/>
                <a:gd name="connsiteX37" fmla="*/ 16441 w 19829"/>
                <a:gd name="connsiteY37" fmla="*/ 25767 h 43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9829" h="43674">
                  <a:moveTo>
                    <a:pt x="16441" y="25767"/>
                  </a:moveTo>
                  <a:lnTo>
                    <a:pt x="15943" y="23678"/>
                  </a:lnTo>
                  <a:lnTo>
                    <a:pt x="16043" y="21987"/>
                  </a:lnTo>
                  <a:lnTo>
                    <a:pt x="16341" y="20395"/>
                  </a:lnTo>
                  <a:lnTo>
                    <a:pt x="16441" y="18704"/>
                  </a:lnTo>
                  <a:lnTo>
                    <a:pt x="16640" y="18803"/>
                  </a:lnTo>
                  <a:lnTo>
                    <a:pt x="16939" y="18107"/>
                  </a:lnTo>
                  <a:lnTo>
                    <a:pt x="17139" y="17112"/>
                  </a:lnTo>
                  <a:lnTo>
                    <a:pt x="17338" y="16216"/>
                  </a:lnTo>
                  <a:lnTo>
                    <a:pt x="17039" y="15520"/>
                  </a:lnTo>
                  <a:lnTo>
                    <a:pt x="15943" y="14127"/>
                  </a:lnTo>
                  <a:lnTo>
                    <a:pt x="15644" y="13331"/>
                  </a:lnTo>
                  <a:lnTo>
                    <a:pt x="15345" y="9650"/>
                  </a:lnTo>
                  <a:lnTo>
                    <a:pt x="14747" y="6666"/>
                  </a:lnTo>
                  <a:lnTo>
                    <a:pt x="12157" y="796"/>
                  </a:lnTo>
                  <a:lnTo>
                    <a:pt x="9765" y="0"/>
                  </a:lnTo>
                  <a:lnTo>
                    <a:pt x="6676" y="2089"/>
                  </a:lnTo>
                  <a:lnTo>
                    <a:pt x="4584" y="5273"/>
                  </a:lnTo>
                  <a:lnTo>
                    <a:pt x="5181" y="7959"/>
                  </a:lnTo>
                  <a:lnTo>
                    <a:pt x="3787" y="10944"/>
                  </a:lnTo>
                  <a:lnTo>
                    <a:pt x="5879" y="15421"/>
                  </a:lnTo>
                  <a:lnTo>
                    <a:pt x="5181" y="18704"/>
                  </a:lnTo>
                  <a:lnTo>
                    <a:pt x="2989" y="17012"/>
                  </a:lnTo>
                  <a:lnTo>
                    <a:pt x="1395" y="16415"/>
                  </a:lnTo>
                  <a:lnTo>
                    <a:pt x="299" y="17311"/>
                  </a:lnTo>
                  <a:lnTo>
                    <a:pt x="0" y="19897"/>
                  </a:lnTo>
                  <a:lnTo>
                    <a:pt x="399" y="21688"/>
                  </a:lnTo>
                  <a:lnTo>
                    <a:pt x="2092" y="25270"/>
                  </a:lnTo>
                  <a:lnTo>
                    <a:pt x="2491" y="27558"/>
                  </a:lnTo>
                  <a:lnTo>
                    <a:pt x="4185" y="32333"/>
                  </a:lnTo>
                  <a:lnTo>
                    <a:pt x="10861" y="40093"/>
                  </a:lnTo>
                  <a:lnTo>
                    <a:pt x="11260" y="43675"/>
                  </a:lnTo>
                  <a:lnTo>
                    <a:pt x="16341" y="41188"/>
                  </a:lnTo>
                  <a:lnTo>
                    <a:pt x="18833" y="39496"/>
                  </a:lnTo>
                  <a:lnTo>
                    <a:pt x="19829" y="37109"/>
                  </a:lnTo>
                  <a:lnTo>
                    <a:pt x="19829" y="30045"/>
                  </a:lnTo>
                  <a:lnTo>
                    <a:pt x="19331" y="29150"/>
                  </a:lnTo>
                  <a:lnTo>
                    <a:pt x="16441" y="2576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208C541C-3F0B-43AD-B058-FB540DF904C8}"/>
                </a:ext>
              </a:extLst>
            </p:cNvPr>
            <p:cNvSpPr/>
            <p:nvPr/>
          </p:nvSpPr>
          <p:spPr>
            <a:xfrm>
              <a:off x="2346450" y="328045"/>
              <a:ext cx="4384" cy="14624"/>
            </a:xfrm>
            <a:custGeom>
              <a:avLst/>
              <a:gdLst>
                <a:gd name="connsiteX0" fmla="*/ 2989 w 4384"/>
                <a:gd name="connsiteY0" fmla="*/ 8755 h 14624"/>
                <a:gd name="connsiteX1" fmla="*/ 2591 w 4384"/>
                <a:gd name="connsiteY1" fmla="*/ 6168 h 14624"/>
                <a:gd name="connsiteX2" fmla="*/ 2691 w 4384"/>
                <a:gd name="connsiteY2" fmla="*/ 2388 h 14624"/>
                <a:gd name="connsiteX3" fmla="*/ 2591 w 4384"/>
                <a:gd name="connsiteY3" fmla="*/ 1492 h 14624"/>
                <a:gd name="connsiteX4" fmla="*/ 2292 w 4384"/>
                <a:gd name="connsiteY4" fmla="*/ 696 h 14624"/>
                <a:gd name="connsiteX5" fmla="*/ 1794 w 4384"/>
                <a:gd name="connsiteY5" fmla="*/ 0 h 14624"/>
                <a:gd name="connsiteX6" fmla="*/ 0 w 4384"/>
                <a:gd name="connsiteY6" fmla="*/ 4477 h 14624"/>
                <a:gd name="connsiteX7" fmla="*/ 0 w 4384"/>
                <a:gd name="connsiteY7" fmla="*/ 10645 h 14624"/>
                <a:gd name="connsiteX8" fmla="*/ 1495 w 4384"/>
                <a:gd name="connsiteY8" fmla="*/ 14625 h 14624"/>
                <a:gd name="connsiteX9" fmla="*/ 4384 w 4384"/>
                <a:gd name="connsiteY9" fmla="*/ 12834 h 14624"/>
                <a:gd name="connsiteX10" fmla="*/ 3587 w 4384"/>
                <a:gd name="connsiteY10" fmla="*/ 11143 h 14624"/>
                <a:gd name="connsiteX11" fmla="*/ 2989 w 4384"/>
                <a:gd name="connsiteY11" fmla="*/ 8755 h 14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84" h="14624">
                  <a:moveTo>
                    <a:pt x="2989" y="8755"/>
                  </a:moveTo>
                  <a:lnTo>
                    <a:pt x="2591" y="6168"/>
                  </a:lnTo>
                  <a:lnTo>
                    <a:pt x="2691" y="2388"/>
                  </a:lnTo>
                  <a:lnTo>
                    <a:pt x="2591" y="1492"/>
                  </a:lnTo>
                  <a:lnTo>
                    <a:pt x="2292" y="696"/>
                  </a:lnTo>
                  <a:lnTo>
                    <a:pt x="1794" y="0"/>
                  </a:lnTo>
                  <a:lnTo>
                    <a:pt x="0" y="4477"/>
                  </a:lnTo>
                  <a:lnTo>
                    <a:pt x="0" y="10645"/>
                  </a:lnTo>
                  <a:lnTo>
                    <a:pt x="1495" y="14625"/>
                  </a:lnTo>
                  <a:lnTo>
                    <a:pt x="4384" y="12834"/>
                  </a:lnTo>
                  <a:lnTo>
                    <a:pt x="3587" y="11143"/>
                  </a:lnTo>
                  <a:lnTo>
                    <a:pt x="2989" y="875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27AD553B-B480-48A1-852A-0BB126525CB6}"/>
                </a:ext>
              </a:extLst>
            </p:cNvPr>
            <p:cNvSpPr/>
            <p:nvPr/>
          </p:nvSpPr>
          <p:spPr>
            <a:xfrm>
              <a:off x="3078535" y="1679184"/>
              <a:ext cx="8071" cy="16813"/>
            </a:xfrm>
            <a:custGeom>
              <a:avLst/>
              <a:gdLst>
                <a:gd name="connsiteX0" fmla="*/ 1097 w 8071"/>
                <a:gd name="connsiteY0" fmla="*/ 4676 h 16813"/>
                <a:gd name="connsiteX1" fmla="*/ 199 w 8071"/>
                <a:gd name="connsiteY1" fmla="*/ 6666 h 16813"/>
                <a:gd name="connsiteX2" fmla="*/ 0 w 8071"/>
                <a:gd name="connsiteY2" fmla="*/ 14525 h 16813"/>
                <a:gd name="connsiteX3" fmla="*/ 299 w 8071"/>
                <a:gd name="connsiteY3" fmla="*/ 16216 h 16813"/>
                <a:gd name="connsiteX4" fmla="*/ 1395 w 8071"/>
                <a:gd name="connsiteY4" fmla="*/ 16813 h 16813"/>
                <a:gd name="connsiteX5" fmla="*/ 2990 w 8071"/>
                <a:gd name="connsiteY5" fmla="*/ 16316 h 16813"/>
                <a:gd name="connsiteX6" fmla="*/ 6079 w 8071"/>
                <a:gd name="connsiteY6" fmla="*/ 14127 h 16813"/>
                <a:gd name="connsiteX7" fmla="*/ 8071 w 8071"/>
                <a:gd name="connsiteY7" fmla="*/ 13729 h 16813"/>
                <a:gd name="connsiteX8" fmla="*/ 7274 w 8071"/>
                <a:gd name="connsiteY8" fmla="*/ 12137 h 16813"/>
                <a:gd name="connsiteX9" fmla="*/ 5281 w 8071"/>
                <a:gd name="connsiteY9" fmla="*/ 2089 h 16813"/>
                <a:gd name="connsiteX10" fmla="*/ 5281 w 8071"/>
                <a:gd name="connsiteY10" fmla="*/ 0 h 16813"/>
                <a:gd name="connsiteX11" fmla="*/ 1097 w 8071"/>
                <a:gd name="connsiteY11" fmla="*/ 4676 h 16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71" h="16813">
                  <a:moveTo>
                    <a:pt x="1097" y="4676"/>
                  </a:moveTo>
                  <a:lnTo>
                    <a:pt x="199" y="6666"/>
                  </a:lnTo>
                  <a:lnTo>
                    <a:pt x="0" y="14525"/>
                  </a:lnTo>
                  <a:lnTo>
                    <a:pt x="299" y="16216"/>
                  </a:lnTo>
                  <a:lnTo>
                    <a:pt x="1395" y="16813"/>
                  </a:lnTo>
                  <a:lnTo>
                    <a:pt x="2990" y="16316"/>
                  </a:lnTo>
                  <a:lnTo>
                    <a:pt x="6079" y="14127"/>
                  </a:lnTo>
                  <a:lnTo>
                    <a:pt x="8071" y="13729"/>
                  </a:lnTo>
                  <a:lnTo>
                    <a:pt x="7274" y="12137"/>
                  </a:lnTo>
                  <a:lnTo>
                    <a:pt x="5281" y="2089"/>
                  </a:lnTo>
                  <a:lnTo>
                    <a:pt x="5281" y="0"/>
                  </a:lnTo>
                  <a:lnTo>
                    <a:pt x="1097" y="467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5" name="Freeform: Shape 1314">
              <a:extLst>
                <a:ext uri="{FF2B5EF4-FFF2-40B4-BE49-F238E27FC236}">
                  <a16:creationId xmlns:a16="http://schemas.microsoft.com/office/drawing/2014/main" id="{91E1FBE1-0C44-4693-8FA6-252473BDF1A8}"/>
                </a:ext>
              </a:extLst>
            </p:cNvPr>
            <p:cNvSpPr/>
            <p:nvPr/>
          </p:nvSpPr>
          <p:spPr>
            <a:xfrm>
              <a:off x="2322834" y="349833"/>
              <a:ext cx="12355" cy="18803"/>
            </a:xfrm>
            <a:custGeom>
              <a:avLst/>
              <a:gdLst>
                <a:gd name="connsiteX0" fmla="*/ 9067 w 12355"/>
                <a:gd name="connsiteY0" fmla="*/ 796 h 18803"/>
                <a:gd name="connsiteX1" fmla="*/ 1794 w 12355"/>
                <a:gd name="connsiteY1" fmla="*/ 0 h 18803"/>
                <a:gd name="connsiteX2" fmla="*/ 996 w 12355"/>
                <a:gd name="connsiteY2" fmla="*/ 99 h 18803"/>
                <a:gd name="connsiteX3" fmla="*/ 1993 w 12355"/>
                <a:gd name="connsiteY3" fmla="*/ 3880 h 18803"/>
                <a:gd name="connsiteX4" fmla="*/ 2092 w 12355"/>
                <a:gd name="connsiteY4" fmla="*/ 4875 h 18803"/>
                <a:gd name="connsiteX5" fmla="*/ 1993 w 12355"/>
                <a:gd name="connsiteY5" fmla="*/ 8456 h 18803"/>
                <a:gd name="connsiteX6" fmla="*/ 2092 w 12355"/>
                <a:gd name="connsiteY6" fmla="*/ 8954 h 18803"/>
                <a:gd name="connsiteX7" fmla="*/ 2491 w 12355"/>
                <a:gd name="connsiteY7" fmla="*/ 9352 h 18803"/>
                <a:gd name="connsiteX8" fmla="*/ 2790 w 12355"/>
                <a:gd name="connsiteY8" fmla="*/ 9949 h 18803"/>
                <a:gd name="connsiteX9" fmla="*/ 2790 w 12355"/>
                <a:gd name="connsiteY9" fmla="*/ 10745 h 18803"/>
                <a:gd name="connsiteX10" fmla="*/ 2491 w 12355"/>
                <a:gd name="connsiteY10" fmla="*/ 11242 h 18803"/>
                <a:gd name="connsiteX11" fmla="*/ 1893 w 12355"/>
                <a:gd name="connsiteY11" fmla="*/ 11640 h 18803"/>
                <a:gd name="connsiteX12" fmla="*/ 1295 w 12355"/>
                <a:gd name="connsiteY12" fmla="*/ 11938 h 18803"/>
                <a:gd name="connsiteX13" fmla="*/ 1096 w 12355"/>
                <a:gd name="connsiteY13" fmla="*/ 11938 h 18803"/>
                <a:gd name="connsiteX14" fmla="*/ 698 w 12355"/>
                <a:gd name="connsiteY14" fmla="*/ 12834 h 18803"/>
                <a:gd name="connsiteX15" fmla="*/ 299 w 12355"/>
                <a:gd name="connsiteY15" fmla="*/ 13033 h 18803"/>
                <a:gd name="connsiteX16" fmla="*/ 0 w 12355"/>
                <a:gd name="connsiteY16" fmla="*/ 13630 h 18803"/>
                <a:gd name="connsiteX17" fmla="*/ 199 w 12355"/>
                <a:gd name="connsiteY17" fmla="*/ 15421 h 18803"/>
                <a:gd name="connsiteX18" fmla="*/ 598 w 12355"/>
                <a:gd name="connsiteY18" fmla="*/ 16515 h 18803"/>
                <a:gd name="connsiteX19" fmla="*/ 1196 w 12355"/>
                <a:gd name="connsiteY19" fmla="*/ 17510 h 18803"/>
                <a:gd name="connsiteX20" fmla="*/ 2790 w 12355"/>
                <a:gd name="connsiteY20" fmla="*/ 18803 h 18803"/>
                <a:gd name="connsiteX21" fmla="*/ 2989 w 12355"/>
                <a:gd name="connsiteY21" fmla="*/ 15818 h 18803"/>
                <a:gd name="connsiteX22" fmla="*/ 4185 w 12355"/>
                <a:gd name="connsiteY22" fmla="*/ 13630 h 18803"/>
                <a:gd name="connsiteX23" fmla="*/ 7174 w 12355"/>
                <a:gd name="connsiteY23" fmla="*/ 10745 h 18803"/>
                <a:gd name="connsiteX24" fmla="*/ 10164 w 12355"/>
                <a:gd name="connsiteY24" fmla="*/ 9451 h 18803"/>
                <a:gd name="connsiteX25" fmla="*/ 10562 w 12355"/>
                <a:gd name="connsiteY25" fmla="*/ 9053 h 18803"/>
                <a:gd name="connsiteX26" fmla="*/ 10762 w 12355"/>
                <a:gd name="connsiteY26" fmla="*/ 7760 h 18803"/>
                <a:gd name="connsiteX27" fmla="*/ 11858 w 12355"/>
                <a:gd name="connsiteY27" fmla="*/ 4974 h 18803"/>
                <a:gd name="connsiteX28" fmla="*/ 12356 w 12355"/>
                <a:gd name="connsiteY28" fmla="*/ 3880 h 18803"/>
                <a:gd name="connsiteX29" fmla="*/ 11060 w 12355"/>
                <a:gd name="connsiteY29" fmla="*/ 1791 h 18803"/>
                <a:gd name="connsiteX30" fmla="*/ 9067 w 12355"/>
                <a:gd name="connsiteY30" fmla="*/ 796 h 1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2355" h="18803">
                  <a:moveTo>
                    <a:pt x="9067" y="796"/>
                  </a:moveTo>
                  <a:lnTo>
                    <a:pt x="1794" y="0"/>
                  </a:lnTo>
                  <a:lnTo>
                    <a:pt x="996" y="99"/>
                  </a:lnTo>
                  <a:lnTo>
                    <a:pt x="1993" y="3880"/>
                  </a:lnTo>
                  <a:lnTo>
                    <a:pt x="2092" y="4875"/>
                  </a:lnTo>
                  <a:lnTo>
                    <a:pt x="1993" y="8456"/>
                  </a:lnTo>
                  <a:lnTo>
                    <a:pt x="2092" y="8954"/>
                  </a:lnTo>
                  <a:lnTo>
                    <a:pt x="2491" y="9352"/>
                  </a:lnTo>
                  <a:lnTo>
                    <a:pt x="2790" y="9949"/>
                  </a:lnTo>
                  <a:lnTo>
                    <a:pt x="2790" y="10745"/>
                  </a:lnTo>
                  <a:lnTo>
                    <a:pt x="2491" y="11242"/>
                  </a:lnTo>
                  <a:lnTo>
                    <a:pt x="1893" y="11640"/>
                  </a:lnTo>
                  <a:lnTo>
                    <a:pt x="1295" y="11938"/>
                  </a:lnTo>
                  <a:lnTo>
                    <a:pt x="1096" y="11938"/>
                  </a:lnTo>
                  <a:lnTo>
                    <a:pt x="698" y="12834"/>
                  </a:lnTo>
                  <a:lnTo>
                    <a:pt x="299" y="13033"/>
                  </a:lnTo>
                  <a:lnTo>
                    <a:pt x="0" y="13630"/>
                  </a:lnTo>
                  <a:lnTo>
                    <a:pt x="199" y="15421"/>
                  </a:lnTo>
                  <a:lnTo>
                    <a:pt x="598" y="16515"/>
                  </a:lnTo>
                  <a:lnTo>
                    <a:pt x="1196" y="17510"/>
                  </a:lnTo>
                  <a:lnTo>
                    <a:pt x="2790" y="18803"/>
                  </a:lnTo>
                  <a:lnTo>
                    <a:pt x="2989" y="15818"/>
                  </a:lnTo>
                  <a:lnTo>
                    <a:pt x="4185" y="13630"/>
                  </a:lnTo>
                  <a:lnTo>
                    <a:pt x="7174" y="10745"/>
                  </a:lnTo>
                  <a:lnTo>
                    <a:pt x="10164" y="9451"/>
                  </a:lnTo>
                  <a:lnTo>
                    <a:pt x="10562" y="9053"/>
                  </a:lnTo>
                  <a:lnTo>
                    <a:pt x="10762" y="7760"/>
                  </a:lnTo>
                  <a:lnTo>
                    <a:pt x="11858" y="4974"/>
                  </a:lnTo>
                  <a:lnTo>
                    <a:pt x="12356" y="3880"/>
                  </a:lnTo>
                  <a:lnTo>
                    <a:pt x="11060" y="1791"/>
                  </a:lnTo>
                  <a:lnTo>
                    <a:pt x="9067" y="7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6" name="Freeform: Shape 1315">
              <a:extLst>
                <a:ext uri="{FF2B5EF4-FFF2-40B4-BE49-F238E27FC236}">
                  <a16:creationId xmlns:a16="http://schemas.microsoft.com/office/drawing/2014/main" id="{60BC9986-7AB3-41E0-BBFC-80666A2F8C9F}"/>
                </a:ext>
              </a:extLst>
            </p:cNvPr>
            <p:cNvSpPr/>
            <p:nvPr/>
          </p:nvSpPr>
          <p:spPr>
            <a:xfrm>
              <a:off x="2343859" y="413803"/>
              <a:ext cx="4284" cy="3680"/>
            </a:xfrm>
            <a:custGeom>
              <a:avLst/>
              <a:gdLst>
                <a:gd name="connsiteX0" fmla="*/ 4185 w 4284"/>
                <a:gd name="connsiteY0" fmla="*/ 3582 h 3680"/>
                <a:gd name="connsiteX1" fmla="*/ 4285 w 4284"/>
                <a:gd name="connsiteY1" fmla="*/ 2786 h 3680"/>
                <a:gd name="connsiteX2" fmla="*/ 3787 w 4284"/>
                <a:gd name="connsiteY2" fmla="*/ 1691 h 3680"/>
                <a:gd name="connsiteX3" fmla="*/ 2989 w 4284"/>
                <a:gd name="connsiteY3" fmla="*/ 497 h 3680"/>
                <a:gd name="connsiteX4" fmla="*/ 1993 w 4284"/>
                <a:gd name="connsiteY4" fmla="*/ 0 h 3680"/>
                <a:gd name="connsiteX5" fmla="*/ 1096 w 4284"/>
                <a:gd name="connsiteY5" fmla="*/ 995 h 3680"/>
                <a:gd name="connsiteX6" fmla="*/ 0 w 4284"/>
                <a:gd name="connsiteY6" fmla="*/ 3582 h 3680"/>
                <a:gd name="connsiteX7" fmla="*/ 0 w 4284"/>
                <a:gd name="connsiteY7" fmla="*/ 3681 h 3680"/>
                <a:gd name="connsiteX8" fmla="*/ 1993 w 4284"/>
                <a:gd name="connsiteY8" fmla="*/ 3383 h 3680"/>
                <a:gd name="connsiteX9" fmla="*/ 4185 w 4284"/>
                <a:gd name="connsiteY9" fmla="*/ 3582 h 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84" h="3680">
                  <a:moveTo>
                    <a:pt x="4185" y="3582"/>
                  </a:moveTo>
                  <a:lnTo>
                    <a:pt x="4285" y="2786"/>
                  </a:lnTo>
                  <a:lnTo>
                    <a:pt x="3787" y="1691"/>
                  </a:lnTo>
                  <a:lnTo>
                    <a:pt x="2989" y="497"/>
                  </a:lnTo>
                  <a:lnTo>
                    <a:pt x="1993" y="0"/>
                  </a:lnTo>
                  <a:lnTo>
                    <a:pt x="1096" y="995"/>
                  </a:lnTo>
                  <a:lnTo>
                    <a:pt x="0" y="3582"/>
                  </a:lnTo>
                  <a:lnTo>
                    <a:pt x="0" y="3681"/>
                  </a:lnTo>
                  <a:lnTo>
                    <a:pt x="1993" y="3383"/>
                  </a:lnTo>
                  <a:lnTo>
                    <a:pt x="4185" y="358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6C0B977C-8C65-47D5-A415-96C150D8239B}"/>
                </a:ext>
              </a:extLst>
            </p:cNvPr>
            <p:cNvSpPr/>
            <p:nvPr/>
          </p:nvSpPr>
          <p:spPr>
            <a:xfrm>
              <a:off x="2348443" y="408928"/>
              <a:ext cx="9266" cy="14226"/>
            </a:xfrm>
            <a:custGeom>
              <a:avLst/>
              <a:gdLst>
                <a:gd name="connsiteX0" fmla="*/ 7074 w 9266"/>
                <a:gd name="connsiteY0" fmla="*/ 11640 h 14226"/>
                <a:gd name="connsiteX1" fmla="*/ 8968 w 9266"/>
                <a:gd name="connsiteY1" fmla="*/ 5571 h 14226"/>
                <a:gd name="connsiteX2" fmla="*/ 9267 w 9266"/>
                <a:gd name="connsiteY2" fmla="*/ 2487 h 14226"/>
                <a:gd name="connsiteX3" fmla="*/ 5879 w 9266"/>
                <a:gd name="connsiteY3" fmla="*/ 0 h 14226"/>
                <a:gd name="connsiteX4" fmla="*/ 2790 w 9266"/>
                <a:gd name="connsiteY4" fmla="*/ 3184 h 14226"/>
                <a:gd name="connsiteX5" fmla="*/ 0 w 9266"/>
                <a:gd name="connsiteY5" fmla="*/ 8556 h 14226"/>
                <a:gd name="connsiteX6" fmla="*/ 199 w 9266"/>
                <a:gd name="connsiteY6" fmla="*/ 8556 h 14226"/>
                <a:gd name="connsiteX7" fmla="*/ 2292 w 9266"/>
                <a:gd name="connsiteY7" fmla="*/ 10048 h 14226"/>
                <a:gd name="connsiteX8" fmla="*/ 3288 w 9266"/>
                <a:gd name="connsiteY8" fmla="*/ 12336 h 14226"/>
                <a:gd name="connsiteX9" fmla="*/ 3587 w 9266"/>
                <a:gd name="connsiteY9" fmla="*/ 14227 h 14226"/>
                <a:gd name="connsiteX10" fmla="*/ 7074 w 9266"/>
                <a:gd name="connsiteY10" fmla="*/ 13530 h 14226"/>
                <a:gd name="connsiteX11" fmla="*/ 7074 w 9266"/>
                <a:gd name="connsiteY11" fmla="*/ 11640 h 14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66" h="14226">
                  <a:moveTo>
                    <a:pt x="7074" y="11640"/>
                  </a:moveTo>
                  <a:lnTo>
                    <a:pt x="8968" y="5571"/>
                  </a:lnTo>
                  <a:lnTo>
                    <a:pt x="9267" y="2487"/>
                  </a:lnTo>
                  <a:lnTo>
                    <a:pt x="5879" y="0"/>
                  </a:lnTo>
                  <a:lnTo>
                    <a:pt x="2790" y="3184"/>
                  </a:lnTo>
                  <a:lnTo>
                    <a:pt x="0" y="8556"/>
                  </a:lnTo>
                  <a:lnTo>
                    <a:pt x="199" y="8556"/>
                  </a:lnTo>
                  <a:lnTo>
                    <a:pt x="2292" y="10048"/>
                  </a:lnTo>
                  <a:lnTo>
                    <a:pt x="3288" y="12336"/>
                  </a:lnTo>
                  <a:lnTo>
                    <a:pt x="3587" y="14227"/>
                  </a:lnTo>
                  <a:lnTo>
                    <a:pt x="7074" y="13530"/>
                  </a:lnTo>
                  <a:lnTo>
                    <a:pt x="7074" y="1164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349C8888-135B-4A52-99D1-758F7E83580B}"/>
                </a:ext>
              </a:extLst>
            </p:cNvPr>
            <p:cNvSpPr/>
            <p:nvPr/>
          </p:nvSpPr>
          <p:spPr>
            <a:xfrm>
              <a:off x="2342165" y="417186"/>
              <a:ext cx="9864" cy="6964"/>
            </a:xfrm>
            <a:custGeom>
              <a:avLst/>
              <a:gdLst>
                <a:gd name="connsiteX0" fmla="*/ 8569 w 9864"/>
                <a:gd name="connsiteY0" fmla="*/ 1791 h 6964"/>
                <a:gd name="connsiteX1" fmla="*/ 6477 w 9864"/>
                <a:gd name="connsiteY1" fmla="*/ 298 h 6964"/>
                <a:gd name="connsiteX2" fmla="*/ 6278 w 9864"/>
                <a:gd name="connsiteY2" fmla="*/ 298 h 6964"/>
                <a:gd name="connsiteX3" fmla="*/ 5181 w 9864"/>
                <a:gd name="connsiteY3" fmla="*/ 2388 h 6964"/>
                <a:gd name="connsiteX4" fmla="*/ 5879 w 9864"/>
                <a:gd name="connsiteY4" fmla="*/ 597 h 6964"/>
                <a:gd name="connsiteX5" fmla="*/ 5879 w 9864"/>
                <a:gd name="connsiteY5" fmla="*/ 199 h 6964"/>
                <a:gd name="connsiteX6" fmla="*/ 3687 w 9864"/>
                <a:gd name="connsiteY6" fmla="*/ 0 h 6964"/>
                <a:gd name="connsiteX7" fmla="*/ 1694 w 9864"/>
                <a:gd name="connsiteY7" fmla="*/ 298 h 6964"/>
                <a:gd name="connsiteX8" fmla="*/ 0 w 9864"/>
                <a:gd name="connsiteY8" fmla="*/ 3283 h 6964"/>
                <a:gd name="connsiteX9" fmla="*/ 0 w 9864"/>
                <a:gd name="connsiteY9" fmla="*/ 5372 h 6964"/>
                <a:gd name="connsiteX10" fmla="*/ 1594 w 9864"/>
                <a:gd name="connsiteY10" fmla="*/ 6566 h 6964"/>
                <a:gd name="connsiteX11" fmla="*/ 4683 w 9864"/>
                <a:gd name="connsiteY11" fmla="*/ 6964 h 6964"/>
                <a:gd name="connsiteX12" fmla="*/ 9865 w 9864"/>
                <a:gd name="connsiteY12" fmla="*/ 5969 h 6964"/>
                <a:gd name="connsiteX13" fmla="*/ 9565 w 9864"/>
                <a:gd name="connsiteY13" fmla="*/ 4079 h 6964"/>
                <a:gd name="connsiteX14" fmla="*/ 8569 w 9864"/>
                <a:gd name="connsiteY14" fmla="*/ 1791 h 6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864" h="6964">
                  <a:moveTo>
                    <a:pt x="8569" y="1791"/>
                  </a:moveTo>
                  <a:lnTo>
                    <a:pt x="6477" y="298"/>
                  </a:lnTo>
                  <a:lnTo>
                    <a:pt x="6278" y="298"/>
                  </a:lnTo>
                  <a:lnTo>
                    <a:pt x="5181" y="2388"/>
                  </a:lnTo>
                  <a:lnTo>
                    <a:pt x="5879" y="597"/>
                  </a:lnTo>
                  <a:lnTo>
                    <a:pt x="5879" y="199"/>
                  </a:lnTo>
                  <a:lnTo>
                    <a:pt x="3687" y="0"/>
                  </a:lnTo>
                  <a:lnTo>
                    <a:pt x="1694" y="298"/>
                  </a:lnTo>
                  <a:lnTo>
                    <a:pt x="0" y="3283"/>
                  </a:lnTo>
                  <a:lnTo>
                    <a:pt x="0" y="5372"/>
                  </a:lnTo>
                  <a:lnTo>
                    <a:pt x="1594" y="6566"/>
                  </a:lnTo>
                  <a:lnTo>
                    <a:pt x="4683" y="6964"/>
                  </a:lnTo>
                  <a:lnTo>
                    <a:pt x="9865" y="5969"/>
                  </a:lnTo>
                  <a:lnTo>
                    <a:pt x="9565" y="4079"/>
                  </a:lnTo>
                  <a:lnTo>
                    <a:pt x="8569" y="179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CE4C74DC-CF89-4FF6-B85F-55A4406435BA}"/>
                </a:ext>
              </a:extLst>
            </p:cNvPr>
            <p:cNvSpPr/>
            <p:nvPr/>
          </p:nvSpPr>
          <p:spPr>
            <a:xfrm>
              <a:off x="3070862" y="1023263"/>
              <a:ext cx="21622" cy="12236"/>
            </a:xfrm>
            <a:custGeom>
              <a:avLst/>
              <a:gdLst>
                <a:gd name="connsiteX0" fmla="*/ 2092 w 21622"/>
                <a:gd name="connsiteY0" fmla="*/ 7163 h 12236"/>
                <a:gd name="connsiteX1" fmla="*/ 1694 w 21622"/>
                <a:gd name="connsiteY1" fmla="*/ 7064 h 12236"/>
                <a:gd name="connsiteX2" fmla="*/ 0 w 21622"/>
                <a:gd name="connsiteY2" fmla="*/ 6765 h 12236"/>
                <a:gd name="connsiteX3" fmla="*/ 4384 w 21622"/>
                <a:gd name="connsiteY3" fmla="*/ 10844 h 12236"/>
                <a:gd name="connsiteX4" fmla="*/ 11260 w 21622"/>
                <a:gd name="connsiteY4" fmla="*/ 12237 h 12236"/>
                <a:gd name="connsiteX5" fmla="*/ 18036 w 21622"/>
                <a:gd name="connsiteY5" fmla="*/ 10347 h 12236"/>
                <a:gd name="connsiteX6" fmla="*/ 21623 w 21622"/>
                <a:gd name="connsiteY6" fmla="*/ 4477 h 12236"/>
                <a:gd name="connsiteX7" fmla="*/ 21323 w 21622"/>
                <a:gd name="connsiteY7" fmla="*/ 1691 h 12236"/>
                <a:gd name="connsiteX8" fmla="*/ 19431 w 21622"/>
                <a:gd name="connsiteY8" fmla="*/ 1094 h 12236"/>
                <a:gd name="connsiteX9" fmla="*/ 16940 w 21622"/>
                <a:gd name="connsiteY9" fmla="*/ 895 h 12236"/>
                <a:gd name="connsiteX10" fmla="*/ 14747 w 21622"/>
                <a:gd name="connsiteY10" fmla="*/ 0 h 12236"/>
                <a:gd name="connsiteX11" fmla="*/ 12356 w 21622"/>
                <a:gd name="connsiteY11" fmla="*/ 895 h 12236"/>
                <a:gd name="connsiteX12" fmla="*/ 7872 w 21622"/>
                <a:gd name="connsiteY12" fmla="*/ 1592 h 12236"/>
                <a:gd name="connsiteX13" fmla="*/ 4185 w 21622"/>
                <a:gd name="connsiteY13" fmla="*/ 3184 h 12236"/>
                <a:gd name="connsiteX14" fmla="*/ 4285 w 21622"/>
                <a:gd name="connsiteY14" fmla="*/ 6765 h 12236"/>
                <a:gd name="connsiteX15" fmla="*/ 2591 w 21622"/>
                <a:gd name="connsiteY15" fmla="*/ 7860 h 12236"/>
                <a:gd name="connsiteX16" fmla="*/ 2092 w 21622"/>
                <a:gd name="connsiteY16" fmla="*/ 7163 h 12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622" h="12236">
                  <a:moveTo>
                    <a:pt x="2092" y="7163"/>
                  </a:moveTo>
                  <a:lnTo>
                    <a:pt x="1694" y="7064"/>
                  </a:lnTo>
                  <a:lnTo>
                    <a:pt x="0" y="6765"/>
                  </a:lnTo>
                  <a:lnTo>
                    <a:pt x="4384" y="10844"/>
                  </a:lnTo>
                  <a:lnTo>
                    <a:pt x="11260" y="12237"/>
                  </a:lnTo>
                  <a:lnTo>
                    <a:pt x="18036" y="10347"/>
                  </a:lnTo>
                  <a:lnTo>
                    <a:pt x="21623" y="4477"/>
                  </a:lnTo>
                  <a:lnTo>
                    <a:pt x="21323" y="1691"/>
                  </a:lnTo>
                  <a:lnTo>
                    <a:pt x="19431" y="1094"/>
                  </a:lnTo>
                  <a:lnTo>
                    <a:pt x="16940" y="895"/>
                  </a:lnTo>
                  <a:lnTo>
                    <a:pt x="14747" y="0"/>
                  </a:lnTo>
                  <a:lnTo>
                    <a:pt x="12356" y="895"/>
                  </a:lnTo>
                  <a:lnTo>
                    <a:pt x="7872" y="1592"/>
                  </a:lnTo>
                  <a:lnTo>
                    <a:pt x="4185" y="3184"/>
                  </a:lnTo>
                  <a:lnTo>
                    <a:pt x="4285" y="6765"/>
                  </a:lnTo>
                  <a:lnTo>
                    <a:pt x="2591" y="7860"/>
                  </a:lnTo>
                  <a:lnTo>
                    <a:pt x="2092" y="716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DD17F089-8B85-470D-BCAE-EBCEDC1724ED}"/>
                </a:ext>
              </a:extLst>
            </p:cNvPr>
            <p:cNvSpPr/>
            <p:nvPr/>
          </p:nvSpPr>
          <p:spPr>
            <a:xfrm>
              <a:off x="3010079" y="1020080"/>
              <a:ext cx="207658" cy="76406"/>
            </a:xfrm>
            <a:custGeom>
              <a:avLst/>
              <a:gdLst>
                <a:gd name="connsiteX0" fmla="*/ 50719 w 207658"/>
                <a:gd name="connsiteY0" fmla="*/ 7959 h 76406"/>
                <a:gd name="connsiteX1" fmla="*/ 52114 w 207658"/>
                <a:gd name="connsiteY1" fmla="*/ 4377 h 76406"/>
                <a:gd name="connsiteX2" fmla="*/ 52612 w 207658"/>
                <a:gd name="connsiteY2" fmla="*/ 2189 h 76406"/>
                <a:gd name="connsiteX3" fmla="*/ 52712 w 207658"/>
                <a:gd name="connsiteY3" fmla="*/ 796 h 76406"/>
                <a:gd name="connsiteX4" fmla="*/ 52015 w 207658"/>
                <a:gd name="connsiteY4" fmla="*/ 99 h 76406"/>
                <a:gd name="connsiteX5" fmla="*/ 49922 w 207658"/>
                <a:gd name="connsiteY5" fmla="*/ 0 h 76406"/>
                <a:gd name="connsiteX6" fmla="*/ 48427 w 207658"/>
                <a:gd name="connsiteY6" fmla="*/ 497 h 76406"/>
                <a:gd name="connsiteX7" fmla="*/ 46534 w 207658"/>
                <a:gd name="connsiteY7" fmla="*/ 2686 h 76406"/>
                <a:gd name="connsiteX8" fmla="*/ 45537 w 207658"/>
                <a:gd name="connsiteY8" fmla="*/ 3184 h 76406"/>
                <a:gd name="connsiteX9" fmla="*/ 40157 w 207658"/>
                <a:gd name="connsiteY9" fmla="*/ 3582 h 76406"/>
                <a:gd name="connsiteX10" fmla="*/ 36968 w 207658"/>
                <a:gd name="connsiteY10" fmla="*/ 4278 h 76406"/>
                <a:gd name="connsiteX11" fmla="*/ 34776 w 207658"/>
                <a:gd name="connsiteY11" fmla="*/ 5372 h 76406"/>
                <a:gd name="connsiteX12" fmla="*/ 34278 w 207658"/>
                <a:gd name="connsiteY12" fmla="*/ 6467 h 76406"/>
                <a:gd name="connsiteX13" fmla="*/ 33879 w 207658"/>
                <a:gd name="connsiteY13" fmla="*/ 8058 h 76406"/>
                <a:gd name="connsiteX14" fmla="*/ 33182 w 207658"/>
                <a:gd name="connsiteY14" fmla="*/ 9352 h 76406"/>
                <a:gd name="connsiteX15" fmla="*/ 31687 w 207658"/>
                <a:gd name="connsiteY15" fmla="*/ 9949 h 76406"/>
                <a:gd name="connsiteX16" fmla="*/ 29196 w 207658"/>
                <a:gd name="connsiteY16" fmla="*/ 9750 h 76406"/>
                <a:gd name="connsiteX17" fmla="*/ 28100 w 207658"/>
                <a:gd name="connsiteY17" fmla="*/ 9153 h 76406"/>
                <a:gd name="connsiteX18" fmla="*/ 27801 w 207658"/>
                <a:gd name="connsiteY18" fmla="*/ 8158 h 76406"/>
                <a:gd name="connsiteX19" fmla="*/ 27104 w 207658"/>
                <a:gd name="connsiteY19" fmla="*/ 6865 h 76406"/>
                <a:gd name="connsiteX20" fmla="*/ 25310 w 207658"/>
                <a:gd name="connsiteY20" fmla="*/ 5870 h 76406"/>
                <a:gd name="connsiteX21" fmla="*/ 23217 w 207658"/>
                <a:gd name="connsiteY21" fmla="*/ 5372 h 76406"/>
                <a:gd name="connsiteX22" fmla="*/ 21623 w 207658"/>
                <a:gd name="connsiteY22" fmla="*/ 5372 h 76406"/>
                <a:gd name="connsiteX23" fmla="*/ 20428 w 207658"/>
                <a:gd name="connsiteY23" fmla="*/ 6268 h 76406"/>
                <a:gd name="connsiteX24" fmla="*/ 19730 w 207658"/>
                <a:gd name="connsiteY24" fmla="*/ 7362 h 76406"/>
                <a:gd name="connsiteX25" fmla="*/ 19231 w 207658"/>
                <a:gd name="connsiteY25" fmla="*/ 8655 h 76406"/>
                <a:gd name="connsiteX26" fmla="*/ 18235 w 207658"/>
                <a:gd name="connsiteY26" fmla="*/ 9949 h 76406"/>
                <a:gd name="connsiteX27" fmla="*/ 17338 w 207658"/>
                <a:gd name="connsiteY27" fmla="*/ 10745 h 76406"/>
                <a:gd name="connsiteX28" fmla="*/ 15943 w 207658"/>
                <a:gd name="connsiteY28" fmla="*/ 11739 h 76406"/>
                <a:gd name="connsiteX29" fmla="*/ 14548 w 207658"/>
                <a:gd name="connsiteY29" fmla="*/ 11739 h 76406"/>
                <a:gd name="connsiteX30" fmla="*/ 13950 w 207658"/>
                <a:gd name="connsiteY30" fmla="*/ 9352 h 76406"/>
                <a:gd name="connsiteX31" fmla="*/ 13651 w 207658"/>
                <a:gd name="connsiteY31" fmla="*/ 7263 h 76406"/>
                <a:gd name="connsiteX32" fmla="*/ 12954 w 207658"/>
                <a:gd name="connsiteY32" fmla="*/ 6268 h 76406"/>
                <a:gd name="connsiteX33" fmla="*/ 11957 w 207658"/>
                <a:gd name="connsiteY33" fmla="*/ 5770 h 76406"/>
                <a:gd name="connsiteX34" fmla="*/ 10861 w 207658"/>
                <a:gd name="connsiteY34" fmla="*/ 4875 h 76406"/>
                <a:gd name="connsiteX35" fmla="*/ 7872 w 207658"/>
                <a:gd name="connsiteY35" fmla="*/ 3582 h 76406"/>
                <a:gd name="connsiteX36" fmla="*/ 4584 w 207658"/>
                <a:gd name="connsiteY36" fmla="*/ 5074 h 76406"/>
                <a:gd name="connsiteX37" fmla="*/ 1694 w 207658"/>
                <a:gd name="connsiteY37" fmla="*/ 8058 h 76406"/>
                <a:gd name="connsiteX38" fmla="*/ 0 w 207658"/>
                <a:gd name="connsiteY38" fmla="*/ 11043 h 76406"/>
                <a:gd name="connsiteX39" fmla="*/ 199 w 207658"/>
                <a:gd name="connsiteY39" fmla="*/ 17908 h 76406"/>
                <a:gd name="connsiteX40" fmla="*/ 5381 w 207658"/>
                <a:gd name="connsiteY40" fmla="*/ 19997 h 76406"/>
                <a:gd name="connsiteX41" fmla="*/ 12456 w 207658"/>
                <a:gd name="connsiteY41" fmla="*/ 20096 h 76406"/>
                <a:gd name="connsiteX42" fmla="*/ 18235 w 207658"/>
                <a:gd name="connsiteY42" fmla="*/ 20892 h 76406"/>
                <a:gd name="connsiteX43" fmla="*/ 20926 w 207658"/>
                <a:gd name="connsiteY43" fmla="*/ 22783 h 76406"/>
                <a:gd name="connsiteX44" fmla="*/ 21722 w 207658"/>
                <a:gd name="connsiteY44" fmla="*/ 23081 h 76406"/>
                <a:gd name="connsiteX45" fmla="*/ 23018 w 207658"/>
                <a:gd name="connsiteY45" fmla="*/ 23181 h 76406"/>
                <a:gd name="connsiteX46" fmla="*/ 24413 w 207658"/>
                <a:gd name="connsiteY46" fmla="*/ 23479 h 76406"/>
                <a:gd name="connsiteX47" fmla="*/ 26107 w 207658"/>
                <a:gd name="connsiteY47" fmla="*/ 24971 h 76406"/>
                <a:gd name="connsiteX48" fmla="*/ 27302 w 207658"/>
                <a:gd name="connsiteY48" fmla="*/ 25369 h 76406"/>
                <a:gd name="connsiteX49" fmla="*/ 32982 w 207658"/>
                <a:gd name="connsiteY49" fmla="*/ 25469 h 76406"/>
                <a:gd name="connsiteX50" fmla="*/ 35075 w 207658"/>
                <a:gd name="connsiteY50" fmla="*/ 26762 h 76406"/>
                <a:gd name="connsiteX51" fmla="*/ 34776 w 207658"/>
                <a:gd name="connsiteY51" fmla="*/ 29747 h 76406"/>
                <a:gd name="connsiteX52" fmla="*/ 38562 w 207658"/>
                <a:gd name="connsiteY52" fmla="*/ 30145 h 76406"/>
                <a:gd name="connsiteX53" fmla="*/ 42349 w 207658"/>
                <a:gd name="connsiteY53" fmla="*/ 31438 h 76406"/>
                <a:gd name="connsiteX54" fmla="*/ 45837 w 207658"/>
                <a:gd name="connsiteY54" fmla="*/ 31836 h 76406"/>
                <a:gd name="connsiteX55" fmla="*/ 48626 w 207658"/>
                <a:gd name="connsiteY55" fmla="*/ 29747 h 76406"/>
                <a:gd name="connsiteX56" fmla="*/ 50022 w 207658"/>
                <a:gd name="connsiteY56" fmla="*/ 31239 h 76406"/>
                <a:gd name="connsiteX57" fmla="*/ 51317 w 207658"/>
                <a:gd name="connsiteY57" fmla="*/ 31537 h 76406"/>
                <a:gd name="connsiteX58" fmla="*/ 52812 w 207658"/>
                <a:gd name="connsiteY58" fmla="*/ 31637 h 76406"/>
                <a:gd name="connsiteX59" fmla="*/ 54705 w 207658"/>
                <a:gd name="connsiteY59" fmla="*/ 31935 h 76406"/>
                <a:gd name="connsiteX60" fmla="*/ 55303 w 207658"/>
                <a:gd name="connsiteY60" fmla="*/ 32234 h 76406"/>
                <a:gd name="connsiteX61" fmla="*/ 57295 w 207658"/>
                <a:gd name="connsiteY61" fmla="*/ 33726 h 76406"/>
                <a:gd name="connsiteX62" fmla="*/ 58392 w 207658"/>
                <a:gd name="connsiteY62" fmla="*/ 33925 h 76406"/>
                <a:gd name="connsiteX63" fmla="*/ 59786 w 207658"/>
                <a:gd name="connsiteY63" fmla="*/ 32333 h 76406"/>
                <a:gd name="connsiteX64" fmla="*/ 60783 w 207658"/>
                <a:gd name="connsiteY64" fmla="*/ 31935 h 76406"/>
                <a:gd name="connsiteX65" fmla="*/ 62975 w 207658"/>
                <a:gd name="connsiteY65" fmla="*/ 33627 h 76406"/>
                <a:gd name="connsiteX66" fmla="*/ 64370 w 207658"/>
                <a:gd name="connsiteY66" fmla="*/ 34323 h 76406"/>
                <a:gd name="connsiteX67" fmla="*/ 65068 w 207658"/>
                <a:gd name="connsiteY67" fmla="*/ 33726 h 76406"/>
                <a:gd name="connsiteX68" fmla="*/ 65666 w 207658"/>
                <a:gd name="connsiteY68" fmla="*/ 32532 h 76406"/>
                <a:gd name="connsiteX69" fmla="*/ 67160 w 207658"/>
                <a:gd name="connsiteY69" fmla="*/ 32333 h 76406"/>
                <a:gd name="connsiteX70" fmla="*/ 68755 w 207658"/>
                <a:gd name="connsiteY70" fmla="*/ 32831 h 76406"/>
                <a:gd name="connsiteX71" fmla="*/ 69851 w 207658"/>
                <a:gd name="connsiteY71" fmla="*/ 33726 h 76406"/>
                <a:gd name="connsiteX72" fmla="*/ 72342 w 207658"/>
                <a:gd name="connsiteY72" fmla="*/ 36114 h 76406"/>
                <a:gd name="connsiteX73" fmla="*/ 75132 w 207658"/>
                <a:gd name="connsiteY73" fmla="*/ 37407 h 76406"/>
                <a:gd name="connsiteX74" fmla="*/ 87986 w 207658"/>
                <a:gd name="connsiteY74" fmla="*/ 39994 h 76406"/>
                <a:gd name="connsiteX75" fmla="*/ 90975 w 207658"/>
                <a:gd name="connsiteY75" fmla="*/ 41486 h 76406"/>
                <a:gd name="connsiteX76" fmla="*/ 95659 w 207658"/>
                <a:gd name="connsiteY76" fmla="*/ 46162 h 76406"/>
                <a:gd name="connsiteX77" fmla="*/ 98050 w 207658"/>
                <a:gd name="connsiteY77" fmla="*/ 47257 h 76406"/>
                <a:gd name="connsiteX78" fmla="*/ 112399 w 207658"/>
                <a:gd name="connsiteY78" fmla="*/ 48948 h 76406"/>
                <a:gd name="connsiteX79" fmla="*/ 113096 w 207658"/>
                <a:gd name="connsiteY79" fmla="*/ 49843 h 76406"/>
                <a:gd name="connsiteX80" fmla="*/ 113594 w 207658"/>
                <a:gd name="connsiteY80" fmla="*/ 51137 h 76406"/>
                <a:gd name="connsiteX81" fmla="*/ 114292 w 207658"/>
                <a:gd name="connsiteY81" fmla="*/ 52430 h 76406"/>
                <a:gd name="connsiteX82" fmla="*/ 115687 w 207658"/>
                <a:gd name="connsiteY82" fmla="*/ 53325 h 76406"/>
                <a:gd name="connsiteX83" fmla="*/ 117082 w 207658"/>
                <a:gd name="connsiteY83" fmla="*/ 52828 h 76406"/>
                <a:gd name="connsiteX84" fmla="*/ 118477 w 207658"/>
                <a:gd name="connsiteY84" fmla="*/ 51932 h 76406"/>
                <a:gd name="connsiteX85" fmla="*/ 119872 w 207658"/>
                <a:gd name="connsiteY85" fmla="*/ 51932 h 76406"/>
                <a:gd name="connsiteX86" fmla="*/ 120769 w 207658"/>
                <a:gd name="connsiteY86" fmla="*/ 52828 h 76406"/>
                <a:gd name="connsiteX87" fmla="*/ 122363 w 207658"/>
                <a:gd name="connsiteY87" fmla="*/ 56111 h 76406"/>
                <a:gd name="connsiteX88" fmla="*/ 123359 w 207658"/>
                <a:gd name="connsiteY88" fmla="*/ 57404 h 76406"/>
                <a:gd name="connsiteX89" fmla="*/ 129039 w 207658"/>
                <a:gd name="connsiteY89" fmla="*/ 59692 h 76406"/>
                <a:gd name="connsiteX90" fmla="*/ 129737 w 207658"/>
                <a:gd name="connsiteY90" fmla="*/ 60190 h 76406"/>
                <a:gd name="connsiteX91" fmla="*/ 132128 w 207658"/>
                <a:gd name="connsiteY91" fmla="*/ 62379 h 76406"/>
                <a:gd name="connsiteX92" fmla="*/ 133324 w 207658"/>
                <a:gd name="connsiteY92" fmla="*/ 62876 h 76406"/>
                <a:gd name="connsiteX93" fmla="*/ 140299 w 207658"/>
                <a:gd name="connsiteY93" fmla="*/ 62777 h 76406"/>
                <a:gd name="connsiteX94" fmla="*/ 142890 w 207658"/>
                <a:gd name="connsiteY94" fmla="*/ 63970 h 76406"/>
                <a:gd name="connsiteX95" fmla="*/ 142492 w 207658"/>
                <a:gd name="connsiteY95" fmla="*/ 67353 h 76406"/>
                <a:gd name="connsiteX96" fmla="*/ 143986 w 207658"/>
                <a:gd name="connsiteY96" fmla="*/ 67253 h 76406"/>
                <a:gd name="connsiteX97" fmla="*/ 145281 w 207658"/>
                <a:gd name="connsiteY97" fmla="*/ 67850 h 76406"/>
                <a:gd name="connsiteX98" fmla="*/ 146178 w 207658"/>
                <a:gd name="connsiteY98" fmla="*/ 69044 h 76406"/>
                <a:gd name="connsiteX99" fmla="*/ 146776 w 207658"/>
                <a:gd name="connsiteY99" fmla="*/ 70835 h 76406"/>
                <a:gd name="connsiteX100" fmla="*/ 147972 w 207658"/>
                <a:gd name="connsiteY100" fmla="*/ 70039 h 76406"/>
                <a:gd name="connsiteX101" fmla="*/ 149168 w 207658"/>
                <a:gd name="connsiteY101" fmla="*/ 69542 h 76406"/>
                <a:gd name="connsiteX102" fmla="*/ 152057 w 207658"/>
                <a:gd name="connsiteY102" fmla="*/ 69542 h 76406"/>
                <a:gd name="connsiteX103" fmla="*/ 153452 w 207658"/>
                <a:gd name="connsiteY103" fmla="*/ 69343 h 76406"/>
                <a:gd name="connsiteX104" fmla="*/ 154150 w 207658"/>
                <a:gd name="connsiteY104" fmla="*/ 68646 h 76406"/>
                <a:gd name="connsiteX105" fmla="*/ 154548 w 207658"/>
                <a:gd name="connsiteY105" fmla="*/ 67552 h 76406"/>
                <a:gd name="connsiteX106" fmla="*/ 156143 w 207658"/>
                <a:gd name="connsiteY106" fmla="*/ 65164 h 76406"/>
                <a:gd name="connsiteX107" fmla="*/ 156741 w 207658"/>
                <a:gd name="connsiteY107" fmla="*/ 64070 h 76406"/>
                <a:gd name="connsiteX108" fmla="*/ 157338 w 207658"/>
                <a:gd name="connsiteY108" fmla="*/ 63274 h 76406"/>
                <a:gd name="connsiteX109" fmla="*/ 163317 w 207658"/>
                <a:gd name="connsiteY109" fmla="*/ 61881 h 76406"/>
                <a:gd name="connsiteX110" fmla="*/ 167502 w 207658"/>
                <a:gd name="connsiteY110" fmla="*/ 58101 h 76406"/>
                <a:gd name="connsiteX111" fmla="*/ 171288 w 207658"/>
                <a:gd name="connsiteY111" fmla="*/ 53723 h 76406"/>
                <a:gd name="connsiteX112" fmla="*/ 175474 w 207658"/>
                <a:gd name="connsiteY112" fmla="*/ 50142 h 76406"/>
                <a:gd name="connsiteX113" fmla="*/ 181153 w 207658"/>
                <a:gd name="connsiteY113" fmla="*/ 48550 h 76406"/>
                <a:gd name="connsiteX114" fmla="*/ 182050 w 207658"/>
                <a:gd name="connsiteY114" fmla="*/ 48152 h 76406"/>
                <a:gd name="connsiteX115" fmla="*/ 183246 w 207658"/>
                <a:gd name="connsiteY115" fmla="*/ 47455 h 76406"/>
                <a:gd name="connsiteX116" fmla="*/ 184541 w 207658"/>
                <a:gd name="connsiteY116" fmla="*/ 46958 h 76406"/>
                <a:gd name="connsiteX117" fmla="*/ 185836 w 207658"/>
                <a:gd name="connsiteY117" fmla="*/ 47555 h 76406"/>
                <a:gd name="connsiteX118" fmla="*/ 186733 w 207658"/>
                <a:gd name="connsiteY118" fmla="*/ 48948 h 76406"/>
                <a:gd name="connsiteX119" fmla="*/ 186733 w 207658"/>
                <a:gd name="connsiteY119" fmla="*/ 50341 h 76406"/>
                <a:gd name="connsiteX120" fmla="*/ 185936 w 207658"/>
                <a:gd name="connsiteY120" fmla="*/ 51534 h 76406"/>
                <a:gd name="connsiteX121" fmla="*/ 182150 w 207658"/>
                <a:gd name="connsiteY121" fmla="*/ 52927 h 76406"/>
                <a:gd name="connsiteX122" fmla="*/ 179160 w 207658"/>
                <a:gd name="connsiteY122" fmla="*/ 57504 h 76406"/>
                <a:gd name="connsiteX123" fmla="*/ 174776 w 207658"/>
                <a:gd name="connsiteY123" fmla="*/ 59096 h 76406"/>
                <a:gd name="connsiteX124" fmla="*/ 172983 w 207658"/>
                <a:gd name="connsiteY124" fmla="*/ 60787 h 76406"/>
                <a:gd name="connsiteX125" fmla="*/ 169794 w 207658"/>
                <a:gd name="connsiteY125" fmla="*/ 64667 h 76406"/>
                <a:gd name="connsiteX126" fmla="*/ 168100 w 207658"/>
                <a:gd name="connsiteY126" fmla="*/ 66159 h 76406"/>
                <a:gd name="connsiteX127" fmla="*/ 167004 w 207658"/>
                <a:gd name="connsiteY127" fmla="*/ 66259 h 76406"/>
                <a:gd name="connsiteX128" fmla="*/ 166605 w 207658"/>
                <a:gd name="connsiteY128" fmla="*/ 65164 h 76406"/>
                <a:gd name="connsiteX129" fmla="*/ 167701 w 207658"/>
                <a:gd name="connsiteY129" fmla="*/ 62876 h 76406"/>
                <a:gd name="connsiteX130" fmla="*/ 164413 w 207658"/>
                <a:gd name="connsiteY130" fmla="*/ 63871 h 76406"/>
                <a:gd name="connsiteX131" fmla="*/ 161025 w 207658"/>
                <a:gd name="connsiteY131" fmla="*/ 65562 h 76406"/>
                <a:gd name="connsiteX132" fmla="*/ 158036 w 207658"/>
                <a:gd name="connsiteY132" fmla="*/ 67950 h 76406"/>
                <a:gd name="connsiteX133" fmla="*/ 156342 w 207658"/>
                <a:gd name="connsiteY133" fmla="*/ 70835 h 76406"/>
                <a:gd name="connsiteX134" fmla="*/ 159132 w 207658"/>
                <a:gd name="connsiteY134" fmla="*/ 71034 h 76406"/>
                <a:gd name="connsiteX135" fmla="*/ 162021 w 207658"/>
                <a:gd name="connsiteY135" fmla="*/ 69840 h 76406"/>
                <a:gd name="connsiteX136" fmla="*/ 164214 w 207658"/>
                <a:gd name="connsiteY136" fmla="*/ 69243 h 76406"/>
                <a:gd name="connsiteX137" fmla="*/ 166206 w 207658"/>
                <a:gd name="connsiteY137" fmla="*/ 74019 h 76406"/>
                <a:gd name="connsiteX138" fmla="*/ 169096 w 207658"/>
                <a:gd name="connsiteY138" fmla="*/ 75710 h 76406"/>
                <a:gd name="connsiteX139" fmla="*/ 172584 w 207658"/>
                <a:gd name="connsiteY139" fmla="*/ 76406 h 76406"/>
                <a:gd name="connsiteX140" fmla="*/ 175474 w 207658"/>
                <a:gd name="connsiteY140" fmla="*/ 76207 h 76406"/>
                <a:gd name="connsiteX141" fmla="*/ 177965 w 207658"/>
                <a:gd name="connsiteY141" fmla="*/ 75013 h 76406"/>
                <a:gd name="connsiteX142" fmla="*/ 180157 w 207658"/>
                <a:gd name="connsiteY142" fmla="*/ 73024 h 76406"/>
                <a:gd name="connsiteX143" fmla="*/ 186235 w 207658"/>
                <a:gd name="connsiteY143" fmla="*/ 64070 h 76406"/>
                <a:gd name="connsiteX144" fmla="*/ 187630 w 207658"/>
                <a:gd name="connsiteY144" fmla="*/ 62876 h 76406"/>
                <a:gd name="connsiteX145" fmla="*/ 188925 w 207658"/>
                <a:gd name="connsiteY145" fmla="*/ 62478 h 76406"/>
                <a:gd name="connsiteX146" fmla="*/ 190420 w 207658"/>
                <a:gd name="connsiteY146" fmla="*/ 62478 h 76406"/>
                <a:gd name="connsiteX147" fmla="*/ 191117 w 207658"/>
                <a:gd name="connsiteY147" fmla="*/ 62080 h 76406"/>
                <a:gd name="connsiteX148" fmla="*/ 190121 w 207658"/>
                <a:gd name="connsiteY148" fmla="*/ 60687 h 76406"/>
                <a:gd name="connsiteX149" fmla="*/ 192114 w 207658"/>
                <a:gd name="connsiteY149" fmla="*/ 56807 h 76406"/>
                <a:gd name="connsiteX150" fmla="*/ 199787 w 207658"/>
                <a:gd name="connsiteY150" fmla="*/ 47555 h 76406"/>
                <a:gd name="connsiteX151" fmla="*/ 197993 w 207658"/>
                <a:gd name="connsiteY151" fmla="*/ 46461 h 76406"/>
                <a:gd name="connsiteX152" fmla="*/ 203374 w 207658"/>
                <a:gd name="connsiteY152" fmla="*/ 41586 h 76406"/>
                <a:gd name="connsiteX153" fmla="*/ 204570 w 207658"/>
                <a:gd name="connsiteY153" fmla="*/ 40889 h 76406"/>
                <a:gd name="connsiteX154" fmla="*/ 205566 w 207658"/>
                <a:gd name="connsiteY154" fmla="*/ 39695 h 76406"/>
                <a:gd name="connsiteX155" fmla="*/ 206662 w 207658"/>
                <a:gd name="connsiteY155" fmla="*/ 37109 h 76406"/>
                <a:gd name="connsiteX156" fmla="*/ 207559 w 207658"/>
                <a:gd name="connsiteY156" fmla="*/ 34025 h 76406"/>
                <a:gd name="connsiteX157" fmla="*/ 207659 w 207658"/>
                <a:gd name="connsiteY157" fmla="*/ 31935 h 76406"/>
                <a:gd name="connsiteX158" fmla="*/ 205367 w 207658"/>
                <a:gd name="connsiteY158" fmla="*/ 31040 h 76406"/>
                <a:gd name="connsiteX159" fmla="*/ 191915 w 207658"/>
                <a:gd name="connsiteY159" fmla="*/ 31935 h 76406"/>
                <a:gd name="connsiteX160" fmla="*/ 193908 w 207658"/>
                <a:gd name="connsiteY160" fmla="*/ 29050 h 76406"/>
                <a:gd name="connsiteX161" fmla="*/ 196498 w 207658"/>
                <a:gd name="connsiteY161" fmla="*/ 25966 h 76406"/>
                <a:gd name="connsiteX162" fmla="*/ 198491 w 207658"/>
                <a:gd name="connsiteY162" fmla="*/ 22285 h 76406"/>
                <a:gd name="connsiteX163" fmla="*/ 198890 w 207658"/>
                <a:gd name="connsiteY163" fmla="*/ 17609 h 76406"/>
                <a:gd name="connsiteX164" fmla="*/ 197794 w 207658"/>
                <a:gd name="connsiteY164" fmla="*/ 14923 h 76406"/>
                <a:gd name="connsiteX165" fmla="*/ 196000 w 207658"/>
                <a:gd name="connsiteY165" fmla="*/ 14326 h 76406"/>
                <a:gd name="connsiteX166" fmla="*/ 194007 w 207658"/>
                <a:gd name="connsiteY166" fmla="*/ 15321 h 76406"/>
                <a:gd name="connsiteX167" fmla="*/ 186634 w 207658"/>
                <a:gd name="connsiteY167" fmla="*/ 24076 h 76406"/>
                <a:gd name="connsiteX168" fmla="*/ 185239 w 207658"/>
                <a:gd name="connsiteY168" fmla="*/ 27359 h 76406"/>
                <a:gd name="connsiteX169" fmla="*/ 182349 w 207658"/>
                <a:gd name="connsiteY169" fmla="*/ 32333 h 76406"/>
                <a:gd name="connsiteX170" fmla="*/ 181552 w 207658"/>
                <a:gd name="connsiteY170" fmla="*/ 35318 h 76406"/>
                <a:gd name="connsiteX171" fmla="*/ 181751 w 207658"/>
                <a:gd name="connsiteY171" fmla="*/ 38601 h 76406"/>
                <a:gd name="connsiteX172" fmla="*/ 182150 w 207658"/>
                <a:gd name="connsiteY172" fmla="*/ 40889 h 76406"/>
                <a:gd name="connsiteX173" fmla="*/ 181850 w 207658"/>
                <a:gd name="connsiteY173" fmla="*/ 41785 h 76406"/>
                <a:gd name="connsiteX174" fmla="*/ 179758 w 207658"/>
                <a:gd name="connsiteY174" fmla="*/ 40889 h 76406"/>
                <a:gd name="connsiteX175" fmla="*/ 178164 w 207658"/>
                <a:gd name="connsiteY175" fmla="*/ 38502 h 76406"/>
                <a:gd name="connsiteX176" fmla="*/ 176968 w 207658"/>
                <a:gd name="connsiteY176" fmla="*/ 37109 h 76406"/>
                <a:gd name="connsiteX177" fmla="*/ 176370 w 207658"/>
                <a:gd name="connsiteY177" fmla="*/ 37109 h 76406"/>
                <a:gd name="connsiteX178" fmla="*/ 174876 w 207658"/>
                <a:gd name="connsiteY178" fmla="*/ 33328 h 76406"/>
                <a:gd name="connsiteX179" fmla="*/ 174577 w 207658"/>
                <a:gd name="connsiteY179" fmla="*/ 31438 h 76406"/>
                <a:gd name="connsiteX180" fmla="*/ 175374 w 207658"/>
                <a:gd name="connsiteY180" fmla="*/ 28752 h 76406"/>
                <a:gd name="connsiteX181" fmla="*/ 176968 w 207658"/>
                <a:gd name="connsiteY181" fmla="*/ 25469 h 76406"/>
                <a:gd name="connsiteX182" fmla="*/ 178263 w 207658"/>
                <a:gd name="connsiteY182" fmla="*/ 21987 h 76406"/>
                <a:gd name="connsiteX183" fmla="*/ 178064 w 207658"/>
                <a:gd name="connsiteY183" fmla="*/ 18803 h 76406"/>
                <a:gd name="connsiteX184" fmla="*/ 175573 w 207658"/>
                <a:gd name="connsiteY184" fmla="*/ 16913 h 76406"/>
                <a:gd name="connsiteX185" fmla="*/ 168299 w 207658"/>
                <a:gd name="connsiteY185" fmla="*/ 16415 h 76406"/>
                <a:gd name="connsiteX186" fmla="*/ 166804 w 207658"/>
                <a:gd name="connsiteY186" fmla="*/ 14824 h 76406"/>
                <a:gd name="connsiteX187" fmla="*/ 167502 w 207658"/>
                <a:gd name="connsiteY187" fmla="*/ 11739 h 76406"/>
                <a:gd name="connsiteX188" fmla="*/ 168598 w 207658"/>
                <a:gd name="connsiteY188" fmla="*/ 9451 h 76406"/>
                <a:gd name="connsiteX189" fmla="*/ 168797 w 207658"/>
                <a:gd name="connsiteY189" fmla="*/ 7263 h 76406"/>
                <a:gd name="connsiteX190" fmla="*/ 166804 w 207658"/>
                <a:gd name="connsiteY190" fmla="*/ 4377 h 76406"/>
                <a:gd name="connsiteX191" fmla="*/ 161324 w 207658"/>
                <a:gd name="connsiteY191" fmla="*/ 1492 h 76406"/>
                <a:gd name="connsiteX192" fmla="*/ 155246 w 207658"/>
                <a:gd name="connsiteY192" fmla="*/ 2089 h 76406"/>
                <a:gd name="connsiteX193" fmla="*/ 149366 w 207658"/>
                <a:gd name="connsiteY193" fmla="*/ 4875 h 76406"/>
                <a:gd name="connsiteX194" fmla="*/ 144185 w 207658"/>
                <a:gd name="connsiteY194" fmla="*/ 8655 h 76406"/>
                <a:gd name="connsiteX195" fmla="*/ 142591 w 207658"/>
                <a:gd name="connsiteY195" fmla="*/ 10546 h 76406"/>
                <a:gd name="connsiteX196" fmla="*/ 140897 w 207658"/>
                <a:gd name="connsiteY196" fmla="*/ 13331 h 76406"/>
                <a:gd name="connsiteX197" fmla="*/ 139601 w 207658"/>
                <a:gd name="connsiteY197" fmla="*/ 16415 h 76406"/>
                <a:gd name="connsiteX198" fmla="*/ 139004 w 207658"/>
                <a:gd name="connsiteY198" fmla="*/ 19301 h 76406"/>
                <a:gd name="connsiteX199" fmla="*/ 137708 w 207658"/>
                <a:gd name="connsiteY199" fmla="*/ 22982 h 76406"/>
                <a:gd name="connsiteX200" fmla="*/ 135018 w 207658"/>
                <a:gd name="connsiteY200" fmla="*/ 24772 h 76406"/>
                <a:gd name="connsiteX201" fmla="*/ 133125 w 207658"/>
                <a:gd name="connsiteY201" fmla="*/ 24175 h 76406"/>
                <a:gd name="connsiteX202" fmla="*/ 133723 w 207658"/>
                <a:gd name="connsiteY202" fmla="*/ 20892 h 76406"/>
                <a:gd name="connsiteX203" fmla="*/ 131730 w 207658"/>
                <a:gd name="connsiteY203" fmla="*/ 18604 h 76406"/>
                <a:gd name="connsiteX204" fmla="*/ 129139 w 207658"/>
                <a:gd name="connsiteY204" fmla="*/ 15023 h 76406"/>
                <a:gd name="connsiteX205" fmla="*/ 127345 w 207658"/>
                <a:gd name="connsiteY205" fmla="*/ 11043 h 76406"/>
                <a:gd name="connsiteX206" fmla="*/ 127644 w 207658"/>
                <a:gd name="connsiteY206" fmla="*/ 7660 h 76406"/>
                <a:gd name="connsiteX207" fmla="*/ 125352 w 207658"/>
                <a:gd name="connsiteY207" fmla="*/ 8456 h 76406"/>
                <a:gd name="connsiteX208" fmla="*/ 122164 w 207658"/>
                <a:gd name="connsiteY208" fmla="*/ 10247 h 76406"/>
                <a:gd name="connsiteX209" fmla="*/ 119374 w 207658"/>
                <a:gd name="connsiteY209" fmla="*/ 10844 h 76406"/>
                <a:gd name="connsiteX210" fmla="*/ 118079 w 207658"/>
                <a:gd name="connsiteY210" fmla="*/ 8158 h 76406"/>
                <a:gd name="connsiteX211" fmla="*/ 118079 w 207658"/>
                <a:gd name="connsiteY211" fmla="*/ 3780 h 76406"/>
                <a:gd name="connsiteX212" fmla="*/ 117680 w 207658"/>
                <a:gd name="connsiteY212" fmla="*/ 1691 h 76406"/>
                <a:gd name="connsiteX213" fmla="*/ 116185 w 207658"/>
                <a:gd name="connsiteY213" fmla="*/ 1194 h 76406"/>
                <a:gd name="connsiteX214" fmla="*/ 105424 w 207658"/>
                <a:gd name="connsiteY214" fmla="*/ 4079 h 76406"/>
                <a:gd name="connsiteX215" fmla="*/ 102933 w 207658"/>
                <a:gd name="connsiteY215" fmla="*/ 4377 h 76406"/>
                <a:gd name="connsiteX216" fmla="*/ 100242 w 207658"/>
                <a:gd name="connsiteY216" fmla="*/ 5273 h 76406"/>
                <a:gd name="connsiteX217" fmla="*/ 98847 w 207658"/>
                <a:gd name="connsiteY217" fmla="*/ 7362 h 76406"/>
                <a:gd name="connsiteX218" fmla="*/ 97652 w 207658"/>
                <a:gd name="connsiteY218" fmla="*/ 9849 h 76406"/>
                <a:gd name="connsiteX219" fmla="*/ 95559 w 207658"/>
                <a:gd name="connsiteY219" fmla="*/ 12038 h 76406"/>
                <a:gd name="connsiteX220" fmla="*/ 95758 w 207658"/>
                <a:gd name="connsiteY220" fmla="*/ 9750 h 76406"/>
                <a:gd name="connsiteX221" fmla="*/ 94861 w 207658"/>
                <a:gd name="connsiteY221" fmla="*/ 8158 h 76406"/>
                <a:gd name="connsiteX222" fmla="*/ 93366 w 207658"/>
                <a:gd name="connsiteY222" fmla="*/ 7263 h 76406"/>
                <a:gd name="connsiteX223" fmla="*/ 91175 w 207658"/>
                <a:gd name="connsiteY223" fmla="*/ 7660 h 76406"/>
                <a:gd name="connsiteX224" fmla="*/ 90079 w 207658"/>
                <a:gd name="connsiteY224" fmla="*/ 8655 h 76406"/>
                <a:gd name="connsiteX225" fmla="*/ 88185 w 207658"/>
                <a:gd name="connsiteY225" fmla="*/ 11839 h 76406"/>
                <a:gd name="connsiteX226" fmla="*/ 86890 w 207658"/>
                <a:gd name="connsiteY226" fmla="*/ 13232 h 76406"/>
                <a:gd name="connsiteX227" fmla="*/ 85196 w 207658"/>
                <a:gd name="connsiteY227" fmla="*/ 13829 h 76406"/>
                <a:gd name="connsiteX228" fmla="*/ 81808 w 207658"/>
                <a:gd name="connsiteY228" fmla="*/ 14326 h 76406"/>
                <a:gd name="connsiteX229" fmla="*/ 80712 w 207658"/>
                <a:gd name="connsiteY229" fmla="*/ 15420 h 76406"/>
                <a:gd name="connsiteX230" fmla="*/ 80413 w 207658"/>
                <a:gd name="connsiteY230" fmla="*/ 17609 h 76406"/>
                <a:gd name="connsiteX231" fmla="*/ 81410 w 207658"/>
                <a:gd name="connsiteY231" fmla="*/ 18803 h 76406"/>
                <a:gd name="connsiteX232" fmla="*/ 83103 w 207658"/>
                <a:gd name="connsiteY232" fmla="*/ 19499 h 76406"/>
                <a:gd name="connsiteX233" fmla="*/ 85096 w 207658"/>
                <a:gd name="connsiteY233" fmla="*/ 19897 h 76406"/>
                <a:gd name="connsiteX234" fmla="*/ 84897 w 207658"/>
                <a:gd name="connsiteY234" fmla="*/ 20594 h 76406"/>
                <a:gd name="connsiteX235" fmla="*/ 84499 w 207658"/>
                <a:gd name="connsiteY235" fmla="*/ 22385 h 76406"/>
                <a:gd name="connsiteX236" fmla="*/ 84199 w 207658"/>
                <a:gd name="connsiteY236" fmla="*/ 23181 h 76406"/>
                <a:gd name="connsiteX237" fmla="*/ 87986 w 207658"/>
                <a:gd name="connsiteY237" fmla="*/ 22086 h 76406"/>
                <a:gd name="connsiteX238" fmla="*/ 89779 w 207658"/>
                <a:gd name="connsiteY238" fmla="*/ 22584 h 76406"/>
                <a:gd name="connsiteX239" fmla="*/ 91175 w 207658"/>
                <a:gd name="connsiteY239" fmla="*/ 24374 h 76406"/>
                <a:gd name="connsiteX240" fmla="*/ 90975 w 207658"/>
                <a:gd name="connsiteY240" fmla="*/ 27558 h 76406"/>
                <a:gd name="connsiteX241" fmla="*/ 89082 w 207658"/>
                <a:gd name="connsiteY241" fmla="*/ 31040 h 76406"/>
                <a:gd name="connsiteX242" fmla="*/ 86990 w 207658"/>
                <a:gd name="connsiteY242" fmla="*/ 33229 h 76406"/>
                <a:gd name="connsiteX243" fmla="*/ 85993 w 207658"/>
                <a:gd name="connsiteY243" fmla="*/ 32532 h 76406"/>
                <a:gd name="connsiteX244" fmla="*/ 85694 w 207658"/>
                <a:gd name="connsiteY244" fmla="*/ 30642 h 76406"/>
                <a:gd name="connsiteX245" fmla="*/ 85096 w 207658"/>
                <a:gd name="connsiteY245" fmla="*/ 28951 h 76406"/>
                <a:gd name="connsiteX246" fmla="*/ 83402 w 207658"/>
                <a:gd name="connsiteY246" fmla="*/ 26464 h 76406"/>
                <a:gd name="connsiteX247" fmla="*/ 82506 w 207658"/>
                <a:gd name="connsiteY247" fmla="*/ 25568 h 76406"/>
                <a:gd name="connsiteX248" fmla="*/ 81210 w 207658"/>
                <a:gd name="connsiteY248" fmla="*/ 24474 h 76406"/>
                <a:gd name="connsiteX249" fmla="*/ 79616 w 207658"/>
                <a:gd name="connsiteY249" fmla="*/ 23578 h 76406"/>
                <a:gd name="connsiteX250" fmla="*/ 78221 w 207658"/>
                <a:gd name="connsiteY250" fmla="*/ 23181 h 76406"/>
                <a:gd name="connsiteX251" fmla="*/ 77324 w 207658"/>
                <a:gd name="connsiteY251" fmla="*/ 23877 h 76406"/>
                <a:gd name="connsiteX252" fmla="*/ 76028 w 207658"/>
                <a:gd name="connsiteY252" fmla="*/ 25369 h 76406"/>
                <a:gd name="connsiteX253" fmla="*/ 74633 w 207658"/>
                <a:gd name="connsiteY253" fmla="*/ 26464 h 76406"/>
                <a:gd name="connsiteX254" fmla="*/ 73339 w 207658"/>
                <a:gd name="connsiteY254" fmla="*/ 25966 h 76406"/>
                <a:gd name="connsiteX255" fmla="*/ 72641 w 207658"/>
                <a:gd name="connsiteY255" fmla="*/ 24275 h 76406"/>
                <a:gd name="connsiteX256" fmla="*/ 72242 w 207658"/>
                <a:gd name="connsiteY256" fmla="*/ 22683 h 76406"/>
                <a:gd name="connsiteX257" fmla="*/ 71744 w 207658"/>
                <a:gd name="connsiteY257" fmla="*/ 21489 h 76406"/>
                <a:gd name="connsiteX258" fmla="*/ 70748 w 207658"/>
                <a:gd name="connsiteY258" fmla="*/ 20892 h 76406"/>
                <a:gd name="connsiteX259" fmla="*/ 67858 w 207658"/>
                <a:gd name="connsiteY259" fmla="*/ 21688 h 76406"/>
                <a:gd name="connsiteX260" fmla="*/ 61680 w 207658"/>
                <a:gd name="connsiteY260" fmla="*/ 24573 h 76406"/>
                <a:gd name="connsiteX261" fmla="*/ 59089 w 207658"/>
                <a:gd name="connsiteY261" fmla="*/ 24374 h 76406"/>
                <a:gd name="connsiteX262" fmla="*/ 58691 w 207658"/>
                <a:gd name="connsiteY262" fmla="*/ 23479 h 76406"/>
                <a:gd name="connsiteX263" fmla="*/ 57595 w 207658"/>
                <a:gd name="connsiteY263" fmla="*/ 19698 h 76406"/>
                <a:gd name="connsiteX264" fmla="*/ 57395 w 207658"/>
                <a:gd name="connsiteY264" fmla="*/ 18206 h 76406"/>
                <a:gd name="connsiteX265" fmla="*/ 56698 w 207658"/>
                <a:gd name="connsiteY265" fmla="*/ 17112 h 76406"/>
                <a:gd name="connsiteX266" fmla="*/ 52114 w 207658"/>
                <a:gd name="connsiteY266" fmla="*/ 16017 h 76406"/>
                <a:gd name="connsiteX267" fmla="*/ 49224 w 207658"/>
                <a:gd name="connsiteY267" fmla="*/ 13232 h 76406"/>
                <a:gd name="connsiteX268" fmla="*/ 49324 w 207658"/>
                <a:gd name="connsiteY268" fmla="*/ 10745 h 76406"/>
                <a:gd name="connsiteX269" fmla="*/ 50719 w 207658"/>
                <a:gd name="connsiteY269" fmla="*/ 7959 h 76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</a:cxnLst>
              <a:rect l="l" t="t" r="r" b="b"/>
              <a:pathLst>
                <a:path w="207658" h="76406">
                  <a:moveTo>
                    <a:pt x="50719" y="7959"/>
                  </a:moveTo>
                  <a:lnTo>
                    <a:pt x="52114" y="4377"/>
                  </a:lnTo>
                  <a:lnTo>
                    <a:pt x="52612" y="2189"/>
                  </a:lnTo>
                  <a:lnTo>
                    <a:pt x="52712" y="796"/>
                  </a:lnTo>
                  <a:lnTo>
                    <a:pt x="52015" y="99"/>
                  </a:lnTo>
                  <a:lnTo>
                    <a:pt x="49922" y="0"/>
                  </a:lnTo>
                  <a:lnTo>
                    <a:pt x="48427" y="497"/>
                  </a:lnTo>
                  <a:lnTo>
                    <a:pt x="46534" y="2686"/>
                  </a:lnTo>
                  <a:lnTo>
                    <a:pt x="45537" y="3184"/>
                  </a:lnTo>
                  <a:lnTo>
                    <a:pt x="40157" y="3582"/>
                  </a:lnTo>
                  <a:lnTo>
                    <a:pt x="36968" y="4278"/>
                  </a:lnTo>
                  <a:lnTo>
                    <a:pt x="34776" y="5372"/>
                  </a:lnTo>
                  <a:lnTo>
                    <a:pt x="34278" y="6467"/>
                  </a:lnTo>
                  <a:lnTo>
                    <a:pt x="33879" y="8058"/>
                  </a:lnTo>
                  <a:lnTo>
                    <a:pt x="33182" y="9352"/>
                  </a:lnTo>
                  <a:lnTo>
                    <a:pt x="31687" y="9949"/>
                  </a:lnTo>
                  <a:lnTo>
                    <a:pt x="29196" y="9750"/>
                  </a:lnTo>
                  <a:lnTo>
                    <a:pt x="28100" y="9153"/>
                  </a:lnTo>
                  <a:lnTo>
                    <a:pt x="27801" y="8158"/>
                  </a:lnTo>
                  <a:lnTo>
                    <a:pt x="27104" y="6865"/>
                  </a:lnTo>
                  <a:lnTo>
                    <a:pt x="25310" y="5870"/>
                  </a:lnTo>
                  <a:lnTo>
                    <a:pt x="23217" y="5372"/>
                  </a:lnTo>
                  <a:lnTo>
                    <a:pt x="21623" y="5372"/>
                  </a:lnTo>
                  <a:lnTo>
                    <a:pt x="20428" y="6268"/>
                  </a:lnTo>
                  <a:lnTo>
                    <a:pt x="19730" y="7362"/>
                  </a:lnTo>
                  <a:lnTo>
                    <a:pt x="19231" y="8655"/>
                  </a:lnTo>
                  <a:lnTo>
                    <a:pt x="18235" y="9949"/>
                  </a:lnTo>
                  <a:lnTo>
                    <a:pt x="17338" y="10745"/>
                  </a:lnTo>
                  <a:lnTo>
                    <a:pt x="15943" y="11739"/>
                  </a:lnTo>
                  <a:lnTo>
                    <a:pt x="14548" y="11739"/>
                  </a:lnTo>
                  <a:lnTo>
                    <a:pt x="13950" y="9352"/>
                  </a:lnTo>
                  <a:lnTo>
                    <a:pt x="13651" y="7263"/>
                  </a:lnTo>
                  <a:lnTo>
                    <a:pt x="12954" y="6268"/>
                  </a:lnTo>
                  <a:lnTo>
                    <a:pt x="11957" y="5770"/>
                  </a:lnTo>
                  <a:lnTo>
                    <a:pt x="10861" y="4875"/>
                  </a:lnTo>
                  <a:lnTo>
                    <a:pt x="7872" y="3582"/>
                  </a:lnTo>
                  <a:lnTo>
                    <a:pt x="4584" y="5074"/>
                  </a:lnTo>
                  <a:lnTo>
                    <a:pt x="1694" y="8058"/>
                  </a:lnTo>
                  <a:lnTo>
                    <a:pt x="0" y="11043"/>
                  </a:lnTo>
                  <a:lnTo>
                    <a:pt x="199" y="17908"/>
                  </a:lnTo>
                  <a:lnTo>
                    <a:pt x="5381" y="19997"/>
                  </a:lnTo>
                  <a:lnTo>
                    <a:pt x="12456" y="20096"/>
                  </a:lnTo>
                  <a:lnTo>
                    <a:pt x="18235" y="20892"/>
                  </a:lnTo>
                  <a:lnTo>
                    <a:pt x="20926" y="22783"/>
                  </a:lnTo>
                  <a:lnTo>
                    <a:pt x="21722" y="23081"/>
                  </a:lnTo>
                  <a:lnTo>
                    <a:pt x="23018" y="23181"/>
                  </a:lnTo>
                  <a:lnTo>
                    <a:pt x="24413" y="23479"/>
                  </a:lnTo>
                  <a:lnTo>
                    <a:pt x="26107" y="24971"/>
                  </a:lnTo>
                  <a:lnTo>
                    <a:pt x="27302" y="25369"/>
                  </a:lnTo>
                  <a:lnTo>
                    <a:pt x="32982" y="25469"/>
                  </a:lnTo>
                  <a:lnTo>
                    <a:pt x="35075" y="26762"/>
                  </a:lnTo>
                  <a:lnTo>
                    <a:pt x="34776" y="29747"/>
                  </a:lnTo>
                  <a:lnTo>
                    <a:pt x="38562" y="30145"/>
                  </a:lnTo>
                  <a:lnTo>
                    <a:pt x="42349" y="31438"/>
                  </a:lnTo>
                  <a:lnTo>
                    <a:pt x="45837" y="31836"/>
                  </a:lnTo>
                  <a:lnTo>
                    <a:pt x="48626" y="29747"/>
                  </a:lnTo>
                  <a:lnTo>
                    <a:pt x="50022" y="31239"/>
                  </a:lnTo>
                  <a:lnTo>
                    <a:pt x="51317" y="31537"/>
                  </a:lnTo>
                  <a:lnTo>
                    <a:pt x="52812" y="31637"/>
                  </a:lnTo>
                  <a:lnTo>
                    <a:pt x="54705" y="31935"/>
                  </a:lnTo>
                  <a:lnTo>
                    <a:pt x="55303" y="32234"/>
                  </a:lnTo>
                  <a:lnTo>
                    <a:pt x="57295" y="33726"/>
                  </a:lnTo>
                  <a:lnTo>
                    <a:pt x="58392" y="33925"/>
                  </a:lnTo>
                  <a:lnTo>
                    <a:pt x="59786" y="32333"/>
                  </a:lnTo>
                  <a:lnTo>
                    <a:pt x="60783" y="31935"/>
                  </a:lnTo>
                  <a:lnTo>
                    <a:pt x="62975" y="33627"/>
                  </a:lnTo>
                  <a:lnTo>
                    <a:pt x="64370" y="34323"/>
                  </a:lnTo>
                  <a:lnTo>
                    <a:pt x="65068" y="33726"/>
                  </a:lnTo>
                  <a:lnTo>
                    <a:pt x="65666" y="32532"/>
                  </a:lnTo>
                  <a:lnTo>
                    <a:pt x="67160" y="32333"/>
                  </a:lnTo>
                  <a:lnTo>
                    <a:pt x="68755" y="32831"/>
                  </a:lnTo>
                  <a:lnTo>
                    <a:pt x="69851" y="33726"/>
                  </a:lnTo>
                  <a:lnTo>
                    <a:pt x="72342" y="36114"/>
                  </a:lnTo>
                  <a:lnTo>
                    <a:pt x="75132" y="37407"/>
                  </a:lnTo>
                  <a:lnTo>
                    <a:pt x="87986" y="39994"/>
                  </a:lnTo>
                  <a:lnTo>
                    <a:pt x="90975" y="41486"/>
                  </a:lnTo>
                  <a:lnTo>
                    <a:pt x="95659" y="46162"/>
                  </a:lnTo>
                  <a:lnTo>
                    <a:pt x="98050" y="47257"/>
                  </a:lnTo>
                  <a:lnTo>
                    <a:pt x="112399" y="48948"/>
                  </a:lnTo>
                  <a:lnTo>
                    <a:pt x="113096" y="49843"/>
                  </a:lnTo>
                  <a:lnTo>
                    <a:pt x="113594" y="51137"/>
                  </a:lnTo>
                  <a:lnTo>
                    <a:pt x="114292" y="52430"/>
                  </a:lnTo>
                  <a:lnTo>
                    <a:pt x="115687" y="53325"/>
                  </a:lnTo>
                  <a:lnTo>
                    <a:pt x="117082" y="52828"/>
                  </a:lnTo>
                  <a:lnTo>
                    <a:pt x="118477" y="51932"/>
                  </a:lnTo>
                  <a:lnTo>
                    <a:pt x="119872" y="51932"/>
                  </a:lnTo>
                  <a:lnTo>
                    <a:pt x="120769" y="52828"/>
                  </a:lnTo>
                  <a:lnTo>
                    <a:pt x="122363" y="56111"/>
                  </a:lnTo>
                  <a:lnTo>
                    <a:pt x="123359" y="57404"/>
                  </a:lnTo>
                  <a:lnTo>
                    <a:pt x="129039" y="59692"/>
                  </a:lnTo>
                  <a:lnTo>
                    <a:pt x="129737" y="60190"/>
                  </a:lnTo>
                  <a:lnTo>
                    <a:pt x="132128" y="62379"/>
                  </a:lnTo>
                  <a:lnTo>
                    <a:pt x="133324" y="62876"/>
                  </a:lnTo>
                  <a:lnTo>
                    <a:pt x="140299" y="62777"/>
                  </a:lnTo>
                  <a:lnTo>
                    <a:pt x="142890" y="63970"/>
                  </a:lnTo>
                  <a:lnTo>
                    <a:pt x="142492" y="67353"/>
                  </a:lnTo>
                  <a:lnTo>
                    <a:pt x="143986" y="67253"/>
                  </a:lnTo>
                  <a:lnTo>
                    <a:pt x="145281" y="67850"/>
                  </a:lnTo>
                  <a:lnTo>
                    <a:pt x="146178" y="69044"/>
                  </a:lnTo>
                  <a:lnTo>
                    <a:pt x="146776" y="70835"/>
                  </a:lnTo>
                  <a:lnTo>
                    <a:pt x="147972" y="70039"/>
                  </a:lnTo>
                  <a:lnTo>
                    <a:pt x="149168" y="69542"/>
                  </a:lnTo>
                  <a:lnTo>
                    <a:pt x="152057" y="69542"/>
                  </a:lnTo>
                  <a:lnTo>
                    <a:pt x="153452" y="69343"/>
                  </a:lnTo>
                  <a:lnTo>
                    <a:pt x="154150" y="68646"/>
                  </a:lnTo>
                  <a:lnTo>
                    <a:pt x="154548" y="67552"/>
                  </a:lnTo>
                  <a:lnTo>
                    <a:pt x="156143" y="65164"/>
                  </a:lnTo>
                  <a:lnTo>
                    <a:pt x="156741" y="64070"/>
                  </a:lnTo>
                  <a:lnTo>
                    <a:pt x="157338" y="63274"/>
                  </a:lnTo>
                  <a:lnTo>
                    <a:pt x="163317" y="61881"/>
                  </a:lnTo>
                  <a:lnTo>
                    <a:pt x="167502" y="58101"/>
                  </a:lnTo>
                  <a:lnTo>
                    <a:pt x="171288" y="53723"/>
                  </a:lnTo>
                  <a:lnTo>
                    <a:pt x="175474" y="50142"/>
                  </a:lnTo>
                  <a:lnTo>
                    <a:pt x="181153" y="48550"/>
                  </a:lnTo>
                  <a:lnTo>
                    <a:pt x="182050" y="48152"/>
                  </a:lnTo>
                  <a:lnTo>
                    <a:pt x="183246" y="47455"/>
                  </a:lnTo>
                  <a:lnTo>
                    <a:pt x="184541" y="46958"/>
                  </a:lnTo>
                  <a:lnTo>
                    <a:pt x="185836" y="47555"/>
                  </a:lnTo>
                  <a:lnTo>
                    <a:pt x="186733" y="48948"/>
                  </a:lnTo>
                  <a:lnTo>
                    <a:pt x="186733" y="50341"/>
                  </a:lnTo>
                  <a:lnTo>
                    <a:pt x="185936" y="51534"/>
                  </a:lnTo>
                  <a:lnTo>
                    <a:pt x="182150" y="52927"/>
                  </a:lnTo>
                  <a:lnTo>
                    <a:pt x="179160" y="57504"/>
                  </a:lnTo>
                  <a:lnTo>
                    <a:pt x="174776" y="59096"/>
                  </a:lnTo>
                  <a:lnTo>
                    <a:pt x="172983" y="60787"/>
                  </a:lnTo>
                  <a:lnTo>
                    <a:pt x="169794" y="64667"/>
                  </a:lnTo>
                  <a:lnTo>
                    <a:pt x="168100" y="66159"/>
                  </a:lnTo>
                  <a:lnTo>
                    <a:pt x="167004" y="66259"/>
                  </a:lnTo>
                  <a:lnTo>
                    <a:pt x="166605" y="65164"/>
                  </a:lnTo>
                  <a:lnTo>
                    <a:pt x="167701" y="62876"/>
                  </a:lnTo>
                  <a:lnTo>
                    <a:pt x="164413" y="63871"/>
                  </a:lnTo>
                  <a:lnTo>
                    <a:pt x="161025" y="65562"/>
                  </a:lnTo>
                  <a:lnTo>
                    <a:pt x="158036" y="67950"/>
                  </a:lnTo>
                  <a:lnTo>
                    <a:pt x="156342" y="70835"/>
                  </a:lnTo>
                  <a:lnTo>
                    <a:pt x="159132" y="71034"/>
                  </a:lnTo>
                  <a:lnTo>
                    <a:pt x="162021" y="69840"/>
                  </a:lnTo>
                  <a:lnTo>
                    <a:pt x="164214" y="69243"/>
                  </a:lnTo>
                  <a:lnTo>
                    <a:pt x="166206" y="74019"/>
                  </a:lnTo>
                  <a:lnTo>
                    <a:pt x="169096" y="75710"/>
                  </a:lnTo>
                  <a:lnTo>
                    <a:pt x="172584" y="76406"/>
                  </a:lnTo>
                  <a:lnTo>
                    <a:pt x="175474" y="76207"/>
                  </a:lnTo>
                  <a:lnTo>
                    <a:pt x="177965" y="75013"/>
                  </a:lnTo>
                  <a:lnTo>
                    <a:pt x="180157" y="73024"/>
                  </a:lnTo>
                  <a:lnTo>
                    <a:pt x="186235" y="64070"/>
                  </a:lnTo>
                  <a:lnTo>
                    <a:pt x="187630" y="62876"/>
                  </a:lnTo>
                  <a:lnTo>
                    <a:pt x="188925" y="62478"/>
                  </a:lnTo>
                  <a:lnTo>
                    <a:pt x="190420" y="62478"/>
                  </a:lnTo>
                  <a:lnTo>
                    <a:pt x="191117" y="62080"/>
                  </a:lnTo>
                  <a:lnTo>
                    <a:pt x="190121" y="60687"/>
                  </a:lnTo>
                  <a:lnTo>
                    <a:pt x="192114" y="56807"/>
                  </a:lnTo>
                  <a:lnTo>
                    <a:pt x="199787" y="47555"/>
                  </a:lnTo>
                  <a:lnTo>
                    <a:pt x="197993" y="46461"/>
                  </a:lnTo>
                  <a:lnTo>
                    <a:pt x="203374" y="41586"/>
                  </a:lnTo>
                  <a:lnTo>
                    <a:pt x="204570" y="40889"/>
                  </a:lnTo>
                  <a:lnTo>
                    <a:pt x="205566" y="39695"/>
                  </a:lnTo>
                  <a:lnTo>
                    <a:pt x="206662" y="37109"/>
                  </a:lnTo>
                  <a:lnTo>
                    <a:pt x="207559" y="34025"/>
                  </a:lnTo>
                  <a:lnTo>
                    <a:pt x="207659" y="31935"/>
                  </a:lnTo>
                  <a:lnTo>
                    <a:pt x="205367" y="31040"/>
                  </a:lnTo>
                  <a:lnTo>
                    <a:pt x="191915" y="31935"/>
                  </a:lnTo>
                  <a:lnTo>
                    <a:pt x="193908" y="29050"/>
                  </a:lnTo>
                  <a:lnTo>
                    <a:pt x="196498" y="25966"/>
                  </a:lnTo>
                  <a:lnTo>
                    <a:pt x="198491" y="22285"/>
                  </a:lnTo>
                  <a:lnTo>
                    <a:pt x="198890" y="17609"/>
                  </a:lnTo>
                  <a:lnTo>
                    <a:pt x="197794" y="14923"/>
                  </a:lnTo>
                  <a:lnTo>
                    <a:pt x="196000" y="14326"/>
                  </a:lnTo>
                  <a:lnTo>
                    <a:pt x="194007" y="15321"/>
                  </a:lnTo>
                  <a:lnTo>
                    <a:pt x="186634" y="24076"/>
                  </a:lnTo>
                  <a:lnTo>
                    <a:pt x="185239" y="27359"/>
                  </a:lnTo>
                  <a:lnTo>
                    <a:pt x="182349" y="32333"/>
                  </a:lnTo>
                  <a:lnTo>
                    <a:pt x="181552" y="35318"/>
                  </a:lnTo>
                  <a:lnTo>
                    <a:pt x="181751" y="38601"/>
                  </a:lnTo>
                  <a:lnTo>
                    <a:pt x="182150" y="40889"/>
                  </a:lnTo>
                  <a:lnTo>
                    <a:pt x="181850" y="41785"/>
                  </a:lnTo>
                  <a:lnTo>
                    <a:pt x="179758" y="40889"/>
                  </a:lnTo>
                  <a:lnTo>
                    <a:pt x="178164" y="38502"/>
                  </a:lnTo>
                  <a:lnTo>
                    <a:pt x="176968" y="37109"/>
                  </a:lnTo>
                  <a:lnTo>
                    <a:pt x="176370" y="37109"/>
                  </a:lnTo>
                  <a:lnTo>
                    <a:pt x="174876" y="33328"/>
                  </a:lnTo>
                  <a:lnTo>
                    <a:pt x="174577" y="31438"/>
                  </a:lnTo>
                  <a:lnTo>
                    <a:pt x="175374" y="28752"/>
                  </a:lnTo>
                  <a:lnTo>
                    <a:pt x="176968" y="25469"/>
                  </a:lnTo>
                  <a:lnTo>
                    <a:pt x="178263" y="21987"/>
                  </a:lnTo>
                  <a:lnTo>
                    <a:pt x="178064" y="18803"/>
                  </a:lnTo>
                  <a:lnTo>
                    <a:pt x="175573" y="16913"/>
                  </a:lnTo>
                  <a:lnTo>
                    <a:pt x="168299" y="16415"/>
                  </a:lnTo>
                  <a:lnTo>
                    <a:pt x="166804" y="14824"/>
                  </a:lnTo>
                  <a:lnTo>
                    <a:pt x="167502" y="11739"/>
                  </a:lnTo>
                  <a:lnTo>
                    <a:pt x="168598" y="9451"/>
                  </a:lnTo>
                  <a:lnTo>
                    <a:pt x="168797" y="7263"/>
                  </a:lnTo>
                  <a:lnTo>
                    <a:pt x="166804" y="4377"/>
                  </a:lnTo>
                  <a:lnTo>
                    <a:pt x="161324" y="1492"/>
                  </a:lnTo>
                  <a:lnTo>
                    <a:pt x="155246" y="2089"/>
                  </a:lnTo>
                  <a:lnTo>
                    <a:pt x="149366" y="4875"/>
                  </a:lnTo>
                  <a:lnTo>
                    <a:pt x="144185" y="8655"/>
                  </a:lnTo>
                  <a:lnTo>
                    <a:pt x="142591" y="10546"/>
                  </a:lnTo>
                  <a:lnTo>
                    <a:pt x="140897" y="13331"/>
                  </a:lnTo>
                  <a:lnTo>
                    <a:pt x="139601" y="16415"/>
                  </a:lnTo>
                  <a:lnTo>
                    <a:pt x="139004" y="19301"/>
                  </a:lnTo>
                  <a:lnTo>
                    <a:pt x="137708" y="22982"/>
                  </a:lnTo>
                  <a:lnTo>
                    <a:pt x="135018" y="24772"/>
                  </a:lnTo>
                  <a:lnTo>
                    <a:pt x="133125" y="24175"/>
                  </a:lnTo>
                  <a:lnTo>
                    <a:pt x="133723" y="20892"/>
                  </a:lnTo>
                  <a:lnTo>
                    <a:pt x="131730" y="18604"/>
                  </a:lnTo>
                  <a:lnTo>
                    <a:pt x="129139" y="15023"/>
                  </a:lnTo>
                  <a:lnTo>
                    <a:pt x="127345" y="11043"/>
                  </a:lnTo>
                  <a:lnTo>
                    <a:pt x="127644" y="7660"/>
                  </a:lnTo>
                  <a:lnTo>
                    <a:pt x="125352" y="8456"/>
                  </a:lnTo>
                  <a:lnTo>
                    <a:pt x="122164" y="10247"/>
                  </a:lnTo>
                  <a:lnTo>
                    <a:pt x="119374" y="10844"/>
                  </a:lnTo>
                  <a:lnTo>
                    <a:pt x="118079" y="8158"/>
                  </a:lnTo>
                  <a:lnTo>
                    <a:pt x="118079" y="3780"/>
                  </a:lnTo>
                  <a:lnTo>
                    <a:pt x="117680" y="1691"/>
                  </a:lnTo>
                  <a:lnTo>
                    <a:pt x="116185" y="1194"/>
                  </a:lnTo>
                  <a:lnTo>
                    <a:pt x="105424" y="4079"/>
                  </a:lnTo>
                  <a:lnTo>
                    <a:pt x="102933" y="4377"/>
                  </a:lnTo>
                  <a:lnTo>
                    <a:pt x="100242" y="5273"/>
                  </a:lnTo>
                  <a:lnTo>
                    <a:pt x="98847" y="7362"/>
                  </a:lnTo>
                  <a:lnTo>
                    <a:pt x="97652" y="9849"/>
                  </a:lnTo>
                  <a:lnTo>
                    <a:pt x="95559" y="12038"/>
                  </a:lnTo>
                  <a:lnTo>
                    <a:pt x="95758" y="9750"/>
                  </a:lnTo>
                  <a:lnTo>
                    <a:pt x="94861" y="8158"/>
                  </a:lnTo>
                  <a:lnTo>
                    <a:pt x="93366" y="7263"/>
                  </a:lnTo>
                  <a:lnTo>
                    <a:pt x="91175" y="7660"/>
                  </a:lnTo>
                  <a:lnTo>
                    <a:pt x="90079" y="8655"/>
                  </a:lnTo>
                  <a:lnTo>
                    <a:pt x="88185" y="11839"/>
                  </a:lnTo>
                  <a:lnTo>
                    <a:pt x="86890" y="13232"/>
                  </a:lnTo>
                  <a:lnTo>
                    <a:pt x="85196" y="13829"/>
                  </a:lnTo>
                  <a:lnTo>
                    <a:pt x="81808" y="14326"/>
                  </a:lnTo>
                  <a:lnTo>
                    <a:pt x="80712" y="15420"/>
                  </a:lnTo>
                  <a:lnTo>
                    <a:pt x="80413" y="17609"/>
                  </a:lnTo>
                  <a:lnTo>
                    <a:pt x="81410" y="18803"/>
                  </a:lnTo>
                  <a:lnTo>
                    <a:pt x="83103" y="19499"/>
                  </a:lnTo>
                  <a:lnTo>
                    <a:pt x="85096" y="19897"/>
                  </a:lnTo>
                  <a:lnTo>
                    <a:pt x="84897" y="20594"/>
                  </a:lnTo>
                  <a:lnTo>
                    <a:pt x="84499" y="22385"/>
                  </a:lnTo>
                  <a:lnTo>
                    <a:pt x="84199" y="23181"/>
                  </a:lnTo>
                  <a:lnTo>
                    <a:pt x="87986" y="22086"/>
                  </a:lnTo>
                  <a:lnTo>
                    <a:pt x="89779" y="22584"/>
                  </a:lnTo>
                  <a:lnTo>
                    <a:pt x="91175" y="24374"/>
                  </a:lnTo>
                  <a:lnTo>
                    <a:pt x="90975" y="27558"/>
                  </a:lnTo>
                  <a:lnTo>
                    <a:pt x="89082" y="31040"/>
                  </a:lnTo>
                  <a:lnTo>
                    <a:pt x="86990" y="33229"/>
                  </a:lnTo>
                  <a:lnTo>
                    <a:pt x="85993" y="32532"/>
                  </a:lnTo>
                  <a:lnTo>
                    <a:pt x="85694" y="30642"/>
                  </a:lnTo>
                  <a:lnTo>
                    <a:pt x="85096" y="28951"/>
                  </a:lnTo>
                  <a:lnTo>
                    <a:pt x="83402" y="26464"/>
                  </a:lnTo>
                  <a:lnTo>
                    <a:pt x="82506" y="25568"/>
                  </a:lnTo>
                  <a:lnTo>
                    <a:pt x="81210" y="24474"/>
                  </a:lnTo>
                  <a:lnTo>
                    <a:pt x="79616" y="23578"/>
                  </a:lnTo>
                  <a:lnTo>
                    <a:pt x="78221" y="23181"/>
                  </a:lnTo>
                  <a:lnTo>
                    <a:pt x="77324" y="23877"/>
                  </a:lnTo>
                  <a:lnTo>
                    <a:pt x="76028" y="25369"/>
                  </a:lnTo>
                  <a:lnTo>
                    <a:pt x="74633" y="26464"/>
                  </a:lnTo>
                  <a:lnTo>
                    <a:pt x="73339" y="25966"/>
                  </a:lnTo>
                  <a:lnTo>
                    <a:pt x="72641" y="24275"/>
                  </a:lnTo>
                  <a:lnTo>
                    <a:pt x="72242" y="22683"/>
                  </a:lnTo>
                  <a:lnTo>
                    <a:pt x="71744" y="21489"/>
                  </a:lnTo>
                  <a:lnTo>
                    <a:pt x="70748" y="20892"/>
                  </a:lnTo>
                  <a:lnTo>
                    <a:pt x="67858" y="21688"/>
                  </a:lnTo>
                  <a:lnTo>
                    <a:pt x="61680" y="24573"/>
                  </a:lnTo>
                  <a:lnTo>
                    <a:pt x="59089" y="24374"/>
                  </a:lnTo>
                  <a:lnTo>
                    <a:pt x="58691" y="23479"/>
                  </a:lnTo>
                  <a:lnTo>
                    <a:pt x="57595" y="19698"/>
                  </a:lnTo>
                  <a:lnTo>
                    <a:pt x="57395" y="18206"/>
                  </a:lnTo>
                  <a:lnTo>
                    <a:pt x="56698" y="17112"/>
                  </a:lnTo>
                  <a:lnTo>
                    <a:pt x="52114" y="16017"/>
                  </a:lnTo>
                  <a:lnTo>
                    <a:pt x="49224" y="13232"/>
                  </a:lnTo>
                  <a:lnTo>
                    <a:pt x="49324" y="10745"/>
                  </a:lnTo>
                  <a:lnTo>
                    <a:pt x="50719" y="795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05E54BA4-776E-4EEA-887B-728B0BB4A594}"/>
                </a:ext>
              </a:extLst>
            </p:cNvPr>
            <p:cNvSpPr/>
            <p:nvPr/>
          </p:nvSpPr>
          <p:spPr>
            <a:xfrm>
              <a:off x="3131745" y="1010031"/>
              <a:ext cx="9466" cy="10048"/>
            </a:xfrm>
            <a:custGeom>
              <a:avLst/>
              <a:gdLst>
                <a:gd name="connsiteX0" fmla="*/ 4285 w 9466"/>
                <a:gd name="connsiteY0" fmla="*/ 8357 h 10048"/>
                <a:gd name="connsiteX1" fmla="*/ 7473 w 9466"/>
                <a:gd name="connsiteY1" fmla="*/ 9949 h 10048"/>
                <a:gd name="connsiteX2" fmla="*/ 9466 w 9466"/>
                <a:gd name="connsiteY2" fmla="*/ 10048 h 10048"/>
                <a:gd name="connsiteX3" fmla="*/ 7971 w 9466"/>
                <a:gd name="connsiteY3" fmla="*/ 7163 h 10048"/>
                <a:gd name="connsiteX4" fmla="*/ 7075 w 9466"/>
                <a:gd name="connsiteY4" fmla="*/ 1194 h 10048"/>
                <a:gd name="connsiteX5" fmla="*/ 5182 w 9466"/>
                <a:gd name="connsiteY5" fmla="*/ 0 h 10048"/>
                <a:gd name="connsiteX6" fmla="*/ 3487 w 9466"/>
                <a:gd name="connsiteY6" fmla="*/ 497 h 10048"/>
                <a:gd name="connsiteX7" fmla="*/ 2491 w 9466"/>
                <a:gd name="connsiteY7" fmla="*/ 1791 h 10048"/>
                <a:gd name="connsiteX8" fmla="*/ 1495 w 9466"/>
                <a:gd name="connsiteY8" fmla="*/ 3184 h 10048"/>
                <a:gd name="connsiteX9" fmla="*/ 0 w 9466"/>
                <a:gd name="connsiteY9" fmla="*/ 4377 h 10048"/>
                <a:gd name="connsiteX10" fmla="*/ 1395 w 9466"/>
                <a:gd name="connsiteY10" fmla="*/ 6268 h 10048"/>
                <a:gd name="connsiteX11" fmla="*/ 4285 w 9466"/>
                <a:gd name="connsiteY11" fmla="*/ 8357 h 10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66" h="10048">
                  <a:moveTo>
                    <a:pt x="4285" y="8357"/>
                  </a:moveTo>
                  <a:lnTo>
                    <a:pt x="7473" y="9949"/>
                  </a:lnTo>
                  <a:lnTo>
                    <a:pt x="9466" y="10048"/>
                  </a:lnTo>
                  <a:lnTo>
                    <a:pt x="7971" y="7163"/>
                  </a:lnTo>
                  <a:lnTo>
                    <a:pt x="7075" y="1194"/>
                  </a:lnTo>
                  <a:lnTo>
                    <a:pt x="5182" y="0"/>
                  </a:lnTo>
                  <a:lnTo>
                    <a:pt x="3487" y="497"/>
                  </a:lnTo>
                  <a:lnTo>
                    <a:pt x="2491" y="1791"/>
                  </a:lnTo>
                  <a:lnTo>
                    <a:pt x="1495" y="3184"/>
                  </a:lnTo>
                  <a:lnTo>
                    <a:pt x="0" y="4377"/>
                  </a:lnTo>
                  <a:lnTo>
                    <a:pt x="1395" y="6268"/>
                  </a:lnTo>
                  <a:lnTo>
                    <a:pt x="4285" y="835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819DB1C0-0099-452B-B85E-D1D5B3496C90}"/>
                </a:ext>
              </a:extLst>
            </p:cNvPr>
            <p:cNvSpPr/>
            <p:nvPr/>
          </p:nvSpPr>
          <p:spPr>
            <a:xfrm>
              <a:off x="2308186" y="371024"/>
              <a:ext cx="23516" cy="19698"/>
            </a:xfrm>
            <a:custGeom>
              <a:avLst/>
              <a:gdLst>
                <a:gd name="connsiteX0" fmla="*/ 14847 w 23516"/>
                <a:gd name="connsiteY0" fmla="*/ 4576 h 19698"/>
                <a:gd name="connsiteX1" fmla="*/ 15544 w 23516"/>
                <a:gd name="connsiteY1" fmla="*/ 3980 h 19698"/>
                <a:gd name="connsiteX2" fmla="*/ 15844 w 23516"/>
                <a:gd name="connsiteY2" fmla="*/ 3383 h 19698"/>
                <a:gd name="connsiteX3" fmla="*/ 16142 w 23516"/>
                <a:gd name="connsiteY3" fmla="*/ 2885 h 19698"/>
                <a:gd name="connsiteX4" fmla="*/ 16641 w 23516"/>
                <a:gd name="connsiteY4" fmla="*/ 2288 h 19698"/>
                <a:gd name="connsiteX5" fmla="*/ 12157 w 23516"/>
                <a:gd name="connsiteY5" fmla="*/ 2487 h 19698"/>
                <a:gd name="connsiteX6" fmla="*/ 10363 w 23516"/>
                <a:gd name="connsiteY6" fmla="*/ 1890 h 19698"/>
                <a:gd name="connsiteX7" fmla="*/ 9666 w 23516"/>
                <a:gd name="connsiteY7" fmla="*/ 0 h 19698"/>
                <a:gd name="connsiteX8" fmla="*/ 8370 w 23516"/>
                <a:gd name="connsiteY8" fmla="*/ 895 h 19698"/>
                <a:gd name="connsiteX9" fmla="*/ 5182 w 23516"/>
                <a:gd name="connsiteY9" fmla="*/ 5770 h 19698"/>
                <a:gd name="connsiteX10" fmla="*/ 0 w 23516"/>
                <a:gd name="connsiteY10" fmla="*/ 9252 h 19698"/>
                <a:gd name="connsiteX11" fmla="*/ 6079 w 23516"/>
                <a:gd name="connsiteY11" fmla="*/ 12137 h 19698"/>
                <a:gd name="connsiteX12" fmla="*/ 7374 w 23516"/>
                <a:gd name="connsiteY12" fmla="*/ 12336 h 19698"/>
                <a:gd name="connsiteX13" fmla="*/ 11459 w 23516"/>
                <a:gd name="connsiteY13" fmla="*/ 12436 h 19698"/>
                <a:gd name="connsiteX14" fmla="*/ 13153 w 23516"/>
                <a:gd name="connsiteY14" fmla="*/ 12734 h 19698"/>
                <a:gd name="connsiteX15" fmla="*/ 14748 w 23516"/>
                <a:gd name="connsiteY15" fmla="*/ 13530 h 19698"/>
                <a:gd name="connsiteX16" fmla="*/ 15744 w 23516"/>
                <a:gd name="connsiteY16" fmla="*/ 14127 h 19698"/>
                <a:gd name="connsiteX17" fmla="*/ 17936 w 23516"/>
                <a:gd name="connsiteY17" fmla="*/ 16714 h 19698"/>
                <a:gd name="connsiteX18" fmla="*/ 19032 w 23516"/>
                <a:gd name="connsiteY18" fmla="*/ 17808 h 19698"/>
                <a:gd name="connsiteX19" fmla="*/ 20527 w 23516"/>
                <a:gd name="connsiteY19" fmla="*/ 18803 h 19698"/>
                <a:gd name="connsiteX20" fmla="*/ 22022 w 23516"/>
                <a:gd name="connsiteY20" fmla="*/ 19400 h 19698"/>
                <a:gd name="connsiteX21" fmla="*/ 23516 w 23516"/>
                <a:gd name="connsiteY21" fmla="*/ 19699 h 19698"/>
                <a:gd name="connsiteX22" fmla="*/ 18833 w 23516"/>
                <a:gd name="connsiteY22" fmla="*/ 9750 h 19698"/>
                <a:gd name="connsiteX23" fmla="*/ 14847 w 23516"/>
                <a:gd name="connsiteY23" fmla="*/ 4576 h 19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3516" h="19698">
                  <a:moveTo>
                    <a:pt x="14847" y="4576"/>
                  </a:moveTo>
                  <a:lnTo>
                    <a:pt x="15544" y="3980"/>
                  </a:lnTo>
                  <a:lnTo>
                    <a:pt x="15844" y="3383"/>
                  </a:lnTo>
                  <a:lnTo>
                    <a:pt x="16142" y="2885"/>
                  </a:lnTo>
                  <a:lnTo>
                    <a:pt x="16641" y="2288"/>
                  </a:lnTo>
                  <a:lnTo>
                    <a:pt x="12157" y="2487"/>
                  </a:lnTo>
                  <a:lnTo>
                    <a:pt x="10363" y="1890"/>
                  </a:lnTo>
                  <a:lnTo>
                    <a:pt x="9666" y="0"/>
                  </a:lnTo>
                  <a:lnTo>
                    <a:pt x="8370" y="895"/>
                  </a:lnTo>
                  <a:lnTo>
                    <a:pt x="5182" y="5770"/>
                  </a:lnTo>
                  <a:lnTo>
                    <a:pt x="0" y="9252"/>
                  </a:lnTo>
                  <a:lnTo>
                    <a:pt x="6079" y="12137"/>
                  </a:lnTo>
                  <a:lnTo>
                    <a:pt x="7374" y="12336"/>
                  </a:lnTo>
                  <a:lnTo>
                    <a:pt x="11459" y="12436"/>
                  </a:lnTo>
                  <a:lnTo>
                    <a:pt x="13153" y="12734"/>
                  </a:lnTo>
                  <a:lnTo>
                    <a:pt x="14748" y="13530"/>
                  </a:lnTo>
                  <a:lnTo>
                    <a:pt x="15744" y="14127"/>
                  </a:lnTo>
                  <a:lnTo>
                    <a:pt x="17936" y="16714"/>
                  </a:lnTo>
                  <a:lnTo>
                    <a:pt x="19032" y="17808"/>
                  </a:lnTo>
                  <a:lnTo>
                    <a:pt x="20527" y="18803"/>
                  </a:lnTo>
                  <a:lnTo>
                    <a:pt x="22022" y="19400"/>
                  </a:lnTo>
                  <a:lnTo>
                    <a:pt x="23516" y="19699"/>
                  </a:lnTo>
                  <a:lnTo>
                    <a:pt x="18833" y="9750"/>
                  </a:lnTo>
                  <a:lnTo>
                    <a:pt x="14847" y="457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D5658C99-07A4-4EF3-964D-D6F39EF7B983}"/>
                </a:ext>
              </a:extLst>
            </p:cNvPr>
            <p:cNvSpPr/>
            <p:nvPr/>
          </p:nvSpPr>
          <p:spPr>
            <a:xfrm>
              <a:off x="3828257" y="1311578"/>
              <a:ext cx="5280" cy="1989"/>
            </a:xfrm>
            <a:custGeom>
              <a:avLst/>
              <a:gdLst>
                <a:gd name="connsiteX0" fmla="*/ 4483 w 5280"/>
                <a:gd name="connsiteY0" fmla="*/ 1393 h 1989"/>
                <a:gd name="connsiteX1" fmla="*/ 5281 w 5280"/>
                <a:gd name="connsiteY1" fmla="*/ 0 h 1989"/>
                <a:gd name="connsiteX2" fmla="*/ 0 w 5280"/>
                <a:gd name="connsiteY2" fmla="*/ 1691 h 1989"/>
                <a:gd name="connsiteX3" fmla="*/ 3188 w 5280"/>
                <a:gd name="connsiteY3" fmla="*/ 1990 h 1989"/>
                <a:gd name="connsiteX4" fmla="*/ 4483 w 5280"/>
                <a:gd name="connsiteY4" fmla="*/ 1393 h 1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0" h="1989">
                  <a:moveTo>
                    <a:pt x="4483" y="1393"/>
                  </a:moveTo>
                  <a:lnTo>
                    <a:pt x="5281" y="0"/>
                  </a:lnTo>
                  <a:lnTo>
                    <a:pt x="0" y="1691"/>
                  </a:lnTo>
                  <a:lnTo>
                    <a:pt x="3188" y="1990"/>
                  </a:lnTo>
                  <a:lnTo>
                    <a:pt x="4483" y="13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DE979602-4769-4E16-9B40-ABB046DD04A4}"/>
                </a:ext>
              </a:extLst>
            </p:cNvPr>
            <p:cNvSpPr/>
            <p:nvPr/>
          </p:nvSpPr>
          <p:spPr>
            <a:xfrm>
              <a:off x="3831944" y="1313070"/>
              <a:ext cx="11757" cy="7760"/>
            </a:xfrm>
            <a:custGeom>
              <a:avLst/>
              <a:gdLst>
                <a:gd name="connsiteX0" fmla="*/ 1893 w 11757"/>
                <a:gd name="connsiteY0" fmla="*/ 6765 h 7760"/>
                <a:gd name="connsiteX1" fmla="*/ 0 w 11757"/>
                <a:gd name="connsiteY1" fmla="*/ 7661 h 7760"/>
                <a:gd name="connsiteX2" fmla="*/ 698 w 11757"/>
                <a:gd name="connsiteY2" fmla="*/ 7760 h 7760"/>
                <a:gd name="connsiteX3" fmla="*/ 2889 w 11757"/>
                <a:gd name="connsiteY3" fmla="*/ 7263 h 7760"/>
                <a:gd name="connsiteX4" fmla="*/ 4882 w 11757"/>
                <a:gd name="connsiteY4" fmla="*/ 7163 h 7760"/>
                <a:gd name="connsiteX5" fmla="*/ 10562 w 11757"/>
                <a:gd name="connsiteY5" fmla="*/ 995 h 7760"/>
                <a:gd name="connsiteX6" fmla="*/ 11758 w 11757"/>
                <a:gd name="connsiteY6" fmla="*/ 0 h 7760"/>
                <a:gd name="connsiteX7" fmla="*/ 8270 w 11757"/>
                <a:gd name="connsiteY7" fmla="*/ 895 h 7760"/>
                <a:gd name="connsiteX8" fmla="*/ 1893 w 11757"/>
                <a:gd name="connsiteY8" fmla="*/ 6765 h 7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757" h="7760">
                  <a:moveTo>
                    <a:pt x="1893" y="6765"/>
                  </a:moveTo>
                  <a:lnTo>
                    <a:pt x="0" y="7661"/>
                  </a:lnTo>
                  <a:lnTo>
                    <a:pt x="698" y="7760"/>
                  </a:lnTo>
                  <a:lnTo>
                    <a:pt x="2889" y="7263"/>
                  </a:lnTo>
                  <a:lnTo>
                    <a:pt x="4882" y="7163"/>
                  </a:lnTo>
                  <a:lnTo>
                    <a:pt x="10562" y="995"/>
                  </a:lnTo>
                  <a:lnTo>
                    <a:pt x="11758" y="0"/>
                  </a:lnTo>
                  <a:lnTo>
                    <a:pt x="8270" y="895"/>
                  </a:lnTo>
                  <a:lnTo>
                    <a:pt x="1893" y="676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6D4CB987-6725-46BE-BD7D-14A6DAFABF9B}"/>
                </a:ext>
              </a:extLst>
            </p:cNvPr>
            <p:cNvSpPr/>
            <p:nvPr/>
          </p:nvSpPr>
          <p:spPr>
            <a:xfrm>
              <a:off x="3822677" y="1308195"/>
              <a:ext cx="22618" cy="12535"/>
            </a:xfrm>
            <a:custGeom>
              <a:avLst/>
              <a:gdLst>
                <a:gd name="connsiteX0" fmla="*/ 22619 w 22618"/>
                <a:gd name="connsiteY0" fmla="*/ 199 h 12535"/>
                <a:gd name="connsiteX1" fmla="*/ 19630 w 22618"/>
                <a:gd name="connsiteY1" fmla="*/ 0 h 12535"/>
                <a:gd name="connsiteX2" fmla="*/ 12555 w 22618"/>
                <a:gd name="connsiteY2" fmla="*/ 2885 h 12535"/>
                <a:gd name="connsiteX3" fmla="*/ 10861 w 22618"/>
                <a:gd name="connsiteY3" fmla="*/ 3383 h 12535"/>
                <a:gd name="connsiteX4" fmla="*/ 10064 w 22618"/>
                <a:gd name="connsiteY4" fmla="*/ 4776 h 12535"/>
                <a:gd name="connsiteX5" fmla="*/ 8768 w 22618"/>
                <a:gd name="connsiteY5" fmla="*/ 5372 h 12535"/>
                <a:gd name="connsiteX6" fmla="*/ 5580 w 22618"/>
                <a:gd name="connsiteY6" fmla="*/ 5074 h 12535"/>
                <a:gd name="connsiteX7" fmla="*/ 2590 w 22618"/>
                <a:gd name="connsiteY7" fmla="*/ 5969 h 12535"/>
                <a:gd name="connsiteX8" fmla="*/ 0 w 22618"/>
                <a:gd name="connsiteY8" fmla="*/ 7860 h 12535"/>
                <a:gd name="connsiteX9" fmla="*/ 99 w 22618"/>
                <a:gd name="connsiteY9" fmla="*/ 10745 h 12535"/>
                <a:gd name="connsiteX10" fmla="*/ 4683 w 22618"/>
                <a:gd name="connsiteY10" fmla="*/ 12237 h 12535"/>
                <a:gd name="connsiteX11" fmla="*/ 9267 w 22618"/>
                <a:gd name="connsiteY11" fmla="*/ 12536 h 12535"/>
                <a:gd name="connsiteX12" fmla="*/ 11160 w 22618"/>
                <a:gd name="connsiteY12" fmla="*/ 11640 h 12535"/>
                <a:gd name="connsiteX13" fmla="*/ 17537 w 22618"/>
                <a:gd name="connsiteY13" fmla="*/ 5770 h 12535"/>
                <a:gd name="connsiteX14" fmla="*/ 21025 w 22618"/>
                <a:gd name="connsiteY14" fmla="*/ 4875 h 12535"/>
                <a:gd name="connsiteX15" fmla="*/ 22121 w 22618"/>
                <a:gd name="connsiteY15" fmla="*/ 3980 h 12535"/>
                <a:gd name="connsiteX16" fmla="*/ 22619 w 22618"/>
                <a:gd name="connsiteY16" fmla="*/ 199 h 12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618" h="12535">
                  <a:moveTo>
                    <a:pt x="22619" y="199"/>
                  </a:moveTo>
                  <a:lnTo>
                    <a:pt x="19630" y="0"/>
                  </a:lnTo>
                  <a:lnTo>
                    <a:pt x="12555" y="2885"/>
                  </a:lnTo>
                  <a:lnTo>
                    <a:pt x="10861" y="3383"/>
                  </a:lnTo>
                  <a:lnTo>
                    <a:pt x="10064" y="4776"/>
                  </a:lnTo>
                  <a:lnTo>
                    <a:pt x="8768" y="5372"/>
                  </a:lnTo>
                  <a:lnTo>
                    <a:pt x="5580" y="5074"/>
                  </a:lnTo>
                  <a:lnTo>
                    <a:pt x="2590" y="5969"/>
                  </a:lnTo>
                  <a:lnTo>
                    <a:pt x="0" y="7860"/>
                  </a:lnTo>
                  <a:lnTo>
                    <a:pt x="99" y="10745"/>
                  </a:lnTo>
                  <a:lnTo>
                    <a:pt x="4683" y="12237"/>
                  </a:lnTo>
                  <a:lnTo>
                    <a:pt x="9267" y="12536"/>
                  </a:lnTo>
                  <a:lnTo>
                    <a:pt x="11160" y="11640"/>
                  </a:lnTo>
                  <a:lnTo>
                    <a:pt x="17537" y="5770"/>
                  </a:lnTo>
                  <a:lnTo>
                    <a:pt x="21025" y="4875"/>
                  </a:lnTo>
                  <a:lnTo>
                    <a:pt x="22121" y="3980"/>
                  </a:lnTo>
                  <a:lnTo>
                    <a:pt x="22619" y="19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B5C65556-9402-4A6F-BE65-ED2B008DE382}"/>
                </a:ext>
              </a:extLst>
            </p:cNvPr>
            <p:cNvSpPr/>
            <p:nvPr/>
          </p:nvSpPr>
          <p:spPr>
            <a:xfrm>
              <a:off x="3881267" y="1290288"/>
              <a:ext cx="19928" cy="7760"/>
            </a:xfrm>
            <a:custGeom>
              <a:avLst/>
              <a:gdLst>
                <a:gd name="connsiteX0" fmla="*/ 14449 w 19928"/>
                <a:gd name="connsiteY0" fmla="*/ 5273 h 7760"/>
                <a:gd name="connsiteX1" fmla="*/ 18634 w 19928"/>
                <a:gd name="connsiteY1" fmla="*/ 1791 h 7760"/>
                <a:gd name="connsiteX2" fmla="*/ 19929 w 19928"/>
                <a:gd name="connsiteY2" fmla="*/ 0 h 7760"/>
                <a:gd name="connsiteX3" fmla="*/ 14050 w 19928"/>
                <a:gd name="connsiteY3" fmla="*/ 398 h 7760"/>
                <a:gd name="connsiteX4" fmla="*/ 9367 w 19928"/>
                <a:gd name="connsiteY4" fmla="*/ 1492 h 7760"/>
                <a:gd name="connsiteX5" fmla="*/ 4982 w 19928"/>
                <a:gd name="connsiteY5" fmla="*/ 3880 h 7760"/>
                <a:gd name="connsiteX6" fmla="*/ 0 w 19928"/>
                <a:gd name="connsiteY6" fmla="*/ 7760 h 7760"/>
                <a:gd name="connsiteX7" fmla="*/ 9766 w 19928"/>
                <a:gd name="connsiteY7" fmla="*/ 6865 h 7760"/>
                <a:gd name="connsiteX8" fmla="*/ 14449 w 19928"/>
                <a:gd name="connsiteY8" fmla="*/ 5273 h 7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928" h="7760">
                  <a:moveTo>
                    <a:pt x="14449" y="5273"/>
                  </a:moveTo>
                  <a:lnTo>
                    <a:pt x="18634" y="1791"/>
                  </a:lnTo>
                  <a:lnTo>
                    <a:pt x="19929" y="0"/>
                  </a:lnTo>
                  <a:lnTo>
                    <a:pt x="14050" y="398"/>
                  </a:lnTo>
                  <a:lnTo>
                    <a:pt x="9367" y="1492"/>
                  </a:lnTo>
                  <a:lnTo>
                    <a:pt x="4982" y="3880"/>
                  </a:lnTo>
                  <a:lnTo>
                    <a:pt x="0" y="7760"/>
                  </a:lnTo>
                  <a:lnTo>
                    <a:pt x="9766" y="6865"/>
                  </a:lnTo>
                  <a:lnTo>
                    <a:pt x="14449" y="527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78393A2E-96A1-45A0-A5BB-A7B5A8DBC400}"/>
                </a:ext>
              </a:extLst>
            </p:cNvPr>
            <p:cNvSpPr/>
            <p:nvPr/>
          </p:nvSpPr>
          <p:spPr>
            <a:xfrm>
              <a:off x="3870805" y="1301231"/>
              <a:ext cx="32185" cy="4576"/>
            </a:xfrm>
            <a:custGeom>
              <a:avLst/>
              <a:gdLst>
                <a:gd name="connsiteX0" fmla="*/ 6577 w 32185"/>
                <a:gd name="connsiteY0" fmla="*/ 2985 h 4576"/>
                <a:gd name="connsiteX1" fmla="*/ 3288 w 32185"/>
                <a:gd name="connsiteY1" fmla="*/ 3084 h 4576"/>
                <a:gd name="connsiteX2" fmla="*/ 2391 w 32185"/>
                <a:gd name="connsiteY2" fmla="*/ 3383 h 4576"/>
                <a:gd name="connsiteX3" fmla="*/ 0 w 32185"/>
                <a:gd name="connsiteY3" fmla="*/ 3283 h 4576"/>
                <a:gd name="connsiteX4" fmla="*/ 3787 w 32185"/>
                <a:gd name="connsiteY4" fmla="*/ 4576 h 4576"/>
                <a:gd name="connsiteX5" fmla="*/ 23118 w 32185"/>
                <a:gd name="connsiteY5" fmla="*/ 4477 h 4576"/>
                <a:gd name="connsiteX6" fmla="*/ 27004 w 32185"/>
                <a:gd name="connsiteY6" fmla="*/ 3880 h 4576"/>
                <a:gd name="connsiteX7" fmla="*/ 30391 w 32185"/>
                <a:gd name="connsiteY7" fmla="*/ 2189 h 4576"/>
                <a:gd name="connsiteX8" fmla="*/ 32185 w 32185"/>
                <a:gd name="connsiteY8" fmla="*/ 497 h 4576"/>
                <a:gd name="connsiteX9" fmla="*/ 31089 w 32185"/>
                <a:gd name="connsiteY9" fmla="*/ 0 h 4576"/>
                <a:gd name="connsiteX10" fmla="*/ 26605 w 32185"/>
                <a:gd name="connsiteY10" fmla="*/ 99 h 4576"/>
                <a:gd name="connsiteX11" fmla="*/ 24213 w 32185"/>
                <a:gd name="connsiteY11" fmla="*/ 199 h 4576"/>
                <a:gd name="connsiteX12" fmla="*/ 20826 w 32185"/>
                <a:gd name="connsiteY12" fmla="*/ 995 h 4576"/>
                <a:gd name="connsiteX13" fmla="*/ 11160 w 32185"/>
                <a:gd name="connsiteY13" fmla="*/ 1094 h 4576"/>
                <a:gd name="connsiteX14" fmla="*/ 9267 w 32185"/>
                <a:gd name="connsiteY14" fmla="*/ 2288 h 4576"/>
                <a:gd name="connsiteX15" fmla="*/ 6577 w 32185"/>
                <a:gd name="connsiteY15" fmla="*/ 2985 h 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185" h="4576">
                  <a:moveTo>
                    <a:pt x="6577" y="2985"/>
                  </a:moveTo>
                  <a:lnTo>
                    <a:pt x="3288" y="3084"/>
                  </a:lnTo>
                  <a:lnTo>
                    <a:pt x="2391" y="3383"/>
                  </a:lnTo>
                  <a:lnTo>
                    <a:pt x="0" y="3283"/>
                  </a:lnTo>
                  <a:lnTo>
                    <a:pt x="3787" y="4576"/>
                  </a:lnTo>
                  <a:lnTo>
                    <a:pt x="23118" y="4477"/>
                  </a:lnTo>
                  <a:lnTo>
                    <a:pt x="27004" y="3880"/>
                  </a:lnTo>
                  <a:lnTo>
                    <a:pt x="30391" y="2189"/>
                  </a:lnTo>
                  <a:lnTo>
                    <a:pt x="32185" y="497"/>
                  </a:lnTo>
                  <a:lnTo>
                    <a:pt x="31089" y="0"/>
                  </a:lnTo>
                  <a:lnTo>
                    <a:pt x="26605" y="99"/>
                  </a:lnTo>
                  <a:lnTo>
                    <a:pt x="24213" y="199"/>
                  </a:lnTo>
                  <a:lnTo>
                    <a:pt x="20826" y="995"/>
                  </a:lnTo>
                  <a:lnTo>
                    <a:pt x="11160" y="1094"/>
                  </a:lnTo>
                  <a:lnTo>
                    <a:pt x="9267" y="2288"/>
                  </a:lnTo>
                  <a:lnTo>
                    <a:pt x="6577" y="298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8" name="Freeform: Shape 1327">
              <a:extLst>
                <a:ext uri="{FF2B5EF4-FFF2-40B4-BE49-F238E27FC236}">
                  <a16:creationId xmlns:a16="http://schemas.microsoft.com/office/drawing/2014/main" id="{CEB314A9-C5F8-472A-9E79-DB440A3DECA8}"/>
                </a:ext>
              </a:extLst>
            </p:cNvPr>
            <p:cNvSpPr/>
            <p:nvPr/>
          </p:nvSpPr>
          <p:spPr>
            <a:xfrm>
              <a:off x="3874093" y="1302326"/>
              <a:ext cx="7871" cy="1989"/>
            </a:xfrm>
            <a:custGeom>
              <a:avLst/>
              <a:gdLst>
                <a:gd name="connsiteX0" fmla="*/ 3787 w 7871"/>
                <a:gd name="connsiteY0" fmla="*/ 597 h 1989"/>
                <a:gd name="connsiteX1" fmla="*/ 0 w 7871"/>
                <a:gd name="connsiteY1" fmla="*/ 1990 h 1989"/>
                <a:gd name="connsiteX2" fmla="*/ 3288 w 7871"/>
                <a:gd name="connsiteY2" fmla="*/ 1890 h 1989"/>
                <a:gd name="connsiteX3" fmla="*/ 5978 w 7871"/>
                <a:gd name="connsiteY3" fmla="*/ 1194 h 1989"/>
                <a:gd name="connsiteX4" fmla="*/ 7872 w 7871"/>
                <a:gd name="connsiteY4" fmla="*/ 0 h 1989"/>
                <a:gd name="connsiteX5" fmla="*/ 6278 w 7871"/>
                <a:gd name="connsiteY5" fmla="*/ 0 h 1989"/>
                <a:gd name="connsiteX6" fmla="*/ 3787 w 7871"/>
                <a:gd name="connsiteY6" fmla="*/ 597 h 1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71" h="1989">
                  <a:moveTo>
                    <a:pt x="3787" y="597"/>
                  </a:moveTo>
                  <a:lnTo>
                    <a:pt x="0" y="1990"/>
                  </a:lnTo>
                  <a:lnTo>
                    <a:pt x="3288" y="1890"/>
                  </a:lnTo>
                  <a:lnTo>
                    <a:pt x="5978" y="1194"/>
                  </a:lnTo>
                  <a:lnTo>
                    <a:pt x="7872" y="0"/>
                  </a:lnTo>
                  <a:lnTo>
                    <a:pt x="6278" y="0"/>
                  </a:lnTo>
                  <a:lnTo>
                    <a:pt x="3787" y="5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CBA67E0B-BD6F-41B2-A3D3-AE0032C2BD3A}"/>
                </a:ext>
              </a:extLst>
            </p:cNvPr>
            <p:cNvSpPr/>
            <p:nvPr/>
          </p:nvSpPr>
          <p:spPr>
            <a:xfrm>
              <a:off x="3862335" y="1306007"/>
              <a:ext cx="19829" cy="14923"/>
            </a:xfrm>
            <a:custGeom>
              <a:avLst/>
              <a:gdLst>
                <a:gd name="connsiteX0" fmla="*/ 18534 w 19829"/>
                <a:gd name="connsiteY0" fmla="*/ 4676 h 14923"/>
                <a:gd name="connsiteX1" fmla="*/ 18833 w 19829"/>
                <a:gd name="connsiteY1" fmla="*/ 4278 h 14923"/>
                <a:gd name="connsiteX2" fmla="*/ 19131 w 19829"/>
                <a:gd name="connsiteY2" fmla="*/ 3980 h 14923"/>
                <a:gd name="connsiteX3" fmla="*/ 19829 w 19829"/>
                <a:gd name="connsiteY3" fmla="*/ 3980 h 14923"/>
                <a:gd name="connsiteX4" fmla="*/ 17039 w 19829"/>
                <a:gd name="connsiteY4" fmla="*/ 2089 h 14923"/>
                <a:gd name="connsiteX5" fmla="*/ 12754 w 19829"/>
                <a:gd name="connsiteY5" fmla="*/ 497 h 14923"/>
                <a:gd name="connsiteX6" fmla="*/ 8470 w 19829"/>
                <a:gd name="connsiteY6" fmla="*/ 0 h 14923"/>
                <a:gd name="connsiteX7" fmla="*/ 5381 w 19829"/>
                <a:gd name="connsiteY7" fmla="*/ 1293 h 14923"/>
                <a:gd name="connsiteX8" fmla="*/ 398 w 19829"/>
                <a:gd name="connsiteY8" fmla="*/ 7561 h 14923"/>
                <a:gd name="connsiteX9" fmla="*/ 0 w 19829"/>
                <a:gd name="connsiteY9" fmla="*/ 10148 h 14923"/>
                <a:gd name="connsiteX10" fmla="*/ 4185 w 19829"/>
                <a:gd name="connsiteY10" fmla="*/ 10446 h 14923"/>
                <a:gd name="connsiteX11" fmla="*/ 3687 w 19829"/>
                <a:gd name="connsiteY11" fmla="*/ 11640 h 14923"/>
                <a:gd name="connsiteX12" fmla="*/ 3089 w 19829"/>
                <a:gd name="connsiteY12" fmla="*/ 12635 h 14923"/>
                <a:gd name="connsiteX13" fmla="*/ 2391 w 19829"/>
                <a:gd name="connsiteY13" fmla="*/ 13331 h 14923"/>
                <a:gd name="connsiteX14" fmla="*/ 1594 w 19829"/>
                <a:gd name="connsiteY14" fmla="*/ 13829 h 14923"/>
                <a:gd name="connsiteX15" fmla="*/ 1594 w 19829"/>
                <a:gd name="connsiteY15" fmla="*/ 14824 h 14923"/>
                <a:gd name="connsiteX16" fmla="*/ 2790 w 19829"/>
                <a:gd name="connsiteY16" fmla="*/ 14127 h 14923"/>
                <a:gd name="connsiteX17" fmla="*/ 3985 w 19829"/>
                <a:gd name="connsiteY17" fmla="*/ 13829 h 14923"/>
                <a:gd name="connsiteX18" fmla="*/ 5879 w 19829"/>
                <a:gd name="connsiteY18" fmla="*/ 13829 h 14923"/>
                <a:gd name="connsiteX19" fmla="*/ 6776 w 19829"/>
                <a:gd name="connsiteY19" fmla="*/ 14028 h 14923"/>
                <a:gd name="connsiteX20" fmla="*/ 7673 w 19829"/>
                <a:gd name="connsiteY20" fmla="*/ 14625 h 14923"/>
                <a:gd name="connsiteX21" fmla="*/ 8769 w 19829"/>
                <a:gd name="connsiteY21" fmla="*/ 14923 h 14923"/>
                <a:gd name="connsiteX22" fmla="*/ 9865 w 19829"/>
                <a:gd name="connsiteY22" fmla="*/ 14326 h 14923"/>
                <a:gd name="connsiteX23" fmla="*/ 11858 w 19829"/>
                <a:gd name="connsiteY23" fmla="*/ 12536 h 14923"/>
                <a:gd name="connsiteX24" fmla="*/ 18036 w 19829"/>
                <a:gd name="connsiteY24" fmla="*/ 9451 h 14923"/>
                <a:gd name="connsiteX25" fmla="*/ 15544 w 19829"/>
                <a:gd name="connsiteY25" fmla="*/ 8357 h 14923"/>
                <a:gd name="connsiteX26" fmla="*/ 17338 w 19829"/>
                <a:gd name="connsiteY26" fmla="*/ 5770 h 14923"/>
                <a:gd name="connsiteX27" fmla="*/ 18534 w 19829"/>
                <a:gd name="connsiteY27" fmla="*/ 4676 h 14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829" h="14923">
                  <a:moveTo>
                    <a:pt x="18534" y="4676"/>
                  </a:moveTo>
                  <a:lnTo>
                    <a:pt x="18833" y="4278"/>
                  </a:lnTo>
                  <a:lnTo>
                    <a:pt x="19131" y="3980"/>
                  </a:lnTo>
                  <a:lnTo>
                    <a:pt x="19829" y="3980"/>
                  </a:lnTo>
                  <a:lnTo>
                    <a:pt x="17039" y="2089"/>
                  </a:lnTo>
                  <a:lnTo>
                    <a:pt x="12754" y="497"/>
                  </a:lnTo>
                  <a:lnTo>
                    <a:pt x="8470" y="0"/>
                  </a:lnTo>
                  <a:lnTo>
                    <a:pt x="5381" y="1293"/>
                  </a:lnTo>
                  <a:lnTo>
                    <a:pt x="398" y="7561"/>
                  </a:lnTo>
                  <a:lnTo>
                    <a:pt x="0" y="10148"/>
                  </a:lnTo>
                  <a:lnTo>
                    <a:pt x="4185" y="10446"/>
                  </a:lnTo>
                  <a:lnTo>
                    <a:pt x="3687" y="11640"/>
                  </a:lnTo>
                  <a:lnTo>
                    <a:pt x="3089" y="12635"/>
                  </a:lnTo>
                  <a:lnTo>
                    <a:pt x="2391" y="13331"/>
                  </a:lnTo>
                  <a:lnTo>
                    <a:pt x="1594" y="13829"/>
                  </a:lnTo>
                  <a:lnTo>
                    <a:pt x="1594" y="14824"/>
                  </a:lnTo>
                  <a:lnTo>
                    <a:pt x="2790" y="14127"/>
                  </a:lnTo>
                  <a:lnTo>
                    <a:pt x="3985" y="13829"/>
                  </a:lnTo>
                  <a:lnTo>
                    <a:pt x="5879" y="13829"/>
                  </a:lnTo>
                  <a:lnTo>
                    <a:pt x="6776" y="14028"/>
                  </a:lnTo>
                  <a:lnTo>
                    <a:pt x="7673" y="14625"/>
                  </a:lnTo>
                  <a:lnTo>
                    <a:pt x="8769" y="14923"/>
                  </a:lnTo>
                  <a:lnTo>
                    <a:pt x="9865" y="14326"/>
                  </a:lnTo>
                  <a:lnTo>
                    <a:pt x="11858" y="12536"/>
                  </a:lnTo>
                  <a:lnTo>
                    <a:pt x="18036" y="9451"/>
                  </a:lnTo>
                  <a:lnTo>
                    <a:pt x="15544" y="8357"/>
                  </a:lnTo>
                  <a:lnTo>
                    <a:pt x="17338" y="5770"/>
                  </a:lnTo>
                  <a:lnTo>
                    <a:pt x="18534" y="467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D03BE96B-AE72-4529-8727-666DC8E5DEF1}"/>
                </a:ext>
              </a:extLst>
            </p:cNvPr>
            <p:cNvSpPr/>
            <p:nvPr/>
          </p:nvSpPr>
          <p:spPr>
            <a:xfrm>
              <a:off x="2394079" y="533188"/>
              <a:ext cx="8370" cy="10545"/>
            </a:xfrm>
            <a:custGeom>
              <a:avLst/>
              <a:gdLst>
                <a:gd name="connsiteX0" fmla="*/ 598 w 8370"/>
                <a:gd name="connsiteY0" fmla="*/ 5969 h 10545"/>
                <a:gd name="connsiteX1" fmla="*/ 2491 w 8370"/>
                <a:gd name="connsiteY1" fmla="*/ 6367 h 10545"/>
                <a:gd name="connsiteX2" fmla="*/ 4684 w 8370"/>
                <a:gd name="connsiteY2" fmla="*/ 7462 h 10545"/>
                <a:gd name="connsiteX3" fmla="*/ 6577 w 8370"/>
                <a:gd name="connsiteY3" fmla="*/ 8854 h 10545"/>
                <a:gd name="connsiteX4" fmla="*/ 8071 w 8370"/>
                <a:gd name="connsiteY4" fmla="*/ 10546 h 10545"/>
                <a:gd name="connsiteX5" fmla="*/ 8370 w 8370"/>
                <a:gd name="connsiteY5" fmla="*/ 6964 h 10545"/>
                <a:gd name="connsiteX6" fmla="*/ 8171 w 8370"/>
                <a:gd name="connsiteY6" fmla="*/ 3681 h 10545"/>
                <a:gd name="connsiteX7" fmla="*/ 6776 w 8370"/>
                <a:gd name="connsiteY7" fmla="*/ 1194 h 10545"/>
                <a:gd name="connsiteX8" fmla="*/ 3588 w 8370"/>
                <a:gd name="connsiteY8" fmla="*/ 0 h 10545"/>
                <a:gd name="connsiteX9" fmla="*/ 1694 w 8370"/>
                <a:gd name="connsiteY9" fmla="*/ 895 h 10545"/>
                <a:gd name="connsiteX10" fmla="*/ 100 w 8370"/>
                <a:gd name="connsiteY10" fmla="*/ 2985 h 10545"/>
                <a:gd name="connsiteX11" fmla="*/ 0 w 8370"/>
                <a:gd name="connsiteY11" fmla="*/ 3383 h 10545"/>
                <a:gd name="connsiteX12" fmla="*/ 698 w 8370"/>
                <a:gd name="connsiteY12" fmla="*/ 5671 h 10545"/>
                <a:gd name="connsiteX13" fmla="*/ 598 w 8370"/>
                <a:gd name="connsiteY13" fmla="*/ 5969 h 10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370" h="10545">
                  <a:moveTo>
                    <a:pt x="598" y="5969"/>
                  </a:moveTo>
                  <a:lnTo>
                    <a:pt x="2491" y="6367"/>
                  </a:lnTo>
                  <a:lnTo>
                    <a:pt x="4684" y="7462"/>
                  </a:lnTo>
                  <a:lnTo>
                    <a:pt x="6577" y="8854"/>
                  </a:lnTo>
                  <a:lnTo>
                    <a:pt x="8071" y="10546"/>
                  </a:lnTo>
                  <a:lnTo>
                    <a:pt x="8370" y="6964"/>
                  </a:lnTo>
                  <a:lnTo>
                    <a:pt x="8171" y="3681"/>
                  </a:lnTo>
                  <a:lnTo>
                    <a:pt x="6776" y="1194"/>
                  </a:lnTo>
                  <a:lnTo>
                    <a:pt x="3588" y="0"/>
                  </a:lnTo>
                  <a:lnTo>
                    <a:pt x="1694" y="895"/>
                  </a:lnTo>
                  <a:lnTo>
                    <a:pt x="100" y="2985"/>
                  </a:lnTo>
                  <a:lnTo>
                    <a:pt x="0" y="3383"/>
                  </a:lnTo>
                  <a:lnTo>
                    <a:pt x="698" y="5671"/>
                  </a:lnTo>
                  <a:lnTo>
                    <a:pt x="598" y="596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82951305-F68E-4129-8350-624D8BB225E3}"/>
                </a:ext>
              </a:extLst>
            </p:cNvPr>
            <p:cNvSpPr/>
            <p:nvPr/>
          </p:nvSpPr>
          <p:spPr>
            <a:xfrm>
              <a:off x="2393681" y="536571"/>
              <a:ext cx="1095" cy="2586"/>
            </a:xfrm>
            <a:custGeom>
              <a:avLst/>
              <a:gdLst>
                <a:gd name="connsiteX0" fmla="*/ 996 w 1095"/>
                <a:gd name="connsiteY0" fmla="*/ 2587 h 2586"/>
                <a:gd name="connsiteX1" fmla="*/ 996 w 1095"/>
                <a:gd name="connsiteY1" fmla="*/ 2587 h 2586"/>
                <a:gd name="connsiteX2" fmla="*/ 1096 w 1095"/>
                <a:gd name="connsiteY2" fmla="*/ 2288 h 2586"/>
                <a:gd name="connsiteX3" fmla="*/ 398 w 1095"/>
                <a:gd name="connsiteY3" fmla="*/ 0 h 2586"/>
                <a:gd name="connsiteX4" fmla="*/ 0 w 1095"/>
                <a:gd name="connsiteY4" fmla="*/ 1592 h 2586"/>
                <a:gd name="connsiteX5" fmla="*/ 996 w 1095"/>
                <a:gd name="connsiteY5" fmla="*/ 2587 h 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5" h="2586">
                  <a:moveTo>
                    <a:pt x="996" y="2587"/>
                  </a:moveTo>
                  <a:lnTo>
                    <a:pt x="996" y="2587"/>
                  </a:lnTo>
                  <a:lnTo>
                    <a:pt x="1096" y="2288"/>
                  </a:lnTo>
                  <a:lnTo>
                    <a:pt x="398" y="0"/>
                  </a:lnTo>
                  <a:lnTo>
                    <a:pt x="0" y="1592"/>
                  </a:lnTo>
                  <a:lnTo>
                    <a:pt x="996" y="258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AB79FA25-7B4F-4057-B804-B7844BE21394}"/>
                </a:ext>
              </a:extLst>
            </p:cNvPr>
            <p:cNvSpPr/>
            <p:nvPr/>
          </p:nvSpPr>
          <p:spPr>
            <a:xfrm>
              <a:off x="4090620" y="501452"/>
              <a:ext cx="1737195" cy="943041"/>
            </a:xfrm>
            <a:custGeom>
              <a:avLst/>
              <a:gdLst>
                <a:gd name="connsiteX0" fmla="*/ 199188 w 1737195"/>
                <a:gd name="connsiteY0" fmla="*/ 538526 h 943041"/>
                <a:gd name="connsiteX1" fmla="*/ 193608 w 1737195"/>
                <a:gd name="connsiteY1" fmla="*/ 541809 h 943041"/>
                <a:gd name="connsiteX2" fmla="*/ 190918 w 1737195"/>
                <a:gd name="connsiteY2" fmla="*/ 543898 h 943041"/>
                <a:gd name="connsiteX3" fmla="*/ 189324 w 1737195"/>
                <a:gd name="connsiteY3" fmla="*/ 547380 h 943041"/>
                <a:gd name="connsiteX4" fmla="*/ 189324 w 1737195"/>
                <a:gd name="connsiteY4" fmla="*/ 548972 h 943041"/>
                <a:gd name="connsiteX5" fmla="*/ 189324 w 1737195"/>
                <a:gd name="connsiteY5" fmla="*/ 551757 h 943041"/>
                <a:gd name="connsiteX6" fmla="*/ 188028 w 1737195"/>
                <a:gd name="connsiteY6" fmla="*/ 554543 h 943041"/>
                <a:gd name="connsiteX7" fmla="*/ 182648 w 1737195"/>
                <a:gd name="connsiteY7" fmla="*/ 561706 h 943041"/>
                <a:gd name="connsiteX8" fmla="*/ 162719 w 1737195"/>
                <a:gd name="connsiteY8" fmla="*/ 578320 h 943041"/>
                <a:gd name="connsiteX9" fmla="*/ 160328 w 1737195"/>
                <a:gd name="connsiteY9" fmla="*/ 581305 h 943041"/>
                <a:gd name="connsiteX10" fmla="*/ 158135 w 1737195"/>
                <a:gd name="connsiteY10" fmla="*/ 585881 h 943041"/>
                <a:gd name="connsiteX11" fmla="*/ 157139 w 1737195"/>
                <a:gd name="connsiteY11" fmla="*/ 591055 h 943041"/>
                <a:gd name="connsiteX12" fmla="*/ 158434 w 1737195"/>
                <a:gd name="connsiteY12" fmla="*/ 595930 h 943041"/>
                <a:gd name="connsiteX13" fmla="*/ 157737 w 1737195"/>
                <a:gd name="connsiteY13" fmla="*/ 597024 h 943041"/>
                <a:gd name="connsiteX14" fmla="*/ 157139 w 1737195"/>
                <a:gd name="connsiteY14" fmla="*/ 599810 h 943041"/>
                <a:gd name="connsiteX15" fmla="*/ 157139 w 1737195"/>
                <a:gd name="connsiteY15" fmla="*/ 601401 h 943041"/>
                <a:gd name="connsiteX16" fmla="*/ 156043 w 1737195"/>
                <a:gd name="connsiteY16" fmla="*/ 602794 h 943041"/>
                <a:gd name="connsiteX17" fmla="*/ 153352 w 1737195"/>
                <a:gd name="connsiteY17" fmla="*/ 605282 h 943041"/>
                <a:gd name="connsiteX18" fmla="*/ 149366 w 1737195"/>
                <a:gd name="connsiteY18" fmla="*/ 612345 h 943041"/>
                <a:gd name="connsiteX19" fmla="*/ 149366 w 1737195"/>
                <a:gd name="connsiteY19" fmla="*/ 614434 h 943041"/>
                <a:gd name="connsiteX20" fmla="*/ 149366 w 1737195"/>
                <a:gd name="connsiteY20" fmla="*/ 618115 h 943041"/>
                <a:gd name="connsiteX21" fmla="*/ 151957 w 1737195"/>
                <a:gd name="connsiteY21" fmla="*/ 624682 h 943041"/>
                <a:gd name="connsiteX22" fmla="*/ 151957 w 1737195"/>
                <a:gd name="connsiteY22" fmla="*/ 627268 h 943041"/>
                <a:gd name="connsiteX23" fmla="*/ 149865 w 1737195"/>
                <a:gd name="connsiteY23" fmla="*/ 630750 h 943041"/>
                <a:gd name="connsiteX24" fmla="*/ 148669 w 1737195"/>
                <a:gd name="connsiteY24" fmla="*/ 631447 h 943041"/>
                <a:gd name="connsiteX25" fmla="*/ 146776 w 1737195"/>
                <a:gd name="connsiteY25" fmla="*/ 632243 h 943041"/>
                <a:gd name="connsiteX26" fmla="*/ 144982 w 1737195"/>
                <a:gd name="connsiteY26" fmla="*/ 632243 h 943041"/>
                <a:gd name="connsiteX27" fmla="*/ 144185 w 1737195"/>
                <a:gd name="connsiteY27" fmla="*/ 631447 h 943041"/>
                <a:gd name="connsiteX28" fmla="*/ 143488 w 1737195"/>
                <a:gd name="connsiteY28" fmla="*/ 629954 h 943041"/>
                <a:gd name="connsiteX29" fmla="*/ 141893 w 1737195"/>
                <a:gd name="connsiteY29" fmla="*/ 629954 h 943041"/>
                <a:gd name="connsiteX30" fmla="*/ 139004 w 1737195"/>
                <a:gd name="connsiteY30" fmla="*/ 630949 h 943041"/>
                <a:gd name="connsiteX31" fmla="*/ 129039 w 1737195"/>
                <a:gd name="connsiteY31" fmla="*/ 629457 h 943041"/>
                <a:gd name="connsiteX32" fmla="*/ 126847 w 1737195"/>
                <a:gd name="connsiteY32" fmla="*/ 630352 h 943041"/>
                <a:gd name="connsiteX33" fmla="*/ 125751 w 1737195"/>
                <a:gd name="connsiteY33" fmla="*/ 631049 h 943041"/>
                <a:gd name="connsiteX34" fmla="*/ 122961 w 1737195"/>
                <a:gd name="connsiteY34" fmla="*/ 631546 h 943041"/>
                <a:gd name="connsiteX35" fmla="*/ 121666 w 1737195"/>
                <a:gd name="connsiteY35" fmla="*/ 632541 h 943041"/>
                <a:gd name="connsiteX36" fmla="*/ 118875 w 1737195"/>
                <a:gd name="connsiteY36" fmla="*/ 636421 h 943041"/>
                <a:gd name="connsiteX37" fmla="*/ 117779 w 1737195"/>
                <a:gd name="connsiteY37" fmla="*/ 637515 h 943041"/>
                <a:gd name="connsiteX38" fmla="*/ 110705 w 1737195"/>
                <a:gd name="connsiteY38" fmla="*/ 641694 h 943041"/>
                <a:gd name="connsiteX39" fmla="*/ 108612 w 1737195"/>
                <a:gd name="connsiteY39" fmla="*/ 643584 h 943041"/>
                <a:gd name="connsiteX40" fmla="*/ 107417 w 1737195"/>
                <a:gd name="connsiteY40" fmla="*/ 644181 h 943041"/>
                <a:gd name="connsiteX41" fmla="*/ 104626 w 1737195"/>
                <a:gd name="connsiteY41" fmla="*/ 644181 h 943041"/>
                <a:gd name="connsiteX42" fmla="*/ 103431 w 1737195"/>
                <a:gd name="connsiteY42" fmla="*/ 644778 h 943041"/>
                <a:gd name="connsiteX43" fmla="*/ 93466 w 1737195"/>
                <a:gd name="connsiteY43" fmla="*/ 655921 h 943041"/>
                <a:gd name="connsiteX44" fmla="*/ 88384 w 1737195"/>
                <a:gd name="connsiteY44" fmla="*/ 659602 h 943041"/>
                <a:gd name="connsiteX45" fmla="*/ 82904 w 1737195"/>
                <a:gd name="connsiteY45" fmla="*/ 661591 h 943041"/>
                <a:gd name="connsiteX46" fmla="*/ 70548 w 1737195"/>
                <a:gd name="connsiteY46" fmla="*/ 661591 h 943041"/>
                <a:gd name="connsiteX47" fmla="*/ 68157 w 1737195"/>
                <a:gd name="connsiteY47" fmla="*/ 662487 h 943041"/>
                <a:gd name="connsiteX48" fmla="*/ 63673 w 1737195"/>
                <a:gd name="connsiteY48" fmla="*/ 666466 h 943041"/>
                <a:gd name="connsiteX49" fmla="*/ 61182 w 1737195"/>
                <a:gd name="connsiteY49" fmla="*/ 667461 h 943041"/>
                <a:gd name="connsiteX50" fmla="*/ 49922 w 1737195"/>
                <a:gd name="connsiteY50" fmla="*/ 669650 h 943041"/>
                <a:gd name="connsiteX51" fmla="*/ 47231 w 1737195"/>
                <a:gd name="connsiteY51" fmla="*/ 670545 h 943041"/>
                <a:gd name="connsiteX52" fmla="*/ 43844 w 1737195"/>
                <a:gd name="connsiteY52" fmla="*/ 673530 h 943041"/>
                <a:gd name="connsiteX53" fmla="*/ 42448 w 1737195"/>
                <a:gd name="connsiteY53" fmla="*/ 674326 h 943041"/>
                <a:gd name="connsiteX54" fmla="*/ 40954 w 1737195"/>
                <a:gd name="connsiteY54" fmla="*/ 675022 h 943041"/>
                <a:gd name="connsiteX55" fmla="*/ 39659 w 1737195"/>
                <a:gd name="connsiteY55" fmla="*/ 675022 h 943041"/>
                <a:gd name="connsiteX56" fmla="*/ 38363 w 1737195"/>
                <a:gd name="connsiteY56" fmla="*/ 675719 h 943041"/>
                <a:gd name="connsiteX57" fmla="*/ 38363 w 1737195"/>
                <a:gd name="connsiteY57" fmla="*/ 677211 h 943041"/>
                <a:gd name="connsiteX58" fmla="*/ 38363 w 1737195"/>
                <a:gd name="connsiteY58" fmla="*/ 679101 h 943041"/>
                <a:gd name="connsiteX59" fmla="*/ 38363 w 1737195"/>
                <a:gd name="connsiteY59" fmla="*/ 680494 h 943041"/>
                <a:gd name="connsiteX60" fmla="*/ 34577 w 1737195"/>
                <a:gd name="connsiteY60" fmla="*/ 685070 h 943041"/>
                <a:gd name="connsiteX61" fmla="*/ 29893 w 1737195"/>
                <a:gd name="connsiteY61" fmla="*/ 688155 h 943041"/>
                <a:gd name="connsiteX62" fmla="*/ 9964 w 1737195"/>
                <a:gd name="connsiteY62" fmla="*/ 696710 h 943041"/>
                <a:gd name="connsiteX63" fmla="*/ 0 w 1737195"/>
                <a:gd name="connsiteY63" fmla="*/ 698999 h 943041"/>
                <a:gd name="connsiteX64" fmla="*/ 2192 w 1737195"/>
                <a:gd name="connsiteY64" fmla="*/ 698999 h 943041"/>
                <a:gd name="connsiteX65" fmla="*/ 14847 w 1737195"/>
                <a:gd name="connsiteY65" fmla="*/ 698999 h 943041"/>
                <a:gd name="connsiteX66" fmla="*/ 27502 w 1737195"/>
                <a:gd name="connsiteY66" fmla="*/ 698999 h 943041"/>
                <a:gd name="connsiteX67" fmla="*/ 128641 w 1737195"/>
                <a:gd name="connsiteY67" fmla="*/ 698999 h 943041"/>
                <a:gd name="connsiteX68" fmla="*/ 141196 w 1737195"/>
                <a:gd name="connsiteY68" fmla="*/ 698999 h 943041"/>
                <a:gd name="connsiteX69" fmla="*/ 240939 w 1737195"/>
                <a:gd name="connsiteY69" fmla="*/ 698999 h 943041"/>
                <a:gd name="connsiteX70" fmla="*/ 253495 w 1737195"/>
                <a:gd name="connsiteY70" fmla="*/ 698999 h 943041"/>
                <a:gd name="connsiteX71" fmla="*/ 405253 w 1737195"/>
                <a:gd name="connsiteY71" fmla="*/ 698999 h 943041"/>
                <a:gd name="connsiteX72" fmla="*/ 405253 w 1737195"/>
                <a:gd name="connsiteY72" fmla="*/ 695318 h 943041"/>
                <a:gd name="connsiteX73" fmla="*/ 405253 w 1737195"/>
                <a:gd name="connsiteY73" fmla="*/ 692731 h 943041"/>
                <a:gd name="connsiteX74" fmla="*/ 406249 w 1737195"/>
                <a:gd name="connsiteY74" fmla="*/ 690542 h 943041"/>
                <a:gd name="connsiteX75" fmla="*/ 411331 w 1737195"/>
                <a:gd name="connsiteY75" fmla="*/ 683379 h 943041"/>
                <a:gd name="connsiteX76" fmla="*/ 412029 w 1737195"/>
                <a:gd name="connsiteY76" fmla="*/ 681688 h 943041"/>
                <a:gd name="connsiteX77" fmla="*/ 412726 w 1737195"/>
                <a:gd name="connsiteY77" fmla="*/ 678703 h 943041"/>
                <a:gd name="connsiteX78" fmla="*/ 412726 w 1737195"/>
                <a:gd name="connsiteY78" fmla="*/ 677012 h 943041"/>
                <a:gd name="connsiteX79" fmla="*/ 416413 w 1737195"/>
                <a:gd name="connsiteY79" fmla="*/ 671341 h 943041"/>
                <a:gd name="connsiteX80" fmla="*/ 417210 w 1737195"/>
                <a:gd name="connsiteY80" fmla="*/ 668356 h 943041"/>
                <a:gd name="connsiteX81" fmla="*/ 415118 w 1737195"/>
                <a:gd name="connsiteY81" fmla="*/ 666367 h 943041"/>
                <a:gd name="connsiteX82" fmla="*/ 411829 w 1737195"/>
                <a:gd name="connsiteY82" fmla="*/ 664875 h 943041"/>
                <a:gd name="connsiteX83" fmla="*/ 413125 w 1737195"/>
                <a:gd name="connsiteY83" fmla="*/ 663780 h 943041"/>
                <a:gd name="connsiteX84" fmla="*/ 418705 w 1737195"/>
                <a:gd name="connsiteY84" fmla="*/ 662487 h 943041"/>
                <a:gd name="connsiteX85" fmla="*/ 420398 w 1737195"/>
                <a:gd name="connsiteY85" fmla="*/ 660995 h 943041"/>
                <a:gd name="connsiteX86" fmla="*/ 424085 w 1737195"/>
                <a:gd name="connsiteY86" fmla="*/ 656518 h 943041"/>
                <a:gd name="connsiteX87" fmla="*/ 426377 w 1737195"/>
                <a:gd name="connsiteY87" fmla="*/ 654826 h 943041"/>
                <a:gd name="connsiteX88" fmla="*/ 429267 w 1737195"/>
                <a:gd name="connsiteY88" fmla="*/ 654030 h 943041"/>
                <a:gd name="connsiteX89" fmla="*/ 431559 w 1737195"/>
                <a:gd name="connsiteY89" fmla="*/ 654030 h 943041"/>
                <a:gd name="connsiteX90" fmla="*/ 442220 w 1737195"/>
                <a:gd name="connsiteY90" fmla="*/ 660099 h 943041"/>
                <a:gd name="connsiteX91" fmla="*/ 445210 w 1737195"/>
                <a:gd name="connsiteY91" fmla="*/ 661094 h 943041"/>
                <a:gd name="connsiteX92" fmla="*/ 448398 w 1737195"/>
                <a:gd name="connsiteY92" fmla="*/ 661094 h 943041"/>
                <a:gd name="connsiteX93" fmla="*/ 450790 w 1737195"/>
                <a:gd name="connsiteY93" fmla="*/ 660000 h 943041"/>
                <a:gd name="connsiteX94" fmla="*/ 454676 w 1737195"/>
                <a:gd name="connsiteY94" fmla="*/ 654428 h 943041"/>
                <a:gd name="connsiteX95" fmla="*/ 456669 w 1737195"/>
                <a:gd name="connsiteY95" fmla="*/ 652240 h 943041"/>
                <a:gd name="connsiteX96" fmla="*/ 457865 w 1737195"/>
                <a:gd name="connsiteY96" fmla="*/ 652240 h 943041"/>
                <a:gd name="connsiteX97" fmla="*/ 457865 w 1737195"/>
                <a:gd name="connsiteY97" fmla="*/ 652240 h 943041"/>
                <a:gd name="connsiteX98" fmla="*/ 460555 w 1737195"/>
                <a:gd name="connsiteY98" fmla="*/ 651742 h 943041"/>
                <a:gd name="connsiteX99" fmla="*/ 461751 w 1737195"/>
                <a:gd name="connsiteY99" fmla="*/ 651742 h 943041"/>
                <a:gd name="connsiteX100" fmla="*/ 464043 w 1737195"/>
                <a:gd name="connsiteY100" fmla="*/ 649653 h 943041"/>
                <a:gd name="connsiteX101" fmla="*/ 465139 w 1737195"/>
                <a:gd name="connsiteY101" fmla="*/ 647862 h 943041"/>
                <a:gd name="connsiteX102" fmla="*/ 466534 w 1737195"/>
                <a:gd name="connsiteY102" fmla="*/ 646469 h 943041"/>
                <a:gd name="connsiteX103" fmla="*/ 469523 w 1737195"/>
                <a:gd name="connsiteY103" fmla="*/ 645673 h 943041"/>
                <a:gd name="connsiteX104" fmla="*/ 472712 w 1737195"/>
                <a:gd name="connsiteY104" fmla="*/ 646270 h 943041"/>
                <a:gd name="connsiteX105" fmla="*/ 474804 w 1737195"/>
                <a:gd name="connsiteY105" fmla="*/ 648260 h 943041"/>
                <a:gd name="connsiteX106" fmla="*/ 480384 w 1737195"/>
                <a:gd name="connsiteY106" fmla="*/ 661989 h 943041"/>
                <a:gd name="connsiteX107" fmla="*/ 482278 w 1737195"/>
                <a:gd name="connsiteY107" fmla="*/ 663880 h 943041"/>
                <a:gd name="connsiteX108" fmla="*/ 484569 w 1737195"/>
                <a:gd name="connsiteY108" fmla="*/ 662089 h 943041"/>
                <a:gd name="connsiteX109" fmla="*/ 484569 w 1737195"/>
                <a:gd name="connsiteY109" fmla="*/ 660596 h 943041"/>
                <a:gd name="connsiteX110" fmla="*/ 484569 w 1737195"/>
                <a:gd name="connsiteY110" fmla="*/ 657512 h 943041"/>
                <a:gd name="connsiteX111" fmla="*/ 484569 w 1737195"/>
                <a:gd name="connsiteY111" fmla="*/ 656120 h 943041"/>
                <a:gd name="connsiteX112" fmla="*/ 485566 w 1737195"/>
                <a:gd name="connsiteY112" fmla="*/ 654926 h 943041"/>
                <a:gd name="connsiteX113" fmla="*/ 488156 w 1737195"/>
                <a:gd name="connsiteY113" fmla="*/ 653235 h 943041"/>
                <a:gd name="connsiteX114" fmla="*/ 489053 w 1737195"/>
                <a:gd name="connsiteY114" fmla="*/ 651842 h 943041"/>
                <a:gd name="connsiteX115" fmla="*/ 489053 w 1737195"/>
                <a:gd name="connsiteY115" fmla="*/ 648758 h 943041"/>
                <a:gd name="connsiteX116" fmla="*/ 489053 w 1737195"/>
                <a:gd name="connsiteY116" fmla="*/ 641694 h 943041"/>
                <a:gd name="connsiteX117" fmla="*/ 489053 w 1737195"/>
                <a:gd name="connsiteY117" fmla="*/ 638411 h 943041"/>
                <a:gd name="connsiteX118" fmla="*/ 490149 w 1737195"/>
                <a:gd name="connsiteY118" fmla="*/ 635625 h 943041"/>
                <a:gd name="connsiteX119" fmla="*/ 491744 w 1737195"/>
                <a:gd name="connsiteY119" fmla="*/ 633536 h 943041"/>
                <a:gd name="connsiteX120" fmla="*/ 494036 w 1737195"/>
                <a:gd name="connsiteY120" fmla="*/ 632442 h 943041"/>
                <a:gd name="connsiteX121" fmla="*/ 496925 w 1737195"/>
                <a:gd name="connsiteY121" fmla="*/ 632442 h 943041"/>
                <a:gd name="connsiteX122" fmla="*/ 499416 w 1737195"/>
                <a:gd name="connsiteY122" fmla="*/ 633735 h 943041"/>
                <a:gd name="connsiteX123" fmla="*/ 503800 w 1737195"/>
                <a:gd name="connsiteY123" fmla="*/ 637715 h 943041"/>
                <a:gd name="connsiteX124" fmla="*/ 506491 w 1737195"/>
                <a:gd name="connsiteY124" fmla="*/ 639107 h 943041"/>
                <a:gd name="connsiteX125" fmla="*/ 509182 w 1737195"/>
                <a:gd name="connsiteY125" fmla="*/ 639107 h 943041"/>
                <a:gd name="connsiteX126" fmla="*/ 511971 w 1737195"/>
                <a:gd name="connsiteY126" fmla="*/ 638013 h 943041"/>
                <a:gd name="connsiteX127" fmla="*/ 513466 w 1737195"/>
                <a:gd name="connsiteY127" fmla="*/ 635924 h 943041"/>
                <a:gd name="connsiteX128" fmla="*/ 512370 w 1737195"/>
                <a:gd name="connsiteY128" fmla="*/ 632939 h 943041"/>
                <a:gd name="connsiteX129" fmla="*/ 510078 w 1737195"/>
                <a:gd name="connsiteY129" fmla="*/ 631049 h 943041"/>
                <a:gd name="connsiteX130" fmla="*/ 505096 w 1737195"/>
                <a:gd name="connsiteY130" fmla="*/ 628263 h 943041"/>
                <a:gd name="connsiteX131" fmla="*/ 503203 w 1737195"/>
                <a:gd name="connsiteY131" fmla="*/ 625875 h 943041"/>
                <a:gd name="connsiteX132" fmla="*/ 502007 w 1737195"/>
                <a:gd name="connsiteY132" fmla="*/ 622592 h 943041"/>
                <a:gd name="connsiteX133" fmla="*/ 502007 w 1737195"/>
                <a:gd name="connsiteY133" fmla="*/ 619906 h 943041"/>
                <a:gd name="connsiteX134" fmla="*/ 507587 w 1737195"/>
                <a:gd name="connsiteY134" fmla="*/ 609957 h 943041"/>
                <a:gd name="connsiteX135" fmla="*/ 519844 w 1737195"/>
                <a:gd name="connsiteY135" fmla="*/ 597124 h 943041"/>
                <a:gd name="connsiteX136" fmla="*/ 522035 w 1737195"/>
                <a:gd name="connsiteY136" fmla="*/ 595432 h 943041"/>
                <a:gd name="connsiteX137" fmla="*/ 529309 w 1737195"/>
                <a:gd name="connsiteY137" fmla="*/ 592348 h 943041"/>
                <a:gd name="connsiteX138" fmla="*/ 533096 w 1737195"/>
                <a:gd name="connsiteY138" fmla="*/ 589463 h 943041"/>
                <a:gd name="connsiteX139" fmla="*/ 534691 w 1737195"/>
                <a:gd name="connsiteY139" fmla="*/ 588767 h 943041"/>
                <a:gd name="connsiteX140" fmla="*/ 538875 w 1737195"/>
                <a:gd name="connsiteY140" fmla="*/ 588767 h 943041"/>
                <a:gd name="connsiteX141" fmla="*/ 540271 w 1737195"/>
                <a:gd name="connsiteY141" fmla="*/ 588767 h 943041"/>
                <a:gd name="connsiteX142" fmla="*/ 542861 w 1737195"/>
                <a:gd name="connsiteY142" fmla="*/ 586976 h 943041"/>
                <a:gd name="connsiteX143" fmla="*/ 544356 w 1737195"/>
                <a:gd name="connsiteY143" fmla="*/ 584588 h 943041"/>
                <a:gd name="connsiteX144" fmla="*/ 544954 w 1737195"/>
                <a:gd name="connsiteY144" fmla="*/ 581703 h 943041"/>
                <a:gd name="connsiteX145" fmla="*/ 544954 w 1737195"/>
                <a:gd name="connsiteY145" fmla="*/ 578221 h 943041"/>
                <a:gd name="connsiteX146" fmla="*/ 544455 w 1737195"/>
                <a:gd name="connsiteY146" fmla="*/ 576530 h 943041"/>
                <a:gd name="connsiteX147" fmla="*/ 543758 w 1737195"/>
                <a:gd name="connsiteY147" fmla="*/ 575535 h 943041"/>
                <a:gd name="connsiteX148" fmla="*/ 543260 w 1737195"/>
                <a:gd name="connsiteY148" fmla="*/ 574540 h 943041"/>
                <a:gd name="connsiteX149" fmla="*/ 543260 w 1737195"/>
                <a:gd name="connsiteY149" fmla="*/ 572849 h 943041"/>
                <a:gd name="connsiteX150" fmla="*/ 543957 w 1737195"/>
                <a:gd name="connsiteY150" fmla="*/ 571854 h 943041"/>
                <a:gd name="connsiteX151" fmla="*/ 546448 w 1737195"/>
                <a:gd name="connsiteY151" fmla="*/ 569466 h 943041"/>
                <a:gd name="connsiteX152" fmla="*/ 556413 w 1737195"/>
                <a:gd name="connsiteY152" fmla="*/ 562601 h 943041"/>
                <a:gd name="connsiteX153" fmla="*/ 560199 w 1737195"/>
                <a:gd name="connsiteY153" fmla="*/ 558920 h 943041"/>
                <a:gd name="connsiteX154" fmla="*/ 562790 w 1737195"/>
                <a:gd name="connsiteY154" fmla="*/ 553648 h 943041"/>
                <a:gd name="connsiteX155" fmla="*/ 563687 w 1737195"/>
                <a:gd name="connsiteY155" fmla="*/ 549469 h 943041"/>
                <a:gd name="connsiteX156" fmla="*/ 562690 w 1737195"/>
                <a:gd name="connsiteY156" fmla="*/ 548275 h 943041"/>
                <a:gd name="connsiteX157" fmla="*/ 560498 w 1737195"/>
                <a:gd name="connsiteY157" fmla="*/ 547778 h 943041"/>
                <a:gd name="connsiteX158" fmla="*/ 557609 w 1737195"/>
                <a:gd name="connsiteY158" fmla="*/ 546286 h 943041"/>
                <a:gd name="connsiteX159" fmla="*/ 556014 w 1737195"/>
                <a:gd name="connsiteY159" fmla="*/ 543997 h 943041"/>
                <a:gd name="connsiteX160" fmla="*/ 556014 w 1737195"/>
                <a:gd name="connsiteY160" fmla="*/ 541411 h 943041"/>
                <a:gd name="connsiteX161" fmla="*/ 557409 w 1737195"/>
                <a:gd name="connsiteY161" fmla="*/ 535541 h 943041"/>
                <a:gd name="connsiteX162" fmla="*/ 557409 w 1737195"/>
                <a:gd name="connsiteY162" fmla="*/ 535043 h 943041"/>
                <a:gd name="connsiteX163" fmla="*/ 558605 w 1737195"/>
                <a:gd name="connsiteY163" fmla="*/ 533949 h 943041"/>
                <a:gd name="connsiteX164" fmla="*/ 558605 w 1737195"/>
                <a:gd name="connsiteY164" fmla="*/ 533352 h 943041"/>
                <a:gd name="connsiteX165" fmla="*/ 558605 w 1737195"/>
                <a:gd name="connsiteY165" fmla="*/ 532457 h 943041"/>
                <a:gd name="connsiteX166" fmla="*/ 558605 w 1737195"/>
                <a:gd name="connsiteY166" fmla="*/ 531860 h 943041"/>
                <a:gd name="connsiteX167" fmla="*/ 558007 w 1737195"/>
                <a:gd name="connsiteY167" fmla="*/ 531263 h 943041"/>
                <a:gd name="connsiteX168" fmla="*/ 558007 w 1737195"/>
                <a:gd name="connsiteY168" fmla="*/ 530567 h 943041"/>
                <a:gd name="connsiteX169" fmla="*/ 557110 w 1737195"/>
                <a:gd name="connsiteY169" fmla="*/ 529572 h 943041"/>
                <a:gd name="connsiteX170" fmla="*/ 557110 w 1737195"/>
                <a:gd name="connsiteY170" fmla="*/ 528378 h 943041"/>
                <a:gd name="connsiteX171" fmla="*/ 558704 w 1737195"/>
                <a:gd name="connsiteY171" fmla="*/ 526786 h 943041"/>
                <a:gd name="connsiteX172" fmla="*/ 563288 w 1737195"/>
                <a:gd name="connsiteY172" fmla="*/ 524000 h 943041"/>
                <a:gd name="connsiteX173" fmla="*/ 565182 w 1737195"/>
                <a:gd name="connsiteY173" fmla="*/ 521712 h 943041"/>
                <a:gd name="connsiteX174" fmla="*/ 565879 w 1737195"/>
                <a:gd name="connsiteY174" fmla="*/ 518429 h 943041"/>
                <a:gd name="connsiteX175" fmla="*/ 565182 w 1737195"/>
                <a:gd name="connsiteY175" fmla="*/ 514847 h 943041"/>
                <a:gd name="connsiteX176" fmla="*/ 563388 w 1737195"/>
                <a:gd name="connsiteY176" fmla="*/ 511564 h 943041"/>
                <a:gd name="connsiteX177" fmla="*/ 560697 w 1737195"/>
                <a:gd name="connsiteY177" fmla="*/ 510172 h 943041"/>
                <a:gd name="connsiteX178" fmla="*/ 560697 w 1737195"/>
                <a:gd name="connsiteY178" fmla="*/ 506888 h 943041"/>
                <a:gd name="connsiteX179" fmla="*/ 564185 w 1737195"/>
                <a:gd name="connsiteY179" fmla="*/ 500521 h 943041"/>
                <a:gd name="connsiteX180" fmla="*/ 566377 w 1737195"/>
                <a:gd name="connsiteY180" fmla="*/ 494552 h 943041"/>
                <a:gd name="connsiteX181" fmla="*/ 567971 w 1737195"/>
                <a:gd name="connsiteY181" fmla="*/ 492463 h 943041"/>
                <a:gd name="connsiteX182" fmla="*/ 570662 w 1737195"/>
                <a:gd name="connsiteY182" fmla="*/ 491766 h 943041"/>
                <a:gd name="connsiteX183" fmla="*/ 570662 w 1737195"/>
                <a:gd name="connsiteY183" fmla="*/ 490175 h 943041"/>
                <a:gd name="connsiteX184" fmla="*/ 570662 w 1737195"/>
                <a:gd name="connsiteY184" fmla="*/ 486593 h 943041"/>
                <a:gd name="connsiteX185" fmla="*/ 571758 w 1737195"/>
                <a:gd name="connsiteY185" fmla="*/ 483111 h 943041"/>
                <a:gd name="connsiteX186" fmla="*/ 574448 w 1737195"/>
                <a:gd name="connsiteY186" fmla="*/ 481519 h 943041"/>
                <a:gd name="connsiteX187" fmla="*/ 576242 w 1737195"/>
                <a:gd name="connsiteY187" fmla="*/ 480823 h 943041"/>
                <a:gd name="connsiteX188" fmla="*/ 586206 w 1737195"/>
                <a:gd name="connsiteY188" fmla="*/ 473262 h 943041"/>
                <a:gd name="connsiteX189" fmla="*/ 587701 w 1737195"/>
                <a:gd name="connsiteY189" fmla="*/ 468984 h 943041"/>
                <a:gd name="connsiteX190" fmla="*/ 589196 w 1737195"/>
                <a:gd name="connsiteY190" fmla="*/ 458339 h 943041"/>
                <a:gd name="connsiteX191" fmla="*/ 591388 w 1737195"/>
                <a:gd name="connsiteY191" fmla="*/ 442321 h 943041"/>
                <a:gd name="connsiteX192" fmla="*/ 592584 w 1737195"/>
                <a:gd name="connsiteY192" fmla="*/ 433865 h 943041"/>
                <a:gd name="connsiteX193" fmla="*/ 594577 w 1737195"/>
                <a:gd name="connsiteY193" fmla="*/ 426901 h 943041"/>
                <a:gd name="connsiteX194" fmla="*/ 596868 w 1737195"/>
                <a:gd name="connsiteY194" fmla="*/ 424015 h 943041"/>
                <a:gd name="connsiteX195" fmla="*/ 608327 w 1737195"/>
                <a:gd name="connsiteY195" fmla="*/ 409391 h 943041"/>
                <a:gd name="connsiteX196" fmla="*/ 619786 w 1737195"/>
                <a:gd name="connsiteY196" fmla="*/ 394766 h 943041"/>
                <a:gd name="connsiteX197" fmla="*/ 631146 w 1737195"/>
                <a:gd name="connsiteY197" fmla="*/ 380042 h 943041"/>
                <a:gd name="connsiteX198" fmla="*/ 642605 w 1737195"/>
                <a:gd name="connsiteY198" fmla="*/ 365417 h 943041"/>
                <a:gd name="connsiteX199" fmla="*/ 654064 w 1737195"/>
                <a:gd name="connsiteY199" fmla="*/ 350693 h 943041"/>
                <a:gd name="connsiteX200" fmla="*/ 665523 w 1737195"/>
                <a:gd name="connsiteY200" fmla="*/ 335969 h 943041"/>
                <a:gd name="connsiteX201" fmla="*/ 676982 w 1737195"/>
                <a:gd name="connsiteY201" fmla="*/ 321245 h 943041"/>
                <a:gd name="connsiteX202" fmla="*/ 688342 w 1737195"/>
                <a:gd name="connsiteY202" fmla="*/ 303437 h 943041"/>
                <a:gd name="connsiteX203" fmla="*/ 690434 w 1737195"/>
                <a:gd name="connsiteY203" fmla="*/ 301248 h 943041"/>
                <a:gd name="connsiteX204" fmla="*/ 692128 w 1737195"/>
                <a:gd name="connsiteY204" fmla="*/ 300353 h 943041"/>
                <a:gd name="connsiteX205" fmla="*/ 694121 w 1737195"/>
                <a:gd name="connsiteY205" fmla="*/ 300353 h 943041"/>
                <a:gd name="connsiteX206" fmla="*/ 713452 w 1737195"/>
                <a:gd name="connsiteY206" fmla="*/ 304929 h 943041"/>
                <a:gd name="connsiteX207" fmla="*/ 715345 w 1737195"/>
                <a:gd name="connsiteY207" fmla="*/ 307118 h 943041"/>
                <a:gd name="connsiteX208" fmla="*/ 715345 w 1737195"/>
                <a:gd name="connsiteY208" fmla="*/ 311893 h 943041"/>
                <a:gd name="connsiteX209" fmla="*/ 713850 w 1737195"/>
                <a:gd name="connsiteY209" fmla="*/ 321842 h 943041"/>
                <a:gd name="connsiteX210" fmla="*/ 713850 w 1737195"/>
                <a:gd name="connsiteY210" fmla="*/ 327314 h 943041"/>
                <a:gd name="connsiteX211" fmla="*/ 713850 w 1737195"/>
                <a:gd name="connsiteY211" fmla="*/ 328209 h 943041"/>
                <a:gd name="connsiteX212" fmla="*/ 714548 w 1737195"/>
                <a:gd name="connsiteY212" fmla="*/ 331691 h 943041"/>
                <a:gd name="connsiteX213" fmla="*/ 716740 w 1737195"/>
                <a:gd name="connsiteY213" fmla="*/ 334974 h 943041"/>
                <a:gd name="connsiteX214" fmla="*/ 733679 w 1737195"/>
                <a:gd name="connsiteY214" fmla="*/ 344923 h 943041"/>
                <a:gd name="connsiteX215" fmla="*/ 735772 w 1737195"/>
                <a:gd name="connsiteY215" fmla="*/ 344923 h 943041"/>
                <a:gd name="connsiteX216" fmla="*/ 752014 w 1737195"/>
                <a:gd name="connsiteY216" fmla="*/ 337262 h 943041"/>
                <a:gd name="connsiteX217" fmla="*/ 757594 w 1737195"/>
                <a:gd name="connsiteY217" fmla="*/ 335969 h 943041"/>
                <a:gd name="connsiteX218" fmla="*/ 763872 w 1737195"/>
                <a:gd name="connsiteY218" fmla="*/ 335969 h 943041"/>
                <a:gd name="connsiteX219" fmla="*/ 766961 w 1737195"/>
                <a:gd name="connsiteY219" fmla="*/ 335969 h 943041"/>
                <a:gd name="connsiteX220" fmla="*/ 769252 w 1737195"/>
                <a:gd name="connsiteY220" fmla="*/ 334377 h 943041"/>
                <a:gd name="connsiteX221" fmla="*/ 771544 w 1737195"/>
                <a:gd name="connsiteY221" fmla="*/ 331890 h 943041"/>
                <a:gd name="connsiteX222" fmla="*/ 774434 w 1737195"/>
                <a:gd name="connsiteY222" fmla="*/ 329801 h 943041"/>
                <a:gd name="connsiteX223" fmla="*/ 780213 w 1737195"/>
                <a:gd name="connsiteY223" fmla="*/ 327015 h 943041"/>
                <a:gd name="connsiteX224" fmla="*/ 782904 w 1737195"/>
                <a:gd name="connsiteY224" fmla="*/ 326219 h 943041"/>
                <a:gd name="connsiteX225" fmla="*/ 786292 w 1737195"/>
                <a:gd name="connsiteY225" fmla="*/ 326219 h 943041"/>
                <a:gd name="connsiteX226" fmla="*/ 789381 w 1737195"/>
                <a:gd name="connsiteY226" fmla="*/ 326219 h 943041"/>
                <a:gd name="connsiteX227" fmla="*/ 793366 w 1737195"/>
                <a:gd name="connsiteY227" fmla="*/ 328607 h 943041"/>
                <a:gd name="connsiteX228" fmla="*/ 795061 w 1737195"/>
                <a:gd name="connsiteY228" fmla="*/ 328607 h 943041"/>
                <a:gd name="connsiteX229" fmla="*/ 796555 w 1737195"/>
                <a:gd name="connsiteY229" fmla="*/ 327911 h 943041"/>
                <a:gd name="connsiteX230" fmla="*/ 799744 w 1737195"/>
                <a:gd name="connsiteY230" fmla="*/ 327214 h 943041"/>
                <a:gd name="connsiteX231" fmla="*/ 799744 w 1737195"/>
                <a:gd name="connsiteY231" fmla="*/ 326319 h 943041"/>
                <a:gd name="connsiteX232" fmla="*/ 799744 w 1737195"/>
                <a:gd name="connsiteY232" fmla="*/ 324926 h 943041"/>
                <a:gd name="connsiteX233" fmla="*/ 799744 w 1737195"/>
                <a:gd name="connsiteY233" fmla="*/ 322936 h 943041"/>
                <a:gd name="connsiteX234" fmla="*/ 804128 w 1737195"/>
                <a:gd name="connsiteY234" fmla="*/ 317862 h 943041"/>
                <a:gd name="connsiteX235" fmla="*/ 810206 w 1737195"/>
                <a:gd name="connsiteY235" fmla="*/ 316370 h 943041"/>
                <a:gd name="connsiteX236" fmla="*/ 816982 w 1737195"/>
                <a:gd name="connsiteY236" fmla="*/ 317564 h 943041"/>
                <a:gd name="connsiteX237" fmla="*/ 823259 w 1737195"/>
                <a:gd name="connsiteY237" fmla="*/ 320648 h 943041"/>
                <a:gd name="connsiteX238" fmla="*/ 824854 w 1737195"/>
                <a:gd name="connsiteY238" fmla="*/ 322041 h 943041"/>
                <a:gd name="connsiteX239" fmla="*/ 828441 w 1737195"/>
                <a:gd name="connsiteY239" fmla="*/ 326319 h 943041"/>
                <a:gd name="connsiteX240" fmla="*/ 829836 w 1737195"/>
                <a:gd name="connsiteY240" fmla="*/ 327214 h 943041"/>
                <a:gd name="connsiteX241" fmla="*/ 833623 w 1737195"/>
                <a:gd name="connsiteY241" fmla="*/ 328706 h 943041"/>
                <a:gd name="connsiteX242" fmla="*/ 835317 w 1737195"/>
                <a:gd name="connsiteY242" fmla="*/ 329801 h 943041"/>
                <a:gd name="connsiteX243" fmla="*/ 843188 w 1737195"/>
                <a:gd name="connsiteY243" fmla="*/ 336467 h 943041"/>
                <a:gd name="connsiteX244" fmla="*/ 849067 w 1737195"/>
                <a:gd name="connsiteY244" fmla="*/ 340048 h 943041"/>
                <a:gd name="connsiteX245" fmla="*/ 852954 w 1737195"/>
                <a:gd name="connsiteY245" fmla="*/ 344227 h 943041"/>
                <a:gd name="connsiteX246" fmla="*/ 854050 w 1737195"/>
                <a:gd name="connsiteY246" fmla="*/ 346017 h 943041"/>
                <a:gd name="connsiteX247" fmla="*/ 854050 w 1737195"/>
                <a:gd name="connsiteY247" fmla="*/ 348305 h 943041"/>
                <a:gd name="connsiteX248" fmla="*/ 854847 w 1737195"/>
                <a:gd name="connsiteY248" fmla="*/ 349698 h 943041"/>
                <a:gd name="connsiteX249" fmla="*/ 860427 w 1737195"/>
                <a:gd name="connsiteY249" fmla="*/ 353877 h 943041"/>
                <a:gd name="connsiteX250" fmla="*/ 864114 w 1737195"/>
                <a:gd name="connsiteY250" fmla="*/ 359050 h 943041"/>
                <a:gd name="connsiteX251" fmla="*/ 866107 w 1737195"/>
                <a:gd name="connsiteY251" fmla="*/ 360642 h 943041"/>
                <a:gd name="connsiteX252" fmla="*/ 871288 w 1737195"/>
                <a:gd name="connsiteY252" fmla="*/ 363229 h 943041"/>
                <a:gd name="connsiteX253" fmla="*/ 871985 w 1737195"/>
                <a:gd name="connsiteY253" fmla="*/ 364323 h 943041"/>
                <a:gd name="connsiteX254" fmla="*/ 871985 w 1737195"/>
                <a:gd name="connsiteY254" fmla="*/ 370790 h 943041"/>
                <a:gd name="connsiteX255" fmla="*/ 871985 w 1737195"/>
                <a:gd name="connsiteY255" fmla="*/ 392776 h 943041"/>
                <a:gd name="connsiteX256" fmla="*/ 871985 w 1737195"/>
                <a:gd name="connsiteY256" fmla="*/ 414664 h 943041"/>
                <a:gd name="connsiteX257" fmla="*/ 871985 w 1737195"/>
                <a:gd name="connsiteY257" fmla="*/ 436650 h 943041"/>
                <a:gd name="connsiteX258" fmla="*/ 871985 w 1737195"/>
                <a:gd name="connsiteY258" fmla="*/ 458538 h 943041"/>
                <a:gd name="connsiteX259" fmla="*/ 871985 w 1737195"/>
                <a:gd name="connsiteY259" fmla="*/ 480325 h 943041"/>
                <a:gd name="connsiteX260" fmla="*/ 871985 w 1737195"/>
                <a:gd name="connsiteY260" fmla="*/ 502113 h 943041"/>
                <a:gd name="connsiteX261" fmla="*/ 871985 w 1737195"/>
                <a:gd name="connsiteY261" fmla="*/ 523901 h 943041"/>
                <a:gd name="connsiteX262" fmla="*/ 871985 w 1737195"/>
                <a:gd name="connsiteY262" fmla="*/ 545689 h 943041"/>
                <a:gd name="connsiteX263" fmla="*/ 871985 w 1737195"/>
                <a:gd name="connsiteY263" fmla="*/ 547280 h 943041"/>
                <a:gd name="connsiteX264" fmla="*/ 872783 w 1737195"/>
                <a:gd name="connsiteY264" fmla="*/ 548474 h 943041"/>
                <a:gd name="connsiteX265" fmla="*/ 873978 w 1737195"/>
                <a:gd name="connsiteY265" fmla="*/ 549569 h 943041"/>
                <a:gd name="connsiteX266" fmla="*/ 874975 w 1737195"/>
                <a:gd name="connsiteY266" fmla="*/ 550762 h 943041"/>
                <a:gd name="connsiteX267" fmla="*/ 874975 w 1737195"/>
                <a:gd name="connsiteY267" fmla="*/ 552255 h 943041"/>
                <a:gd name="connsiteX268" fmla="*/ 873480 w 1737195"/>
                <a:gd name="connsiteY268" fmla="*/ 554742 h 943041"/>
                <a:gd name="connsiteX269" fmla="*/ 871288 w 1737195"/>
                <a:gd name="connsiteY269" fmla="*/ 557030 h 943041"/>
                <a:gd name="connsiteX270" fmla="*/ 869794 w 1737195"/>
                <a:gd name="connsiteY270" fmla="*/ 559318 h 943041"/>
                <a:gd name="connsiteX271" fmla="*/ 870590 w 1737195"/>
                <a:gd name="connsiteY271" fmla="*/ 562005 h 943041"/>
                <a:gd name="connsiteX272" fmla="*/ 872683 w 1737195"/>
                <a:gd name="connsiteY272" fmla="*/ 564989 h 943041"/>
                <a:gd name="connsiteX273" fmla="*/ 872683 w 1737195"/>
                <a:gd name="connsiteY273" fmla="*/ 567078 h 943041"/>
                <a:gd name="connsiteX274" fmla="*/ 871786 w 1737195"/>
                <a:gd name="connsiteY274" fmla="*/ 569068 h 943041"/>
                <a:gd name="connsiteX275" fmla="*/ 869992 w 1737195"/>
                <a:gd name="connsiteY275" fmla="*/ 571655 h 943041"/>
                <a:gd name="connsiteX276" fmla="*/ 868498 w 1737195"/>
                <a:gd name="connsiteY276" fmla="*/ 574540 h 943041"/>
                <a:gd name="connsiteX277" fmla="*/ 867900 w 1737195"/>
                <a:gd name="connsiteY277" fmla="*/ 576928 h 943041"/>
                <a:gd name="connsiteX278" fmla="*/ 867900 w 1737195"/>
                <a:gd name="connsiteY278" fmla="*/ 585682 h 943041"/>
                <a:gd name="connsiteX279" fmla="*/ 868797 w 1737195"/>
                <a:gd name="connsiteY279" fmla="*/ 587772 h 943041"/>
                <a:gd name="connsiteX280" fmla="*/ 870590 w 1737195"/>
                <a:gd name="connsiteY280" fmla="*/ 589165 h 943041"/>
                <a:gd name="connsiteX281" fmla="*/ 873679 w 1737195"/>
                <a:gd name="connsiteY281" fmla="*/ 590955 h 943041"/>
                <a:gd name="connsiteX282" fmla="*/ 875473 w 1737195"/>
                <a:gd name="connsiteY282" fmla="*/ 590955 h 943041"/>
                <a:gd name="connsiteX283" fmla="*/ 876370 w 1737195"/>
                <a:gd name="connsiteY283" fmla="*/ 590060 h 943041"/>
                <a:gd name="connsiteX284" fmla="*/ 877067 w 1737195"/>
                <a:gd name="connsiteY284" fmla="*/ 588866 h 943041"/>
                <a:gd name="connsiteX285" fmla="*/ 877964 w 1737195"/>
                <a:gd name="connsiteY285" fmla="*/ 588866 h 943041"/>
                <a:gd name="connsiteX286" fmla="*/ 879359 w 1737195"/>
                <a:gd name="connsiteY286" fmla="*/ 589961 h 943041"/>
                <a:gd name="connsiteX287" fmla="*/ 880156 w 1737195"/>
                <a:gd name="connsiteY287" fmla="*/ 591552 h 943041"/>
                <a:gd name="connsiteX288" fmla="*/ 880854 w 1737195"/>
                <a:gd name="connsiteY288" fmla="*/ 593343 h 943041"/>
                <a:gd name="connsiteX289" fmla="*/ 882647 w 1737195"/>
                <a:gd name="connsiteY289" fmla="*/ 595034 h 943041"/>
                <a:gd name="connsiteX290" fmla="*/ 886534 w 1737195"/>
                <a:gd name="connsiteY290" fmla="*/ 597721 h 943041"/>
                <a:gd name="connsiteX291" fmla="*/ 893210 w 1737195"/>
                <a:gd name="connsiteY291" fmla="*/ 600506 h 943041"/>
                <a:gd name="connsiteX292" fmla="*/ 900285 w 1737195"/>
                <a:gd name="connsiteY292" fmla="*/ 602098 h 943041"/>
                <a:gd name="connsiteX293" fmla="*/ 906064 w 1737195"/>
                <a:gd name="connsiteY293" fmla="*/ 602098 h 943041"/>
                <a:gd name="connsiteX294" fmla="*/ 909950 w 1737195"/>
                <a:gd name="connsiteY294" fmla="*/ 601601 h 943041"/>
                <a:gd name="connsiteX295" fmla="*/ 913238 w 1737195"/>
                <a:gd name="connsiteY295" fmla="*/ 601601 h 943041"/>
                <a:gd name="connsiteX296" fmla="*/ 915630 w 1737195"/>
                <a:gd name="connsiteY296" fmla="*/ 603690 h 943041"/>
                <a:gd name="connsiteX297" fmla="*/ 916726 w 1737195"/>
                <a:gd name="connsiteY297" fmla="*/ 608366 h 943041"/>
                <a:gd name="connsiteX298" fmla="*/ 916726 w 1737195"/>
                <a:gd name="connsiteY298" fmla="*/ 614036 h 943041"/>
                <a:gd name="connsiteX299" fmla="*/ 914633 w 1737195"/>
                <a:gd name="connsiteY299" fmla="*/ 615827 h 943041"/>
                <a:gd name="connsiteX300" fmla="*/ 911544 w 1737195"/>
                <a:gd name="connsiteY300" fmla="*/ 618115 h 943041"/>
                <a:gd name="connsiteX301" fmla="*/ 908256 w 1737195"/>
                <a:gd name="connsiteY301" fmla="*/ 620603 h 943041"/>
                <a:gd name="connsiteX302" fmla="*/ 909651 w 1737195"/>
                <a:gd name="connsiteY302" fmla="*/ 626572 h 943041"/>
                <a:gd name="connsiteX303" fmla="*/ 916427 w 1737195"/>
                <a:gd name="connsiteY303" fmla="*/ 637615 h 943041"/>
                <a:gd name="connsiteX304" fmla="*/ 915729 w 1737195"/>
                <a:gd name="connsiteY304" fmla="*/ 643485 h 943041"/>
                <a:gd name="connsiteX305" fmla="*/ 912541 w 1737195"/>
                <a:gd name="connsiteY305" fmla="*/ 648658 h 943041"/>
                <a:gd name="connsiteX306" fmla="*/ 911345 w 1737195"/>
                <a:gd name="connsiteY306" fmla="*/ 651344 h 943041"/>
                <a:gd name="connsiteX307" fmla="*/ 910548 w 1737195"/>
                <a:gd name="connsiteY307" fmla="*/ 654428 h 943041"/>
                <a:gd name="connsiteX308" fmla="*/ 910548 w 1737195"/>
                <a:gd name="connsiteY308" fmla="*/ 657015 h 943041"/>
                <a:gd name="connsiteX309" fmla="*/ 916028 w 1737195"/>
                <a:gd name="connsiteY309" fmla="*/ 661790 h 943041"/>
                <a:gd name="connsiteX310" fmla="*/ 920811 w 1737195"/>
                <a:gd name="connsiteY310" fmla="*/ 668755 h 943041"/>
                <a:gd name="connsiteX311" fmla="*/ 925096 w 1737195"/>
                <a:gd name="connsiteY311" fmla="*/ 673132 h 943041"/>
                <a:gd name="connsiteX312" fmla="*/ 929779 w 1737195"/>
                <a:gd name="connsiteY312" fmla="*/ 675022 h 943041"/>
                <a:gd name="connsiteX313" fmla="*/ 934163 w 1737195"/>
                <a:gd name="connsiteY313" fmla="*/ 672535 h 943041"/>
                <a:gd name="connsiteX314" fmla="*/ 934861 w 1737195"/>
                <a:gd name="connsiteY314" fmla="*/ 671043 h 943041"/>
                <a:gd name="connsiteX315" fmla="*/ 934861 w 1737195"/>
                <a:gd name="connsiteY315" fmla="*/ 669650 h 943041"/>
                <a:gd name="connsiteX316" fmla="*/ 934861 w 1737195"/>
                <a:gd name="connsiteY316" fmla="*/ 668456 h 943041"/>
                <a:gd name="connsiteX317" fmla="*/ 936057 w 1737195"/>
                <a:gd name="connsiteY317" fmla="*/ 667262 h 943041"/>
                <a:gd name="connsiteX318" fmla="*/ 937651 w 1737195"/>
                <a:gd name="connsiteY318" fmla="*/ 667262 h 943041"/>
                <a:gd name="connsiteX319" fmla="*/ 939245 w 1737195"/>
                <a:gd name="connsiteY319" fmla="*/ 667262 h 943041"/>
                <a:gd name="connsiteX320" fmla="*/ 942135 w 1737195"/>
                <a:gd name="connsiteY320" fmla="*/ 668954 h 943041"/>
                <a:gd name="connsiteX321" fmla="*/ 943829 w 1737195"/>
                <a:gd name="connsiteY321" fmla="*/ 668954 h 943041"/>
                <a:gd name="connsiteX322" fmla="*/ 947715 w 1737195"/>
                <a:gd name="connsiteY322" fmla="*/ 670645 h 943041"/>
                <a:gd name="connsiteX323" fmla="*/ 946818 w 1737195"/>
                <a:gd name="connsiteY323" fmla="*/ 669152 h 943041"/>
                <a:gd name="connsiteX324" fmla="*/ 946220 w 1737195"/>
                <a:gd name="connsiteY324" fmla="*/ 667063 h 943041"/>
                <a:gd name="connsiteX325" fmla="*/ 946220 w 1737195"/>
                <a:gd name="connsiteY325" fmla="*/ 664476 h 943041"/>
                <a:gd name="connsiteX326" fmla="*/ 946220 w 1737195"/>
                <a:gd name="connsiteY326" fmla="*/ 661989 h 943041"/>
                <a:gd name="connsiteX327" fmla="*/ 947914 w 1737195"/>
                <a:gd name="connsiteY327" fmla="*/ 662586 h 943041"/>
                <a:gd name="connsiteX328" fmla="*/ 949110 w 1737195"/>
                <a:gd name="connsiteY328" fmla="*/ 663681 h 943041"/>
                <a:gd name="connsiteX329" fmla="*/ 949708 w 1737195"/>
                <a:gd name="connsiteY329" fmla="*/ 665173 h 943041"/>
                <a:gd name="connsiteX330" fmla="*/ 949708 w 1737195"/>
                <a:gd name="connsiteY330" fmla="*/ 667461 h 943041"/>
                <a:gd name="connsiteX331" fmla="*/ 957381 w 1737195"/>
                <a:gd name="connsiteY331" fmla="*/ 666566 h 943041"/>
                <a:gd name="connsiteX332" fmla="*/ 958377 w 1737195"/>
                <a:gd name="connsiteY332" fmla="*/ 666566 h 943041"/>
                <a:gd name="connsiteX333" fmla="*/ 958975 w 1737195"/>
                <a:gd name="connsiteY333" fmla="*/ 667859 h 943041"/>
                <a:gd name="connsiteX334" fmla="*/ 958975 w 1737195"/>
                <a:gd name="connsiteY334" fmla="*/ 672834 h 943041"/>
                <a:gd name="connsiteX335" fmla="*/ 958975 w 1737195"/>
                <a:gd name="connsiteY335" fmla="*/ 674624 h 943041"/>
                <a:gd name="connsiteX336" fmla="*/ 959772 w 1737195"/>
                <a:gd name="connsiteY336" fmla="*/ 676216 h 943041"/>
                <a:gd name="connsiteX337" fmla="*/ 964654 w 1737195"/>
                <a:gd name="connsiteY337" fmla="*/ 683678 h 943041"/>
                <a:gd name="connsiteX338" fmla="*/ 967345 w 1737195"/>
                <a:gd name="connsiteY338" fmla="*/ 686065 h 943041"/>
                <a:gd name="connsiteX339" fmla="*/ 970534 w 1737195"/>
                <a:gd name="connsiteY339" fmla="*/ 687160 h 943041"/>
                <a:gd name="connsiteX340" fmla="*/ 969338 w 1737195"/>
                <a:gd name="connsiteY340" fmla="*/ 683877 h 943041"/>
                <a:gd name="connsiteX341" fmla="*/ 969338 w 1737195"/>
                <a:gd name="connsiteY341" fmla="*/ 680494 h 943041"/>
                <a:gd name="connsiteX342" fmla="*/ 970234 w 1737195"/>
                <a:gd name="connsiteY342" fmla="*/ 677808 h 943041"/>
                <a:gd name="connsiteX343" fmla="*/ 970234 w 1737195"/>
                <a:gd name="connsiteY343" fmla="*/ 676216 h 943041"/>
                <a:gd name="connsiteX344" fmla="*/ 972626 w 1737195"/>
                <a:gd name="connsiteY344" fmla="*/ 672336 h 943041"/>
                <a:gd name="connsiteX345" fmla="*/ 974619 w 1737195"/>
                <a:gd name="connsiteY345" fmla="*/ 672336 h 943041"/>
                <a:gd name="connsiteX346" fmla="*/ 976412 w 1737195"/>
                <a:gd name="connsiteY346" fmla="*/ 673032 h 943041"/>
                <a:gd name="connsiteX347" fmla="*/ 977110 w 1737195"/>
                <a:gd name="connsiteY347" fmla="*/ 673530 h 943041"/>
                <a:gd name="connsiteX348" fmla="*/ 977708 w 1737195"/>
                <a:gd name="connsiteY348" fmla="*/ 671540 h 943041"/>
                <a:gd name="connsiteX349" fmla="*/ 979003 w 1737195"/>
                <a:gd name="connsiteY349" fmla="*/ 669849 h 943041"/>
                <a:gd name="connsiteX350" fmla="*/ 980797 w 1737195"/>
                <a:gd name="connsiteY350" fmla="*/ 668655 h 943041"/>
                <a:gd name="connsiteX351" fmla="*/ 982491 w 1737195"/>
                <a:gd name="connsiteY351" fmla="*/ 668655 h 943041"/>
                <a:gd name="connsiteX352" fmla="*/ 983487 w 1737195"/>
                <a:gd name="connsiteY352" fmla="*/ 669849 h 943041"/>
                <a:gd name="connsiteX353" fmla="*/ 984483 w 1737195"/>
                <a:gd name="connsiteY353" fmla="*/ 672038 h 943041"/>
                <a:gd name="connsiteX354" fmla="*/ 985978 w 1737195"/>
                <a:gd name="connsiteY354" fmla="*/ 674226 h 943041"/>
                <a:gd name="connsiteX355" fmla="*/ 988071 w 1737195"/>
                <a:gd name="connsiteY355" fmla="*/ 675122 h 943041"/>
                <a:gd name="connsiteX356" fmla="*/ 989865 w 1737195"/>
                <a:gd name="connsiteY356" fmla="*/ 675122 h 943041"/>
                <a:gd name="connsiteX357" fmla="*/ 991858 w 1737195"/>
                <a:gd name="connsiteY357" fmla="*/ 675719 h 943041"/>
                <a:gd name="connsiteX358" fmla="*/ 993651 w 1737195"/>
                <a:gd name="connsiteY358" fmla="*/ 676813 h 943041"/>
                <a:gd name="connsiteX359" fmla="*/ 994647 w 1737195"/>
                <a:gd name="connsiteY359" fmla="*/ 678206 h 943041"/>
                <a:gd name="connsiteX360" fmla="*/ 992754 w 1737195"/>
                <a:gd name="connsiteY360" fmla="*/ 678206 h 943041"/>
                <a:gd name="connsiteX361" fmla="*/ 989865 w 1737195"/>
                <a:gd name="connsiteY361" fmla="*/ 679101 h 943041"/>
                <a:gd name="connsiteX362" fmla="*/ 988071 w 1737195"/>
                <a:gd name="connsiteY362" fmla="*/ 679101 h 943041"/>
                <a:gd name="connsiteX363" fmla="*/ 986576 w 1737195"/>
                <a:gd name="connsiteY363" fmla="*/ 680196 h 943041"/>
                <a:gd name="connsiteX364" fmla="*/ 986576 w 1737195"/>
                <a:gd name="connsiteY364" fmla="*/ 682583 h 943041"/>
                <a:gd name="connsiteX365" fmla="*/ 989067 w 1737195"/>
                <a:gd name="connsiteY365" fmla="*/ 688652 h 943041"/>
                <a:gd name="connsiteX366" fmla="*/ 991160 w 1737195"/>
                <a:gd name="connsiteY366" fmla="*/ 687956 h 943041"/>
                <a:gd name="connsiteX367" fmla="*/ 995046 w 1737195"/>
                <a:gd name="connsiteY367" fmla="*/ 684374 h 943041"/>
                <a:gd name="connsiteX368" fmla="*/ 996840 w 1737195"/>
                <a:gd name="connsiteY368" fmla="*/ 684374 h 943041"/>
                <a:gd name="connsiteX369" fmla="*/ 998633 w 1737195"/>
                <a:gd name="connsiteY369" fmla="*/ 684374 h 943041"/>
                <a:gd name="connsiteX370" fmla="*/ 999829 w 1737195"/>
                <a:gd name="connsiteY370" fmla="*/ 683777 h 943041"/>
                <a:gd name="connsiteX371" fmla="*/ 999829 w 1737195"/>
                <a:gd name="connsiteY371" fmla="*/ 681389 h 943041"/>
                <a:gd name="connsiteX372" fmla="*/ 1002220 w 1737195"/>
                <a:gd name="connsiteY372" fmla="*/ 683180 h 943041"/>
                <a:gd name="connsiteX373" fmla="*/ 1001423 w 1737195"/>
                <a:gd name="connsiteY373" fmla="*/ 685767 h 943041"/>
                <a:gd name="connsiteX374" fmla="*/ 1000128 w 1737195"/>
                <a:gd name="connsiteY374" fmla="*/ 688155 h 943041"/>
                <a:gd name="connsiteX375" fmla="*/ 1001124 w 1737195"/>
                <a:gd name="connsiteY375" fmla="*/ 689149 h 943041"/>
                <a:gd name="connsiteX376" fmla="*/ 1004014 w 1737195"/>
                <a:gd name="connsiteY376" fmla="*/ 689149 h 943041"/>
                <a:gd name="connsiteX377" fmla="*/ 1006704 w 1737195"/>
                <a:gd name="connsiteY377" fmla="*/ 688453 h 943041"/>
                <a:gd name="connsiteX378" fmla="*/ 1008498 w 1737195"/>
                <a:gd name="connsiteY378" fmla="*/ 686861 h 943041"/>
                <a:gd name="connsiteX379" fmla="*/ 1009295 w 1737195"/>
                <a:gd name="connsiteY379" fmla="*/ 683877 h 943041"/>
                <a:gd name="connsiteX380" fmla="*/ 1010192 w 1737195"/>
                <a:gd name="connsiteY380" fmla="*/ 683877 h 943041"/>
                <a:gd name="connsiteX381" fmla="*/ 1011089 w 1737195"/>
                <a:gd name="connsiteY381" fmla="*/ 684374 h 943041"/>
                <a:gd name="connsiteX382" fmla="*/ 1010192 w 1737195"/>
                <a:gd name="connsiteY382" fmla="*/ 685568 h 943041"/>
                <a:gd name="connsiteX383" fmla="*/ 1013380 w 1737195"/>
                <a:gd name="connsiteY383" fmla="*/ 686463 h 943041"/>
                <a:gd name="connsiteX384" fmla="*/ 1017466 w 1737195"/>
                <a:gd name="connsiteY384" fmla="*/ 684871 h 943041"/>
                <a:gd name="connsiteX385" fmla="*/ 1031516 w 1737195"/>
                <a:gd name="connsiteY385" fmla="*/ 675918 h 943041"/>
                <a:gd name="connsiteX386" fmla="*/ 1032313 w 1737195"/>
                <a:gd name="connsiteY386" fmla="*/ 675918 h 943041"/>
                <a:gd name="connsiteX387" fmla="*/ 1035302 w 1737195"/>
                <a:gd name="connsiteY387" fmla="*/ 675918 h 943041"/>
                <a:gd name="connsiteX388" fmla="*/ 1037096 w 1737195"/>
                <a:gd name="connsiteY388" fmla="*/ 675321 h 943041"/>
                <a:gd name="connsiteX389" fmla="*/ 1038989 w 1737195"/>
                <a:gd name="connsiteY389" fmla="*/ 674027 h 943041"/>
                <a:gd name="connsiteX390" fmla="*/ 1042875 w 1737195"/>
                <a:gd name="connsiteY390" fmla="*/ 680594 h 943041"/>
                <a:gd name="connsiteX391" fmla="*/ 1042875 w 1737195"/>
                <a:gd name="connsiteY391" fmla="*/ 681688 h 943041"/>
                <a:gd name="connsiteX392" fmla="*/ 1042875 w 1737195"/>
                <a:gd name="connsiteY392" fmla="*/ 682185 h 943041"/>
                <a:gd name="connsiteX393" fmla="*/ 1042875 w 1737195"/>
                <a:gd name="connsiteY393" fmla="*/ 685667 h 943041"/>
                <a:gd name="connsiteX394" fmla="*/ 1042875 w 1737195"/>
                <a:gd name="connsiteY394" fmla="*/ 686563 h 943041"/>
                <a:gd name="connsiteX395" fmla="*/ 1043872 w 1737195"/>
                <a:gd name="connsiteY395" fmla="*/ 686563 h 943041"/>
                <a:gd name="connsiteX396" fmla="*/ 1047060 w 1737195"/>
                <a:gd name="connsiteY396" fmla="*/ 686463 h 943041"/>
                <a:gd name="connsiteX397" fmla="*/ 1048555 w 1737195"/>
                <a:gd name="connsiteY397" fmla="*/ 685866 h 943041"/>
                <a:gd name="connsiteX398" fmla="*/ 1050249 w 1737195"/>
                <a:gd name="connsiteY398" fmla="*/ 684474 h 943041"/>
                <a:gd name="connsiteX399" fmla="*/ 1053138 w 1737195"/>
                <a:gd name="connsiteY399" fmla="*/ 681489 h 943041"/>
                <a:gd name="connsiteX400" fmla="*/ 1054833 w 1737195"/>
                <a:gd name="connsiteY400" fmla="*/ 680594 h 943041"/>
                <a:gd name="connsiteX401" fmla="*/ 1056327 w 1737195"/>
                <a:gd name="connsiteY401" fmla="*/ 680594 h 943041"/>
                <a:gd name="connsiteX402" fmla="*/ 1057523 w 1737195"/>
                <a:gd name="connsiteY402" fmla="*/ 680594 h 943041"/>
                <a:gd name="connsiteX403" fmla="*/ 1058021 w 1737195"/>
                <a:gd name="connsiteY403" fmla="*/ 678206 h 943041"/>
                <a:gd name="connsiteX404" fmla="*/ 1059416 w 1737195"/>
                <a:gd name="connsiteY404" fmla="*/ 676117 h 943041"/>
                <a:gd name="connsiteX405" fmla="*/ 1066889 w 1737195"/>
                <a:gd name="connsiteY405" fmla="*/ 675221 h 943041"/>
                <a:gd name="connsiteX406" fmla="*/ 1070078 w 1737195"/>
                <a:gd name="connsiteY406" fmla="*/ 673331 h 943041"/>
                <a:gd name="connsiteX407" fmla="*/ 1071373 w 1737195"/>
                <a:gd name="connsiteY407" fmla="*/ 669650 h 943041"/>
                <a:gd name="connsiteX408" fmla="*/ 1068583 w 1737195"/>
                <a:gd name="connsiteY408" fmla="*/ 668954 h 943041"/>
                <a:gd name="connsiteX409" fmla="*/ 1064398 w 1737195"/>
                <a:gd name="connsiteY409" fmla="*/ 668954 h 943041"/>
                <a:gd name="connsiteX410" fmla="*/ 1061309 w 1737195"/>
                <a:gd name="connsiteY410" fmla="*/ 668954 h 943041"/>
                <a:gd name="connsiteX411" fmla="*/ 1063601 w 1737195"/>
                <a:gd name="connsiteY411" fmla="*/ 666466 h 943041"/>
                <a:gd name="connsiteX412" fmla="*/ 1067387 w 1737195"/>
                <a:gd name="connsiteY412" fmla="*/ 665869 h 943041"/>
                <a:gd name="connsiteX413" fmla="*/ 1071274 w 1737195"/>
                <a:gd name="connsiteY413" fmla="*/ 666566 h 943041"/>
                <a:gd name="connsiteX414" fmla="*/ 1073565 w 1737195"/>
                <a:gd name="connsiteY414" fmla="*/ 667760 h 943041"/>
                <a:gd name="connsiteX415" fmla="*/ 1075758 w 1737195"/>
                <a:gd name="connsiteY415" fmla="*/ 672137 h 943041"/>
                <a:gd name="connsiteX416" fmla="*/ 1077253 w 1737195"/>
                <a:gd name="connsiteY416" fmla="*/ 673729 h 943041"/>
                <a:gd name="connsiteX417" fmla="*/ 1077950 w 1737195"/>
                <a:gd name="connsiteY417" fmla="*/ 671640 h 943041"/>
                <a:gd name="connsiteX418" fmla="*/ 1078847 w 1737195"/>
                <a:gd name="connsiteY418" fmla="*/ 670844 h 943041"/>
                <a:gd name="connsiteX419" fmla="*/ 1084825 w 1737195"/>
                <a:gd name="connsiteY419" fmla="*/ 666765 h 943041"/>
                <a:gd name="connsiteX420" fmla="*/ 1084825 w 1737195"/>
                <a:gd name="connsiteY420" fmla="*/ 664377 h 943041"/>
                <a:gd name="connsiteX421" fmla="*/ 1088014 w 1737195"/>
                <a:gd name="connsiteY421" fmla="*/ 661392 h 943041"/>
                <a:gd name="connsiteX422" fmla="*/ 1092100 w 1737195"/>
                <a:gd name="connsiteY422" fmla="*/ 658806 h 943041"/>
                <a:gd name="connsiteX423" fmla="*/ 1095089 w 1737195"/>
                <a:gd name="connsiteY423" fmla="*/ 657910 h 943041"/>
                <a:gd name="connsiteX424" fmla="*/ 1093694 w 1737195"/>
                <a:gd name="connsiteY424" fmla="*/ 655324 h 943041"/>
                <a:gd name="connsiteX425" fmla="*/ 1091701 w 1737195"/>
                <a:gd name="connsiteY425" fmla="*/ 654627 h 943041"/>
                <a:gd name="connsiteX426" fmla="*/ 1089209 w 1737195"/>
                <a:gd name="connsiteY426" fmla="*/ 654627 h 943041"/>
                <a:gd name="connsiteX427" fmla="*/ 1086420 w 1737195"/>
                <a:gd name="connsiteY427" fmla="*/ 654627 h 943041"/>
                <a:gd name="connsiteX428" fmla="*/ 1084726 w 1737195"/>
                <a:gd name="connsiteY428" fmla="*/ 653931 h 943041"/>
                <a:gd name="connsiteX429" fmla="*/ 1083131 w 1737195"/>
                <a:gd name="connsiteY429" fmla="*/ 652936 h 943041"/>
                <a:gd name="connsiteX430" fmla="*/ 1081636 w 1737195"/>
                <a:gd name="connsiteY430" fmla="*/ 651742 h 943041"/>
                <a:gd name="connsiteX431" fmla="*/ 1080242 w 1737195"/>
                <a:gd name="connsiteY431" fmla="*/ 650250 h 943041"/>
                <a:gd name="connsiteX432" fmla="*/ 1078149 w 1737195"/>
                <a:gd name="connsiteY432" fmla="*/ 646370 h 943041"/>
                <a:gd name="connsiteX433" fmla="*/ 1078149 w 1737195"/>
                <a:gd name="connsiteY433" fmla="*/ 645872 h 943041"/>
                <a:gd name="connsiteX434" fmla="*/ 1079544 w 1737195"/>
                <a:gd name="connsiteY434" fmla="*/ 644181 h 943041"/>
                <a:gd name="connsiteX435" fmla="*/ 1082334 w 1737195"/>
                <a:gd name="connsiteY435" fmla="*/ 642987 h 943041"/>
                <a:gd name="connsiteX436" fmla="*/ 1087615 w 1737195"/>
                <a:gd name="connsiteY436" fmla="*/ 641495 h 943041"/>
                <a:gd name="connsiteX437" fmla="*/ 1088612 w 1737195"/>
                <a:gd name="connsiteY437" fmla="*/ 641495 h 943041"/>
                <a:gd name="connsiteX438" fmla="*/ 1090306 w 1737195"/>
                <a:gd name="connsiteY438" fmla="*/ 642490 h 943041"/>
                <a:gd name="connsiteX439" fmla="*/ 1091003 w 1737195"/>
                <a:gd name="connsiteY439" fmla="*/ 642490 h 943041"/>
                <a:gd name="connsiteX440" fmla="*/ 1091701 w 1737195"/>
                <a:gd name="connsiteY440" fmla="*/ 641694 h 943041"/>
                <a:gd name="connsiteX441" fmla="*/ 1091701 w 1737195"/>
                <a:gd name="connsiteY441" fmla="*/ 639903 h 943041"/>
                <a:gd name="connsiteX442" fmla="*/ 1091701 w 1737195"/>
                <a:gd name="connsiteY442" fmla="*/ 639207 h 943041"/>
                <a:gd name="connsiteX443" fmla="*/ 1093893 w 1737195"/>
                <a:gd name="connsiteY443" fmla="*/ 635128 h 943041"/>
                <a:gd name="connsiteX444" fmla="*/ 1095387 w 1737195"/>
                <a:gd name="connsiteY444" fmla="*/ 631447 h 943041"/>
                <a:gd name="connsiteX445" fmla="*/ 1100171 w 1737195"/>
                <a:gd name="connsiteY445" fmla="*/ 627169 h 943041"/>
                <a:gd name="connsiteX446" fmla="*/ 1101267 w 1737195"/>
                <a:gd name="connsiteY446" fmla="*/ 625378 h 943041"/>
                <a:gd name="connsiteX447" fmla="*/ 1101267 w 1737195"/>
                <a:gd name="connsiteY447" fmla="*/ 624781 h 943041"/>
                <a:gd name="connsiteX448" fmla="*/ 1101267 w 1737195"/>
                <a:gd name="connsiteY448" fmla="*/ 625577 h 943041"/>
                <a:gd name="connsiteX449" fmla="*/ 1101864 w 1737195"/>
                <a:gd name="connsiteY449" fmla="*/ 627069 h 943041"/>
                <a:gd name="connsiteX450" fmla="*/ 1101864 w 1737195"/>
                <a:gd name="connsiteY450" fmla="*/ 628761 h 943041"/>
                <a:gd name="connsiteX451" fmla="*/ 1101864 w 1737195"/>
                <a:gd name="connsiteY451" fmla="*/ 634033 h 943041"/>
                <a:gd name="connsiteX452" fmla="*/ 1101864 w 1737195"/>
                <a:gd name="connsiteY452" fmla="*/ 635327 h 943041"/>
                <a:gd name="connsiteX453" fmla="*/ 1097878 w 1737195"/>
                <a:gd name="connsiteY453" fmla="*/ 639804 h 943041"/>
                <a:gd name="connsiteX454" fmla="*/ 1084825 w 1737195"/>
                <a:gd name="connsiteY454" fmla="*/ 649155 h 943041"/>
                <a:gd name="connsiteX455" fmla="*/ 1097082 w 1737195"/>
                <a:gd name="connsiteY455" fmla="*/ 653632 h 943041"/>
                <a:gd name="connsiteX456" fmla="*/ 1099673 w 1737195"/>
                <a:gd name="connsiteY456" fmla="*/ 655722 h 943041"/>
                <a:gd name="connsiteX457" fmla="*/ 1101366 w 1737195"/>
                <a:gd name="connsiteY457" fmla="*/ 660000 h 943041"/>
                <a:gd name="connsiteX458" fmla="*/ 1102662 w 1737195"/>
                <a:gd name="connsiteY458" fmla="*/ 662387 h 943041"/>
                <a:gd name="connsiteX459" fmla="*/ 1104455 w 1737195"/>
                <a:gd name="connsiteY459" fmla="*/ 663382 h 943041"/>
                <a:gd name="connsiteX460" fmla="*/ 1107146 w 1737195"/>
                <a:gd name="connsiteY460" fmla="*/ 663382 h 943041"/>
                <a:gd name="connsiteX461" fmla="*/ 1111032 w 1737195"/>
                <a:gd name="connsiteY461" fmla="*/ 664875 h 943041"/>
                <a:gd name="connsiteX462" fmla="*/ 1113622 w 1737195"/>
                <a:gd name="connsiteY462" fmla="*/ 664875 h 943041"/>
                <a:gd name="connsiteX463" fmla="*/ 1116213 w 1737195"/>
                <a:gd name="connsiteY463" fmla="*/ 664875 h 943041"/>
                <a:gd name="connsiteX464" fmla="*/ 1120697 w 1737195"/>
                <a:gd name="connsiteY464" fmla="*/ 661790 h 943041"/>
                <a:gd name="connsiteX465" fmla="*/ 1124085 w 1737195"/>
                <a:gd name="connsiteY465" fmla="*/ 660398 h 943041"/>
                <a:gd name="connsiteX466" fmla="*/ 1126875 w 1737195"/>
                <a:gd name="connsiteY466" fmla="*/ 657413 h 943041"/>
                <a:gd name="connsiteX467" fmla="*/ 1128270 w 1737195"/>
                <a:gd name="connsiteY467" fmla="*/ 656617 h 943041"/>
                <a:gd name="connsiteX468" fmla="*/ 1129665 w 1737195"/>
                <a:gd name="connsiteY468" fmla="*/ 657115 h 943041"/>
                <a:gd name="connsiteX469" fmla="*/ 1132356 w 1737195"/>
                <a:gd name="connsiteY469" fmla="*/ 659502 h 943041"/>
                <a:gd name="connsiteX470" fmla="*/ 1133451 w 1737195"/>
                <a:gd name="connsiteY470" fmla="*/ 659502 h 943041"/>
                <a:gd name="connsiteX471" fmla="*/ 1135943 w 1737195"/>
                <a:gd name="connsiteY471" fmla="*/ 658109 h 943041"/>
                <a:gd name="connsiteX472" fmla="*/ 1140427 w 1737195"/>
                <a:gd name="connsiteY472" fmla="*/ 652936 h 943041"/>
                <a:gd name="connsiteX473" fmla="*/ 1145110 w 1737195"/>
                <a:gd name="connsiteY473" fmla="*/ 651444 h 943041"/>
                <a:gd name="connsiteX474" fmla="*/ 1149096 w 1737195"/>
                <a:gd name="connsiteY474" fmla="*/ 648559 h 943041"/>
                <a:gd name="connsiteX475" fmla="*/ 1150491 w 1737195"/>
                <a:gd name="connsiteY475" fmla="*/ 648559 h 943041"/>
                <a:gd name="connsiteX476" fmla="*/ 1157964 w 1737195"/>
                <a:gd name="connsiteY476" fmla="*/ 647066 h 943041"/>
                <a:gd name="connsiteX477" fmla="*/ 1159758 w 1737195"/>
                <a:gd name="connsiteY477" fmla="*/ 646270 h 943041"/>
                <a:gd name="connsiteX478" fmla="*/ 1160555 w 1737195"/>
                <a:gd name="connsiteY478" fmla="*/ 645076 h 943041"/>
                <a:gd name="connsiteX479" fmla="*/ 1160555 w 1737195"/>
                <a:gd name="connsiteY479" fmla="*/ 643385 h 943041"/>
                <a:gd name="connsiteX480" fmla="*/ 1161451 w 1737195"/>
                <a:gd name="connsiteY480" fmla="*/ 641793 h 943041"/>
                <a:gd name="connsiteX481" fmla="*/ 1162747 w 1737195"/>
                <a:gd name="connsiteY481" fmla="*/ 640699 h 943041"/>
                <a:gd name="connsiteX482" fmla="*/ 1166533 w 1737195"/>
                <a:gd name="connsiteY482" fmla="*/ 639605 h 943041"/>
                <a:gd name="connsiteX483" fmla="*/ 1188655 w 1737195"/>
                <a:gd name="connsiteY483" fmla="*/ 625477 h 943041"/>
                <a:gd name="connsiteX484" fmla="*/ 1206491 w 1737195"/>
                <a:gd name="connsiteY484" fmla="*/ 616822 h 943041"/>
                <a:gd name="connsiteX485" fmla="*/ 1225324 w 1737195"/>
                <a:gd name="connsiteY485" fmla="*/ 610455 h 943041"/>
                <a:gd name="connsiteX486" fmla="*/ 1227914 w 1737195"/>
                <a:gd name="connsiteY486" fmla="*/ 610455 h 943041"/>
                <a:gd name="connsiteX487" fmla="*/ 1230505 w 1737195"/>
                <a:gd name="connsiteY487" fmla="*/ 609460 h 943041"/>
                <a:gd name="connsiteX488" fmla="*/ 1237082 w 1737195"/>
                <a:gd name="connsiteY488" fmla="*/ 601501 h 943041"/>
                <a:gd name="connsiteX489" fmla="*/ 1239373 w 1737195"/>
                <a:gd name="connsiteY489" fmla="*/ 599710 h 943041"/>
                <a:gd name="connsiteX490" fmla="*/ 1241864 w 1737195"/>
                <a:gd name="connsiteY490" fmla="*/ 598317 h 943041"/>
                <a:gd name="connsiteX491" fmla="*/ 1244655 w 1737195"/>
                <a:gd name="connsiteY491" fmla="*/ 597422 h 943041"/>
                <a:gd name="connsiteX492" fmla="*/ 1252925 w 1737195"/>
                <a:gd name="connsiteY492" fmla="*/ 596825 h 943041"/>
                <a:gd name="connsiteX493" fmla="*/ 1254320 w 1737195"/>
                <a:gd name="connsiteY493" fmla="*/ 596825 h 943041"/>
                <a:gd name="connsiteX494" fmla="*/ 1255815 w 1737195"/>
                <a:gd name="connsiteY494" fmla="*/ 598118 h 943041"/>
                <a:gd name="connsiteX495" fmla="*/ 1256413 w 1737195"/>
                <a:gd name="connsiteY495" fmla="*/ 599511 h 943041"/>
                <a:gd name="connsiteX496" fmla="*/ 1257110 w 1737195"/>
                <a:gd name="connsiteY496" fmla="*/ 600407 h 943041"/>
                <a:gd name="connsiteX497" fmla="*/ 1258804 w 1737195"/>
                <a:gd name="connsiteY497" fmla="*/ 600407 h 943041"/>
                <a:gd name="connsiteX498" fmla="*/ 1260697 w 1737195"/>
                <a:gd name="connsiteY498" fmla="*/ 598218 h 943041"/>
                <a:gd name="connsiteX499" fmla="*/ 1264184 w 1737195"/>
                <a:gd name="connsiteY499" fmla="*/ 590955 h 943041"/>
                <a:gd name="connsiteX500" fmla="*/ 1266177 w 1737195"/>
                <a:gd name="connsiteY500" fmla="*/ 589364 h 943041"/>
                <a:gd name="connsiteX501" fmla="*/ 1266875 w 1737195"/>
                <a:gd name="connsiteY501" fmla="*/ 588369 h 943041"/>
                <a:gd name="connsiteX502" fmla="*/ 1268270 w 1737195"/>
                <a:gd name="connsiteY502" fmla="*/ 584091 h 943041"/>
                <a:gd name="connsiteX503" fmla="*/ 1269167 w 1737195"/>
                <a:gd name="connsiteY503" fmla="*/ 582698 h 943041"/>
                <a:gd name="connsiteX504" fmla="*/ 1270861 w 1737195"/>
                <a:gd name="connsiteY504" fmla="*/ 582698 h 943041"/>
                <a:gd name="connsiteX505" fmla="*/ 1273751 w 1737195"/>
                <a:gd name="connsiteY505" fmla="*/ 583593 h 943041"/>
                <a:gd name="connsiteX506" fmla="*/ 1275345 w 1737195"/>
                <a:gd name="connsiteY506" fmla="*/ 582996 h 943041"/>
                <a:gd name="connsiteX507" fmla="*/ 1274249 w 1737195"/>
                <a:gd name="connsiteY507" fmla="*/ 582001 h 943041"/>
                <a:gd name="connsiteX508" fmla="*/ 1272156 w 1737195"/>
                <a:gd name="connsiteY508" fmla="*/ 579514 h 943041"/>
                <a:gd name="connsiteX509" fmla="*/ 1270861 w 1737195"/>
                <a:gd name="connsiteY509" fmla="*/ 578619 h 943041"/>
                <a:gd name="connsiteX510" fmla="*/ 1274648 w 1737195"/>
                <a:gd name="connsiteY510" fmla="*/ 574440 h 943041"/>
                <a:gd name="connsiteX511" fmla="*/ 1278832 w 1737195"/>
                <a:gd name="connsiteY511" fmla="*/ 570759 h 943041"/>
                <a:gd name="connsiteX512" fmla="*/ 1282420 w 1737195"/>
                <a:gd name="connsiteY512" fmla="*/ 566581 h 943041"/>
                <a:gd name="connsiteX513" fmla="*/ 1284014 w 1737195"/>
                <a:gd name="connsiteY513" fmla="*/ 561010 h 943041"/>
                <a:gd name="connsiteX514" fmla="*/ 1283217 w 1737195"/>
                <a:gd name="connsiteY514" fmla="*/ 559020 h 943041"/>
                <a:gd name="connsiteX515" fmla="*/ 1280327 w 1737195"/>
                <a:gd name="connsiteY515" fmla="*/ 556135 h 943041"/>
                <a:gd name="connsiteX516" fmla="*/ 1278832 w 1737195"/>
                <a:gd name="connsiteY516" fmla="*/ 554245 h 943041"/>
                <a:gd name="connsiteX517" fmla="*/ 1277238 w 1737195"/>
                <a:gd name="connsiteY517" fmla="*/ 549469 h 943041"/>
                <a:gd name="connsiteX518" fmla="*/ 1276242 w 1737195"/>
                <a:gd name="connsiteY518" fmla="*/ 547181 h 943041"/>
                <a:gd name="connsiteX519" fmla="*/ 1274149 w 1737195"/>
                <a:gd name="connsiteY519" fmla="*/ 546286 h 943041"/>
                <a:gd name="connsiteX520" fmla="*/ 1273551 w 1737195"/>
                <a:gd name="connsiteY520" fmla="*/ 546286 h 943041"/>
                <a:gd name="connsiteX521" fmla="*/ 1272655 w 1737195"/>
                <a:gd name="connsiteY521" fmla="*/ 544395 h 943041"/>
                <a:gd name="connsiteX522" fmla="*/ 1272057 w 1737195"/>
                <a:gd name="connsiteY522" fmla="*/ 543400 h 943041"/>
                <a:gd name="connsiteX523" fmla="*/ 1268868 w 1737195"/>
                <a:gd name="connsiteY523" fmla="*/ 540515 h 943041"/>
                <a:gd name="connsiteX524" fmla="*/ 1267573 w 1737195"/>
                <a:gd name="connsiteY524" fmla="*/ 538724 h 943041"/>
                <a:gd name="connsiteX525" fmla="*/ 1266277 w 1737195"/>
                <a:gd name="connsiteY525" fmla="*/ 537232 h 943041"/>
                <a:gd name="connsiteX526" fmla="*/ 1266277 w 1737195"/>
                <a:gd name="connsiteY526" fmla="*/ 535640 h 943041"/>
                <a:gd name="connsiteX527" fmla="*/ 1267373 w 1737195"/>
                <a:gd name="connsiteY527" fmla="*/ 533253 h 943041"/>
                <a:gd name="connsiteX528" fmla="*/ 1265679 w 1737195"/>
                <a:gd name="connsiteY528" fmla="*/ 530467 h 943041"/>
                <a:gd name="connsiteX529" fmla="*/ 1258704 w 1737195"/>
                <a:gd name="connsiteY529" fmla="*/ 524498 h 943041"/>
                <a:gd name="connsiteX530" fmla="*/ 1260797 w 1737195"/>
                <a:gd name="connsiteY530" fmla="*/ 524000 h 943041"/>
                <a:gd name="connsiteX531" fmla="*/ 1263686 w 1737195"/>
                <a:gd name="connsiteY531" fmla="*/ 525791 h 943041"/>
                <a:gd name="connsiteX532" fmla="*/ 1266477 w 1737195"/>
                <a:gd name="connsiteY532" fmla="*/ 528477 h 943041"/>
                <a:gd name="connsiteX533" fmla="*/ 1268270 w 1737195"/>
                <a:gd name="connsiteY533" fmla="*/ 531064 h 943041"/>
                <a:gd name="connsiteX534" fmla="*/ 1268868 w 1737195"/>
                <a:gd name="connsiteY534" fmla="*/ 532656 h 943041"/>
                <a:gd name="connsiteX535" fmla="*/ 1268868 w 1737195"/>
                <a:gd name="connsiteY535" fmla="*/ 534447 h 943041"/>
                <a:gd name="connsiteX536" fmla="*/ 1268868 w 1737195"/>
                <a:gd name="connsiteY536" fmla="*/ 538327 h 943041"/>
                <a:gd name="connsiteX537" fmla="*/ 1268868 w 1737195"/>
                <a:gd name="connsiteY537" fmla="*/ 540018 h 943041"/>
                <a:gd name="connsiteX538" fmla="*/ 1269964 w 1737195"/>
                <a:gd name="connsiteY538" fmla="*/ 541311 h 943041"/>
                <a:gd name="connsiteX539" fmla="*/ 1272655 w 1737195"/>
                <a:gd name="connsiteY539" fmla="*/ 543301 h 943041"/>
                <a:gd name="connsiteX540" fmla="*/ 1275046 w 1737195"/>
                <a:gd name="connsiteY540" fmla="*/ 545887 h 943041"/>
                <a:gd name="connsiteX541" fmla="*/ 1282320 w 1737195"/>
                <a:gd name="connsiteY541" fmla="*/ 557030 h 943041"/>
                <a:gd name="connsiteX542" fmla="*/ 1283815 w 1737195"/>
                <a:gd name="connsiteY542" fmla="*/ 558125 h 943041"/>
                <a:gd name="connsiteX543" fmla="*/ 1285409 w 1737195"/>
                <a:gd name="connsiteY543" fmla="*/ 557329 h 943041"/>
                <a:gd name="connsiteX544" fmla="*/ 1287501 w 1737195"/>
                <a:gd name="connsiteY544" fmla="*/ 554344 h 943041"/>
                <a:gd name="connsiteX545" fmla="*/ 1287501 w 1737195"/>
                <a:gd name="connsiteY545" fmla="*/ 558920 h 943041"/>
                <a:gd name="connsiteX546" fmla="*/ 1287501 w 1737195"/>
                <a:gd name="connsiteY546" fmla="*/ 560910 h 943041"/>
                <a:gd name="connsiteX547" fmla="*/ 1288099 w 1737195"/>
                <a:gd name="connsiteY547" fmla="*/ 563298 h 943041"/>
                <a:gd name="connsiteX548" fmla="*/ 1289195 w 1737195"/>
                <a:gd name="connsiteY548" fmla="*/ 564392 h 943041"/>
                <a:gd name="connsiteX549" fmla="*/ 1292583 w 1737195"/>
                <a:gd name="connsiteY549" fmla="*/ 566879 h 943041"/>
                <a:gd name="connsiteX550" fmla="*/ 1293281 w 1737195"/>
                <a:gd name="connsiteY550" fmla="*/ 568173 h 943041"/>
                <a:gd name="connsiteX551" fmla="*/ 1292683 w 1737195"/>
                <a:gd name="connsiteY551" fmla="*/ 571854 h 943041"/>
                <a:gd name="connsiteX552" fmla="*/ 1291088 w 1737195"/>
                <a:gd name="connsiteY552" fmla="*/ 576331 h 943041"/>
                <a:gd name="connsiteX553" fmla="*/ 1288797 w 1737195"/>
                <a:gd name="connsiteY553" fmla="*/ 580111 h 943041"/>
                <a:gd name="connsiteX554" fmla="*/ 1286306 w 1737195"/>
                <a:gd name="connsiteY554" fmla="*/ 581902 h 943041"/>
                <a:gd name="connsiteX555" fmla="*/ 1288000 w 1737195"/>
                <a:gd name="connsiteY555" fmla="*/ 582996 h 943041"/>
                <a:gd name="connsiteX556" fmla="*/ 1290391 w 1737195"/>
                <a:gd name="connsiteY556" fmla="*/ 583693 h 943041"/>
                <a:gd name="connsiteX557" fmla="*/ 1292782 w 1737195"/>
                <a:gd name="connsiteY557" fmla="*/ 583693 h 943041"/>
                <a:gd name="connsiteX558" fmla="*/ 1294576 w 1737195"/>
                <a:gd name="connsiteY558" fmla="*/ 582598 h 943041"/>
                <a:gd name="connsiteX559" fmla="*/ 1295373 w 1737195"/>
                <a:gd name="connsiteY559" fmla="*/ 580410 h 943041"/>
                <a:gd name="connsiteX560" fmla="*/ 1295373 w 1737195"/>
                <a:gd name="connsiteY560" fmla="*/ 577624 h 943041"/>
                <a:gd name="connsiteX561" fmla="*/ 1296370 w 1737195"/>
                <a:gd name="connsiteY561" fmla="*/ 575336 h 943041"/>
                <a:gd name="connsiteX562" fmla="*/ 1298562 w 1737195"/>
                <a:gd name="connsiteY562" fmla="*/ 574341 h 943041"/>
                <a:gd name="connsiteX563" fmla="*/ 1302050 w 1737195"/>
                <a:gd name="connsiteY563" fmla="*/ 572351 h 943041"/>
                <a:gd name="connsiteX564" fmla="*/ 1308426 w 1737195"/>
                <a:gd name="connsiteY564" fmla="*/ 563397 h 943041"/>
                <a:gd name="connsiteX565" fmla="*/ 1312113 w 1737195"/>
                <a:gd name="connsiteY565" fmla="*/ 561209 h 943041"/>
                <a:gd name="connsiteX566" fmla="*/ 1312113 w 1737195"/>
                <a:gd name="connsiteY566" fmla="*/ 560015 h 943041"/>
                <a:gd name="connsiteX567" fmla="*/ 1309722 w 1737195"/>
                <a:gd name="connsiteY567" fmla="*/ 560015 h 943041"/>
                <a:gd name="connsiteX568" fmla="*/ 1308825 w 1737195"/>
                <a:gd name="connsiteY568" fmla="*/ 558721 h 943041"/>
                <a:gd name="connsiteX569" fmla="*/ 1309423 w 1737195"/>
                <a:gd name="connsiteY569" fmla="*/ 557229 h 943041"/>
                <a:gd name="connsiteX570" fmla="*/ 1311217 w 1737195"/>
                <a:gd name="connsiteY570" fmla="*/ 556632 h 943041"/>
                <a:gd name="connsiteX571" fmla="*/ 1312711 w 1737195"/>
                <a:gd name="connsiteY571" fmla="*/ 557229 h 943041"/>
                <a:gd name="connsiteX572" fmla="*/ 1314405 w 1737195"/>
                <a:gd name="connsiteY572" fmla="*/ 558423 h 943041"/>
                <a:gd name="connsiteX573" fmla="*/ 1320184 w 1737195"/>
                <a:gd name="connsiteY573" fmla="*/ 564193 h 943041"/>
                <a:gd name="connsiteX574" fmla="*/ 1320782 w 1737195"/>
                <a:gd name="connsiteY574" fmla="*/ 565984 h 943041"/>
                <a:gd name="connsiteX575" fmla="*/ 1320782 w 1737195"/>
                <a:gd name="connsiteY575" fmla="*/ 568770 h 943041"/>
                <a:gd name="connsiteX576" fmla="*/ 1320284 w 1737195"/>
                <a:gd name="connsiteY576" fmla="*/ 570262 h 943041"/>
                <a:gd name="connsiteX577" fmla="*/ 1319288 w 1737195"/>
                <a:gd name="connsiteY577" fmla="*/ 572053 h 943041"/>
                <a:gd name="connsiteX578" fmla="*/ 1317893 w 1737195"/>
                <a:gd name="connsiteY578" fmla="*/ 573545 h 943041"/>
                <a:gd name="connsiteX579" fmla="*/ 1316398 w 1737195"/>
                <a:gd name="connsiteY579" fmla="*/ 574341 h 943041"/>
                <a:gd name="connsiteX580" fmla="*/ 1318192 w 1737195"/>
                <a:gd name="connsiteY580" fmla="*/ 574341 h 943041"/>
                <a:gd name="connsiteX581" fmla="*/ 1319686 w 1737195"/>
                <a:gd name="connsiteY581" fmla="*/ 574341 h 943041"/>
                <a:gd name="connsiteX582" fmla="*/ 1320982 w 1737195"/>
                <a:gd name="connsiteY582" fmla="*/ 575037 h 943041"/>
                <a:gd name="connsiteX583" fmla="*/ 1321580 w 1737195"/>
                <a:gd name="connsiteY583" fmla="*/ 576530 h 943041"/>
                <a:gd name="connsiteX584" fmla="*/ 1318690 w 1737195"/>
                <a:gd name="connsiteY584" fmla="*/ 576530 h 943041"/>
                <a:gd name="connsiteX585" fmla="*/ 1316697 w 1737195"/>
                <a:gd name="connsiteY585" fmla="*/ 576530 h 943041"/>
                <a:gd name="connsiteX586" fmla="*/ 1314904 w 1737195"/>
                <a:gd name="connsiteY586" fmla="*/ 577525 h 943041"/>
                <a:gd name="connsiteX587" fmla="*/ 1312811 w 1737195"/>
                <a:gd name="connsiteY587" fmla="*/ 579315 h 943041"/>
                <a:gd name="connsiteX588" fmla="*/ 1313608 w 1737195"/>
                <a:gd name="connsiteY588" fmla="*/ 577724 h 943041"/>
                <a:gd name="connsiteX589" fmla="*/ 1313608 w 1737195"/>
                <a:gd name="connsiteY589" fmla="*/ 577027 h 943041"/>
                <a:gd name="connsiteX590" fmla="*/ 1313608 w 1737195"/>
                <a:gd name="connsiteY590" fmla="*/ 576430 h 943041"/>
                <a:gd name="connsiteX591" fmla="*/ 1313608 w 1737195"/>
                <a:gd name="connsiteY591" fmla="*/ 575535 h 943041"/>
                <a:gd name="connsiteX592" fmla="*/ 1313608 w 1737195"/>
                <a:gd name="connsiteY592" fmla="*/ 574142 h 943041"/>
                <a:gd name="connsiteX593" fmla="*/ 1314306 w 1737195"/>
                <a:gd name="connsiteY593" fmla="*/ 574142 h 943041"/>
                <a:gd name="connsiteX594" fmla="*/ 1315202 w 1737195"/>
                <a:gd name="connsiteY594" fmla="*/ 574142 h 943041"/>
                <a:gd name="connsiteX595" fmla="*/ 1316000 w 1737195"/>
                <a:gd name="connsiteY595" fmla="*/ 573346 h 943041"/>
                <a:gd name="connsiteX596" fmla="*/ 1318291 w 1737195"/>
                <a:gd name="connsiteY596" fmla="*/ 570262 h 943041"/>
                <a:gd name="connsiteX597" fmla="*/ 1318291 w 1737195"/>
                <a:gd name="connsiteY597" fmla="*/ 568571 h 943041"/>
                <a:gd name="connsiteX598" fmla="*/ 1316697 w 1737195"/>
                <a:gd name="connsiteY598" fmla="*/ 566780 h 943041"/>
                <a:gd name="connsiteX599" fmla="*/ 1306733 w 1737195"/>
                <a:gd name="connsiteY599" fmla="*/ 572252 h 943041"/>
                <a:gd name="connsiteX600" fmla="*/ 1306733 w 1737195"/>
                <a:gd name="connsiteY600" fmla="*/ 574142 h 943041"/>
                <a:gd name="connsiteX601" fmla="*/ 1305736 w 1737195"/>
                <a:gd name="connsiteY601" fmla="*/ 576331 h 943041"/>
                <a:gd name="connsiteX602" fmla="*/ 1304242 w 1737195"/>
                <a:gd name="connsiteY602" fmla="*/ 578121 h 943041"/>
                <a:gd name="connsiteX603" fmla="*/ 1302448 w 1737195"/>
                <a:gd name="connsiteY603" fmla="*/ 578917 h 943041"/>
                <a:gd name="connsiteX604" fmla="*/ 1299957 w 1737195"/>
                <a:gd name="connsiteY604" fmla="*/ 579514 h 943041"/>
                <a:gd name="connsiteX605" fmla="*/ 1299060 w 1737195"/>
                <a:gd name="connsiteY605" fmla="*/ 581007 h 943041"/>
                <a:gd name="connsiteX606" fmla="*/ 1299060 w 1737195"/>
                <a:gd name="connsiteY606" fmla="*/ 583195 h 943041"/>
                <a:gd name="connsiteX607" fmla="*/ 1300057 w 1737195"/>
                <a:gd name="connsiteY607" fmla="*/ 585583 h 943041"/>
                <a:gd name="connsiteX608" fmla="*/ 1298961 w 1737195"/>
                <a:gd name="connsiteY608" fmla="*/ 586478 h 943041"/>
                <a:gd name="connsiteX609" fmla="*/ 1297566 w 1737195"/>
                <a:gd name="connsiteY609" fmla="*/ 588767 h 943041"/>
                <a:gd name="connsiteX610" fmla="*/ 1296470 w 1737195"/>
                <a:gd name="connsiteY610" fmla="*/ 589961 h 943041"/>
                <a:gd name="connsiteX611" fmla="*/ 1295772 w 1737195"/>
                <a:gd name="connsiteY611" fmla="*/ 589961 h 943041"/>
                <a:gd name="connsiteX612" fmla="*/ 1293979 w 1737195"/>
                <a:gd name="connsiteY612" fmla="*/ 589961 h 943041"/>
                <a:gd name="connsiteX613" fmla="*/ 1292982 w 1737195"/>
                <a:gd name="connsiteY613" fmla="*/ 589961 h 943041"/>
                <a:gd name="connsiteX614" fmla="*/ 1289395 w 1737195"/>
                <a:gd name="connsiteY614" fmla="*/ 593045 h 943041"/>
                <a:gd name="connsiteX615" fmla="*/ 1285608 w 1737195"/>
                <a:gd name="connsiteY615" fmla="*/ 597124 h 943041"/>
                <a:gd name="connsiteX616" fmla="*/ 1281822 w 1737195"/>
                <a:gd name="connsiteY616" fmla="*/ 599710 h 943041"/>
                <a:gd name="connsiteX617" fmla="*/ 1276640 w 1737195"/>
                <a:gd name="connsiteY617" fmla="*/ 601800 h 943041"/>
                <a:gd name="connsiteX618" fmla="*/ 1272555 w 1737195"/>
                <a:gd name="connsiteY618" fmla="*/ 604386 h 943041"/>
                <a:gd name="connsiteX619" fmla="*/ 1272555 w 1737195"/>
                <a:gd name="connsiteY619" fmla="*/ 608863 h 943041"/>
                <a:gd name="connsiteX620" fmla="*/ 1270761 w 1737195"/>
                <a:gd name="connsiteY620" fmla="*/ 608863 h 943041"/>
                <a:gd name="connsiteX621" fmla="*/ 1268469 w 1737195"/>
                <a:gd name="connsiteY621" fmla="*/ 611151 h 943041"/>
                <a:gd name="connsiteX622" fmla="*/ 1265281 w 1737195"/>
                <a:gd name="connsiteY622" fmla="*/ 612047 h 943041"/>
                <a:gd name="connsiteX623" fmla="*/ 1249238 w 1737195"/>
                <a:gd name="connsiteY623" fmla="*/ 620503 h 943041"/>
                <a:gd name="connsiteX624" fmla="*/ 1253423 w 1737195"/>
                <a:gd name="connsiteY624" fmla="*/ 622592 h 943041"/>
                <a:gd name="connsiteX625" fmla="*/ 1251530 w 1737195"/>
                <a:gd name="connsiteY625" fmla="*/ 623189 h 943041"/>
                <a:gd name="connsiteX626" fmla="*/ 1248441 w 1737195"/>
                <a:gd name="connsiteY626" fmla="*/ 624483 h 943041"/>
                <a:gd name="connsiteX627" fmla="*/ 1246548 w 1737195"/>
                <a:gd name="connsiteY627" fmla="*/ 624483 h 943041"/>
                <a:gd name="connsiteX628" fmla="*/ 1240469 w 1737195"/>
                <a:gd name="connsiteY628" fmla="*/ 628860 h 943041"/>
                <a:gd name="connsiteX629" fmla="*/ 1238775 w 1737195"/>
                <a:gd name="connsiteY629" fmla="*/ 631745 h 943041"/>
                <a:gd name="connsiteX630" fmla="*/ 1237082 w 1737195"/>
                <a:gd name="connsiteY630" fmla="*/ 636421 h 943041"/>
                <a:gd name="connsiteX631" fmla="*/ 1236185 w 1737195"/>
                <a:gd name="connsiteY631" fmla="*/ 641595 h 943041"/>
                <a:gd name="connsiteX632" fmla="*/ 1236982 w 1737195"/>
                <a:gd name="connsiteY632" fmla="*/ 645574 h 943041"/>
                <a:gd name="connsiteX633" fmla="*/ 1241067 w 1737195"/>
                <a:gd name="connsiteY633" fmla="*/ 642291 h 943041"/>
                <a:gd name="connsiteX634" fmla="*/ 1245850 w 1737195"/>
                <a:gd name="connsiteY634" fmla="*/ 641296 h 943041"/>
                <a:gd name="connsiteX635" fmla="*/ 1250533 w 1737195"/>
                <a:gd name="connsiteY635" fmla="*/ 642092 h 943041"/>
                <a:gd name="connsiteX636" fmla="*/ 1254420 w 1737195"/>
                <a:gd name="connsiteY636" fmla="*/ 644380 h 943041"/>
                <a:gd name="connsiteX637" fmla="*/ 1255117 w 1737195"/>
                <a:gd name="connsiteY637" fmla="*/ 644380 h 943041"/>
                <a:gd name="connsiteX638" fmla="*/ 1256711 w 1737195"/>
                <a:gd name="connsiteY638" fmla="*/ 644380 h 943041"/>
                <a:gd name="connsiteX639" fmla="*/ 1257409 w 1737195"/>
                <a:gd name="connsiteY639" fmla="*/ 644380 h 943041"/>
                <a:gd name="connsiteX640" fmla="*/ 1257409 w 1737195"/>
                <a:gd name="connsiteY640" fmla="*/ 645176 h 943041"/>
                <a:gd name="connsiteX641" fmla="*/ 1256612 w 1737195"/>
                <a:gd name="connsiteY641" fmla="*/ 646370 h 943041"/>
                <a:gd name="connsiteX642" fmla="*/ 1256612 w 1737195"/>
                <a:gd name="connsiteY642" fmla="*/ 647166 h 943041"/>
                <a:gd name="connsiteX643" fmla="*/ 1257210 w 1737195"/>
                <a:gd name="connsiteY643" fmla="*/ 648758 h 943041"/>
                <a:gd name="connsiteX644" fmla="*/ 1257210 w 1737195"/>
                <a:gd name="connsiteY644" fmla="*/ 649553 h 943041"/>
                <a:gd name="connsiteX645" fmla="*/ 1257210 w 1737195"/>
                <a:gd name="connsiteY645" fmla="*/ 649553 h 943041"/>
                <a:gd name="connsiteX646" fmla="*/ 1258406 w 1737195"/>
                <a:gd name="connsiteY646" fmla="*/ 649553 h 943041"/>
                <a:gd name="connsiteX647" fmla="*/ 1260099 w 1737195"/>
                <a:gd name="connsiteY647" fmla="*/ 648459 h 943041"/>
                <a:gd name="connsiteX648" fmla="*/ 1261693 w 1737195"/>
                <a:gd name="connsiteY648" fmla="*/ 646867 h 943041"/>
                <a:gd name="connsiteX649" fmla="*/ 1263686 w 1737195"/>
                <a:gd name="connsiteY649" fmla="*/ 645574 h 943041"/>
                <a:gd name="connsiteX650" fmla="*/ 1266277 w 1737195"/>
                <a:gd name="connsiteY650" fmla="*/ 645574 h 943041"/>
                <a:gd name="connsiteX651" fmla="*/ 1264982 w 1737195"/>
                <a:gd name="connsiteY651" fmla="*/ 640102 h 943041"/>
                <a:gd name="connsiteX652" fmla="*/ 1269366 w 1737195"/>
                <a:gd name="connsiteY652" fmla="*/ 635526 h 943041"/>
                <a:gd name="connsiteX653" fmla="*/ 1276042 w 1737195"/>
                <a:gd name="connsiteY653" fmla="*/ 632342 h 943041"/>
                <a:gd name="connsiteX654" fmla="*/ 1281523 w 1737195"/>
                <a:gd name="connsiteY654" fmla="*/ 631248 h 943041"/>
                <a:gd name="connsiteX655" fmla="*/ 1296470 w 1737195"/>
                <a:gd name="connsiteY655" fmla="*/ 633735 h 943041"/>
                <a:gd name="connsiteX656" fmla="*/ 1297366 w 1737195"/>
                <a:gd name="connsiteY656" fmla="*/ 634630 h 943041"/>
                <a:gd name="connsiteX657" fmla="*/ 1298064 w 1737195"/>
                <a:gd name="connsiteY657" fmla="*/ 635625 h 943041"/>
                <a:gd name="connsiteX658" fmla="*/ 1299359 w 1737195"/>
                <a:gd name="connsiteY658" fmla="*/ 636720 h 943041"/>
                <a:gd name="connsiteX659" fmla="*/ 1303943 w 1737195"/>
                <a:gd name="connsiteY659" fmla="*/ 638112 h 943041"/>
                <a:gd name="connsiteX660" fmla="*/ 1305437 w 1737195"/>
                <a:gd name="connsiteY660" fmla="*/ 639008 h 943041"/>
                <a:gd name="connsiteX661" fmla="*/ 1306533 w 1737195"/>
                <a:gd name="connsiteY661" fmla="*/ 637715 h 943041"/>
                <a:gd name="connsiteX662" fmla="*/ 1307729 w 1737195"/>
                <a:gd name="connsiteY662" fmla="*/ 636720 h 943041"/>
                <a:gd name="connsiteX663" fmla="*/ 1309124 w 1737195"/>
                <a:gd name="connsiteY663" fmla="*/ 635924 h 943041"/>
                <a:gd name="connsiteX664" fmla="*/ 1310619 w 1737195"/>
                <a:gd name="connsiteY664" fmla="*/ 635924 h 943041"/>
                <a:gd name="connsiteX665" fmla="*/ 1312313 w 1737195"/>
                <a:gd name="connsiteY665" fmla="*/ 636421 h 943041"/>
                <a:gd name="connsiteX666" fmla="*/ 1313708 w 1737195"/>
                <a:gd name="connsiteY666" fmla="*/ 637316 h 943041"/>
                <a:gd name="connsiteX667" fmla="*/ 1314704 w 1737195"/>
                <a:gd name="connsiteY667" fmla="*/ 637316 h 943041"/>
                <a:gd name="connsiteX668" fmla="*/ 1314704 w 1737195"/>
                <a:gd name="connsiteY668" fmla="*/ 634133 h 943041"/>
                <a:gd name="connsiteX669" fmla="*/ 1319288 w 1737195"/>
                <a:gd name="connsiteY669" fmla="*/ 635725 h 943041"/>
                <a:gd name="connsiteX670" fmla="*/ 1323373 w 1737195"/>
                <a:gd name="connsiteY670" fmla="*/ 635725 h 943041"/>
                <a:gd name="connsiteX671" fmla="*/ 1331146 w 1737195"/>
                <a:gd name="connsiteY671" fmla="*/ 633436 h 943041"/>
                <a:gd name="connsiteX672" fmla="*/ 1341110 w 1737195"/>
                <a:gd name="connsiteY672" fmla="*/ 632442 h 943041"/>
                <a:gd name="connsiteX673" fmla="*/ 1346092 w 1737195"/>
                <a:gd name="connsiteY673" fmla="*/ 632442 h 943041"/>
                <a:gd name="connsiteX674" fmla="*/ 1349679 w 1737195"/>
                <a:gd name="connsiteY674" fmla="*/ 634232 h 943041"/>
                <a:gd name="connsiteX675" fmla="*/ 1349081 w 1737195"/>
                <a:gd name="connsiteY675" fmla="*/ 634232 h 943041"/>
                <a:gd name="connsiteX676" fmla="*/ 1347886 w 1737195"/>
                <a:gd name="connsiteY676" fmla="*/ 635128 h 943041"/>
                <a:gd name="connsiteX677" fmla="*/ 1352768 w 1737195"/>
                <a:gd name="connsiteY677" fmla="*/ 635824 h 943041"/>
                <a:gd name="connsiteX678" fmla="*/ 1362733 w 1737195"/>
                <a:gd name="connsiteY678" fmla="*/ 634531 h 943041"/>
                <a:gd name="connsiteX679" fmla="*/ 1366320 w 1737195"/>
                <a:gd name="connsiteY679" fmla="*/ 637316 h 943041"/>
                <a:gd name="connsiteX680" fmla="*/ 1365622 w 1737195"/>
                <a:gd name="connsiteY680" fmla="*/ 638709 h 943041"/>
                <a:gd name="connsiteX681" fmla="*/ 1365622 w 1737195"/>
                <a:gd name="connsiteY681" fmla="*/ 639903 h 943041"/>
                <a:gd name="connsiteX682" fmla="*/ 1365622 w 1737195"/>
                <a:gd name="connsiteY682" fmla="*/ 640997 h 943041"/>
                <a:gd name="connsiteX683" fmla="*/ 1366719 w 1737195"/>
                <a:gd name="connsiteY683" fmla="*/ 641694 h 943041"/>
                <a:gd name="connsiteX684" fmla="*/ 1368113 w 1737195"/>
                <a:gd name="connsiteY684" fmla="*/ 641694 h 943041"/>
                <a:gd name="connsiteX685" fmla="*/ 1368910 w 1737195"/>
                <a:gd name="connsiteY685" fmla="*/ 641196 h 943041"/>
                <a:gd name="connsiteX686" fmla="*/ 1368910 w 1737195"/>
                <a:gd name="connsiteY686" fmla="*/ 640301 h 943041"/>
                <a:gd name="connsiteX687" fmla="*/ 1369708 w 1737195"/>
                <a:gd name="connsiteY687" fmla="*/ 639406 h 943041"/>
                <a:gd name="connsiteX688" fmla="*/ 1372996 w 1737195"/>
                <a:gd name="connsiteY688" fmla="*/ 636620 h 943041"/>
                <a:gd name="connsiteX689" fmla="*/ 1374889 w 1737195"/>
                <a:gd name="connsiteY689" fmla="*/ 635426 h 943041"/>
                <a:gd name="connsiteX690" fmla="*/ 1377181 w 1737195"/>
                <a:gd name="connsiteY690" fmla="*/ 635426 h 943041"/>
                <a:gd name="connsiteX691" fmla="*/ 1405381 w 1737195"/>
                <a:gd name="connsiteY691" fmla="*/ 635426 h 943041"/>
                <a:gd name="connsiteX692" fmla="*/ 1408170 w 1737195"/>
                <a:gd name="connsiteY692" fmla="*/ 635426 h 943041"/>
                <a:gd name="connsiteX693" fmla="*/ 1413551 w 1737195"/>
                <a:gd name="connsiteY693" fmla="*/ 637715 h 943041"/>
                <a:gd name="connsiteX694" fmla="*/ 1416241 w 1737195"/>
                <a:gd name="connsiteY694" fmla="*/ 637715 h 943041"/>
                <a:gd name="connsiteX695" fmla="*/ 1430889 w 1737195"/>
                <a:gd name="connsiteY695" fmla="*/ 638212 h 943041"/>
                <a:gd name="connsiteX696" fmla="*/ 1434875 w 1737195"/>
                <a:gd name="connsiteY696" fmla="*/ 639903 h 943041"/>
                <a:gd name="connsiteX697" fmla="*/ 1430292 w 1737195"/>
                <a:gd name="connsiteY697" fmla="*/ 640799 h 943041"/>
                <a:gd name="connsiteX698" fmla="*/ 1425608 w 1737195"/>
                <a:gd name="connsiteY698" fmla="*/ 642490 h 943041"/>
                <a:gd name="connsiteX699" fmla="*/ 1422121 w 1737195"/>
                <a:gd name="connsiteY699" fmla="*/ 645673 h 943041"/>
                <a:gd name="connsiteX700" fmla="*/ 1421025 w 1737195"/>
                <a:gd name="connsiteY700" fmla="*/ 650946 h 943041"/>
                <a:gd name="connsiteX701" fmla="*/ 1419330 w 1737195"/>
                <a:gd name="connsiteY701" fmla="*/ 649155 h 943041"/>
                <a:gd name="connsiteX702" fmla="*/ 1418135 w 1737195"/>
                <a:gd name="connsiteY702" fmla="*/ 646967 h 943041"/>
                <a:gd name="connsiteX703" fmla="*/ 1416541 w 1737195"/>
                <a:gd name="connsiteY703" fmla="*/ 645076 h 943041"/>
                <a:gd name="connsiteX704" fmla="*/ 1414149 w 1737195"/>
                <a:gd name="connsiteY704" fmla="*/ 644281 h 943041"/>
                <a:gd name="connsiteX705" fmla="*/ 1411658 w 1737195"/>
                <a:gd name="connsiteY705" fmla="*/ 644281 h 943041"/>
                <a:gd name="connsiteX706" fmla="*/ 1407174 w 1737195"/>
                <a:gd name="connsiteY706" fmla="*/ 645773 h 943041"/>
                <a:gd name="connsiteX707" fmla="*/ 1395017 w 1737195"/>
                <a:gd name="connsiteY707" fmla="*/ 645773 h 943041"/>
                <a:gd name="connsiteX708" fmla="*/ 1390832 w 1737195"/>
                <a:gd name="connsiteY708" fmla="*/ 644778 h 943041"/>
                <a:gd name="connsiteX709" fmla="*/ 1389836 w 1737195"/>
                <a:gd name="connsiteY709" fmla="*/ 644778 h 943041"/>
                <a:gd name="connsiteX710" fmla="*/ 1389836 w 1737195"/>
                <a:gd name="connsiteY710" fmla="*/ 645475 h 943041"/>
                <a:gd name="connsiteX711" fmla="*/ 1388441 w 1737195"/>
                <a:gd name="connsiteY711" fmla="*/ 648061 h 943041"/>
                <a:gd name="connsiteX712" fmla="*/ 1387644 w 1737195"/>
                <a:gd name="connsiteY712" fmla="*/ 649056 h 943041"/>
                <a:gd name="connsiteX713" fmla="*/ 1386248 w 1737195"/>
                <a:gd name="connsiteY713" fmla="*/ 647862 h 943041"/>
                <a:gd name="connsiteX714" fmla="*/ 1384654 w 1737195"/>
                <a:gd name="connsiteY714" fmla="*/ 647166 h 943041"/>
                <a:gd name="connsiteX715" fmla="*/ 1381167 w 1737195"/>
                <a:gd name="connsiteY715" fmla="*/ 647166 h 943041"/>
                <a:gd name="connsiteX716" fmla="*/ 1379473 w 1737195"/>
                <a:gd name="connsiteY716" fmla="*/ 647166 h 943041"/>
                <a:gd name="connsiteX717" fmla="*/ 1379473 w 1737195"/>
                <a:gd name="connsiteY717" fmla="*/ 647862 h 943041"/>
                <a:gd name="connsiteX718" fmla="*/ 1379473 w 1737195"/>
                <a:gd name="connsiteY718" fmla="*/ 649056 h 943041"/>
                <a:gd name="connsiteX719" fmla="*/ 1378775 w 1737195"/>
                <a:gd name="connsiteY719" fmla="*/ 650648 h 943041"/>
                <a:gd name="connsiteX720" fmla="*/ 1376783 w 1737195"/>
                <a:gd name="connsiteY720" fmla="*/ 652140 h 943041"/>
                <a:gd name="connsiteX721" fmla="*/ 1374092 w 1737195"/>
                <a:gd name="connsiteY721" fmla="*/ 652638 h 943041"/>
                <a:gd name="connsiteX722" fmla="*/ 1369210 w 1737195"/>
                <a:gd name="connsiteY722" fmla="*/ 652638 h 943041"/>
                <a:gd name="connsiteX723" fmla="*/ 1366519 w 1737195"/>
                <a:gd name="connsiteY723" fmla="*/ 653235 h 943041"/>
                <a:gd name="connsiteX724" fmla="*/ 1359345 w 1737195"/>
                <a:gd name="connsiteY724" fmla="*/ 657115 h 943041"/>
                <a:gd name="connsiteX725" fmla="*/ 1351473 w 1737195"/>
                <a:gd name="connsiteY725" fmla="*/ 658706 h 943041"/>
                <a:gd name="connsiteX726" fmla="*/ 1340014 w 1737195"/>
                <a:gd name="connsiteY726" fmla="*/ 662785 h 943041"/>
                <a:gd name="connsiteX727" fmla="*/ 1338021 w 1737195"/>
                <a:gd name="connsiteY727" fmla="*/ 664278 h 943041"/>
                <a:gd name="connsiteX728" fmla="*/ 1336925 w 1737195"/>
                <a:gd name="connsiteY728" fmla="*/ 665372 h 943041"/>
                <a:gd name="connsiteX729" fmla="*/ 1334633 w 1737195"/>
                <a:gd name="connsiteY729" fmla="*/ 666665 h 943041"/>
                <a:gd name="connsiteX730" fmla="*/ 1333637 w 1737195"/>
                <a:gd name="connsiteY730" fmla="*/ 667561 h 943041"/>
                <a:gd name="connsiteX731" fmla="*/ 1333637 w 1737195"/>
                <a:gd name="connsiteY731" fmla="*/ 668854 h 943041"/>
                <a:gd name="connsiteX732" fmla="*/ 1333637 w 1737195"/>
                <a:gd name="connsiteY732" fmla="*/ 670446 h 943041"/>
                <a:gd name="connsiteX733" fmla="*/ 1333637 w 1737195"/>
                <a:gd name="connsiteY733" fmla="*/ 671839 h 943041"/>
                <a:gd name="connsiteX734" fmla="*/ 1329452 w 1737195"/>
                <a:gd name="connsiteY734" fmla="*/ 673530 h 943041"/>
                <a:gd name="connsiteX735" fmla="*/ 1329452 w 1737195"/>
                <a:gd name="connsiteY735" fmla="*/ 676216 h 943041"/>
                <a:gd name="connsiteX736" fmla="*/ 1331245 w 1737195"/>
                <a:gd name="connsiteY736" fmla="*/ 679101 h 943041"/>
                <a:gd name="connsiteX737" fmla="*/ 1337124 w 1737195"/>
                <a:gd name="connsiteY737" fmla="*/ 685767 h 943041"/>
                <a:gd name="connsiteX738" fmla="*/ 1339316 w 1737195"/>
                <a:gd name="connsiteY738" fmla="*/ 687458 h 943041"/>
                <a:gd name="connsiteX739" fmla="*/ 1341708 w 1737195"/>
                <a:gd name="connsiteY739" fmla="*/ 687458 h 943041"/>
                <a:gd name="connsiteX740" fmla="*/ 1341708 w 1737195"/>
                <a:gd name="connsiteY740" fmla="*/ 688553 h 943041"/>
                <a:gd name="connsiteX741" fmla="*/ 1340014 w 1737195"/>
                <a:gd name="connsiteY741" fmla="*/ 689647 h 943041"/>
                <a:gd name="connsiteX742" fmla="*/ 1339416 w 1737195"/>
                <a:gd name="connsiteY742" fmla="*/ 692234 h 943041"/>
                <a:gd name="connsiteX743" fmla="*/ 1339416 w 1737195"/>
                <a:gd name="connsiteY743" fmla="*/ 695218 h 943041"/>
                <a:gd name="connsiteX744" fmla="*/ 1340612 w 1737195"/>
                <a:gd name="connsiteY744" fmla="*/ 697307 h 943041"/>
                <a:gd name="connsiteX745" fmla="*/ 1338719 w 1737195"/>
                <a:gd name="connsiteY745" fmla="*/ 696611 h 943041"/>
                <a:gd name="connsiteX746" fmla="*/ 1337024 w 1737195"/>
                <a:gd name="connsiteY746" fmla="*/ 696611 h 943041"/>
                <a:gd name="connsiteX747" fmla="*/ 1335530 w 1737195"/>
                <a:gd name="connsiteY747" fmla="*/ 697506 h 943041"/>
                <a:gd name="connsiteX748" fmla="*/ 1334533 w 1737195"/>
                <a:gd name="connsiteY748" fmla="*/ 699695 h 943041"/>
                <a:gd name="connsiteX749" fmla="*/ 1335231 w 1737195"/>
                <a:gd name="connsiteY749" fmla="*/ 690940 h 943041"/>
                <a:gd name="connsiteX750" fmla="*/ 1335231 w 1737195"/>
                <a:gd name="connsiteY750" fmla="*/ 689149 h 943041"/>
                <a:gd name="connsiteX751" fmla="*/ 1326163 w 1737195"/>
                <a:gd name="connsiteY751" fmla="*/ 679698 h 943041"/>
                <a:gd name="connsiteX752" fmla="*/ 1316199 w 1737195"/>
                <a:gd name="connsiteY752" fmla="*/ 673231 h 943041"/>
                <a:gd name="connsiteX753" fmla="*/ 1314704 w 1737195"/>
                <a:gd name="connsiteY753" fmla="*/ 673828 h 943041"/>
                <a:gd name="connsiteX754" fmla="*/ 1313608 w 1737195"/>
                <a:gd name="connsiteY754" fmla="*/ 673828 h 943041"/>
                <a:gd name="connsiteX755" fmla="*/ 1312911 w 1737195"/>
                <a:gd name="connsiteY755" fmla="*/ 674823 h 943041"/>
                <a:gd name="connsiteX756" fmla="*/ 1312911 w 1737195"/>
                <a:gd name="connsiteY756" fmla="*/ 676614 h 943041"/>
                <a:gd name="connsiteX757" fmla="*/ 1312911 w 1737195"/>
                <a:gd name="connsiteY757" fmla="*/ 678504 h 943041"/>
                <a:gd name="connsiteX758" fmla="*/ 1311815 w 1737195"/>
                <a:gd name="connsiteY758" fmla="*/ 679698 h 943041"/>
                <a:gd name="connsiteX759" fmla="*/ 1310419 w 1737195"/>
                <a:gd name="connsiteY759" fmla="*/ 679698 h 943041"/>
                <a:gd name="connsiteX760" fmla="*/ 1309024 w 1737195"/>
                <a:gd name="connsiteY760" fmla="*/ 679002 h 943041"/>
                <a:gd name="connsiteX761" fmla="*/ 1309622 w 1737195"/>
                <a:gd name="connsiteY761" fmla="*/ 677708 h 943041"/>
                <a:gd name="connsiteX762" fmla="*/ 1309024 w 1737195"/>
                <a:gd name="connsiteY762" fmla="*/ 676117 h 943041"/>
                <a:gd name="connsiteX763" fmla="*/ 1306434 w 1737195"/>
                <a:gd name="connsiteY763" fmla="*/ 672436 h 943041"/>
                <a:gd name="connsiteX764" fmla="*/ 1308426 w 1737195"/>
                <a:gd name="connsiteY764" fmla="*/ 671142 h 943041"/>
                <a:gd name="connsiteX765" fmla="*/ 1310320 w 1737195"/>
                <a:gd name="connsiteY765" fmla="*/ 668954 h 943041"/>
                <a:gd name="connsiteX766" fmla="*/ 1310918 w 1737195"/>
                <a:gd name="connsiteY766" fmla="*/ 666665 h 943041"/>
                <a:gd name="connsiteX767" fmla="*/ 1309024 w 1737195"/>
                <a:gd name="connsiteY767" fmla="*/ 664775 h 943041"/>
                <a:gd name="connsiteX768" fmla="*/ 1310121 w 1737195"/>
                <a:gd name="connsiteY768" fmla="*/ 662089 h 943041"/>
                <a:gd name="connsiteX769" fmla="*/ 1311017 w 1737195"/>
                <a:gd name="connsiteY769" fmla="*/ 656518 h 943041"/>
                <a:gd name="connsiteX770" fmla="*/ 1312014 w 1737195"/>
                <a:gd name="connsiteY770" fmla="*/ 654428 h 943041"/>
                <a:gd name="connsiteX771" fmla="*/ 1313708 w 1737195"/>
                <a:gd name="connsiteY771" fmla="*/ 652638 h 943041"/>
                <a:gd name="connsiteX772" fmla="*/ 1315003 w 1737195"/>
                <a:gd name="connsiteY772" fmla="*/ 650946 h 943041"/>
                <a:gd name="connsiteX773" fmla="*/ 1315003 w 1737195"/>
                <a:gd name="connsiteY773" fmla="*/ 649056 h 943041"/>
                <a:gd name="connsiteX774" fmla="*/ 1313608 w 1737195"/>
                <a:gd name="connsiteY774" fmla="*/ 646668 h 943041"/>
                <a:gd name="connsiteX775" fmla="*/ 1311217 w 1737195"/>
                <a:gd name="connsiteY775" fmla="*/ 645076 h 943041"/>
                <a:gd name="connsiteX776" fmla="*/ 1302747 w 1737195"/>
                <a:gd name="connsiteY776" fmla="*/ 643982 h 943041"/>
                <a:gd name="connsiteX777" fmla="*/ 1297566 w 1737195"/>
                <a:gd name="connsiteY777" fmla="*/ 641992 h 943041"/>
                <a:gd name="connsiteX778" fmla="*/ 1294875 w 1737195"/>
                <a:gd name="connsiteY778" fmla="*/ 641992 h 943041"/>
                <a:gd name="connsiteX779" fmla="*/ 1292284 w 1737195"/>
                <a:gd name="connsiteY779" fmla="*/ 643186 h 943041"/>
                <a:gd name="connsiteX780" fmla="*/ 1297167 w 1737195"/>
                <a:gd name="connsiteY780" fmla="*/ 643883 h 943041"/>
                <a:gd name="connsiteX781" fmla="*/ 1302448 w 1737195"/>
                <a:gd name="connsiteY781" fmla="*/ 645475 h 943041"/>
                <a:gd name="connsiteX782" fmla="*/ 1305238 w 1737195"/>
                <a:gd name="connsiteY782" fmla="*/ 648360 h 943041"/>
                <a:gd name="connsiteX783" fmla="*/ 1302747 w 1737195"/>
                <a:gd name="connsiteY783" fmla="*/ 653135 h 943041"/>
                <a:gd name="connsiteX784" fmla="*/ 1299459 w 1737195"/>
                <a:gd name="connsiteY784" fmla="*/ 655722 h 943041"/>
                <a:gd name="connsiteX785" fmla="*/ 1295174 w 1737195"/>
                <a:gd name="connsiteY785" fmla="*/ 658209 h 943041"/>
                <a:gd name="connsiteX786" fmla="*/ 1290690 w 1737195"/>
                <a:gd name="connsiteY786" fmla="*/ 660099 h 943041"/>
                <a:gd name="connsiteX787" fmla="*/ 1282420 w 1737195"/>
                <a:gd name="connsiteY787" fmla="*/ 661492 h 943041"/>
                <a:gd name="connsiteX788" fmla="*/ 1273751 w 1737195"/>
                <a:gd name="connsiteY788" fmla="*/ 664476 h 943041"/>
                <a:gd name="connsiteX789" fmla="*/ 1264882 w 1737195"/>
                <a:gd name="connsiteY789" fmla="*/ 665869 h 943041"/>
                <a:gd name="connsiteX790" fmla="*/ 1245950 w 1737195"/>
                <a:gd name="connsiteY790" fmla="*/ 674326 h 943041"/>
                <a:gd name="connsiteX791" fmla="*/ 1226021 w 1737195"/>
                <a:gd name="connsiteY791" fmla="*/ 687060 h 943041"/>
                <a:gd name="connsiteX792" fmla="*/ 1206092 w 1737195"/>
                <a:gd name="connsiteY792" fmla="*/ 697805 h 943041"/>
                <a:gd name="connsiteX793" fmla="*/ 1201907 w 1737195"/>
                <a:gd name="connsiteY793" fmla="*/ 701983 h 943041"/>
                <a:gd name="connsiteX794" fmla="*/ 1199615 w 1737195"/>
                <a:gd name="connsiteY794" fmla="*/ 703874 h 943041"/>
                <a:gd name="connsiteX795" fmla="*/ 1183573 w 1737195"/>
                <a:gd name="connsiteY795" fmla="*/ 712032 h 943041"/>
                <a:gd name="connsiteX796" fmla="*/ 1180982 w 1737195"/>
                <a:gd name="connsiteY796" fmla="*/ 712529 h 943041"/>
                <a:gd name="connsiteX797" fmla="*/ 1178591 w 1737195"/>
                <a:gd name="connsiteY797" fmla="*/ 713524 h 943041"/>
                <a:gd name="connsiteX798" fmla="*/ 1171017 w 1737195"/>
                <a:gd name="connsiteY798" fmla="*/ 719990 h 943041"/>
                <a:gd name="connsiteX799" fmla="*/ 1150192 w 1737195"/>
                <a:gd name="connsiteY799" fmla="*/ 732128 h 943041"/>
                <a:gd name="connsiteX800" fmla="*/ 1137238 w 1737195"/>
                <a:gd name="connsiteY800" fmla="*/ 740286 h 943041"/>
                <a:gd name="connsiteX801" fmla="*/ 1132754 w 1737195"/>
                <a:gd name="connsiteY801" fmla="*/ 747449 h 943041"/>
                <a:gd name="connsiteX802" fmla="*/ 1134946 w 1737195"/>
                <a:gd name="connsiteY802" fmla="*/ 749837 h 943041"/>
                <a:gd name="connsiteX803" fmla="*/ 1138035 w 1737195"/>
                <a:gd name="connsiteY803" fmla="*/ 748742 h 943041"/>
                <a:gd name="connsiteX804" fmla="*/ 1143217 w 1737195"/>
                <a:gd name="connsiteY804" fmla="*/ 745260 h 943041"/>
                <a:gd name="connsiteX805" fmla="*/ 1146007 w 1737195"/>
                <a:gd name="connsiteY805" fmla="*/ 745260 h 943041"/>
                <a:gd name="connsiteX806" fmla="*/ 1150889 w 1737195"/>
                <a:gd name="connsiteY806" fmla="*/ 743470 h 943041"/>
                <a:gd name="connsiteX807" fmla="*/ 1160854 w 1737195"/>
                <a:gd name="connsiteY807" fmla="*/ 737500 h 943041"/>
                <a:gd name="connsiteX808" fmla="*/ 1166334 w 1737195"/>
                <a:gd name="connsiteY808" fmla="*/ 735710 h 943041"/>
                <a:gd name="connsiteX809" fmla="*/ 1172014 w 1737195"/>
                <a:gd name="connsiteY809" fmla="*/ 732029 h 943041"/>
                <a:gd name="connsiteX810" fmla="*/ 1174406 w 1737195"/>
                <a:gd name="connsiteY810" fmla="*/ 732526 h 943041"/>
                <a:gd name="connsiteX811" fmla="*/ 1171615 w 1737195"/>
                <a:gd name="connsiteY811" fmla="*/ 733720 h 943041"/>
                <a:gd name="connsiteX812" fmla="*/ 1166135 w 1737195"/>
                <a:gd name="connsiteY812" fmla="*/ 737202 h 943041"/>
                <a:gd name="connsiteX813" fmla="*/ 1162548 w 1737195"/>
                <a:gd name="connsiteY813" fmla="*/ 737898 h 943041"/>
                <a:gd name="connsiteX814" fmla="*/ 1160754 w 1737195"/>
                <a:gd name="connsiteY814" fmla="*/ 739192 h 943041"/>
                <a:gd name="connsiteX815" fmla="*/ 1153480 w 1737195"/>
                <a:gd name="connsiteY815" fmla="*/ 746753 h 943041"/>
                <a:gd name="connsiteX816" fmla="*/ 1152484 w 1737195"/>
                <a:gd name="connsiteY816" fmla="*/ 745559 h 943041"/>
                <a:gd name="connsiteX817" fmla="*/ 1151089 w 1737195"/>
                <a:gd name="connsiteY817" fmla="*/ 748543 h 943041"/>
                <a:gd name="connsiteX818" fmla="*/ 1149495 w 1737195"/>
                <a:gd name="connsiteY818" fmla="*/ 750334 h 943041"/>
                <a:gd name="connsiteX819" fmla="*/ 1145608 w 1737195"/>
                <a:gd name="connsiteY819" fmla="*/ 753319 h 943041"/>
                <a:gd name="connsiteX820" fmla="*/ 1142519 w 1737195"/>
                <a:gd name="connsiteY820" fmla="*/ 756403 h 943041"/>
                <a:gd name="connsiteX821" fmla="*/ 1141025 w 1737195"/>
                <a:gd name="connsiteY821" fmla="*/ 757597 h 943041"/>
                <a:gd name="connsiteX822" fmla="*/ 1138733 w 1737195"/>
                <a:gd name="connsiteY822" fmla="*/ 758791 h 943041"/>
                <a:gd name="connsiteX823" fmla="*/ 1136242 w 1737195"/>
                <a:gd name="connsiteY823" fmla="*/ 759487 h 943041"/>
                <a:gd name="connsiteX824" fmla="*/ 1133850 w 1737195"/>
                <a:gd name="connsiteY824" fmla="*/ 759487 h 943041"/>
                <a:gd name="connsiteX825" fmla="*/ 1132754 w 1737195"/>
                <a:gd name="connsiteY825" fmla="*/ 758791 h 943041"/>
                <a:gd name="connsiteX826" fmla="*/ 1132754 w 1737195"/>
                <a:gd name="connsiteY826" fmla="*/ 757298 h 943041"/>
                <a:gd name="connsiteX827" fmla="*/ 1132754 w 1737195"/>
                <a:gd name="connsiteY827" fmla="*/ 755408 h 943041"/>
                <a:gd name="connsiteX828" fmla="*/ 1132754 w 1737195"/>
                <a:gd name="connsiteY828" fmla="*/ 756104 h 943041"/>
                <a:gd name="connsiteX829" fmla="*/ 1132754 w 1737195"/>
                <a:gd name="connsiteY829" fmla="*/ 753617 h 943041"/>
                <a:gd name="connsiteX830" fmla="*/ 1131957 w 1737195"/>
                <a:gd name="connsiteY830" fmla="*/ 751230 h 943041"/>
                <a:gd name="connsiteX831" fmla="*/ 1130662 w 1737195"/>
                <a:gd name="connsiteY831" fmla="*/ 749041 h 943041"/>
                <a:gd name="connsiteX832" fmla="*/ 1129067 w 1737195"/>
                <a:gd name="connsiteY832" fmla="*/ 747350 h 943041"/>
                <a:gd name="connsiteX833" fmla="*/ 1117807 w 1737195"/>
                <a:gd name="connsiteY833" fmla="*/ 755806 h 943041"/>
                <a:gd name="connsiteX834" fmla="*/ 1116014 w 1737195"/>
                <a:gd name="connsiteY834" fmla="*/ 757796 h 943041"/>
                <a:gd name="connsiteX835" fmla="*/ 1102064 w 1737195"/>
                <a:gd name="connsiteY835" fmla="*/ 765954 h 943041"/>
                <a:gd name="connsiteX836" fmla="*/ 1079046 w 1737195"/>
                <a:gd name="connsiteY836" fmla="*/ 789134 h 943041"/>
                <a:gd name="connsiteX837" fmla="*/ 1077452 w 1737195"/>
                <a:gd name="connsiteY837" fmla="*/ 791820 h 943041"/>
                <a:gd name="connsiteX838" fmla="*/ 1077452 w 1737195"/>
                <a:gd name="connsiteY838" fmla="*/ 795999 h 943041"/>
                <a:gd name="connsiteX839" fmla="*/ 1078647 w 1737195"/>
                <a:gd name="connsiteY839" fmla="*/ 795402 h 943041"/>
                <a:gd name="connsiteX840" fmla="*/ 1098576 w 1737195"/>
                <a:gd name="connsiteY840" fmla="*/ 775504 h 943041"/>
                <a:gd name="connsiteX841" fmla="*/ 1109537 w 1737195"/>
                <a:gd name="connsiteY841" fmla="*/ 765556 h 943041"/>
                <a:gd name="connsiteX842" fmla="*/ 1110633 w 1737195"/>
                <a:gd name="connsiteY842" fmla="*/ 765556 h 943041"/>
                <a:gd name="connsiteX843" fmla="*/ 1111929 w 1737195"/>
                <a:gd name="connsiteY843" fmla="*/ 765556 h 943041"/>
                <a:gd name="connsiteX844" fmla="*/ 1113224 w 1737195"/>
                <a:gd name="connsiteY844" fmla="*/ 765556 h 943041"/>
                <a:gd name="connsiteX845" fmla="*/ 1118804 w 1737195"/>
                <a:gd name="connsiteY845" fmla="*/ 764362 h 943041"/>
                <a:gd name="connsiteX846" fmla="*/ 1121295 w 1737195"/>
                <a:gd name="connsiteY846" fmla="*/ 764362 h 943041"/>
                <a:gd name="connsiteX847" fmla="*/ 1122391 w 1737195"/>
                <a:gd name="connsiteY847" fmla="*/ 766451 h 943041"/>
                <a:gd name="connsiteX848" fmla="*/ 1121494 w 1737195"/>
                <a:gd name="connsiteY848" fmla="*/ 769137 h 943041"/>
                <a:gd name="connsiteX849" fmla="*/ 1119103 w 1737195"/>
                <a:gd name="connsiteY849" fmla="*/ 771227 h 943041"/>
                <a:gd name="connsiteX850" fmla="*/ 1116313 w 1737195"/>
                <a:gd name="connsiteY850" fmla="*/ 773017 h 943041"/>
                <a:gd name="connsiteX851" fmla="*/ 1111331 w 1737195"/>
                <a:gd name="connsiteY851" fmla="*/ 777196 h 943041"/>
                <a:gd name="connsiteX852" fmla="*/ 1106547 w 1737195"/>
                <a:gd name="connsiteY852" fmla="*/ 779882 h 943041"/>
                <a:gd name="connsiteX853" fmla="*/ 1098078 w 1737195"/>
                <a:gd name="connsiteY853" fmla="*/ 788239 h 943041"/>
                <a:gd name="connsiteX854" fmla="*/ 1097181 w 1737195"/>
                <a:gd name="connsiteY854" fmla="*/ 790030 h 943041"/>
                <a:gd name="connsiteX855" fmla="*/ 1096284 w 1737195"/>
                <a:gd name="connsiteY855" fmla="*/ 793014 h 943041"/>
                <a:gd name="connsiteX856" fmla="*/ 1094192 w 1737195"/>
                <a:gd name="connsiteY856" fmla="*/ 795104 h 943041"/>
                <a:gd name="connsiteX857" fmla="*/ 1090107 w 1737195"/>
                <a:gd name="connsiteY857" fmla="*/ 798188 h 943041"/>
                <a:gd name="connsiteX858" fmla="*/ 1087815 w 1737195"/>
                <a:gd name="connsiteY858" fmla="*/ 803063 h 943041"/>
                <a:gd name="connsiteX859" fmla="*/ 1084128 w 1737195"/>
                <a:gd name="connsiteY859" fmla="*/ 820970 h 943041"/>
                <a:gd name="connsiteX860" fmla="*/ 1082833 w 1737195"/>
                <a:gd name="connsiteY860" fmla="*/ 824452 h 943041"/>
                <a:gd name="connsiteX861" fmla="*/ 1082035 w 1737195"/>
                <a:gd name="connsiteY861" fmla="*/ 825845 h 943041"/>
                <a:gd name="connsiteX862" fmla="*/ 1078448 w 1737195"/>
                <a:gd name="connsiteY862" fmla="*/ 830521 h 943041"/>
                <a:gd name="connsiteX863" fmla="*/ 1078448 w 1737195"/>
                <a:gd name="connsiteY863" fmla="*/ 831417 h 943041"/>
                <a:gd name="connsiteX864" fmla="*/ 1078448 w 1737195"/>
                <a:gd name="connsiteY864" fmla="*/ 834998 h 943041"/>
                <a:gd name="connsiteX865" fmla="*/ 1076455 w 1737195"/>
                <a:gd name="connsiteY865" fmla="*/ 840868 h 943041"/>
                <a:gd name="connsiteX866" fmla="*/ 1076455 w 1737195"/>
                <a:gd name="connsiteY866" fmla="*/ 844051 h 943041"/>
                <a:gd name="connsiteX867" fmla="*/ 1078448 w 1737195"/>
                <a:gd name="connsiteY867" fmla="*/ 842957 h 943041"/>
                <a:gd name="connsiteX868" fmla="*/ 1079843 w 1737195"/>
                <a:gd name="connsiteY868" fmla="*/ 844350 h 943041"/>
                <a:gd name="connsiteX869" fmla="*/ 1083131 w 1737195"/>
                <a:gd name="connsiteY869" fmla="*/ 854299 h 943041"/>
                <a:gd name="connsiteX870" fmla="*/ 1083131 w 1737195"/>
                <a:gd name="connsiteY870" fmla="*/ 854299 h 943041"/>
                <a:gd name="connsiteX871" fmla="*/ 1083829 w 1737195"/>
                <a:gd name="connsiteY871" fmla="*/ 856089 h 943041"/>
                <a:gd name="connsiteX872" fmla="*/ 1083829 w 1737195"/>
                <a:gd name="connsiteY872" fmla="*/ 857383 h 943041"/>
                <a:gd name="connsiteX873" fmla="*/ 1082035 w 1737195"/>
                <a:gd name="connsiteY873" fmla="*/ 861561 h 943041"/>
                <a:gd name="connsiteX874" fmla="*/ 1082035 w 1737195"/>
                <a:gd name="connsiteY874" fmla="*/ 863949 h 943041"/>
                <a:gd name="connsiteX875" fmla="*/ 1082932 w 1737195"/>
                <a:gd name="connsiteY875" fmla="*/ 866138 h 943041"/>
                <a:gd name="connsiteX876" fmla="*/ 1083431 w 1737195"/>
                <a:gd name="connsiteY876" fmla="*/ 868525 h 943041"/>
                <a:gd name="connsiteX877" fmla="*/ 1083431 w 1737195"/>
                <a:gd name="connsiteY877" fmla="*/ 869719 h 943041"/>
                <a:gd name="connsiteX878" fmla="*/ 1081836 w 1737195"/>
                <a:gd name="connsiteY878" fmla="*/ 873002 h 943041"/>
                <a:gd name="connsiteX879" fmla="*/ 1081238 w 1737195"/>
                <a:gd name="connsiteY879" fmla="*/ 874494 h 943041"/>
                <a:gd name="connsiteX880" fmla="*/ 1081238 w 1737195"/>
                <a:gd name="connsiteY880" fmla="*/ 875589 h 943041"/>
                <a:gd name="connsiteX881" fmla="*/ 1081238 w 1737195"/>
                <a:gd name="connsiteY881" fmla="*/ 876783 h 943041"/>
                <a:gd name="connsiteX882" fmla="*/ 1081238 w 1737195"/>
                <a:gd name="connsiteY882" fmla="*/ 878275 h 943041"/>
                <a:gd name="connsiteX883" fmla="*/ 1081238 w 1737195"/>
                <a:gd name="connsiteY883" fmla="*/ 879867 h 943041"/>
                <a:gd name="connsiteX884" fmla="*/ 1083032 w 1737195"/>
                <a:gd name="connsiteY884" fmla="*/ 879867 h 943041"/>
                <a:gd name="connsiteX885" fmla="*/ 1083929 w 1737195"/>
                <a:gd name="connsiteY885" fmla="*/ 881061 h 943041"/>
                <a:gd name="connsiteX886" fmla="*/ 1083929 w 1737195"/>
                <a:gd name="connsiteY886" fmla="*/ 883050 h 943041"/>
                <a:gd name="connsiteX887" fmla="*/ 1083929 w 1737195"/>
                <a:gd name="connsiteY887" fmla="*/ 885339 h 943041"/>
                <a:gd name="connsiteX888" fmla="*/ 1084825 w 1737195"/>
                <a:gd name="connsiteY888" fmla="*/ 884244 h 943041"/>
                <a:gd name="connsiteX889" fmla="*/ 1085722 w 1737195"/>
                <a:gd name="connsiteY889" fmla="*/ 882752 h 943041"/>
                <a:gd name="connsiteX890" fmla="*/ 1086619 w 1737195"/>
                <a:gd name="connsiteY890" fmla="*/ 881558 h 943041"/>
                <a:gd name="connsiteX891" fmla="*/ 1087914 w 1737195"/>
                <a:gd name="connsiteY891" fmla="*/ 881061 h 943041"/>
                <a:gd name="connsiteX892" fmla="*/ 1088811 w 1737195"/>
                <a:gd name="connsiteY892" fmla="*/ 881857 h 943041"/>
                <a:gd name="connsiteX893" fmla="*/ 1088811 w 1737195"/>
                <a:gd name="connsiteY893" fmla="*/ 883747 h 943041"/>
                <a:gd name="connsiteX894" fmla="*/ 1088014 w 1737195"/>
                <a:gd name="connsiteY894" fmla="*/ 885538 h 943041"/>
                <a:gd name="connsiteX895" fmla="*/ 1086220 w 1737195"/>
                <a:gd name="connsiteY895" fmla="*/ 887925 h 943041"/>
                <a:gd name="connsiteX896" fmla="*/ 1087715 w 1737195"/>
                <a:gd name="connsiteY896" fmla="*/ 898372 h 943041"/>
                <a:gd name="connsiteX897" fmla="*/ 1088612 w 1737195"/>
                <a:gd name="connsiteY897" fmla="*/ 898372 h 943041"/>
                <a:gd name="connsiteX898" fmla="*/ 1089608 w 1737195"/>
                <a:gd name="connsiteY898" fmla="*/ 896481 h 943041"/>
                <a:gd name="connsiteX899" fmla="*/ 1091402 w 1737195"/>
                <a:gd name="connsiteY899" fmla="*/ 894690 h 943041"/>
                <a:gd name="connsiteX900" fmla="*/ 1093096 w 1737195"/>
                <a:gd name="connsiteY900" fmla="*/ 893795 h 943041"/>
                <a:gd name="connsiteX901" fmla="*/ 1093893 w 1737195"/>
                <a:gd name="connsiteY901" fmla="*/ 894492 h 943041"/>
                <a:gd name="connsiteX902" fmla="*/ 1093893 w 1737195"/>
                <a:gd name="connsiteY902" fmla="*/ 898769 h 943041"/>
                <a:gd name="connsiteX903" fmla="*/ 1093893 w 1737195"/>
                <a:gd name="connsiteY903" fmla="*/ 900560 h 943041"/>
                <a:gd name="connsiteX904" fmla="*/ 1095687 w 1737195"/>
                <a:gd name="connsiteY904" fmla="*/ 902649 h 943041"/>
                <a:gd name="connsiteX905" fmla="*/ 1096284 w 1737195"/>
                <a:gd name="connsiteY905" fmla="*/ 898769 h 943041"/>
                <a:gd name="connsiteX906" fmla="*/ 1097978 w 1737195"/>
                <a:gd name="connsiteY906" fmla="*/ 897874 h 943041"/>
                <a:gd name="connsiteX907" fmla="*/ 1099373 w 1737195"/>
                <a:gd name="connsiteY907" fmla="*/ 899466 h 943041"/>
                <a:gd name="connsiteX908" fmla="*/ 1099373 w 1737195"/>
                <a:gd name="connsiteY908" fmla="*/ 902649 h 943041"/>
                <a:gd name="connsiteX909" fmla="*/ 1100171 w 1737195"/>
                <a:gd name="connsiteY909" fmla="*/ 902649 h 943041"/>
                <a:gd name="connsiteX910" fmla="*/ 1100171 w 1737195"/>
                <a:gd name="connsiteY910" fmla="*/ 903843 h 943041"/>
                <a:gd name="connsiteX911" fmla="*/ 1100171 w 1737195"/>
                <a:gd name="connsiteY911" fmla="*/ 904838 h 943041"/>
                <a:gd name="connsiteX912" fmla="*/ 1100769 w 1737195"/>
                <a:gd name="connsiteY912" fmla="*/ 905535 h 943041"/>
                <a:gd name="connsiteX913" fmla="*/ 1101864 w 1737195"/>
                <a:gd name="connsiteY913" fmla="*/ 905535 h 943041"/>
                <a:gd name="connsiteX914" fmla="*/ 1102960 w 1737195"/>
                <a:gd name="connsiteY914" fmla="*/ 904938 h 943041"/>
                <a:gd name="connsiteX915" fmla="*/ 1102960 w 1737195"/>
                <a:gd name="connsiteY915" fmla="*/ 903744 h 943041"/>
                <a:gd name="connsiteX916" fmla="*/ 1102960 w 1737195"/>
                <a:gd name="connsiteY916" fmla="*/ 902252 h 943041"/>
                <a:gd name="connsiteX917" fmla="*/ 1102960 w 1737195"/>
                <a:gd name="connsiteY917" fmla="*/ 901157 h 943041"/>
                <a:gd name="connsiteX918" fmla="*/ 1104655 w 1737195"/>
                <a:gd name="connsiteY918" fmla="*/ 900063 h 943041"/>
                <a:gd name="connsiteX919" fmla="*/ 1105651 w 1737195"/>
                <a:gd name="connsiteY919" fmla="*/ 900063 h 943041"/>
                <a:gd name="connsiteX920" fmla="*/ 1105651 w 1737195"/>
                <a:gd name="connsiteY920" fmla="*/ 901655 h 943041"/>
                <a:gd name="connsiteX921" fmla="*/ 1104555 w 1737195"/>
                <a:gd name="connsiteY921" fmla="*/ 904241 h 943041"/>
                <a:gd name="connsiteX922" fmla="*/ 1106049 w 1737195"/>
                <a:gd name="connsiteY922" fmla="*/ 904241 h 943041"/>
                <a:gd name="connsiteX923" fmla="*/ 1106847 w 1737195"/>
                <a:gd name="connsiteY923" fmla="*/ 902848 h 943041"/>
                <a:gd name="connsiteX924" fmla="*/ 1108142 w 1737195"/>
                <a:gd name="connsiteY924" fmla="*/ 899267 h 943041"/>
                <a:gd name="connsiteX925" fmla="*/ 1106747 w 1737195"/>
                <a:gd name="connsiteY925" fmla="*/ 897078 h 943041"/>
                <a:gd name="connsiteX926" fmla="*/ 1103260 w 1737195"/>
                <a:gd name="connsiteY926" fmla="*/ 888622 h 943041"/>
                <a:gd name="connsiteX927" fmla="*/ 1103260 w 1737195"/>
                <a:gd name="connsiteY927" fmla="*/ 887826 h 943041"/>
                <a:gd name="connsiteX928" fmla="*/ 1103260 w 1737195"/>
                <a:gd name="connsiteY928" fmla="*/ 886732 h 943041"/>
                <a:gd name="connsiteX929" fmla="*/ 1103260 w 1737195"/>
                <a:gd name="connsiteY929" fmla="*/ 885438 h 943041"/>
                <a:gd name="connsiteX930" fmla="*/ 1103957 w 1737195"/>
                <a:gd name="connsiteY930" fmla="*/ 882553 h 943041"/>
                <a:gd name="connsiteX931" fmla="*/ 1103957 w 1737195"/>
                <a:gd name="connsiteY931" fmla="*/ 881857 h 943041"/>
                <a:gd name="connsiteX932" fmla="*/ 1104555 w 1737195"/>
                <a:gd name="connsiteY932" fmla="*/ 882652 h 943041"/>
                <a:gd name="connsiteX933" fmla="*/ 1105253 w 1737195"/>
                <a:gd name="connsiteY933" fmla="*/ 884244 h 943041"/>
                <a:gd name="connsiteX934" fmla="*/ 1105253 w 1737195"/>
                <a:gd name="connsiteY934" fmla="*/ 887328 h 943041"/>
                <a:gd name="connsiteX935" fmla="*/ 1105850 w 1737195"/>
                <a:gd name="connsiteY935" fmla="*/ 890114 h 943041"/>
                <a:gd name="connsiteX936" fmla="*/ 1105850 w 1737195"/>
                <a:gd name="connsiteY936" fmla="*/ 891208 h 943041"/>
                <a:gd name="connsiteX937" fmla="*/ 1106647 w 1737195"/>
                <a:gd name="connsiteY937" fmla="*/ 893596 h 943041"/>
                <a:gd name="connsiteX938" fmla="*/ 1108441 w 1737195"/>
                <a:gd name="connsiteY938" fmla="*/ 892701 h 943041"/>
                <a:gd name="connsiteX939" fmla="*/ 1111929 w 1737195"/>
                <a:gd name="connsiteY939" fmla="*/ 889517 h 943041"/>
                <a:gd name="connsiteX940" fmla="*/ 1111929 w 1737195"/>
                <a:gd name="connsiteY940" fmla="*/ 888522 h 943041"/>
                <a:gd name="connsiteX941" fmla="*/ 1110434 w 1737195"/>
                <a:gd name="connsiteY941" fmla="*/ 887229 h 943041"/>
                <a:gd name="connsiteX942" fmla="*/ 1110434 w 1737195"/>
                <a:gd name="connsiteY942" fmla="*/ 886333 h 943041"/>
                <a:gd name="connsiteX943" fmla="*/ 1112028 w 1737195"/>
                <a:gd name="connsiteY943" fmla="*/ 886333 h 943041"/>
                <a:gd name="connsiteX944" fmla="*/ 1114021 w 1737195"/>
                <a:gd name="connsiteY944" fmla="*/ 887527 h 943041"/>
                <a:gd name="connsiteX945" fmla="*/ 1115316 w 1737195"/>
                <a:gd name="connsiteY945" fmla="*/ 890015 h 943041"/>
                <a:gd name="connsiteX946" fmla="*/ 1116612 w 1737195"/>
                <a:gd name="connsiteY946" fmla="*/ 893198 h 943041"/>
                <a:gd name="connsiteX947" fmla="*/ 1118107 w 1737195"/>
                <a:gd name="connsiteY947" fmla="*/ 895387 h 943041"/>
                <a:gd name="connsiteX948" fmla="*/ 1120000 w 1737195"/>
                <a:gd name="connsiteY948" fmla="*/ 895387 h 943041"/>
                <a:gd name="connsiteX949" fmla="*/ 1119402 w 1737195"/>
                <a:gd name="connsiteY949" fmla="*/ 894093 h 943041"/>
                <a:gd name="connsiteX950" fmla="*/ 1119402 w 1737195"/>
                <a:gd name="connsiteY950" fmla="*/ 892800 h 943041"/>
                <a:gd name="connsiteX951" fmla="*/ 1119402 w 1737195"/>
                <a:gd name="connsiteY951" fmla="*/ 889915 h 943041"/>
                <a:gd name="connsiteX952" fmla="*/ 1120298 w 1737195"/>
                <a:gd name="connsiteY952" fmla="*/ 889915 h 943041"/>
                <a:gd name="connsiteX953" fmla="*/ 1121395 w 1737195"/>
                <a:gd name="connsiteY953" fmla="*/ 896481 h 943041"/>
                <a:gd name="connsiteX954" fmla="*/ 1122093 w 1737195"/>
                <a:gd name="connsiteY954" fmla="*/ 898571 h 943041"/>
                <a:gd name="connsiteX955" fmla="*/ 1122989 w 1737195"/>
                <a:gd name="connsiteY955" fmla="*/ 900560 h 943041"/>
                <a:gd name="connsiteX956" fmla="*/ 1124982 w 1737195"/>
                <a:gd name="connsiteY956" fmla="*/ 903744 h 943041"/>
                <a:gd name="connsiteX957" fmla="*/ 1125580 w 1737195"/>
                <a:gd name="connsiteY957" fmla="*/ 905137 h 943041"/>
                <a:gd name="connsiteX958" fmla="*/ 1126178 w 1737195"/>
                <a:gd name="connsiteY958" fmla="*/ 909415 h 943041"/>
                <a:gd name="connsiteX959" fmla="*/ 1126178 w 1737195"/>
                <a:gd name="connsiteY959" fmla="*/ 913494 h 943041"/>
                <a:gd name="connsiteX960" fmla="*/ 1126178 w 1737195"/>
                <a:gd name="connsiteY960" fmla="*/ 917473 h 943041"/>
                <a:gd name="connsiteX961" fmla="*/ 1128071 w 1737195"/>
                <a:gd name="connsiteY961" fmla="*/ 921453 h 943041"/>
                <a:gd name="connsiteX962" fmla="*/ 1128868 w 1737195"/>
                <a:gd name="connsiteY962" fmla="*/ 919264 h 943041"/>
                <a:gd name="connsiteX963" fmla="*/ 1128868 w 1737195"/>
                <a:gd name="connsiteY963" fmla="*/ 917075 h 943041"/>
                <a:gd name="connsiteX964" fmla="*/ 1128868 w 1737195"/>
                <a:gd name="connsiteY964" fmla="*/ 915085 h 943041"/>
                <a:gd name="connsiteX965" fmla="*/ 1127573 w 1737195"/>
                <a:gd name="connsiteY965" fmla="*/ 913792 h 943041"/>
                <a:gd name="connsiteX966" fmla="*/ 1128370 w 1737195"/>
                <a:gd name="connsiteY966" fmla="*/ 911603 h 943041"/>
                <a:gd name="connsiteX967" fmla="*/ 1129067 w 1737195"/>
                <a:gd name="connsiteY967" fmla="*/ 909415 h 943041"/>
                <a:gd name="connsiteX968" fmla="*/ 1129864 w 1737195"/>
                <a:gd name="connsiteY968" fmla="*/ 908022 h 943041"/>
                <a:gd name="connsiteX969" fmla="*/ 1131060 w 1737195"/>
                <a:gd name="connsiteY969" fmla="*/ 908022 h 943041"/>
                <a:gd name="connsiteX970" fmla="*/ 1131758 w 1737195"/>
                <a:gd name="connsiteY970" fmla="*/ 909315 h 943041"/>
                <a:gd name="connsiteX971" fmla="*/ 1131758 w 1737195"/>
                <a:gd name="connsiteY971" fmla="*/ 911205 h 943041"/>
                <a:gd name="connsiteX972" fmla="*/ 1131758 w 1737195"/>
                <a:gd name="connsiteY972" fmla="*/ 915284 h 943041"/>
                <a:gd name="connsiteX973" fmla="*/ 1130562 w 1737195"/>
                <a:gd name="connsiteY973" fmla="*/ 923840 h 943041"/>
                <a:gd name="connsiteX974" fmla="*/ 1130562 w 1737195"/>
                <a:gd name="connsiteY974" fmla="*/ 926825 h 943041"/>
                <a:gd name="connsiteX975" fmla="*/ 1133053 w 1737195"/>
                <a:gd name="connsiteY975" fmla="*/ 929611 h 943041"/>
                <a:gd name="connsiteX976" fmla="*/ 1133651 w 1737195"/>
                <a:gd name="connsiteY976" fmla="*/ 929611 h 943041"/>
                <a:gd name="connsiteX977" fmla="*/ 1133651 w 1737195"/>
                <a:gd name="connsiteY977" fmla="*/ 929611 h 943041"/>
                <a:gd name="connsiteX978" fmla="*/ 1133651 w 1737195"/>
                <a:gd name="connsiteY978" fmla="*/ 929611 h 943041"/>
                <a:gd name="connsiteX979" fmla="*/ 1133651 w 1737195"/>
                <a:gd name="connsiteY979" fmla="*/ 929014 h 943041"/>
                <a:gd name="connsiteX980" fmla="*/ 1133053 w 1737195"/>
                <a:gd name="connsiteY980" fmla="*/ 928317 h 943041"/>
                <a:gd name="connsiteX981" fmla="*/ 1133053 w 1737195"/>
                <a:gd name="connsiteY981" fmla="*/ 927422 h 943041"/>
                <a:gd name="connsiteX982" fmla="*/ 1133053 w 1737195"/>
                <a:gd name="connsiteY982" fmla="*/ 924636 h 943041"/>
                <a:gd name="connsiteX983" fmla="*/ 1134747 w 1737195"/>
                <a:gd name="connsiteY983" fmla="*/ 926228 h 943041"/>
                <a:gd name="connsiteX984" fmla="*/ 1135644 w 1737195"/>
                <a:gd name="connsiteY984" fmla="*/ 928417 h 943041"/>
                <a:gd name="connsiteX985" fmla="*/ 1135644 w 1737195"/>
                <a:gd name="connsiteY985" fmla="*/ 930904 h 943041"/>
                <a:gd name="connsiteX986" fmla="*/ 1134647 w 1737195"/>
                <a:gd name="connsiteY986" fmla="*/ 933391 h 943041"/>
                <a:gd name="connsiteX987" fmla="*/ 1135744 w 1737195"/>
                <a:gd name="connsiteY987" fmla="*/ 936177 h 943041"/>
                <a:gd name="connsiteX988" fmla="*/ 1137039 w 1737195"/>
                <a:gd name="connsiteY988" fmla="*/ 936873 h 943041"/>
                <a:gd name="connsiteX989" fmla="*/ 1140825 w 1737195"/>
                <a:gd name="connsiteY989" fmla="*/ 936873 h 943041"/>
                <a:gd name="connsiteX990" fmla="*/ 1142718 w 1737195"/>
                <a:gd name="connsiteY990" fmla="*/ 937868 h 943041"/>
                <a:gd name="connsiteX991" fmla="*/ 1143615 w 1737195"/>
                <a:gd name="connsiteY991" fmla="*/ 938564 h 943041"/>
                <a:gd name="connsiteX992" fmla="*/ 1143615 w 1737195"/>
                <a:gd name="connsiteY992" fmla="*/ 939062 h 943041"/>
                <a:gd name="connsiteX993" fmla="*/ 1145011 w 1737195"/>
                <a:gd name="connsiteY993" fmla="*/ 938366 h 943041"/>
                <a:gd name="connsiteX994" fmla="*/ 1145011 w 1737195"/>
                <a:gd name="connsiteY994" fmla="*/ 937470 h 943041"/>
                <a:gd name="connsiteX995" fmla="*/ 1145011 w 1737195"/>
                <a:gd name="connsiteY995" fmla="*/ 936575 h 943041"/>
                <a:gd name="connsiteX996" fmla="*/ 1145509 w 1737195"/>
                <a:gd name="connsiteY996" fmla="*/ 935878 h 943041"/>
                <a:gd name="connsiteX997" fmla="*/ 1150092 w 1737195"/>
                <a:gd name="connsiteY997" fmla="*/ 932894 h 943041"/>
                <a:gd name="connsiteX998" fmla="*/ 1154277 w 1737195"/>
                <a:gd name="connsiteY998" fmla="*/ 928317 h 943041"/>
                <a:gd name="connsiteX999" fmla="*/ 1155971 w 1737195"/>
                <a:gd name="connsiteY999" fmla="*/ 926924 h 943041"/>
                <a:gd name="connsiteX1000" fmla="*/ 1156768 w 1737195"/>
                <a:gd name="connsiteY1000" fmla="*/ 927720 h 943041"/>
                <a:gd name="connsiteX1001" fmla="*/ 1156768 w 1737195"/>
                <a:gd name="connsiteY1001" fmla="*/ 928317 h 943041"/>
                <a:gd name="connsiteX1002" fmla="*/ 1157665 w 1737195"/>
                <a:gd name="connsiteY1002" fmla="*/ 928914 h 943041"/>
                <a:gd name="connsiteX1003" fmla="*/ 1157665 w 1737195"/>
                <a:gd name="connsiteY1003" fmla="*/ 929810 h 943041"/>
                <a:gd name="connsiteX1004" fmla="*/ 1156968 w 1737195"/>
                <a:gd name="connsiteY1004" fmla="*/ 931799 h 943041"/>
                <a:gd name="connsiteX1005" fmla="*/ 1156968 w 1737195"/>
                <a:gd name="connsiteY1005" fmla="*/ 932695 h 943041"/>
                <a:gd name="connsiteX1006" fmla="*/ 1156968 w 1737195"/>
                <a:gd name="connsiteY1006" fmla="*/ 933491 h 943041"/>
                <a:gd name="connsiteX1007" fmla="*/ 1156968 w 1737195"/>
                <a:gd name="connsiteY1007" fmla="*/ 934187 h 943041"/>
                <a:gd name="connsiteX1008" fmla="*/ 1161850 w 1737195"/>
                <a:gd name="connsiteY1008" fmla="*/ 938167 h 943041"/>
                <a:gd name="connsiteX1009" fmla="*/ 1162647 w 1737195"/>
                <a:gd name="connsiteY1009" fmla="*/ 939659 h 943041"/>
                <a:gd name="connsiteX1010" fmla="*/ 1162647 w 1737195"/>
                <a:gd name="connsiteY1010" fmla="*/ 941748 h 943041"/>
                <a:gd name="connsiteX1011" fmla="*/ 1163843 w 1737195"/>
                <a:gd name="connsiteY1011" fmla="*/ 943041 h 943041"/>
                <a:gd name="connsiteX1012" fmla="*/ 1165039 w 1737195"/>
                <a:gd name="connsiteY1012" fmla="*/ 943041 h 943041"/>
                <a:gd name="connsiteX1013" fmla="*/ 1165637 w 1737195"/>
                <a:gd name="connsiteY1013" fmla="*/ 941549 h 943041"/>
                <a:gd name="connsiteX1014" fmla="*/ 1165637 w 1737195"/>
                <a:gd name="connsiteY1014" fmla="*/ 939360 h 943041"/>
                <a:gd name="connsiteX1015" fmla="*/ 1165637 w 1737195"/>
                <a:gd name="connsiteY1015" fmla="*/ 937768 h 943041"/>
                <a:gd name="connsiteX1016" fmla="*/ 1164342 w 1737195"/>
                <a:gd name="connsiteY1016" fmla="*/ 934585 h 943041"/>
                <a:gd name="connsiteX1017" fmla="*/ 1165836 w 1737195"/>
                <a:gd name="connsiteY1017" fmla="*/ 934585 h 943041"/>
                <a:gd name="connsiteX1018" fmla="*/ 1167131 w 1737195"/>
                <a:gd name="connsiteY1018" fmla="*/ 934585 h 943041"/>
                <a:gd name="connsiteX1019" fmla="*/ 1168028 w 1737195"/>
                <a:gd name="connsiteY1019" fmla="*/ 933391 h 943041"/>
                <a:gd name="connsiteX1020" fmla="*/ 1168626 w 1737195"/>
                <a:gd name="connsiteY1020" fmla="*/ 931799 h 943041"/>
                <a:gd name="connsiteX1021" fmla="*/ 1168028 w 1737195"/>
                <a:gd name="connsiteY1021" fmla="*/ 930108 h 943041"/>
                <a:gd name="connsiteX1022" fmla="*/ 1168726 w 1737195"/>
                <a:gd name="connsiteY1022" fmla="*/ 929312 h 943041"/>
                <a:gd name="connsiteX1023" fmla="*/ 1170021 w 1737195"/>
                <a:gd name="connsiteY1023" fmla="*/ 929909 h 943041"/>
                <a:gd name="connsiteX1024" fmla="*/ 1171416 w 1737195"/>
                <a:gd name="connsiteY1024" fmla="*/ 931799 h 943041"/>
                <a:gd name="connsiteX1025" fmla="*/ 1172213 w 1737195"/>
                <a:gd name="connsiteY1025" fmla="*/ 937172 h 943041"/>
                <a:gd name="connsiteX1026" fmla="*/ 1173010 w 1737195"/>
                <a:gd name="connsiteY1026" fmla="*/ 938863 h 943041"/>
                <a:gd name="connsiteX1027" fmla="*/ 1174804 w 1737195"/>
                <a:gd name="connsiteY1027" fmla="*/ 938266 h 943041"/>
                <a:gd name="connsiteX1028" fmla="*/ 1174007 w 1737195"/>
                <a:gd name="connsiteY1028" fmla="*/ 935978 h 943041"/>
                <a:gd name="connsiteX1029" fmla="*/ 1174007 w 1737195"/>
                <a:gd name="connsiteY1029" fmla="*/ 934286 h 943041"/>
                <a:gd name="connsiteX1030" fmla="*/ 1174007 w 1737195"/>
                <a:gd name="connsiteY1030" fmla="*/ 932794 h 943041"/>
                <a:gd name="connsiteX1031" fmla="*/ 1168427 w 1737195"/>
                <a:gd name="connsiteY1031" fmla="*/ 924139 h 943041"/>
                <a:gd name="connsiteX1032" fmla="*/ 1168427 w 1737195"/>
                <a:gd name="connsiteY1032" fmla="*/ 923243 h 943041"/>
                <a:gd name="connsiteX1033" fmla="*/ 1170320 w 1737195"/>
                <a:gd name="connsiteY1033" fmla="*/ 924238 h 943041"/>
                <a:gd name="connsiteX1034" fmla="*/ 1173708 w 1737195"/>
                <a:gd name="connsiteY1034" fmla="*/ 927621 h 943041"/>
                <a:gd name="connsiteX1035" fmla="*/ 1175402 w 1737195"/>
                <a:gd name="connsiteY1035" fmla="*/ 928616 h 943041"/>
                <a:gd name="connsiteX1036" fmla="*/ 1176697 w 1737195"/>
                <a:gd name="connsiteY1036" fmla="*/ 928616 h 943041"/>
                <a:gd name="connsiteX1037" fmla="*/ 1177993 w 1737195"/>
                <a:gd name="connsiteY1037" fmla="*/ 927024 h 943041"/>
                <a:gd name="connsiteX1038" fmla="*/ 1179288 w 1737195"/>
                <a:gd name="connsiteY1038" fmla="*/ 927024 h 943041"/>
                <a:gd name="connsiteX1039" fmla="*/ 1180384 w 1737195"/>
                <a:gd name="connsiteY1039" fmla="*/ 927621 h 943041"/>
                <a:gd name="connsiteX1040" fmla="*/ 1183174 w 1737195"/>
                <a:gd name="connsiteY1040" fmla="*/ 932396 h 943041"/>
                <a:gd name="connsiteX1041" fmla="*/ 1182477 w 1737195"/>
                <a:gd name="connsiteY1041" fmla="*/ 925731 h 943041"/>
                <a:gd name="connsiteX1042" fmla="*/ 1181879 w 1737195"/>
                <a:gd name="connsiteY1042" fmla="*/ 924736 h 943041"/>
                <a:gd name="connsiteX1043" fmla="*/ 1181181 w 1737195"/>
                <a:gd name="connsiteY1043" fmla="*/ 924238 h 943041"/>
                <a:gd name="connsiteX1044" fmla="*/ 1181181 w 1737195"/>
                <a:gd name="connsiteY1044" fmla="*/ 923144 h 943041"/>
                <a:gd name="connsiteX1045" fmla="*/ 1181181 w 1737195"/>
                <a:gd name="connsiteY1045" fmla="*/ 922049 h 943041"/>
                <a:gd name="connsiteX1046" fmla="*/ 1182576 w 1737195"/>
                <a:gd name="connsiteY1046" fmla="*/ 922049 h 943041"/>
                <a:gd name="connsiteX1047" fmla="*/ 1182576 w 1737195"/>
                <a:gd name="connsiteY1047" fmla="*/ 921453 h 943041"/>
                <a:gd name="connsiteX1048" fmla="*/ 1182576 w 1737195"/>
                <a:gd name="connsiteY1048" fmla="*/ 915284 h 943041"/>
                <a:gd name="connsiteX1049" fmla="*/ 1183373 w 1737195"/>
                <a:gd name="connsiteY1049" fmla="*/ 910708 h 943041"/>
                <a:gd name="connsiteX1050" fmla="*/ 1182477 w 1737195"/>
                <a:gd name="connsiteY1050" fmla="*/ 907027 h 943041"/>
                <a:gd name="connsiteX1051" fmla="*/ 1180782 w 1737195"/>
                <a:gd name="connsiteY1051" fmla="*/ 903545 h 943041"/>
                <a:gd name="connsiteX1052" fmla="*/ 1179188 w 1737195"/>
                <a:gd name="connsiteY1052" fmla="*/ 899167 h 943041"/>
                <a:gd name="connsiteX1053" fmla="*/ 1181181 w 1737195"/>
                <a:gd name="connsiteY1053" fmla="*/ 900162 h 943041"/>
                <a:gd name="connsiteX1054" fmla="*/ 1181879 w 1737195"/>
                <a:gd name="connsiteY1054" fmla="*/ 899466 h 943041"/>
                <a:gd name="connsiteX1055" fmla="*/ 1181879 w 1737195"/>
                <a:gd name="connsiteY1055" fmla="*/ 897973 h 943041"/>
                <a:gd name="connsiteX1056" fmla="*/ 1181879 w 1737195"/>
                <a:gd name="connsiteY1056" fmla="*/ 896879 h 943041"/>
                <a:gd name="connsiteX1057" fmla="*/ 1183075 w 1737195"/>
                <a:gd name="connsiteY1057" fmla="*/ 896083 h 943041"/>
                <a:gd name="connsiteX1058" fmla="*/ 1184071 w 1737195"/>
                <a:gd name="connsiteY1058" fmla="*/ 896083 h 943041"/>
                <a:gd name="connsiteX1059" fmla="*/ 1184868 w 1737195"/>
                <a:gd name="connsiteY1059" fmla="*/ 896879 h 943041"/>
                <a:gd name="connsiteX1060" fmla="*/ 1184868 w 1737195"/>
                <a:gd name="connsiteY1060" fmla="*/ 899565 h 943041"/>
                <a:gd name="connsiteX1061" fmla="*/ 1184868 w 1737195"/>
                <a:gd name="connsiteY1061" fmla="*/ 901257 h 943041"/>
                <a:gd name="connsiteX1062" fmla="*/ 1183373 w 1737195"/>
                <a:gd name="connsiteY1062" fmla="*/ 904938 h 943041"/>
                <a:gd name="connsiteX1063" fmla="*/ 1183373 w 1737195"/>
                <a:gd name="connsiteY1063" fmla="*/ 907027 h 943041"/>
                <a:gd name="connsiteX1064" fmla="*/ 1188156 w 1737195"/>
                <a:gd name="connsiteY1064" fmla="*/ 910409 h 943041"/>
                <a:gd name="connsiteX1065" fmla="*/ 1191444 w 1737195"/>
                <a:gd name="connsiteY1065" fmla="*/ 911106 h 943041"/>
                <a:gd name="connsiteX1066" fmla="*/ 1193138 w 1737195"/>
                <a:gd name="connsiteY1066" fmla="*/ 910608 h 943041"/>
                <a:gd name="connsiteX1067" fmla="*/ 1194434 w 1737195"/>
                <a:gd name="connsiteY1067" fmla="*/ 907226 h 943041"/>
                <a:gd name="connsiteX1068" fmla="*/ 1196427 w 1737195"/>
                <a:gd name="connsiteY1068" fmla="*/ 903445 h 943041"/>
                <a:gd name="connsiteX1069" fmla="*/ 1193238 w 1737195"/>
                <a:gd name="connsiteY1069" fmla="*/ 897775 h 943041"/>
                <a:gd name="connsiteX1070" fmla="*/ 1192540 w 1737195"/>
                <a:gd name="connsiteY1070" fmla="*/ 894492 h 943041"/>
                <a:gd name="connsiteX1071" fmla="*/ 1194733 w 1737195"/>
                <a:gd name="connsiteY1071" fmla="*/ 893099 h 943041"/>
                <a:gd name="connsiteX1072" fmla="*/ 1194135 w 1737195"/>
                <a:gd name="connsiteY1072" fmla="*/ 891805 h 943041"/>
                <a:gd name="connsiteX1073" fmla="*/ 1194135 w 1737195"/>
                <a:gd name="connsiteY1073" fmla="*/ 891805 h 943041"/>
                <a:gd name="connsiteX1074" fmla="*/ 1194135 w 1737195"/>
                <a:gd name="connsiteY1074" fmla="*/ 891308 h 943041"/>
                <a:gd name="connsiteX1075" fmla="*/ 1194135 w 1737195"/>
                <a:gd name="connsiteY1075" fmla="*/ 890114 h 943041"/>
                <a:gd name="connsiteX1076" fmla="*/ 1195729 w 1737195"/>
                <a:gd name="connsiteY1076" fmla="*/ 892303 h 943041"/>
                <a:gd name="connsiteX1077" fmla="*/ 1197423 w 1737195"/>
                <a:gd name="connsiteY1077" fmla="*/ 895387 h 943041"/>
                <a:gd name="connsiteX1078" fmla="*/ 1198818 w 1737195"/>
                <a:gd name="connsiteY1078" fmla="*/ 898769 h 943041"/>
                <a:gd name="connsiteX1079" fmla="*/ 1199715 w 1737195"/>
                <a:gd name="connsiteY1079" fmla="*/ 902948 h 943041"/>
                <a:gd name="connsiteX1080" fmla="*/ 1200512 w 1737195"/>
                <a:gd name="connsiteY1080" fmla="*/ 904341 h 943041"/>
                <a:gd name="connsiteX1081" fmla="*/ 1201608 w 1737195"/>
                <a:gd name="connsiteY1081" fmla="*/ 905236 h 943041"/>
                <a:gd name="connsiteX1082" fmla="*/ 1202804 w 1737195"/>
                <a:gd name="connsiteY1082" fmla="*/ 905236 h 943041"/>
                <a:gd name="connsiteX1083" fmla="*/ 1203800 w 1737195"/>
                <a:gd name="connsiteY1083" fmla="*/ 904241 h 943041"/>
                <a:gd name="connsiteX1084" fmla="*/ 1206291 w 1737195"/>
                <a:gd name="connsiteY1084" fmla="*/ 898670 h 943041"/>
                <a:gd name="connsiteX1085" fmla="*/ 1206989 w 1737195"/>
                <a:gd name="connsiteY1085" fmla="*/ 902451 h 943041"/>
                <a:gd name="connsiteX1086" fmla="*/ 1205693 w 1737195"/>
                <a:gd name="connsiteY1086" fmla="*/ 905734 h 943041"/>
                <a:gd name="connsiteX1087" fmla="*/ 1205096 w 1737195"/>
                <a:gd name="connsiteY1087" fmla="*/ 908420 h 943041"/>
                <a:gd name="connsiteX1088" fmla="*/ 1207986 w 1737195"/>
                <a:gd name="connsiteY1088" fmla="*/ 910708 h 943041"/>
                <a:gd name="connsiteX1089" fmla="*/ 1208683 w 1737195"/>
                <a:gd name="connsiteY1089" fmla="*/ 907226 h 943041"/>
                <a:gd name="connsiteX1090" fmla="*/ 1212071 w 1737195"/>
                <a:gd name="connsiteY1090" fmla="*/ 900958 h 943041"/>
                <a:gd name="connsiteX1091" fmla="*/ 1213266 w 1737195"/>
                <a:gd name="connsiteY1091" fmla="*/ 897576 h 943041"/>
                <a:gd name="connsiteX1092" fmla="*/ 1214960 w 1737195"/>
                <a:gd name="connsiteY1092" fmla="*/ 899565 h 943041"/>
                <a:gd name="connsiteX1093" fmla="*/ 1214960 w 1737195"/>
                <a:gd name="connsiteY1093" fmla="*/ 905037 h 943041"/>
                <a:gd name="connsiteX1094" fmla="*/ 1217252 w 1737195"/>
                <a:gd name="connsiteY1094" fmla="*/ 906231 h 943041"/>
                <a:gd name="connsiteX1095" fmla="*/ 1217252 w 1737195"/>
                <a:gd name="connsiteY1095" fmla="*/ 906231 h 943041"/>
                <a:gd name="connsiteX1096" fmla="*/ 1217252 w 1737195"/>
                <a:gd name="connsiteY1096" fmla="*/ 905137 h 943041"/>
                <a:gd name="connsiteX1097" fmla="*/ 1217950 w 1737195"/>
                <a:gd name="connsiteY1097" fmla="*/ 903943 h 943041"/>
                <a:gd name="connsiteX1098" fmla="*/ 1219245 w 1737195"/>
                <a:gd name="connsiteY1098" fmla="*/ 903943 h 943041"/>
                <a:gd name="connsiteX1099" fmla="*/ 1219843 w 1737195"/>
                <a:gd name="connsiteY1099" fmla="*/ 903943 h 943041"/>
                <a:gd name="connsiteX1100" fmla="*/ 1219843 w 1737195"/>
                <a:gd name="connsiteY1100" fmla="*/ 904838 h 943041"/>
                <a:gd name="connsiteX1101" fmla="*/ 1219843 w 1737195"/>
                <a:gd name="connsiteY1101" fmla="*/ 904838 h 943041"/>
                <a:gd name="connsiteX1102" fmla="*/ 1221138 w 1737195"/>
                <a:gd name="connsiteY1102" fmla="*/ 904241 h 943041"/>
                <a:gd name="connsiteX1103" fmla="*/ 1222135 w 1737195"/>
                <a:gd name="connsiteY1103" fmla="*/ 902550 h 943041"/>
                <a:gd name="connsiteX1104" fmla="*/ 1222135 w 1737195"/>
                <a:gd name="connsiteY1104" fmla="*/ 900063 h 943041"/>
                <a:gd name="connsiteX1105" fmla="*/ 1222135 w 1737195"/>
                <a:gd name="connsiteY1105" fmla="*/ 897576 h 943041"/>
                <a:gd name="connsiteX1106" fmla="*/ 1222135 w 1737195"/>
                <a:gd name="connsiteY1106" fmla="*/ 895586 h 943041"/>
                <a:gd name="connsiteX1107" fmla="*/ 1219744 w 1737195"/>
                <a:gd name="connsiteY1107" fmla="*/ 888423 h 943041"/>
                <a:gd name="connsiteX1108" fmla="*/ 1219744 w 1737195"/>
                <a:gd name="connsiteY1108" fmla="*/ 885438 h 943041"/>
                <a:gd name="connsiteX1109" fmla="*/ 1222035 w 1737195"/>
                <a:gd name="connsiteY1109" fmla="*/ 887925 h 943041"/>
                <a:gd name="connsiteX1110" fmla="*/ 1225024 w 1737195"/>
                <a:gd name="connsiteY1110" fmla="*/ 895387 h 943041"/>
                <a:gd name="connsiteX1111" fmla="*/ 1226719 w 1737195"/>
                <a:gd name="connsiteY1111" fmla="*/ 897277 h 943041"/>
                <a:gd name="connsiteX1112" fmla="*/ 1228413 w 1737195"/>
                <a:gd name="connsiteY1112" fmla="*/ 897277 h 943041"/>
                <a:gd name="connsiteX1113" fmla="*/ 1229907 w 1737195"/>
                <a:gd name="connsiteY1113" fmla="*/ 896183 h 943041"/>
                <a:gd name="connsiteX1114" fmla="*/ 1231103 w 1737195"/>
                <a:gd name="connsiteY1114" fmla="*/ 894690 h 943041"/>
                <a:gd name="connsiteX1115" fmla="*/ 1232897 w 1737195"/>
                <a:gd name="connsiteY1115" fmla="*/ 890910 h 943041"/>
                <a:gd name="connsiteX1116" fmla="*/ 1232897 w 1737195"/>
                <a:gd name="connsiteY1116" fmla="*/ 889816 h 943041"/>
                <a:gd name="connsiteX1117" fmla="*/ 1232897 w 1737195"/>
                <a:gd name="connsiteY1117" fmla="*/ 888821 h 943041"/>
                <a:gd name="connsiteX1118" fmla="*/ 1229210 w 1737195"/>
                <a:gd name="connsiteY1118" fmla="*/ 881260 h 943041"/>
                <a:gd name="connsiteX1119" fmla="*/ 1229210 w 1737195"/>
                <a:gd name="connsiteY1119" fmla="*/ 879170 h 943041"/>
                <a:gd name="connsiteX1120" fmla="*/ 1231402 w 1737195"/>
                <a:gd name="connsiteY1120" fmla="*/ 880165 h 943041"/>
                <a:gd name="connsiteX1121" fmla="*/ 1232996 w 1737195"/>
                <a:gd name="connsiteY1121" fmla="*/ 883050 h 943041"/>
                <a:gd name="connsiteX1122" fmla="*/ 1234690 w 1737195"/>
                <a:gd name="connsiteY1122" fmla="*/ 887229 h 943041"/>
                <a:gd name="connsiteX1123" fmla="*/ 1236882 w 1737195"/>
                <a:gd name="connsiteY1123" fmla="*/ 890015 h 943041"/>
                <a:gd name="connsiteX1124" fmla="*/ 1240071 w 1737195"/>
                <a:gd name="connsiteY1124" fmla="*/ 888920 h 943041"/>
                <a:gd name="connsiteX1125" fmla="*/ 1240071 w 1737195"/>
                <a:gd name="connsiteY1125" fmla="*/ 887328 h 943041"/>
                <a:gd name="connsiteX1126" fmla="*/ 1240071 w 1737195"/>
                <a:gd name="connsiteY1126" fmla="*/ 884642 h 943041"/>
                <a:gd name="connsiteX1127" fmla="*/ 1240071 w 1737195"/>
                <a:gd name="connsiteY1127" fmla="*/ 883448 h 943041"/>
                <a:gd name="connsiteX1128" fmla="*/ 1239273 w 1737195"/>
                <a:gd name="connsiteY1128" fmla="*/ 882056 h 943041"/>
                <a:gd name="connsiteX1129" fmla="*/ 1237380 w 1737195"/>
                <a:gd name="connsiteY1129" fmla="*/ 879568 h 943041"/>
                <a:gd name="connsiteX1130" fmla="*/ 1236683 w 1737195"/>
                <a:gd name="connsiteY1130" fmla="*/ 877977 h 943041"/>
                <a:gd name="connsiteX1131" fmla="*/ 1238178 w 1737195"/>
                <a:gd name="connsiteY1131" fmla="*/ 877977 h 943041"/>
                <a:gd name="connsiteX1132" fmla="*/ 1239473 w 1737195"/>
                <a:gd name="connsiteY1132" fmla="*/ 877977 h 943041"/>
                <a:gd name="connsiteX1133" fmla="*/ 1240768 w 1737195"/>
                <a:gd name="connsiteY1133" fmla="*/ 878573 h 943041"/>
                <a:gd name="connsiteX1134" fmla="*/ 1241964 w 1737195"/>
                <a:gd name="connsiteY1134" fmla="*/ 879469 h 943041"/>
                <a:gd name="connsiteX1135" fmla="*/ 1242662 w 1737195"/>
                <a:gd name="connsiteY1135" fmla="*/ 880464 h 943041"/>
                <a:gd name="connsiteX1136" fmla="*/ 1243758 w 1737195"/>
                <a:gd name="connsiteY1136" fmla="*/ 882852 h 943041"/>
                <a:gd name="connsiteX1137" fmla="*/ 1244455 w 1737195"/>
                <a:gd name="connsiteY1137" fmla="*/ 883846 h 943041"/>
                <a:gd name="connsiteX1138" fmla="*/ 1246348 w 1737195"/>
                <a:gd name="connsiteY1138" fmla="*/ 885438 h 943041"/>
                <a:gd name="connsiteX1139" fmla="*/ 1246946 w 1737195"/>
                <a:gd name="connsiteY1139" fmla="*/ 884642 h 943041"/>
                <a:gd name="connsiteX1140" fmla="*/ 1247544 w 1737195"/>
                <a:gd name="connsiteY1140" fmla="*/ 882951 h 943041"/>
                <a:gd name="connsiteX1141" fmla="*/ 1249737 w 1737195"/>
                <a:gd name="connsiteY1141" fmla="*/ 881757 h 943041"/>
                <a:gd name="connsiteX1142" fmla="*/ 1248939 w 1737195"/>
                <a:gd name="connsiteY1142" fmla="*/ 879568 h 943041"/>
                <a:gd name="connsiteX1143" fmla="*/ 1249537 w 1737195"/>
                <a:gd name="connsiteY1143" fmla="*/ 878374 h 943041"/>
                <a:gd name="connsiteX1144" fmla="*/ 1251031 w 1737195"/>
                <a:gd name="connsiteY1144" fmla="*/ 878374 h 943041"/>
                <a:gd name="connsiteX1145" fmla="*/ 1253124 w 1737195"/>
                <a:gd name="connsiteY1145" fmla="*/ 878374 h 943041"/>
                <a:gd name="connsiteX1146" fmla="*/ 1251630 w 1737195"/>
                <a:gd name="connsiteY1146" fmla="*/ 875191 h 943041"/>
                <a:gd name="connsiteX1147" fmla="*/ 1247046 w 1737195"/>
                <a:gd name="connsiteY1147" fmla="*/ 872206 h 943041"/>
                <a:gd name="connsiteX1148" fmla="*/ 1245252 w 1737195"/>
                <a:gd name="connsiteY1148" fmla="*/ 869719 h 943041"/>
                <a:gd name="connsiteX1149" fmla="*/ 1246548 w 1737195"/>
                <a:gd name="connsiteY1149" fmla="*/ 869719 h 943041"/>
                <a:gd name="connsiteX1150" fmla="*/ 1247744 w 1737195"/>
                <a:gd name="connsiteY1150" fmla="*/ 869719 h 943041"/>
                <a:gd name="connsiteX1151" fmla="*/ 1248540 w 1737195"/>
                <a:gd name="connsiteY1151" fmla="*/ 868724 h 943041"/>
                <a:gd name="connsiteX1152" fmla="*/ 1248540 w 1737195"/>
                <a:gd name="connsiteY1152" fmla="*/ 867331 h 943041"/>
                <a:gd name="connsiteX1153" fmla="*/ 1248540 w 1737195"/>
                <a:gd name="connsiteY1153" fmla="*/ 866038 h 943041"/>
                <a:gd name="connsiteX1154" fmla="*/ 1249637 w 1737195"/>
                <a:gd name="connsiteY1154" fmla="*/ 865541 h 943041"/>
                <a:gd name="connsiteX1155" fmla="*/ 1257508 w 1737195"/>
                <a:gd name="connsiteY1155" fmla="*/ 865541 h 943041"/>
                <a:gd name="connsiteX1156" fmla="*/ 1259202 w 1737195"/>
                <a:gd name="connsiteY1156" fmla="*/ 864645 h 943041"/>
                <a:gd name="connsiteX1157" fmla="*/ 1261494 w 1737195"/>
                <a:gd name="connsiteY1157" fmla="*/ 861959 h 943041"/>
                <a:gd name="connsiteX1158" fmla="*/ 1263587 w 1737195"/>
                <a:gd name="connsiteY1158" fmla="*/ 860367 h 943041"/>
                <a:gd name="connsiteX1159" fmla="*/ 1265679 w 1737195"/>
                <a:gd name="connsiteY1159" fmla="*/ 860367 h 943041"/>
                <a:gd name="connsiteX1160" fmla="*/ 1267373 w 1737195"/>
                <a:gd name="connsiteY1160" fmla="*/ 859571 h 943041"/>
                <a:gd name="connsiteX1161" fmla="*/ 1267971 w 1737195"/>
                <a:gd name="connsiteY1161" fmla="*/ 856985 h 943041"/>
                <a:gd name="connsiteX1162" fmla="*/ 1267075 w 1737195"/>
                <a:gd name="connsiteY1162" fmla="*/ 853602 h 943041"/>
                <a:gd name="connsiteX1163" fmla="*/ 1264882 w 1737195"/>
                <a:gd name="connsiteY1163" fmla="*/ 852607 h 943041"/>
                <a:gd name="connsiteX1164" fmla="*/ 1262491 w 1737195"/>
                <a:gd name="connsiteY1164" fmla="*/ 852010 h 943041"/>
                <a:gd name="connsiteX1165" fmla="*/ 1260996 w 1737195"/>
                <a:gd name="connsiteY1165" fmla="*/ 849921 h 943041"/>
                <a:gd name="connsiteX1166" fmla="*/ 1269566 w 1737195"/>
                <a:gd name="connsiteY1166" fmla="*/ 849921 h 943041"/>
                <a:gd name="connsiteX1167" fmla="*/ 1273153 w 1737195"/>
                <a:gd name="connsiteY1167" fmla="*/ 848926 h 943041"/>
                <a:gd name="connsiteX1168" fmla="*/ 1276640 w 1737195"/>
                <a:gd name="connsiteY1168" fmla="*/ 846638 h 943041"/>
                <a:gd name="connsiteX1169" fmla="*/ 1278832 w 1737195"/>
                <a:gd name="connsiteY1169" fmla="*/ 848230 h 943041"/>
                <a:gd name="connsiteX1170" fmla="*/ 1280825 w 1737195"/>
                <a:gd name="connsiteY1170" fmla="*/ 846539 h 943041"/>
                <a:gd name="connsiteX1171" fmla="*/ 1282220 w 1737195"/>
                <a:gd name="connsiteY1171" fmla="*/ 843454 h 943041"/>
                <a:gd name="connsiteX1172" fmla="*/ 1282719 w 1737195"/>
                <a:gd name="connsiteY1172" fmla="*/ 840669 h 943041"/>
                <a:gd name="connsiteX1173" fmla="*/ 1281622 w 1737195"/>
                <a:gd name="connsiteY1173" fmla="*/ 838579 h 943041"/>
                <a:gd name="connsiteX1174" fmla="*/ 1279032 w 1737195"/>
                <a:gd name="connsiteY1174" fmla="*/ 837983 h 943041"/>
                <a:gd name="connsiteX1175" fmla="*/ 1275942 w 1737195"/>
                <a:gd name="connsiteY1175" fmla="*/ 837983 h 943041"/>
                <a:gd name="connsiteX1176" fmla="*/ 1273252 w 1737195"/>
                <a:gd name="connsiteY1176" fmla="*/ 837087 h 943041"/>
                <a:gd name="connsiteX1177" fmla="*/ 1274149 w 1737195"/>
                <a:gd name="connsiteY1177" fmla="*/ 837087 h 943041"/>
                <a:gd name="connsiteX1178" fmla="*/ 1274149 w 1737195"/>
                <a:gd name="connsiteY1178" fmla="*/ 837087 h 943041"/>
                <a:gd name="connsiteX1179" fmla="*/ 1274648 w 1737195"/>
                <a:gd name="connsiteY1179" fmla="*/ 837087 h 943041"/>
                <a:gd name="connsiteX1180" fmla="*/ 1275345 w 1737195"/>
                <a:gd name="connsiteY1180" fmla="*/ 836590 h 943041"/>
                <a:gd name="connsiteX1181" fmla="*/ 1274548 w 1737195"/>
                <a:gd name="connsiteY1181" fmla="*/ 834998 h 943041"/>
                <a:gd name="connsiteX1182" fmla="*/ 1276042 w 1737195"/>
                <a:gd name="connsiteY1182" fmla="*/ 834998 h 943041"/>
                <a:gd name="connsiteX1183" fmla="*/ 1280526 w 1737195"/>
                <a:gd name="connsiteY1183" fmla="*/ 836490 h 943041"/>
                <a:gd name="connsiteX1184" fmla="*/ 1281024 w 1737195"/>
                <a:gd name="connsiteY1184" fmla="*/ 836490 h 943041"/>
                <a:gd name="connsiteX1185" fmla="*/ 1281024 w 1737195"/>
                <a:gd name="connsiteY1185" fmla="*/ 834998 h 943041"/>
                <a:gd name="connsiteX1186" fmla="*/ 1281024 w 1737195"/>
                <a:gd name="connsiteY1186" fmla="*/ 834998 h 943041"/>
                <a:gd name="connsiteX1187" fmla="*/ 1281722 w 1737195"/>
                <a:gd name="connsiteY1187" fmla="*/ 834998 h 943041"/>
                <a:gd name="connsiteX1188" fmla="*/ 1282719 w 1737195"/>
                <a:gd name="connsiteY1188" fmla="*/ 835794 h 943041"/>
                <a:gd name="connsiteX1189" fmla="*/ 1282719 w 1737195"/>
                <a:gd name="connsiteY1189" fmla="*/ 835794 h 943041"/>
                <a:gd name="connsiteX1190" fmla="*/ 1283815 w 1737195"/>
                <a:gd name="connsiteY1190" fmla="*/ 835794 h 943041"/>
                <a:gd name="connsiteX1191" fmla="*/ 1285010 w 1737195"/>
                <a:gd name="connsiteY1191" fmla="*/ 836291 h 943041"/>
                <a:gd name="connsiteX1192" fmla="*/ 1287003 w 1737195"/>
                <a:gd name="connsiteY1192" fmla="*/ 837684 h 943041"/>
                <a:gd name="connsiteX1193" fmla="*/ 1288897 w 1737195"/>
                <a:gd name="connsiteY1193" fmla="*/ 832411 h 943041"/>
                <a:gd name="connsiteX1194" fmla="*/ 1289594 w 1737195"/>
                <a:gd name="connsiteY1194" fmla="*/ 831118 h 943041"/>
                <a:gd name="connsiteX1195" fmla="*/ 1290590 w 1737195"/>
                <a:gd name="connsiteY1195" fmla="*/ 830322 h 943041"/>
                <a:gd name="connsiteX1196" fmla="*/ 1293181 w 1737195"/>
                <a:gd name="connsiteY1196" fmla="*/ 829327 h 943041"/>
                <a:gd name="connsiteX1197" fmla="*/ 1294377 w 1737195"/>
                <a:gd name="connsiteY1197" fmla="*/ 828432 h 943041"/>
                <a:gd name="connsiteX1198" fmla="*/ 1295074 w 1737195"/>
                <a:gd name="connsiteY1198" fmla="*/ 827039 h 943041"/>
                <a:gd name="connsiteX1199" fmla="*/ 1295074 w 1737195"/>
                <a:gd name="connsiteY1199" fmla="*/ 824253 h 943041"/>
                <a:gd name="connsiteX1200" fmla="*/ 1295772 w 1737195"/>
                <a:gd name="connsiteY1200" fmla="*/ 822960 h 943041"/>
                <a:gd name="connsiteX1201" fmla="*/ 1303146 w 1737195"/>
                <a:gd name="connsiteY1201" fmla="*/ 818085 h 943041"/>
                <a:gd name="connsiteX1202" fmla="*/ 1304042 w 1737195"/>
                <a:gd name="connsiteY1202" fmla="*/ 816891 h 943041"/>
                <a:gd name="connsiteX1203" fmla="*/ 1304042 w 1737195"/>
                <a:gd name="connsiteY1203" fmla="*/ 815797 h 943041"/>
                <a:gd name="connsiteX1204" fmla="*/ 1304042 w 1737195"/>
                <a:gd name="connsiteY1204" fmla="*/ 814404 h 943041"/>
                <a:gd name="connsiteX1205" fmla="*/ 1304042 w 1737195"/>
                <a:gd name="connsiteY1205" fmla="*/ 813111 h 943041"/>
                <a:gd name="connsiteX1206" fmla="*/ 1303444 w 1737195"/>
                <a:gd name="connsiteY1206" fmla="*/ 812514 h 943041"/>
                <a:gd name="connsiteX1207" fmla="*/ 1301053 w 1737195"/>
                <a:gd name="connsiteY1207" fmla="*/ 811917 h 943041"/>
                <a:gd name="connsiteX1208" fmla="*/ 1298562 w 1737195"/>
                <a:gd name="connsiteY1208" fmla="*/ 810325 h 943041"/>
                <a:gd name="connsiteX1209" fmla="*/ 1296470 w 1737195"/>
                <a:gd name="connsiteY1209" fmla="*/ 808236 h 943041"/>
                <a:gd name="connsiteX1210" fmla="*/ 1295174 w 1737195"/>
                <a:gd name="connsiteY1210" fmla="*/ 806047 h 943041"/>
                <a:gd name="connsiteX1211" fmla="*/ 1297665 w 1737195"/>
                <a:gd name="connsiteY1211" fmla="*/ 807838 h 943041"/>
                <a:gd name="connsiteX1212" fmla="*/ 1307630 w 1737195"/>
                <a:gd name="connsiteY1212" fmla="*/ 812514 h 943041"/>
                <a:gd name="connsiteX1213" fmla="*/ 1307630 w 1737195"/>
                <a:gd name="connsiteY1213" fmla="*/ 812514 h 943041"/>
                <a:gd name="connsiteX1214" fmla="*/ 1306434 w 1737195"/>
                <a:gd name="connsiteY1214" fmla="*/ 813409 h 943041"/>
                <a:gd name="connsiteX1215" fmla="*/ 1307430 w 1737195"/>
                <a:gd name="connsiteY1215" fmla="*/ 814802 h 943041"/>
                <a:gd name="connsiteX1216" fmla="*/ 1308526 w 1737195"/>
                <a:gd name="connsiteY1216" fmla="*/ 815996 h 943041"/>
                <a:gd name="connsiteX1217" fmla="*/ 1310818 w 1737195"/>
                <a:gd name="connsiteY1217" fmla="*/ 817886 h 943041"/>
                <a:gd name="connsiteX1218" fmla="*/ 1311715 w 1737195"/>
                <a:gd name="connsiteY1218" fmla="*/ 816692 h 943041"/>
                <a:gd name="connsiteX1219" fmla="*/ 1314106 w 1737195"/>
                <a:gd name="connsiteY1219" fmla="*/ 818782 h 943041"/>
                <a:gd name="connsiteX1220" fmla="*/ 1316299 w 1737195"/>
                <a:gd name="connsiteY1220" fmla="*/ 817389 h 943041"/>
                <a:gd name="connsiteX1221" fmla="*/ 1320284 w 1737195"/>
                <a:gd name="connsiteY1221" fmla="*/ 812315 h 943041"/>
                <a:gd name="connsiteX1222" fmla="*/ 1313808 w 1737195"/>
                <a:gd name="connsiteY1222" fmla="*/ 812315 h 943041"/>
                <a:gd name="connsiteX1223" fmla="*/ 1313808 w 1737195"/>
                <a:gd name="connsiteY1223" fmla="*/ 811618 h 943041"/>
                <a:gd name="connsiteX1224" fmla="*/ 1316996 w 1737195"/>
                <a:gd name="connsiteY1224" fmla="*/ 807042 h 943041"/>
                <a:gd name="connsiteX1225" fmla="*/ 1313608 w 1737195"/>
                <a:gd name="connsiteY1225" fmla="*/ 805649 h 943041"/>
                <a:gd name="connsiteX1226" fmla="*/ 1312313 w 1737195"/>
                <a:gd name="connsiteY1226" fmla="*/ 805649 h 943041"/>
                <a:gd name="connsiteX1227" fmla="*/ 1310918 w 1737195"/>
                <a:gd name="connsiteY1227" fmla="*/ 806147 h 943041"/>
                <a:gd name="connsiteX1228" fmla="*/ 1311515 w 1737195"/>
                <a:gd name="connsiteY1228" fmla="*/ 806147 h 943041"/>
                <a:gd name="connsiteX1229" fmla="*/ 1312811 w 1737195"/>
                <a:gd name="connsiteY1229" fmla="*/ 807440 h 943041"/>
                <a:gd name="connsiteX1230" fmla="*/ 1313409 w 1737195"/>
                <a:gd name="connsiteY1230" fmla="*/ 807937 h 943041"/>
                <a:gd name="connsiteX1231" fmla="*/ 1311815 w 1737195"/>
                <a:gd name="connsiteY1231" fmla="*/ 808833 h 943041"/>
                <a:gd name="connsiteX1232" fmla="*/ 1310619 w 1737195"/>
                <a:gd name="connsiteY1232" fmla="*/ 808236 h 943041"/>
                <a:gd name="connsiteX1233" fmla="*/ 1309224 w 1737195"/>
                <a:gd name="connsiteY1233" fmla="*/ 807340 h 943041"/>
                <a:gd name="connsiteX1234" fmla="*/ 1307430 w 1737195"/>
                <a:gd name="connsiteY1234" fmla="*/ 807340 h 943041"/>
                <a:gd name="connsiteX1235" fmla="*/ 1307430 w 1737195"/>
                <a:gd name="connsiteY1235" fmla="*/ 805848 h 943041"/>
                <a:gd name="connsiteX1236" fmla="*/ 1307430 w 1737195"/>
                <a:gd name="connsiteY1236" fmla="*/ 804555 h 943041"/>
                <a:gd name="connsiteX1237" fmla="*/ 1307430 w 1737195"/>
                <a:gd name="connsiteY1237" fmla="*/ 803560 h 943041"/>
                <a:gd name="connsiteX1238" fmla="*/ 1306533 w 1737195"/>
                <a:gd name="connsiteY1238" fmla="*/ 802864 h 943041"/>
                <a:gd name="connsiteX1239" fmla="*/ 1306533 w 1737195"/>
                <a:gd name="connsiteY1239" fmla="*/ 801769 h 943041"/>
                <a:gd name="connsiteX1240" fmla="*/ 1314804 w 1737195"/>
                <a:gd name="connsiteY1240" fmla="*/ 801769 h 943041"/>
                <a:gd name="connsiteX1241" fmla="*/ 1319288 w 1737195"/>
                <a:gd name="connsiteY1241" fmla="*/ 802764 h 943041"/>
                <a:gd name="connsiteX1242" fmla="*/ 1321580 w 1737195"/>
                <a:gd name="connsiteY1242" fmla="*/ 802764 h 943041"/>
                <a:gd name="connsiteX1243" fmla="*/ 1323772 w 1737195"/>
                <a:gd name="connsiteY1243" fmla="*/ 801670 h 943041"/>
                <a:gd name="connsiteX1244" fmla="*/ 1320683 w 1737195"/>
                <a:gd name="connsiteY1244" fmla="*/ 800177 h 943041"/>
                <a:gd name="connsiteX1245" fmla="*/ 1317494 w 1737195"/>
                <a:gd name="connsiteY1245" fmla="*/ 799680 h 943041"/>
                <a:gd name="connsiteX1246" fmla="*/ 1310918 w 1737195"/>
                <a:gd name="connsiteY1246" fmla="*/ 799680 h 943041"/>
                <a:gd name="connsiteX1247" fmla="*/ 1310918 w 1737195"/>
                <a:gd name="connsiteY1247" fmla="*/ 798685 h 943041"/>
                <a:gd name="connsiteX1248" fmla="*/ 1312512 w 1737195"/>
                <a:gd name="connsiteY1248" fmla="*/ 797790 h 943041"/>
                <a:gd name="connsiteX1249" fmla="*/ 1314007 w 1737195"/>
                <a:gd name="connsiteY1249" fmla="*/ 796496 h 943041"/>
                <a:gd name="connsiteX1250" fmla="*/ 1315601 w 1737195"/>
                <a:gd name="connsiteY1250" fmla="*/ 795601 h 943041"/>
                <a:gd name="connsiteX1251" fmla="*/ 1317793 w 1737195"/>
                <a:gd name="connsiteY1251" fmla="*/ 795601 h 943041"/>
                <a:gd name="connsiteX1252" fmla="*/ 1315601 w 1737195"/>
                <a:gd name="connsiteY1252" fmla="*/ 794507 h 943041"/>
                <a:gd name="connsiteX1253" fmla="*/ 1312911 w 1737195"/>
                <a:gd name="connsiteY1253" fmla="*/ 794507 h 943041"/>
                <a:gd name="connsiteX1254" fmla="*/ 1307430 w 1737195"/>
                <a:gd name="connsiteY1254" fmla="*/ 794507 h 943041"/>
                <a:gd name="connsiteX1255" fmla="*/ 1307430 w 1737195"/>
                <a:gd name="connsiteY1255" fmla="*/ 792318 h 943041"/>
                <a:gd name="connsiteX1256" fmla="*/ 1306434 w 1737195"/>
                <a:gd name="connsiteY1256" fmla="*/ 790925 h 943041"/>
                <a:gd name="connsiteX1257" fmla="*/ 1305139 w 1737195"/>
                <a:gd name="connsiteY1257" fmla="*/ 789731 h 943041"/>
                <a:gd name="connsiteX1258" fmla="*/ 1305139 w 1737195"/>
                <a:gd name="connsiteY1258" fmla="*/ 785951 h 943041"/>
                <a:gd name="connsiteX1259" fmla="*/ 1310619 w 1737195"/>
                <a:gd name="connsiteY1259" fmla="*/ 784558 h 943041"/>
                <a:gd name="connsiteX1260" fmla="*/ 1312113 w 1737195"/>
                <a:gd name="connsiteY1260" fmla="*/ 783762 h 943041"/>
                <a:gd name="connsiteX1261" fmla="*/ 1309722 w 1737195"/>
                <a:gd name="connsiteY1261" fmla="*/ 782767 h 943041"/>
                <a:gd name="connsiteX1262" fmla="*/ 1308726 w 1737195"/>
                <a:gd name="connsiteY1262" fmla="*/ 782767 h 943041"/>
                <a:gd name="connsiteX1263" fmla="*/ 1309822 w 1737195"/>
                <a:gd name="connsiteY1263" fmla="*/ 781673 h 943041"/>
                <a:gd name="connsiteX1264" fmla="*/ 1311017 w 1737195"/>
                <a:gd name="connsiteY1264" fmla="*/ 780280 h 943041"/>
                <a:gd name="connsiteX1265" fmla="*/ 1311815 w 1737195"/>
                <a:gd name="connsiteY1265" fmla="*/ 778688 h 943041"/>
                <a:gd name="connsiteX1266" fmla="*/ 1311815 w 1737195"/>
                <a:gd name="connsiteY1266" fmla="*/ 776698 h 943041"/>
                <a:gd name="connsiteX1267" fmla="*/ 1311815 w 1737195"/>
                <a:gd name="connsiteY1267" fmla="*/ 774808 h 943041"/>
                <a:gd name="connsiteX1268" fmla="*/ 1311317 w 1737195"/>
                <a:gd name="connsiteY1268" fmla="*/ 773316 h 943041"/>
                <a:gd name="connsiteX1269" fmla="*/ 1311317 w 1737195"/>
                <a:gd name="connsiteY1269" fmla="*/ 772321 h 943041"/>
                <a:gd name="connsiteX1270" fmla="*/ 1312711 w 1737195"/>
                <a:gd name="connsiteY1270" fmla="*/ 771824 h 943041"/>
                <a:gd name="connsiteX1271" fmla="*/ 1311715 w 1737195"/>
                <a:gd name="connsiteY1271" fmla="*/ 769336 h 943041"/>
                <a:gd name="connsiteX1272" fmla="*/ 1311117 w 1737195"/>
                <a:gd name="connsiteY1272" fmla="*/ 768540 h 943041"/>
                <a:gd name="connsiteX1273" fmla="*/ 1314206 w 1737195"/>
                <a:gd name="connsiteY1273" fmla="*/ 769834 h 943041"/>
                <a:gd name="connsiteX1274" fmla="*/ 1317793 w 1737195"/>
                <a:gd name="connsiteY1274" fmla="*/ 772023 h 943041"/>
                <a:gd name="connsiteX1275" fmla="*/ 1320982 w 1737195"/>
                <a:gd name="connsiteY1275" fmla="*/ 773216 h 943041"/>
                <a:gd name="connsiteX1276" fmla="*/ 1323074 w 1737195"/>
                <a:gd name="connsiteY1276" fmla="*/ 770729 h 943041"/>
                <a:gd name="connsiteX1277" fmla="*/ 1323074 w 1737195"/>
                <a:gd name="connsiteY1277" fmla="*/ 767645 h 943041"/>
                <a:gd name="connsiteX1278" fmla="*/ 1324868 w 1737195"/>
                <a:gd name="connsiteY1278" fmla="*/ 766252 h 943041"/>
                <a:gd name="connsiteX1279" fmla="*/ 1327359 w 1737195"/>
                <a:gd name="connsiteY1279" fmla="*/ 766252 h 943041"/>
                <a:gd name="connsiteX1280" fmla="*/ 1329352 w 1737195"/>
                <a:gd name="connsiteY1280" fmla="*/ 766252 h 943041"/>
                <a:gd name="connsiteX1281" fmla="*/ 1331544 w 1737195"/>
                <a:gd name="connsiteY1281" fmla="*/ 767744 h 943041"/>
                <a:gd name="connsiteX1282" fmla="*/ 1333637 w 1737195"/>
                <a:gd name="connsiteY1282" fmla="*/ 770232 h 943041"/>
                <a:gd name="connsiteX1283" fmla="*/ 1334832 w 1737195"/>
                <a:gd name="connsiteY1283" fmla="*/ 773017 h 943041"/>
                <a:gd name="connsiteX1284" fmla="*/ 1334235 w 1737195"/>
                <a:gd name="connsiteY1284" fmla="*/ 775504 h 943041"/>
                <a:gd name="connsiteX1285" fmla="*/ 1334235 w 1737195"/>
                <a:gd name="connsiteY1285" fmla="*/ 776499 h 943041"/>
                <a:gd name="connsiteX1286" fmla="*/ 1335032 w 1737195"/>
                <a:gd name="connsiteY1286" fmla="*/ 780976 h 943041"/>
                <a:gd name="connsiteX1287" fmla="*/ 1336426 w 1737195"/>
                <a:gd name="connsiteY1287" fmla="*/ 782568 h 943041"/>
                <a:gd name="connsiteX1288" fmla="*/ 1337622 w 1737195"/>
                <a:gd name="connsiteY1288" fmla="*/ 782568 h 943041"/>
                <a:gd name="connsiteX1289" fmla="*/ 1340313 w 1737195"/>
                <a:gd name="connsiteY1289" fmla="*/ 782568 h 943041"/>
                <a:gd name="connsiteX1290" fmla="*/ 1341808 w 1737195"/>
                <a:gd name="connsiteY1290" fmla="*/ 780877 h 943041"/>
                <a:gd name="connsiteX1291" fmla="*/ 1342904 w 1737195"/>
                <a:gd name="connsiteY1291" fmla="*/ 777494 h 943041"/>
                <a:gd name="connsiteX1292" fmla="*/ 1344697 w 1737195"/>
                <a:gd name="connsiteY1292" fmla="*/ 775305 h 943041"/>
                <a:gd name="connsiteX1293" fmla="*/ 1348484 w 1737195"/>
                <a:gd name="connsiteY1293" fmla="*/ 777096 h 943041"/>
                <a:gd name="connsiteX1294" fmla="*/ 1346790 w 1737195"/>
                <a:gd name="connsiteY1294" fmla="*/ 770729 h 943041"/>
                <a:gd name="connsiteX1295" fmla="*/ 1345295 w 1737195"/>
                <a:gd name="connsiteY1295" fmla="*/ 767545 h 943041"/>
                <a:gd name="connsiteX1296" fmla="*/ 1343302 w 1737195"/>
                <a:gd name="connsiteY1296" fmla="*/ 766153 h 943041"/>
                <a:gd name="connsiteX1297" fmla="*/ 1342106 w 1737195"/>
                <a:gd name="connsiteY1297" fmla="*/ 765058 h 943041"/>
                <a:gd name="connsiteX1298" fmla="*/ 1342106 w 1737195"/>
                <a:gd name="connsiteY1298" fmla="*/ 759587 h 943041"/>
                <a:gd name="connsiteX1299" fmla="*/ 1341309 w 1737195"/>
                <a:gd name="connsiteY1299" fmla="*/ 757497 h 943041"/>
                <a:gd name="connsiteX1300" fmla="*/ 1342505 w 1737195"/>
                <a:gd name="connsiteY1300" fmla="*/ 756701 h 943041"/>
                <a:gd name="connsiteX1301" fmla="*/ 1349580 w 1737195"/>
                <a:gd name="connsiteY1301" fmla="*/ 754115 h 943041"/>
                <a:gd name="connsiteX1302" fmla="*/ 1351074 w 1737195"/>
                <a:gd name="connsiteY1302" fmla="*/ 754115 h 943041"/>
                <a:gd name="connsiteX1303" fmla="*/ 1359146 w 1737195"/>
                <a:gd name="connsiteY1303" fmla="*/ 751130 h 943041"/>
                <a:gd name="connsiteX1304" fmla="*/ 1361537 w 1737195"/>
                <a:gd name="connsiteY1304" fmla="*/ 749737 h 943041"/>
                <a:gd name="connsiteX1305" fmla="*/ 1363829 w 1737195"/>
                <a:gd name="connsiteY1305" fmla="*/ 747648 h 943041"/>
                <a:gd name="connsiteX1306" fmla="*/ 1363829 w 1737195"/>
                <a:gd name="connsiteY1306" fmla="*/ 750334 h 943041"/>
                <a:gd name="connsiteX1307" fmla="*/ 1362434 w 1737195"/>
                <a:gd name="connsiteY1307" fmla="*/ 752423 h 943041"/>
                <a:gd name="connsiteX1308" fmla="*/ 1358946 w 1737195"/>
                <a:gd name="connsiteY1308" fmla="*/ 755408 h 943041"/>
                <a:gd name="connsiteX1309" fmla="*/ 1360242 w 1737195"/>
                <a:gd name="connsiteY1309" fmla="*/ 756204 h 943041"/>
                <a:gd name="connsiteX1310" fmla="*/ 1360242 w 1737195"/>
                <a:gd name="connsiteY1310" fmla="*/ 756204 h 943041"/>
                <a:gd name="connsiteX1311" fmla="*/ 1360242 w 1737195"/>
                <a:gd name="connsiteY1311" fmla="*/ 757398 h 943041"/>
                <a:gd name="connsiteX1312" fmla="*/ 1359444 w 1737195"/>
                <a:gd name="connsiteY1312" fmla="*/ 758194 h 943041"/>
                <a:gd name="connsiteX1313" fmla="*/ 1357153 w 1737195"/>
                <a:gd name="connsiteY1313" fmla="*/ 759587 h 943041"/>
                <a:gd name="connsiteX1314" fmla="*/ 1358946 w 1737195"/>
                <a:gd name="connsiteY1314" fmla="*/ 762870 h 943041"/>
                <a:gd name="connsiteX1315" fmla="*/ 1359743 w 1737195"/>
                <a:gd name="connsiteY1315" fmla="*/ 763864 h 943041"/>
                <a:gd name="connsiteX1316" fmla="*/ 1357252 w 1737195"/>
                <a:gd name="connsiteY1316" fmla="*/ 770132 h 943041"/>
                <a:gd name="connsiteX1317" fmla="*/ 1357252 w 1737195"/>
                <a:gd name="connsiteY1317" fmla="*/ 773316 h 943041"/>
                <a:gd name="connsiteX1318" fmla="*/ 1358846 w 1737195"/>
                <a:gd name="connsiteY1318" fmla="*/ 776997 h 943041"/>
                <a:gd name="connsiteX1319" fmla="*/ 1359743 w 1737195"/>
                <a:gd name="connsiteY1319" fmla="*/ 777892 h 943041"/>
                <a:gd name="connsiteX1320" fmla="*/ 1361039 w 1737195"/>
                <a:gd name="connsiteY1320" fmla="*/ 778688 h 943041"/>
                <a:gd name="connsiteX1321" fmla="*/ 1362533 w 1737195"/>
                <a:gd name="connsiteY1321" fmla="*/ 778688 h 943041"/>
                <a:gd name="connsiteX1322" fmla="*/ 1364128 w 1737195"/>
                <a:gd name="connsiteY1322" fmla="*/ 778688 h 943041"/>
                <a:gd name="connsiteX1323" fmla="*/ 1365921 w 1737195"/>
                <a:gd name="connsiteY1323" fmla="*/ 778688 h 943041"/>
                <a:gd name="connsiteX1324" fmla="*/ 1368512 w 1737195"/>
                <a:gd name="connsiteY1324" fmla="*/ 777793 h 943041"/>
                <a:gd name="connsiteX1325" fmla="*/ 1370206 w 1737195"/>
                <a:gd name="connsiteY1325" fmla="*/ 777793 h 943041"/>
                <a:gd name="connsiteX1326" fmla="*/ 1369608 w 1737195"/>
                <a:gd name="connsiteY1326" fmla="*/ 776101 h 943041"/>
                <a:gd name="connsiteX1327" fmla="*/ 1369608 w 1737195"/>
                <a:gd name="connsiteY1327" fmla="*/ 775504 h 943041"/>
                <a:gd name="connsiteX1328" fmla="*/ 1371302 w 1737195"/>
                <a:gd name="connsiteY1328" fmla="*/ 774510 h 943041"/>
                <a:gd name="connsiteX1329" fmla="*/ 1372299 w 1737195"/>
                <a:gd name="connsiteY1329" fmla="*/ 775206 h 943041"/>
                <a:gd name="connsiteX1330" fmla="*/ 1373095 w 1737195"/>
                <a:gd name="connsiteY1330" fmla="*/ 776300 h 943041"/>
                <a:gd name="connsiteX1331" fmla="*/ 1373992 w 1737195"/>
                <a:gd name="connsiteY1331" fmla="*/ 776300 h 943041"/>
                <a:gd name="connsiteX1332" fmla="*/ 1374889 w 1737195"/>
                <a:gd name="connsiteY1332" fmla="*/ 775803 h 943041"/>
                <a:gd name="connsiteX1333" fmla="*/ 1376484 w 1737195"/>
                <a:gd name="connsiteY1333" fmla="*/ 773913 h 943041"/>
                <a:gd name="connsiteX1334" fmla="*/ 1377480 w 1737195"/>
                <a:gd name="connsiteY1334" fmla="*/ 773017 h 943041"/>
                <a:gd name="connsiteX1335" fmla="*/ 1375088 w 1737195"/>
                <a:gd name="connsiteY1335" fmla="*/ 777594 h 943041"/>
                <a:gd name="connsiteX1336" fmla="*/ 1374391 w 1737195"/>
                <a:gd name="connsiteY1336" fmla="*/ 779584 h 943041"/>
                <a:gd name="connsiteX1337" fmla="*/ 1374391 w 1737195"/>
                <a:gd name="connsiteY1337" fmla="*/ 781772 h 943041"/>
                <a:gd name="connsiteX1338" fmla="*/ 1375985 w 1737195"/>
                <a:gd name="connsiteY1338" fmla="*/ 783066 h 943041"/>
                <a:gd name="connsiteX1339" fmla="*/ 1377281 w 1737195"/>
                <a:gd name="connsiteY1339" fmla="*/ 781573 h 943041"/>
                <a:gd name="connsiteX1340" fmla="*/ 1378477 w 1737195"/>
                <a:gd name="connsiteY1340" fmla="*/ 779086 h 943041"/>
                <a:gd name="connsiteX1341" fmla="*/ 1379572 w 1737195"/>
                <a:gd name="connsiteY1341" fmla="*/ 777395 h 943041"/>
                <a:gd name="connsiteX1342" fmla="*/ 1379572 w 1737195"/>
                <a:gd name="connsiteY1342" fmla="*/ 779484 h 943041"/>
                <a:gd name="connsiteX1343" fmla="*/ 1380270 w 1737195"/>
                <a:gd name="connsiteY1343" fmla="*/ 781076 h 943041"/>
                <a:gd name="connsiteX1344" fmla="*/ 1381366 w 1737195"/>
                <a:gd name="connsiteY1344" fmla="*/ 782170 h 943041"/>
                <a:gd name="connsiteX1345" fmla="*/ 1382961 w 1737195"/>
                <a:gd name="connsiteY1345" fmla="*/ 782867 h 943041"/>
                <a:gd name="connsiteX1346" fmla="*/ 1384057 w 1737195"/>
                <a:gd name="connsiteY1346" fmla="*/ 782071 h 943041"/>
                <a:gd name="connsiteX1347" fmla="*/ 1384057 w 1737195"/>
                <a:gd name="connsiteY1347" fmla="*/ 782966 h 943041"/>
                <a:gd name="connsiteX1348" fmla="*/ 1384057 w 1737195"/>
                <a:gd name="connsiteY1348" fmla="*/ 784359 h 943041"/>
                <a:gd name="connsiteX1349" fmla="*/ 1384754 w 1737195"/>
                <a:gd name="connsiteY1349" fmla="*/ 785055 h 943041"/>
                <a:gd name="connsiteX1350" fmla="*/ 1386050 w 1737195"/>
                <a:gd name="connsiteY1350" fmla="*/ 785055 h 943041"/>
                <a:gd name="connsiteX1351" fmla="*/ 1386050 w 1737195"/>
                <a:gd name="connsiteY1351" fmla="*/ 784259 h 943041"/>
                <a:gd name="connsiteX1352" fmla="*/ 1386050 w 1737195"/>
                <a:gd name="connsiteY1352" fmla="*/ 783563 h 943041"/>
                <a:gd name="connsiteX1353" fmla="*/ 1387046 w 1737195"/>
                <a:gd name="connsiteY1353" fmla="*/ 783563 h 943041"/>
                <a:gd name="connsiteX1354" fmla="*/ 1391430 w 1737195"/>
                <a:gd name="connsiteY1354" fmla="*/ 782767 h 943041"/>
                <a:gd name="connsiteX1355" fmla="*/ 1393523 w 1737195"/>
                <a:gd name="connsiteY1355" fmla="*/ 782767 h 943041"/>
                <a:gd name="connsiteX1356" fmla="*/ 1395316 w 1737195"/>
                <a:gd name="connsiteY1356" fmla="*/ 783762 h 943041"/>
                <a:gd name="connsiteX1357" fmla="*/ 1395316 w 1737195"/>
                <a:gd name="connsiteY1357" fmla="*/ 784359 h 943041"/>
                <a:gd name="connsiteX1358" fmla="*/ 1394419 w 1737195"/>
                <a:gd name="connsiteY1358" fmla="*/ 785553 h 943041"/>
                <a:gd name="connsiteX1359" fmla="*/ 1393822 w 1737195"/>
                <a:gd name="connsiteY1359" fmla="*/ 786946 h 943041"/>
                <a:gd name="connsiteX1360" fmla="*/ 1393822 w 1737195"/>
                <a:gd name="connsiteY1360" fmla="*/ 788139 h 943041"/>
                <a:gd name="connsiteX1361" fmla="*/ 1394917 w 1737195"/>
                <a:gd name="connsiteY1361" fmla="*/ 788139 h 943041"/>
                <a:gd name="connsiteX1362" fmla="*/ 1395815 w 1737195"/>
                <a:gd name="connsiteY1362" fmla="*/ 787344 h 943041"/>
                <a:gd name="connsiteX1363" fmla="*/ 1396512 w 1737195"/>
                <a:gd name="connsiteY1363" fmla="*/ 786150 h 943041"/>
                <a:gd name="connsiteX1364" fmla="*/ 1397808 w 1737195"/>
                <a:gd name="connsiteY1364" fmla="*/ 784558 h 943041"/>
                <a:gd name="connsiteX1365" fmla="*/ 1398505 w 1737195"/>
                <a:gd name="connsiteY1365" fmla="*/ 782369 h 943041"/>
                <a:gd name="connsiteX1366" fmla="*/ 1399601 w 1737195"/>
                <a:gd name="connsiteY1366" fmla="*/ 780678 h 943041"/>
                <a:gd name="connsiteX1367" fmla="*/ 1401793 w 1737195"/>
                <a:gd name="connsiteY1367" fmla="*/ 781275 h 943041"/>
                <a:gd name="connsiteX1368" fmla="*/ 1401793 w 1737195"/>
                <a:gd name="connsiteY1368" fmla="*/ 781772 h 943041"/>
                <a:gd name="connsiteX1369" fmla="*/ 1401195 w 1737195"/>
                <a:gd name="connsiteY1369" fmla="*/ 782668 h 943041"/>
                <a:gd name="connsiteX1370" fmla="*/ 1401195 w 1737195"/>
                <a:gd name="connsiteY1370" fmla="*/ 783563 h 943041"/>
                <a:gd name="connsiteX1371" fmla="*/ 1402192 w 1737195"/>
                <a:gd name="connsiteY1371" fmla="*/ 784458 h 943041"/>
                <a:gd name="connsiteX1372" fmla="*/ 1402889 w 1737195"/>
                <a:gd name="connsiteY1372" fmla="*/ 784458 h 943041"/>
                <a:gd name="connsiteX1373" fmla="*/ 1405381 w 1737195"/>
                <a:gd name="connsiteY1373" fmla="*/ 783464 h 943041"/>
                <a:gd name="connsiteX1374" fmla="*/ 1406078 w 1737195"/>
                <a:gd name="connsiteY1374" fmla="*/ 783464 h 943041"/>
                <a:gd name="connsiteX1375" fmla="*/ 1407971 w 1737195"/>
                <a:gd name="connsiteY1375" fmla="*/ 780877 h 943041"/>
                <a:gd name="connsiteX1376" fmla="*/ 1409167 w 1737195"/>
                <a:gd name="connsiteY1376" fmla="*/ 778688 h 943041"/>
                <a:gd name="connsiteX1377" fmla="*/ 1409167 w 1737195"/>
                <a:gd name="connsiteY1377" fmla="*/ 776002 h 943041"/>
                <a:gd name="connsiteX1378" fmla="*/ 1406177 w 1737195"/>
                <a:gd name="connsiteY1378" fmla="*/ 770928 h 943041"/>
                <a:gd name="connsiteX1379" fmla="*/ 1406177 w 1737195"/>
                <a:gd name="connsiteY1379" fmla="*/ 769038 h 943041"/>
                <a:gd name="connsiteX1380" fmla="*/ 1406177 w 1737195"/>
                <a:gd name="connsiteY1380" fmla="*/ 767048 h 943041"/>
                <a:gd name="connsiteX1381" fmla="*/ 1406177 w 1737195"/>
                <a:gd name="connsiteY1381" fmla="*/ 763964 h 943041"/>
                <a:gd name="connsiteX1382" fmla="*/ 1406177 w 1737195"/>
                <a:gd name="connsiteY1382" fmla="*/ 762472 h 943041"/>
                <a:gd name="connsiteX1383" fmla="*/ 1404284 w 1737195"/>
                <a:gd name="connsiteY1383" fmla="*/ 757398 h 943041"/>
                <a:gd name="connsiteX1384" fmla="*/ 1403587 w 1737195"/>
                <a:gd name="connsiteY1384" fmla="*/ 756303 h 943041"/>
                <a:gd name="connsiteX1385" fmla="*/ 1402889 w 1737195"/>
                <a:gd name="connsiteY1385" fmla="*/ 755607 h 943041"/>
                <a:gd name="connsiteX1386" fmla="*/ 1401195 w 1737195"/>
                <a:gd name="connsiteY1386" fmla="*/ 752722 h 943041"/>
                <a:gd name="connsiteX1387" fmla="*/ 1400099 w 1737195"/>
                <a:gd name="connsiteY1387" fmla="*/ 752025 h 943041"/>
                <a:gd name="connsiteX1388" fmla="*/ 1397010 w 1737195"/>
                <a:gd name="connsiteY1388" fmla="*/ 752025 h 943041"/>
                <a:gd name="connsiteX1389" fmla="*/ 1396114 w 1737195"/>
                <a:gd name="connsiteY1389" fmla="*/ 752025 h 943041"/>
                <a:gd name="connsiteX1390" fmla="*/ 1394519 w 1737195"/>
                <a:gd name="connsiteY1390" fmla="*/ 750732 h 943041"/>
                <a:gd name="connsiteX1391" fmla="*/ 1393423 w 1737195"/>
                <a:gd name="connsiteY1391" fmla="*/ 748941 h 943041"/>
                <a:gd name="connsiteX1392" fmla="*/ 1391729 w 1737195"/>
                <a:gd name="connsiteY1392" fmla="*/ 744265 h 943041"/>
                <a:gd name="connsiteX1393" fmla="*/ 1394021 w 1737195"/>
                <a:gd name="connsiteY1393" fmla="*/ 744265 h 943041"/>
                <a:gd name="connsiteX1394" fmla="*/ 1395515 w 1737195"/>
                <a:gd name="connsiteY1394" fmla="*/ 745061 h 943041"/>
                <a:gd name="connsiteX1395" fmla="*/ 1402989 w 1737195"/>
                <a:gd name="connsiteY1395" fmla="*/ 752523 h 943041"/>
                <a:gd name="connsiteX1396" fmla="*/ 1407473 w 1737195"/>
                <a:gd name="connsiteY1396" fmla="*/ 755408 h 943041"/>
                <a:gd name="connsiteX1397" fmla="*/ 1410961 w 1737195"/>
                <a:gd name="connsiteY1397" fmla="*/ 759189 h 943041"/>
                <a:gd name="connsiteX1398" fmla="*/ 1415345 w 1737195"/>
                <a:gd name="connsiteY1398" fmla="*/ 760880 h 943041"/>
                <a:gd name="connsiteX1399" fmla="*/ 1417836 w 1737195"/>
                <a:gd name="connsiteY1399" fmla="*/ 762870 h 943041"/>
                <a:gd name="connsiteX1400" fmla="*/ 1420028 w 1737195"/>
                <a:gd name="connsiteY1400" fmla="*/ 763665 h 943041"/>
                <a:gd name="connsiteX1401" fmla="*/ 1422220 w 1737195"/>
                <a:gd name="connsiteY1401" fmla="*/ 760880 h 943041"/>
                <a:gd name="connsiteX1402" fmla="*/ 1423017 w 1737195"/>
                <a:gd name="connsiteY1402" fmla="*/ 757696 h 943041"/>
                <a:gd name="connsiteX1403" fmla="*/ 1422320 w 1737195"/>
                <a:gd name="connsiteY1403" fmla="*/ 755309 h 943041"/>
                <a:gd name="connsiteX1404" fmla="*/ 1420526 w 1737195"/>
                <a:gd name="connsiteY1404" fmla="*/ 753518 h 943041"/>
                <a:gd name="connsiteX1405" fmla="*/ 1417935 w 1737195"/>
                <a:gd name="connsiteY1405" fmla="*/ 752125 h 943041"/>
                <a:gd name="connsiteX1406" fmla="*/ 1422818 w 1737195"/>
                <a:gd name="connsiteY1406" fmla="*/ 749737 h 943041"/>
                <a:gd name="connsiteX1407" fmla="*/ 1425110 w 1737195"/>
                <a:gd name="connsiteY1407" fmla="*/ 749737 h 943041"/>
                <a:gd name="connsiteX1408" fmla="*/ 1426505 w 1737195"/>
                <a:gd name="connsiteY1408" fmla="*/ 751926 h 943041"/>
                <a:gd name="connsiteX1409" fmla="*/ 1425409 w 1737195"/>
                <a:gd name="connsiteY1409" fmla="*/ 751926 h 943041"/>
                <a:gd name="connsiteX1410" fmla="*/ 1424612 w 1737195"/>
                <a:gd name="connsiteY1410" fmla="*/ 751926 h 943041"/>
                <a:gd name="connsiteX1411" fmla="*/ 1423017 w 1737195"/>
                <a:gd name="connsiteY1411" fmla="*/ 753418 h 943041"/>
                <a:gd name="connsiteX1412" fmla="*/ 1426306 w 1737195"/>
                <a:gd name="connsiteY1412" fmla="*/ 755309 h 943041"/>
                <a:gd name="connsiteX1413" fmla="*/ 1435473 w 1737195"/>
                <a:gd name="connsiteY1413" fmla="*/ 756502 h 943041"/>
                <a:gd name="connsiteX1414" fmla="*/ 1439459 w 1737195"/>
                <a:gd name="connsiteY1414" fmla="*/ 757895 h 943041"/>
                <a:gd name="connsiteX1415" fmla="*/ 1440057 w 1737195"/>
                <a:gd name="connsiteY1415" fmla="*/ 755309 h 943041"/>
                <a:gd name="connsiteX1416" fmla="*/ 1444043 w 1737195"/>
                <a:gd name="connsiteY1416" fmla="*/ 750633 h 943041"/>
                <a:gd name="connsiteX1417" fmla="*/ 1445637 w 1737195"/>
                <a:gd name="connsiteY1417" fmla="*/ 748046 h 943041"/>
                <a:gd name="connsiteX1418" fmla="*/ 1444241 w 1737195"/>
                <a:gd name="connsiteY1418" fmla="*/ 746653 h 943041"/>
                <a:gd name="connsiteX1419" fmla="*/ 1443544 w 1737195"/>
                <a:gd name="connsiteY1419" fmla="*/ 744464 h 943041"/>
                <a:gd name="connsiteX1420" fmla="*/ 1444043 w 1737195"/>
                <a:gd name="connsiteY1420" fmla="*/ 742176 h 943041"/>
                <a:gd name="connsiteX1421" fmla="*/ 1445637 w 1737195"/>
                <a:gd name="connsiteY1421" fmla="*/ 740286 h 943041"/>
                <a:gd name="connsiteX1422" fmla="*/ 1446234 w 1737195"/>
                <a:gd name="connsiteY1422" fmla="*/ 741977 h 943041"/>
                <a:gd name="connsiteX1423" fmla="*/ 1448227 w 1737195"/>
                <a:gd name="connsiteY1423" fmla="*/ 745758 h 943041"/>
                <a:gd name="connsiteX1424" fmla="*/ 1448825 w 1737195"/>
                <a:gd name="connsiteY1424" fmla="*/ 747847 h 943041"/>
                <a:gd name="connsiteX1425" fmla="*/ 1448825 w 1737195"/>
                <a:gd name="connsiteY1425" fmla="*/ 748941 h 943041"/>
                <a:gd name="connsiteX1426" fmla="*/ 1448825 w 1737195"/>
                <a:gd name="connsiteY1426" fmla="*/ 748941 h 943041"/>
                <a:gd name="connsiteX1427" fmla="*/ 1450320 w 1737195"/>
                <a:gd name="connsiteY1427" fmla="*/ 748941 h 943041"/>
                <a:gd name="connsiteX1428" fmla="*/ 1452712 w 1737195"/>
                <a:gd name="connsiteY1428" fmla="*/ 747549 h 943041"/>
                <a:gd name="connsiteX1429" fmla="*/ 1454007 w 1737195"/>
                <a:gd name="connsiteY1429" fmla="*/ 742773 h 943041"/>
                <a:gd name="connsiteX1430" fmla="*/ 1456398 w 1737195"/>
                <a:gd name="connsiteY1430" fmla="*/ 741380 h 943041"/>
                <a:gd name="connsiteX1431" fmla="*/ 1455601 w 1737195"/>
                <a:gd name="connsiteY1431" fmla="*/ 743370 h 943041"/>
                <a:gd name="connsiteX1432" fmla="*/ 1455601 w 1737195"/>
                <a:gd name="connsiteY1432" fmla="*/ 746156 h 943041"/>
                <a:gd name="connsiteX1433" fmla="*/ 1456498 w 1737195"/>
                <a:gd name="connsiteY1433" fmla="*/ 747748 h 943041"/>
                <a:gd name="connsiteX1434" fmla="*/ 1458192 w 1737195"/>
                <a:gd name="connsiteY1434" fmla="*/ 748842 h 943041"/>
                <a:gd name="connsiteX1435" fmla="*/ 1458192 w 1737195"/>
                <a:gd name="connsiteY1435" fmla="*/ 745957 h 943041"/>
                <a:gd name="connsiteX1436" fmla="*/ 1459886 w 1737195"/>
                <a:gd name="connsiteY1436" fmla="*/ 741480 h 943041"/>
                <a:gd name="connsiteX1437" fmla="*/ 1459886 w 1737195"/>
                <a:gd name="connsiteY1437" fmla="*/ 738794 h 943041"/>
                <a:gd name="connsiteX1438" fmla="*/ 1459288 w 1737195"/>
                <a:gd name="connsiteY1438" fmla="*/ 733919 h 943041"/>
                <a:gd name="connsiteX1439" fmla="*/ 1459288 w 1737195"/>
                <a:gd name="connsiteY1439" fmla="*/ 733919 h 943041"/>
                <a:gd name="connsiteX1440" fmla="*/ 1460384 w 1737195"/>
                <a:gd name="connsiteY1440" fmla="*/ 733023 h 943041"/>
                <a:gd name="connsiteX1441" fmla="*/ 1461480 w 1737195"/>
                <a:gd name="connsiteY1441" fmla="*/ 733023 h 943041"/>
                <a:gd name="connsiteX1442" fmla="*/ 1462476 w 1737195"/>
                <a:gd name="connsiteY1442" fmla="*/ 733919 h 943041"/>
                <a:gd name="connsiteX1443" fmla="*/ 1462476 w 1737195"/>
                <a:gd name="connsiteY1443" fmla="*/ 735411 h 943041"/>
                <a:gd name="connsiteX1444" fmla="*/ 1462476 w 1737195"/>
                <a:gd name="connsiteY1444" fmla="*/ 740584 h 943041"/>
                <a:gd name="connsiteX1445" fmla="*/ 1463274 w 1737195"/>
                <a:gd name="connsiteY1445" fmla="*/ 742773 h 943041"/>
                <a:gd name="connsiteX1446" fmla="*/ 1465765 w 1737195"/>
                <a:gd name="connsiteY1446" fmla="*/ 743569 h 943041"/>
                <a:gd name="connsiteX1447" fmla="*/ 1467359 w 1737195"/>
                <a:gd name="connsiteY1447" fmla="*/ 744464 h 943041"/>
                <a:gd name="connsiteX1448" fmla="*/ 1467359 w 1737195"/>
                <a:gd name="connsiteY1448" fmla="*/ 746653 h 943041"/>
                <a:gd name="connsiteX1449" fmla="*/ 1467359 w 1737195"/>
                <a:gd name="connsiteY1449" fmla="*/ 749140 h 943041"/>
                <a:gd name="connsiteX1450" fmla="*/ 1467359 w 1737195"/>
                <a:gd name="connsiteY1450" fmla="*/ 751329 h 943041"/>
                <a:gd name="connsiteX1451" fmla="*/ 1471644 w 1737195"/>
                <a:gd name="connsiteY1451" fmla="*/ 747847 h 943041"/>
                <a:gd name="connsiteX1452" fmla="*/ 1473039 w 1737195"/>
                <a:gd name="connsiteY1452" fmla="*/ 745658 h 943041"/>
                <a:gd name="connsiteX1453" fmla="*/ 1472142 w 1737195"/>
                <a:gd name="connsiteY1453" fmla="*/ 743072 h 943041"/>
                <a:gd name="connsiteX1454" fmla="*/ 1468455 w 1737195"/>
                <a:gd name="connsiteY1454" fmla="*/ 739291 h 943041"/>
                <a:gd name="connsiteX1455" fmla="*/ 1467259 w 1737195"/>
                <a:gd name="connsiteY1455" fmla="*/ 737301 h 943041"/>
                <a:gd name="connsiteX1456" fmla="*/ 1467259 w 1737195"/>
                <a:gd name="connsiteY1456" fmla="*/ 734914 h 943041"/>
                <a:gd name="connsiteX1457" fmla="*/ 1468754 w 1737195"/>
                <a:gd name="connsiteY1457" fmla="*/ 736804 h 943041"/>
                <a:gd name="connsiteX1458" fmla="*/ 1472341 w 1737195"/>
                <a:gd name="connsiteY1458" fmla="*/ 734914 h 943041"/>
                <a:gd name="connsiteX1459" fmla="*/ 1474135 w 1737195"/>
                <a:gd name="connsiteY1459" fmla="*/ 736008 h 943041"/>
                <a:gd name="connsiteX1460" fmla="*/ 1474135 w 1737195"/>
                <a:gd name="connsiteY1460" fmla="*/ 737003 h 943041"/>
                <a:gd name="connsiteX1461" fmla="*/ 1474135 w 1737195"/>
                <a:gd name="connsiteY1461" fmla="*/ 741380 h 943041"/>
                <a:gd name="connsiteX1462" fmla="*/ 1474135 w 1737195"/>
                <a:gd name="connsiteY1462" fmla="*/ 742375 h 943041"/>
                <a:gd name="connsiteX1463" fmla="*/ 1474135 w 1737195"/>
                <a:gd name="connsiteY1463" fmla="*/ 743072 h 943041"/>
                <a:gd name="connsiteX1464" fmla="*/ 1474135 w 1737195"/>
                <a:gd name="connsiteY1464" fmla="*/ 743768 h 943041"/>
                <a:gd name="connsiteX1465" fmla="*/ 1474135 w 1737195"/>
                <a:gd name="connsiteY1465" fmla="*/ 745161 h 943041"/>
                <a:gd name="connsiteX1466" fmla="*/ 1475131 w 1737195"/>
                <a:gd name="connsiteY1466" fmla="*/ 745161 h 943041"/>
                <a:gd name="connsiteX1467" fmla="*/ 1477224 w 1737195"/>
                <a:gd name="connsiteY1467" fmla="*/ 744066 h 943041"/>
                <a:gd name="connsiteX1468" fmla="*/ 1480711 w 1737195"/>
                <a:gd name="connsiteY1468" fmla="*/ 741579 h 943041"/>
                <a:gd name="connsiteX1469" fmla="*/ 1482605 w 1737195"/>
                <a:gd name="connsiteY1469" fmla="*/ 740485 h 943041"/>
                <a:gd name="connsiteX1470" fmla="*/ 1485394 w 1737195"/>
                <a:gd name="connsiteY1470" fmla="*/ 740485 h 943041"/>
                <a:gd name="connsiteX1471" fmla="*/ 1488085 w 1737195"/>
                <a:gd name="connsiteY1471" fmla="*/ 741579 h 943041"/>
                <a:gd name="connsiteX1472" fmla="*/ 1489779 w 1737195"/>
                <a:gd name="connsiteY1472" fmla="*/ 742773 h 943041"/>
                <a:gd name="connsiteX1473" fmla="*/ 1491074 w 1737195"/>
                <a:gd name="connsiteY1473" fmla="*/ 740584 h 943041"/>
                <a:gd name="connsiteX1474" fmla="*/ 1491772 w 1737195"/>
                <a:gd name="connsiteY1474" fmla="*/ 741181 h 943041"/>
                <a:gd name="connsiteX1475" fmla="*/ 1492668 w 1737195"/>
                <a:gd name="connsiteY1475" fmla="*/ 742873 h 943041"/>
                <a:gd name="connsiteX1476" fmla="*/ 1493765 w 1737195"/>
                <a:gd name="connsiteY1476" fmla="*/ 743868 h 943041"/>
                <a:gd name="connsiteX1477" fmla="*/ 1495259 w 1737195"/>
                <a:gd name="connsiteY1477" fmla="*/ 743868 h 943041"/>
                <a:gd name="connsiteX1478" fmla="*/ 1496654 w 1737195"/>
                <a:gd name="connsiteY1478" fmla="*/ 743370 h 943041"/>
                <a:gd name="connsiteX1479" fmla="*/ 1499345 w 1737195"/>
                <a:gd name="connsiteY1479" fmla="*/ 741878 h 943041"/>
                <a:gd name="connsiteX1480" fmla="*/ 1498149 w 1737195"/>
                <a:gd name="connsiteY1480" fmla="*/ 741380 h 943041"/>
                <a:gd name="connsiteX1481" fmla="*/ 1497252 w 1737195"/>
                <a:gd name="connsiteY1481" fmla="*/ 740684 h 943041"/>
                <a:gd name="connsiteX1482" fmla="*/ 1496455 w 1737195"/>
                <a:gd name="connsiteY1482" fmla="*/ 739689 h 943041"/>
                <a:gd name="connsiteX1483" fmla="*/ 1495857 w 1737195"/>
                <a:gd name="connsiteY1483" fmla="*/ 738396 h 943041"/>
                <a:gd name="connsiteX1484" fmla="*/ 1497551 w 1737195"/>
                <a:gd name="connsiteY1484" fmla="*/ 738396 h 943041"/>
                <a:gd name="connsiteX1485" fmla="*/ 1498847 w 1737195"/>
                <a:gd name="connsiteY1485" fmla="*/ 737202 h 943041"/>
                <a:gd name="connsiteX1486" fmla="*/ 1498847 w 1737195"/>
                <a:gd name="connsiteY1486" fmla="*/ 735511 h 943041"/>
                <a:gd name="connsiteX1487" fmla="*/ 1498049 w 1737195"/>
                <a:gd name="connsiteY1487" fmla="*/ 733421 h 943041"/>
                <a:gd name="connsiteX1488" fmla="*/ 1512996 w 1737195"/>
                <a:gd name="connsiteY1488" fmla="*/ 730636 h 943041"/>
                <a:gd name="connsiteX1489" fmla="*/ 1517281 w 1737195"/>
                <a:gd name="connsiteY1489" fmla="*/ 732228 h 943041"/>
                <a:gd name="connsiteX1490" fmla="*/ 1516284 w 1737195"/>
                <a:gd name="connsiteY1490" fmla="*/ 730039 h 943041"/>
                <a:gd name="connsiteX1491" fmla="*/ 1521167 w 1737195"/>
                <a:gd name="connsiteY1491" fmla="*/ 726159 h 943041"/>
                <a:gd name="connsiteX1492" fmla="*/ 1523259 w 1737195"/>
                <a:gd name="connsiteY1492" fmla="*/ 725064 h 943041"/>
                <a:gd name="connsiteX1493" fmla="*/ 1524156 w 1737195"/>
                <a:gd name="connsiteY1493" fmla="*/ 726756 h 943041"/>
                <a:gd name="connsiteX1494" fmla="*/ 1526847 w 1737195"/>
                <a:gd name="connsiteY1494" fmla="*/ 725661 h 943041"/>
                <a:gd name="connsiteX1495" fmla="*/ 1530135 w 1737195"/>
                <a:gd name="connsiteY1495" fmla="*/ 730934 h 943041"/>
                <a:gd name="connsiteX1496" fmla="*/ 1532825 w 1737195"/>
                <a:gd name="connsiteY1496" fmla="*/ 730039 h 943041"/>
                <a:gd name="connsiteX1497" fmla="*/ 1530832 w 1737195"/>
                <a:gd name="connsiteY1497" fmla="*/ 726955 h 943041"/>
                <a:gd name="connsiteX1498" fmla="*/ 1529736 w 1737195"/>
                <a:gd name="connsiteY1498" fmla="*/ 725761 h 943041"/>
                <a:gd name="connsiteX1499" fmla="*/ 1528441 w 1737195"/>
                <a:gd name="connsiteY1499" fmla="*/ 724567 h 943041"/>
                <a:gd name="connsiteX1500" fmla="*/ 1530234 w 1737195"/>
                <a:gd name="connsiteY1500" fmla="*/ 720190 h 943041"/>
                <a:gd name="connsiteX1501" fmla="*/ 1533323 w 1737195"/>
                <a:gd name="connsiteY1501" fmla="*/ 722080 h 943041"/>
                <a:gd name="connsiteX1502" fmla="*/ 1535814 w 1737195"/>
                <a:gd name="connsiteY1502" fmla="*/ 720886 h 943041"/>
                <a:gd name="connsiteX1503" fmla="*/ 1538007 w 1737195"/>
                <a:gd name="connsiteY1503" fmla="*/ 718001 h 943041"/>
                <a:gd name="connsiteX1504" fmla="*/ 1539800 w 1737195"/>
                <a:gd name="connsiteY1504" fmla="*/ 714817 h 943041"/>
                <a:gd name="connsiteX1505" fmla="*/ 1539800 w 1737195"/>
                <a:gd name="connsiteY1505" fmla="*/ 718100 h 943041"/>
                <a:gd name="connsiteX1506" fmla="*/ 1539800 w 1737195"/>
                <a:gd name="connsiteY1506" fmla="*/ 721582 h 943041"/>
                <a:gd name="connsiteX1507" fmla="*/ 1540498 w 1737195"/>
                <a:gd name="connsiteY1507" fmla="*/ 724368 h 943041"/>
                <a:gd name="connsiteX1508" fmla="*/ 1542889 w 1737195"/>
                <a:gd name="connsiteY1508" fmla="*/ 725661 h 943041"/>
                <a:gd name="connsiteX1509" fmla="*/ 1542889 w 1737195"/>
                <a:gd name="connsiteY1509" fmla="*/ 722478 h 943041"/>
                <a:gd name="connsiteX1510" fmla="*/ 1544185 w 1737195"/>
                <a:gd name="connsiteY1510" fmla="*/ 719990 h 943041"/>
                <a:gd name="connsiteX1511" fmla="*/ 1546377 w 1737195"/>
                <a:gd name="connsiteY1511" fmla="*/ 718498 h 943041"/>
                <a:gd name="connsiteX1512" fmla="*/ 1548868 w 1737195"/>
                <a:gd name="connsiteY1512" fmla="*/ 718498 h 943041"/>
                <a:gd name="connsiteX1513" fmla="*/ 1548270 w 1737195"/>
                <a:gd name="connsiteY1513" fmla="*/ 717802 h 943041"/>
                <a:gd name="connsiteX1514" fmla="*/ 1547672 w 1737195"/>
                <a:gd name="connsiteY1514" fmla="*/ 716807 h 943041"/>
                <a:gd name="connsiteX1515" fmla="*/ 1546974 w 1737195"/>
                <a:gd name="connsiteY1515" fmla="*/ 716807 h 943041"/>
                <a:gd name="connsiteX1516" fmla="*/ 1549765 w 1737195"/>
                <a:gd name="connsiteY1516" fmla="*/ 714320 h 943041"/>
                <a:gd name="connsiteX1517" fmla="*/ 1551758 w 1737195"/>
                <a:gd name="connsiteY1517" fmla="*/ 714320 h 943041"/>
                <a:gd name="connsiteX1518" fmla="*/ 1553850 w 1737195"/>
                <a:gd name="connsiteY1518" fmla="*/ 715613 h 943041"/>
                <a:gd name="connsiteX1519" fmla="*/ 1556640 w 1737195"/>
                <a:gd name="connsiteY1519" fmla="*/ 716707 h 943041"/>
                <a:gd name="connsiteX1520" fmla="*/ 1556640 w 1737195"/>
                <a:gd name="connsiteY1520" fmla="*/ 715414 h 943041"/>
                <a:gd name="connsiteX1521" fmla="*/ 1556640 w 1737195"/>
                <a:gd name="connsiteY1521" fmla="*/ 715414 h 943041"/>
                <a:gd name="connsiteX1522" fmla="*/ 1556640 w 1737195"/>
                <a:gd name="connsiteY1522" fmla="*/ 714817 h 943041"/>
                <a:gd name="connsiteX1523" fmla="*/ 1556640 w 1737195"/>
                <a:gd name="connsiteY1523" fmla="*/ 714220 h 943041"/>
                <a:gd name="connsiteX1524" fmla="*/ 1556640 w 1737195"/>
                <a:gd name="connsiteY1524" fmla="*/ 714220 h 943041"/>
                <a:gd name="connsiteX1525" fmla="*/ 1556640 w 1737195"/>
                <a:gd name="connsiteY1525" fmla="*/ 714220 h 943041"/>
                <a:gd name="connsiteX1526" fmla="*/ 1556640 w 1737195"/>
                <a:gd name="connsiteY1526" fmla="*/ 713524 h 943041"/>
                <a:gd name="connsiteX1527" fmla="*/ 1557537 w 1737195"/>
                <a:gd name="connsiteY1527" fmla="*/ 713524 h 943041"/>
                <a:gd name="connsiteX1528" fmla="*/ 1558832 w 1737195"/>
                <a:gd name="connsiteY1528" fmla="*/ 714320 h 943041"/>
                <a:gd name="connsiteX1529" fmla="*/ 1560825 w 1737195"/>
                <a:gd name="connsiteY1529" fmla="*/ 714320 h 943041"/>
                <a:gd name="connsiteX1530" fmla="*/ 1562918 w 1737195"/>
                <a:gd name="connsiteY1530" fmla="*/ 713126 h 943041"/>
                <a:gd name="connsiteX1531" fmla="*/ 1564412 w 1737195"/>
                <a:gd name="connsiteY1531" fmla="*/ 711634 h 943041"/>
                <a:gd name="connsiteX1532" fmla="*/ 1565409 w 1737195"/>
                <a:gd name="connsiteY1532" fmla="*/ 712827 h 943041"/>
                <a:gd name="connsiteX1533" fmla="*/ 1567401 w 1737195"/>
                <a:gd name="connsiteY1533" fmla="*/ 709146 h 943041"/>
                <a:gd name="connsiteX1534" fmla="*/ 1569992 w 1737195"/>
                <a:gd name="connsiteY1534" fmla="*/ 708052 h 943041"/>
                <a:gd name="connsiteX1535" fmla="*/ 1576170 w 1737195"/>
                <a:gd name="connsiteY1535" fmla="*/ 708052 h 943041"/>
                <a:gd name="connsiteX1536" fmla="*/ 1577565 w 1737195"/>
                <a:gd name="connsiteY1536" fmla="*/ 707455 h 943041"/>
                <a:gd name="connsiteX1537" fmla="*/ 1580455 w 1737195"/>
                <a:gd name="connsiteY1537" fmla="*/ 705067 h 943041"/>
                <a:gd name="connsiteX1538" fmla="*/ 1580953 w 1737195"/>
                <a:gd name="connsiteY1538" fmla="*/ 705067 h 943041"/>
                <a:gd name="connsiteX1539" fmla="*/ 1582049 w 1737195"/>
                <a:gd name="connsiteY1539" fmla="*/ 705963 h 943041"/>
                <a:gd name="connsiteX1540" fmla="*/ 1584540 w 1737195"/>
                <a:gd name="connsiteY1540" fmla="*/ 705963 h 943041"/>
                <a:gd name="connsiteX1541" fmla="*/ 1587231 w 1737195"/>
                <a:gd name="connsiteY1541" fmla="*/ 705366 h 943041"/>
                <a:gd name="connsiteX1542" fmla="*/ 1588725 w 1737195"/>
                <a:gd name="connsiteY1542" fmla="*/ 704669 h 943041"/>
                <a:gd name="connsiteX1543" fmla="*/ 1590320 w 1737195"/>
                <a:gd name="connsiteY1543" fmla="*/ 705465 h 943041"/>
                <a:gd name="connsiteX1544" fmla="*/ 1592312 w 1737195"/>
                <a:gd name="connsiteY1544" fmla="*/ 705465 h 943041"/>
                <a:gd name="connsiteX1545" fmla="*/ 1594305 w 1737195"/>
                <a:gd name="connsiteY1545" fmla="*/ 704371 h 943041"/>
                <a:gd name="connsiteX1546" fmla="*/ 1595601 w 1737195"/>
                <a:gd name="connsiteY1546" fmla="*/ 702879 h 943041"/>
                <a:gd name="connsiteX1547" fmla="*/ 1597295 w 1737195"/>
                <a:gd name="connsiteY1547" fmla="*/ 703973 h 943041"/>
                <a:gd name="connsiteX1548" fmla="*/ 1599188 w 1737195"/>
                <a:gd name="connsiteY1548" fmla="*/ 703973 h 943041"/>
                <a:gd name="connsiteX1549" fmla="*/ 1601081 w 1737195"/>
                <a:gd name="connsiteY1549" fmla="*/ 703973 h 943041"/>
                <a:gd name="connsiteX1550" fmla="*/ 1602676 w 1737195"/>
                <a:gd name="connsiteY1550" fmla="*/ 702879 h 943041"/>
                <a:gd name="connsiteX1551" fmla="*/ 1595302 w 1737195"/>
                <a:gd name="connsiteY1551" fmla="*/ 700789 h 943041"/>
                <a:gd name="connsiteX1552" fmla="*/ 1593209 w 1737195"/>
                <a:gd name="connsiteY1552" fmla="*/ 699695 h 943041"/>
                <a:gd name="connsiteX1553" fmla="*/ 1594704 w 1737195"/>
                <a:gd name="connsiteY1553" fmla="*/ 699695 h 943041"/>
                <a:gd name="connsiteX1554" fmla="*/ 1595900 w 1737195"/>
                <a:gd name="connsiteY1554" fmla="*/ 698800 h 943041"/>
                <a:gd name="connsiteX1555" fmla="*/ 1596996 w 1737195"/>
                <a:gd name="connsiteY1555" fmla="*/ 697705 h 943041"/>
                <a:gd name="connsiteX1556" fmla="*/ 1598291 w 1737195"/>
                <a:gd name="connsiteY1556" fmla="*/ 696710 h 943041"/>
                <a:gd name="connsiteX1557" fmla="*/ 1598291 w 1737195"/>
                <a:gd name="connsiteY1557" fmla="*/ 697805 h 943041"/>
                <a:gd name="connsiteX1558" fmla="*/ 1598291 w 1737195"/>
                <a:gd name="connsiteY1558" fmla="*/ 698601 h 943041"/>
                <a:gd name="connsiteX1559" fmla="*/ 1598291 w 1737195"/>
                <a:gd name="connsiteY1559" fmla="*/ 699297 h 943041"/>
                <a:gd name="connsiteX1560" fmla="*/ 1598291 w 1737195"/>
                <a:gd name="connsiteY1560" fmla="*/ 700093 h 943041"/>
                <a:gd name="connsiteX1561" fmla="*/ 1599985 w 1737195"/>
                <a:gd name="connsiteY1561" fmla="*/ 697606 h 943041"/>
                <a:gd name="connsiteX1562" fmla="*/ 1601878 w 1737195"/>
                <a:gd name="connsiteY1562" fmla="*/ 696114 h 943041"/>
                <a:gd name="connsiteX1563" fmla="*/ 1615031 w 1737195"/>
                <a:gd name="connsiteY1563" fmla="*/ 696114 h 943041"/>
                <a:gd name="connsiteX1564" fmla="*/ 1617323 w 1737195"/>
                <a:gd name="connsiteY1564" fmla="*/ 698004 h 943041"/>
                <a:gd name="connsiteX1565" fmla="*/ 1617323 w 1737195"/>
                <a:gd name="connsiteY1565" fmla="*/ 696710 h 943041"/>
                <a:gd name="connsiteX1566" fmla="*/ 1618120 w 1737195"/>
                <a:gd name="connsiteY1566" fmla="*/ 693527 h 943041"/>
                <a:gd name="connsiteX1567" fmla="*/ 1620213 w 1737195"/>
                <a:gd name="connsiteY1567" fmla="*/ 696114 h 943041"/>
                <a:gd name="connsiteX1568" fmla="*/ 1622903 w 1737195"/>
                <a:gd name="connsiteY1568" fmla="*/ 697109 h 943041"/>
                <a:gd name="connsiteX1569" fmla="*/ 1624796 w 1737195"/>
                <a:gd name="connsiteY1569" fmla="*/ 696511 h 943041"/>
                <a:gd name="connsiteX1570" fmla="*/ 1624298 w 1737195"/>
                <a:gd name="connsiteY1570" fmla="*/ 694522 h 943041"/>
                <a:gd name="connsiteX1571" fmla="*/ 1625096 w 1737195"/>
                <a:gd name="connsiteY1571" fmla="*/ 693527 h 943041"/>
                <a:gd name="connsiteX1572" fmla="*/ 1629181 w 1737195"/>
                <a:gd name="connsiteY1572" fmla="*/ 694820 h 943041"/>
                <a:gd name="connsiteX1573" fmla="*/ 1630277 w 1737195"/>
                <a:gd name="connsiteY1573" fmla="*/ 694820 h 943041"/>
                <a:gd name="connsiteX1574" fmla="*/ 1630277 w 1737195"/>
                <a:gd name="connsiteY1574" fmla="*/ 693328 h 943041"/>
                <a:gd name="connsiteX1575" fmla="*/ 1629580 w 1737195"/>
                <a:gd name="connsiteY1575" fmla="*/ 691935 h 943041"/>
                <a:gd name="connsiteX1576" fmla="*/ 1628384 w 1737195"/>
                <a:gd name="connsiteY1576" fmla="*/ 690940 h 943041"/>
                <a:gd name="connsiteX1577" fmla="*/ 1627288 w 1737195"/>
                <a:gd name="connsiteY1577" fmla="*/ 690940 h 943041"/>
                <a:gd name="connsiteX1578" fmla="*/ 1627288 w 1737195"/>
                <a:gd name="connsiteY1578" fmla="*/ 686463 h 943041"/>
                <a:gd name="connsiteX1579" fmla="*/ 1628982 w 1737195"/>
                <a:gd name="connsiteY1579" fmla="*/ 686463 h 943041"/>
                <a:gd name="connsiteX1580" fmla="*/ 1632071 w 1737195"/>
                <a:gd name="connsiteY1580" fmla="*/ 686463 h 943041"/>
                <a:gd name="connsiteX1581" fmla="*/ 1633366 w 1737195"/>
                <a:gd name="connsiteY1581" fmla="*/ 686463 h 943041"/>
                <a:gd name="connsiteX1582" fmla="*/ 1631672 w 1737195"/>
                <a:gd name="connsiteY1582" fmla="*/ 683479 h 943041"/>
                <a:gd name="connsiteX1583" fmla="*/ 1633565 w 1737195"/>
                <a:gd name="connsiteY1583" fmla="*/ 683479 h 943041"/>
                <a:gd name="connsiteX1584" fmla="*/ 1637252 w 1737195"/>
                <a:gd name="connsiteY1584" fmla="*/ 684871 h 943041"/>
                <a:gd name="connsiteX1585" fmla="*/ 1640341 w 1737195"/>
                <a:gd name="connsiteY1585" fmla="*/ 686762 h 943041"/>
                <a:gd name="connsiteX1586" fmla="*/ 1640341 w 1737195"/>
                <a:gd name="connsiteY1586" fmla="*/ 684474 h 943041"/>
                <a:gd name="connsiteX1587" fmla="*/ 1640341 w 1737195"/>
                <a:gd name="connsiteY1587" fmla="*/ 683479 h 943041"/>
                <a:gd name="connsiteX1588" fmla="*/ 1645523 w 1737195"/>
                <a:gd name="connsiteY1588" fmla="*/ 683479 h 943041"/>
                <a:gd name="connsiteX1589" fmla="*/ 1646420 w 1737195"/>
                <a:gd name="connsiteY1589" fmla="*/ 682484 h 943041"/>
                <a:gd name="connsiteX1590" fmla="*/ 1646420 w 1737195"/>
                <a:gd name="connsiteY1590" fmla="*/ 682484 h 943041"/>
                <a:gd name="connsiteX1591" fmla="*/ 1646420 w 1737195"/>
                <a:gd name="connsiteY1591" fmla="*/ 683976 h 943041"/>
                <a:gd name="connsiteX1592" fmla="*/ 1647316 w 1737195"/>
                <a:gd name="connsiteY1592" fmla="*/ 684971 h 943041"/>
                <a:gd name="connsiteX1593" fmla="*/ 1649608 w 1737195"/>
                <a:gd name="connsiteY1593" fmla="*/ 684971 h 943041"/>
                <a:gd name="connsiteX1594" fmla="*/ 1654391 w 1737195"/>
                <a:gd name="connsiteY1594" fmla="*/ 684971 h 943041"/>
                <a:gd name="connsiteX1595" fmla="*/ 1654391 w 1737195"/>
                <a:gd name="connsiteY1595" fmla="*/ 684076 h 943041"/>
                <a:gd name="connsiteX1596" fmla="*/ 1650007 w 1737195"/>
                <a:gd name="connsiteY1596" fmla="*/ 680594 h 943041"/>
                <a:gd name="connsiteX1597" fmla="*/ 1652000 w 1737195"/>
                <a:gd name="connsiteY1597" fmla="*/ 679698 h 943041"/>
                <a:gd name="connsiteX1598" fmla="*/ 1653096 w 1737195"/>
                <a:gd name="connsiteY1598" fmla="*/ 679698 h 943041"/>
                <a:gd name="connsiteX1599" fmla="*/ 1654391 w 1737195"/>
                <a:gd name="connsiteY1599" fmla="*/ 679698 h 943041"/>
                <a:gd name="connsiteX1600" fmla="*/ 1653195 w 1737195"/>
                <a:gd name="connsiteY1600" fmla="*/ 677410 h 943041"/>
                <a:gd name="connsiteX1601" fmla="*/ 1651003 w 1737195"/>
                <a:gd name="connsiteY1601" fmla="*/ 675122 h 943041"/>
                <a:gd name="connsiteX1602" fmla="*/ 1648512 w 1737195"/>
                <a:gd name="connsiteY1602" fmla="*/ 673032 h 943041"/>
                <a:gd name="connsiteX1603" fmla="*/ 1646420 w 1737195"/>
                <a:gd name="connsiteY1603" fmla="*/ 671839 h 943041"/>
                <a:gd name="connsiteX1604" fmla="*/ 1648313 w 1737195"/>
                <a:gd name="connsiteY1604" fmla="*/ 670943 h 943041"/>
                <a:gd name="connsiteX1605" fmla="*/ 1651003 w 1737195"/>
                <a:gd name="connsiteY1605" fmla="*/ 672734 h 943041"/>
                <a:gd name="connsiteX1606" fmla="*/ 1653394 w 1737195"/>
                <a:gd name="connsiteY1606" fmla="*/ 673828 h 943041"/>
                <a:gd name="connsiteX1607" fmla="*/ 1654391 w 1737195"/>
                <a:gd name="connsiteY1607" fmla="*/ 670844 h 943041"/>
                <a:gd name="connsiteX1608" fmla="*/ 1658078 w 1737195"/>
                <a:gd name="connsiteY1608" fmla="*/ 674923 h 943041"/>
                <a:gd name="connsiteX1609" fmla="*/ 1663458 w 1737195"/>
                <a:gd name="connsiteY1609" fmla="*/ 675420 h 943041"/>
                <a:gd name="connsiteX1610" fmla="*/ 1686078 w 1737195"/>
                <a:gd name="connsiteY1610" fmla="*/ 672834 h 943041"/>
                <a:gd name="connsiteX1611" fmla="*/ 1688369 w 1737195"/>
                <a:gd name="connsiteY1611" fmla="*/ 671938 h 943041"/>
                <a:gd name="connsiteX1612" fmla="*/ 1690462 w 1737195"/>
                <a:gd name="connsiteY1612" fmla="*/ 670545 h 943041"/>
                <a:gd name="connsiteX1613" fmla="*/ 1692555 w 1737195"/>
                <a:gd name="connsiteY1613" fmla="*/ 668655 h 943041"/>
                <a:gd name="connsiteX1614" fmla="*/ 1689266 w 1737195"/>
                <a:gd name="connsiteY1614" fmla="*/ 668655 h 943041"/>
                <a:gd name="connsiteX1615" fmla="*/ 1689266 w 1737195"/>
                <a:gd name="connsiteY1615" fmla="*/ 666566 h 943041"/>
                <a:gd name="connsiteX1616" fmla="*/ 1691060 w 1737195"/>
                <a:gd name="connsiteY1616" fmla="*/ 663979 h 943041"/>
                <a:gd name="connsiteX1617" fmla="*/ 1693451 w 1737195"/>
                <a:gd name="connsiteY1617" fmla="*/ 661790 h 943041"/>
                <a:gd name="connsiteX1618" fmla="*/ 1697636 w 1737195"/>
                <a:gd name="connsiteY1618" fmla="*/ 659005 h 943041"/>
                <a:gd name="connsiteX1619" fmla="*/ 1700227 w 1737195"/>
                <a:gd name="connsiteY1619" fmla="*/ 658109 h 943041"/>
                <a:gd name="connsiteX1620" fmla="*/ 1702220 w 1737195"/>
                <a:gd name="connsiteY1620" fmla="*/ 658109 h 943041"/>
                <a:gd name="connsiteX1621" fmla="*/ 1702220 w 1737195"/>
                <a:gd name="connsiteY1621" fmla="*/ 660099 h 943041"/>
                <a:gd name="connsiteX1622" fmla="*/ 1704313 w 1737195"/>
                <a:gd name="connsiteY1622" fmla="*/ 660099 h 943041"/>
                <a:gd name="connsiteX1623" fmla="*/ 1708198 w 1737195"/>
                <a:gd name="connsiteY1623" fmla="*/ 658806 h 943041"/>
                <a:gd name="connsiteX1624" fmla="*/ 1708198 w 1737195"/>
                <a:gd name="connsiteY1624" fmla="*/ 657910 h 943041"/>
                <a:gd name="connsiteX1625" fmla="*/ 1709195 w 1737195"/>
                <a:gd name="connsiteY1625" fmla="*/ 659104 h 943041"/>
                <a:gd name="connsiteX1626" fmla="*/ 1710191 w 1737195"/>
                <a:gd name="connsiteY1626" fmla="*/ 660796 h 943041"/>
                <a:gd name="connsiteX1627" fmla="*/ 1710989 w 1737195"/>
                <a:gd name="connsiteY1627" fmla="*/ 662785 h 943041"/>
                <a:gd name="connsiteX1628" fmla="*/ 1710989 w 1737195"/>
                <a:gd name="connsiteY1628" fmla="*/ 663979 h 943041"/>
                <a:gd name="connsiteX1629" fmla="*/ 1711487 w 1737195"/>
                <a:gd name="connsiteY1629" fmla="*/ 665074 h 943041"/>
                <a:gd name="connsiteX1630" fmla="*/ 1712683 w 1737195"/>
                <a:gd name="connsiteY1630" fmla="*/ 665969 h 943041"/>
                <a:gd name="connsiteX1631" fmla="*/ 1712683 w 1737195"/>
                <a:gd name="connsiteY1631" fmla="*/ 663979 h 943041"/>
                <a:gd name="connsiteX1632" fmla="*/ 1711587 w 1737195"/>
                <a:gd name="connsiteY1632" fmla="*/ 659602 h 943041"/>
                <a:gd name="connsiteX1633" fmla="*/ 1712184 w 1737195"/>
                <a:gd name="connsiteY1633" fmla="*/ 657115 h 943041"/>
                <a:gd name="connsiteX1634" fmla="*/ 1713480 w 1737195"/>
                <a:gd name="connsiteY1634" fmla="*/ 656219 h 943041"/>
                <a:gd name="connsiteX1635" fmla="*/ 1719259 w 1737195"/>
                <a:gd name="connsiteY1635" fmla="*/ 654926 h 943041"/>
                <a:gd name="connsiteX1636" fmla="*/ 1718362 w 1737195"/>
                <a:gd name="connsiteY1636" fmla="*/ 656518 h 943041"/>
                <a:gd name="connsiteX1637" fmla="*/ 1717466 w 1737195"/>
                <a:gd name="connsiteY1637" fmla="*/ 658010 h 943041"/>
                <a:gd name="connsiteX1638" fmla="*/ 1716369 w 1737195"/>
                <a:gd name="connsiteY1638" fmla="*/ 659204 h 943041"/>
                <a:gd name="connsiteX1639" fmla="*/ 1714975 w 1737195"/>
                <a:gd name="connsiteY1639" fmla="*/ 660398 h 943041"/>
                <a:gd name="connsiteX1640" fmla="*/ 1716669 w 1737195"/>
                <a:gd name="connsiteY1640" fmla="*/ 663581 h 943041"/>
                <a:gd name="connsiteX1641" fmla="*/ 1719160 w 1737195"/>
                <a:gd name="connsiteY1641" fmla="*/ 664278 h 943041"/>
                <a:gd name="connsiteX1642" fmla="*/ 1725338 w 1737195"/>
                <a:gd name="connsiteY1642" fmla="*/ 662586 h 943041"/>
                <a:gd name="connsiteX1643" fmla="*/ 1724440 w 1737195"/>
                <a:gd name="connsiteY1643" fmla="*/ 660398 h 943041"/>
                <a:gd name="connsiteX1644" fmla="*/ 1726334 w 1737195"/>
                <a:gd name="connsiteY1644" fmla="*/ 661194 h 943041"/>
                <a:gd name="connsiteX1645" fmla="*/ 1727131 w 1737195"/>
                <a:gd name="connsiteY1645" fmla="*/ 660696 h 943041"/>
                <a:gd name="connsiteX1646" fmla="*/ 1727131 w 1737195"/>
                <a:gd name="connsiteY1646" fmla="*/ 659303 h 943041"/>
                <a:gd name="connsiteX1647" fmla="*/ 1728028 w 1737195"/>
                <a:gd name="connsiteY1647" fmla="*/ 657711 h 943041"/>
                <a:gd name="connsiteX1648" fmla="*/ 1729024 w 1737195"/>
                <a:gd name="connsiteY1648" fmla="*/ 656816 h 943041"/>
                <a:gd name="connsiteX1649" fmla="*/ 1730021 w 1737195"/>
                <a:gd name="connsiteY1649" fmla="*/ 656816 h 943041"/>
                <a:gd name="connsiteX1650" fmla="*/ 1730918 w 1737195"/>
                <a:gd name="connsiteY1650" fmla="*/ 656816 h 943041"/>
                <a:gd name="connsiteX1651" fmla="*/ 1731914 w 1737195"/>
                <a:gd name="connsiteY1651" fmla="*/ 655423 h 943041"/>
                <a:gd name="connsiteX1652" fmla="*/ 1731017 w 1737195"/>
                <a:gd name="connsiteY1652" fmla="*/ 654329 h 943041"/>
                <a:gd name="connsiteX1653" fmla="*/ 1730320 w 1737195"/>
                <a:gd name="connsiteY1653" fmla="*/ 653235 h 943041"/>
                <a:gd name="connsiteX1654" fmla="*/ 1729224 w 1737195"/>
                <a:gd name="connsiteY1654" fmla="*/ 650946 h 943041"/>
                <a:gd name="connsiteX1655" fmla="*/ 1730519 w 1737195"/>
                <a:gd name="connsiteY1655" fmla="*/ 651842 h 943041"/>
                <a:gd name="connsiteX1656" fmla="*/ 1733010 w 1737195"/>
                <a:gd name="connsiteY1656" fmla="*/ 651842 h 943041"/>
                <a:gd name="connsiteX1657" fmla="*/ 1734505 w 1737195"/>
                <a:gd name="connsiteY1657" fmla="*/ 651842 h 943041"/>
                <a:gd name="connsiteX1658" fmla="*/ 1735402 w 1737195"/>
                <a:gd name="connsiteY1658" fmla="*/ 652936 h 943041"/>
                <a:gd name="connsiteX1659" fmla="*/ 1735402 w 1737195"/>
                <a:gd name="connsiteY1659" fmla="*/ 654329 h 943041"/>
                <a:gd name="connsiteX1660" fmla="*/ 1735402 w 1737195"/>
                <a:gd name="connsiteY1660" fmla="*/ 655224 h 943041"/>
                <a:gd name="connsiteX1661" fmla="*/ 1737195 w 1737195"/>
                <a:gd name="connsiteY1661" fmla="*/ 655224 h 943041"/>
                <a:gd name="connsiteX1662" fmla="*/ 1736697 w 1737195"/>
                <a:gd name="connsiteY1662" fmla="*/ 652638 h 943041"/>
                <a:gd name="connsiteX1663" fmla="*/ 1736697 w 1737195"/>
                <a:gd name="connsiteY1663" fmla="*/ 650449 h 943041"/>
                <a:gd name="connsiteX1664" fmla="*/ 1736697 w 1737195"/>
                <a:gd name="connsiteY1664" fmla="*/ 648459 h 943041"/>
                <a:gd name="connsiteX1665" fmla="*/ 1735302 w 1737195"/>
                <a:gd name="connsiteY1665" fmla="*/ 646469 h 943041"/>
                <a:gd name="connsiteX1666" fmla="*/ 1733209 w 1737195"/>
                <a:gd name="connsiteY1666" fmla="*/ 645375 h 943041"/>
                <a:gd name="connsiteX1667" fmla="*/ 1722647 w 1737195"/>
                <a:gd name="connsiteY1667" fmla="*/ 643883 h 943041"/>
                <a:gd name="connsiteX1668" fmla="*/ 1717864 w 1737195"/>
                <a:gd name="connsiteY1668" fmla="*/ 642291 h 943041"/>
                <a:gd name="connsiteX1669" fmla="*/ 1715672 w 1737195"/>
                <a:gd name="connsiteY1669" fmla="*/ 642291 h 943041"/>
                <a:gd name="connsiteX1670" fmla="*/ 1675814 w 1737195"/>
                <a:gd name="connsiteY1670" fmla="*/ 643087 h 943041"/>
                <a:gd name="connsiteX1671" fmla="*/ 1674420 w 1737195"/>
                <a:gd name="connsiteY1671" fmla="*/ 642191 h 943041"/>
                <a:gd name="connsiteX1672" fmla="*/ 1671729 w 1737195"/>
                <a:gd name="connsiteY1672" fmla="*/ 639008 h 943041"/>
                <a:gd name="connsiteX1673" fmla="*/ 1678505 w 1737195"/>
                <a:gd name="connsiteY1673" fmla="*/ 636222 h 943041"/>
                <a:gd name="connsiteX1674" fmla="*/ 1680099 w 1737195"/>
                <a:gd name="connsiteY1674" fmla="*/ 635128 h 943041"/>
                <a:gd name="connsiteX1675" fmla="*/ 1681494 w 1737195"/>
                <a:gd name="connsiteY1675" fmla="*/ 633735 h 943041"/>
                <a:gd name="connsiteX1676" fmla="*/ 1683786 w 1737195"/>
                <a:gd name="connsiteY1676" fmla="*/ 632044 h 943041"/>
                <a:gd name="connsiteX1677" fmla="*/ 1685580 w 1737195"/>
                <a:gd name="connsiteY1677" fmla="*/ 631546 h 943041"/>
                <a:gd name="connsiteX1678" fmla="*/ 1685580 w 1737195"/>
                <a:gd name="connsiteY1678" fmla="*/ 633536 h 943041"/>
                <a:gd name="connsiteX1679" fmla="*/ 1688171 w 1737195"/>
                <a:gd name="connsiteY1679" fmla="*/ 632740 h 943041"/>
                <a:gd name="connsiteX1680" fmla="*/ 1698932 w 1737195"/>
                <a:gd name="connsiteY1680" fmla="*/ 627965 h 943041"/>
                <a:gd name="connsiteX1681" fmla="*/ 1704711 w 1737195"/>
                <a:gd name="connsiteY1681" fmla="*/ 626771 h 943041"/>
                <a:gd name="connsiteX1682" fmla="*/ 1706206 w 1737195"/>
                <a:gd name="connsiteY1682" fmla="*/ 624383 h 943041"/>
                <a:gd name="connsiteX1683" fmla="*/ 1706206 w 1737195"/>
                <a:gd name="connsiteY1683" fmla="*/ 620702 h 943041"/>
                <a:gd name="connsiteX1684" fmla="*/ 1706206 w 1737195"/>
                <a:gd name="connsiteY1684" fmla="*/ 618314 h 943041"/>
                <a:gd name="connsiteX1685" fmla="*/ 1706206 w 1737195"/>
                <a:gd name="connsiteY1685" fmla="*/ 618314 h 943041"/>
                <a:gd name="connsiteX1686" fmla="*/ 1705309 w 1737195"/>
                <a:gd name="connsiteY1686" fmla="*/ 618314 h 943041"/>
                <a:gd name="connsiteX1687" fmla="*/ 1703316 w 1737195"/>
                <a:gd name="connsiteY1687" fmla="*/ 617618 h 943041"/>
                <a:gd name="connsiteX1688" fmla="*/ 1695644 w 1737195"/>
                <a:gd name="connsiteY1688" fmla="*/ 612743 h 943041"/>
                <a:gd name="connsiteX1689" fmla="*/ 1693751 w 1737195"/>
                <a:gd name="connsiteY1689" fmla="*/ 611052 h 943041"/>
                <a:gd name="connsiteX1690" fmla="*/ 1692056 w 1737195"/>
                <a:gd name="connsiteY1690" fmla="*/ 608266 h 943041"/>
                <a:gd name="connsiteX1691" fmla="*/ 1691160 w 1737195"/>
                <a:gd name="connsiteY1691" fmla="*/ 607072 h 943041"/>
                <a:gd name="connsiteX1692" fmla="*/ 1689765 w 1737195"/>
                <a:gd name="connsiteY1692" fmla="*/ 607072 h 943041"/>
                <a:gd name="connsiteX1693" fmla="*/ 1687971 w 1737195"/>
                <a:gd name="connsiteY1693" fmla="*/ 602098 h 943041"/>
                <a:gd name="connsiteX1694" fmla="*/ 1685978 w 1737195"/>
                <a:gd name="connsiteY1694" fmla="*/ 598616 h 943041"/>
                <a:gd name="connsiteX1695" fmla="*/ 1683786 w 1737195"/>
                <a:gd name="connsiteY1695" fmla="*/ 597124 h 943041"/>
                <a:gd name="connsiteX1696" fmla="*/ 1681195 w 1737195"/>
                <a:gd name="connsiteY1696" fmla="*/ 595930 h 943041"/>
                <a:gd name="connsiteX1697" fmla="*/ 1677010 w 1737195"/>
                <a:gd name="connsiteY1697" fmla="*/ 590557 h 943041"/>
                <a:gd name="connsiteX1698" fmla="*/ 1674220 w 1737195"/>
                <a:gd name="connsiteY1698" fmla="*/ 589364 h 943041"/>
                <a:gd name="connsiteX1699" fmla="*/ 1668540 w 1737195"/>
                <a:gd name="connsiteY1699" fmla="*/ 589364 h 943041"/>
                <a:gd name="connsiteX1700" fmla="*/ 1665949 w 1737195"/>
                <a:gd name="connsiteY1700" fmla="*/ 590259 h 943041"/>
                <a:gd name="connsiteX1701" fmla="*/ 1663758 w 1737195"/>
                <a:gd name="connsiteY1701" fmla="*/ 592050 h 943041"/>
                <a:gd name="connsiteX1702" fmla="*/ 1663060 w 1737195"/>
                <a:gd name="connsiteY1702" fmla="*/ 593542 h 943041"/>
                <a:gd name="connsiteX1703" fmla="*/ 1663060 w 1737195"/>
                <a:gd name="connsiteY1703" fmla="*/ 595134 h 943041"/>
                <a:gd name="connsiteX1704" fmla="*/ 1662362 w 1737195"/>
                <a:gd name="connsiteY1704" fmla="*/ 596427 h 943041"/>
                <a:gd name="connsiteX1705" fmla="*/ 1660669 w 1737195"/>
                <a:gd name="connsiteY1705" fmla="*/ 596925 h 943041"/>
                <a:gd name="connsiteX1706" fmla="*/ 1659772 w 1737195"/>
                <a:gd name="connsiteY1706" fmla="*/ 596925 h 943041"/>
                <a:gd name="connsiteX1707" fmla="*/ 1658974 w 1737195"/>
                <a:gd name="connsiteY1707" fmla="*/ 598118 h 943041"/>
                <a:gd name="connsiteX1708" fmla="*/ 1658974 w 1737195"/>
                <a:gd name="connsiteY1708" fmla="*/ 599611 h 943041"/>
                <a:gd name="connsiteX1709" fmla="*/ 1658974 w 1737195"/>
                <a:gd name="connsiteY1709" fmla="*/ 600904 h 943041"/>
                <a:gd name="connsiteX1710" fmla="*/ 1656384 w 1737195"/>
                <a:gd name="connsiteY1710" fmla="*/ 599810 h 943041"/>
                <a:gd name="connsiteX1711" fmla="*/ 1655387 w 1737195"/>
                <a:gd name="connsiteY1711" fmla="*/ 598914 h 943041"/>
                <a:gd name="connsiteX1712" fmla="*/ 1655387 w 1737195"/>
                <a:gd name="connsiteY1712" fmla="*/ 596925 h 943041"/>
                <a:gd name="connsiteX1713" fmla="*/ 1657380 w 1737195"/>
                <a:gd name="connsiteY1713" fmla="*/ 596925 h 943041"/>
                <a:gd name="connsiteX1714" fmla="*/ 1658277 w 1737195"/>
                <a:gd name="connsiteY1714" fmla="*/ 596925 h 943041"/>
                <a:gd name="connsiteX1715" fmla="*/ 1656284 w 1737195"/>
                <a:gd name="connsiteY1715" fmla="*/ 595930 h 943041"/>
                <a:gd name="connsiteX1716" fmla="*/ 1654590 w 1737195"/>
                <a:gd name="connsiteY1716" fmla="*/ 596825 h 943041"/>
                <a:gd name="connsiteX1717" fmla="*/ 1652896 w 1737195"/>
                <a:gd name="connsiteY1717" fmla="*/ 598317 h 943041"/>
                <a:gd name="connsiteX1718" fmla="*/ 1650903 w 1737195"/>
                <a:gd name="connsiteY1718" fmla="*/ 599113 h 943041"/>
                <a:gd name="connsiteX1719" fmla="*/ 1647914 w 1737195"/>
                <a:gd name="connsiteY1719" fmla="*/ 599113 h 943041"/>
                <a:gd name="connsiteX1720" fmla="*/ 1645622 w 1737195"/>
                <a:gd name="connsiteY1720" fmla="*/ 598417 h 943041"/>
                <a:gd name="connsiteX1721" fmla="*/ 1636854 w 1737195"/>
                <a:gd name="connsiteY1721" fmla="*/ 594338 h 943041"/>
                <a:gd name="connsiteX1722" fmla="*/ 1635458 w 1737195"/>
                <a:gd name="connsiteY1722" fmla="*/ 593244 h 943041"/>
                <a:gd name="connsiteX1723" fmla="*/ 1633565 w 1737195"/>
                <a:gd name="connsiteY1723" fmla="*/ 591154 h 943041"/>
                <a:gd name="connsiteX1724" fmla="*/ 1631572 w 1737195"/>
                <a:gd name="connsiteY1724" fmla="*/ 589761 h 943041"/>
                <a:gd name="connsiteX1725" fmla="*/ 1626590 w 1737195"/>
                <a:gd name="connsiteY1725" fmla="*/ 587871 h 943041"/>
                <a:gd name="connsiteX1726" fmla="*/ 1624298 w 1737195"/>
                <a:gd name="connsiteY1726" fmla="*/ 586081 h 943041"/>
                <a:gd name="connsiteX1727" fmla="*/ 1625295 w 1737195"/>
                <a:gd name="connsiteY1727" fmla="*/ 583295 h 943041"/>
                <a:gd name="connsiteX1728" fmla="*/ 1625295 w 1737195"/>
                <a:gd name="connsiteY1728" fmla="*/ 580609 h 943041"/>
                <a:gd name="connsiteX1729" fmla="*/ 1622605 w 1737195"/>
                <a:gd name="connsiteY1729" fmla="*/ 572650 h 943041"/>
                <a:gd name="connsiteX1730" fmla="*/ 1621209 w 1737195"/>
                <a:gd name="connsiteY1730" fmla="*/ 565785 h 943041"/>
                <a:gd name="connsiteX1731" fmla="*/ 1621209 w 1737195"/>
                <a:gd name="connsiteY1731" fmla="*/ 562402 h 943041"/>
                <a:gd name="connsiteX1732" fmla="*/ 1621907 w 1737195"/>
                <a:gd name="connsiteY1732" fmla="*/ 560910 h 943041"/>
                <a:gd name="connsiteX1733" fmla="*/ 1623302 w 1737195"/>
                <a:gd name="connsiteY1733" fmla="*/ 560015 h 943041"/>
                <a:gd name="connsiteX1734" fmla="*/ 1624298 w 1737195"/>
                <a:gd name="connsiteY1734" fmla="*/ 559020 h 943041"/>
                <a:gd name="connsiteX1735" fmla="*/ 1624298 w 1737195"/>
                <a:gd name="connsiteY1735" fmla="*/ 557329 h 943041"/>
                <a:gd name="connsiteX1736" fmla="*/ 1622903 w 1737195"/>
                <a:gd name="connsiteY1736" fmla="*/ 556234 h 943041"/>
                <a:gd name="connsiteX1737" fmla="*/ 1621309 w 1737195"/>
                <a:gd name="connsiteY1737" fmla="*/ 556234 h 943041"/>
                <a:gd name="connsiteX1738" fmla="*/ 1618120 w 1737195"/>
                <a:gd name="connsiteY1738" fmla="*/ 557428 h 943041"/>
                <a:gd name="connsiteX1739" fmla="*/ 1613138 w 1737195"/>
                <a:gd name="connsiteY1739" fmla="*/ 560512 h 943041"/>
                <a:gd name="connsiteX1740" fmla="*/ 1604071 w 1737195"/>
                <a:gd name="connsiteY1740" fmla="*/ 569367 h 943041"/>
                <a:gd name="connsiteX1741" fmla="*/ 1577465 w 1737195"/>
                <a:gd name="connsiteY1741" fmla="*/ 586180 h 943041"/>
                <a:gd name="connsiteX1742" fmla="*/ 1558932 w 1737195"/>
                <a:gd name="connsiteY1742" fmla="*/ 590160 h 943041"/>
                <a:gd name="connsiteX1743" fmla="*/ 1555743 w 1737195"/>
                <a:gd name="connsiteY1743" fmla="*/ 594040 h 943041"/>
                <a:gd name="connsiteX1744" fmla="*/ 1560427 w 1737195"/>
                <a:gd name="connsiteY1744" fmla="*/ 590856 h 943041"/>
                <a:gd name="connsiteX1745" fmla="*/ 1563117 w 1737195"/>
                <a:gd name="connsiteY1745" fmla="*/ 590060 h 943041"/>
                <a:gd name="connsiteX1746" fmla="*/ 1564612 w 1737195"/>
                <a:gd name="connsiteY1746" fmla="*/ 590060 h 943041"/>
                <a:gd name="connsiteX1747" fmla="*/ 1565807 w 1737195"/>
                <a:gd name="connsiteY1747" fmla="*/ 591552 h 943041"/>
                <a:gd name="connsiteX1748" fmla="*/ 1563914 w 1737195"/>
                <a:gd name="connsiteY1748" fmla="*/ 593343 h 943041"/>
                <a:gd name="connsiteX1749" fmla="*/ 1561025 w 1737195"/>
                <a:gd name="connsiteY1749" fmla="*/ 594835 h 943041"/>
                <a:gd name="connsiteX1750" fmla="*/ 1558732 w 1737195"/>
                <a:gd name="connsiteY1750" fmla="*/ 595432 h 943041"/>
                <a:gd name="connsiteX1751" fmla="*/ 1556540 w 1737195"/>
                <a:gd name="connsiteY1751" fmla="*/ 596427 h 943041"/>
                <a:gd name="connsiteX1752" fmla="*/ 1552056 w 1737195"/>
                <a:gd name="connsiteY1752" fmla="*/ 601004 h 943041"/>
                <a:gd name="connsiteX1753" fmla="*/ 1549167 w 1737195"/>
                <a:gd name="connsiteY1753" fmla="*/ 601998 h 943041"/>
                <a:gd name="connsiteX1754" fmla="*/ 1547174 w 1737195"/>
                <a:gd name="connsiteY1754" fmla="*/ 600904 h 943041"/>
                <a:gd name="connsiteX1755" fmla="*/ 1547971 w 1737195"/>
                <a:gd name="connsiteY1755" fmla="*/ 598317 h 943041"/>
                <a:gd name="connsiteX1756" fmla="*/ 1551359 w 1737195"/>
                <a:gd name="connsiteY1756" fmla="*/ 593244 h 943041"/>
                <a:gd name="connsiteX1757" fmla="*/ 1548967 w 1737195"/>
                <a:gd name="connsiteY1757" fmla="*/ 593244 h 943041"/>
                <a:gd name="connsiteX1758" fmla="*/ 1546974 w 1737195"/>
                <a:gd name="connsiteY1758" fmla="*/ 593244 h 943041"/>
                <a:gd name="connsiteX1759" fmla="*/ 1544981 w 1737195"/>
                <a:gd name="connsiteY1759" fmla="*/ 593244 h 943041"/>
                <a:gd name="connsiteX1760" fmla="*/ 1542590 w 1737195"/>
                <a:gd name="connsiteY1760" fmla="*/ 592547 h 943041"/>
                <a:gd name="connsiteX1761" fmla="*/ 1541892 w 1737195"/>
                <a:gd name="connsiteY1761" fmla="*/ 591851 h 943041"/>
                <a:gd name="connsiteX1762" fmla="*/ 1540996 w 1737195"/>
                <a:gd name="connsiteY1762" fmla="*/ 590060 h 943041"/>
                <a:gd name="connsiteX1763" fmla="*/ 1539999 w 1737195"/>
                <a:gd name="connsiteY1763" fmla="*/ 589264 h 943041"/>
                <a:gd name="connsiteX1764" fmla="*/ 1538505 w 1737195"/>
                <a:gd name="connsiteY1764" fmla="*/ 588767 h 943041"/>
                <a:gd name="connsiteX1765" fmla="*/ 1535615 w 1737195"/>
                <a:gd name="connsiteY1765" fmla="*/ 588767 h 943041"/>
                <a:gd name="connsiteX1766" fmla="*/ 1534021 w 1737195"/>
                <a:gd name="connsiteY1766" fmla="*/ 588070 h 943041"/>
                <a:gd name="connsiteX1767" fmla="*/ 1532526 w 1737195"/>
                <a:gd name="connsiteY1767" fmla="*/ 589364 h 943041"/>
                <a:gd name="connsiteX1768" fmla="*/ 1530534 w 1737195"/>
                <a:gd name="connsiteY1768" fmla="*/ 589364 h 943041"/>
                <a:gd name="connsiteX1769" fmla="*/ 1528640 w 1737195"/>
                <a:gd name="connsiteY1769" fmla="*/ 589364 h 943041"/>
                <a:gd name="connsiteX1770" fmla="*/ 1527445 w 1737195"/>
                <a:gd name="connsiteY1770" fmla="*/ 589364 h 943041"/>
                <a:gd name="connsiteX1771" fmla="*/ 1526448 w 1737195"/>
                <a:gd name="connsiteY1771" fmla="*/ 591353 h 943041"/>
                <a:gd name="connsiteX1772" fmla="*/ 1526448 w 1737195"/>
                <a:gd name="connsiteY1772" fmla="*/ 593144 h 943041"/>
                <a:gd name="connsiteX1773" fmla="*/ 1527544 w 1737195"/>
                <a:gd name="connsiteY1773" fmla="*/ 594636 h 943041"/>
                <a:gd name="connsiteX1774" fmla="*/ 1529636 w 1737195"/>
                <a:gd name="connsiteY1774" fmla="*/ 595432 h 943041"/>
                <a:gd name="connsiteX1775" fmla="*/ 1528441 w 1737195"/>
                <a:gd name="connsiteY1775" fmla="*/ 597721 h 943041"/>
                <a:gd name="connsiteX1776" fmla="*/ 1526847 w 1737195"/>
                <a:gd name="connsiteY1776" fmla="*/ 597721 h 943041"/>
                <a:gd name="connsiteX1777" fmla="*/ 1524056 w 1737195"/>
                <a:gd name="connsiteY1777" fmla="*/ 594238 h 943041"/>
                <a:gd name="connsiteX1778" fmla="*/ 1522063 w 1737195"/>
                <a:gd name="connsiteY1778" fmla="*/ 593641 h 943041"/>
                <a:gd name="connsiteX1779" fmla="*/ 1520469 w 1737195"/>
                <a:gd name="connsiteY1779" fmla="*/ 595333 h 943041"/>
                <a:gd name="connsiteX1780" fmla="*/ 1517879 w 1737195"/>
                <a:gd name="connsiteY1780" fmla="*/ 599710 h 943041"/>
                <a:gd name="connsiteX1781" fmla="*/ 1516683 w 1737195"/>
                <a:gd name="connsiteY1781" fmla="*/ 600606 h 943041"/>
                <a:gd name="connsiteX1782" fmla="*/ 1516683 w 1737195"/>
                <a:gd name="connsiteY1782" fmla="*/ 598317 h 943041"/>
                <a:gd name="connsiteX1783" fmla="*/ 1518078 w 1737195"/>
                <a:gd name="connsiteY1783" fmla="*/ 593741 h 943041"/>
                <a:gd name="connsiteX1784" fmla="*/ 1516483 w 1737195"/>
                <a:gd name="connsiteY1784" fmla="*/ 592348 h 943041"/>
                <a:gd name="connsiteX1785" fmla="*/ 1514391 w 1737195"/>
                <a:gd name="connsiteY1785" fmla="*/ 592348 h 943041"/>
                <a:gd name="connsiteX1786" fmla="*/ 1512398 w 1737195"/>
                <a:gd name="connsiteY1786" fmla="*/ 593841 h 943041"/>
                <a:gd name="connsiteX1787" fmla="*/ 1511003 w 1737195"/>
                <a:gd name="connsiteY1787" fmla="*/ 595532 h 943041"/>
                <a:gd name="connsiteX1788" fmla="*/ 1511999 w 1737195"/>
                <a:gd name="connsiteY1788" fmla="*/ 592348 h 943041"/>
                <a:gd name="connsiteX1789" fmla="*/ 1513694 w 1737195"/>
                <a:gd name="connsiteY1789" fmla="*/ 590358 h 943041"/>
                <a:gd name="connsiteX1790" fmla="*/ 1516185 w 1737195"/>
                <a:gd name="connsiteY1790" fmla="*/ 589264 h 943041"/>
                <a:gd name="connsiteX1791" fmla="*/ 1522263 w 1737195"/>
                <a:gd name="connsiteY1791" fmla="*/ 588369 h 943041"/>
                <a:gd name="connsiteX1792" fmla="*/ 1531131 w 1737195"/>
                <a:gd name="connsiteY1792" fmla="*/ 583394 h 943041"/>
                <a:gd name="connsiteX1793" fmla="*/ 1529338 w 1737195"/>
                <a:gd name="connsiteY1793" fmla="*/ 581902 h 943041"/>
                <a:gd name="connsiteX1794" fmla="*/ 1527145 w 1737195"/>
                <a:gd name="connsiteY1794" fmla="*/ 580509 h 943041"/>
                <a:gd name="connsiteX1795" fmla="*/ 1524854 w 1737195"/>
                <a:gd name="connsiteY1795" fmla="*/ 579415 h 943041"/>
                <a:gd name="connsiteX1796" fmla="*/ 1522761 w 1737195"/>
                <a:gd name="connsiteY1796" fmla="*/ 579415 h 943041"/>
                <a:gd name="connsiteX1797" fmla="*/ 1518974 w 1737195"/>
                <a:gd name="connsiteY1797" fmla="*/ 579415 h 943041"/>
                <a:gd name="connsiteX1798" fmla="*/ 1517679 w 1737195"/>
                <a:gd name="connsiteY1798" fmla="*/ 578818 h 943041"/>
                <a:gd name="connsiteX1799" fmla="*/ 1515487 w 1737195"/>
                <a:gd name="connsiteY1799" fmla="*/ 577127 h 943041"/>
                <a:gd name="connsiteX1800" fmla="*/ 1517779 w 1737195"/>
                <a:gd name="connsiteY1800" fmla="*/ 576530 h 943041"/>
                <a:gd name="connsiteX1801" fmla="*/ 1520370 w 1737195"/>
                <a:gd name="connsiteY1801" fmla="*/ 576530 h 943041"/>
                <a:gd name="connsiteX1802" fmla="*/ 1523160 w 1737195"/>
                <a:gd name="connsiteY1802" fmla="*/ 576530 h 943041"/>
                <a:gd name="connsiteX1803" fmla="*/ 1525850 w 1737195"/>
                <a:gd name="connsiteY1803" fmla="*/ 574739 h 943041"/>
                <a:gd name="connsiteX1804" fmla="*/ 1522761 w 1737195"/>
                <a:gd name="connsiteY1804" fmla="*/ 574739 h 943041"/>
                <a:gd name="connsiteX1805" fmla="*/ 1516185 w 1737195"/>
                <a:gd name="connsiteY1805" fmla="*/ 575833 h 943041"/>
                <a:gd name="connsiteX1806" fmla="*/ 1512896 w 1737195"/>
                <a:gd name="connsiteY1806" fmla="*/ 575833 h 943041"/>
                <a:gd name="connsiteX1807" fmla="*/ 1494163 w 1737195"/>
                <a:gd name="connsiteY1807" fmla="*/ 572948 h 943041"/>
                <a:gd name="connsiteX1808" fmla="*/ 1487188 w 1737195"/>
                <a:gd name="connsiteY1808" fmla="*/ 570859 h 943041"/>
                <a:gd name="connsiteX1809" fmla="*/ 1471843 w 1737195"/>
                <a:gd name="connsiteY1809" fmla="*/ 568372 h 943041"/>
                <a:gd name="connsiteX1810" fmla="*/ 1469352 w 1737195"/>
                <a:gd name="connsiteY1810" fmla="*/ 569168 h 943041"/>
                <a:gd name="connsiteX1811" fmla="*/ 1473936 w 1737195"/>
                <a:gd name="connsiteY1811" fmla="*/ 571754 h 943041"/>
                <a:gd name="connsiteX1812" fmla="*/ 1475729 w 1737195"/>
                <a:gd name="connsiteY1812" fmla="*/ 573645 h 943041"/>
                <a:gd name="connsiteX1813" fmla="*/ 1476327 w 1737195"/>
                <a:gd name="connsiteY1813" fmla="*/ 576828 h 943041"/>
                <a:gd name="connsiteX1814" fmla="*/ 1474035 w 1737195"/>
                <a:gd name="connsiteY1814" fmla="*/ 576032 h 943041"/>
                <a:gd name="connsiteX1815" fmla="*/ 1471943 w 1737195"/>
                <a:gd name="connsiteY1815" fmla="*/ 576032 h 943041"/>
                <a:gd name="connsiteX1816" fmla="*/ 1469750 w 1737195"/>
                <a:gd name="connsiteY1816" fmla="*/ 576032 h 943041"/>
                <a:gd name="connsiteX1817" fmla="*/ 1467558 w 1737195"/>
                <a:gd name="connsiteY1817" fmla="*/ 576729 h 943041"/>
                <a:gd name="connsiteX1818" fmla="*/ 1460583 w 1737195"/>
                <a:gd name="connsiteY1818" fmla="*/ 580410 h 943041"/>
                <a:gd name="connsiteX1819" fmla="*/ 1458989 w 1737195"/>
                <a:gd name="connsiteY1819" fmla="*/ 580410 h 943041"/>
                <a:gd name="connsiteX1820" fmla="*/ 1458989 w 1737195"/>
                <a:gd name="connsiteY1820" fmla="*/ 579017 h 943041"/>
                <a:gd name="connsiteX1821" fmla="*/ 1459686 w 1737195"/>
                <a:gd name="connsiteY1821" fmla="*/ 577823 h 943041"/>
                <a:gd name="connsiteX1822" fmla="*/ 1461579 w 1737195"/>
                <a:gd name="connsiteY1822" fmla="*/ 576430 h 943041"/>
                <a:gd name="connsiteX1823" fmla="*/ 1461579 w 1737195"/>
                <a:gd name="connsiteY1823" fmla="*/ 575734 h 943041"/>
                <a:gd name="connsiteX1824" fmla="*/ 1461579 w 1737195"/>
                <a:gd name="connsiteY1824" fmla="*/ 574938 h 943041"/>
                <a:gd name="connsiteX1825" fmla="*/ 1461579 w 1737195"/>
                <a:gd name="connsiteY1825" fmla="*/ 574142 h 943041"/>
                <a:gd name="connsiteX1826" fmla="*/ 1460882 w 1737195"/>
                <a:gd name="connsiteY1826" fmla="*/ 574142 h 943041"/>
                <a:gd name="connsiteX1827" fmla="*/ 1460882 w 1737195"/>
                <a:gd name="connsiteY1827" fmla="*/ 574142 h 943041"/>
                <a:gd name="connsiteX1828" fmla="*/ 1460882 w 1737195"/>
                <a:gd name="connsiteY1828" fmla="*/ 574938 h 943041"/>
                <a:gd name="connsiteX1829" fmla="*/ 1460882 w 1737195"/>
                <a:gd name="connsiteY1829" fmla="*/ 576132 h 943041"/>
                <a:gd name="connsiteX1830" fmla="*/ 1458889 w 1737195"/>
                <a:gd name="connsiteY1830" fmla="*/ 576928 h 943041"/>
                <a:gd name="connsiteX1831" fmla="*/ 1453110 w 1737195"/>
                <a:gd name="connsiteY1831" fmla="*/ 580609 h 943041"/>
                <a:gd name="connsiteX1832" fmla="*/ 1453110 w 1737195"/>
                <a:gd name="connsiteY1832" fmla="*/ 577027 h 943041"/>
                <a:gd name="connsiteX1833" fmla="*/ 1451117 w 1737195"/>
                <a:gd name="connsiteY1833" fmla="*/ 578818 h 943041"/>
                <a:gd name="connsiteX1834" fmla="*/ 1450021 w 1737195"/>
                <a:gd name="connsiteY1834" fmla="*/ 579912 h 943041"/>
                <a:gd name="connsiteX1835" fmla="*/ 1450021 w 1737195"/>
                <a:gd name="connsiteY1835" fmla="*/ 581007 h 943041"/>
                <a:gd name="connsiteX1836" fmla="*/ 1450021 w 1737195"/>
                <a:gd name="connsiteY1836" fmla="*/ 582598 h 943041"/>
                <a:gd name="connsiteX1837" fmla="*/ 1449124 w 1737195"/>
                <a:gd name="connsiteY1837" fmla="*/ 582598 h 943041"/>
                <a:gd name="connsiteX1838" fmla="*/ 1448028 w 1737195"/>
                <a:gd name="connsiteY1838" fmla="*/ 581504 h 943041"/>
                <a:gd name="connsiteX1839" fmla="*/ 1446932 w 1737195"/>
                <a:gd name="connsiteY1839" fmla="*/ 580708 h 943041"/>
                <a:gd name="connsiteX1840" fmla="*/ 1441352 w 1737195"/>
                <a:gd name="connsiteY1840" fmla="*/ 579017 h 943041"/>
                <a:gd name="connsiteX1841" fmla="*/ 1435672 w 1737195"/>
                <a:gd name="connsiteY1841" fmla="*/ 577027 h 943041"/>
                <a:gd name="connsiteX1842" fmla="*/ 1434676 w 1737195"/>
                <a:gd name="connsiteY1842" fmla="*/ 574639 h 943041"/>
                <a:gd name="connsiteX1843" fmla="*/ 1438961 w 1737195"/>
                <a:gd name="connsiteY1843" fmla="*/ 575435 h 943041"/>
                <a:gd name="connsiteX1844" fmla="*/ 1444739 w 1737195"/>
                <a:gd name="connsiteY1844" fmla="*/ 574042 h 943041"/>
                <a:gd name="connsiteX1845" fmla="*/ 1450220 w 1737195"/>
                <a:gd name="connsiteY1845" fmla="*/ 571456 h 943041"/>
                <a:gd name="connsiteX1846" fmla="*/ 1453807 w 1737195"/>
                <a:gd name="connsiteY1846" fmla="*/ 569068 h 943041"/>
                <a:gd name="connsiteX1847" fmla="*/ 1450121 w 1737195"/>
                <a:gd name="connsiteY1847" fmla="*/ 567476 h 943041"/>
                <a:gd name="connsiteX1848" fmla="*/ 1446035 w 1737195"/>
                <a:gd name="connsiteY1848" fmla="*/ 568173 h 943041"/>
                <a:gd name="connsiteX1849" fmla="*/ 1441850 w 1737195"/>
                <a:gd name="connsiteY1849" fmla="*/ 569466 h 943041"/>
                <a:gd name="connsiteX1850" fmla="*/ 1438064 w 1737195"/>
                <a:gd name="connsiteY1850" fmla="*/ 570063 h 943041"/>
                <a:gd name="connsiteX1851" fmla="*/ 1436071 w 1737195"/>
                <a:gd name="connsiteY1851" fmla="*/ 570063 h 943041"/>
                <a:gd name="connsiteX1852" fmla="*/ 1432384 w 1737195"/>
                <a:gd name="connsiteY1852" fmla="*/ 568571 h 943041"/>
                <a:gd name="connsiteX1853" fmla="*/ 1430292 w 1737195"/>
                <a:gd name="connsiteY1853" fmla="*/ 568571 h 943041"/>
                <a:gd name="connsiteX1854" fmla="*/ 1430292 w 1737195"/>
                <a:gd name="connsiteY1854" fmla="*/ 568571 h 943041"/>
                <a:gd name="connsiteX1855" fmla="*/ 1429494 w 1737195"/>
                <a:gd name="connsiteY1855" fmla="*/ 570063 h 943041"/>
                <a:gd name="connsiteX1856" fmla="*/ 1428996 w 1737195"/>
                <a:gd name="connsiteY1856" fmla="*/ 570063 h 943041"/>
                <a:gd name="connsiteX1857" fmla="*/ 1428996 w 1737195"/>
                <a:gd name="connsiteY1857" fmla="*/ 570063 h 943041"/>
                <a:gd name="connsiteX1858" fmla="*/ 1428099 w 1737195"/>
                <a:gd name="connsiteY1858" fmla="*/ 569367 h 943041"/>
                <a:gd name="connsiteX1859" fmla="*/ 1427601 w 1737195"/>
                <a:gd name="connsiteY1859" fmla="*/ 569367 h 943041"/>
                <a:gd name="connsiteX1860" fmla="*/ 1425210 w 1737195"/>
                <a:gd name="connsiteY1860" fmla="*/ 569367 h 943041"/>
                <a:gd name="connsiteX1861" fmla="*/ 1424213 w 1737195"/>
                <a:gd name="connsiteY1861" fmla="*/ 569367 h 943041"/>
                <a:gd name="connsiteX1862" fmla="*/ 1423217 w 1737195"/>
                <a:gd name="connsiteY1862" fmla="*/ 568471 h 943041"/>
                <a:gd name="connsiteX1863" fmla="*/ 1420726 w 1737195"/>
                <a:gd name="connsiteY1863" fmla="*/ 569566 h 943041"/>
                <a:gd name="connsiteX1864" fmla="*/ 1418234 w 1737195"/>
                <a:gd name="connsiteY1864" fmla="*/ 568969 h 943041"/>
                <a:gd name="connsiteX1865" fmla="*/ 1417337 w 1737195"/>
                <a:gd name="connsiteY1865" fmla="*/ 567476 h 943041"/>
                <a:gd name="connsiteX1866" fmla="*/ 1419729 w 1737195"/>
                <a:gd name="connsiteY1866" fmla="*/ 566382 h 943041"/>
                <a:gd name="connsiteX1867" fmla="*/ 1422320 w 1737195"/>
                <a:gd name="connsiteY1867" fmla="*/ 566382 h 943041"/>
                <a:gd name="connsiteX1868" fmla="*/ 1426903 w 1737195"/>
                <a:gd name="connsiteY1868" fmla="*/ 567078 h 943041"/>
                <a:gd name="connsiteX1869" fmla="*/ 1429295 w 1737195"/>
                <a:gd name="connsiteY1869" fmla="*/ 566282 h 943041"/>
                <a:gd name="connsiteX1870" fmla="*/ 1428099 w 1737195"/>
                <a:gd name="connsiteY1870" fmla="*/ 564392 h 943041"/>
                <a:gd name="connsiteX1871" fmla="*/ 1424014 w 1737195"/>
                <a:gd name="connsiteY1871" fmla="*/ 562104 h 943041"/>
                <a:gd name="connsiteX1872" fmla="*/ 1422419 w 1737195"/>
                <a:gd name="connsiteY1872" fmla="*/ 560811 h 943041"/>
                <a:gd name="connsiteX1873" fmla="*/ 1424910 w 1737195"/>
                <a:gd name="connsiteY1873" fmla="*/ 560811 h 943041"/>
                <a:gd name="connsiteX1874" fmla="*/ 1429395 w 1737195"/>
                <a:gd name="connsiteY1874" fmla="*/ 561905 h 943041"/>
                <a:gd name="connsiteX1875" fmla="*/ 1431786 w 1737195"/>
                <a:gd name="connsiteY1875" fmla="*/ 561905 h 943041"/>
                <a:gd name="connsiteX1876" fmla="*/ 1427999 w 1737195"/>
                <a:gd name="connsiteY1876" fmla="*/ 558423 h 943041"/>
                <a:gd name="connsiteX1877" fmla="*/ 1421224 w 1737195"/>
                <a:gd name="connsiteY1877" fmla="*/ 557329 h 943041"/>
                <a:gd name="connsiteX1878" fmla="*/ 1408470 w 1737195"/>
                <a:gd name="connsiteY1878" fmla="*/ 558622 h 943041"/>
                <a:gd name="connsiteX1879" fmla="*/ 1403886 w 1737195"/>
                <a:gd name="connsiteY1879" fmla="*/ 560612 h 943041"/>
                <a:gd name="connsiteX1880" fmla="*/ 1402790 w 1737195"/>
                <a:gd name="connsiteY1880" fmla="*/ 560612 h 943041"/>
                <a:gd name="connsiteX1881" fmla="*/ 1401992 w 1737195"/>
                <a:gd name="connsiteY1881" fmla="*/ 559617 h 943041"/>
                <a:gd name="connsiteX1882" fmla="*/ 1400896 w 1737195"/>
                <a:gd name="connsiteY1882" fmla="*/ 558920 h 943041"/>
                <a:gd name="connsiteX1883" fmla="*/ 1400099 w 1737195"/>
                <a:gd name="connsiteY1883" fmla="*/ 558920 h 943041"/>
                <a:gd name="connsiteX1884" fmla="*/ 1400099 w 1737195"/>
                <a:gd name="connsiteY1884" fmla="*/ 560512 h 943041"/>
                <a:gd name="connsiteX1885" fmla="*/ 1400099 w 1737195"/>
                <a:gd name="connsiteY1885" fmla="*/ 562800 h 943041"/>
                <a:gd name="connsiteX1886" fmla="*/ 1400797 w 1737195"/>
                <a:gd name="connsiteY1886" fmla="*/ 563994 h 943041"/>
                <a:gd name="connsiteX1887" fmla="*/ 1400797 w 1737195"/>
                <a:gd name="connsiteY1887" fmla="*/ 564890 h 943041"/>
                <a:gd name="connsiteX1888" fmla="*/ 1399501 w 1737195"/>
                <a:gd name="connsiteY1888" fmla="*/ 566581 h 943041"/>
                <a:gd name="connsiteX1889" fmla="*/ 1398605 w 1737195"/>
                <a:gd name="connsiteY1889" fmla="*/ 567078 h 943041"/>
                <a:gd name="connsiteX1890" fmla="*/ 1398006 w 1737195"/>
                <a:gd name="connsiteY1890" fmla="*/ 566382 h 943041"/>
                <a:gd name="connsiteX1891" fmla="*/ 1398006 w 1737195"/>
                <a:gd name="connsiteY1891" fmla="*/ 564989 h 943041"/>
                <a:gd name="connsiteX1892" fmla="*/ 1398704 w 1737195"/>
                <a:gd name="connsiteY1892" fmla="*/ 563298 h 943041"/>
                <a:gd name="connsiteX1893" fmla="*/ 1395914 w 1737195"/>
                <a:gd name="connsiteY1893" fmla="*/ 562303 h 943041"/>
                <a:gd name="connsiteX1894" fmla="*/ 1390135 w 1737195"/>
                <a:gd name="connsiteY1894" fmla="*/ 564094 h 943041"/>
                <a:gd name="connsiteX1895" fmla="*/ 1387444 w 1737195"/>
                <a:gd name="connsiteY1895" fmla="*/ 563298 h 943041"/>
                <a:gd name="connsiteX1896" fmla="*/ 1388839 w 1737195"/>
                <a:gd name="connsiteY1896" fmla="*/ 562203 h 943041"/>
                <a:gd name="connsiteX1897" fmla="*/ 1391231 w 1737195"/>
                <a:gd name="connsiteY1897" fmla="*/ 560910 h 943041"/>
                <a:gd name="connsiteX1898" fmla="*/ 1392726 w 1737195"/>
                <a:gd name="connsiteY1898" fmla="*/ 559915 h 943041"/>
                <a:gd name="connsiteX1899" fmla="*/ 1390633 w 1737195"/>
                <a:gd name="connsiteY1899" fmla="*/ 558522 h 943041"/>
                <a:gd name="connsiteX1900" fmla="*/ 1387245 w 1737195"/>
                <a:gd name="connsiteY1900" fmla="*/ 557030 h 943041"/>
                <a:gd name="connsiteX1901" fmla="*/ 1383757 w 1737195"/>
                <a:gd name="connsiteY1901" fmla="*/ 556234 h 943041"/>
                <a:gd name="connsiteX1902" fmla="*/ 1381266 w 1737195"/>
                <a:gd name="connsiteY1902" fmla="*/ 556234 h 943041"/>
                <a:gd name="connsiteX1903" fmla="*/ 1380668 w 1737195"/>
                <a:gd name="connsiteY1903" fmla="*/ 552852 h 943041"/>
                <a:gd name="connsiteX1904" fmla="*/ 1378875 w 1737195"/>
                <a:gd name="connsiteY1904" fmla="*/ 550365 h 943041"/>
                <a:gd name="connsiteX1905" fmla="*/ 1376384 w 1737195"/>
                <a:gd name="connsiteY1905" fmla="*/ 548872 h 943041"/>
                <a:gd name="connsiteX1906" fmla="*/ 1373594 w 1737195"/>
                <a:gd name="connsiteY1906" fmla="*/ 548872 h 943041"/>
                <a:gd name="connsiteX1907" fmla="*/ 1373594 w 1737195"/>
                <a:gd name="connsiteY1907" fmla="*/ 544594 h 943041"/>
                <a:gd name="connsiteX1908" fmla="*/ 1369210 w 1737195"/>
                <a:gd name="connsiteY1908" fmla="*/ 541709 h 943041"/>
                <a:gd name="connsiteX1909" fmla="*/ 1355957 w 1737195"/>
                <a:gd name="connsiteY1909" fmla="*/ 537232 h 943041"/>
                <a:gd name="connsiteX1910" fmla="*/ 1354661 w 1737195"/>
                <a:gd name="connsiteY1910" fmla="*/ 537232 h 943041"/>
                <a:gd name="connsiteX1911" fmla="*/ 1353765 w 1737195"/>
                <a:gd name="connsiteY1911" fmla="*/ 537730 h 943041"/>
                <a:gd name="connsiteX1912" fmla="*/ 1352668 w 1737195"/>
                <a:gd name="connsiteY1912" fmla="*/ 538824 h 943041"/>
                <a:gd name="connsiteX1913" fmla="*/ 1351573 w 1737195"/>
                <a:gd name="connsiteY1913" fmla="*/ 539520 h 943041"/>
                <a:gd name="connsiteX1914" fmla="*/ 1351573 w 1737195"/>
                <a:gd name="connsiteY1914" fmla="*/ 539520 h 943041"/>
                <a:gd name="connsiteX1915" fmla="*/ 1350377 w 1737195"/>
                <a:gd name="connsiteY1915" fmla="*/ 537929 h 943041"/>
                <a:gd name="connsiteX1916" fmla="*/ 1346391 w 1737195"/>
                <a:gd name="connsiteY1916" fmla="*/ 534546 h 943041"/>
                <a:gd name="connsiteX1917" fmla="*/ 1345195 w 1737195"/>
                <a:gd name="connsiteY1917" fmla="*/ 532855 h 943041"/>
                <a:gd name="connsiteX1918" fmla="*/ 1346890 w 1737195"/>
                <a:gd name="connsiteY1918" fmla="*/ 532258 h 943041"/>
                <a:gd name="connsiteX1919" fmla="*/ 1346890 w 1737195"/>
                <a:gd name="connsiteY1919" fmla="*/ 530964 h 943041"/>
                <a:gd name="connsiteX1920" fmla="*/ 1346890 w 1737195"/>
                <a:gd name="connsiteY1920" fmla="*/ 529472 h 943041"/>
                <a:gd name="connsiteX1921" fmla="*/ 1346890 w 1737195"/>
                <a:gd name="connsiteY1921" fmla="*/ 528477 h 943041"/>
                <a:gd name="connsiteX1922" fmla="*/ 1347985 w 1737195"/>
                <a:gd name="connsiteY1922" fmla="*/ 528477 h 943041"/>
                <a:gd name="connsiteX1923" fmla="*/ 1367914 w 1737195"/>
                <a:gd name="connsiteY1923" fmla="*/ 529074 h 943041"/>
                <a:gd name="connsiteX1924" fmla="*/ 1369309 w 1737195"/>
                <a:gd name="connsiteY1924" fmla="*/ 529074 h 943041"/>
                <a:gd name="connsiteX1925" fmla="*/ 1370505 w 1737195"/>
                <a:gd name="connsiteY1925" fmla="*/ 528079 h 943041"/>
                <a:gd name="connsiteX1926" fmla="*/ 1372896 w 1737195"/>
                <a:gd name="connsiteY1926" fmla="*/ 525294 h 943041"/>
                <a:gd name="connsiteX1927" fmla="*/ 1373694 w 1737195"/>
                <a:gd name="connsiteY1927" fmla="*/ 524697 h 943041"/>
                <a:gd name="connsiteX1928" fmla="*/ 1379672 w 1737195"/>
                <a:gd name="connsiteY1928" fmla="*/ 523602 h 943041"/>
                <a:gd name="connsiteX1929" fmla="*/ 1382363 w 1737195"/>
                <a:gd name="connsiteY1929" fmla="*/ 522607 h 943041"/>
                <a:gd name="connsiteX1930" fmla="*/ 1385053 w 1737195"/>
                <a:gd name="connsiteY1930" fmla="*/ 520120 h 943041"/>
                <a:gd name="connsiteX1931" fmla="*/ 1382562 w 1737195"/>
                <a:gd name="connsiteY1931" fmla="*/ 517534 h 943041"/>
                <a:gd name="connsiteX1932" fmla="*/ 1379672 w 1737195"/>
                <a:gd name="connsiteY1932" fmla="*/ 516041 h 943041"/>
                <a:gd name="connsiteX1933" fmla="*/ 1369708 w 1737195"/>
                <a:gd name="connsiteY1933" fmla="*/ 513355 h 943041"/>
                <a:gd name="connsiteX1934" fmla="*/ 1363131 w 1737195"/>
                <a:gd name="connsiteY1934" fmla="*/ 509774 h 943041"/>
                <a:gd name="connsiteX1935" fmla="*/ 1359644 w 1737195"/>
                <a:gd name="connsiteY1935" fmla="*/ 509077 h 943041"/>
                <a:gd name="connsiteX1936" fmla="*/ 1353466 w 1737195"/>
                <a:gd name="connsiteY1936" fmla="*/ 509077 h 943041"/>
                <a:gd name="connsiteX1937" fmla="*/ 1351473 w 1737195"/>
                <a:gd name="connsiteY1937" fmla="*/ 509077 h 943041"/>
                <a:gd name="connsiteX1938" fmla="*/ 1349978 w 1737195"/>
                <a:gd name="connsiteY1938" fmla="*/ 509774 h 943041"/>
                <a:gd name="connsiteX1939" fmla="*/ 1346391 w 1737195"/>
                <a:gd name="connsiteY1939" fmla="*/ 512261 h 943041"/>
                <a:gd name="connsiteX1940" fmla="*/ 1345793 w 1737195"/>
                <a:gd name="connsiteY1940" fmla="*/ 512957 h 943041"/>
                <a:gd name="connsiteX1941" fmla="*/ 1343999 w 1737195"/>
                <a:gd name="connsiteY1941" fmla="*/ 511465 h 943041"/>
                <a:gd name="connsiteX1942" fmla="*/ 1343103 w 1737195"/>
                <a:gd name="connsiteY1942" fmla="*/ 510570 h 943041"/>
                <a:gd name="connsiteX1943" fmla="*/ 1342206 w 1737195"/>
                <a:gd name="connsiteY1943" fmla="*/ 508480 h 943041"/>
                <a:gd name="connsiteX1944" fmla="*/ 1341210 w 1737195"/>
                <a:gd name="connsiteY1944" fmla="*/ 509276 h 943041"/>
                <a:gd name="connsiteX1945" fmla="*/ 1340213 w 1737195"/>
                <a:gd name="connsiteY1945" fmla="*/ 510570 h 943041"/>
                <a:gd name="connsiteX1946" fmla="*/ 1340213 w 1737195"/>
                <a:gd name="connsiteY1946" fmla="*/ 511266 h 943041"/>
                <a:gd name="connsiteX1947" fmla="*/ 1337224 w 1737195"/>
                <a:gd name="connsiteY1947" fmla="*/ 511266 h 943041"/>
                <a:gd name="connsiteX1948" fmla="*/ 1335928 w 1737195"/>
                <a:gd name="connsiteY1948" fmla="*/ 511266 h 943041"/>
                <a:gd name="connsiteX1949" fmla="*/ 1334932 w 1737195"/>
                <a:gd name="connsiteY1949" fmla="*/ 509077 h 943041"/>
                <a:gd name="connsiteX1950" fmla="*/ 1335729 w 1737195"/>
                <a:gd name="connsiteY1950" fmla="*/ 507187 h 943041"/>
                <a:gd name="connsiteX1951" fmla="*/ 1332939 w 1737195"/>
                <a:gd name="connsiteY1951" fmla="*/ 504700 h 943041"/>
                <a:gd name="connsiteX1952" fmla="*/ 1326263 w 1737195"/>
                <a:gd name="connsiteY1952" fmla="*/ 501317 h 943041"/>
                <a:gd name="connsiteX1953" fmla="*/ 1324270 w 1737195"/>
                <a:gd name="connsiteY1953" fmla="*/ 500820 h 943041"/>
                <a:gd name="connsiteX1954" fmla="*/ 1312412 w 1737195"/>
                <a:gd name="connsiteY1954" fmla="*/ 501317 h 943041"/>
                <a:gd name="connsiteX1955" fmla="*/ 1311317 w 1737195"/>
                <a:gd name="connsiteY1955" fmla="*/ 501317 h 943041"/>
                <a:gd name="connsiteX1956" fmla="*/ 1310419 w 1737195"/>
                <a:gd name="connsiteY1956" fmla="*/ 501317 h 943041"/>
                <a:gd name="connsiteX1957" fmla="*/ 1309423 w 1737195"/>
                <a:gd name="connsiteY1957" fmla="*/ 501317 h 943041"/>
                <a:gd name="connsiteX1958" fmla="*/ 1308128 w 1737195"/>
                <a:gd name="connsiteY1958" fmla="*/ 501317 h 943041"/>
                <a:gd name="connsiteX1959" fmla="*/ 1307231 w 1737195"/>
                <a:gd name="connsiteY1959" fmla="*/ 501317 h 943041"/>
                <a:gd name="connsiteX1960" fmla="*/ 1305836 w 1737195"/>
                <a:gd name="connsiteY1960" fmla="*/ 499825 h 943041"/>
                <a:gd name="connsiteX1961" fmla="*/ 1305039 w 1737195"/>
                <a:gd name="connsiteY1961" fmla="*/ 499825 h 943041"/>
                <a:gd name="connsiteX1962" fmla="*/ 1291188 w 1737195"/>
                <a:gd name="connsiteY1962" fmla="*/ 499825 h 943041"/>
                <a:gd name="connsiteX1963" fmla="*/ 1288597 w 1737195"/>
                <a:gd name="connsiteY1963" fmla="*/ 500621 h 943041"/>
                <a:gd name="connsiteX1964" fmla="*/ 1285508 w 1737195"/>
                <a:gd name="connsiteY1964" fmla="*/ 502412 h 943041"/>
                <a:gd name="connsiteX1965" fmla="*/ 1284911 w 1737195"/>
                <a:gd name="connsiteY1965" fmla="*/ 493358 h 943041"/>
                <a:gd name="connsiteX1966" fmla="*/ 1286007 w 1737195"/>
                <a:gd name="connsiteY1966" fmla="*/ 490274 h 943041"/>
                <a:gd name="connsiteX1967" fmla="*/ 1289395 w 1737195"/>
                <a:gd name="connsiteY1967" fmla="*/ 489080 h 943041"/>
                <a:gd name="connsiteX1968" fmla="*/ 1290092 w 1737195"/>
                <a:gd name="connsiteY1968" fmla="*/ 486493 h 943041"/>
                <a:gd name="connsiteX1969" fmla="*/ 1288398 w 1737195"/>
                <a:gd name="connsiteY1969" fmla="*/ 481718 h 943041"/>
                <a:gd name="connsiteX1970" fmla="*/ 1285608 w 1737195"/>
                <a:gd name="connsiteY1970" fmla="*/ 478833 h 943041"/>
                <a:gd name="connsiteX1971" fmla="*/ 1282918 w 1737195"/>
                <a:gd name="connsiteY1971" fmla="*/ 482216 h 943041"/>
                <a:gd name="connsiteX1972" fmla="*/ 1283515 w 1737195"/>
                <a:gd name="connsiteY1972" fmla="*/ 483708 h 943041"/>
                <a:gd name="connsiteX1973" fmla="*/ 1281722 w 1737195"/>
                <a:gd name="connsiteY1973" fmla="*/ 484305 h 943041"/>
                <a:gd name="connsiteX1974" fmla="*/ 1276839 w 1737195"/>
                <a:gd name="connsiteY1974" fmla="*/ 484305 h 943041"/>
                <a:gd name="connsiteX1975" fmla="*/ 1274348 w 1737195"/>
                <a:gd name="connsiteY1975" fmla="*/ 485797 h 943041"/>
                <a:gd name="connsiteX1976" fmla="*/ 1273053 w 1737195"/>
                <a:gd name="connsiteY1976" fmla="*/ 486295 h 943041"/>
                <a:gd name="connsiteX1977" fmla="*/ 1272057 w 1737195"/>
                <a:gd name="connsiteY1977" fmla="*/ 486295 h 943041"/>
                <a:gd name="connsiteX1978" fmla="*/ 1271160 w 1737195"/>
                <a:gd name="connsiteY1978" fmla="*/ 485698 h 943041"/>
                <a:gd name="connsiteX1979" fmla="*/ 1269765 w 1737195"/>
                <a:gd name="connsiteY1979" fmla="*/ 485698 h 943041"/>
                <a:gd name="connsiteX1980" fmla="*/ 1267174 w 1737195"/>
                <a:gd name="connsiteY1980" fmla="*/ 485698 h 943041"/>
                <a:gd name="connsiteX1981" fmla="*/ 1269864 w 1737195"/>
                <a:gd name="connsiteY1981" fmla="*/ 484504 h 943041"/>
                <a:gd name="connsiteX1982" fmla="*/ 1272256 w 1737195"/>
                <a:gd name="connsiteY1982" fmla="*/ 484504 h 943041"/>
                <a:gd name="connsiteX1983" fmla="*/ 1274548 w 1737195"/>
                <a:gd name="connsiteY1983" fmla="*/ 483907 h 943041"/>
                <a:gd name="connsiteX1984" fmla="*/ 1276839 w 1737195"/>
                <a:gd name="connsiteY1984" fmla="*/ 481619 h 943041"/>
                <a:gd name="connsiteX1985" fmla="*/ 1277935 w 1737195"/>
                <a:gd name="connsiteY1985" fmla="*/ 479430 h 943041"/>
                <a:gd name="connsiteX1986" fmla="*/ 1278433 w 1737195"/>
                <a:gd name="connsiteY1986" fmla="*/ 477142 h 943041"/>
                <a:gd name="connsiteX1987" fmla="*/ 1278433 w 1737195"/>
                <a:gd name="connsiteY1987" fmla="*/ 471073 h 943041"/>
                <a:gd name="connsiteX1988" fmla="*/ 1277637 w 1737195"/>
                <a:gd name="connsiteY1988" fmla="*/ 468486 h 943041"/>
                <a:gd name="connsiteX1989" fmla="*/ 1275544 w 1737195"/>
                <a:gd name="connsiteY1989" fmla="*/ 465900 h 943041"/>
                <a:gd name="connsiteX1990" fmla="*/ 1273153 w 1737195"/>
                <a:gd name="connsiteY1990" fmla="*/ 463910 h 943041"/>
                <a:gd name="connsiteX1991" fmla="*/ 1271459 w 1737195"/>
                <a:gd name="connsiteY1991" fmla="*/ 462716 h 943041"/>
                <a:gd name="connsiteX1992" fmla="*/ 1271459 w 1737195"/>
                <a:gd name="connsiteY1992" fmla="*/ 462716 h 943041"/>
                <a:gd name="connsiteX1993" fmla="*/ 1270861 w 1737195"/>
                <a:gd name="connsiteY1993" fmla="*/ 463313 h 943041"/>
                <a:gd name="connsiteX1994" fmla="*/ 1270263 w 1737195"/>
                <a:gd name="connsiteY1994" fmla="*/ 463313 h 943041"/>
                <a:gd name="connsiteX1995" fmla="*/ 1269266 w 1737195"/>
                <a:gd name="connsiteY1995" fmla="*/ 463313 h 943041"/>
                <a:gd name="connsiteX1996" fmla="*/ 1268669 w 1737195"/>
                <a:gd name="connsiteY1996" fmla="*/ 462716 h 943041"/>
                <a:gd name="connsiteX1997" fmla="*/ 1267772 w 1737195"/>
                <a:gd name="connsiteY1997" fmla="*/ 461224 h 943041"/>
                <a:gd name="connsiteX1998" fmla="*/ 1267075 w 1737195"/>
                <a:gd name="connsiteY1998" fmla="*/ 461224 h 943041"/>
                <a:gd name="connsiteX1999" fmla="*/ 1267075 w 1737195"/>
                <a:gd name="connsiteY1999" fmla="*/ 461224 h 943041"/>
                <a:gd name="connsiteX2000" fmla="*/ 1267075 w 1737195"/>
                <a:gd name="connsiteY2000" fmla="*/ 460527 h 943041"/>
                <a:gd name="connsiteX2001" fmla="*/ 1267871 w 1737195"/>
                <a:gd name="connsiteY2001" fmla="*/ 459731 h 943041"/>
                <a:gd name="connsiteX2002" fmla="*/ 1268968 w 1737195"/>
                <a:gd name="connsiteY2002" fmla="*/ 459731 h 943041"/>
                <a:gd name="connsiteX2003" fmla="*/ 1270960 w 1737195"/>
                <a:gd name="connsiteY2003" fmla="*/ 458339 h 943041"/>
                <a:gd name="connsiteX2004" fmla="*/ 1270960 w 1737195"/>
                <a:gd name="connsiteY2004" fmla="*/ 455254 h 943041"/>
                <a:gd name="connsiteX2005" fmla="*/ 1269665 w 1737195"/>
                <a:gd name="connsiteY2005" fmla="*/ 452170 h 943041"/>
                <a:gd name="connsiteX2006" fmla="*/ 1268370 w 1737195"/>
                <a:gd name="connsiteY2006" fmla="*/ 450778 h 943041"/>
                <a:gd name="connsiteX2007" fmla="*/ 1266277 w 1737195"/>
                <a:gd name="connsiteY2007" fmla="*/ 449285 h 943041"/>
                <a:gd name="connsiteX2008" fmla="*/ 1266277 w 1737195"/>
                <a:gd name="connsiteY2008" fmla="*/ 446002 h 943041"/>
                <a:gd name="connsiteX2009" fmla="*/ 1267473 w 1737195"/>
                <a:gd name="connsiteY2009" fmla="*/ 439734 h 943041"/>
                <a:gd name="connsiteX2010" fmla="*/ 1268071 w 1737195"/>
                <a:gd name="connsiteY2010" fmla="*/ 433765 h 943041"/>
                <a:gd name="connsiteX2011" fmla="*/ 1268071 w 1737195"/>
                <a:gd name="connsiteY2011" fmla="*/ 430383 h 943041"/>
                <a:gd name="connsiteX2012" fmla="*/ 1267273 w 1737195"/>
                <a:gd name="connsiteY2012" fmla="*/ 427995 h 943041"/>
                <a:gd name="connsiteX2013" fmla="*/ 1264882 w 1737195"/>
                <a:gd name="connsiteY2013" fmla="*/ 426105 h 943041"/>
                <a:gd name="connsiteX2014" fmla="*/ 1262690 w 1737195"/>
                <a:gd name="connsiteY2014" fmla="*/ 426105 h 943041"/>
                <a:gd name="connsiteX2015" fmla="*/ 1261594 w 1737195"/>
                <a:gd name="connsiteY2015" fmla="*/ 427697 h 943041"/>
                <a:gd name="connsiteX2016" fmla="*/ 1262491 w 1737195"/>
                <a:gd name="connsiteY2016" fmla="*/ 430980 h 943041"/>
                <a:gd name="connsiteX2017" fmla="*/ 1256014 w 1737195"/>
                <a:gd name="connsiteY2017" fmla="*/ 426801 h 943041"/>
                <a:gd name="connsiteX2018" fmla="*/ 1252128 w 1737195"/>
                <a:gd name="connsiteY2018" fmla="*/ 426204 h 943041"/>
                <a:gd name="connsiteX2019" fmla="*/ 1250235 w 1737195"/>
                <a:gd name="connsiteY2019" fmla="*/ 429885 h 943041"/>
                <a:gd name="connsiteX2020" fmla="*/ 1249437 w 1737195"/>
                <a:gd name="connsiteY2020" fmla="*/ 429885 h 943041"/>
                <a:gd name="connsiteX2021" fmla="*/ 1249437 w 1737195"/>
                <a:gd name="connsiteY2021" fmla="*/ 425906 h 943041"/>
                <a:gd name="connsiteX2022" fmla="*/ 1251031 w 1737195"/>
                <a:gd name="connsiteY2022" fmla="*/ 423319 h 943041"/>
                <a:gd name="connsiteX2023" fmla="*/ 1253622 w 1737195"/>
                <a:gd name="connsiteY2023" fmla="*/ 422026 h 943041"/>
                <a:gd name="connsiteX2024" fmla="*/ 1256313 w 1737195"/>
                <a:gd name="connsiteY2024" fmla="*/ 422026 h 943041"/>
                <a:gd name="connsiteX2025" fmla="*/ 1249637 w 1737195"/>
                <a:gd name="connsiteY2025" fmla="*/ 415758 h 943041"/>
                <a:gd name="connsiteX2026" fmla="*/ 1247046 w 1737195"/>
                <a:gd name="connsiteY2026" fmla="*/ 412475 h 943041"/>
                <a:gd name="connsiteX2027" fmla="*/ 1244953 w 1737195"/>
                <a:gd name="connsiteY2027" fmla="*/ 408694 h 943041"/>
                <a:gd name="connsiteX2028" fmla="*/ 1243259 w 1737195"/>
                <a:gd name="connsiteY2028" fmla="*/ 404516 h 943041"/>
                <a:gd name="connsiteX2029" fmla="*/ 1242064 w 1737195"/>
                <a:gd name="connsiteY2029" fmla="*/ 400138 h 943041"/>
                <a:gd name="connsiteX2030" fmla="*/ 1242064 w 1737195"/>
                <a:gd name="connsiteY2030" fmla="*/ 395562 h 943041"/>
                <a:gd name="connsiteX2031" fmla="*/ 1243459 w 1737195"/>
                <a:gd name="connsiteY2031" fmla="*/ 390787 h 943041"/>
                <a:gd name="connsiteX2032" fmla="*/ 1248839 w 1737195"/>
                <a:gd name="connsiteY2032" fmla="*/ 383226 h 943041"/>
                <a:gd name="connsiteX2033" fmla="*/ 1253324 w 1737195"/>
                <a:gd name="connsiteY2033" fmla="*/ 380838 h 943041"/>
                <a:gd name="connsiteX2034" fmla="*/ 1254619 w 1737195"/>
                <a:gd name="connsiteY2034" fmla="*/ 379445 h 943041"/>
                <a:gd name="connsiteX2035" fmla="*/ 1254619 w 1737195"/>
                <a:gd name="connsiteY2035" fmla="*/ 374570 h 943041"/>
                <a:gd name="connsiteX2036" fmla="*/ 1252925 w 1737195"/>
                <a:gd name="connsiteY2036" fmla="*/ 370292 h 943041"/>
                <a:gd name="connsiteX2037" fmla="*/ 1252327 w 1737195"/>
                <a:gd name="connsiteY2037" fmla="*/ 366711 h 943041"/>
                <a:gd name="connsiteX2038" fmla="*/ 1255615 w 1737195"/>
                <a:gd name="connsiteY2038" fmla="*/ 363726 h 943041"/>
                <a:gd name="connsiteX2039" fmla="*/ 1252327 w 1737195"/>
                <a:gd name="connsiteY2039" fmla="*/ 362532 h 943041"/>
                <a:gd name="connsiteX2040" fmla="*/ 1241765 w 1737195"/>
                <a:gd name="connsiteY2040" fmla="*/ 361935 h 943041"/>
                <a:gd name="connsiteX2041" fmla="*/ 1238277 w 1737195"/>
                <a:gd name="connsiteY2041" fmla="*/ 362731 h 943041"/>
                <a:gd name="connsiteX2042" fmla="*/ 1236882 w 1737195"/>
                <a:gd name="connsiteY2042" fmla="*/ 364024 h 943041"/>
                <a:gd name="connsiteX2043" fmla="*/ 1235986 w 1737195"/>
                <a:gd name="connsiteY2043" fmla="*/ 365517 h 943041"/>
                <a:gd name="connsiteX2044" fmla="*/ 1234690 w 1737195"/>
                <a:gd name="connsiteY2044" fmla="*/ 366810 h 943041"/>
                <a:gd name="connsiteX2045" fmla="*/ 1232199 w 1737195"/>
                <a:gd name="connsiteY2045" fmla="*/ 366810 h 943041"/>
                <a:gd name="connsiteX2046" fmla="*/ 1230406 w 1737195"/>
                <a:gd name="connsiteY2046" fmla="*/ 366014 h 943041"/>
                <a:gd name="connsiteX2047" fmla="*/ 1228313 w 1737195"/>
                <a:gd name="connsiteY2047" fmla="*/ 362134 h 943041"/>
                <a:gd name="connsiteX2048" fmla="*/ 1226120 w 1737195"/>
                <a:gd name="connsiteY2048" fmla="*/ 361139 h 943041"/>
                <a:gd name="connsiteX2049" fmla="*/ 1222235 w 1737195"/>
                <a:gd name="connsiteY2049" fmla="*/ 361836 h 943041"/>
                <a:gd name="connsiteX2050" fmla="*/ 1211373 w 1737195"/>
                <a:gd name="connsiteY2050" fmla="*/ 367805 h 943041"/>
                <a:gd name="connsiteX2051" fmla="*/ 1204099 w 1737195"/>
                <a:gd name="connsiteY2051" fmla="*/ 368899 h 943041"/>
                <a:gd name="connsiteX2052" fmla="*/ 1203202 w 1737195"/>
                <a:gd name="connsiteY2052" fmla="*/ 368103 h 943041"/>
                <a:gd name="connsiteX2053" fmla="*/ 1203202 w 1737195"/>
                <a:gd name="connsiteY2053" fmla="*/ 366014 h 943041"/>
                <a:gd name="connsiteX2054" fmla="*/ 1203900 w 1737195"/>
                <a:gd name="connsiteY2054" fmla="*/ 363428 h 943041"/>
                <a:gd name="connsiteX2055" fmla="*/ 1203900 w 1737195"/>
                <a:gd name="connsiteY2055" fmla="*/ 361139 h 943041"/>
                <a:gd name="connsiteX2056" fmla="*/ 1198619 w 1737195"/>
                <a:gd name="connsiteY2056" fmla="*/ 363229 h 943041"/>
                <a:gd name="connsiteX2057" fmla="*/ 1193537 w 1737195"/>
                <a:gd name="connsiteY2057" fmla="*/ 363229 h 943041"/>
                <a:gd name="connsiteX2058" fmla="*/ 1183075 w 1737195"/>
                <a:gd name="connsiteY2058" fmla="*/ 362035 h 943041"/>
                <a:gd name="connsiteX2059" fmla="*/ 1183075 w 1737195"/>
                <a:gd name="connsiteY2059" fmla="*/ 360940 h 943041"/>
                <a:gd name="connsiteX2060" fmla="*/ 1187658 w 1737195"/>
                <a:gd name="connsiteY2060" fmla="*/ 359945 h 943041"/>
                <a:gd name="connsiteX2061" fmla="*/ 1214064 w 1737195"/>
                <a:gd name="connsiteY2061" fmla="*/ 343232 h 943041"/>
                <a:gd name="connsiteX2062" fmla="*/ 1216156 w 1737195"/>
                <a:gd name="connsiteY2062" fmla="*/ 340148 h 943041"/>
                <a:gd name="connsiteX2063" fmla="*/ 1217153 w 1737195"/>
                <a:gd name="connsiteY2063" fmla="*/ 337660 h 943041"/>
                <a:gd name="connsiteX2064" fmla="*/ 1221836 w 1737195"/>
                <a:gd name="connsiteY2064" fmla="*/ 335173 h 943041"/>
                <a:gd name="connsiteX2065" fmla="*/ 1224228 w 1737195"/>
                <a:gd name="connsiteY2065" fmla="*/ 331293 h 943041"/>
                <a:gd name="connsiteX2066" fmla="*/ 1227117 w 1737195"/>
                <a:gd name="connsiteY2066" fmla="*/ 330199 h 943041"/>
                <a:gd name="connsiteX2067" fmla="*/ 1232897 w 1737195"/>
                <a:gd name="connsiteY2067" fmla="*/ 329502 h 943041"/>
                <a:gd name="connsiteX2068" fmla="*/ 1234690 w 1737195"/>
                <a:gd name="connsiteY2068" fmla="*/ 328209 h 943041"/>
                <a:gd name="connsiteX2069" fmla="*/ 1234690 w 1737195"/>
                <a:gd name="connsiteY2069" fmla="*/ 325224 h 943041"/>
                <a:gd name="connsiteX2070" fmla="*/ 1234690 w 1737195"/>
                <a:gd name="connsiteY2070" fmla="*/ 322041 h 943041"/>
                <a:gd name="connsiteX2071" fmla="*/ 1234690 w 1737195"/>
                <a:gd name="connsiteY2071" fmla="*/ 319952 h 943041"/>
                <a:gd name="connsiteX2072" fmla="*/ 1236185 w 1737195"/>
                <a:gd name="connsiteY2072" fmla="*/ 317166 h 943041"/>
                <a:gd name="connsiteX2073" fmla="*/ 1237380 w 1737195"/>
                <a:gd name="connsiteY2073" fmla="*/ 314380 h 943041"/>
                <a:gd name="connsiteX2074" fmla="*/ 1238775 w 1737195"/>
                <a:gd name="connsiteY2074" fmla="*/ 311993 h 943041"/>
                <a:gd name="connsiteX2075" fmla="*/ 1241167 w 1737195"/>
                <a:gd name="connsiteY2075" fmla="*/ 310401 h 943041"/>
                <a:gd name="connsiteX2076" fmla="*/ 1241167 w 1737195"/>
                <a:gd name="connsiteY2076" fmla="*/ 311794 h 943041"/>
                <a:gd name="connsiteX2077" fmla="*/ 1241167 w 1737195"/>
                <a:gd name="connsiteY2077" fmla="*/ 313186 h 943041"/>
                <a:gd name="connsiteX2078" fmla="*/ 1241167 w 1737195"/>
                <a:gd name="connsiteY2078" fmla="*/ 314778 h 943041"/>
                <a:gd name="connsiteX2079" fmla="*/ 1241167 w 1737195"/>
                <a:gd name="connsiteY2079" fmla="*/ 316469 h 943041"/>
                <a:gd name="connsiteX2080" fmla="*/ 1241167 w 1737195"/>
                <a:gd name="connsiteY2080" fmla="*/ 318161 h 943041"/>
                <a:gd name="connsiteX2081" fmla="*/ 1243160 w 1737195"/>
                <a:gd name="connsiteY2081" fmla="*/ 307217 h 943041"/>
                <a:gd name="connsiteX2082" fmla="*/ 1246348 w 1737195"/>
                <a:gd name="connsiteY2082" fmla="*/ 296771 h 943041"/>
                <a:gd name="connsiteX2083" fmla="*/ 1243957 w 1737195"/>
                <a:gd name="connsiteY2083" fmla="*/ 298263 h 943041"/>
                <a:gd name="connsiteX2084" fmla="*/ 1242064 w 1737195"/>
                <a:gd name="connsiteY2084" fmla="*/ 299059 h 943041"/>
                <a:gd name="connsiteX2085" fmla="*/ 1240370 w 1737195"/>
                <a:gd name="connsiteY2085" fmla="*/ 300154 h 943041"/>
                <a:gd name="connsiteX2086" fmla="*/ 1238576 w 1737195"/>
                <a:gd name="connsiteY2086" fmla="*/ 302541 h 943041"/>
                <a:gd name="connsiteX2087" fmla="*/ 1239174 w 1737195"/>
                <a:gd name="connsiteY2087" fmla="*/ 299756 h 943041"/>
                <a:gd name="connsiteX2088" fmla="*/ 1243658 w 1737195"/>
                <a:gd name="connsiteY2088" fmla="*/ 294483 h 943041"/>
                <a:gd name="connsiteX2089" fmla="*/ 1245651 w 1737195"/>
                <a:gd name="connsiteY2089" fmla="*/ 291200 h 943041"/>
                <a:gd name="connsiteX2090" fmla="*/ 1241167 w 1737195"/>
                <a:gd name="connsiteY2090" fmla="*/ 291200 h 943041"/>
                <a:gd name="connsiteX2091" fmla="*/ 1242662 w 1737195"/>
                <a:gd name="connsiteY2091" fmla="*/ 288315 h 943041"/>
                <a:gd name="connsiteX2092" fmla="*/ 1242662 w 1737195"/>
                <a:gd name="connsiteY2092" fmla="*/ 287419 h 943041"/>
                <a:gd name="connsiteX2093" fmla="*/ 1242662 w 1737195"/>
                <a:gd name="connsiteY2093" fmla="*/ 286126 h 943041"/>
                <a:gd name="connsiteX2094" fmla="*/ 1242662 w 1737195"/>
                <a:gd name="connsiteY2094" fmla="*/ 284335 h 943041"/>
                <a:gd name="connsiteX2095" fmla="*/ 1243658 w 1737195"/>
                <a:gd name="connsiteY2095" fmla="*/ 283340 h 943041"/>
                <a:gd name="connsiteX2096" fmla="*/ 1244754 w 1737195"/>
                <a:gd name="connsiteY2096" fmla="*/ 283340 h 943041"/>
                <a:gd name="connsiteX2097" fmla="*/ 1245751 w 1737195"/>
                <a:gd name="connsiteY2097" fmla="*/ 282743 h 943041"/>
                <a:gd name="connsiteX2098" fmla="*/ 1250733 w 1737195"/>
                <a:gd name="connsiteY2098" fmla="*/ 277470 h 943041"/>
                <a:gd name="connsiteX2099" fmla="*/ 1252626 w 1737195"/>
                <a:gd name="connsiteY2099" fmla="*/ 274884 h 943041"/>
                <a:gd name="connsiteX2100" fmla="*/ 1254420 w 1737195"/>
                <a:gd name="connsiteY2100" fmla="*/ 271402 h 943041"/>
                <a:gd name="connsiteX2101" fmla="*/ 1253324 w 1737195"/>
                <a:gd name="connsiteY2101" fmla="*/ 270606 h 943041"/>
                <a:gd name="connsiteX2102" fmla="*/ 1253324 w 1737195"/>
                <a:gd name="connsiteY2102" fmla="*/ 269710 h 943041"/>
                <a:gd name="connsiteX2103" fmla="*/ 1253324 w 1737195"/>
                <a:gd name="connsiteY2103" fmla="*/ 268815 h 943041"/>
                <a:gd name="connsiteX2104" fmla="*/ 1254420 w 1737195"/>
                <a:gd name="connsiteY2104" fmla="*/ 267920 h 943041"/>
                <a:gd name="connsiteX2105" fmla="*/ 1253224 w 1737195"/>
                <a:gd name="connsiteY2105" fmla="*/ 266228 h 943041"/>
                <a:gd name="connsiteX2106" fmla="*/ 1253224 w 1737195"/>
                <a:gd name="connsiteY2106" fmla="*/ 265731 h 943041"/>
                <a:gd name="connsiteX2107" fmla="*/ 1255615 w 1737195"/>
                <a:gd name="connsiteY2107" fmla="*/ 264836 h 943041"/>
                <a:gd name="connsiteX2108" fmla="*/ 1258206 w 1737195"/>
                <a:gd name="connsiteY2108" fmla="*/ 264836 h 943041"/>
                <a:gd name="connsiteX2109" fmla="*/ 1260199 w 1737195"/>
                <a:gd name="connsiteY2109" fmla="*/ 264836 h 943041"/>
                <a:gd name="connsiteX2110" fmla="*/ 1260996 w 1737195"/>
                <a:gd name="connsiteY2110" fmla="*/ 262448 h 943041"/>
                <a:gd name="connsiteX2111" fmla="*/ 1262491 w 1737195"/>
                <a:gd name="connsiteY2111" fmla="*/ 262448 h 943041"/>
                <a:gd name="connsiteX2112" fmla="*/ 1269366 w 1737195"/>
                <a:gd name="connsiteY2112" fmla="*/ 258966 h 943041"/>
                <a:gd name="connsiteX2113" fmla="*/ 1271459 w 1737195"/>
                <a:gd name="connsiteY2113" fmla="*/ 257374 h 943041"/>
                <a:gd name="connsiteX2114" fmla="*/ 1269964 w 1737195"/>
                <a:gd name="connsiteY2114" fmla="*/ 255882 h 943041"/>
                <a:gd name="connsiteX2115" fmla="*/ 1265181 w 1737195"/>
                <a:gd name="connsiteY2115" fmla="*/ 252499 h 943041"/>
                <a:gd name="connsiteX2116" fmla="*/ 1263587 w 1737195"/>
                <a:gd name="connsiteY2116" fmla="*/ 251902 h 943041"/>
                <a:gd name="connsiteX2117" fmla="*/ 1262889 w 1737195"/>
                <a:gd name="connsiteY2117" fmla="*/ 251902 h 943041"/>
                <a:gd name="connsiteX2118" fmla="*/ 1260697 w 1737195"/>
                <a:gd name="connsiteY2118" fmla="*/ 253096 h 943041"/>
                <a:gd name="connsiteX2119" fmla="*/ 1260000 w 1737195"/>
                <a:gd name="connsiteY2119" fmla="*/ 253892 h 943041"/>
                <a:gd name="connsiteX2120" fmla="*/ 1260000 w 1737195"/>
                <a:gd name="connsiteY2120" fmla="*/ 254986 h 943041"/>
                <a:gd name="connsiteX2121" fmla="*/ 1260000 w 1737195"/>
                <a:gd name="connsiteY2121" fmla="*/ 257175 h 943041"/>
                <a:gd name="connsiteX2122" fmla="*/ 1260000 w 1737195"/>
                <a:gd name="connsiteY2122" fmla="*/ 258468 h 943041"/>
                <a:gd name="connsiteX2123" fmla="*/ 1260000 w 1737195"/>
                <a:gd name="connsiteY2123" fmla="*/ 258468 h 943041"/>
                <a:gd name="connsiteX2124" fmla="*/ 1260000 w 1737195"/>
                <a:gd name="connsiteY2124" fmla="*/ 258667 h 943041"/>
                <a:gd name="connsiteX2125" fmla="*/ 1259302 w 1737195"/>
                <a:gd name="connsiteY2125" fmla="*/ 259762 h 943041"/>
                <a:gd name="connsiteX2126" fmla="*/ 1257409 w 1737195"/>
                <a:gd name="connsiteY2126" fmla="*/ 259762 h 943041"/>
                <a:gd name="connsiteX2127" fmla="*/ 1257409 w 1737195"/>
                <a:gd name="connsiteY2127" fmla="*/ 258866 h 943041"/>
                <a:gd name="connsiteX2128" fmla="*/ 1257409 w 1737195"/>
                <a:gd name="connsiteY2128" fmla="*/ 256180 h 943041"/>
                <a:gd name="connsiteX2129" fmla="*/ 1257409 w 1737195"/>
                <a:gd name="connsiteY2129" fmla="*/ 255185 h 943041"/>
                <a:gd name="connsiteX2130" fmla="*/ 1255217 w 1737195"/>
                <a:gd name="connsiteY2130" fmla="*/ 253991 h 943041"/>
                <a:gd name="connsiteX2131" fmla="*/ 1250235 w 1737195"/>
                <a:gd name="connsiteY2131" fmla="*/ 253991 h 943041"/>
                <a:gd name="connsiteX2132" fmla="*/ 1247942 w 1737195"/>
                <a:gd name="connsiteY2132" fmla="*/ 253295 h 943041"/>
                <a:gd name="connsiteX2133" fmla="*/ 1247942 w 1737195"/>
                <a:gd name="connsiteY2133" fmla="*/ 252101 h 943041"/>
                <a:gd name="connsiteX2134" fmla="*/ 1254420 w 1737195"/>
                <a:gd name="connsiteY2134" fmla="*/ 252101 h 943041"/>
                <a:gd name="connsiteX2135" fmla="*/ 1256313 w 1737195"/>
                <a:gd name="connsiteY2135" fmla="*/ 248719 h 943041"/>
                <a:gd name="connsiteX2136" fmla="*/ 1256313 w 1737195"/>
                <a:gd name="connsiteY2136" fmla="*/ 245038 h 943041"/>
                <a:gd name="connsiteX2137" fmla="*/ 1254519 w 1737195"/>
                <a:gd name="connsiteY2137" fmla="*/ 242351 h 943041"/>
                <a:gd name="connsiteX2138" fmla="*/ 1251131 w 1737195"/>
                <a:gd name="connsiteY2138" fmla="*/ 241357 h 943041"/>
                <a:gd name="connsiteX2139" fmla="*/ 1247345 w 1737195"/>
                <a:gd name="connsiteY2139" fmla="*/ 241357 h 943041"/>
                <a:gd name="connsiteX2140" fmla="*/ 1241067 w 1737195"/>
                <a:gd name="connsiteY2140" fmla="*/ 242252 h 943041"/>
                <a:gd name="connsiteX2141" fmla="*/ 1230406 w 1737195"/>
                <a:gd name="connsiteY2141" fmla="*/ 245535 h 943041"/>
                <a:gd name="connsiteX2142" fmla="*/ 1224128 w 1737195"/>
                <a:gd name="connsiteY2142" fmla="*/ 246331 h 943041"/>
                <a:gd name="connsiteX2143" fmla="*/ 1221437 w 1737195"/>
                <a:gd name="connsiteY2143" fmla="*/ 247127 h 943041"/>
                <a:gd name="connsiteX2144" fmla="*/ 1219843 w 1737195"/>
                <a:gd name="connsiteY2144" fmla="*/ 247127 h 943041"/>
                <a:gd name="connsiteX2145" fmla="*/ 1222235 w 1737195"/>
                <a:gd name="connsiteY2145" fmla="*/ 243346 h 943041"/>
                <a:gd name="connsiteX2146" fmla="*/ 1232199 w 1737195"/>
                <a:gd name="connsiteY2146" fmla="*/ 236880 h 943041"/>
                <a:gd name="connsiteX2147" fmla="*/ 1226120 w 1737195"/>
                <a:gd name="connsiteY2147" fmla="*/ 235686 h 943041"/>
                <a:gd name="connsiteX2148" fmla="*/ 1202804 w 1737195"/>
                <a:gd name="connsiteY2148" fmla="*/ 240561 h 943041"/>
                <a:gd name="connsiteX2149" fmla="*/ 1192840 w 1737195"/>
                <a:gd name="connsiteY2149" fmla="*/ 246828 h 943041"/>
                <a:gd name="connsiteX2150" fmla="*/ 1182875 w 1737195"/>
                <a:gd name="connsiteY2150" fmla="*/ 250111 h 943041"/>
                <a:gd name="connsiteX2151" fmla="*/ 1173509 w 1737195"/>
                <a:gd name="connsiteY2151" fmla="*/ 259264 h 943041"/>
                <a:gd name="connsiteX2152" fmla="*/ 1168427 w 1737195"/>
                <a:gd name="connsiteY2152" fmla="*/ 263045 h 943041"/>
                <a:gd name="connsiteX2153" fmla="*/ 1165736 w 1737195"/>
                <a:gd name="connsiteY2153" fmla="*/ 263741 h 943041"/>
                <a:gd name="connsiteX2154" fmla="*/ 1157067 w 1737195"/>
                <a:gd name="connsiteY2154" fmla="*/ 263741 h 943041"/>
                <a:gd name="connsiteX2155" fmla="*/ 1153978 w 1737195"/>
                <a:gd name="connsiteY2155" fmla="*/ 265134 h 943041"/>
                <a:gd name="connsiteX2156" fmla="*/ 1152085 w 1737195"/>
                <a:gd name="connsiteY2156" fmla="*/ 267223 h 943041"/>
                <a:gd name="connsiteX2157" fmla="*/ 1148398 w 1737195"/>
                <a:gd name="connsiteY2157" fmla="*/ 272894 h 943041"/>
                <a:gd name="connsiteX2158" fmla="*/ 1147004 w 1737195"/>
                <a:gd name="connsiteY2158" fmla="*/ 271402 h 943041"/>
                <a:gd name="connsiteX2159" fmla="*/ 1145509 w 1737195"/>
                <a:gd name="connsiteY2159" fmla="*/ 270307 h 943041"/>
                <a:gd name="connsiteX2160" fmla="*/ 1144413 w 1737195"/>
                <a:gd name="connsiteY2160" fmla="*/ 269014 h 943041"/>
                <a:gd name="connsiteX2161" fmla="*/ 1144413 w 1737195"/>
                <a:gd name="connsiteY2161" fmla="*/ 267223 h 943041"/>
                <a:gd name="connsiteX2162" fmla="*/ 1145110 w 1737195"/>
                <a:gd name="connsiteY2162" fmla="*/ 267223 h 943041"/>
                <a:gd name="connsiteX2163" fmla="*/ 1149495 w 1737195"/>
                <a:gd name="connsiteY2163" fmla="*/ 265035 h 943041"/>
                <a:gd name="connsiteX2164" fmla="*/ 1145110 w 1737195"/>
                <a:gd name="connsiteY2164" fmla="*/ 260956 h 943041"/>
                <a:gd name="connsiteX2165" fmla="*/ 1143316 w 1737195"/>
                <a:gd name="connsiteY2165" fmla="*/ 258767 h 943041"/>
                <a:gd name="connsiteX2166" fmla="*/ 1141822 w 1737195"/>
                <a:gd name="connsiteY2166" fmla="*/ 256180 h 943041"/>
                <a:gd name="connsiteX2167" fmla="*/ 1135345 w 1737195"/>
                <a:gd name="connsiteY2167" fmla="*/ 235686 h 943041"/>
                <a:gd name="connsiteX2168" fmla="*/ 1131359 w 1737195"/>
                <a:gd name="connsiteY2168" fmla="*/ 230015 h 943041"/>
                <a:gd name="connsiteX2169" fmla="*/ 1125580 w 1737195"/>
                <a:gd name="connsiteY2169" fmla="*/ 226035 h 943041"/>
                <a:gd name="connsiteX2170" fmla="*/ 1119402 w 1737195"/>
                <a:gd name="connsiteY2170" fmla="*/ 224444 h 943041"/>
                <a:gd name="connsiteX2171" fmla="*/ 1106149 w 1737195"/>
                <a:gd name="connsiteY2171" fmla="*/ 223250 h 943041"/>
                <a:gd name="connsiteX2172" fmla="*/ 1080042 w 1737195"/>
                <a:gd name="connsiteY2172" fmla="*/ 214196 h 943041"/>
                <a:gd name="connsiteX2173" fmla="*/ 1076854 w 1737195"/>
                <a:gd name="connsiteY2173" fmla="*/ 212306 h 943041"/>
                <a:gd name="connsiteX2174" fmla="*/ 1075060 w 1737195"/>
                <a:gd name="connsiteY2174" fmla="*/ 212306 h 943041"/>
                <a:gd name="connsiteX2175" fmla="*/ 1072270 w 1737195"/>
                <a:gd name="connsiteY2175" fmla="*/ 213600 h 943041"/>
                <a:gd name="connsiteX2176" fmla="*/ 1071274 w 1737195"/>
                <a:gd name="connsiteY2176" fmla="*/ 212605 h 943041"/>
                <a:gd name="connsiteX2177" fmla="*/ 1070277 w 1737195"/>
                <a:gd name="connsiteY2177" fmla="*/ 211013 h 943041"/>
                <a:gd name="connsiteX2178" fmla="*/ 1069281 w 1737195"/>
                <a:gd name="connsiteY2178" fmla="*/ 210217 h 943041"/>
                <a:gd name="connsiteX2179" fmla="*/ 1065793 w 1737195"/>
                <a:gd name="connsiteY2179" fmla="*/ 210217 h 943041"/>
                <a:gd name="connsiteX2180" fmla="*/ 1062007 w 1737195"/>
                <a:gd name="connsiteY2180" fmla="*/ 209521 h 943041"/>
                <a:gd name="connsiteX2181" fmla="*/ 1058718 w 1737195"/>
                <a:gd name="connsiteY2181" fmla="*/ 207730 h 943041"/>
                <a:gd name="connsiteX2182" fmla="*/ 1056626 w 1737195"/>
                <a:gd name="connsiteY2182" fmla="*/ 204646 h 943041"/>
                <a:gd name="connsiteX2183" fmla="*/ 1057423 w 1737195"/>
                <a:gd name="connsiteY2183" fmla="*/ 199870 h 943041"/>
                <a:gd name="connsiteX2184" fmla="*/ 1053537 w 1737195"/>
                <a:gd name="connsiteY2184" fmla="*/ 198875 h 943041"/>
                <a:gd name="connsiteX2185" fmla="*/ 1031814 w 1737195"/>
                <a:gd name="connsiteY2185" fmla="*/ 204944 h 943041"/>
                <a:gd name="connsiteX2186" fmla="*/ 1028427 w 1737195"/>
                <a:gd name="connsiteY2186" fmla="*/ 207531 h 943041"/>
                <a:gd name="connsiteX2187" fmla="*/ 1024740 w 1737195"/>
                <a:gd name="connsiteY2187" fmla="*/ 209521 h 943041"/>
                <a:gd name="connsiteX2188" fmla="*/ 1015573 w 1737195"/>
                <a:gd name="connsiteY2188" fmla="*/ 209521 h 943041"/>
                <a:gd name="connsiteX2189" fmla="*/ 1009793 w 1737195"/>
                <a:gd name="connsiteY2189" fmla="*/ 213102 h 943041"/>
                <a:gd name="connsiteX2190" fmla="*/ 1007402 w 1737195"/>
                <a:gd name="connsiteY2190" fmla="*/ 213102 h 943041"/>
                <a:gd name="connsiteX2191" fmla="*/ 1002818 w 1737195"/>
                <a:gd name="connsiteY2191" fmla="*/ 212008 h 943041"/>
                <a:gd name="connsiteX2192" fmla="*/ 998932 w 1737195"/>
                <a:gd name="connsiteY2192" fmla="*/ 212008 h 943041"/>
                <a:gd name="connsiteX2193" fmla="*/ 996740 w 1737195"/>
                <a:gd name="connsiteY2193" fmla="*/ 212008 h 943041"/>
                <a:gd name="connsiteX2194" fmla="*/ 995644 w 1737195"/>
                <a:gd name="connsiteY2194" fmla="*/ 211311 h 943041"/>
                <a:gd name="connsiteX2195" fmla="*/ 995046 w 1737195"/>
                <a:gd name="connsiteY2195" fmla="*/ 211311 h 943041"/>
                <a:gd name="connsiteX2196" fmla="*/ 996840 w 1737195"/>
                <a:gd name="connsiteY2196" fmla="*/ 210416 h 943041"/>
                <a:gd name="connsiteX2197" fmla="*/ 998832 w 1737195"/>
                <a:gd name="connsiteY2197" fmla="*/ 210416 h 943041"/>
                <a:gd name="connsiteX2198" fmla="*/ 1002918 w 1737195"/>
                <a:gd name="connsiteY2198" fmla="*/ 210416 h 943041"/>
                <a:gd name="connsiteX2199" fmla="*/ 1004512 w 1737195"/>
                <a:gd name="connsiteY2199" fmla="*/ 210416 h 943041"/>
                <a:gd name="connsiteX2200" fmla="*/ 1007601 w 1737195"/>
                <a:gd name="connsiteY2200" fmla="*/ 208725 h 943041"/>
                <a:gd name="connsiteX2201" fmla="*/ 1013879 w 1737195"/>
                <a:gd name="connsiteY2201" fmla="*/ 207730 h 943041"/>
                <a:gd name="connsiteX2202" fmla="*/ 1018363 w 1737195"/>
                <a:gd name="connsiteY2202" fmla="*/ 206138 h 943041"/>
                <a:gd name="connsiteX2203" fmla="*/ 1019359 w 1737195"/>
                <a:gd name="connsiteY2203" fmla="*/ 205243 h 943041"/>
                <a:gd name="connsiteX2204" fmla="*/ 1020056 w 1737195"/>
                <a:gd name="connsiteY2204" fmla="*/ 204049 h 943041"/>
                <a:gd name="connsiteX2205" fmla="*/ 1020854 w 1737195"/>
                <a:gd name="connsiteY2205" fmla="*/ 203153 h 943041"/>
                <a:gd name="connsiteX2206" fmla="*/ 1022349 w 1737195"/>
                <a:gd name="connsiteY2206" fmla="*/ 203153 h 943041"/>
                <a:gd name="connsiteX2207" fmla="*/ 1024940 w 1737195"/>
                <a:gd name="connsiteY2207" fmla="*/ 204347 h 943041"/>
                <a:gd name="connsiteX2208" fmla="*/ 1026434 w 1737195"/>
                <a:gd name="connsiteY2208" fmla="*/ 204347 h 943041"/>
                <a:gd name="connsiteX2209" fmla="*/ 1028327 w 1737195"/>
                <a:gd name="connsiteY2209" fmla="*/ 201562 h 943041"/>
                <a:gd name="connsiteX2210" fmla="*/ 1033708 w 1737195"/>
                <a:gd name="connsiteY2210" fmla="*/ 201562 h 943041"/>
                <a:gd name="connsiteX2211" fmla="*/ 1034904 w 1737195"/>
                <a:gd name="connsiteY2211" fmla="*/ 199572 h 943041"/>
                <a:gd name="connsiteX2212" fmla="*/ 1037196 w 1737195"/>
                <a:gd name="connsiteY2212" fmla="*/ 193404 h 943041"/>
                <a:gd name="connsiteX2213" fmla="*/ 1042476 w 1737195"/>
                <a:gd name="connsiteY2213" fmla="*/ 191414 h 943041"/>
                <a:gd name="connsiteX2214" fmla="*/ 1054833 w 1737195"/>
                <a:gd name="connsiteY2214" fmla="*/ 192409 h 943041"/>
                <a:gd name="connsiteX2215" fmla="*/ 1059217 w 1737195"/>
                <a:gd name="connsiteY2215" fmla="*/ 194498 h 943041"/>
                <a:gd name="connsiteX2216" fmla="*/ 1059815 w 1737195"/>
                <a:gd name="connsiteY2216" fmla="*/ 194498 h 943041"/>
                <a:gd name="connsiteX2217" fmla="*/ 1059815 w 1737195"/>
                <a:gd name="connsiteY2217" fmla="*/ 195194 h 943041"/>
                <a:gd name="connsiteX2218" fmla="*/ 1059815 w 1737195"/>
                <a:gd name="connsiteY2218" fmla="*/ 196090 h 943041"/>
                <a:gd name="connsiteX2219" fmla="*/ 1059815 w 1737195"/>
                <a:gd name="connsiteY2219" fmla="*/ 196786 h 943041"/>
                <a:gd name="connsiteX2220" fmla="*/ 1059815 w 1737195"/>
                <a:gd name="connsiteY2220" fmla="*/ 197483 h 943041"/>
                <a:gd name="connsiteX2221" fmla="*/ 1062206 w 1737195"/>
                <a:gd name="connsiteY2221" fmla="*/ 197483 h 943041"/>
                <a:gd name="connsiteX2222" fmla="*/ 1063003 w 1737195"/>
                <a:gd name="connsiteY2222" fmla="*/ 198378 h 943041"/>
                <a:gd name="connsiteX2223" fmla="*/ 1063601 w 1737195"/>
                <a:gd name="connsiteY2223" fmla="*/ 199572 h 943041"/>
                <a:gd name="connsiteX2224" fmla="*/ 1064298 w 1737195"/>
                <a:gd name="connsiteY2224" fmla="*/ 200268 h 943041"/>
                <a:gd name="connsiteX2225" fmla="*/ 1065694 w 1737195"/>
                <a:gd name="connsiteY2225" fmla="*/ 200268 h 943041"/>
                <a:gd name="connsiteX2226" fmla="*/ 1066291 w 1737195"/>
                <a:gd name="connsiteY2226" fmla="*/ 199273 h 943041"/>
                <a:gd name="connsiteX2227" fmla="*/ 1067487 w 1737195"/>
                <a:gd name="connsiteY2227" fmla="*/ 194597 h 943041"/>
                <a:gd name="connsiteX2228" fmla="*/ 1064996 w 1737195"/>
                <a:gd name="connsiteY2228" fmla="*/ 194597 h 943041"/>
                <a:gd name="connsiteX2229" fmla="*/ 1064100 w 1737195"/>
                <a:gd name="connsiteY2229" fmla="*/ 194597 h 943041"/>
                <a:gd name="connsiteX2230" fmla="*/ 1063103 w 1737195"/>
                <a:gd name="connsiteY2230" fmla="*/ 194597 h 943041"/>
                <a:gd name="connsiteX2231" fmla="*/ 1064697 w 1737195"/>
                <a:gd name="connsiteY2231" fmla="*/ 193603 h 943041"/>
                <a:gd name="connsiteX2232" fmla="*/ 1066790 w 1737195"/>
                <a:gd name="connsiteY2232" fmla="*/ 193603 h 943041"/>
                <a:gd name="connsiteX2233" fmla="*/ 1077851 w 1737195"/>
                <a:gd name="connsiteY2233" fmla="*/ 193603 h 943041"/>
                <a:gd name="connsiteX2234" fmla="*/ 1089011 w 1737195"/>
                <a:gd name="connsiteY2234" fmla="*/ 196687 h 943041"/>
                <a:gd name="connsiteX2235" fmla="*/ 1092598 w 1737195"/>
                <a:gd name="connsiteY2235" fmla="*/ 195891 h 943041"/>
                <a:gd name="connsiteX2236" fmla="*/ 1095288 w 1737195"/>
                <a:gd name="connsiteY2236" fmla="*/ 193603 h 943041"/>
                <a:gd name="connsiteX2237" fmla="*/ 1105253 w 1737195"/>
                <a:gd name="connsiteY2237" fmla="*/ 181565 h 943041"/>
                <a:gd name="connsiteX2238" fmla="*/ 1106647 w 1737195"/>
                <a:gd name="connsiteY2238" fmla="*/ 180371 h 943041"/>
                <a:gd name="connsiteX2239" fmla="*/ 1108242 w 1737195"/>
                <a:gd name="connsiteY2239" fmla="*/ 180371 h 943041"/>
                <a:gd name="connsiteX2240" fmla="*/ 1110334 w 1737195"/>
                <a:gd name="connsiteY2240" fmla="*/ 180371 h 943041"/>
                <a:gd name="connsiteX2241" fmla="*/ 1111729 w 1737195"/>
                <a:gd name="connsiteY2241" fmla="*/ 180371 h 943041"/>
                <a:gd name="connsiteX2242" fmla="*/ 1112825 w 1737195"/>
                <a:gd name="connsiteY2242" fmla="*/ 179077 h 943041"/>
                <a:gd name="connsiteX2243" fmla="*/ 1113922 w 1737195"/>
                <a:gd name="connsiteY2243" fmla="*/ 176292 h 943041"/>
                <a:gd name="connsiteX2244" fmla="*/ 1114519 w 1737195"/>
                <a:gd name="connsiteY2244" fmla="*/ 179177 h 943041"/>
                <a:gd name="connsiteX2245" fmla="*/ 1114519 w 1737195"/>
                <a:gd name="connsiteY2245" fmla="*/ 182559 h 943041"/>
                <a:gd name="connsiteX2246" fmla="*/ 1114519 w 1737195"/>
                <a:gd name="connsiteY2246" fmla="*/ 185345 h 943041"/>
                <a:gd name="connsiteX2247" fmla="*/ 1118505 w 1737195"/>
                <a:gd name="connsiteY2247" fmla="*/ 187235 h 943041"/>
                <a:gd name="connsiteX2248" fmla="*/ 1123387 w 1737195"/>
                <a:gd name="connsiteY2248" fmla="*/ 192110 h 943041"/>
                <a:gd name="connsiteX2249" fmla="*/ 1127971 w 1737195"/>
                <a:gd name="connsiteY2249" fmla="*/ 194498 h 943041"/>
                <a:gd name="connsiteX2250" fmla="*/ 1142718 w 1737195"/>
                <a:gd name="connsiteY2250" fmla="*/ 197781 h 943041"/>
                <a:gd name="connsiteX2251" fmla="*/ 1154178 w 1737195"/>
                <a:gd name="connsiteY2251" fmla="*/ 203054 h 943041"/>
                <a:gd name="connsiteX2252" fmla="*/ 1159359 w 1737195"/>
                <a:gd name="connsiteY2252" fmla="*/ 203651 h 943041"/>
                <a:gd name="connsiteX2253" fmla="*/ 1163544 w 1737195"/>
                <a:gd name="connsiteY2253" fmla="*/ 204944 h 943041"/>
                <a:gd name="connsiteX2254" fmla="*/ 1165039 w 1737195"/>
                <a:gd name="connsiteY2254" fmla="*/ 205840 h 943041"/>
                <a:gd name="connsiteX2255" fmla="*/ 1165637 w 1737195"/>
                <a:gd name="connsiteY2255" fmla="*/ 206735 h 943041"/>
                <a:gd name="connsiteX2256" fmla="*/ 1166334 w 1737195"/>
                <a:gd name="connsiteY2256" fmla="*/ 209322 h 943041"/>
                <a:gd name="connsiteX2257" fmla="*/ 1166334 w 1737195"/>
                <a:gd name="connsiteY2257" fmla="*/ 210217 h 943041"/>
                <a:gd name="connsiteX2258" fmla="*/ 1168626 w 1737195"/>
                <a:gd name="connsiteY2258" fmla="*/ 211809 h 943041"/>
                <a:gd name="connsiteX2259" fmla="*/ 1172113 w 1737195"/>
                <a:gd name="connsiteY2259" fmla="*/ 213102 h 943041"/>
                <a:gd name="connsiteX2260" fmla="*/ 1175601 w 1737195"/>
                <a:gd name="connsiteY2260" fmla="*/ 213102 h 943041"/>
                <a:gd name="connsiteX2261" fmla="*/ 1178092 w 1737195"/>
                <a:gd name="connsiteY2261" fmla="*/ 211809 h 943041"/>
                <a:gd name="connsiteX2262" fmla="*/ 1190647 w 1737195"/>
                <a:gd name="connsiteY2262" fmla="*/ 211809 h 943041"/>
                <a:gd name="connsiteX2263" fmla="*/ 1203900 w 1737195"/>
                <a:gd name="connsiteY2263" fmla="*/ 206834 h 943041"/>
                <a:gd name="connsiteX2264" fmla="*/ 1220341 w 1737195"/>
                <a:gd name="connsiteY2264" fmla="*/ 196886 h 943041"/>
                <a:gd name="connsiteX2265" fmla="*/ 1228413 w 1737195"/>
                <a:gd name="connsiteY2265" fmla="*/ 192807 h 943041"/>
                <a:gd name="connsiteX2266" fmla="*/ 1233195 w 1737195"/>
                <a:gd name="connsiteY2266" fmla="*/ 188927 h 943041"/>
                <a:gd name="connsiteX2267" fmla="*/ 1232000 w 1737195"/>
                <a:gd name="connsiteY2267" fmla="*/ 187036 h 943041"/>
                <a:gd name="connsiteX2268" fmla="*/ 1231502 w 1737195"/>
                <a:gd name="connsiteY2268" fmla="*/ 184748 h 943041"/>
                <a:gd name="connsiteX2269" fmla="*/ 1231502 w 1737195"/>
                <a:gd name="connsiteY2269" fmla="*/ 182957 h 943041"/>
                <a:gd name="connsiteX2270" fmla="*/ 1231502 w 1737195"/>
                <a:gd name="connsiteY2270" fmla="*/ 182957 h 943041"/>
                <a:gd name="connsiteX2271" fmla="*/ 1232697 w 1737195"/>
                <a:gd name="connsiteY2271" fmla="*/ 184052 h 943041"/>
                <a:gd name="connsiteX2272" fmla="*/ 1234192 w 1737195"/>
                <a:gd name="connsiteY2272" fmla="*/ 184649 h 943041"/>
                <a:gd name="connsiteX2273" fmla="*/ 1235986 w 1737195"/>
                <a:gd name="connsiteY2273" fmla="*/ 184649 h 943041"/>
                <a:gd name="connsiteX2274" fmla="*/ 1237978 w 1737195"/>
                <a:gd name="connsiteY2274" fmla="*/ 184649 h 943041"/>
                <a:gd name="connsiteX2275" fmla="*/ 1254420 w 1737195"/>
                <a:gd name="connsiteY2275" fmla="*/ 180271 h 943041"/>
                <a:gd name="connsiteX2276" fmla="*/ 1256113 w 1737195"/>
                <a:gd name="connsiteY2276" fmla="*/ 177784 h 943041"/>
                <a:gd name="connsiteX2277" fmla="*/ 1257210 w 1737195"/>
                <a:gd name="connsiteY2277" fmla="*/ 174302 h 943041"/>
                <a:gd name="connsiteX2278" fmla="*/ 1259701 w 1737195"/>
                <a:gd name="connsiteY2278" fmla="*/ 169527 h 943041"/>
                <a:gd name="connsiteX2279" fmla="*/ 1260498 w 1737195"/>
                <a:gd name="connsiteY2279" fmla="*/ 166940 h 943041"/>
                <a:gd name="connsiteX2280" fmla="*/ 1260498 w 1737195"/>
                <a:gd name="connsiteY2280" fmla="*/ 166940 h 943041"/>
                <a:gd name="connsiteX2281" fmla="*/ 1261295 w 1737195"/>
                <a:gd name="connsiteY2281" fmla="*/ 166940 h 943041"/>
                <a:gd name="connsiteX2282" fmla="*/ 1262192 w 1737195"/>
                <a:gd name="connsiteY2282" fmla="*/ 166045 h 943041"/>
                <a:gd name="connsiteX2283" fmla="*/ 1262989 w 1737195"/>
                <a:gd name="connsiteY2283" fmla="*/ 164950 h 943041"/>
                <a:gd name="connsiteX2284" fmla="*/ 1263487 w 1737195"/>
                <a:gd name="connsiteY2284" fmla="*/ 163955 h 943041"/>
                <a:gd name="connsiteX2285" fmla="*/ 1263487 w 1737195"/>
                <a:gd name="connsiteY2285" fmla="*/ 162363 h 943041"/>
                <a:gd name="connsiteX2286" fmla="*/ 1263487 w 1737195"/>
                <a:gd name="connsiteY2286" fmla="*/ 161269 h 943041"/>
                <a:gd name="connsiteX2287" fmla="*/ 1262491 w 1737195"/>
                <a:gd name="connsiteY2287" fmla="*/ 160374 h 943041"/>
                <a:gd name="connsiteX2288" fmla="*/ 1261096 w 1737195"/>
                <a:gd name="connsiteY2288" fmla="*/ 159379 h 943041"/>
                <a:gd name="connsiteX2289" fmla="*/ 1262690 w 1737195"/>
                <a:gd name="connsiteY2289" fmla="*/ 158682 h 943041"/>
                <a:gd name="connsiteX2290" fmla="*/ 1266177 w 1737195"/>
                <a:gd name="connsiteY2290" fmla="*/ 158682 h 943041"/>
                <a:gd name="connsiteX2291" fmla="*/ 1268868 w 1737195"/>
                <a:gd name="connsiteY2291" fmla="*/ 156991 h 943041"/>
                <a:gd name="connsiteX2292" fmla="*/ 1283715 w 1737195"/>
                <a:gd name="connsiteY2292" fmla="*/ 150823 h 943041"/>
                <a:gd name="connsiteX2293" fmla="*/ 1289893 w 1737195"/>
                <a:gd name="connsiteY2293" fmla="*/ 149729 h 943041"/>
                <a:gd name="connsiteX2294" fmla="*/ 1296470 w 1737195"/>
                <a:gd name="connsiteY2294" fmla="*/ 147540 h 943041"/>
                <a:gd name="connsiteX2295" fmla="*/ 1307231 w 1737195"/>
                <a:gd name="connsiteY2295" fmla="*/ 146545 h 943041"/>
                <a:gd name="connsiteX2296" fmla="*/ 1311117 w 1737195"/>
                <a:gd name="connsiteY2296" fmla="*/ 145451 h 943041"/>
                <a:gd name="connsiteX2297" fmla="*/ 1313210 w 1737195"/>
                <a:gd name="connsiteY2297" fmla="*/ 143461 h 943041"/>
                <a:gd name="connsiteX2298" fmla="*/ 1311515 w 1737195"/>
                <a:gd name="connsiteY2298" fmla="*/ 142466 h 943041"/>
                <a:gd name="connsiteX2299" fmla="*/ 1312213 w 1737195"/>
                <a:gd name="connsiteY2299" fmla="*/ 139481 h 943041"/>
                <a:gd name="connsiteX2300" fmla="*/ 1314106 w 1737195"/>
                <a:gd name="connsiteY2300" fmla="*/ 137193 h 943041"/>
                <a:gd name="connsiteX2301" fmla="*/ 1316498 w 1737195"/>
                <a:gd name="connsiteY2301" fmla="*/ 135601 h 943041"/>
                <a:gd name="connsiteX2302" fmla="*/ 1319288 w 1737195"/>
                <a:gd name="connsiteY2302" fmla="*/ 134408 h 943041"/>
                <a:gd name="connsiteX2303" fmla="*/ 1323772 w 1737195"/>
                <a:gd name="connsiteY2303" fmla="*/ 133413 h 943041"/>
                <a:gd name="connsiteX2304" fmla="*/ 1324868 w 1737195"/>
                <a:gd name="connsiteY2304" fmla="*/ 132816 h 943041"/>
                <a:gd name="connsiteX2305" fmla="*/ 1325864 w 1737195"/>
                <a:gd name="connsiteY2305" fmla="*/ 131323 h 943041"/>
                <a:gd name="connsiteX2306" fmla="*/ 1326661 w 1737195"/>
                <a:gd name="connsiteY2306" fmla="*/ 129931 h 943041"/>
                <a:gd name="connsiteX2307" fmla="*/ 1327559 w 1737195"/>
                <a:gd name="connsiteY2307" fmla="*/ 128637 h 943041"/>
                <a:gd name="connsiteX2308" fmla="*/ 1328854 w 1737195"/>
                <a:gd name="connsiteY2308" fmla="*/ 127742 h 943041"/>
                <a:gd name="connsiteX2309" fmla="*/ 1326661 w 1737195"/>
                <a:gd name="connsiteY2309" fmla="*/ 127742 h 943041"/>
                <a:gd name="connsiteX2310" fmla="*/ 1324768 w 1737195"/>
                <a:gd name="connsiteY2310" fmla="*/ 126846 h 943041"/>
                <a:gd name="connsiteX2311" fmla="*/ 1320982 w 1737195"/>
                <a:gd name="connsiteY2311" fmla="*/ 123961 h 943041"/>
                <a:gd name="connsiteX2312" fmla="*/ 1317395 w 1737195"/>
                <a:gd name="connsiteY2312" fmla="*/ 122171 h 943041"/>
                <a:gd name="connsiteX2313" fmla="*/ 1317395 w 1737195"/>
                <a:gd name="connsiteY2313" fmla="*/ 120877 h 943041"/>
                <a:gd name="connsiteX2314" fmla="*/ 1317395 w 1737195"/>
                <a:gd name="connsiteY2314" fmla="*/ 117694 h 943041"/>
                <a:gd name="connsiteX2315" fmla="*/ 1319986 w 1737195"/>
                <a:gd name="connsiteY2315" fmla="*/ 112620 h 943041"/>
                <a:gd name="connsiteX2316" fmla="*/ 1323872 w 1737195"/>
                <a:gd name="connsiteY2316" fmla="*/ 111625 h 943041"/>
                <a:gd name="connsiteX2317" fmla="*/ 1328256 w 1737195"/>
                <a:gd name="connsiteY2317" fmla="*/ 111625 h 943041"/>
                <a:gd name="connsiteX2318" fmla="*/ 1332142 w 1737195"/>
                <a:gd name="connsiteY2318" fmla="*/ 110531 h 943041"/>
                <a:gd name="connsiteX2319" fmla="*/ 1330548 w 1737195"/>
                <a:gd name="connsiteY2319" fmla="*/ 108043 h 943041"/>
                <a:gd name="connsiteX2320" fmla="*/ 1328654 w 1737195"/>
                <a:gd name="connsiteY2320" fmla="*/ 105855 h 943041"/>
                <a:gd name="connsiteX2321" fmla="*/ 1326661 w 1737195"/>
                <a:gd name="connsiteY2321" fmla="*/ 104362 h 943041"/>
                <a:gd name="connsiteX2322" fmla="*/ 1324768 w 1737195"/>
                <a:gd name="connsiteY2322" fmla="*/ 103666 h 943041"/>
                <a:gd name="connsiteX2323" fmla="*/ 1322875 w 1737195"/>
                <a:gd name="connsiteY2323" fmla="*/ 102472 h 943041"/>
                <a:gd name="connsiteX2324" fmla="*/ 1317395 w 1737195"/>
                <a:gd name="connsiteY2324" fmla="*/ 94513 h 943041"/>
                <a:gd name="connsiteX2325" fmla="*/ 1311117 w 1737195"/>
                <a:gd name="connsiteY2325" fmla="*/ 89539 h 943041"/>
                <a:gd name="connsiteX2326" fmla="*/ 1307829 w 1737195"/>
                <a:gd name="connsiteY2326" fmla="*/ 88345 h 943041"/>
                <a:gd name="connsiteX2327" fmla="*/ 1305039 w 1737195"/>
                <a:gd name="connsiteY2327" fmla="*/ 86156 h 943041"/>
                <a:gd name="connsiteX2328" fmla="*/ 1303544 w 1737195"/>
                <a:gd name="connsiteY2328" fmla="*/ 85460 h 943041"/>
                <a:gd name="connsiteX2329" fmla="*/ 1306135 w 1737195"/>
                <a:gd name="connsiteY2329" fmla="*/ 85460 h 943041"/>
                <a:gd name="connsiteX2330" fmla="*/ 1304939 w 1737195"/>
                <a:gd name="connsiteY2330" fmla="*/ 86057 h 943041"/>
                <a:gd name="connsiteX2331" fmla="*/ 1303843 w 1737195"/>
                <a:gd name="connsiteY2331" fmla="*/ 86057 h 943041"/>
                <a:gd name="connsiteX2332" fmla="*/ 1302348 w 1737195"/>
                <a:gd name="connsiteY2332" fmla="*/ 85161 h 943041"/>
                <a:gd name="connsiteX2333" fmla="*/ 1303644 w 1737195"/>
                <a:gd name="connsiteY2333" fmla="*/ 83370 h 943041"/>
                <a:gd name="connsiteX2334" fmla="*/ 1304939 w 1737195"/>
                <a:gd name="connsiteY2334" fmla="*/ 83370 h 943041"/>
                <a:gd name="connsiteX2335" fmla="*/ 1307928 w 1737195"/>
                <a:gd name="connsiteY2335" fmla="*/ 84166 h 943041"/>
                <a:gd name="connsiteX2336" fmla="*/ 1309224 w 1737195"/>
                <a:gd name="connsiteY2336" fmla="*/ 83569 h 943041"/>
                <a:gd name="connsiteX2337" fmla="*/ 1309224 w 1737195"/>
                <a:gd name="connsiteY2337" fmla="*/ 82177 h 943041"/>
                <a:gd name="connsiteX2338" fmla="*/ 1308327 w 1737195"/>
                <a:gd name="connsiteY2338" fmla="*/ 80784 h 943041"/>
                <a:gd name="connsiteX2339" fmla="*/ 1308327 w 1737195"/>
                <a:gd name="connsiteY2339" fmla="*/ 80784 h 943041"/>
                <a:gd name="connsiteX2340" fmla="*/ 1307131 w 1737195"/>
                <a:gd name="connsiteY2340" fmla="*/ 79092 h 943041"/>
                <a:gd name="connsiteX2341" fmla="*/ 1304441 w 1737195"/>
                <a:gd name="connsiteY2341" fmla="*/ 78297 h 943041"/>
                <a:gd name="connsiteX2342" fmla="*/ 1299160 w 1737195"/>
                <a:gd name="connsiteY2342" fmla="*/ 78297 h 943041"/>
                <a:gd name="connsiteX2343" fmla="*/ 1291388 w 1737195"/>
                <a:gd name="connsiteY2343" fmla="*/ 80087 h 943041"/>
                <a:gd name="connsiteX2344" fmla="*/ 1289195 w 1737195"/>
                <a:gd name="connsiteY2344" fmla="*/ 79391 h 943041"/>
                <a:gd name="connsiteX2345" fmla="*/ 1289195 w 1737195"/>
                <a:gd name="connsiteY2345" fmla="*/ 77899 h 943041"/>
                <a:gd name="connsiteX2346" fmla="*/ 1297067 w 1737195"/>
                <a:gd name="connsiteY2346" fmla="*/ 77003 h 943041"/>
                <a:gd name="connsiteX2347" fmla="*/ 1297067 w 1737195"/>
                <a:gd name="connsiteY2347" fmla="*/ 76008 h 943041"/>
                <a:gd name="connsiteX2348" fmla="*/ 1289395 w 1737195"/>
                <a:gd name="connsiteY2348" fmla="*/ 70238 h 943041"/>
                <a:gd name="connsiteX2349" fmla="*/ 1286704 w 1737195"/>
                <a:gd name="connsiteY2349" fmla="*/ 69144 h 943041"/>
                <a:gd name="connsiteX2350" fmla="*/ 1290491 w 1737195"/>
                <a:gd name="connsiteY2350" fmla="*/ 69144 h 943041"/>
                <a:gd name="connsiteX2351" fmla="*/ 1319088 w 1737195"/>
                <a:gd name="connsiteY2351" fmla="*/ 77899 h 943041"/>
                <a:gd name="connsiteX2352" fmla="*/ 1325466 w 1737195"/>
                <a:gd name="connsiteY2352" fmla="*/ 81878 h 943041"/>
                <a:gd name="connsiteX2353" fmla="*/ 1328754 w 1737195"/>
                <a:gd name="connsiteY2353" fmla="*/ 82774 h 943041"/>
                <a:gd name="connsiteX2354" fmla="*/ 1330747 w 1737195"/>
                <a:gd name="connsiteY2354" fmla="*/ 84465 h 943041"/>
                <a:gd name="connsiteX2355" fmla="*/ 1333537 w 1737195"/>
                <a:gd name="connsiteY2355" fmla="*/ 87449 h 943041"/>
                <a:gd name="connsiteX2356" fmla="*/ 1336228 w 1737195"/>
                <a:gd name="connsiteY2356" fmla="*/ 89340 h 943041"/>
                <a:gd name="connsiteX2357" fmla="*/ 1337921 w 1737195"/>
                <a:gd name="connsiteY2357" fmla="*/ 87250 h 943041"/>
                <a:gd name="connsiteX2358" fmla="*/ 1335430 w 1737195"/>
                <a:gd name="connsiteY2358" fmla="*/ 85559 h 943041"/>
                <a:gd name="connsiteX2359" fmla="*/ 1333238 w 1737195"/>
                <a:gd name="connsiteY2359" fmla="*/ 82972 h 943041"/>
                <a:gd name="connsiteX2360" fmla="*/ 1330149 w 1737195"/>
                <a:gd name="connsiteY2360" fmla="*/ 78297 h 943041"/>
                <a:gd name="connsiteX2361" fmla="*/ 1331444 w 1737195"/>
                <a:gd name="connsiteY2361" fmla="*/ 71332 h 943041"/>
                <a:gd name="connsiteX2362" fmla="*/ 1329551 w 1737195"/>
                <a:gd name="connsiteY2362" fmla="*/ 67154 h 943041"/>
                <a:gd name="connsiteX2363" fmla="*/ 1321879 w 1737195"/>
                <a:gd name="connsiteY2363" fmla="*/ 60488 h 943041"/>
                <a:gd name="connsiteX2364" fmla="*/ 1321281 w 1737195"/>
                <a:gd name="connsiteY2364" fmla="*/ 59494 h 943041"/>
                <a:gd name="connsiteX2365" fmla="*/ 1320184 w 1737195"/>
                <a:gd name="connsiteY2365" fmla="*/ 57106 h 943041"/>
                <a:gd name="connsiteX2366" fmla="*/ 1320184 w 1737195"/>
                <a:gd name="connsiteY2366" fmla="*/ 56409 h 943041"/>
                <a:gd name="connsiteX2367" fmla="*/ 1318690 w 1737195"/>
                <a:gd name="connsiteY2367" fmla="*/ 55514 h 943041"/>
                <a:gd name="connsiteX2368" fmla="*/ 1315003 w 1737195"/>
                <a:gd name="connsiteY2368" fmla="*/ 54519 h 943041"/>
                <a:gd name="connsiteX2369" fmla="*/ 1313608 w 1737195"/>
                <a:gd name="connsiteY2369" fmla="*/ 53624 h 943041"/>
                <a:gd name="connsiteX2370" fmla="*/ 1309921 w 1737195"/>
                <a:gd name="connsiteY2370" fmla="*/ 49246 h 943041"/>
                <a:gd name="connsiteX2371" fmla="*/ 1307829 w 1737195"/>
                <a:gd name="connsiteY2371" fmla="*/ 47555 h 943041"/>
                <a:gd name="connsiteX2372" fmla="*/ 1302448 w 1737195"/>
                <a:gd name="connsiteY2372" fmla="*/ 44670 h 943041"/>
                <a:gd name="connsiteX2373" fmla="*/ 1301252 w 1737195"/>
                <a:gd name="connsiteY2373" fmla="*/ 43774 h 943041"/>
                <a:gd name="connsiteX2374" fmla="*/ 1298462 w 1737195"/>
                <a:gd name="connsiteY2374" fmla="*/ 40690 h 943041"/>
                <a:gd name="connsiteX2375" fmla="*/ 1297466 w 1737195"/>
                <a:gd name="connsiteY2375" fmla="*/ 40193 h 943041"/>
                <a:gd name="connsiteX2376" fmla="*/ 1296470 w 1737195"/>
                <a:gd name="connsiteY2376" fmla="*/ 40193 h 943041"/>
                <a:gd name="connsiteX2377" fmla="*/ 1294975 w 1737195"/>
                <a:gd name="connsiteY2377" fmla="*/ 39497 h 943041"/>
                <a:gd name="connsiteX2378" fmla="*/ 1288000 w 1737195"/>
                <a:gd name="connsiteY2378" fmla="*/ 33428 h 943041"/>
                <a:gd name="connsiteX2379" fmla="*/ 1284612 w 1737195"/>
                <a:gd name="connsiteY2379" fmla="*/ 32134 h 943041"/>
                <a:gd name="connsiteX2380" fmla="*/ 1281722 w 1737195"/>
                <a:gd name="connsiteY2380" fmla="*/ 29846 h 943041"/>
                <a:gd name="connsiteX2381" fmla="*/ 1280327 w 1737195"/>
                <a:gd name="connsiteY2381" fmla="*/ 29150 h 943041"/>
                <a:gd name="connsiteX2382" fmla="*/ 1270362 w 1737195"/>
                <a:gd name="connsiteY2382" fmla="*/ 27558 h 943041"/>
                <a:gd name="connsiteX2383" fmla="*/ 1267174 w 1737195"/>
                <a:gd name="connsiteY2383" fmla="*/ 26563 h 943041"/>
                <a:gd name="connsiteX2384" fmla="*/ 1261395 w 1737195"/>
                <a:gd name="connsiteY2384" fmla="*/ 23479 h 943041"/>
                <a:gd name="connsiteX2385" fmla="*/ 1256014 w 1737195"/>
                <a:gd name="connsiteY2385" fmla="*/ 19400 h 943041"/>
                <a:gd name="connsiteX2386" fmla="*/ 1253324 w 1737195"/>
                <a:gd name="connsiteY2386" fmla="*/ 18107 h 943041"/>
                <a:gd name="connsiteX2387" fmla="*/ 1246348 w 1737195"/>
                <a:gd name="connsiteY2387" fmla="*/ 17012 h 943041"/>
                <a:gd name="connsiteX2388" fmla="*/ 1235487 w 1737195"/>
                <a:gd name="connsiteY2388" fmla="*/ 13033 h 943041"/>
                <a:gd name="connsiteX2389" fmla="*/ 1206591 w 1737195"/>
                <a:gd name="connsiteY2389" fmla="*/ 10048 h 943041"/>
                <a:gd name="connsiteX2390" fmla="*/ 1195729 w 1737195"/>
                <a:gd name="connsiteY2390" fmla="*/ 8854 h 943041"/>
                <a:gd name="connsiteX2391" fmla="*/ 1180584 w 1737195"/>
                <a:gd name="connsiteY2391" fmla="*/ 6069 h 943041"/>
                <a:gd name="connsiteX2392" fmla="*/ 1157964 w 1737195"/>
                <a:gd name="connsiteY2392" fmla="*/ 0 h 943041"/>
                <a:gd name="connsiteX2393" fmla="*/ 1151687 w 1737195"/>
                <a:gd name="connsiteY2393" fmla="*/ 995 h 943041"/>
                <a:gd name="connsiteX2394" fmla="*/ 1142918 w 1737195"/>
                <a:gd name="connsiteY2394" fmla="*/ 3980 h 943041"/>
                <a:gd name="connsiteX2395" fmla="*/ 1117708 w 1737195"/>
                <a:gd name="connsiteY2395" fmla="*/ 6964 h 943041"/>
                <a:gd name="connsiteX2396" fmla="*/ 1095886 w 1737195"/>
                <a:gd name="connsiteY2396" fmla="*/ 6964 h 943041"/>
                <a:gd name="connsiteX2397" fmla="*/ 1075060 w 1737195"/>
                <a:gd name="connsiteY2397" fmla="*/ 9849 h 943041"/>
                <a:gd name="connsiteX2398" fmla="*/ 1036199 w 1737195"/>
                <a:gd name="connsiteY2398" fmla="*/ 22285 h 943041"/>
                <a:gd name="connsiteX2399" fmla="*/ 1024042 w 1737195"/>
                <a:gd name="connsiteY2399" fmla="*/ 24076 h 943041"/>
                <a:gd name="connsiteX2400" fmla="*/ 991359 w 1737195"/>
                <a:gd name="connsiteY2400" fmla="*/ 36810 h 943041"/>
                <a:gd name="connsiteX2401" fmla="*/ 961466 w 1737195"/>
                <a:gd name="connsiteY2401" fmla="*/ 50739 h 943041"/>
                <a:gd name="connsiteX2402" fmla="*/ 939245 w 1737195"/>
                <a:gd name="connsiteY2402" fmla="*/ 57205 h 943041"/>
                <a:gd name="connsiteX2403" fmla="*/ 930477 w 1737195"/>
                <a:gd name="connsiteY2403" fmla="*/ 60588 h 943041"/>
                <a:gd name="connsiteX2404" fmla="*/ 922405 w 1737195"/>
                <a:gd name="connsiteY2404" fmla="*/ 65662 h 943041"/>
                <a:gd name="connsiteX2405" fmla="*/ 907060 w 1737195"/>
                <a:gd name="connsiteY2405" fmla="*/ 67552 h 943041"/>
                <a:gd name="connsiteX2406" fmla="*/ 899886 w 1737195"/>
                <a:gd name="connsiteY2406" fmla="*/ 72626 h 943041"/>
                <a:gd name="connsiteX2407" fmla="*/ 894306 w 1737195"/>
                <a:gd name="connsiteY2407" fmla="*/ 73720 h 943041"/>
                <a:gd name="connsiteX2408" fmla="*/ 891217 w 1737195"/>
                <a:gd name="connsiteY2408" fmla="*/ 75014 h 943041"/>
                <a:gd name="connsiteX2409" fmla="*/ 886135 w 1737195"/>
                <a:gd name="connsiteY2409" fmla="*/ 77799 h 943041"/>
                <a:gd name="connsiteX2410" fmla="*/ 885338 w 1737195"/>
                <a:gd name="connsiteY2410" fmla="*/ 78595 h 943041"/>
                <a:gd name="connsiteX2411" fmla="*/ 854448 w 1737195"/>
                <a:gd name="connsiteY2411" fmla="*/ 94414 h 943041"/>
                <a:gd name="connsiteX2412" fmla="*/ 851857 w 1737195"/>
                <a:gd name="connsiteY2412" fmla="*/ 94414 h 943041"/>
                <a:gd name="connsiteX2413" fmla="*/ 845281 w 1737195"/>
                <a:gd name="connsiteY2413" fmla="*/ 94414 h 943041"/>
                <a:gd name="connsiteX2414" fmla="*/ 841993 w 1737195"/>
                <a:gd name="connsiteY2414" fmla="*/ 95011 h 943041"/>
                <a:gd name="connsiteX2415" fmla="*/ 839103 w 1737195"/>
                <a:gd name="connsiteY2415" fmla="*/ 96602 h 943041"/>
                <a:gd name="connsiteX2416" fmla="*/ 834918 w 1737195"/>
                <a:gd name="connsiteY2416" fmla="*/ 100781 h 943041"/>
                <a:gd name="connsiteX2417" fmla="*/ 832726 w 1737195"/>
                <a:gd name="connsiteY2417" fmla="*/ 101975 h 943041"/>
                <a:gd name="connsiteX2418" fmla="*/ 826249 w 1737195"/>
                <a:gd name="connsiteY2418" fmla="*/ 102771 h 943041"/>
                <a:gd name="connsiteX2419" fmla="*/ 823559 w 1737195"/>
                <a:gd name="connsiteY2419" fmla="*/ 103765 h 943041"/>
                <a:gd name="connsiteX2420" fmla="*/ 809808 w 1737195"/>
                <a:gd name="connsiteY2420" fmla="*/ 112819 h 943041"/>
                <a:gd name="connsiteX2421" fmla="*/ 804726 w 1737195"/>
                <a:gd name="connsiteY2421" fmla="*/ 117992 h 943041"/>
                <a:gd name="connsiteX2422" fmla="*/ 801836 w 1737195"/>
                <a:gd name="connsiteY2422" fmla="*/ 118887 h 943041"/>
                <a:gd name="connsiteX2423" fmla="*/ 795758 w 1737195"/>
                <a:gd name="connsiteY2423" fmla="*/ 119484 h 943041"/>
                <a:gd name="connsiteX2424" fmla="*/ 790875 w 1737195"/>
                <a:gd name="connsiteY2424" fmla="*/ 122569 h 943041"/>
                <a:gd name="connsiteX2425" fmla="*/ 783203 w 1737195"/>
                <a:gd name="connsiteY2425" fmla="*/ 132517 h 943041"/>
                <a:gd name="connsiteX2426" fmla="*/ 778420 w 1737195"/>
                <a:gd name="connsiteY2426" fmla="*/ 135701 h 943041"/>
                <a:gd name="connsiteX2427" fmla="*/ 768455 w 1737195"/>
                <a:gd name="connsiteY2427" fmla="*/ 138884 h 943041"/>
                <a:gd name="connsiteX2428" fmla="*/ 766961 w 1737195"/>
                <a:gd name="connsiteY2428" fmla="*/ 140775 h 943041"/>
                <a:gd name="connsiteX2429" fmla="*/ 765566 w 1737195"/>
                <a:gd name="connsiteY2429" fmla="*/ 142168 h 943041"/>
                <a:gd name="connsiteX2430" fmla="*/ 757395 w 1737195"/>
                <a:gd name="connsiteY2430" fmla="*/ 148137 h 943041"/>
                <a:gd name="connsiteX2431" fmla="*/ 754505 w 1737195"/>
                <a:gd name="connsiteY2431" fmla="*/ 148734 h 943041"/>
                <a:gd name="connsiteX2432" fmla="*/ 747231 w 1737195"/>
                <a:gd name="connsiteY2432" fmla="*/ 148734 h 943041"/>
                <a:gd name="connsiteX2433" fmla="*/ 744840 w 1737195"/>
                <a:gd name="connsiteY2433" fmla="*/ 149828 h 943041"/>
                <a:gd name="connsiteX2434" fmla="*/ 742348 w 1737195"/>
                <a:gd name="connsiteY2434" fmla="*/ 153609 h 943041"/>
                <a:gd name="connsiteX2435" fmla="*/ 727103 w 1737195"/>
                <a:gd name="connsiteY2435" fmla="*/ 162761 h 943041"/>
                <a:gd name="connsiteX2436" fmla="*/ 715744 w 1737195"/>
                <a:gd name="connsiteY2436" fmla="*/ 171914 h 943041"/>
                <a:gd name="connsiteX2437" fmla="*/ 703288 w 1737195"/>
                <a:gd name="connsiteY2437" fmla="*/ 186141 h 943041"/>
                <a:gd name="connsiteX2438" fmla="*/ 690434 w 1737195"/>
                <a:gd name="connsiteY2438" fmla="*/ 195194 h 943041"/>
                <a:gd name="connsiteX2439" fmla="*/ 681566 w 1737195"/>
                <a:gd name="connsiteY2439" fmla="*/ 205143 h 943041"/>
                <a:gd name="connsiteX2440" fmla="*/ 679274 w 1737195"/>
                <a:gd name="connsiteY2440" fmla="*/ 206834 h 943041"/>
                <a:gd name="connsiteX2441" fmla="*/ 676783 w 1737195"/>
                <a:gd name="connsiteY2441" fmla="*/ 208028 h 943041"/>
                <a:gd name="connsiteX2442" fmla="*/ 670904 w 1737195"/>
                <a:gd name="connsiteY2442" fmla="*/ 210018 h 943041"/>
                <a:gd name="connsiteX2443" fmla="*/ 668413 w 1737195"/>
                <a:gd name="connsiteY2443" fmla="*/ 210018 h 943041"/>
                <a:gd name="connsiteX2444" fmla="*/ 666221 w 1737195"/>
                <a:gd name="connsiteY2444" fmla="*/ 211112 h 943041"/>
                <a:gd name="connsiteX2445" fmla="*/ 653167 w 1737195"/>
                <a:gd name="connsiteY2445" fmla="*/ 228025 h 943041"/>
                <a:gd name="connsiteX2446" fmla="*/ 652270 w 1737195"/>
                <a:gd name="connsiteY2446" fmla="*/ 230910 h 943041"/>
                <a:gd name="connsiteX2447" fmla="*/ 652270 w 1737195"/>
                <a:gd name="connsiteY2447" fmla="*/ 233398 h 943041"/>
                <a:gd name="connsiteX2448" fmla="*/ 652270 w 1737195"/>
                <a:gd name="connsiteY2448" fmla="*/ 234691 h 943041"/>
                <a:gd name="connsiteX2449" fmla="*/ 652270 w 1737195"/>
                <a:gd name="connsiteY2449" fmla="*/ 235586 h 943041"/>
                <a:gd name="connsiteX2450" fmla="*/ 651573 w 1737195"/>
                <a:gd name="connsiteY2450" fmla="*/ 237178 h 943041"/>
                <a:gd name="connsiteX2451" fmla="*/ 650676 w 1737195"/>
                <a:gd name="connsiteY2451" fmla="*/ 238173 h 943041"/>
                <a:gd name="connsiteX2452" fmla="*/ 647288 w 1737195"/>
                <a:gd name="connsiteY2452" fmla="*/ 240561 h 943041"/>
                <a:gd name="connsiteX2453" fmla="*/ 634533 w 1737195"/>
                <a:gd name="connsiteY2453" fmla="*/ 254688 h 943041"/>
                <a:gd name="connsiteX2454" fmla="*/ 620284 w 1737195"/>
                <a:gd name="connsiteY2454" fmla="*/ 272098 h 943041"/>
                <a:gd name="connsiteX2455" fmla="*/ 608626 w 1737195"/>
                <a:gd name="connsiteY2455" fmla="*/ 286026 h 943041"/>
                <a:gd name="connsiteX2456" fmla="*/ 604441 w 1737195"/>
                <a:gd name="connsiteY2456" fmla="*/ 287419 h 943041"/>
                <a:gd name="connsiteX2457" fmla="*/ 603445 w 1737195"/>
                <a:gd name="connsiteY2457" fmla="*/ 288712 h 943041"/>
                <a:gd name="connsiteX2458" fmla="*/ 602548 w 1737195"/>
                <a:gd name="connsiteY2458" fmla="*/ 290205 h 943041"/>
                <a:gd name="connsiteX2459" fmla="*/ 601253 w 1737195"/>
                <a:gd name="connsiteY2459" fmla="*/ 291498 h 943041"/>
                <a:gd name="connsiteX2460" fmla="*/ 599957 w 1737195"/>
                <a:gd name="connsiteY2460" fmla="*/ 292095 h 943041"/>
                <a:gd name="connsiteX2461" fmla="*/ 597267 w 1737195"/>
                <a:gd name="connsiteY2461" fmla="*/ 292891 h 943041"/>
                <a:gd name="connsiteX2462" fmla="*/ 596071 w 1737195"/>
                <a:gd name="connsiteY2462" fmla="*/ 293687 h 943041"/>
                <a:gd name="connsiteX2463" fmla="*/ 592185 w 1737195"/>
                <a:gd name="connsiteY2463" fmla="*/ 298562 h 943041"/>
                <a:gd name="connsiteX2464" fmla="*/ 589694 w 1737195"/>
                <a:gd name="connsiteY2464" fmla="*/ 310003 h 943041"/>
                <a:gd name="connsiteX2465" fmla="*/ 586406 w 1737195"/>
                <a:gd name="connsiteY2465" fmla="*/ 315077 h 943041"/>
                <a:gd name="connsiteX2466" fmla="*/ 571359 w 1737195"/>
                <a:gd name="connsiteY2466" fmla="*/ 323832 h 943041"/>
                <a:gd name="connsiteX2467" fmla="*/ 567373 w 1737195"/>
                <a:gd name="connsiteY2467" fmla="*/ 328607 h 943041"/>
                <a:gd name="connsiteX2468" fmla="*/ 559701 w 1737195"/>
                <a:gd name="connsiteY2468" fmla="*/ 341242 h 943041"/>
                <a:gd name="connsiteX2469" fmla="*/ 546947 w 1737195"/>
                <a:gd name="connsiteY2469" fmla="*/ 356563 h 943041"/>
                <a:gd name="connsiteX2470" fmla="*/ 528313 w 1737195"/>
                <a:gd name="connsiteY2470" fmla="*/ 373774 h 943041"/>
                <a:gd name="connsiteX2471" fmla="*/ 525722 w 1737195"/>
                <a:gd name="connsiteY2471" fmla="*/ 375167 h 943041"/>
                <a:gd name="connsiteX2472" fmla="*/ 519943 w 1737195"/>
                <a:gd name="connsiteY2472" fmla="*/ 375963 h 943041"/>
                <a:gd name="connsiteX2473" fmla="*/ 503900 w 1737195"/>
                <a:gd name="connsiteY2473" fmla="*/ 382629 h 943041"/>
                <a:gd name="connsiteX2474" fmla="*/ 501808 w 1737195"/>
                <a:gd name="connsiteY2474" fmla="*/ 384220 h 943041"/>
                <a:gd name="connsiteX2475" fmla="*/ 499018 w 1737195"/>
                <a:gd name="connsiteY2475" fmla="*/ 388001 h 943041"/>
                <a:gd name="connsiteX2476" fmla="*/ 497822 w 1737195"/>
                <a:gd name="connsiteY2476" fmla="*/ 389095 h 943041"/>
                <a:gd name="connsiteX2477" fmla="*/ 496626 w 1737195"/>
                <a:gd name="connsiteY2477" fmla="*/ 389095 h 943041"/>
                <a:gd name="connsiteX2478" fmla="*/ 493936 w 1737195"/>
                <a:gd name="connsiteY2478" fmla="*/ 389095 h 943041"/>
                <a:gd name="connsiteX2479" fmla="*/ 492640 w 1737195"/>
                <a:gd name="connsiteY2479" fmla="*/ 389095 h 943041"/>
                <a:gd name="connsiteX2480" fmla="*/ 491345 w 1737195"/>
                <a:gd name="connsiteY2480" fmla="*/ 389891 h 943041"/>
                <a:gd name="connsiteX2481" fmla="*/ 488954 w 1737195"/>
                <a:gd name="connsiteY2481" fmla="*/ 391980 h 943041"/>
                <a:gd name="connsiteX2482" fmla="*/ 487360 w 1737195"/>
                <a:gd name="connsiteY2482" fmla="*/ 392478 h 943041"/>
                <a:gd name="connsiteX2483" fmla="*/ 486064 w 1737195"/>
                <a:gd name="connsiteY2483" fmla="*/ 392478 h 943041"/>
                <a:gd name="connsiteX2484" fmla="*/ 483274 w 1737195"/>
                <a:gd name="connsiteY2484" fmla="*/ 391682 h 943041"/>
                <a:gd name="connsiteX2485" fmla="*/ 481680 w 1737195"/>
                <a:gd name="connsiteY2485" fmla="*/ 391682 h 943041"/>
                <a:gd name="connsiteX2486" fmla="*/ 479487 w 1737195"/>
                <a:gd name="connsiteY2486" fmla="*/ 392577 h 943041"/>
                <a:gd name="connsiteX2487" fmla="*/ 472612 w 1737195"/>
                <a:gd name="connsiteY2487" fmla="*/ 398348 h 943041"/>
                <a:gd name="connsiteX2488" fmla="*/ 466833 w 1737195"/>
                <a:gd name="connsiteY2488" fmla="*/ 400039 h 943041"/>
                <a:gd name="connsiteX2489" fmla="*/ 454676 w 1737195"/>
                <a:gd name="connsiteY2489" fmla="*/ 400039 h 943041"/>
                <a:gd name="connsiteX2490" fmla="*/ 449196 w 1737195"/>
                <a:gd name="connsiteY2490" fmla="*/ 402128 h 943041"/>
                <a:gd name="connsiteX2491" fmla="*/ 446904 w 1737195"/>
                <a:gd name="connsiteY2491" fmla="*/ 404914 h 943041"/>
                <a:gd name="connsiteX2492" fmla="*/ 443217 w 1737195"/>
                <a:gd name="connsiteY2492" fmla="*/ 410883 h 943041"/>
                <a:gd name="connsiteX2493" fmla="*/ 440825 w 1737195"/>
                <a:gd name="connsiteY2493" fmla="*/ 412077 h 943041"/>
                <a:gd name="connsiteX2494" fmla="*/ 438334 w 1737195"/>
                <a:gd name="connsiteY2494" fmla="*/ 412773 h 943041"/>
                <a:gd name="connsiteX2495" fmla="*/ 433452 w 1737195"/>
                <a:gd name="connsiteY2495" fmla="*/ 416454 h 943041"/>
                <a:gd name="connsiteX2496" fmla="*/ 430861 w 1737195"/>
                <a:gd name="connsiteY2496" fmla="*/ 417748 h 943041"/>
                <a:gd name="connsiteX2497" fmla="*/ 378747 w 1737195"/>
                <a:gd name="connsiteY2497" fmla="*/ 436153 h 943041"/>
                <a:gd name="connsiteX2498" fmla="*/ 372769 w 1737195"/>
                <a:gd name="connsiteY2498" fmla="*/ 436153 h 943041"/>
                <a:gd name="connsiteX2499" fmla="*/ 367487 w 1737195"/>
                <a:gd name="connsiteY2499" fmla="*/ 433666 h 943041"/>
                <a:gd name="connsiteX2500" fmla="*/ 364698 w 1737195"/>
                <a:gd name="connsiteY2500" fmla="*/ 431775 h 943041"/>
                <a:gd name="connsiteX2501" fmla="*/ 362007 w 1737195"/>
                <a:gd name="connsiteY2501" fmla="*/ 430681 h 943041"/>
                <a:gd name="connsiteX2502" fmla="*/ 359317 w 1737195"/>
                <a:gd name="connsiteY2502" fmla="*/ 430681 h 943041"/>
                <a:gd name="connsiteX2503" fmla="*/ 354534 w 1737195"/>
                <a:gd name="connsiteY2503" fmla="*/ 435058 h 943041"/>
                <a:gd name="connsiteX2504" fmla="*/ 347559 w 1737195"/>
                <a:gd name="connsiteY2504" fmla="*/ 439138 h 943041"/>
                <a:gd name="connsiteX2505" fmla="*/ 345267 w 1737195"/>
                <a:gd name="connsiteY2505" fmla="*/ 441625 h 943041"/>
                <a:gd name="connsiteX2506" fmla="*/ 343573 w 1737195"/>
                <a:gd name="connsiteY2506" fmla="*/ 444211 h 943041"/>
                <a:gd name="connsiteX2507" fmla="*/ 341580 w 1737195"/>
                <a:gd name="connsiteY2507" fmla="*/ 446201 h 943041"/>
                <a:gd name="connsiteX2508" fmla="*/ 338392 w 1737195"/>
                <a:gd name="connsiteY2508" fmla="*/ 446997 h 943041"/>
                <a:gd name="connsiteX2509" fmla="*/ 335203 w 1737195"/>
                <a:gd name="connsiteY2509" fmla="*/ 446997 h 943041"/>
                <a:gd name="connsiteX2510" fmla="*/ 329623 w 1737195"/>
                <a:gd name="connsiteY2510" fmla="*/ 447693 h 943041"/>
                <a:gd name="connsiteX2511" fmla="*/ 318463 w 1737195"/>
                <a:gd name="connsiteY2511" fmla="*/ 453265 h 943041"/>
                <a:gd name="connsiteX2512" fmla="*/ 317267 w 1737195"/>
                <a:gd name="connsiteY2512" fmla="*/ 454956 h 943041"/>
                <a:gd name="connsiteX2513" fmla="*/ 316669 w 1737195"/>
                <a:gd name="connsiteY2513" fmla="*/ 457443 h 943041"/>
                <a:gd name="connsiteX2514" fmla="*/ 315174 w 1737195"/>
                <a:gd name="connsiteY2514" fmla="*/ 460826 h 943041"/>
                <a:gd name="connsiteX2515" fmla="*/ 311986 w 1737195"/>
                <a:gd name="connsiteY2515" fmla="*/ 466696 h 943041"/>
                <a:gd name="connsiteX2516" fmla="*/ 307801 w 1737195"/>
                <a:gd name="connsiteY2516" fmla="*/ 470476 h 943041"/>
                <a:gd name="connsiteX2517" fmla="*/ 292157 w 1737195"/>
                <a:gd name="connsiteY2517" fmla="*/ 474356 h 943041"/>
                <a:gd name="connsiteX2518" fmla="*/ 284883 w 1737195"/>
                <a:gd name="connsiteY2518" fmla="*/ 478435 h 943041"/>
                <a:gd name="connsiteX2519" fmla="*/ 281993 w 1737195"/>
                <a:gd name="connsiteY2519" fmla="*/ 478932 h 943041"/>
                <a:gd name="connsiteX2520" fmla="*/ 279701 w 1737195"/>
                <a:gd name="connsiteY2520" fmla="*/ 480226 h 943041"/>
                <a:gd name="connsiteX2521" fmla="*/ 272028 w 1737195"/>
                <a:gd name="connsiteY2521" fmla="*/ 489080 h 943041"/>
                <a:gd name="connsiteX2522" fmla="*/ 265253 w 1737195"/>
                <a:gd name="connsiteY2522" fmla="*/ 493856 h 943041"/>
                <a:gd name="connsiteX2523" fmla="*/ 259872 w 1737195"/>
                <a:gd name="connsiteY2523" fmla="*/ 496741 h 943041"/>
                <a:gd name="connsiteX2524" fmla="*/ 257580 w 1737195"/>
                <a:gd name="connsiteY2524" fmla="*/ 498532 h 943041"/>
                <a:gd name="connsiteX2525" fmla="*/ 257580 w 1737195"/>
                <a:gd name="connsiteY2525" fmla="*/ 503804 h 943041"/>
                <a:gd name="connsiteX2526" fmla="*/ 249808 w 1737195"/>
                <a:gd name="connsiteY2526" fmla="*/ 510072 h 943041"/>
                <a:gd name="connsiteX2527" fmla="*/ 246420 w 1737195"/>
                <a:gd name="connsiteY2527" fmla="*/ 510768 h 943041"/>
                <a:gd name="connsiteX2528" fmla="*/ 235559 w 1737195"/>
                <a:gd name="connsiteY2528" fmla="*/ 515643 h 943041"/>
                <a:gd name="connsiteX2529" fmla="*/ 231474 w 1737195"/>
                <a:gd name="connsiteY2529" fmla="*/ 516539 h 943041"/>
                <a:gd name="connsiteX2530" fmla="*/ 227188 w 1737195"/>
                <a:gd name="connsiteY2530" fmla="*/ 516539 h 943041"/>
                <a:gd name="connsiteX2531" fmla="*/ 224299 w 1737195"/>
                <a:gd name="connsiteY2531" fmla="*/ 515046 h 943041"/>
                <a:gd name="connsiteX2532" fmla="*/ 221409 w 1737195"/>
                <a:gd name="connsiteY2532" fmla="*/ 517335 h 943041"/>
                <a:gd name="connsiteX2533" fmla="*/ 218420 w 1737195"/>
                <a:gd name="connsiteY2533" fmla="*/ 519722 h 943041"/>
                <a:gd name="connsiteX2534" fmla="*/ 215929 w 1737195"/>
                <a:gd name="connsiteY2534" fmla="*/ 521712 h 943041"/>
                <a:gd name="connsiteX2535" fmla="*/ 213737 w 1737195"/>
                <a:gd name="connsiteY2535" fmla="*/ 523304 h 943041"/>
                <a:gd name="connsiteX2536" fmla="*/ 211644 w 1737195"/>
                <a:gd name="connsiteY2536" fmla="*/ 525095 h 943041"/>
                <a:gd name="connsiteX2537" fmla="*/ 210548 w 1737195"/>
                <a:gd name="connsiteY2537" fmla="*/ 526587 h 943041"/>
                <a:gd name="connsiteX2538" fmla="*/ 206761 w 1737195"/>
                <a:gd name="connsiteY2538" fmla="*/ 527283 h 943041"/>
                <a:gd name="connsiteX2539" fmla="*/ 202776 w 1737195"/>
                <a:gd name="connsiteY2539" fmla="*/ 534347 h 943041"/>
                <a:gd name="connsiteX2540" fmla="*/ 1157566 w 1737195"/>
                <a:gd name="connsiteY2540" fmla="*/ 918468 h 943041"/>
                <a:gd name="connsiteX2541" fmla="*/ 1156868 w 1737195"/>
                <a:gd name="connsiteY2541" fmla="*/ 921254 h 943041"/>
                <a:gd name="connsiteX2542" fmla="*/ 1155174 w 1737195"/>
                <a:gd name="connsiteY2542" fmla="*/ 923343 h 943041"/>
                <a:gd name="connsiteX2543" fmla="*/ 1153878 w 1737195"/>
                <a:gd name="connsiteY2543" fmla="*/ 926327 h 943041"/>
                <a:gd name="connsiteX2544" fmla="*/ 1152284 w 1737195"/>
                <a:gd name="connsiteY2544" fmla="*/ 928914 h 943041"/>
                <a:gd name="connsiteX2545" fmla="*/ 1149893 w 1737195"/>
                <a:gd name="connsiteY2545" fmla="*/ 929909 h 943041"/>
                <a:gd name="connsiteX2546" fmla="*/ 1150889 w 1737195"/>
                <a:gd name="connsiteY2546" fmla="*/ 927820 h 943041"/>
                <a:gd name="connsiteX2547" fmla="*/ 1150192 w 1737195"/>
                <a:gd name="connsiteY2547" fmla="*/ 926327 h 943041"/>
                <a:gd name="connsiteX2548" fmla="*/ 1149096 w 1737195"/>
                <a:gd name="connsiteY2548" fmla="*/ 925034 h 943041"/>
                <a:gd name="connsiteX2549" fmla="*/ 1147800 w 1737195"/>
                <a:gd name="connsiteY2549" fmla="*/ 924039 h 943041"/>
                <a:gd name="connsiteX2550" fmla="*/ 1146505 w 1737195"/>
                <a:gd name="connsiteY2550" fmla="*/ 923442 h 943041"/>
                <a:gd name="connsiteX2551" fmla="*/ 1147701 w 1737195"/>
                <a:gd name="connsiteY2551" fmla="*/ 922049 h 943041"/>
                <a:gd name="connsiteX2552" fmla="*/ 1149195 w 1737195"/>
                <a:gd name="connsiteY2552" fmla="*/ 921254 h 943041"/>
                <a:gd name="connsiteX2553" fmla="*/ 1152584 w 1737195"/>
                <a:gd name="connsiteY2553" fmla="*/ 920259 h 943041"/>
                <a:gd name="connsiteX2554" fmla="*/ 1151387 w 1737195"/>
                <a:gd name="connsiteY2554" fmla="*/ 916379 h 943041"/>
                <a:gd name="connsiteX2555" fmla="*/ 1152982 w 1737195"/>
                <a:gd name="connsiteY2555" fmla="*/ 915384 h 943041"/>
                <a:gd name="connsiteX2556" fmla="*/ 1158662 w 1737195"/>
                <a:gd name="connsiteY2556" fmla="*/ 915881 h 943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</a:cxnLst>
              <a:rect l="l" t="t" r="r" b="b"/>
              <a:pathLst>
                <a:path w="1737195" h="943041">
                  <a:moveTo>
                    <a:pt x="199188" y="538526"/>
                  </a:moveTo>
                  <a:lnTo>
                    <a:pt x="193608" y="541809"/>
                  </a:lnTo>
                  <a:lnTo>
                    <a:pt x="190918" y="543898"/>
                  </a:lnTo>
                  <a:lnTo>
                    <a:pt x="189324" y="547380"/>
                  </a:lnTo>
                  <a:lnTo>
                    <a:pt x="189324" y="548972"/>
                  </a:lnTo>
                  <a:lnTo>
                    <a:pt x="189324" y="551757"/>
                  </a:lnTo>
                  <a:lnTo>
                    <a:pt x="188028" y="554543"/>
                  </a:lnTo>
                  <a:lnTo>
                    <a:pt x="182648" y="561706"/>
                  </a:lnTo>
                  <a:lnTo>
                    <a:pt x="162719" y="578320"/>
                  </a:lnTo>
                  <a:lnTo>
                    <a:pt x="160328" y="581305"/>
                  </a:lnTo>
                  <a:lnTo>
                    <a:pt x="158135" y="585881"/>
                  </a:lnTo>
                  <a:lnTo>
                    <a:pt x="157139" y="591055"/>
                  </a:lnTo>
                  <a:lnTo>
                    <a:pt x="158434" y="595930"/>
                  </a:lnTo>
                  <a:lnTo>
                    <a:pt x="157737" y="597024"/>
                  </a:lnTo>
                  <a:lnTo>
                    <a:pt x="157139" y="599810"/>
                  </a:lnTo>
                  <a:lnTo>
                    <a:pt x="157139" y="601401"/>
                  </a:lnTo>
                  <a:lnTo>
                    <a:pt x="156043" y="602794"/>
                  </a:lnTo>
                  <a:lnTo>
                    <a:pt x="153352" y="605282"/>
                  </a:lnTo>
                  <a:lnTo>
                    <a:pt x="149366" y="612345"/>
                  </a:lnTo>
                  <a:lnTo>
                    <a:pt x="149366" y="614434"/>
                  </a:lnTo>
                  <a:lnTo>
                    <a:pt x="149366" y="618115"/>
                  </a:lnTo>
                  <a:lnTo>
                    <a:pt x="151957" y="624682"/>
                  </a:lnTo>
                  <a:lnTo>
                    <a:pt x="151957" y="627268"/>
                  </a:lnTo>
                  <a:lnTo>
                    <a:pt x="149865" y="630750"/>
                  </a:lnTo>
                  <a:lnTo>
                    <a:pt x="148669" y="631447"/>
                  </a:lnTo>
                  <a:lnTo>
                    <a:pt x="146776" y="632243"/>
                  </a:lnTo>
                  <a:lnTo>
                    <a:pt x="144982" y="632243"/>
                  </a:lnTo>
                  <a:lnTo>
                    <a:pt x="144185" y="631447"/>
                  </a:lnTo>
                  <a:lnTo>
                    <a:pt x="143488" y="629954"/>
                  </a:lnTo>
                  <a:lnTo>
                    <a:pt x="141893" y="629954"/>
                  </a:lnTo>
                  <a:lnTo>
                    <a:pt x="139004" y="630949"/>
                  </a:lnTo>
                  <a:lnTo>
                    <a:pt x="129039" y="629457"/>
                  </a:lnTo>
                  <a:lnTo>
                    <a:pt x="126847" y="630352"/>
                  </a:lnTo>
                  <a:lnTo>
                    <a:pt x="125751" y="631049"/>
                  </a:lnTo>
                  <a:lnTo>
                    <a:pt x="122961" y="631546"/>
                  </a:lnTo>
                  <a:lnTo>
                    <a:pt x="121666" y="632541"/>
                  </a:lnTo>
                  <a:lnTo>
                    <a:pt x="118875" y="636421"/>
                  </a:lnTo>
                  <a:lnTo>
                    <a:pt x="117779" y="637515"/>
                  </a:lnTo>
                  <a:lnTo>
                    <a:pt x="110705" y="641694"/>
                  </a:lnTo>
                  <a:lnTo>
                    <a:pt x="108612" y="643584"/>
                  </a:lnTo>
                  <a:lnTo>
                    <a:pt x="107417" y="644181"/>
                  </a:lnTo>
                  <a:lnTo>
                    <a:pt x="104626" y="644181"/>
                  </a:lnTo>
                  <a:lnTo>
                    <a:pt x="103431" y="644778"/>
                  </a:lnTo>
                  <a:lnTo>
                    <a:pt x="93466" y="655921"/>
                  </a:lnTo>
                  <a:lnTo>
                    <a:pt x="88384" y="659602"/>
                  </a:lnTo>
                  <a:lnTo>
                    <a:pt x="82904" y="661591"/>
                  </a:lnTo>
                  <a:lnTo>
                    <a:pt x="70548" y="661591"/>
                  </a:lnTo>
                  <a:lnTo>
                    <a:pt x="68157" y="662487"/>
                  </a:lnTo>
                  <a:lnTo>
                    <a:pt x="63673" y="666466"/>
                  </a:lnTo>
                  <a:lnTo>
                    <a:pt x="61182" y="667461"/>
                  </a:lnTo>
                  <a:lnTo>
                    <a:pt x="49922" y="669650"/>
                  </a:lnTo>
                  <a:lnTo>
                    <a:pt x="47231" y="670545"/>
                  </a:lnTo>
                  <a:lnTo>
                    <a:pt x="43844" y="673530"/>
                  </a:lnTo>
                  <a:lnTo>
                    <a:pt x="42448" y="674326"/>
                  </a:lnTo>
                  <a:lnTo>
                    <a:pt x="40954" y="675022"/>
                  </a:lnTo>
                  <a:lnTo>
                    <a:pt x="39659" y="675022"/>
                  </a:lnTo>
                  <a:lnTo>
                    <a:pt x="38363" y="675719"/>
                  </a:lnTo>
                  <a:lnTo>
                    <a:pt x="38363" y="677211"/>
                  </a:lnTo>
                  <a:lnTo>
                    <a:pt x="38363" y="679101"/>
                  </a:lnTo>
                  <a:lnTo>
                    <a:pt x="38363" y="680494"/>
                  </a:lnTo>
                  <a:lnTo>
                    <a:pt x="34577" y="685070"/>
                  </a:lnTo>
                  <a:lnTo>
                    <a:pt x="29893" y="688155"/>
                  </a:lnTo>
                  <a:lnTo>
                    <a:pt x="9964" y="696710"/>
                  </a:lnTo>
                  <a:lnTo>
                    <a:pt x="0" y="698999"/>
                  </a:lnTo>
                  <a:lnTo>
                    <a:pt x="2192" y="698999"/>
                  </a:lnTo>
                  <a:lnTo>
                    <a:pt x="14847" y="698999"/>
                  </a:lnTo>
                  <a:lnTo>
                    <a:pt x="27502" y="698999"/>
                  </a:lnTo>
                  <a:lnTo>
                    <a:pt x="128641" y="698999"/>
                  </a:lnTo>
                  <a:lnTo>
                    <a:pt x="141196" y="698999"/>
                  </a:lnTo>
                  <a:lnTo>
                    <a:pt x="240939" y="698999"/>
                  </a:lnTo>
                  <a:lnTo>
                    <a:pt x="253495" y="698999"/>
                  </a:lnTo>
                  <a:lnTo>
                    <a:pt x="405253" y="698999"/>
                  </a:lnTo>
                  <a:lnTo>
                    <a:pt x="405253" y="695318"/>
                  </a:lnTo>
                  <a:lnTo>
                    <a:pt x="405253" y="692731"/>
                  </a:lnTo>
                  <a:lnTo>
                    <a:pt x="406249" y="690542"/>
                  </a:lnTo>
                  <a:lnTo>
                    <a:pt x="411331" y="683379"/>
                  </a:lnTo>
                  <a:lnTo>
                    <a:pt x="412029" y="681688"/>
                  </a:lnTo>
                  <a:lnTo>
                    <a:pt x="412726" y="678703"/>
                  </a:lnTo>
                  <a:lnTo>
                    <a:pt x="412726" y="677012"/>
                  </a:lnTo>
                  <a:lnTo>
                    <a:pt x="416413" y="671341"/>
                  </a:lnTo>
                  <a:lnTo>
                    <a:pt x="417210" y="668356"/>
                  </a:lnTo>
                  <a:lnTo>
                    <a:pt x="415118" y="666367"/>
                  </a:lnTo>
                  <a:lnTo>
                    <a:pt x="411829" y="664875"/>
                  </a:lnTo>
                  <a:lnTo>
                    <a:pt x="413125" y="663780"/>
                  </a:lnTo>
                  <a:lnTo>
                    <a:pt x="418705" y="662487"/>
                  </a:lnTo>
                  <a:lnTo>
                    <a:pt x="420398" y="660995"/>
                  </a:lnTo>
                  <a:lnTo>
                    <a:pt x="424085" y="656518"/>
                  </a:lnTo>
                  <a:lnTo>
                    <a:pt x="426377" y="654826"/>
                  </a:lnTo>
                  <a:lnTo>
                    <a:pt x="429267" y="654030"/>
                  </a:lnTo>
                  <a:lnTo>
                    <a:pt x="431559" y="654030"/>
                  </a:lnTo>
                  <a:lnTo>
                    <a:pt x="442220" y="660099"/>
                  </a:lnTo>
                  <a:lnTo>
                    <a:pt x="445210" y="661094"/>
                  </a:lnTo>
                  <a:lnTo>
                    <a:pt x="448398" y="661094"/>
                  </a:lnTo>
                  <a:lnTo>
                    <a:pt x="450790" y="660000"/>
                  </a:lnTo>
                  <a:lnTo>
                    <a:pt x="454676" y="654428"/>
                  </a:lnTo>
                  <a:lnTo>
                    <a:pt x="456669" y="652240"/>
                  </a:lnTo>
                  <a:lnTo>
                    <a:pt x="457865" y="652240"/>
                  </a:lnTo>
                  <a:lnTo>
                    <a:pt x="457865" y="652240"/>
                  </a:lnTo>
                  <a:lnTo>
                    <a:pt x="460555" y="651742"/>
                  </a:lnTo>
                  <a:lnTo>
                    <a:pt x="461751" y="651742"/>
                  </a:lnTo>
                  <a:lnTo>
                    <a:pt x="464043" y="649653"/>
                  </a:lnTo>
                  <a:lnTo>
                    <a:pt x="465139" y="647862"/>
                  </a:lnTo>
                  <a:lnTo>
                    <a:pt x="466534" y="646469"/>
                  </a:lnTo>
                  <a:lnTo>
                    <a:pt x="469523" y="645673"/>
                  </a:lnTo>
                  <a:lnTo>
                    <a:pt x="472712" y="646270"/>
                  </a:lnTo>
                  <a:lnTo>
                    <a:pt x="474804" y="648260"/>
                  </a:lnTo>
                  <a:lnTo>
                    <a:pt x="480384" y="661989"/>
                  </a:lnTo>
                  <a:lnTo>
                    <a:pt x="482278" y="663880"/>
                  </a:lnTo>
                  <a:lnTo>
                    <a:pt x="484569" y="662089"/>
                  </a:lnTo>
                  <a:lnTo>
                    <a:pt x="484569" y="660596"/>
                  </a:lnTo>
                  <a:lnTo>
                    <a:pt x="484569" y="657512"/>
                  </a:lnTo>
                  <a:lnTo>
                    <a:pt x="484569" y="656120"/>
                  </a:lnTo>
                  <a:lnTo>
                    <a:pt x="485566" y="654926"/>
                  </a:lnTo>
                  <a:lnTo>
                    <a:pt x="488156" y="653235"/>
                  </a:lnTo>
                  <a:lnTo>
                    <a:pt x="489053" y="651842"/>
                  </a:lnTo>
                  <a:lnTo>
                    <a:pt x="489053" y="648758"/>
                  </a:lnTo>
                  <a:lnTo>
                    <a:pt x="489053" y="641694"/>
                  </a:lnTo>
                  <a:lnTo>
                    <a:pt x="489053" y="638411"/>
                  </a:lnTo>
                  <a:lnTo>
                    <a:pt x="490149" y="635625"/>
                  </a:lnTo>
                  <a:lnTo>
                    <a:pt x="491744" y="633536"/>
                  </a:lnTo>
                  <a:lnTo>
                    <a:pt x="494036" y="632442"/>
                  </a:lnTo>
                  <a:lnTo>
                    <a:pt x="496925" y="632442"/>
                  </a:lnTo>
                  <a:lnTo>
                    <a:pt x="499416" y="633735"/>
                  </a:lnTo>
                  <a:lnTo>
                    <a:pt x="503800" y="637715"/>
                  </a:lnTo>
                  <a:lnTo>
                    <a:pt x="506491" y="639107"/>
                  </a:lnTo>
                  <a:lnTo>
                    <a:pt x="509182" y="639107"/>
                  </a:lnTo>
                  <a:lnTo>
                    <a:pt x="511971" y="638013"/>
                  </a:lnTo>
                  <a:lnTo>
                    <a:pt x="513466" y="635924"/>
                  </a:lnTo>
                  <a:lnTo>
                    <a:pt x="512370" y="632939"/>
                  </a:lnTo>
                  <a:lnTo>
                    <a:pt x="510078" y="631049"/>
                  </a:lnTo>
                  <a:lnTo>
                    <a:pt x="505096" y="628263"/>
                  </a:lnTo>
                  <a:lnTo>
                    <a:pt x="503203" y="625875"/>
                  </a:lnTo>
                  <a:lnTo>
                    <a:pt x="502007" y="622592"/>
                  </a:lnTo>
                  <a:lnTo>
                    <a:pt x="502007" y="619906"/>
                  </a:lnTo>
                  <a:lnTo>
                    <a:pt x="507587" y="609957"/>
                  </a:lnTo>
                  <a:lnTo>
                    <a:pt x="519844" y="597124"/>
                  </a:lnTo>
                  <a:lnTo>
                    <a:pt x="522035" y="595432"/>
                  </a:lnTo>
                  <a:lnTo>
                    <a:pt x="529309" y="592348"/>
                  </a:lnTo>
                  <a:lnTo>
                    <a:pt x="533096" y="589463"/>
                  </a:lnTo>
                  <a:lnTo>
                    <a:pt x="534691" y="588767"/>
                  </a:lnTo>
                  <a:lnTo>
                    <a:pt x="538875" y="588767"/>
                  </a:lnTo>
                  <a:lnTo>
                    <a:pt x="540271" y="588767"/>
                  </a:lnTo>
                  <a:lnTo>
                    <a:pt x="542861" y="586976"/>
                  </a:lnTo>
                  <a:lnTo>
                    <a:pt x="544356" y="584588"/>
                  </a:lnTo>
                  <a:lnTo>
                    <a:pt x="544954" y="581703"/>
                  </a:lnTo>
                  <a:lnTo>
                    <a:pt x="544954" y="578221"/>
                  </a:lnTo>
                  <a:lnTo>
                    <a:pt x="544455" y="576530"/>
                  </a:lnTo>
                  <a:lnTo>
                    <a:pt x="543758" y="575535"/>
                  </a:lnTo>
                  <a:lnTo>
                    <a:pt x="543260" y="574540"/>
                  </a:lnTo>
                  <a:lnTo>
                    <a:pt x="543260" y="572849"/>
                  </a:lnTo>
                  <a:lnTo>
                    <a:pt x="543957" y="571854"/>
                  </a:lnTo>
                  <a:lnTo>
                    <a:pt x="546448" y="569466"/>
                  </a:lnTo>
                  <a:lnTo>
                    <a:pt x="556413" y="562601"/>
                  </a:lnTo>
                  <a:lnTo>
                    <a:pt x="560199" y="558920"/>
                  </a:lnTo>
                  <a:lnTo>
                    <a:pt x="562790" y="553648"/>
                  </a:lnTo>
                  <a:lnTo>
                    <a:pt x="563687" y="549469"/>
                  </a:lnTo>
                  <a:lnTo>
                    <a:pt x="562690" y="548275"/>
                  </a:lnTo>
                  <a:lnTo>
                    <a:pt x="560498" y="547778"/>
                  </a:lnTo>
                  <a:lnTo>
                    <a:pt x="557609" y="546286"/>
                  </a:lnTo>
                  <a:lnTo>
                    <a:pt x="556014" y="543997"/>
                  </a:lnTo>
                  <a:lnTo>
                    <a:pt x="556014" y="541411"/>
                  </a:lnTo>
                  <a:lnTo>
                    <a:pt x="557409" y="535541"/>
                  </a:lnTo>
                  <a:lnTo>
                    <a:pt x="557409" y="535043"/>
                  </a:lnTo>
                  <a:lnTo>
                    <a:pt x="558605" y="533949"/>
                  </a:lnTo>
                  <a:lnTo>
                    <a:pt x="558605" y="533352"/>
                  </a:lnTo>
                  <a:lnTo>
                    <a:pt x="558605" y="532457"/>
                  </a:lnTo>
                  <a:lnTo>
                    <a:pt x="558605" y="531860"/>
                  </a:lnTo>
                  <a:lnTo>
                    <a:pt x="558007" y="531263"/>
                  </a:lnTo>
                  <a:lnTo>
                    <a:pt x="558007" y="530567"/>
                  </a:lnTo>
                  <a:lnTo>
                    <a:pt x="557110" y="529572"/>
                  </a:lnTo>
                  <a:lnTo>
                    <a:pt x="557110" y="528378"/>
                  </a:lnTo>
                  <a:lnTo>
                    <a:pt x="558704" y="526786"/>
                  </a:lnTo>
                  <a:lnTo>
                    <a:pt x="563288" y="524000"/>
                  </a:lnTo>
                  <a:lnTo>
                    <a:pt x="565182" y="521712"/>
                  </a:lnTo>
                  <a:lnTo>
                    <a:pt x="565879" y="518429"/>
                  </a:lnTo>
                  <a:lnTo>
                    <a:pt x="565182" y="514847"/>
                  </a:lnTo>
                  <a:lnTo>
                    <a:pt x="563388" y="511564"/>
                  </a:lnTo>
                  <a:lnTo>
                    <a:pt x="560697" y="510172"/>
                  </a:lnTo>
                  <a:lnTo>
                    <a:pt x="560697" y="506888"/>
                  </a:lnTo>
                  <a:lnTo>
                    <a:pt x="564185" y="500521"/>
                  </a:lnTo>
                  <a:lnTo>
                    <a:pt x="566377" y="494552"/>
                  </a:lnTo>
                  <a:lnTo>
                    <a:pt x="567971" y="492463"/>
                  </a:lnTo>
                  <a:lnTo>
                    <a:pt x="570662" y="491766"/>
                  </a:lnTo>
                  <a:lnTo>
                    <a:pt x="570662" y="490175"/>
                  </a:lnTo>
                  <a:lnTo>
                    <a:pt x="570662" y="486593"/>
                  </a:lnTo>
                  <a:lnTo>
                    <a:pt x="571758" y="483111"/>
                  </a:lnTo>
                  <a:lnTo>
                    <a:pt x="574448" y="481519"/>
                  </a:lnTo>
                  <a:lnTo>
                    <a:pt x="576242" y="480823"/>
                  </a:lnTo>
                  <a:lnTo>
                    <a:pt x="586206" y="473262"/>
                  </a:lnTo>
                  <a:lnTo>
                    <a:pt x="587701" y="468984"/>
                  </a:lnTo>
                  <a:lnTo>
                    <a:pt x="589196" y="458339"/>
                  </a:lnTo>
                  <a:lnTo>
                    <a:pt x="591388" y="442321"/>
                  </a:lnTo>
                  <a:lnTo>
                    <a:pt x="592584" y="433865"/>
                  </a:lnTo>
                  <a:lnTo>
                    <a:pt x="594577" y="426901"/>
                  </a:lnTo>
                  <a:lnTo>
                    <a:pt x="596868" y="424015"/>
                  </a:lnTo>
                  <a:lnTo>
                    <a:pt x="608327" y="409391"/>
                  </a:lnTo>
                  <a:lnTo>
                    <a:pt x="619786" y="394766"/>
                  </a:lnTo>
                  <a:lnTo>
                    <a:pt x="631146" y="380042"/>
                  </a:lnTo>
                  <a:lnTo>
                    <a:pt x="642605" y="365417"/>
                  </a:lnTo>
                  <a:lnTo>
                    <a:pt x="654064" y="350693"/>
                  </a:lnTo>
                  <a:lnTo>
                    <a:pt x="665523" y="335969"/>
                  </a:lnTo>
                  <a:lnTo>
                    <a:pt x="676982" y="321245"/>
                  </a:lnTo>
                  <a:lnTo>
                    <a:pt x="688342" y="303437"/>
                  </a:lnTo>
                  <a:lnTo>
                    <a:pt x="690434" y="301248"/>
                  </a:lnTo>
                  <a:lnTo>
                    <a:pt x="692128" y="300353"/>
                  </a:lnTo>
                  <a:lnTo>
                    <a:pt x="694121" y="300353"/>
                  </a:lnTo>
                  <a:lnTo>
                    <a:pt x="713452" y="304929"/>
                  </a:lnTo>
                  <a:lnTo>
                    <a:pt x="715345" y="307118"/>
                  </a:lnTo>
                  <a:lnTo>
                    <a:pt x="715345" y="311893"/>
                  </a:lnTo>
                  <a:lnTo>
                    <a:pt x="713850" y="321842"/>
                  </a:lnTo>
                  <a:lnTo>
                    <a:pt x="713850" y="327314"/>
                  </a:lnTo>
                  <a:lnTo>
                    <a:pt x="713850" y="328209"/>
                  </a:lnTo>
                  <a:lnTo>
                    <a:pt x="714548" y="331691"/>
                  </a:lnTo>
                  <a:lnTo>
                    <a:pt x="716740" y="334974"/>
                  </a:lnTo>
                  <a:lnTo>
                    <a:pt x="733679" y="344923"/>
                  </a:lnTo>
                  <a:lnTo>
                    <a:pt x="735772" y="344923"/>
                  </a:lnTo>
                  <a:lnTo>
                    <a:pt x="752014" y="337262"/>
                  </a:lnTo>
                  <a:lnTo>
                    <a:pt x="757594" y="335969"/>
                  </a:lnTo>
                  <a:lnTo>
                    <a:pt x="763872" y="335969"/>
                  </a:lnTo>
                  <a:lnTo>
                    <a:pt x="766961" y="335969"/>
                  </a:lnTo>
                  <a:lnTo>
                    <a:pt x="769252" y="334377"/>
                  </a:lnTo>
                  <a:lnTo>
                    <a:pt x="771544" y="331890"/>
                  </a:lnTo>
                  <a:lnTo>
                    <a:pt x="774434" y="329801"/>
                  </a:lnTo>
                  <a:lnTo>
                    <a:pt x="780213" y="327015"/>
                  </a:lnTo>
                  <a:lnTo>
                    <a:pt x="782904" y="326219"/>
                  </a:lnTo>
                  <a:lnTo>
                    <a:pt x="786292" y="326219"/>
                  </a:lnTo>
                  <a:lnTo>
                    <a:pt x="789381" y="326219"/>
                  </a:lnTo>
                  <a:lnTo>
                    <a:pt x="793366" y="328607"/>
                  </a:lnTo>
                  <a:lnTo>
                    <a:pt x="795061" y="328607"/>
                  </a:lnTo>
                  <a:lnTo>
                    <a:pt x="796555" y="327911"/>
                  </a:lnTo>
                  <a:lnTo>
                    <a:pt x="799744" y="327214"/>
                  </a:lnTo>
                  <a:lnTo>
                    <a:pt x="799744" y="326319"/>
                  </a:lnTo>
                  <a:lnTo>
                    <a:pt x="799744" y="324926"/>
                  </a:lnTo>
                  <a:lnTo>
                    <a:pt x="799744" y="322936"/>
                  </a:lnTo>
                  <a:lnTo>
                    <a:pt x="804128" y="317862"/>
                  </a:lnTo>
                  <a:lnTo>
                    <a:pt x="810206" y="316370"/>
                  </a:lnTo>
                  <a:lnTo>
                    <a:pt x="816982" y="317564"/>
                  </a:lnTo>
                  <a:lnTo>
                    <a:pt x="823259" y="320648"/>
                  </a:lnTo>
                  <a:lnTo>
                    <a:pt x="824854" y="322041"/>
                  </a:lnTo>
                  <a:lnTo>
                    <a:pt x="828441" y="326319"/>
                  </a:lnTo>
                  <a:lnTo>
                    <a:pt x="829836" y="327214"/>
                  </a:lnTo>
                  <a:lnTo>
                    <a:pt x="833623" y="328706"/>
                  </a:lnTo>
                  <a:lnTo>
                    <a:pt x="835317" y="329801"/>
                  </a:lnTo>
                  <a:lnTo>
                    <a:pt x="843188" y="336467"/>
                  </a:lnTo>
                  <a:lnTo>
                    <a:pt x="849067" y="340048"/>
                  </a:lnTo>
                  <a:lnTo>
                    <a:pt x="852954" y="344227"/>
                  </a:lnTo>
                  <a:lnTo>
                    <a:pt x="854050" y="346017"/>
                  </a:lnTo>
                  <a:lnTo>
                    <a:pt x="854050" y="348305"/>
                  </a:lnTo>
                  <a:lnTo>
                    <a:pt x="854847" y="349698"/>
                  </a:lnTo>
                  <a:lnTo>
                    <a:pt x="860427" y="353877"/>
                  </a:lnTo>
                  <a:lnTo>
                    <a:pt x="864114" y="359050"/>
                  </a:lnTo>
                  <a:lnTo>
                    <a:pt x="866107" y="360642"/>
                  </a:lnTo>
                  <a:lnTo>
                    <a:pt x="871288" y="363229"/>
                  </a:lnTo>
                  <a:lnTo>
                    <a:pt x="871985" y="364323"/>
                  </a:lnTo>
                  <a:lnTo>
                    <a:pt x="871985" y="370790"/>
                  </a:lnTo>
                  <a:lnTo>
                    <a:pt x="871985" y="392776"/>
                  </a:lnTo>
                  <a:lnTo>
                    <a:pt x="871985" y="414664"/>
                  </a:lnTo>
                  <a:lnTo>
                    <a:pt x="871985" y="436650"/>
                  </a:lnTo>
                  <a:lnTo>
                    <a:pt x="871985" y="458538"/>
                  </a:lnTo>
                  <a:lnTo>
                    <a:pt x="871985" y="480325"/>
                  </a:lnTo>
                  <a:lnTo>
                    <a:pt x="871985" y="502113"/>
                  </a:lnTo>
                  <a:lnTo>
                    <a:pt x="871985" y="523901"/>
                  </a:lnTo>
                  <a:lnTo>
                    <a:pt x="871985" y="545689"/>
                  </a:lnTo>
                  <a:lnTo>
                    <a:pt x="871985" y="547280"/>
                  </a:lnTo>
                  <a:lnTo>
                    <a:pt x="872783" y="548474"/>
                  </a:lnTo>
                  <a:lnTo>
                    <a:pt x="873978" y="549569"/>
                  </a:lnTo>
                  <a:lnTo>
                    <a:pt x="874975" y="550762"/>
                  </a:lnTo>
                  <a:lnTo>
                    <a:pt x="874975" y="552255"/>
                  </a:lnTo>
                  <a:lnTo>
                    <a:pt x="873480" y="554742"/>
                  </a:lnTo>
                  <a:lnTo>
                    <a:pt x="871288" y="557030"/>
                  </a:lnTo>
                  <a:lnTo>
                    <a:pt x="869794" y="559318"/>
                  </a:lnTo>
                  <a:lnTo>
                    <a:pt x="870590" y="562005"/>
                  </a:lnTo>
                  <a:lnTo>
                    <a:pt x="872683" y="564989"/>
                  </a:lnTo>
                  <a:lnTo>
                    <a:pt x="872683" y="567078"/>
                  </a:lnTo>
                  <a:lnTo>
                    <a:pt x="871786" y="569068"/>
                  </a:lnTo>
                  <a:lnTo>
                    <a:pt x="869992" y="571655"/>
                  </a:lnTo>
                  <a:lnTo>
                    <a:pt x="868498" y="574540"/>
                  </a:lnTo>
                  <a:lnTo>
                    <a:pt x="867900" y="576928"/>
                  </a:lnTo>
                  <a:lnTo>
                    <a:pt x="867900" y="585682"/>
                  </a:lnTo>
                  <a:lnTo>
                    <a:pt x="868797" y="587772"/>
                  </a:lnTo>
                  <a:lnTo>
                    <a:pt x="870590" y="589165"/>
                  </a:lnTo>
                  <a:lnTo>
                    <a:pt x="873679" y="590955"/>
                  </a:lnTo>
                  <a:lnTo>
                    <a:pt x="875473" y="590955"/>
                  </a:lnTo>
                  <a:lnTo>
                    <a:pt x="876370" y="590060"/>
                  </a:lnTo>
                  <a:lnTo>
                    <a:pt x="877067" y="588866"/>
                  </a:lnTo>
                  <a:lnTo>
                    <a:pt x="877964" y="588866"/>
                  </a:lnTo>
                  <a:lnTo>
                    <a:pt x="879359" y="589961"/>
                  </a:lnTo>
                  <a:lnTo>
                    <a:pt x="880156" y="591552"/>
                  </a:lnTo>
                  <a:lnTo>
                    <a:pt x="880854" y="593343"/>
                  </a:lnTo>
                  <a:lnTo>
                    <a:pt x="882647" y="595034"/>
                  </a:lnTo>
                  <a:lnTo>
                    <a:pt x="886534" y="597721"/>
                  </a:lnTo>
                  <a:lnTo>
                    <a:pt x="893210" y="600506"/>
                  </a:lnTo>
                  <a:lnTo>
                    <a:pt x="900285" y="602098"/>
                  </a:lnTo>
                  <a:lnTo>
                    <a:pt x="906064" y="602098"/>
                  </a:lnTo>
                  <a:lnTo>
                    <a:pt x="909950" y="601601"/>
                  </a:lnTo>
                  <a:lnTo>
                    <a:pt x="913238" y="601601"/>
                  </a:lnTo>
                  <a:lnTo>
                    <a:pt x="915630" y="603690"/>
                  </a:lnTo>
                  <a:lnTo>
                    <a:pt x="916726" y="608366"/>
                  </a:lnTo>
                  <a:lnTo>
                    <a:pt x="916726" y="614036"/>
                  </a:lnTo>
                  <a:lnTo>
                    <a:pt x="914633" y="615827"/>
                  </a:lnTo>
                  <a:lnTo>
                    <a:pt x="911544" y="618115"/>
                  </a:lnTo>
                  <a:lnTo>
                    <a:pt x="908256" y="620603"/>
                  </a:lnTo>
                  <a:lnTo>
                    <a:pt x="909651" y="626572"/>
                  </a:lnTo>
                  <a:lnTo>
                    <a:pt x="916427" y="637615"/>
                  </a:lnTo>
                  <a:lnTo>
                    <a:pt x="915729" y="643485"/>
                  </a:lnTo>
                  <a:lnTo>
                    <a:pt x="912541" y="648658"/>
                  </a:lnTo>
                  <a:lnTo>
                    <a:pt x="911345" y="651344"/>
                  </a:lnTo>
                  <a:lnTo>
                    <a:pt x="910548" y="654428"/>
                  </a:lnTo>
                  <a:lnTo>
                    <a:pt x="910548" y="657015"/>
                  </a:lnTo>
                  <a:lnTo>
                    <a:pt x="916028" y="661790"/>
                  </a:lnTo>
                  <a:lnTo>
                    <a:pt x="920811" y="668755"/>
                  </a:lnTo>
                  <a:lnTo>
                    <a:pt x="925096" y="673132"/>
                  </a:lnTo>
                  <a:lnTo>
                    <a:pt x="929779" y="675022"/>
                  </a:lnTo>
                  <a:lnTo>
                    <a:pt x="934163" y="672535"/>
                  </a:lnTo>
                  <a:lnTo>
                    <a:pt x="934861" y="671043"/>
                  </a:lnTo>
                  <a:lnTo>
                    <a:pt x="934861" y="669650"/>
                  </a:lnTo>
                  <a:lnTo>
                    <a:pt x="934861" y="668456"/>
                  </a:lnTo>
                  <a:lnTo>
                    <a:pt x="936057" y="667262"/>
                  </a:lnTo>
                  <a:lnTo>
                    <a:pt x="937651" y="667262"/>
                  </a:lnTo>
                  <a:lnTo>
                    <a:pt x="939245" y="667262"/>
                  </a:lnTo>
                  <a:lnTo>
                    <a:pt x="942135" y="668954"/>
                  </a:lnTo>
                  <a:lnTo>
                    <a:pt x="943829" y="668954"/>
                  </a:lnTo>
                  <a:lnTo>
                    <a:pt x="947715" y="670645"/>
                  </a:lnTo>
                  <a:lnTo>
                    <a:pt x="946818" y="669152"/>
                  </a:lnTo>
                  <a:lnTo>
                    <a:pt x="946220" y="667063"/>
                  </a:lnTo>
                  <a:lnTo>
                    <a:pt x="946220" y="664476"/>
                  </a:lnTo>
                  <a:lnTo>
                    <a:pt x="946220" y="661989"/>
                  </a:lnTo>
                  <a:lnTo>
                    <a:pt x="947914" y="662586"/>
                  </a:lnTo>
                  <a:lnTo>
                    <a:pt x="949110" y="663681"/>
                  </a:lnTo>
                  <a:lnTo>
                    <a:pt x="949708" y="665173"/>
                  </a:lnTo>
                  <a:lnTo>
                    <a:pt x="949708" y="667461"/>
                  </a:lnTo>
                  <a:lnTo>
                    <a:pt x="957381" y="666566"/>
                  </a:lnTo>
                  <a:lnTo>
                    <a:pt x="958377" y="666566"/>
                  </a:lnTo>
                  <a:lnTo>
                    <a:pt x="958975" y="667859"/>
                  </a:lnTo>
                  <a:lnTo>
                    <a:pt x="958975" y="672834"/>
                  </a:lnTo>
                  <a:lnTo>
                    <a:pt x="958975" y="674624"/>
                  </a:lnTo>
                  <a:lnTo>
                    <a:pt x="959772" y="676216"/>
                  </a:lnTo>
                  <a:lnTo>
                    <a:pt x="964654" y="683678"/>
                  </a:lnTo>
                  <a:lnTo>
                    <a:pt x="967345" y="686065"/>
                  </a:lnTo>
                  <a:lnTo>
                    <a:pt x="970534" y="687160"/>
                  </a:lnTo>
                  <a:lnTo>
                    <a:pt x="969338" y="683877"/>
                  </a:lnTo>
                  <a:lnTo>
                    <a:pt x="969338" y="680494"/>
                  </a:lnTo>
                  <a:lnTo>
                    <a:pt x="970234" y="677808"/>
                  </a:lnTo>
                  <a:lnTo>
                    <a:pt x="970234" y="676216"/>
                  </a:lnTo>
                  <a:lnTo>
                    <a:pt x="972626" y="672336"/>
                  </a:lnTo>
                  <a:lnTo>
                    <a:pt x="974619" y="672336"/>
                  </a:lnTo>
                  <a:lnTo>
                    <a:pt x="976412" y="673032"/>
                  </a:lnTo>
                  <a:lnTo>
                    <a:pt x="977110" y="673530"/>
                  </a:lnTo>
                  <a:lnTo>
                    <a:pt x="977708" y="671540"/>
                  </a:lnTo>
                  <a:lnTo>
                    <a:pt x="979003" y="669849"/>
                  </a:lnTo>
                  <a:lnTo>
                    <a:pt x="980797" y="668655"/>
                  </a:lnTo>
                  <a:lnTo>
                    <a:pt x="982491" y="668655"/>
                  </a:lnTo>
                  <a:lnTo>
                    <a:pt x="983487" y="669849"/>
                  </a:lnTo>
                  <a:lnTo>
                    <a:pt x="984483" y="672038"/>
                  </a:lnTo>
                  <a:lnTo>
                    <a:pt x="985978" y="674226"/>
                  </a:lnTo>
                  <a:lnTo>
                    <a:pt x="988071" y="675122"/>
                  </a:lnTo>
                  <a:lnTo>
                    <a:pt x="989865" y="675122"/>
                  </a:lnTo>
                  <a:lnTo>
                    <a:pt x="991858" y="675719"/>
                  </a:lnTo>
                  <a:lnTo>
                    <a:pt x="993651" y="676813"/>
                  </a:lnTo>
                  <a:lnTo>
                    <a:pt x="994647" y="678206"/>
                  </a:lnTo>
                  <a:lnTo>
                    <a:pt x="992754" y="678206"/>
                  </a:lnTo>
                  <a:lnTo>
                    <a:pt x="989865" y="679101"/>
                  </a:lnTo>
                  <a:lnTo>
                    <a:pt x="988071" y="679101"/>
                  </a:lnTo>
                  <a:lnTo>
                    <a:pt x="986576" y="680196"/>
                  </a:lnTo>
                  <a:lnTo>
                    <a:pt x="986576" y="682583"/>
                  </a:lnTo>
                  <a:lnTo>
                    <a:pt x="989067" y="688652"/>
                  </a:lnTo>
                  <a:lnTo>
                    <a:pt x="991160" y="687956"/>
                  </a:lnTo>
                  <a:lnTo>
                    <a:pt x="995046" y="684374"/>
                  </a:lnTo>
                  <a:lnTo>
                    <a:pt x="996840" y="684374"/>
                  </a:lnTo>
                  <a:lnTo>
                    <a:pt x="998633" y="684374"/>
                  </a:lnTo>
                  <a:lnTo>
                    <a:pt x="999829" y="683777"/>
                  </a:lnTo>
                  <a:lnTo>
                    <a:pt x="999829" y="681389"/>
                  </a:lnTo>
                  <a:lnTo>
                    <a:pt x="1002220" y="683180"/>
                  </a:lnTo>
                  <a:lnTo>
                    <a:pt x="1001423" y="685767"/>
                  </a:lnTo>
                  <a:lnTo>
                    <a:pt x="1000128" y="688155"/>
                  </a:lnTo>
                  <a:lnTo>
                    <a:pt x="1001124" y="689149"/>
                  </a:lnTo>
                  <a:lnTo>
                    <a:pt x="1004014" y="689149"/>
                  </a:lnTo>
                  <a:lnTo>
                    <a:pt x="1006704" y="688453"/>
                  </a:lnTo>
                  <a:lnTo>
                    <a:pt x="1008498" y="686861"/>
                  </a:lnTo>
                  <a:lnTo>
                    <a:pt x="1009295" y="683877"/>
                  </a:lnTo>
                  <a:lnTo>
                    <a:pt x="1010192" y="683877"/>
                  </a:lnTo>
                  <a:lnTo>
                    <a:pt x="1011089" y="684374"/>
                  </a:lnTo>
                  <a:lnTo>
                    <a:pt x="1010192" y="685568"/>
                  </a:lnTo>
                  <a:lnTo>
                    <a:pt x="1013380" y="686463"/>
                  </a:lnTo>
                  <a:lnTo>
                    <a:pt x="1017466" y="684871"/>
                  </a:lnTo>
                  <a:lnTo>
                    <a:pt x="1031516" y="675918"/>
                  </a:lnTo>
                  <a:lnTo>
                    <a:pt x="1032313" y="675918"/>
                  </a:lnTo>
                  <a:lnTo>
                    <a:pt x="1035302" y="675918"/>
                  </a:lnTo>
                  <a:lnTo>
                    <a:pt x="1037096" y="675321"/>
                  </a:lnTo>
                  <a:lnTo>
                    <a:pt x="1038989" y="674027"/>
                  </a:lnTo>
                  <a:lnTo>
                    <a:pt x="1042875" y="680594"/>
                  </a:lnTo>
                  <a:lnTo>
                    <a:pt x="1042875" y="681688"/>
                  </a:lnTo>
                  <a:lnTo>
                    <a:pt x="1042875" y="682185"/>
                  </a:lnTo>
                  <a:lnTo>
                    <a:pt x="1042875" y="685667"/>
                  </a:lnTo>
                  <a:lnTo>
                    <a:pt x="1042875" y="686563"/>
                  </a:lnTo>
                  <a:lnTo>
                    <a:pt x="1043872" y="686563"/>
                  </a:lnTo>
                  <a:lnTo>
                    <a:pt x="1047060" y="686463"/>
                  </a:lnTo>
                  <a:lnTo>
                    <a:pt x="1048555" y="685866"/>
                  </a:lnTo>
                  <a:lnTo>
                    <a:pt x="1050249" y="684474"/>
                  </a:lnTo>
                  <a:lnTo>
                    <a:pt x="1053138" y="681489"/>
                  </a:lnTo>
                  <a:lnTo>
                    <a:pt x="1054833" y="680594"/>
                  </a:lnTo>
                  <a:lnTo>
                    <a:pt x="1056327" y="680594"/>
                  </a:lnTo>
                  <a:lnTo>
                    <a:pt x="1057523" y="680594"/>
                  </a:lnTo>
                  <a:lnTo>
                    <a:pt x="1058021" y="678206"/>
                  </a:lnTo>
                  <a:lnTo>
                    <a:pt x="1059416" y="676117"/>
                  </a:lnTo>
                  <a:lnTo>
                    <a:pt x="1066889" y="675221"/>
                  </a:lnTo>
                  <a:lnTo>
                    <a:pt x="1070078" y="673331"/>
                  </a:lnTo>
                  <a:lnTo>
                    <a:pt x="1071373" y="669650"/>
                  </a:lnTo>
                  <a:lnTo>
                    <a:pt x="1068583" y="668954"/>
                  </a:lnTo>
                  <a:lnTo>
                    <a:pt x="1064398" y="668954"/>
                  </a:lnTo>
                  <a:lnTo>
                    <a:pt x="1061309" y="668954"/>
                  </a:lnTo>
                  <a:lnTo>
                    <a:pt x="1063601" y="666466"/>
                  </a:lnTo>
                  <a:lnTo>
                    <a:pt x="1067387" y="665869"/>
                  </a:lnTo>
                  <a:lnTo>
                    <a:pt x="1071274" y="666566"/>
                  </a:lnTo>
                  <a:lnTo>
                    <a:pt x="1073565" y="667760"/>
                  </a:lnTo>
                  <a:lnTo>
                    <a:pt x="1075758" y="672137"/>
                  </a:lnTo>
                  <a:lnTo>
                    <a:pt x="1077253" y="673729"/>
                  </a:lnTo>
                  <a:lnTo>
                    <a:pt x="1077950" y="671640"/>
                  </a:lnTo>
                  <a:lnTo>
                    <a:pt x="1078847" y="670844"/>
                  </a:lnTo>
                  <a:lnTo>
                    <a:pt x="1084825" y="666765"/>
                  </a:lnTo>
                  <a:lnTo>
                    <a:pt x="1084825" y="664377"/>
                  </a:lnTo>
                  <a:lnTo>
                    <a:pt x="1088014" y="661392"/>
                  </a:lnTo>
                  <a:lnTo>
                    <a:pt x="1092100" y="658806"/>
                  </a:lnTo>
                  <a:lnTo>
                    <a:pt x="1095089" y="657910"/>
                  </a:lnTo>
                  <a:lnTo>
                    <a:pt x="1093694" y="655324"/>
                  </a:lnTo>
                  <a:lnTo>
                    <a:pt x="1091701" y="654627"/>
                  </a:lnTo>
                  <a:lnTo>
                    <a:pt x="1089209" y="654627"/>
                  </a:lnTo>
                  <a:lnTo>
                    <a:pt x="1086420" y="654627"/>
                  </a:lnTo>
                  <a:lnTo>
                    <a:pt x="1084726" y="653931"/>
                  </a:lnTo>
                  <a:lnTo>
                    <a:pt x="1083131" y="652936"/>
                  </a:lnTo>
                  <a:lnTo>
                    <a:pt x="1081636" y="651742"/>
                  </a:lnTo>
                  <a:lnTo>
                    <a:pt x="1080242" y="650250"/>
                  </a:lnTo>
                  <a:lnTo>
                    <a:pt x="1078149" y="646370"/>
                  </a:lnTo>
                  <a:lnTo>
                    <a:pt x="1078149" y="645872"/>
                  </a:lnTo>
                  <a:lnTo>
                    <a:pt x="1079544" y="644181"/>
                  </a:lnTo>
                  <a:lnTo>
                    <a:pt x="1082334" y="642987"/>
                  </a:lnTo>
                  <a:lnTo>
                    <a:pt x="1087615" y="641495"/>
                  </a:lnTo>
                  <a:lnTo>
                    <a:pt x="1088612" y="641495"/>
                  </a:lnTo>
                  <a:lnTo>
                    <a:pt x="1090306" y="642490"/>
                  </a:lnTo>
                  <a:lnTo>
                    <a:pt x="1091003" y="642490"/>
                  </a:lnTo>
                  <a:lnTo>
                    <a:pt x="1091701" y="641694"/>
                  </a:lnTo>
                  <a:lnTo>
                    <a:pt x="1091701" y="639903"/>
                  </a:lnTo>
                  <a:lnTo>
                    <a:pt x="1091701" y="639207"/>
                  </a:lnTo>
                  <a:lnTo>
                    <a:pt x="1093893" y="635128"/>
                  </a:lnTo>
                  <a:lnTo>
                    <a:pt x="1095387" y="631447"/>
                  </a:lnTo>
                  <a:lnTo>
                    <a:pt x="1100171" y="627169"/>
                  </a:lnTo>
                  <a:lnTo>
                    <a:pt x="1101267" y="625378"/>
                  </a:lnTo>
                  <a:lnTo>
                    <a:pt x="1101267" y="624781"/>
                  </a:lnTo>
                  <a:lnTo>
                    <a:pt x="1101267" y="625577"/>
                  </a:lnTo>
                  <a:lnTo>
                    <a:pt x="1101864" y="627069"/>
                  </a:lnTo>
                  <a:lnTo>
                    <a:pt x="1101864" y="628761"/>
                  </a:lnTo>
                  <a:lnTo>
                    <a:pt x="1101864" y="634033"/>
                  </a:lnTo>
                  <a:lnTo>
                    <a:pt x="1101864" y="635327"/>
                  </a:lnTo>
                  <a:lnTo>
                    <a:pt x="1097878" y="639804"/>
                  </a:lnTo>
                  <a:lnTo>
                    <a:pt x="1084825" y="649155"/>
                  </a:lnTo>
                  <a:lnTo>
                    <a:pt x="1097082" y="653632"/>
                  </a:lnTo>
                  <a:lnTo>
                    <a:pt x="1099673" y="655722"/>
                  </a:lnTo>
                  <a:lnTo>
                    <a:pt x="1101366" y="660000"/>
                  </a:lnTo>
                  <a:lnTo>
                    <a:pt x="1102662" y="662387"/>
                  </a:lnTo>
                  <a:lnTo>
                    <a:pt x="1104455" y="663382"/>
                  </a:lnTo>
                  <a:lnTo>
                    <a:pt x="1107146" y="663382"/>
                  </a:lnTo>
                  <a:lnTo>
                    <a:pt x="1111032" y="664875"/>
                  </a:lnTo>
                  <a:lnTo>
                    <a:pt x="1113622" y="664875"/>
                  </a:lnTo>
                  <a:lnTo>
                    <a:pt x="1116213" y="664875"/>
                  </a:lnTo>
                  <a:lnTo>
                    <a:pt x="1120697" y="661790"/>
                  </a:lnTo>
                  <a:lnTo>
                    <a:pt x="1124085" y="660398"/>
                  </a:lnTo>
                  <a:lnTo>
                    <a:pt x="1126875" y="657413"/>
                  </a:lnTo>
                  <a:lnTo>
                    <a:pt x="1128270" y="656617"/>
                  </a:lnTo>
                  <a:lnTo>
                    <a:pt x="1129665" y="657115"/>
                  </a:lnTo>
                  <a:lnTo>
                    <a:pt x="1132356" y="659502"/>
                  </a:lnTo>
                  <a:lnTo>
                    <a:pt x="1133451" y="659502"/>
                  </a:lnTo>
                  <a:lnTo>
                    <a:pt x="1135943" y="658109"/>
                  </a:lnTo>
                  <a:lnTo>
                    <a:pt x="1140427" y="652936"/>
                  </a:lnTo>
                  <a:lnTo>
                    <a:pt x="1145110" y="651444"/>
                  </a:lnTo>
                  <a:lnTo>
                    <a:pt x="1149096" y="648559"/>
                  </a:lnTo>
                  <a:lnTo>
                    <a:pt x="1150491" y="648559"/>
                  </a:lnTo>
                  <a:lnTo>
                    <a:pt x="1157964" y="647066"/>
                  </a:lnTo>
                  <a:lnTo>
                    <a:pt x="1159758" y="646270"/>
                  </a:lnTo>
                  <a:lnTo>
                    <a:pt x="1160555" y="645076"/>
                  </a:lnTo>
                  <a:lnTo>
                    <a:pt x="1160555" y="643385"/>
                  </a:lnTo>
                  <a:lnTo>
                    <a:pt x="1161451" y="641793"/>
                  </a:lnTo>
                  <a:lnTo>
                    <a:pt x="1162747" y="640699"/>
                  </a:lnTo>
                  <a:lnTo>
                    <a:pt x="1166533" y="639605"/>
                  </a:lnTo>
                  <a:lnTo>
                    <a:pt x="1188655" y="625477"/>
                  </a:lnTo>
                  <a:lnTo>
                    <a:pt x="1206491" y="616822"/>
                  </a:lnTo>
                  <a:lnTo>
                    <a:pt x="1225324" y="610455"/>
                  </a:lnTo>
                  <a:lnTo>
                    <a:pt x="1227914" y="610455"/>
                  </a:lnTo>
                  <a:lnTo>
                    <a:pt x="1230505" y="609460"/>
                  </a:lnTo>
                  <a:lnTo>
                    <a:pt x="1237082" y="601501"/>
                  </a:lnTo>
                  <a:lnTo>
                    <a:pt x="1239373" y="599710"/>
                  </a:lnTo>
                  <a:lnTo>
                    <a:pt x="1241864" y="598317"/>
                  </a:lnTo>
                  <a:lnTo>
                    <a:pt x="1244655" y="597422"/>
                  </a:lnTo>
                  <a:lnTo>
                    <a:pt x="1252925" y="596825"/>
                  </a:lnTo>
                  <a:lnTo>
                    <a:pt x="1254320" y="596825"/>
                  </a:lnTo>
                  <a:lnTo>
                    <a:pt x="1255815" y="598118"/>
                  </a:lnTo>
                  <a:lnTo>
                    <a:pt x="1256413" y="599511"/>
                  </a:lnTo>
                  <a:lnTo>
                    <a:pt x="1257110" y="600407"/>
                  </a:lnTo>
                  <a:lnTo>
                    <a:pt x="1258804" y="600407"/>
                  </a:lnTo>
                  <a:lnTo>
                    <a:pt x="1260697" y="598218"/>
                  </a:lnTo>
                  <a:lnTo>
                    <a:pt x="1264184" y="590955"/>
                  </a:lnTo>
                  <a:lnTo>
                    <a:pt x="1266177" y="589364"/>
                  </a:lnTo>
                  <a:lnTo>
                    <a:pt x="1266875" y="588369"/>
                  </a:lnTo>
                  <a:lnTo>
                    <a:pt x="1268270" y="584091"/>
                  </a:lnTo>
                  <a:lnTo>
                    <a:pt x="1269167" y="582698"/>
                  </a:lnTo>
                  <a:lnTo>
                    <a:pt x="1270861" y="582698"/>
                  </a:lnTo>
                  <a:lnTo>
                    <a:pt x="1273751" y="583593"/>
                  </a:lnTo>
                  <a:lnTo>
                    <a:pt x="1275345" y="582996"/>
                  </a:lnTo>
                  <a:lnTo>
                    <a:pt x="1274249" y="582001"/>
                  </a:lnTo>
                  <a:lnTo>
                    <a:pt x="1272156" y="579514"/>
                  </a:lnTo>
                  <a:lnTo>
                    <a:pt x="1270861" y="578619"/>
                  </a:lnTo>
                  <a:lnTo>
                    <a:pt x="1274648" y="574440"/>
                  </a:lnTo>
                  <a:lnTo>
                    <a:pt x="1278832" y="570759"/>
                  </a:lnTo>
                  <a:lnTo>
                    <a:pt x="1282420" y="566581"/>
                  </a:lnTo>
                  <a:lnTo>
                    <a:pt x="1284014" y="561010"/>
                  </a:lnTo>
                  <a:lnTo>
                    <a:pt x="1283217" y="559020"/>
                  </a:lnTo>
                  <a:lnTo>
                    <a:pt x="1280327" y="556135"/>
                  </a:lnTo>
                  <a:lnTo>
                    <a:pt x="1278832" y="554245"/>
                  </a:lnTo>
                  <a:lnTo>
                    <a:pt x="1277238" y="549469"/>
                  </a:lnTo>
                  <a:lnTo>
                    <a:pt x="1276242" y="547181"/>
                  </a:lnTo>
                  <a:lnTo>
                    <a:pt x="1274149" y="546286"/>
                  </a:lnTo>
                  <a:lnTo>
                    <a:pt x="1273551" y="546286"/>
                  </a:lnTo>
                  <a:lnTo>
                    <a:pt x="1272655" y="544395"/>
                  </a:lnTo>
                  <a:lnTo>
                    <a:pt x="1272057" y="543400"/>
                  </a:lnTo>
                  <a:lnTo>
                    <a:pt x="1268868" y="540515"/>
                  </a:lnTo>
                  <a:lnTo>
                    <a:pt x="1267573" y="538724"/>
                  </a:lnTo>
                  <a:lnTo>
                    <a:pt x="1266277" y="537232"/>
                  </a:lnTo>
                  <a:lnTo>
                    <a:pt x="1266277" y="535640"/>
                  </a:lnTo>
                  <a:lnTo>
                    <a:pt x="1267373" y="533253"/>
                  </a:lnTo>
                  <a:lnTo>
                    <a:pt x="1265679" y="530467"/>
                  </a:lnTo>
                  <a:lnTo>
                    <a:pt x="1258704" y="524498"/>
                  </a:lnTo>
                  <a:lnTo>
                    <a:pt x="1260797" y="524000"/>
                  </a:lnTo>
                  <a:lnTo>
                    <a:pt x="1263686" y="525791"/>
                  </a:lnTo>
                  <a:lnTo>
                    <a:pt x="1266477" y="528477"/>
                  </a:lnTo>
                  <a:lnTo>
                    <a:pt x="1268270" y="531064"/>
                  </a:lnTo>
                  <a:lnTo>
                    <a:pt x="1268868" y="532656"/>
                  </a:lnTo>
                  <a:lnTo>
                    <a:pt x="1268868" y="534447"/>
                  </a:lnTo>
                  <a:lnTo>
                    <a:pt x="1268868" y="538327"/>
                  </a:lnTo>
                  <a:lnTo>
                    <a:pt x="1268868" y="540018"/>
                  </a:lnTo>
                  <a:lnTo>
                    <a:pt x="1269964" y="541311"/>
                  </a:lnTo>
                  <a:lnTo>
                    <a:pt x="1272655" y="543301"/>
                  </a:lnTo>
                  <a:lnTo>
                    <a:pt x="1275046" y="545887"/>
                  </a:lnTo>
                  <a:lnTo>
                    <a:pt x="1282320" y="557030"/>
                  </a:lnTo>
                  <a:lnTo>
                    <a:pt x="1283815" y="558125"/>
                  </a:lnTo>
                  <a:lnTo>
                    <a:pt x="1285409" y="557329"/>
                  </a:lnTo>
                  <a:lnTo>
                    <a:pt x="1287501" y="554344"/>
                  </a:lnTo>
                  <a:lnTo>
                    <a:pt x="1287501" y="558920"/>
                  </a:lnTo>
                  <a:lnTo>
                    <a:pt x="1287501" y="560910"/>
                  </a:lnTo>
                  <a:lnTo>
                    <a:pt x="1288099" y="563298"/>
                  </a:lnTo>
                  <a:lnTo>
                    <a:pt x="1289195" y="564392"/>
                  </a:lnTo>
                  <a:lnTo>
                    <a:pt x="1292583" y="566879"/>
                  </a:lnTo>
                  <a:lnTo>
                    <a:pt x="1293281" y="568173"/>
                  </a:lnTo>
                  <a:lnTo>
                    <a:pt x="1292683" y="571854"/>
                  </a:lnTo>
                  <a:lnTo>
                    <a:pt x="1291088" y="576331"/>
                  </a:lnTo>
                  <a:lnTo>
                    <a:pt x="1288797" y="580111"/>
                  </a:lnTo>
                  <a:lnTo>
                    <a:pt x="1286306" y="581902"/>
                  </a:lnTo>
                  <a:lnTo>
                    <a:pt x="1288000" y="582996"/>
                  </a:lnTo>
                  <a:lnTo>
                    <a:pt x="1290391" y="583693"/>
                  </a:lnTo>
                  <a:lnTo>
                    <a:pt x="1292782" y="583693"/>
                  </a:lnTo>
                  <a:lnTo>
                    <a:pt x="1294576" y="582598"/>
                  </a:lnTo>
                  <a:lnTo>
                    <a:pt x="1295373" y="580410"/>
                  </a:lnTo>
                  <a:lnTo>
                    <a:pt x="1295373" y="577624"/>
                  </a:lnTo>
                  <a:lnTo>
                    <a:pt x="1296370" y="575336"/>
                  </a:lnTo>
                  <a:lnTo>
                    <a:pt x="1298562" y="574341"/>
                  </a:lnTo>
                  <a:lnTo>
                    <a:pt x="1302050" y="572351"/>
                  </a:lnTo>
                  <a:lnTo>
                    <a:pt x="1308426" y="563397"/>
                  </a:lnTo>
                  <a:lnTo>
                    <a:pt x="1312113" y="561209"/>
                  </a:lnTo>
                  <a:lnTo>
                    <a:pt x="1312113" y="560015"/>
                  </a:lnTo>
                  <a:lnTo>
                    <a:pt x="1309722" y="560015"/>
                  </a:lnTo>
                  <a:lnTo>
                    <a:pt x="1308825" y="558721"/>
                  </a:lnTo>
                  <a:lnTo>
                    <a:pt x="1309423" y="557229"/>
                  </a:lnTo>
                  <a:lnTo>
                    <a:pt x="1311217" y="556632"/>
                  </a:lnTo>
                  <a:lnTo>
                    <a:pt x="1312711" y="557229"/>
                  </a:lnTo>
                  <a:lnTo>
                    <a:pt x="1314405" y="558423"/>
                  </a:lnTo>
                  <a:lnTo>
                    <a:pt x="1320184" y="564193"/>
                  </a:lnTo>
                  <a:lnTo>
                    <a:pt x="1320782" y="565984"/>
                  </a:lnTo>
                  <a:lnTo>
                    <a:pt x="1320782" y="568770"/>
                  </a:lnTo>
                  <a:lnTo>
                    <a:pt x="1320284" y="570262"/>
                  </a:lnTo>
                  <a:lnTo>
                    <a:pt x="1319288" y="572053"/>
                  </a:lnTo>
                  <a:lnTo>
                    <a:pt x="1317893" y="573545"/>
                  </a:lnTo>
                  <a:lnTo>
                    <a:pt x="1316398" y="574341"/>
                  </a:lnTo>
                  <a:lnTo>
                    <a:pt x="1318192" y="574341"/>
                  </a:lnTo>
                  <a:lnTo>
                    <a:pt x="1319686" y="574341"/>
                  </a:lnTo>
                  <a:lnTo>
                    <a:pt x="1320982" y="575037"/>
                  </a:lnTo>
                  <a:lnTo>
                    <a:pt x="1321580" y="576530"/>
                  </a:lnTo>
                  <a:lnTo>
                    <a:pt x="1318690" y="576530"/>
                  </a:lnTo>
                  <a:lnTo>
                    <a:pt x="1316697" y="576530"/>
                  </a:lnTo>
                  <a:lnTo>
                    <a:pt x="1314904" y="577525"/>
                  </a:lnTo>
                  <a:lnTo>
                    <a:pt x="1312811" y="579315"/>
                  </a:lnTo>
                  <a:lnTo>
                    <a:pt x="1313608" y="577724"/>
                  </a:lnTo>
                  <a:lnTo>
                    <a:pt x="1313608" y="577027"/>
                  </a:lnTo>
                  <a:lnTo>
                    <a:pt x="1313608" y="576430"/>
                  </a:lnTo>
                  <a:lnTo>
                    <a:pt x="1313608" y="575535"/>
                  </a:lnTo>
                  <a:lnTo>
                    <a:pt x="1313608" y="574142"/>
                  </a:lnTo>
                  <a:lnTo>
                    <a:pt x="1314306" y="574142"/>
                  </a:lnTo>
                  <a:lnTo>
                    <a:pt x="1315202" y="574142"/>
                  </a:lnTo>
                  <a:lnTo>
                    <a:pt x="1316000" y="573346"/>
                  </a:lnTo>
                  <a:lnTo>
                    <a:pt x="1318291" y="570262"/>
                  </a:lnTo>
                  <a:lnTo>
                    <a:pt x="1318291" y="568571"/>
                  </a:lnTo>
                  <a:lnTo>
                    <a:pt x="1316697" y="566780"/>
                  </a:lnTo>
                  <a:lnTo>
                    <a:pt x="1306733" y="572252"/>
                  </a:lnTo>
                  <a:lnTo>
                    <a:pt x="1306733" y="574142"/>
                  </a:lnTo>
                  <a:lnTo>
                    <a:pt x="1305736" y="576331"/>
                  </a:lnTo>
                  <a:lnTo>
                    <a:pt x="1304242" y="578121"/>
                  </a:lnTo>
                  <a:lnTo>
                    <a:pt x="1302448" y="578917"/>
                  </a:lnTo>
                  <a:lnTo>
                    <a:pt x="1299957" y="579514"/>
                  </a:lnTo>
                  <a:lnTo>
                    <a:pt x="1299060" y="581007"/>
                  </a:lnTo>
                  <a:lnTo>
                    <a:pt x="1299060" y="583195"/>
                  </a:lnTo>
                  <a:lnTo>
                    <a:pt x="1300057" y="585583"/>
                  </a:lnTo>
                  <a:lnTo>
                    <a:pt x="1298961" y="586478"/>
                  </a:lnTo>
                  <a:lnTo>
                    <a:pt x="1297566" y="588767"/>
                  </a:lnTo>
                  <a:lnTo>
                    <a:pt x="1296470" y="589961"/>
                  </a:lnTo>
                  <a:lnTo>
                    <a:pt x="1295772" y="589961"/>
                  </a:lnTo>
                  <a:lnTo>
                    <a:pt x="1293979" y="589961"/>
                  </a:lnTo>
                  <a:lnTo>
                    <a:pt x="1292982" y="589961"/>
                  </a:lnTo>
                  <a:lnTo>
                    <a:pt x="1289395" y="593045"/>
                  </a:lnTo>
                  <a:lnTo>
                    <a:pt x="1285608" y="597124"/>
                  </a:lnTo>
                  <a:lnTo>
                    <a:pt x="1281822" y="599710"/>
                  </a:lnTo>
                  <a:lnTo>
                    <a:pt x="1276640" y="601800"/>
                  </a:lnTo>
                  <a:lnTo>
                    <a:pt x="1272555" y="604386"/>
                  </a:lnTo>
                  <a:lnTo>
                    <a:pt x="1272555" y="608863"/>
                  </a:lnTo>
                  <a:lnTo>
                    <a:pt x="1270761" y="608863"/>
                  </a:lnTo>
                  <a:lnTo>
                    <a:pt x="1268469" y="611151"/>
                  </a:lnTo>
                  <a:lnTo>
                    <a:pt x="1265281" y="612047"/>
                  </a:lnTo>
                  <a:lnTo>
                    <a:pt x="1249238" y="620503"/>
                  </a:lnTo>
                  <a:lnTo>
                    <a:pt x="1253423" y="622592"/>
                  </a:lnTo>
                  <a:lnTo>
                    <a:pt x="1251530" y="623189"/>
                  </a:lnTo>
                  <a:lnTo>
                    <a:pt x="1248441" y="624483"/>
                  </a:lnTo>
                  <a:lnTo>
                    <a:pt x="1246548" y="624483"/>
                  </a:lnTo>
                  <a:lnTo>
                    <a:pt x="1240469" y="628860"/>
                  </a:lnTo>
                  <a:lnTo>
                    <a:pt x="1238775" y="631745"/>
                  </a:lnTo>
                  <a:lnTo>
                    <a:pt x="1237082" y="636421"/>
                  </a:lnTo>
                  <a:lnTo>
                    <a:pt x="1236185" y="641595"/>
                  </a:lnTo>
                  <a:lnTo>
                    <a:pt x="1236982" y="645574"/>
                  </a:lnTo>
                  <a:lnTo>
                    <a:pt x="1241067" y="642291"/>
                  </a:lnTo>
                  <a:lnTo>
                    <a:pt x="1245850" y="641296"/>
                  </a:lnTo>
                  <a:lnTo>
                    <a:pt x="1250533" y="642092"/>
                  </a:lnTo>
                  <a:lnTo>
                    <a:pt x="1254420" y="644380"/>
                  </a:lnTo>
                  <a:lnTo>
                    <a:pt x="1255117" y="644380"/>
                  </a:lnTo>
                  <a:lnTo>
                    <a:pt x="1256711" y="644380"/>
                  </a:lnTo>
                  <a:lnTo>
                    <a:pt x="1257409" y="644380"/>
                  </a:lnTo>
                  <a:lnTo>
                    <a:pt x="1257409" y="645176"/>
                  </a:lnTo>
                  <a:lnTo>
                    <a:pt x="1256612" y="646370"/>
                  </a:lnTo>
                  <a:lnTo>
                    <a:pt x="1256612" y="647166"/>
                  </a:lnTo>
                  <a:lnTo>
                    <a:pt x="1257210" y="648758"/>
                  </a:lnTo>
                  <a:lnTo>
                    <a:pt x="1257210" y="649553"/>
                  </a:lnTo>
                  <a:lnTo>
                    <a:pt x="1257210" y="649553"/>
                  </a:lnTo>
                  <a:lnTo>
                    <a:pt x="1258406" y="649553"/>
                  </a:lnTo>
                  <a:lnTo>
                    <a:pt x="1260099" y="648459"/>
                  </a:lnTo>
                  <a:lnTo>
                    <a:pt x="1261693" y="646867"/>
                  </a:lnTo>
                  <a:lnTo>
                    <a:pt x="1263686" y="645574"/>
                  </a:lnTo>
                  <a:lnTo>
                    <a:pt x="1266277" y="645574"/>
                  </a:lnTo>
                  <a:lnTo>
                    <a:pt x="1264982" y="640102"/>
                  </a:lnTo>
                  <a:lnTo>
                    <a:pt x="1269366" y="635526"/>
                  </a:lnTo>
                  <a:lnTo>
                    <a:pt x="1276042" y="632342"/>
                  </a:lnTo>
                  <a:lnTo>
                    <a:pt x="1281523" y="631248"/>
                  </a:lnTo>
                  <a:lnTo>
                    <a:pt x="1296470" y="633735"/>
                  </a:lnTo>
                  <a:lnTo>
                    <a:pt x="1297366" y="634630"/>
                  </a:lnTo>
                  <a:lnTo>
                    <a:pt x="1298064" y="635625"/>
                  </a:lnTo>
                  <a:lnTo>
                    <a:pt x="1299359" y="636720"/>
                  </a:lnTo>
                  <a:lnTo>
                    <a:pt x="1303943" y="638112"/>
                  </a:lnTo>
                  <a:lnTo>
                    <a:pt x="1305437" y="639008"/>
                  </a:lnTo>
                  <a:lnTo>
                    <a:pt x="1306533" y="637715"/>
                  </a:lnTo>
                  <a:lnTo>
                    <a:pt x="1307729" y="636720"/>
                  </a:lnTo>
                  <a:lnTo>
                    <a:pt x="1309124" y="635924"/>
                  </a:lnTo>
                  <a:lnTo>
                    <a:pt x="1310619" y="635924"/>
                  </a:lnTo>
                  <a:lnTo>
                    <a:pt x="1312313" y="636421"/>
                  </a:lnTo>
                  <a:lnTo>
                    <a:pt x="1313708" y="637316"/>
                  </a:lnTo>
                  <a:lnTo>
                    <a:pt x="1314704" y="637316"/>
                  </a:lnTo>
                  <a:lnTo>
                    <a:pt x="1314704" y="634133"/>
                  </a:lnTo>
                  <a:lnTo>
                    <a:pt x="1319288" y="635725"/>
                  </a:lnTo>
                  <a:lnTo>
                    <a:pt x="1323373" y="635725"/>
                  </a:lnTo>
                  <a:lnTo>
                    <a:pt x="1331146" y="633436"/>
                  </a:lnTo>
                  <a:lnTo>
                    <a:pt x="1341110" y="632442"/>
                  </a:lnTo>
                  <a:lnTo>
                    <a:pt x="1346092" y="632442"/>
                  </a:lnTo>
                  <a:lnTo>
                    <a:pt x="1349679" y="634232"/>
                  </a:lnTo>
                  <a:lnTo>
                    <a:pt x="1349081" y="634232"/>
                  </a:lnTo>
                  <a:lnTo>
                    <a:pt x="1347886" y="635128"/>
                  </a:lnTo>
                  <a:lnTo>
                    <a:pt x="1352768" y="635824"/>
                  </a:lnTo>
                  <a:lnTo>
                    <a:pt x="1362733" y="634531"/>
                  </a:lnTo>
                  <a:lnTo>
                    <a:pt x="1366320" y="637316"/>
                  </a:lnTo>
                  <a:lnTo>
                    <a:pt x="1365622" y="638709"/>
                  </a:lnTo>
                  <a:lnTo>
                    <a:pt x="1365622" y="639903"/>
                  </a:lnTo>
                  <a:lnTo>
                    <a:pt x="1365622" y="640997"/>
                  </a:lnTo>
                  <a:lnTo>
                    <a:pt x="1366719" y="641694"/>
                  </a:lnTo>
                  <a:lnTo>
                    <a:pt x="1368113" y="641694"/>
                  </a:lnTo>
                  <a:lnTo>
                    <a:pt x="1368910" y="641196"/>
                  </a:lnTo>
                  <a:lnTo>
                    <a:pt x="1368910" y="640301"/>
                  </a:lnTo>
                  <a:lnTo>
                    <a:pt x="1369708" y="639406"/>
                  </a:lnTo>
                  <a:lnTo>
                    <a:pt x="1372996" y="636620"/>
                  </a:lnTo>
                  <a:lnTo>
                    <a:pt x="1374889" y="635426"/>
                  </a:lnTo>
                  <a:lnTo>
                    <a:pt x="1377181" y="635426"/>
                  </a:lnTo>
                  <a:lnTo>
                    <a:pt x="1405381" y="635426"/>
                  </a:lnTo>
                  <a:lnTo>
                    <a:pt x="1408170" y="635426"/>
                  </a:lnTo>
                  <a:lnTo>
                    <a:pt x="1413551" y="637715"/>
                  </a:lnTo>
                  <a:lnTo>
                    <a:pt x="1416241" y="637715"/>
                  </a:lnTo>
                  <a:lnTo>
                    <a:pt x="1430889" y="638212"/>
                  </a:lnTo>
                  <a:lnTo>
                    <a:pt x="1434875" y="639903"/>
                  </a:lnTo>
                  <a:lnTo>
                    <a:pt x="1430292" y="640799"/>
                  </a:lnTo>
                  <a:lnTo>
                    <a:pt x="1425608" y="642490"/>
                  </a:lnTo>
                  <a:lnTo>
                    <a:pt x="1422121" y="645673"/>
                  </a:lnTo>
                  <a:lnTo>
                    <a:pt x="1421025" y="650946"/>
                  </a:lnTo>
                  <a:lnTo>
                    <a:pt x="1419330" y="649155"/>
                  </a:lnTo>
                  <a:lnTo>
                    <a:pt x="1418135" y="646967"/>
                  </a:lnTo>
                  <a:lnTo>
                    <a:pt x="1416541" y="645076"/>
                  </a:lnTo>
                  <a:lnTo>
                    <a:pt x="1414149" y="644281"/>
                  </a:lnTo>
                  <a:lnTo>
                    <a:pt x="1411658" y="644281"/>
                  </a:lnTo>
                  <a:lnTo>
                    <a:pt x="1407174" y="645773"/>
                  </a:lnTo>
                  <a:lnTo>
                    <a:pt x="1395017" y="645773"/>
                  </a:lnTo>
                  <a:lnTo>
                    <a:pt x="1390832" y="644778"/>
                  </a:lnTo>
                  <a:lnTo>
                    <a:pt x="1389836" y="644778"/>
                  </a:lnTo>
                  <a:lnTo>
                    <a:pt x="1389836" y="645475"/>
                  </a:lnTo>
                  <a:lnTo>
                    <a:pt x="1388441" y="648061"/>
                  </a:lnTo>
                  <a:lnTo>
                    <a:pt x="1387644" y="649056"/>
                  </a:lnTo>
                  <a:lnTo>
                    <a:pt x="1386248" y="647862"/>
                  </a:lnTo>
                  <a:lnTo>
                    <a:pt x="1384654" y="647166"/>
                  </a:lnTo>
                  <a:lnTo>
                    <a:pt x="1381167" y="647166"/>
                  </a:lnTo>
                  <a:lnTo>
                    <a:pt x="1379473" y="647166"/>
                  </a:lnTo>
                  <a:lnTo>
                    <a:pt x="1379473" y="647862"/>
                  </a:lnTo>
                  <a:lnTo>
                    <a:pt x="1379473" y="649056"/>
                  </a:lnTo>
                  <a:lnTo>
                    <a:pt x="1378775" y="650648"/>
                  </a:lnTo>
                  <a:lnTo>
                    <a:pt x="1376783" y="652140"/>
                  </a:lnTo>
                  <a:lnTo>
                    <a:pt x="1374092" y="652638"/>
                  </a:lnTo>
                  <a:lnTo>
                    <a:pt x="1369210" y="652638"/>
                  </a:lnTo>
                  <a:lnTo>
                    <a:pt x="1366519" y="653235"/>
                  </a:lnTo>
                  <a:lnTo>
                    <a:pt x="1359345" y="657115"/>
                  </a:lnTo>
                  <a:lnTo>
                    <a:pt x="1351473" y="658706"/>
                  </a:lnTo>
                  <a:lnTo>
                    <a:pt x="1340014" y="662785"/>
                  </a:lnTo>
                  <a:lnTo>
                    <a:pt x="1338021" y="664278"/>
                  </a:lnTo>
                  <a:lnTo>
                    <a:pt x="1336925" y="665372"/>
                  </a:lnTo>
                  <a:lnTo>
                    <a:pt x="1334633" y="666665"/>
                  </a:lnTo>
                  <a:lnTo>
                    <a:pt x="1333637" y="667561"/>
                  </a:lnTo>
                  <a:lnTo>
                    <a:pt x="1333637" y="668854"/>
                  </a:lnTo>
                  <a:lnTo>
                    <a:pt x="1333637" y="670446"/>
                  </a:lnTo>
                  <a:lnTo>
                    <a:pt x="1333637" y="671839"/>
                  </a:lnTo>
                  <a:lnTo>
                    <a:pt x="1329452" y="673530"/>
                  </a:lnTo>
                  <a:lnTo>
                    <a:pt x="1329452" y="676216"/>
                  </a:lnTo>
                  <a:lnTo>
                    <a:pt x="1331245" y="679101"/>
                  </a:lnTo>
                  <a:lnTo>
                    <a:pt x="1337124" y="685767"/>
                  </a:lnTo>
                  <a:lnTo>
                    <a:pt x="1339316" y="687458"/>
                  </a:lnTo>
                  <a:lnTo>
                    <a:pt x="1341708" y="687458"/>
                  </a:lnTo>
                  <a:lnTo>
                    <a:pt x="1341708" y="688553"/>
                  </a:lnTo>
                  <a:lnTo>
                    <a:pt x="1340014" y="689647"/>
                  </a:lnTo>
                  <a:lnTo>
                    <a:pt x="1339416" y="692234"/>
                  </a:lnTo>
                  <a:lnTo>
                    <a:pt x="1339416" y="695218"/>
                  </a:lnTo>
                  <a:lnTo>
                    <a:pt x="1340612" y="697307"/>
                  </a:lnTo>
                  <a:lnTo>
                    <a:pt x="1338719" y="696611"/>
                  </a:lnTo>
                  <a:lnTo>
                    <a:pt x="1337024" y="696611"/>
                  </a:lnTo>
                  <a:lnTo>
                    <a:pt x="1335530" y="697506"/>
                  </a:lnTo>
                  <a:lnTo>
                    <a:pt x="1334533" y="699695"/>
                  </a:lnTo>
                  <a:lnTo>
                    <a:pt x="1335231" y="690940"/>
                  </a:lnTo>
                  <a:lnTo>
                    <a:pt x="1335231" y="689149"/>
                  </a:lnTo>
                  <a:lnTo>
                    <a:pt x="1326163" y="679698"/>
                  </a:lnTo>
                  <a:lnTo>
                    <a:pt x="1316199" y="673231"/>
                  </a:lnTo>
                  <a:lnTo>
                    <a:pt x="1314704" y="673828"/>
                  </a:lnTo>
                  <a:lnTo>
                    <a:pt x="1313608" y="673828"/>
                  </a:lnTo>
                  <a:lnTo>
                    <a:pt x="1312911" y="674823"/>
                  </a:lnTo>
                  <a:lnTo>
                    <a:pt x="1312911" y="676614"/>
                  </a:lnTo>
                  <a:lnTo>
                    <a:pt x="1312911" y="678504"/>
                  </a:lnTo>
                  <a:lnTo>
                    <a:pt x="1311815" y="679698"/>
                  </a:lnTo>
                  <a:lnTo>
                    <a:pt x="1310419" y="679698"/>
                  </a:lnTo>
                  <a:lnTo>
                    <a:pt x="1309024" y="679002"/>
                  </a:lnTo>
                  <a:lnTo>
                    <a:pt x="1309622" y="677708"/>
                  </a:lnTo>
                  <a:lnTo>
                    <a:pt x="1309024" y="676117"/>
                  </a:lnTo>
                  <a:lnTo>
                    <a:pt x="1306434" y="672436"/>
                  </a:lnTo>
                  <a:lnTo>
                    <a:pt x="1308426" y="671142"/>
                  </a:lnTo>
                  <a:lnTo>
                    <a:pt x="1310320" y="668954"/>
                  </a:lnTo>
                  <a:lnTo>
                    <a:pt x="1310918" y="666665"/>
                  </a:lnTo>
                  <a:lnTo>
                    <a:pt x="1309024" y="664775"/>
                  </a:lnTo>
                  <a:lnTo>
                    <a:pt x="1310121" y="662089"/>
                  </a:lnTo>
                  <a:lnTo>
                    <a:pt x="1311017" y="656518"/>
                  </a:lnTo>
                  <a:lnTo>
                    <a:pt x="1312014" y="654428"/>
                  </a:lnTo>
                  <a:lnTo>
                    <a:pt x="1313708" y="652638"/>
                  </a:lnTo>
                  <a:lnTo>
                    <a:pt x="1315003" y="650946"/>
                  </a:lnTo>
                  <a:lnTo>
                    <a:pt x="1315003" y="649056"/>
                  </a:lnTo>
                  <a:lnTo>
                    <a:pt x="1313608" y="646668"/>
                  </a:lnTo>
                  <a:lnTo>
                    <a:pt x="1311217" y="645076"/>
                  </a:lnTo>
                  <a:lnTo>
                    <a:pt x="1302747" y="643982"/>
                  </a:lnTo>
                  <a:lnTo>
                    <a:pt x="1297566" y="641992"/>
                  </a:lnTo>
                  <a:lnTo>
                    <a:pt x="1294875" y="641992"/>
                  </a:lnTo>
                  <a:lnTo>
                    <a:pt x="1292284" y="643186"/>
                  </a:lnTo>
                  <a:lnTo>
                    <a:pt x="1297167" y="643883"/>
                  </a:lnTo>
                  <a:lnTo>
                    <a:pt x="1302448" y="645475"/>
                  </a:lnTo>
                  <a:lnTo>
                    <a:pt x="1305238" y="648360"/>
                  </a:lnTo>
                  <a:lnTo>
                    <a:pt x="1302747" y="653135"/>
                  </a:lnTo>
                  <a:lnTo>
                    <a:pt x="1299459" y="655722"/>
                  </a:lnTo>
                  <a:lnTo>
                    <a:pt x="1295174" y="658209"/>
                  </a:lnTo>
                  <a:lnTo>
                    <a:pt x="1290690" y="660099"/>
                  </a:lnTo>
                  <a:lnTo>
                    <a:pt x="1282420" y="661492"/>
                  </a:lnTo>
                  <a:lnTo>
                    <a:pt x="1273751" y="664476"/>
                  </a:lnTo>
                  <a:lnTo>
                    <a:pt x="1264882" y="665869"/>
                  </a:lnTo>
                  <a:lnTo>
                    <a:pt x="1245950" y="674326"/>
                  </a:lnTo>
                  <a:lnTo>
                    <a:pt x="1226021" y="687060"/>
                  </a:lnTo>
                  <a:lnTo>
                    <a:pt x="1206092" y="697805"/>
                  </a:lnTo>
                  <a:lnTo>
                    <a:pt x="1201907" y="701983"/>
                  </a:lnTo>
                  <a:lnTo>
                    <a:pt x="1199615" y="703874"/>
                  </a:lnTo>
                  <a:lnTo>
                    <a:pt x="1183573" y="712032"/>
                  </a:lnTo>
                  <a:lnTo>
                    <a:pt x="1180982" y="712529"/>
                  </a:lnTo>
                  <a:lnTo>
                    <a:pt x="1178591" y="713524"/>
                  </a:lnTo>
                  <a:lnTo>
                    <a:pt x="1171017" y="719990"/>
                  </a:lnTo>
                  <a:lnTo>
                    <a:pt x="1150192" y="732128"/>
                  </a:lnTo>
                  <a:lnTo>
                    <a:pt x="1137238" y="740286"/>
                  </a:lnTo>
                  <a:lnTo>
                    <a:pt x="1132754" y="747449"/>
                  </a:lnTo>
                  <a:lnTo>
                    <a:pt x="1134946" y="749837"/>
                  </a:lnTo>
                  <a:lnTo>
                    <a:pt x="1138035" y="748742"/>
                  </a:lnTo>
                  <a:lnTo>
                    <a:pt x="1143217" y="745260"/>
                  </a:lnTo>
                  <a:lnTo>
                    <a:pt x="1146007" y="745260"/>
                  </a:lnTo>
                  <a:lnTo>
                    <a:pt x="1150889" y="743470"/>
                  </a:lnTo>
                  <a:lnTo>
                    <a:pt x="1160854" y="737500"/>
                  </a:lnTo>
                  <a:lnTo>
                    <a:pt x="1166334" y="735710"/>
                  </a:lnTo>
                  <a:lnTo>
                    <a:pt x="1172014" y="732029"/>
                  </a:lnTo>
                  <a:lnTo>
                    <a:pt x="1174406" y="732526"/>
                  </a:lnTo>
                  <a:lnTo>
                    <a:pt x="1171615" y="733720"/>
                  </a:lnTo>
                  <a:lnTo>
                    <a:pt x="1166135" y="737202"/>
                  </a:lnTo>
                  <a:lnTo>
                    <a:pt x="1162548" y="737898"/>
                  </a:lnTo>
                  <a:lnTo>
                    <a:pt x="1160754" y="739192"/>
                  </a:lnTo>
                  <a:lnTo>
                    <a:pt x="1153480" y="746753"/>
                  </a:lnTo>
                  <a:lnTo>
                    <a:pt x="1152484" y="745559"/>
                  </a:lnTo>
                  <a:lnTo>
                    <a:pt x="1151089" y="748543"/>
                  </a:lnTo>
                  <a:lnTo>
                    <a:pt x="1149495" y="750334"/>
                  </a:lnTo>
                  <a:lnTo>
                    <a:pt x="1145608" y="753319"/>
                  </a:lnTo>
                  <a:lnTo>
                    <a:pt x="1142519" y="756403"/>
                  </a:lnTo>
                  <a:lnTo>
                    <a:pt x="1141025" y="757597"/>
                  </a:lnTo>
                  <a:lnTo>
                    <a:pt x="1138733" y="758791"/>
                  </a:lnTo>
                  <a:lnTo>
                    <a:pt x="1136242" y="759487"/>
                  </a:lnTo>
                  <a:lnTo>
                    <a:pt x="1133850" y="759487"/>
                  </a:lnTo>
                  <a:lnTo>
                    <a:pt x="1132754" y="758791"/>
                  </a:lnTo>
                  <a:lnTo>
                    <a:pt x="1132754" y="757298"/>
                  </a:lnTo>
                  <a:lnTo>
                    <a:pt x="1132754" y="755408"/>
                  </a:lnTo>
                  <a:lnTo>
                    <a:pt x="1132754" y="756104"/>
                  </a:lnTo>
                  <a:lnTo>
                    <a:pt x="1132754" y="753617"/>
                  </a:lnTo>
                  <a:lnTo>
                    <a:pt x="1131957" y="751230"/>
                  </a:lnTo>
                  <a:lnTo>
                    <a:pt x="1130662" y="749041"/>
                  </a:lnTo>
                  <a:lnTo>
                    <a:pt x="1129067" y="747350"/>
                  </a:lnTo>
                  <a:lnTo>
                    <a:pt x="1117807" y="755806"/>
                  </a:lnTo>
                  <a:lnTo>
                    <a:pt x="1116014" y="757796"/>
                  </a:lnTo>
                  <a:lnTo>
                    <a:pt x="1102064" y="765954"/>
                  </a:lnTo>
                  <a:lnTo>
                    <a:pt x="1079046" y="789134"/>
                  </a:lnTo>
                  <a:lnTo>
                    <a:pt x="1077452" y="791820"/>
                  </a:lnTo>
                  <a:lnTo>
                    <a:pt x="1077452" y="795999"/>
                  </a:lnTo>
                  <a:lnTo>
                    <a:pt x="1078647" y="795402"/>
                  </a:lnTo>
                  <a:lnTo>
                    <a:pt x="1098576" y="775504"/>
                  </a:lnTo>
                  <a:lnTo>
                    <a:pt x="1109537" y="765556"/>
                  </a:lnTo>
                  <a:lnTo>
                    <a:pt x="1110633" y="765556"/>
                  </a:lnTo>
                  <a:lnTo>
                    <a:pt x="1111929" y="765556"/>
                  </a:lnTo>
                  <a:lnTo>
                    <a:pt x="1113224" y="765556"/>
                  </a:lnTo>
                  <a:lnTo>
                    <a:pt x="1118804" y="764362"/>
                  </a:lnTo>
                  <a:lnTo>
                    <a:pt x="1121295" y="764362"/>
                  </a:lnTo>
                  <a:lnTo>
                    <a:pt x="1122391" y="766451"/>
                  </a:lnTo>
                  <a:lnTo>
                    <a:pt x="1121494" y="769137"/>
                  </a:lnTo>
                  <a:lnTo>
                    <a:pt x="1119103" y="771227"/>
                  </a:lnTo>
                  <a:lnTo>
                    <a:pt x="1116313" y="773017"/>
                  </a:lnTo>
                  <a:lnTo>
                    <a:pt x="1111331" y="777196"/>
                  </a:lnTo>
                  <a:lnTo>
                    <a:pt x="1106547" y="779882"/>
                  </a:lnTo>
                  <a:lnTo>
                    <a:pt x="1098078" y="788239"/>
                  </a:lnTo>
                  <a:lnTo>
                    <a:pt x="1097181" y="790030"/>
                  </a:lnTo>
                  <a:lnTo>
                    <a:pt x="1096284" y="793014"/>
                  </a:lnTo>
                  <a:lnTo>
                    <a:pt x="1094192" y="795104"/>
                  </a:lnTo>
                  <a:lnTo>
                    <a:pt x="1090107" y="798188"/>
                  </a:lnTo>
                  <a:lnTo>
                    <a:pt x="1087815" y="803063"/>
                  </a:lnTo>
                  <a:lnTo>
                    <a:pt x="1084128" y="820970"/>
                  </a:lnTo>
                  <a:lnTo>
                    <a:pt x="1082833" y="824452"/>
                  </a:lnTo>
                  <a:lnTo>
                    <a:pt x="1082035" y="825845"/>
                  </a:lnTo>
                  <a:lnTo>
                    <a:pt x="1078448" y="830521"/>
                  </a:lnTo>
                  <a:lnTo>
                    <a:pt x="1078448" y="831417"/>
                  </a:lnTo>
                  <a:lnTo>
                    <a:pt x="1078448" y="834998"/>
                  </a:lnTo>
                  <a:lnTo>
                    <a:pt x="1076455" y="840868"/>
                  </a:lnTo>
                  <a:lnTo>
                    <a:pt x="1076455" y="844051"/>
                  </a:lnTo>
                  <a:lnTo>
                    <a:pt x="1078448" y="842957"/>
                  </a:lnTo>
                  <a:lnTo>
                    <a:pt x="1079843" y="844350"/>
                  </a:lnTo>
                  <a:lnTo>
                    <a:pt x="1083131" y="854299"/>
                  </a:lnTo>
                  <a:lnTo>
                    <a:pt x="1083131" y="854299"/>
                  </a:lnTo>
                  <a:lnTo>
                    <a:pt x="1083829" y="856089"/>
                  </a:lnTo>
                  <a:lnTo>
                    <a:pt x="1083829" y="857383"/>
                  </a:lnTo>
                  <a:lnTo>
                    <a:pt x="1082035" y="861561"/>
                  </a:lnTo>
                  <a:lnTo>
                    <a:pt x="1082035" y="863949"/>
                  </a:lnTo>
                  <a:lnTo>
                    <a:pt x="1082932" y="866138"/>
                  </a:lnTo>
                  <a:lnTo>
                    <a:pt x="1083431" y="868525"/>
                  </a:lnTo>
                  <a:lnTo>
                    <a:pt x="1083431" y="869719"/>
                  </a:lnTo>
                  <a:lnTo>
                    <a:pt x="1081836" y="873002"/>
                  </a:lnTo>
                  <a:lnTo>
                    <a:pt x="1081238" y="874494"/>
                  </a:lnTo>
                  <a:lnTo>
                    <a:pt x="1081238" y="875589"/>
                  </a:lnTo>
                  <a:lnTo>
                    <a:pt x="1081238" y="876783"/>
                  </a:lnTo>
                  <a:lnTo>
                    <a:pt x="1081238" y="878275"/>
                  </a:lnTo>
                  <a:lnTo>
                    <a:pt x="1081238" y="879867"/>
                  </a:lnTo>
                  <a:lnTo>
                    <a:pt x="1083032" y="879867"/>
                  </a:lnTo>
                  <a:lnTo>
                    <a:pt x="1083929" y="881061"/>
                  </a:lnTo>
                  <a:lnTo>
                    <a:pt x="1083929" y="883050"/>
                  </a:lnTo>
                  <a:lnTo>
                    <a:pt x="1083929" y="885339"/>
                  </a:lnTo>
                  <a:lnTo>
                    <a:pt x="1084825" y="884244"/>
                  </a:lnTo>
                  <a:lnTo>
                    <a:pt x="1085722" y="882752"/>
                  </a:lnTo>
                  <a:lnTo>
                    <a:pt x="1086619" y="881558"/>
                  </a:lnTo>
                  <a:lnTo>
                    <a:pt x="1087914" y="881061"/>
                  </a:lnTo>
                  <a:lnTo>
                    <a:pt x="1088811" y="881857"/>
                  </a:lnTo>
                  <a:lnTo>
                    <a:pt x="1088811" y="883747"/>
                  </a:lnTo>
                  <a:lnTo>
                    <a:pt x="1088014" y="885538"/>
                  </a:lnTo>
                  <a:lnTo>
                    <a:pt x="1086220" y="887925"/>
                  </a:lnTo>
                  <a:lnTo>
                    <a:pt x="1087715" y="898372"/>
                  </a:lnTo>
                  <a:lnTo>
                    <a:pt x="1088612" y="898372"/>
                  </a:lnTo>
                  <a:lnTo>
                    <a:pt x="1089608" y="896481"/>
                  </a:lnTo>
                  <a:lnTo>
                    <a:pt x="1091402" y="894690"/>
                  </a:lnTo>
                  <a:lnTo>
                    <a:pt x="1093096" y="893795"/>
                  </a:lnTo>
                  <a:lnTo>
                    <a:pt x="1093893" y="894492"/>
                  </a:lnTo>
                  <a:lnTo>
                    <a:pt x="1093893" y="898769"/>
                  </a:lnTo>
                  <a:lnTo>
                    <a:pt x="1093893" y="900560"/>
                  </a:lnTo>
                  <a:lnTo>
                    <a:pt x="1095687" y="902649"/>
                  </a:lnTo>
                  <a:lnTo>
                    <a:pt x="1096284" y="898769"/>
                  </a:lnTo>
                  <a:lnTo>
                    <a:pt x="1097978" y="897874"/>
                  </a:lnTo>
                  <a:lnTo>
                    <a:pt x="1099373" y="899466"/>
                  </a:lnTo>
                  <a:lnTo>
                    <a:pt x="1099373" y="902649"/>
                  </a:lnTo>
                  <a:lnTo>
                    <a:pt x="1100171" y="902649"/>
                  </a:lnTo>
                  <a:lnTo>
                    <a:pt x="1100171" y="903843"/>
                  </a:lnTo>
                  <a:lnTo>
                    <a:pt x="1100171" y="904838"/>
                  </a:lnTo>
                  <a:lnTo>
                    <a:pt x="1100769" y="905535"/>
                  </a:lnTo>
                  <a:lnTo>
                    <a:pt x="1101864" y="905535"/>
                  </a:lnTo>
                  <a:lnTo>
                    <a:pt x="1102960" y="904938"/>
                  </a:lnTo>
                  <a:lnTo>
                    <a:pt x="1102960" y="903744"/>
                  </a:lnTo>
                  <a:lnTo>
                    <a:pt x="1102960" y="902252"/>
                  </a:lnTo>
                  <a:lnTo>
                    <a:pt x="1102960" y="901157"/>
                  </a:lnTo>
                  <a:lnTo>
                    <a:pt x="1104655" y="900063"/>
                  </a:lnTo>
                  <a:lnTo>
                    <a:pt x="1105651" y="900063"/>
                  </a:lnTo>
                  <a:lnTo>
                    <a:pt x="1105651" y="901655"/>
                  </a:lnTo>
                  <a:lnTo>
                    <a:pt x="1104555" y="904241"/>
                  </a:lnTo>
                  <a:lnTo>
                    <a:pt x="1106049" y="904241"/>
                  </a:lnTo>
                  <a:lnTo>
                    <a:pt x="1106847" y="902848"/>
                  </a:lnTo>
                  <a:lnTo>
                    <a:pt x="1108142" y="899267"/>
                  </a:lnTo>
                  <a:lnTo>
                    <a:pt x="1106747" y="897078"/>
                  </a:lnTo>
                  <a:lnTo>
                    <a:pt x="1103260" y="888622"/>
                  </a:lnTo>
                  <a:lnTo>
                    <a:pt x="1103260" y="887826"/>
                  </a:lnTo>
                  <a:lnTo>
                    <a:pt x="1103260" y="886732"/>
                  </a:lnTo>
                  <a:lnTo>
                    <a:pt x="1103260" y="885438"/>
                  </a:lnTo>
                  <a:lnTo>
                    <a:pt x="1103957" y="882553"/>
                  </a:lnTo>
                  <a:lnTo>
                    <a:pt x="1103957" y="881857"/>
                  </a:lnTo>
                  <a:lnTo>
                    <a:pt x="1104555" y="882652"/>
                  </a:lnTo>
                  <a:lnTo>
                    <a:pt x="1105253" y="884244"/>
                  </a:lnTo>
                  <a:lnTo>
                    <a:pt x="1105253" y="887328"/>
                  </a:lnTo>
                  <a:lnTo>
                    <a:pt x="1105850" y="890114"/>
                  </a:lnTo>
                  <a:lnTo>
                    <a:pt x="1105850" y="891208"/>
                  </a:lnTo>
                  <a:lnTo>
                    <a:pt x="1106647" y="893596"/>
                  </a:lnTo>
                  <a:lnTo>
                    <a:pt x="1108441" y="892701"/>
                  </a:lnTo>
                  <a:lnTo>
                    <a:pt x="1111929" y="889517"/>
                  </a:lnTo>
                  <a:lnTo>
                    <a:pt x="1111929" y="888522"/>
                  </a:lnTo>
                  <a:lnTo>
                    <a:pt x="1110434" y="887229"/>
                  </a:lnTo>
                  <a:lnTo>
                    <a:pt x="1110434" y="886333"/>
                  </a:lnTo>
                  <a:lnTo>
                    <a:pt x="1112028" y="886333"/>
                  </a:lnTo>
                  <a:lnTo>
                    <a:pt x="1114021" y="887527"/>
                  </a:lnTo>
                  <a:lnTo>
                    <a:pt x="1115316" y="890015"/>
                  </a:lnTo>
                  <a:lnTo>
                    <a:pt x="1116612" y="893198"/>
                  </a:lnTo>
                  <a:lnTo>
                    <a:pt x="1118107" y="895387"/>
                  </a:lnTo>
                  <a:lnTo>
                    <a:pt x="1120000" y="895387"/>
                  </a:lnTo>
                  <a:lnTo>
                    <a:pt x="1119402" y="894093"/>
                  </a:lnTo>
                  <a:lnTo>
                    <a:pt x="1119402" y="892800"/>
                  </a:lnTo>
                  <a:lnTo>
                    <a:pt x="1119402" y="889915"/>
                  </a:lnTo>
                  <a:lnTo>
                    <a:pt x="1120298" y="889915"/>
                  </a:lnTo>
                  <a:lnTo>
                    <a:pt x="1121395" y="896481"/>
                  </a:lnTo>
                  <a:lnTo>
                    <a:pt x="1122093" y="898571"/>
                  </a:lnTo>
                  <a:lnTo>
                    <a:pt x="1122989" y="900560"/>
                  </a:lnTo>
                  <a:lnTo>
                    <a:pt x="1124982" y="903744"/>
                  </a:lnTo>
                  <a:lnTo>
                    <a:pt x="1125580" y="905137"/>
                  </a:lnTo>
                  <a:lnTo>
                    <a:pt x="1126178" y="909415"/>
                  </a:lnTo>
                  <a:lnTo>
                    <a:pt x="1126178" y="913494"/>
                  </a:lnTo>
                  <a:lnTo>
                    <a:pt x="1126178" y="917473"/>
                  </a:lnTo>
                  <a:lnTo>
                    <a:pt x="1128071" y="921453"/>
                  </a:lnTo>
                  <a:lnTo>
                    <a:pt x="1128868" y="919264"/>
                  </a:lnTo>
                  <a:lnTo>
                    <a:pt x="1128868" y="917075"/>
                  </a:lnTo>
                  <a:lnTo>
                    <a:pt x="1128868" y="915085"/>
                  </a:lnTo>
                  <a:lnTo>
                    <a:pt x="1127573" y="913792"/>
                  </a:lnTo>
                  <a:lnTo>
                    <a:pt x="1128370" y="911603"/>
                  </a:lnTo>
                  <a:lnTo>
                    <a:pt x="1129067" y="909415"/>
                  </a:lnTo>
                  <a:lnTo>
                    <a:pt x="1129864" y="908022"/>
                  </a:lnTo>
                  <a:lnTo>
                    <a:pt x="1131060" y="908022"/>
                  </a:lnTo>
                  <a:lnTo>
                    <a:pt x="1131758" y="909315"/>
                  </a:lnTo>
                  <a:lnTo>
                    <a:pt x="1131758" y="911205"/>
                  </a:lnTo>
                  <a:lnTo>
                    <a:pt x="1131758" y="915284"/>
                  </a:lnTo>
                  <a:lnTo>
                    <a:pt x="1130562" y="923840"/>
                  </a:lnTo>
                  <a:lnTo>
                    <a:pt x="1130562" y="926825"/>
                  </a:lnTo>
                  <a:lnTo>
                    <a:pt x="1133053" y="929611"/>
                  </a:lnTo>
                  <a:lnTo>
                    <a:pt x="1133651" y="929611"/>
                  </a:lnTo>
                  <a:lnTo>
                    <a:pt x="1133651" y="929611"/>
                  </a:lnTo>
                  <a:lnTo>
                    <a:pt x="1133651" y="929611"/>
                  </a:lnTo>
                  <a:lnTo>
                    <a:pt x="1133651" y="929014"/>
                  </a:lnTo>
                  <a:lnTo>
                    <a:pt x="1133053" y="928317"/>
                  </a:lnTo>
                  <a:lnTo>
                    <a:pt x="1133053" y="927422"/>
                  </a:lnTo>
                  <a:lnTo>
                    <a:pt x="1133053" y="924636"/>
                  </a:lnTo>
                  <a:lnTo>
                    <a:pt x="1134747" y="926228"/>
                  </a:lnTo>
                  <a:lnTo>
                    <a:pt x="1135644" y="928417"/>
                  </a:lnTo>
                  <a:lnTo>
                    <a:pt x="1135644" y="930904"/>
                  </a:lnTo>
                  <a:lnTo>
                    <a:pt x="1134647" y="933391"/>
                  </a:lnTo>
                  <a:lnTo>
                    <a:pt x="1135744" y="936177"/>
                  </a:lnTo>
                  <a:lnTo>
                    <a:pt x="1137039" y="936873"/>
                  </a:lnTo>
                  <a:lnTo>
                    <a:pt x="1140825" y="936873"/>
                  </a:lnTo>
                  <a:lnTo>
                    <a:pt x="1142718" y="937868"/>
                  </a:lnTo>
                  <a:lnTo>
                    <a:pt x="1143615" y="938564"/>
                  </a:lnTo>
                  <a:lnTo>
                    <a:pt x="1143615" y="939062"/>
                  </a:lnTo>
                  <a:lnTo>
                    <a:pt x="1145011" y="938366"/>
                  </a:lnTo>
                  <a:lnTo>
                    <a:pt x="1145011" y="937470"/>
                  </a:lnTo>
                  <a:lnTo>
                    <a:pt x="1145011" y="936575"/>
                  </a:lnTo>
                  <a:lnTo>
                    <a:pt x="1145509" y="935878"/>
                  </a:lnTo>
                  <a:lnTo>
                    <a:pt x="1150092" y="932894"/>
                  </a:lnTo>
                  <a:lnTo>
                    <a:pt x="1154277" y="928317"/>
                  </a:lnTo>
                  <a:lnTo>
                    <a:pt x="1155971" y="926924"/>
                  </a:lnTo>
                  <a:lnTo>
                    <a:pt x="1156768" y="927720"/>
                  </a:lnTo>
                  <a:lnTo>
                    <a:pt x="1156768" y="928317"/>
                  </a:lnTo>
                  <a:lnTo>
                    <a:pt x="1157665" y="928914"/>
                  </a:lnTo>
                  <a:lnTo>
                    <a:pt x="1157665" y="929810"/>
                  </a:lnTo>
                  <a:lnTo>
                    <a:pt x="1156968" y="931799"/>
                  </a:lnTo>
                  <a:lnTo>
                    <a:pt x="1156968" y="932695"/>
                  </a:lnTo>
                  <a:lnTo>
                    <a:pt x="1156968" y="933491"/>
                  </a:lnTo>
                  <a:lnTo>
                    <a:pt x="1156968" y="934187"/>
                  </a:lnTo>
                  <a:lnTo>
                    <a:pt x="1161850" y="938167"/>
                  </a:lnTo>
                  <a:lnTo>
                    <a:pt x="1162647" y="939659"/>
                  </a:lnTo>
                  <a:lnTo>
                    <a:pt x="1162647" y="941748"/>
                  </a:lnTo>
                  <a:lnTo>
                    <a:pt x="1163843" y="943041"/>
                  </a:lnTo>
                  <a:lnTo>
                    <a:pt x="1165039" y="943041"/>
                  </a:lnTo>
                  <a:lnTo>
                    <a:pt x="1165637" y="941549"/>
                  </a:lnTo>
                  <a:lnTo>
                    <a:pt x="1165637" y="939360"/>
                  </a:lnTo>
                  <a:lnTo>
                    <a:pt x="1165637" y="937768"/>
                  </a:lnTo>
                  <a:lnTo>
                    <a:pt x="1164342" y="934585"/>
                  </a:lnTo>
                  <a:lnTo>
                    <a:pt x="1165836" y="934585"/>
                  </a:lnTo>
                  <a:lnTo>
                    <a:pt x="1167131" y="934585"/>
                  </a:lnTo>
                  <a:lnTo>
                    <a:pt x="1168028" y="933391"/>
                  </a:lnTo>
                  <a:lnTo>
                    <a:pt x="1168626" y="931799"/>
                  </a:lnTo>
                  <a:lnTo>
                    <a:pt x="1168028" y="930108"/>
                  </a:lnTo>
                  <a:lnTo>
                    <a:pt x="1168726" y="929312"/>
                  </a:lnTo>
                  <a:lnTo>
                    <a:pt x="1170021" y="929909"/>
                  </a:lnTo>
                  <a:lnTo>
                    <a:pt x="1171416" y="931799"/>
                  </a:lnTo>
                  <a:lnTo>
                    <a:pt x="1172213" y="937172"/>
                  </a:lnTo>
                  <a:lnTo>
                    <a:pt x="1173010" y="938863"/>
                  </a:lnTo>
                  <a:lnTo>
                    <a:pt x="1174804" y="938266"/>
                  </a:lnTo>
                  <a:lnTo>
                    <a:pt x="1174007" y="935978"/>
                  </a:lnTo>
                  <a:lnTo>
                    <a:pt x="1174007" y="934286"/>
                  </a:lnTo>
                  <a:lnTo>
                    <a:pt x="1174007" y="932794"/>
                  </a:lnTo>
                  <a:lnTo>
                    <a:pt x="1168427" y="924139"/>
                  </a:lnTo>
                  <a:lnTo>
                    <a:pt x="1168427" y="923243"/>
                  </a:lnTo>
                  <a:lnTo>
                    <a:pt x="1170320" y="924238"/>
                  </a:lnTo>
                  <a:lnTo>
                    <a:pt x="1173708" y="927621"/>
                  </a:lnTo>
                  <a:lnTo>
                    <a:pt x="1175402" y="928616"/>
                  </a:lnTo>
                  <a:lnTo>
                    <a:pt x="1176697" y="928616"/>
                  </a:lnTo>
                  <a:lnTo>
                    <a:pt x="1177993" y="927024"/>
                  </a:lnTo>
                  <a:lnTo>
                    <a:pt x="1179288" y="927024"/>
                  </a:lnTo>
                  <a:lnTo>
                    <a:pt x="1180384" y="927621"/>
                  </a:lnTo>
                  <a:lnTo>
                    <a:pt x="1183174" y="932396"/>
                  </a:lnTo>
                  <a:lnTo>
                    <a:pt x="1182477" y="925731"/>
                  </a:lnTo>
                  <a:lnTo>
                    <a:pt x="1181879" y="924736"/>
                  </a:lnTo>
                  <a:lnTo>
                    <a:pt x="1181181" y="924238"/>
                  </a:lnTo>
                  <a:lnTo>
                    <a:pt x="1181181" y="923144"/>
                  </a:lnTo>
                  <a:lnTo>
                    <a:pt x="1181181" y="922049"/>
                  </a:lnTo>
                  <a:lnTo>
                    <a:pt x="1182576" y="922049"/>
                  </a:lnTo>
                  <a:lnTo>
                    <a:pt x="1182576" y="921453"/>
                  </a:lnTo>
                  <a:lnTo>
                    <a:pt x="1182576" y="915284"/>
                  </a:lnTo>
                  <a:lnTo>
                    <a:pt x="1183373" y="910708"/>
                  </a:lnTo>
                  <a:lnTo>
                    <a:pt x="1182477" y="907027"/>
                  </a:lnTo>
                  <a:lnTo>
                    <a:pt x="1180782" y="903545"/>
                  </a:lnTo>
                  <a:lnTo>
                    <a:pt x="1179188" y="899167"/>
                  </a:lnTo>
                  <a:lnTo>
                    <a:pt x="1181181" y="900162"/>
                  </a:lnTo>
                  <a:lnTo>
                    <a:pt x="1181879" y="899466"/>
                  </a:lnTo>
                  <a:lnTo>
                    <a:pt x="1181879" y="897973"/>
                  </a:lnTo>
                  <a:lnTo>
                    <a:pt x="1181879" y="896879"/>
                  </a:lnTo>
                  <a:lnTo>
                    <a:pt x="1183075" y="896083"/>
                  </a:lnTo>
                  <a:lnTo>
                    <a:pt x="1184071" y="896083"/>
                  </a:lnTo>
                  <a:lnTo>
                    <a:pt x="1184868" y="896879"/>
                  </a:lnTo>
                  <a:lnTo>
                    <a:pt x="1184868" y="899565"/>
                  </a:lnTo>
                  <a:lnTo>
                    <a:pt x="1184868" y="901257"/>
                  </a:lnTo>
                  <a:lnTo>
                    <a:pt x="1183373" y="904938"/>
                  </a:lnTo>
                  <a:lnTo>
                    <a:pt x="1183373" y="907027"/>
                  </a:lnTo>
                  <a:lnTo>
                    <a:pt x="1188156" y="910409"/>
                  </a:lnTo>
                  <a:lnTo>
                    <a:pt x="1191444" y="911106"/>
                  </a:lnTo>
                  <a:lnTo>
                    <a:pt x="1193138" y="910608"/>
                  </a:lnTo>
                  <a:lnTo>
                    <a:pt x="1194434" y="907226"/>
                  </a:lnTo>
                  <a:lnTo>
                    <a:pt x="1196427" y="903445"/>
                  </a:lnTo>
                  <a:lnTo>
                    <a:pt x="1193238" y="897775"/>
                  </a:lnTo>
                  <a:lnTo>
                    <a:pt x="1192540" y="894492"/>
                  </a:lnTo>
                  <a:lnTo>
                    <a:pt x="1194733" y="893099"/>
                  </a:lnTo>
                  <a:lnTo>
                    <a:pt x="1194135" y="891805"/>
                  </a:lnTo>
                  <a:lnTo>
                    <a:pt x="1194135" y="891805"/>
                  </a:lnTo>
                  <a:lnTo>
                    <a:pt x="1194135" y="891308"/>
                  </a:lnTo>
                  <a:lnTo>
                    <a:pt x="1194135" y="890114"/>
                  </a:lnTo>
                  <a:lnTo>
                    <a:pt x="1195729" y="892303"/>
                  </a:lnTo>
                  <a:lnTo>
                    <a:pt x="1197423" y="895387"/>
                  </a:lnTo>
                  <a:lnTo>
                    <a:pt x="1198818" y="898769"/>
                  </a:lnTo>
                  <a:lnTo>
                    <a:pt x="1199715" y="902948"/>
                  </a:lnTo>
                  <a:lnTo>
                    <a:pt x="1200512" y="904341"/>
                  </a:lnTo>
                  <a:lnTo>
                    <a:pt x="1201608" y="905236"/>
                  </a:lnTo>
                  <a:lnTo>
                    <a:pt x="1202804" y="905236"/>
                  </a:lnTo>
                  <a:lnTo>
                    <a:pt x="1203800" y="904241"/>
                  </a:lnTo>
                  <a:lnTo>
                    <a:pt x="1206291" y="898670"/>
                  </a:lnTo>
                  <a:lnTo>
                    <a:pt x="1206989" y="902451"/>
                  </a:lnTo>
                  <a:lnTo>
                    <a:pt x="1205693" y="905734"/>
                  </a:lnTo>
                  <a:lnTo>
                    <a:pt x="1205096" y="908420"/>
                  </a:lnTo>
                  <a:lnTo>
                    <a:pt x="1207986" y="910708"/>
                  </a:lnTo>
                  <a:lnTo>
                    <a:pt x="1208683" y="907226"/>
                  </a:lnTo>
                  <a:lnTo>
                    <a:pt x="1212071" y="900958"/>
                  </a:lnTo>
                  <a:lnTo>
                    <a:pt x="1213266" y="897576"/>
                  </a:lnTo>
                  <a:lnTo>
                    <a:pt x="1214960" y="899565"/>
                  </a:lnTo>
                  <a:lnTo>
                    <a:pt x="1214960" y="905037"/>
                  </a:lnTo>
                  <a:lnTo>
                    <a:pt x="1217252" y="906231"/>
                  </a:lnTo>
                  <a:lnTo>
                    <a:pt x="1217252" y="906231"/>
                  </a:lnTo>
                  <a:lnTo>
                    <a:pt x="1217252" y="905137"/>
                  </a:lnTo>
                  <a:lnTo>
                    <a:pt x="1217950" y="903943"/>
                  </a:lnTo>
                  <a:lnTo>
                    <a:pt x="1219245" y="903943"/>
                  </a:lnTo>
                  <a:lnTo>
                    <a:pt x="1219843" y="903943"/>
                  </a:lnTo>
                  <a:lnTo>
                    <a:pt x="1219843" y="904838"/>
                  </a:lnTo>
                  <a:lnTo>
                    <a:pt x="1219843" y="904838"/>
                  </a:lnTo>
                  <a:lnTo>
                    <a:pt x="1221138" y="904241"/>
                  </a:lnTo>
                  <a:lnTo>
                    <a:pt x="1222135" y="902550"/>
                  </a:lnTo>
                  <a:lnTo>
                    <a:pt x="1222135" y="900063"/>
                  </a:lnTo>
                  <a:lnTo>
                    <a:pt x="1222135" y="897576"/>
                  </a:lnTo>
                  <a:lnTo>
                    <a:pt x="1222135" y="895586"/>
                  </a:lnTo>
                  <a:lnTo>
                    <a:pt x="1219744" y="888423"/>
                  </a:lnTo>
                  <a:lnTo>
                    <a:pt x="1219744" y="885438"/>
                  </a:lnTo>
                  <a:lnTo>
                    <a:pt x="1222035" y="887925"/>
                  </a:lnTo>
                  <a:lnTo>
                    <a:pt x="1225024" y="895387"/>
                  </a:lnTo>
                  <a:lnTo>
                    <a:pt x="1226719" y="897277"/>
                  </a:lnTo>
                  <a:lnTo>
                    <a:pt x="1228413" y="897277"/>
                  </a:lnTo>
                  <a:lnTo>
                    <a:pt x="1229907" y="896183"/>
                  </a:lnTo>
                  <a:lnTo>
                    <a:pt x="1231103" y="894690"/>
                  </a:lnTo>
                  <a:lnTo>
                    <a:pt x="1232897" y="890910"/>
                  </a:lnTo>
                  <a:lnTo>
                    <a:pt x="1232897" y="889816"/>
                  </a:lnTo>
                  <a:lnTo>
                    <a:pt x="1232897" y="888821"/>
                  </a:lnTo>
                  <a:lnTo>
                    <a:pt x="1229210" y="881260"/>
                  </a:lnTo>
                  <a:lnTo>
                    <a:pt x="1229210" y="879170"/>
                  </a:lnTo>
                  <a:lnTo>
                    <a:pt x="1231402" y="880165"/>
                  </a:lnTo>
                  <a:lnTo>
                    <a:pt x="1232996" y="883050"/>
                  </a:lnTo>
                  <a:lnTo>
                    <a:pt x="1234690" y="887229"/>
                  </a:lnTo>
                  <a:lnTo>
                    <a:pt x="1236882" y="890015"/>
                  </a:lnTo>
                  <a:lnTo>
                    <a:pt x="1240071" y="888920"/>
                  </a:lnTo>
                  <a:lnTo>
                    <a:pt x="1240071" y="887328"/>
                  </a:lnTo>
                  <a:lnTo>
                    <a:pt x="1240071" y="884642"/>
                  </a:lnTo>
                  <a:lnTo>
                    <a:pt x="1240071" y="883448"/>
                  </a:lnTo>
                  <a:lnTo>
                    <a:pt x="1239273" y="882056"/>
                  </a:lnTo>
                  <a:lnTo>
                    <a:pt x="1237380" y="879568"/>
                  </a:lnTo>
                  <a:lnTo>
                    <a:pt x="1236683" y="877977"/>
                  </a:lnTo>
                  <a:lnTo>
                    <a:pt x="1238178" y="877977"/>
                  </a:lnTo>
                  <a:lnTo>
                    <a:pt x="1239473" y="877977"/>
                  </a:lnTo>
                  <a:lnTo>
                    <a:pt x="1240768" y="878573"/>
                  </a:lnTo>
                  <a:lnTo>
                    <a:pt x="1241964" y="879469"/>
                  </a:lnTo>
                  <a:lnTo>
                    <a:pt x="1242662" y="880464"/>
                  </a:lnTo>
                  <a:lnTo>
                    <a:pt x="1243758" y="882852"/>
                  </a:lnTo>
                  <a:lnTo>
                    <a:pt x="1244455" y="883846"/>
                  </a:lnTo>
                  <a:lnTo>
                    <a:pt x="1246348" y="885438"/>
                  </a:lnTo>
                  <a:lnTo>
                    <a:pt x="1246946" y="884642"/>
                  </a:lnTo>
                  <a:lnTo>
                    <a:pt x="1247544" y="882951"/>
                  </a:lnTo>
                  <a:lnTo>
                    <a:pt x="1249737" y="881757"/>
                  </a:lnTo>
                  <a:lnTo>
                    <a:pt x="1248939" y="879568"/>
                  </a:lnTo>
                  <a:lnTo>
                    <a:pt x="1249537" y="878374"/>
                  </a:lnTo>
                  <a:lnTo>
                    <a:pt x="1251031" y="878374"/>
                  </a:lnTo>
                  <a:lnTo>
                    <a:pt x="1253124" y="878374"/>
                  </a:lnTo>
                  <a:lnTo>
                    <a:pt x="1251630" y="875191"/>
                  </a:lnTo>
                  <a:lnTo>
                    <a:pt x="1247046" y="872206"/>
                  </a:lnTo>
                  <a:lnTo>
                    <a:pt x="1245252" y="869719"/>
                  </a:lnTo>
                  <a:lnTo>
                    <a:pt x="1246548" y="869719"/>
                  </a:lnTo>
                  <a:lnTo>
                    <a:pt x="1247744" y="869719"/>
                  </a:lnTo>
                  <a:lnTo>
                    <a:pt x="1248540" y="868724"/>
                  </a:lnTo>
                  <a:lnTo>
                    <a:pt x="1248540" y="867331"/>
                  </a:lnTo>
                  <a:lnTo>
                    <a:pt x="1248540" y="866038"/>
                  </a:lnTo>
                  <a:lnTo>
                    <a:pt x="1249637" y="865541"/>
                  </a:lnTo>
                  <a:lnTo>
                    <a:pt x="1257508" y="865541"/>
                  </a:lnTo>
                  <a:lnTo>
                    <a:pt x="1259202" y="864645"/>
                  </a:lnTo>
                  <a:lnTo>
                    <a:pt x="1261494" y="861959"/>
                  </a:lnTo>
                  <a:lnTo>
                    <a:pt x="1263587" y="860367"/>
                  </a:lnTo>
                  <a:lnTo>
                    <a:pt x="1265679" y="860367"/>
                  </a:lnTo>
                  <a:lnTo>
                    <a:pt x="1267373" y="859571"/>
                  </a:lnTo>
                  <a:lnTo>
                    <a:pt x="1267971" y="856985"/>
                  </a:lnTo>
                  <a:lnTo>
                    <a:pt x="1267075" y="853602"/>
                  </a:lnTo>
                  <a:lnTo>
                    <a:pt x="1264882" y="852607"/>
                  </a:lnTo>
                  <a:lnTo>
                    <a:pt x="1262491" y="852010"/>
                  </a:lnTo>
                  <a:lnTo>
                    <a:pt x="1260996" y="849921"/>
                  </a:lnTo>
                  <a:lnTo>
                    <a:pt x="1269566" y="849921"/>
                  </a:lnTo>
                  <a:lnTo>
                    <a:pt x="1273153" y="848926"/>
                  </a:lnTo>
                  <a:lnTo>
                    <a:pt x="1276640" y="846638"/>
                  </a:lnTo>
                  <a:lnTo>
                    <a:pt x="1278832" y="848230"/>
                  </a:lnTo>
                  <a:lnTo>
                    <a:pt x="1280825" y="846539"/>
                  </a:lnTo>
                  <a:lnTo>
                    <a:pt x="1282220" y="843454"/>
                  </a:lnTo>
                  <a:lnTo>
                    <a:pt x="1282719" y="840669"/>
                  </a:lnTo>
                  <a:lnTo>
                    <a:pt x="1281622" y="838579"/>
                  </a:lnTo>
                  <a:lnTo>
                    <a:pt x="1279032" y="837983"/>
                  </a:lnTo>
                  <a:lnTo>
                    <a:pt x="1275942" y="837983"/>
                  </a:lnTo>
                  <a:lnTo>
                    <a:pt x="1273252" y="837087"/>
                  </a:lnTo>
                  <a:lnTo>
                    <a:pt x="1274149" y="837087"/>
                  </a:lnTo>
                  <a:lnTo>
                    <a:pt x="1274149" y="837087"/>
                  </a:lnTo>
                  <a:lnTo>
                    <a:pt x="1274648" y="837087"/>
                  </a:lnTo>
                  <a:lnTo>
                    <a:pt x="1275345" y="836590"/>
                  </a:lnTo>
                  <a:lnTo>
                    <a:pt x="1274548" y="834998"/>
                  </a:lnTo>
                  <a:lnTo>
                    <a:pt x="1276042" y="834998"/>
                  </a:lnTo>
                  <a:lnTo>
                    <a:pt x="1280526" y="836490"/>
                  </a:lnTo>
                  <a:lnTo>
                    <a:pt x="1281024" y="836490"/>
                  </a:lnTo>
                  <a:lnTo>
                    <a:pt x="1281024" y="834998"/>
                  </a:lnTo>
                  <a:lnTo>
                    <a:pt x="1281024" y="834998"/>
                  </a:lnTo>
                  <a:lnTo>
                    <a:pt x="1281722" y="834998"/>
                  </a:lnTo>
                  <a:lnTo>
                    <a:pt x="1282719" y="835794"/>
                  </a:lnTo>
                  <a:lnTo>
                    <a:pt x="1282719" y="835794"/>
                  </a:lnTo>
                  <a:lnTo>
                    <a:pt x="1283815" y="835794"/>
                  </a:lnTo>
                  <a:lnTo>
                    <a:pt x="1285010" y="836291"/>
                  </a:lnTo>
                  <a:lnTo>
                    <a:pt x="1287003" y="837684"/>
                  </a:lnTo>
                  <a:lnTo>
                    <a:pt x="1288897" y="832411"/>
                  </a:lnTo>
                  <a:lnTo>
                    <a:pt x="1289594" y="831118"/>
                  </a:lnTo>
                  <a:lnTo>
                    <a:pt x="1290590" y="830322"/>
                  </a:lnTo>
                  <a:lnTo>
                    <a:pt x="1293181" y="829327"/>
                  </a:lnTo>
                  <a:lnTo>
                    <a:pt x="1294377" y="828432"/>
                  </a:lnTo>
                  <a:lnTo>
                    <a:pt x="1295074" y="827039"/>
                  </a:lnTo>
                  <a:lnTo>
                    <a:pt x="1295074" y="824253"/>
                  </a:lnTo>
                  <a:lnTo>
                    <a:pt x="1295772" y="822960"/>
                  </a:lnTo>
                  <a:lnTo>
                    <a:pt x="1303146" y="818085"/>
                  </a:lnTo>
                  <a:lnTo>
                    <a:pt x="1304042" y="816891"/>
                  </a:lnTo>
                  <a:lnTo>
                    <a:pt x="1304042" y="815797"/>
                  </a:lnTo>
                  <a:lnTo>
                    <a:pt x="1304042" y="814404"/>
                  </a:lnTo>
                  <a:lnTo>
                    <a:pt x="1304042" y="813111"/>
                  </a:lnTo>
                  <a:lnTo>
                    <a:pt x="1303444" y="812514"/>
                  </a:lnTo>
                  <a:lnTo>
                    <a:pt x="1301053" y="811917"/>
                  </a:lnTo>
                  <a:lnTo>
                    <a:pt x="1298562" y="810325"/>
                  </a:lnTo>
                  <a:lnTo>
                    <a:pt x="1296470" y="808236"/>
                  </a:lnTo>
                  <a:lnTo>
                    <a:pt x="1295174" y="806047"/>
                  </a:lnTo>
                  <a:lnTo>
                    <a:pt x="1297665" y="807838"/>
                  </a:lnTo>
                  <a:lnTo>
                    <a:pt x="1307630" y="812514"/>
                  </a:lnTo>
                  <a:lnTo>
                    <a:pt x="1307630" y="812514"/>
                  </a:lnTo>
                  <a:lnTo>
                    <a:pt x="1306434" y="813409"/>
                  </a:lnTo>
                  <a:lnTo>
                    <a:pt x="1307430" y="814802"/>
                  </a:lnTo>
                  <a:lnTo>
                    <a:pt x="1308526" y="815996"/>
                  </a:lnTo>
                  <a:lnTo>
                    <a:pt x="1310818" y="817886"/>
                  </a:lnTo>
                  <a:lnTo>
                    <a:pt x="1311715" y="816692"/>
                  </a:lnTo>
                  <a:lnTo>
                    <a:pt x="1314106" y="818782"/>
                  </a:lnTo>
                  <a:lnTo>
                    <a:pt x="1316299" y="817389"/>
                  </a:lnTo>
                  <a:lnTo>
                    <a:pt x="1320284" y="812315"/>
                  </a:lnTo>
                  <a:lnTo>
                    <a:pt x="1313808" y="812315"/>
                  </a:lnTo>
                  <a:lnTo>
                    <a:pt x="1313808" y="811618"/>
                  </a:lnTo>
                  <a:lnTo>
                    <a:pt x="1316996" y="807042"/>
                  </a:lnTo>
                  <a:lnTo>
                    <a:pt x="1313608" y="805649"/>
                  </a:lnTo>
                  <a:lnTo>
                    <a:pt x="1312313" y="805649"/>
                  </a:lnTo>
                  <a:lnTo>
                    <a:pt x="1310918" y="806147"/>
                  </a:lnTo>
                  <a:lnTo>
                    <a:pt x="1311515" y="806147"/>
                  </a:lnTo>
                  <a:lnTo>
                    <a:pt x="1312811" y="807440"/>
                  </a:lnTo>
                  <a:lnTo>
                    <a:pt x="1313409" y="807937"/>
                  </a:lnTo>
                  <a:lnTo>
                    <a:pt x="1311815" y="808833"/>
                  </a:lnTo>
                  <a:lnTo>
                    <a:pt x="1310619" y="808236"/>
                  </a:lnTo>
                  <a:lnTo>
                    <a:pt x="1309224" y="807340"/>
                  </a:lnTo>
                  <a:lnTo>
                    <a:pt x="1307430" y="807340"/>
                  </a:lnTo>
                  <a:lnTo>
                    <a:pt x="1307430" y="805848"/>
                  </a:lnTo>
                  <a:lnTo>
                    <a:pt x="1307430" y="804555"/>
                  </a:lnTo>
                  <a:lnTo>
                    <a:pt x="1307430" y="803560"/>
                  </a:lnTo>
                  <a:lnTo>
                    <a:pt x="1306533" y="802864"/>
                  </a:lnTo>
                  <a:lnTo>
                    <a:pt x="1306533" y="801769"/>
                  </a:lnTo>
                  <a:lnTo>
                    <a:pt x="1314804" y="801769"/>
                  </a:lnTo>
                  <a:lnTo>
                    <a:pt x="1319288" y="802764"/>
                  </a:lnTo>
                  <a:lnTo>
                    <a:pt x="1321580" y="802764"/>
                  </a:lnTo>
                  <a:lnTo>
                    <a:pt x="1323772" y="801670"/>
                  </a:lnTo>
                  <a:lnTo>
                    <a:pt x="1320683" y="800177"/>
                  </a:lnTo>
                  <a:lnTo>
                    <a:pt x="1317494" y="799680"/>
                  </a:lnTo>
                  <a:lnTo>
                    <a:pt x="1310918" y="799680"/>
                  </a:lnTo>
                  <a:lnTo>
                    <a:pt x="1310918" y="798685"/>
                  </a:lnTo>
                  <a:lnTo>
                    <a:pt x="1312512" y="797790"/>
                  </a:lnTo>
                  <a:lnTo>
                    <a:pt x="1314007" y="796496"/>
                  </a:lnTo>
                  <a:lnTo>
                    <a:pt x="1315601" y="795601"/>
                  </a:lnTo>
                  <a:lnTo>
                    <a:pt x="1317793" y="795601"/>
                  </a:lnTo>
                  <a:lnTo>
                    <a:pt x="1315601" y="794507"/>
                  </a:lnTo>
                  <a:lnTo>
                    <a:pt x="1312911" y="794507"/>
                  </a:lnTo>
                  <a:lnTo>
                    <a:pt x="1307430" y="794507"/>
                  </a:lnTo>
                  <a:lnTo>
                    <a:pt x="1307430" y="792318"/>
                  </a:lnTo>
                  <a:lnTo>
                    <a:pt x="1306434" y="790925"/>
                  </a:lnTo>
                  <a:lnTo>
                    <a:pt x="1305139" y="789731"/>
                  </a:lnTo>
                  <a:lnTo>
                    <a:pt x="1305139" y="785951"/>
                  </a:lnTo>
                  <a:lnTo>
                    <a:pt x="1310619" y="784558"/>
                  </a:lnTo>
                  <a:lnTo>
                    <a:pt x="1312113" y="783762"/>
                  </a:lnTo>
                  <a:lnTo>
                    <a:pt x="1309722" y="782767"/>
                  </a:lnTo>
                  <a:lnTo>
                    <a:pt x="1308726" y="782767"/>
                  </a:lnTo>
                  <a:lnTo>
                    <a:pt x="1309822" y="781673"/>
                  </a:lnTo>
                  <a:lnTo>
                    <a:pt x="1311017" y="780280"/>
                  </a:lnTo>
                  <a:lnTo>
                    <a:pt x="1311815" y="778688"/>
                  </a:lnTo>
                  <a:lnTo>
                    <a:pt x="1311815" y="776698"/>
                  </a:lnTo>
                  <a:lnTo>
                    <a:pt x="1311815" y="774808"/>
                  </a:lnTo>
                  <a:lnTo>
                    <a:pt x="1311317" y="773316"/>
                  </a:lnTo>
                  <a:lnTo>
                    <a:pt x="1311317" y="772321"/>
                  </a:lnTo>
                  <a:lnTo>
                    <a:pt x="1312711" y="771824"/>
                  </a:lnTo>
                  <a:lnTo>
                    <a:pt x="1311715" y="769336"/>
                  </a:lnTo>
                  <a:lnTo>
                    <a:pt x="1311117" y="768540"/>
                  </a:lnTo>
                  <a:lnTo>
                    <a:pt x="1314206" y="769834"/>
                  </a:lnTo>
                  <a:lnTo>
                    <a:pt x="1317793" y="772023"/>
                  </a:lnTo>
                  <a:lnTo>
                    <a:pt x="1320982" y="773216"/>
                  </a:lnTo>
                  <a:lnTo>
                    <a:pt x="1323074" y="770729"/>
                  </a:lnTo>
                  <a:lnTo>
                    <a:pt x="1323074" y="767645"/>
                  </a:lnTo>
                  <a:lnTo>
                    <a:pt x="1324868" y="766252"/>
                  </a:lnTo>
                  <a:lnTo>
                    <a:pt x="1327359" y="766252"/>
                  </a:lnTo>
                  <a:lnTo>
                    <a:pt x="1329352" y="766252"/>
                  </a:lnTo>
                  <a:lnTo>
                    <a:pt x="1331544" y="767744"/>
                  </a:lnTo>
                  <a:lnTo>
                    <a:pt x="1333637" y="770232"/>
                  </a:lnTo>
                  <a:lnTo>
                    <a:pt x="1334832" y="773017"/>
                  </a:lnTo>
                  <a:lnTo>
                    <a:pt x="1334235" y="775504"/>
                  </a:lnTo>
                  <a:lnTo>
                    <a:pt x="1334235" y="776499"/>
                  </a:lnTo>
                  <a:lnTo>
                    <a:pt x="1335032" y="780976"/>
                  </a:lnTo>
                  <a:lnTo>
                    <a:pt x="1336426" y="782568"/>
                  </a:lnTo>
                  <a:lnTo>
                    <a:pt x="1337622" y="782568"/>
                  </a:lnTo>
                  <a:lnTo>
                    <a:pt x="1340313" y="782568"/>
                  </a:lnTo>
                  <a:lnTo>
                    <a:pt x="1341808" y="780877"/>
                  </a:lnTo>
                  <a:lnTo>
                    <a:pt x="1342904" y="777494"/>
                  </a:lnTo>
                  <a:lnTo>
                    <a:pt x="1344697" y="775305"/>
                  </a:lnTo>
                  <a:lnTo>
                    <a:pt x="1348484" y="777096"/>
                  </a:lnTo>
                  <a:lnTo>
                    <a:pt x="1346790" y="770729"/>
                  </a:lnTo>
                  <a:lnTo>
                    <a:pt x="1345295" y="767545"/>
                  </a:lnTo>
                  <a:lnTo>
                    <a:pt x="1343302" y="766153"/>
                  </a:lnTo>
                  <a:lnTo>
                    <a:pt x="1342106" y="765058"/>
                  </a:lnTo>
                  <a:lnTo>
                    <a:pt x="1342106" y="759587"/>
                  </a:lnTo>
                  <a:lnTo>
                    <a:pt x="1341309" y="757497"/>
                  </a:lnTo>
                  <a:lnTo>
                    <a:pt x="1342505" y="756701"/>
                  </a:lnTo>
                  <a:lnTo>
                    <a:pt x="1349580" y="754115"/>
                  </a:lnTo>
                  <a:lnTo>
                    <a:pt x="1351074" y="754115"/>
                  </a:lnTo>
                  <a:lnTo>
                    <a:pt x="1359146" y="751130"/>
                  </a:lnTo>
                  <a:lnTo>
                    <a:pt x="1361537" y="749737"/>
                  </a:lnTo>
                  <a:lnTo>
                    <a:pt x="1363829" y="747648"/>
                  </a:lnTo>
                  <a:lnTo>
                    <a:pt x="1363829" y="750334"/>
                  </a:lnTo>
                  <a:lnTo>
                    <a:pt x="1362434" y="752423"/>
                  </a:lnTo>
                  <a:lnTo>
                    <a:pt x="1358946" y="755408"/>
                  </a:lnTo>
                  <a:lnTo>
                    <a:pt x="1360242" y="756204"/>
                  </a:lnTo>
                  <a:lnTo>
                    <a:pt x="1360242" y="756204"/>
                  </a:lnTo>
                  <a:lnTo>
                    <a:pt x="1360242" y="757398"/>
                  </a:lnTo>
                  <a:lnTo>
                    <a:pt x="1359444" y="758194"/>
                  </a:lnTo>
                  <a:lnTo>
                    <a:pt x="1357153" y="759587"/>
                  </a:lnTo>
                  <a:lnTo>
                    <a:pt x="1358946" y="762870"/>
                  </a:lnTo>
                  <a:lnTo>
                    <a:pt x="1359743" y="763864"/>
                  </a:lnTo>
                  <a:lnTo>
                    <a:pt x="1357252" y="770132"/>
                  </a:lnTo>
                  <a:lnTo>
                    <a:pt x="1357252" y="773316"/>
                  </a:lnTo>
                  <a:lnTo>
                    <a:pt x="1358846" y="776997"/>
                  </a:lnTo>
                  <a:lnTo>
                    <a:pt x="1359743" y="777892"/>
                  </a:lnTo>
                  <a:lnTo>
                    <a:pt x="1361039" y="778688"/>
                  </a:lnTo>
                  <a:lnTo>
                    <a:pt x="1362533" y="778688"/>
                  </a:lnTo>
                  <a:lnTo>
                    <a:pt x="1364128" y="778688"/>
                  </a:lnTo>
                  <a:lnTo>
                    <a:pt x="1365921" y="778688"/>
                  </a:lnTo>
                  <a:lnTo>
                    <a:pt x="1368512" y="777793"/>
                  </a:lnTo>
                  <a:lnTo>
                    <a:pt x="1370206" y="777793"/>
                  </a:lnTo>
                  <a:lnTo>
                    <a:pt x="1369608" y="776101"/>
                  </a:lnTo>
                  <a:lnTo>
                    <a:pt x="1369608" y="775504"/>
                  </a:lnTo>
                  <a:lnTo>
                    <a:pt x="1371302" y="774510"/>
                  </a:lnTo>
                  <a:lnTo>
                    <a:pt x="1372299" y="775206"/>
                  </a:lnTo>
                  <a:lnTo>
                    <a:pt x="1373095" y="776300"/>
                  </a:lnTo>
                  <a:lnTo>
                    <a:pt x="1373992" y="776300"/>
                  </a:lnTo>
                  <a:lnTo>
                    <a:pt x="1374889" y="775803"/>
                  </a:lnTo>
                  <a:lnTo>
                    <a:pt x="1376484" y="773913"/>
                  </a:lnTo>
                  <a:lnTo>
                    <a:pt x="1377480" y="773017"/>
                  </a:lnTo>
                  <a:lnTo>
                    <a:pt x="1375088" y="777594"/>
                  </a:lnTo>
                  <a:lnTo>
                    <a:pt x="1374391" y="779584"/>
                  </a:lnTo>
                  <a:lnTo>
                    <a:pt x="1374391" y="781772"/>
                  </a:lnTo>
                  <a:lnTo>
                    <a:pt x="1375985" y="783066"/>
                  </a:lnTo>
                  <a:lnTo>
                    <a:pt x="1377281" y="781573"/>
                  </a:lnTo>
                  <a:lnTo>
                    <a:pt x="1378477" y="779086"/>
                  </a:lnTo>
                  <a:lnTo>
                    <a:pt x="1379572" y="777395"/>
                  </a:lnTo>
                  <a:lnTo>
                    <a:pt x="1379572" y="779484"/>
                  </a:lnTo>
                  <a:lnTo>
                    <a:pt x="1380270" y="781076"/>
                  </a:lnTo>
                  <a:lnTo>
                    <a:pt x="1381366" y="782170"/>
                  </a:lnTo>
                  <a:lnTo>
                    <a:pt x="1382961" y="782867"/>
                  </a:lnTo>
                  <a:lnTo>
                    <a:pt x="1384057" y="782071"/>
                  </a:lnTo>
                  <a:lnTo>
                    <a:pt x="1384057" y="782966"/>
                  </a:lnTo>
                  <a:lnTo>
                    <a:pt x="1384057" y="784359"/>
                  </a:lnTo>
                  <a:lnTo>
                    <a:pt x="1384754" y="785055"/>
                  </a:lnTo>
                  <a:lnTo>
                    <a:pt x="1386050" y="785055"/>
                  </a:lnTo>
                  <a:lnTo>
                    <a:pt x="1386050" y="784259"/>
                  </a:lnTo>
                  <a:lnTo>
                    <a:pt x="1386050" y="783563"/>
                  </a:lnTo>
                  <a:lnTo>
                    <a:pt x="1387046" y="783563"/>
                  </a:lnTo>
                  <a:lnTo>
                    <a:pt x="1391430" y="782767"/>
                  </a:lnTo>
                  <a:lnTo>
                    <a:pt x="1393523" y="782767"/>
                  </a:lnTo>
                  <a:lnTo>
                    <a:pt x="1395316" y="783762"/>
                  </a:lnTo>
                  <a:lnTo>
                    <a:pt x="1395316" y="784359"/>
                  </a:lnTo>
                  <a:lnTo>
                    <a:pt x="1394419" y="785553"/>
                  </a:lnTo>
                  <a:lnTo>
                    <a:pt x="1393822" y="786946"/>
                  </a:lnTo>
                  <a:lnTo>
                    <a:pt x="1393822" y="788139"/>
                  </a:lnTo>
                  <a:lnTo>
                    <a:pt x="1394917" y="788139"/>
                  </a:lnTo>
                  <a:lnTo>
                    <a:pt x="1395815" y="787344"/>
                  </a:lnTo>
                  <a:lnTo>
                    <a:pt x="1396512" y="786150"/>
                  </a:lnTo>
                  <a:lnTo>
                    <a:pt x="1397808" y="784558"/>
                  </a:lnTo>
                  <a:lnTo>
                    <a:pt x="1398505" y="782369"/>
                  </a:lnTo>
                  <a:lnTo>
                    <a:pt x="1399601" y="780678"/>
                  </a:lnTo>
                  <a:lnTo>
                    <a:pt x="1401793" y="781275"/>
                  </a:lnTo>
                  <a:lnTo>
                    <a:pt x="1401793" y="781772"/>
                  </a:lnTo>
                  <a:lnTo>
                    <a:pt x="1401195" y="782668"/>
                  </a:lnTo>
                  <a:lnTo>
                    <a:pt x="1401195" y="783563"/>
                  </a:lnTo>
                  <a:lnTo>
                    <a:pt x="1402192" y="784458"/>
                  </a:lnTo>
                  <a:lnTo>
                    <a:pt x="1402889" y="784458"/>
                  </a:lnTo>
                  <a:lnTo>
                    <a:pt x="1405381" y="783464"/>
                  </a:lnTo>
                  <a:lnTo>
                    <a:pt x="1406078" y="783464"/>
                  </a:lnTo>
                  <a:lnTo>
                    <a:pt x="1407971" y="780877"/>
                  </a:lnTo>
                  <a:lnTo>
                    <a:pt x="1409167" y="778688"/>
                  </a:lnTo>
                  <a:lnTo>
                    <a:pt x="1409167" y="776002"/>
                  </a:lnTo>
                  <a:lnTo>
                    <a:pt x="1406177" y="770928"/>
                  </a:lnTo>
                  <a:lnTo>
                    <a:pt x="1406177" y="769038"/>
                  </a:lnTo>
                  <a:lnTo>
                    <a:pt x="1406177" y="767048"/>
                  </a:lnTo>
                  <a:lnTo>
                    <a:pt x="1406177" y="763964"/>
                  </a:lnTo>
                  <a:lnTo>
                    <a:pt x="1406177" y="762472"/>
                  </a:lnTo>
                  <a:lnTo>
                    <a:pt x="1404284" y="757398"/>
                  </a:lnTo>
                  <a:lnTo>
                    <a:pt x="1403587" y="756303"/>
                  </a:lnTo>
                  <a:lnTo>
                    <a:pt x="1402889" y="755607"/>
                  </a:lnTo>
                  <a:lnTo>
                    <a:pt x="1401195" y="752722"/>
                  </a:lnTo>
                  <a:lnTo>
                    <a:pt x="1400099" y="752025"/>
                  </a:lnTo>
                  <a:lnTo>
                    <a:pt x="1397010" y="752025"/>
                  </a:lnTo>
                  <a:lnTo>
                    <a:pt x="1396114" y="752025"/>
                  </a:lnTo>
                  <a:lnTo>
                    <a:pt x="1394519" y="750732"/>
                  </a:lnTo>
                  <a:lnTo>
                    <a:pt x="1393423" y="748941"/>
                  </a:lnTo>
                  <a:lnTo>
                    <a:pt x="1391729" y="744265"/>
                  </a:lnTo>
                  <a:lnTo>
                    <a:pt x="1394021" y="744265"/>
                  </a:lnTo>
                  <a:lnTo>
                    <a:pt x="1395515" y="745061"/>
                  </a:lnTo>
                  <a:lnTo>
                    <a:pt x="1402989" y="752523"/>
                  </a:lnTo>
                  <a:lnTo>
                    <a:pt x="1407473" y="755408"/>
                  </a:lnTo>
                  <a:lnTo>
                    <a:pt x="1410961" y="759189"/>
                  </a:lnTo>
                  <a:lnTo>
                    <a:pt x="1415345" y="760880"/>
                  </a:lnTo>
                  <a:lnTo>
                    <a:pt x="1417836" y="762870"/>
                  </a:lnTo>
                  <a:lnTo>
                    <a:pt x="1420028" y="763665"/>
                  </a:lnTo>
                  <a:lnTo>
                    <a:pt x="1422220" y="760880"/>
                  </a:lnTo>
                  <a:lnTo>
                    <a:pt x="1423017" y="757696"/>
                  </a:lnTo>
                  <a:lnTo>
                    <a:pt x="1422320" y="755309"/>
                  </a:lnTo>
                  <a:lnTo>
                    <a:pt x="1420526" y="753518"/>
                  </a:lnTo>
                  <a:lnTo>
                    <a:pt x="1417935" y="752125"/>
                  </a:lnTo>
                  <a:lnTo>
                    <a:pt x="1422818" y="749737"/>
                  </a:lnTo>
                  <a:lnTo>
                    <a:pt x="1425110" y="749737"/>
                  </a:lnTo>
                  <a:lnTo>
                    <a:pt x="1426505" y="751926"/>
                  </a:lnTo>
                  <a:lnTo>
                    <a:pt x="1425409" y="751926"/>
                  </a:lnTo>
                  <a:lnTo>
                    <a:pt x="1424612" y="751926"/>
                  </a:lnTo>
                  <a:lnTo>
                    <a:pt x="1423017" y="753418"/>
                  </a:lnTo>
                  <a:lnTo>
                    <a:pt x="1426306" y="755309"/>
                  </a:lnTo>
                  <a:lnTo>
                    <a:pt x="1435473" y="756502"/>
                  </a:lnTo>
                  <a:lnTo>
                    <a:pt x="1439459" y="757895"/>
                  </a:lnTo>
                  <a:lnTo>
                    <a:pt x="1440057" y="755309"/>
                  </a:lnTo>
                  <a:lnTo>
                    <a:pt x="1444043" y="750633"/>
                  </a:lnTo>
                  <a:lnTo>
                    <a:pt x="1445637" y="748046"/>
                  </a:lnTo>
                  <a:lnTo>
                    <a:pt x="1444241" y="746653"/>
                  </a:lnTo>
                  <a:lnTo>
                    <a:pt x="1443544" y="744464"/>
                  </a:lnTo>
                  <a:lnTo>
                    <a:pt x="1444043" y="742176"/>
                  </a:lnTo>
                  <a:lnTo>
                    <a:pt x="1445637" y="740286"/>
                  </a:lnTo>
                  <a:lnTo>
                    <a:pt x="1446234" y="741977"/>
                  </a:lnTo>
                  <a:lnTo>
                    <a:pt x="1448227" y="745758"/>
                  </a:lnTo>
                  <a:lnTo>
                    <a:pt x="1448825" y="747847"/>
                  </a:lnTo>
                  <a:lnTo>
                    <a:pt x="1448825" y="748941"/>
                  </a:lnTo>
                  <a:lnTo>
                    <a:pt x="1448825" y="748941"/>
                  </a:lnTo>
                  <a:lnTo>
                    <a:pt x="1450320" y="748941"/>
                  </a:lnTo>
                  <a:lnTo>
                    <a:pt x="1452712" y="747549"/>
                  </a:lnTo>
                  <a:lnTo>
                    <a:pt x="1454007" y="742773"/>
                  </a:lnTo>
                  <a:lnTo>
                    <a:pt x="1456398" y="741380"/>
                  </a:lnTo>
                  <a:lnTo>
                    <a:pt x="1455601" y="743370"/>
                  </a:lnTo>
                  <a:lnTo>
                    <a:pt x="1455601" y="746156"/>
                  </a:lnTo>
                  <a:lnTo>
                    <a:pt x="1456498" y="747748"/>
                  </a:lnTo>
                  <a:lnTo>
                    <a:pt x="1458192" y="748842"/>
                  </a:lnTo>
                  <a:lnTo>
                    <a:pt x="1458192" y="745957"/>
                  </a:lnTo>
                  <a:lnTo>
                    <a:pt x="1459886" y="741480"/>
                  </a:lnTo>
                  <a:lnTo>
                    <a:pt x="1459886" y="738794"/>
                  </a:lnTo>
                  <a:lnTo>
                    <a:pt x="1459288" y="733919"/>
                  </a:lnTo>
                  <a:lnTo>
                    <a:pt x="1459288" y="733919"/>
                  </a:lnTo>
                  <a:lnTo>
                    <a:pt x="1460384" y="733023"/>
                  </a:lnTo>
                  <a:lnTo>
                    <a:pt x="1461480" y="733023"/>
                  </a:lnTo>
                  <a:lnTo>
                    <a:pt x="1462476" y="733919"/>
                  </a:lnTo>
                  <a:lnTo>
                    <a:pt x="1462476" y="735411"/>
                  </a:lnTo>
                  <a:lnTo>
                    <a:pt x="1462476" y="740584"/>
                  </a:lnTo>
                  <a:lnTo>
                    <a:pt x="1463274" y="742773"/>
                  </a:lnTo>
                  <a:lnTo>
                    <a:pt x="1465765" y="743569"/>
                  </a:lnTo>
                  <a:lnTo>
                    <a:pt x="1467359" y="744464"/>
                  </a:lnTo>
                  <a:lnTo>
                    <a:pt x="1467359" y="746653"/>
                  </a:lnTo>
                  <a:lnTo>
                    <a:pt x="1467359" y="749140"/>
                  </a:lnTo>
                  <a:lnTo>
                    <a:pt x="1467359" y="751329"/>
                  </a:lnTo>
                  <a:lnTo>
                    <a:pt x="1471644" y="747847"/>
                  </a:lnTo>
                  <a:lnTo>
                    <a:pt x="1473039" y="745658"/>
                  </a:lnTo>
                  <a:lnTo>
                    <a:pt x="1472142" y="743072"/>
                  </a:lnTo>
                  <a:lnTo>
                    <a:pt x="1468455" y="739291"/>
                  </a:lnTo>
                  <a:lnTo>
                    <a:pt x="1467259" y="737301"/>
                  </a:lnTo>
                  <a:lnTo>
                    <a:pt x="1467259" y="734914"/>
                  </a:lnTo>
                  <a:lnTo>
                    <a:pt x="1468754" y="736804"/>
                  </a:lnTo>
                  <a:lnTo>
                    <a:pt x="1472341" y="734914"/>
                  </a:lnTo>
                  <a:lnTo>
                    <a:pt x="1474135" y="736008"/>
                  </a:lnTo>
                  <a:lnTo>
                    <a:pt x="1474135" y="737003"/>
                  </a:lnTo>
                  <a:lnTo>
                    <a:pt x="1474135" y="741380"/>
                  </a:lnTo>
                  <a:lnTo>
                    <a:pt x="1474135" y="742375"/>
                  </a:lnTo>
                  <a:lnTo>
                    <a:pt x="1474135" y="743072"/>
                  </a:lnTo>
                  <a:lnTo>
                    <a:pt x="1474135" y="743768"/>
                  </a:lnTo>
                  <a:lnTo>
                    <a:pt x="1474135" y="745161"/>
                  </a:lnTo>
                  <a:lnTo>
                    <a:pt x="1475131" y="745161"/>
                  </a:lnTo>
                  <a:lnTo>
                    <a:pt x="1477224" y="744066"/>
                  </a:lnTo>
                  <a:lnTo>
                    <a:pt x="1480711" y="741579"/>
                  </a:lnTo>
                  <a:lnTo>
                    <a:pt x="1482605" y="740485"/>
                  </a:lnTo>
                  <a:lnTo>
                    <a:pt x="1485394" y="740485"/>
                  </a:lnTo>
                  <a:lnTo>
                    <a:pt x="1488085" y="741579"/>
                  </a:lnTo>
                  <a:lnTo>
                    <a:pt x="1489779" y="742773"/>
                  </a:lnTo>
                  <a:lnTo>
                    <a:pt x="1491074" y="740584"/>
                  </a:lnTo>
                  <a:lnTo>
                    <a:pt x="1491772" y="741181"/>
                  </a:lnTo>
                  <a:lnTo>
                    <a:pt x="1492668" y="742873"/>
                  </a:lnTo>
                  <a:lnTo>
                    <a:pt x="1493765" y="743868"/>
                  </a:lnTo>
                  <a:lnTo>
                    <a:pt x="1495259" y="743868"/>
                  </a:lnTo>
                  <a:lnTo>
                    <a:pt x="1496654" y="743370"/>
                  </a:lnTo>
                  <a:lnTo>
                    <a:pt x="1499345" y="741878"/>
                  </a:lnTo>
                  <a:lnTo>
                    <a:pt x="1498149" y="741380"/>
                  </a:lnTo>
                  <a:lnTo>
                    <a:pt x="1497252" y="740684"/>
                  </a:lnTo>
                  <a:lnTo>
                    <a:pt x="1496455" y="739689"/>
                  </a:lnTo>
                  <a:lnTo>
                    <a:pt x="1495857" y="738396"/>
                  </a:lnTo>
                  <a:lnTo>
                    <a:pt x="1497551" y="738396"/>
                  </a:lnTo>
                  <a:lnTo>
                    <a:pt x="1498847" y="737202"/>
                  </a:lnTo>
                  <a:lnTo>
                    <a:pt x="1498847" y="735511"/>
                  </a:lnTo>
                  <a:lnTo>
                    <a:pt x="1498049" y="733421"/>
                  </a:lnTo>
                  <a:lnTo>
                    <a:pt x="1512996" y="730636"/>
                  </a:lnTo>
                  <a:lnTo>
                    <a:pt x="1517281" y="732228"/>
                  </a:lnTo>
                  <a:lnTo>
                    <a:pt x="1516284" y="730039"/>
                  </a:lnTo>
                  <a:lnTo>
                    <a:pt x="1521167" y="726159"/>
                  </a:lnTo>
                  <a:lnTo>
                    <a:pt x="1523259" y="725064"/>
                  </a:lnTo>
                  <a:lnTo>
                    <a:pt x="1524156" y="726756"/>
                  </a:lnTo>
                  <a:lnTo>
                    <a:pt x="1526847" y="725661"/>
                  </a:lnTo>
                  <a:lnTo>
                    <a:pt x="1530135" y="730934"/>
                  </a:lnTo>
                  <a:lnTo>
                    <a:pt x="1532825" y="730039"/>
                  </a:lnTo>
                  <a:lnTo>
                    <a:pt x="1530832" y="726955"/>
                  </a:lnTo>
                  <a:lnTo>
                    <a:pt x="1529736" y="725761"/>
                  </a:lnTo>
                  <a:lnTo>
                    <a:pt x="1528441" y="724567"/>
                  </a:lnTo>
                  <a:lnTo>
                    <a:pt x="1530234" y="720190"/>
                  </a:lnTo>
                  <a:lnTo>
                    <a:pt x="1533323" y="722080"/>
                  </a:lnTo>
                  <a:lnTo>
                    <a:pt x="1535814" y="720886"/>
                  </a:lnTo>
                  <a:lnTo>
                    <a:pt x="1538007" y="718001"/>
                  </a:lnTo>
                  <a:lnTo>
                    <a:pt x="1539800" y="714817"/>
                  </a:lnTo>
                  <a:lnTo>
                    <a:pt x="1539800" y="718100"/>
                  </a:lnTo>
                  <a:lnTo>
                    <a:pt x="1539800" y="721582"/>
                  </a:lnTo>
                  <a:lnTo>
                    <a:pt x="1540498" y="724368"/>
                  </a:lnTo>
                  <a:lnTo>
                    <a:pt x="1542889" y="725661"/>
                  </a:lnTo>
                  <a:lnTo>
                    <a:pt x="1542889" y="722478"/>
                  </a:lnTo>
                  <a:lnTo>
                    <a:pt x="1544185" y="719990"/>
                  </a:lnTo>
                  <a:lnTo>
                    <a:pt x="1546377" y="718498"/>
                  </a:lnTo>
                  <a:lnTo>
                    <a:pt x="1548868" y="718498"/>
                  </a:lnTo>
                  <a:lnTo>
                    <a:pt x="1548270" y="717802"/>
                  </a:lnTo>
                  <a:lnTo>
                    <a:pt x="1547672" y="716807"/>
                  </a:lnTo>
                  <a:lnTo>
                    <a:pt x="1546974" y="716807"/>
                  </a:lnTo>
                  <a:lnTo>
                    <a:pt x="1549765" y="714320"/>
                  </a:lnTo>
                  <a:lnTo>
                    <a:pt x="1551758" y="714320"/>
                  </a:lnTo>
                  <a:lnTo>
                    <a:pt x="1553850" y="715613"/>
                  </a:lnTo>
                  <a:lnTo>
                    <a:pt x="1556640" y="716707"/>
                  </a:lnTo>
                  <a:lnTo>
                    <a:pt x="1556640" y="715414"/>
                  </a:lnTo>
                  <a:lnTo>
                    <a:pt x="1556640" y="715414"/>
                  </a:lnTo>
                  <a:lnTo>
                    <a:pt x="1556640" y="714817"/>
                  </a:lnTo>
                  <a:lnTo>
                    <a:pt x="1556640" y="714220"/>
                  </a:lnTo>
                  <a:lnTo>
                    <a:pt x="1556640" y="714220"/>
                  </a:lnTo>
                  <a:lnTo>
                    <a:pt x="1556640" y="714220"/>
                  </a:lnTo>
                  <a:lnTo>
                    <a:pt x="1556640" y="713524"/>
                  </a:lnTo>
                  <a:lnTo>
                    <a:pt x="1557537" y="713524"/>
                  </a:lnTo>
                  <a:lnTo>
                    <a:pt x="1558832" y="714320"/>
                  </a:lnTo>
                  <a:lnTo>
                    <a:pt x="1560825" y="714320"/>
                  </a:lnTo>
                  <a:lnTo>
                    <a:pt x="1562918" y="713126"/>
                  </a:lnTo>
                  <a:lnTo>
                    <a:pt x="1564412" y="711634"/>
                  </a:lnTo>
                  <a:lnTo>
                    <a:pt x="1565409" y="712827"/>
                  </a:lnTo>
                  <a:lnTo>
                    <a:pt x="1567401" y="709146"/>
                  </a:lnTo>
                  <a:lnTo>
                    <a:pt x="1569992" y="708052"/>
                  </a:lnTo>
                  <a:lnTo>
                    <a:pt x="1576170" y="708052"/>
                  </a:lnTo>
                  <a:lnTo>
                    <a:pt x="1577565" y="707455"/>
                  </a:lnTo>
                  <a:lnTo>
                    <a:pt x="1580455" y="705067"/>
                  </a:lnTo>
                  <a:lnTo>
                    <a:pt x="1580953" y="705067"/>
                  </a:lnTo>
                  <a:lnTo>
                    <a:pt x="1582049" y="705963"/>
                  </a:lnTo>
                  <a:lnTo>
                    <a:pt x="1584540" y="705963"/>
                  </a:lnTo>
                  <a:lnTo>
                    <a:pt x="1587231" y="705366"/>
                  </a:lnTo>
                  <a:lnTo>
                    <a:pt x="1588725" y="704669"/>
                  </a:lnTo>
                  <a:lnTo>
                    <a:pt x="1590320" y="705465"/>
                  </a:lnTo>
                  <a:lnTo>
                    <a:pt x="1592312" y="705465"/>
                  </a:lnTo>
                  <a:lnTo>
                    <a:pt x="1594305" y="704371"/>
                  </a:lnTo>
                  <a:lnTo>
                    <a:pt x="1595601" y="702879"/>
                  </a:lnTo>
                  <a:lnTo>
                    <a:pt x="1597295" y="703973"/>
                  </a:lnTo>
                  <a:lnTo>
                    <a:pt x="1599188" y="703973"/>
                  </a:lnTo>
                  <a:lnTo>
                    <a:pt x="1601081" y="703973"/>
                  </a:lnTo>
                  <a:lnTo>
                    <a:pt x="1602676" y="702879"/>
                  </a:lnTo>
                  <a:lnTo>
                    <a:pt x="1595302" y="700789"/>
                  </a:lnTo>
                  <a:lnTo>
                    <a:pt x="1593209" y="699695"/>
                  </a:lnTo>
                  <a:lnTo>
                    <a:pt x="1594704" y="699695"/>
                  </a:lnTo>
                  <a:lnTo>
                    <a:pt x="1595900" y="698800"/>
                  </a:lnTo>
                  <a:lnTo>
                    <a:pt x="1596996" y="697705"/>
                  </a:lnTo>
                  <a:lnTo>
                    <a:pt x="1598291" y="696710"/>
                  </a:lnTo>
                  <a:lnTo>
                    <a:pt x="1598291" y="697805"/>
                  </a:lnTo>
                  <a:lnTo>
                    <a:pt x="1598291" y="698601"/>
                  </a:lnTo>
                  <a:lnTo>
                    <a:pt x="1598291" y="699297"/>
                  </a:lnTo>
                  <a:lnTo>
                    <a:pt x="1598291" y="700093"/>
                  </a:lnTo>
                  <a:lnTo>
                    <a:pt x="1599985" y="697606"/>
                  </a:lnTo>
                  <a:lnTo>
                    <a:pt x="1601878" y="696114"/>
                  </a:lnTo>
                  <a:lnTo>
                    <a:pt x="1615031" y="696114"/>
                  </a:lnTo>
                  <a:lnTo>
                    <a:pt x="1617323" y="698004"/>
                  </a:lnTo>
                  <a:lnTo>
                    <a:pt x="1617323" y="696710"/>
                  </a:lnTo>
                  <a:lnTo>
                    <a:pt x="1618120" y="693527"/>
                  </a:lnTo>
                  <a:lnTo>
                    <a:pt x="1620213" y="696114"/>
                  </a:lnTo>
                  <a:lnTo>
                    <a:pt x="1622903" y="697109"/>
                  </a:lnTo>
                  <a:lnTo>
                    <a:pt x="1624796" y="696511"/>
                  </a:lnTo>
                  <a:lnTo>
                    <a:pt x="1624298" y="694522"/>
                  </a:lnTo>
                  <a:lnTo>
                    <a:pt x="1625096" y="693527"/>
                  </a:lnTo>
                  <a:lnTo>
                    <a:pt x="1629181" y="694820"/>
                  </a:lnTo>
                  <a:lnTo>
                    <a:pt x="1630277" y="694820"/>
                  </a:lnTo>
                  <a:lnTo>
                    <a:pt x="1630277" y="693328"/>
                  </a:lnTo>
                  <a:lnTo>
                    <a:pt x="1629580" y="691935"/>
                  </a:lnTo>
                  <a:lnTo>
                    <a:pt x="1628384" y="690940"/>
                  </a:lnTo>
                  <a:lnTo>
                    <a:pt x="1627288" y="690940"/>
                  </a:lnTo>
                  <a:lnTo>
                    <a:pt x="1627288" y="686463"/>
                  </a:lnTo>
                  <a:lnTo>
                    <a:pt x="1628982" y="686463"/>
                  </a:lnTo>
                  <a:lnTo>
                    <a:pt x="1632071" y="686463"/>
                  </a:lnTo>
                  <a:lnTo>
                    <a:pt x="1633366" y="686463"/>
                  </a:lnTo>
                  <a:lnTo>
                    <a:pt x="1631672" y="683479"/>
                  </a:lnTo>
                  <a:lnTo>
                    <a:pt x="1633565" y="683479"/>
                  </a:lnTo>
                  <a:lnTo>
                    <a:pt x="1637252" y="684871"/>
                  </a:lnTo>
                  <a:lnTo>
                    <a:pt x="1640341" y="686762"/>
                  </a:lnTo>
                  <a:lnTo>
                    <a:pt x="1640341" y="684474"/>
                  </a:lnTo>
                  <a:lnTo>
                    <a:pt x="1640341" y="683479"/>
                  </a:lnTo>
                  <a:lnTo>
                    <a:pt x="1645523" y="683479"/>
                  </a:lnTo>
                  <a:lnTo>
                    <a:pt x="1646420" y="682484"/>
                  </a:lnTo>
                  <a:lnTo>
                    <a:pt x="1646420" y="682484"/>
                  </a:lnTo>
                  <a:lnTo>
                    <a:pt x="1646420" y="683976"/>
                  </a:lnTo>
                  <a:lnTo>
                    <a:pt x="1647316" y="684971"/>
                  </a:lnTo>
                  <a:lnTo>
                    <a:pt x="1649608" y="684971"/>
                  </a:lnTo>
                  <a:lnTo>
                    <a:pt x="1654391" y="684971"/>
                  </a:lnTo>
                  <a:lnTo>
                    <a:pt x="1654391" y="684076"/>
                  </a:lnTo>
                  <a:lnTo>
                    <a:pt x="1650007" y="680594"/>
                  </a:lnTo>
                  <a:lnTo>
                    <a:pt x="1652000" y="679698"/>
                  </a:lnTo>
                  <a:lnTo>
                    <a:pt x="1653096" y="679698"/>
                  </a:lnTo>
                  <a:lnTo>
                    <a:pt x="1654391" y="679698"/>
                  </a:lnTo>
                  <a:lnTo>
                    <a:pt x="1653195" y="677410"/>
                  </a:lnTo>
                  <a:lnTo>
                    <a:pt x="1651003" y="675122"/>
                  </a:lnTo>
                  <a:lnTo>
                    <a:pt x="1648512" y="673032"/>
                  </a:lnTo>
                  <a:lnTo>
                    <a:pt x="1646420" y="671839"/>
                  </a:lnTo>
                  <a:lnTo>
                    <a:pt x="1648313" y="670943"/>
                  </a:lnTo>
                  <a:lnTo>
                    <a:pt x="1651003" y="672734"/>
                  </a:lnTo>
                  <a:lnTo>
                    <a:pt x="1653394" y="673828"/>
                  </a:lnTo>
                  <a:lnTo>
                    <a:pt x="1654391" y="670844"/>
                  </a:lnTo>
                  <a:lnTo>
                    <a:pt x="1658078" y="674923"/>
                  </a:lnTo>
                  <a:lnTo>
                    <a:pt x="1663458" y="675420"/>
                  </a:lnTo>
                  <a:lnTo>
                    <a:pt x="1686078" y="672834"/>
                  </a:lnTo>
                  <a:lnTo>
                    <a:pt x="1688369" y="671938"/>
                  </a:lnTo>
                  <a:lnTo>
                    <a:pt x="1690462" y="670545"/>
                  </a:lnTo>
                  <a:lnTo>
                    <a:pt x="1692555" y="668655"/>
                  </a:lnTo>
                  <a:lnTo>
                    <a:pt x="1689266" y="668655"/>
                  </a:lnTo>
                  <a:lnTo>
                    <a:pt x="1689266" y="666566"/>
                  </a:lnTo>
                  <a:lnTo>
                    <a:pt x="1691060" y="663979"/>
                  </a:lnTo>
                  <a:lnTo>
                    <a:pt x="1693451" y="661790"/>
                  </a:lnTo>
                  <a:lnTo>
                    <a:pt x="1697636" y="659005"/>
                  </a:lnTo>
                  <a:lnTo>
                    <a:pt x="1700227" y="658109"/>
                  </a:lnTo>
                  <a:lnTo>
                    <a:pt x="1702220" y="658109"/>
                  </a:lnTo>
                  <a:lnTo>
                    <a:pt x="1702220" y="660099"/>
                  </a:lnTo>
                  <a:lnTo>
                    <a:pt x="1704313" y="660099"/>
                  </a:lnTo>
                  <a:lnTo>
                    <a:pt x="1708198" y="658806"/>
                  </a:lnTo>
                  <a:lnTo>
                    <a:pt x="1708198" y="657910"/>
                  </a:lnTo>
                  <a:lnTo>
                    <a:pt x="1709195" y="659104"/>
                  </a:lnTo>
                  <a:lnTo>
                    <a:pt x="1710191" y="660796"/>
                  </a:lnTo>
                  <a:lnTo>
                    <a:pt x="1710989" y="662785"/>
                  </a:lnTo>
                  <a:lnTo>
                    <a:pt x="1710989" y="663979"/>
                  </a:lnTo>
                  <a:lnTo>
                    <a:pt x="1711487" y="665074"/>
                  </a:lnTo>
                  <a:lnTo>
                    <a:pt x="1712683" y="665969"/>
                  </a:lnTo>
                  <a:lnTo>
                    <a:pt x="1712683" y="663979"/>
                  </a:lnTo>
                  <a:lnTo>
                    <a:pt x="1711587" y="659602"/>
                  </a:lnTo>
                  <a:lnTo>
                    <a:pt x="1712184" y="657115"/>
                  </a:lnTo>
                  <a:lnTo>
                    <a:pt x="1713480" y="656219"/>
                  </a:lnTo>
                  <a:lnTo>
                    <a:pt x="1719259" y="654926"/>
                  </a:lnTo>
                  <a:lnTo>
                    <a:pt x="1718362" y="656518"/>
                  </a:lnTo>
                  <a:lnTo>
                    <a:pt x="1717466" y="658010"/>
                  </a:lnTo>
                  <a:lnTo>
                    <a:pt x="1716369" y="659204"/>
                  </a:lnTo>
                  <a:lnTo>
                    <a:pt x="1714975" y="660398"/>
                  </a:lnTo>
                  <a:lnTo>
                    <a:pt x="1716669" y="663581"/>
                  </a:lnTo>
                  <a:lnTo>
                    <a:pt x="1719160" y="664278"/>
                  </a:lnTo>
                  <a:lnTo>
                    <a:pt x="1725338" y="662586"/>
                  </a:lnTo>
                  <a:lnTo>
                    <a:pt x="1724440" y="660398"/>
                  </a:lnTo>
                  <a:lnTo>
                    <a:pt x="1726334" y="661194"/>
                  </a:lnTo>
                  <a:lnTo>
                    <a:pt x="1727131" y="660696"/>
                  </a:lnTo>
                  <a:lnTo>
                    <a:pt x="1727131" y="659303"/>
                  </a:lnTo>
                  <a:lnTo>
                    <a:pt x="1728028" y="657711"/>
                  </a:lnTo>
                  <a:lnTo>
                    <a:pt x="1729024" y="656816"/>
                  </a:lnTo>
                  <a:lnTo>
                    <a:pt x="1730021" y="656816"/>
                  </a:lnTo>
                  <a:lnTo>
                    <a:pt x="1730918" y="656816"/>
                  </a:lnTo>
                  <a:lnTo>
                    <a:pt x="1731914" y="655423"/>
                  </a:lnTo>
                  <a:lnTo>
                    <a:pt x="1731017" y="654329"/>
                  </a:lnTo>
                  <a:lnTo>
                    <a:pt x="1730320" y="653235"/>
                  </a:lnTo>
                  <a:lnTo>
                    <a:pt x="1729224" y="650946"/>
                  </a:lnTo>
                  <a:lnTo>
                    <a:pt x="1730519" y="651842"/>
                  </a:lnTo>
                  <a:lnTo>
                    <a:pt x="1733010" y="651842"/>
                  </a:lnTo>
                  <a:lnTo>
                    <a:pt x="1734505" y="651842"/>
                  </a:lnTo>
                  <a:lnTo>
                    <a:pt x="1735402" y="652936"/>
                  </a:lnTo>
                  <a:lnTo>
                    <a:pt x="1735402" y="654329"/>
                  </a:lnTo>
                  <a:lnTo>
                    <a:pt x="1735402" y="655224"/>
                  </a:lnTo>
                  <a:lnTo>
                    <a:pt x="1737195" y="655224"/>
                  </a:lnTo>
                  <a:lnTo>
                    <a:pt x="1736697" y="652638"/>
                  </a:lnTo>
                  <a:lnTo>
                    <a:pt x="1736697" y="650449"/>
                  </a:lnTo>
                  <a:lnTo>
                    <a:pt x="1736697" y="648459"/>
                  </a:lnTo>
                  <a:lnTo>
                    <a:pt x="1735302" y="646469"/>
                  </a:lnTo>
                  <a:lnTo>
                    <a:pt x="1733209" y="645375"/>
                  </a:lnTo>
                  <a:lnTo>
                    <a:pt x="1722647" y="643883"/>
                  </a:lnTo>
                  <a:lnTo>
                    <a:pt x="1717864" y="642291"/>
                  </a:lnTo>
                  <a:lnTo>
                    <a:pt x="1715672" y="642291"/>
                  </a:lnTo>
                  <a:lnTo>
                    <a:pt x="1675814" y="643087"/>
                  </a:lnTo>
                  <a:lnTo>
                    <a:pt x="1674420" y="642191"/>
                  </a:lnTo>
                  <a:lnTo>
                    <a:pt x="1671729" y="639008"/>
                  </a:lnTo>
                  <a:lnTo>
                    <a:pt x="1678505" y="636222"/>
                  </a:lnTo>
                  <a:lnTo>
                    <a:pt x="1680099" y="635128"/>
                  </a:lnTo>
                  <a:lnTo>
                    <a:pt x="1681494" y="633735"/>
                  </a:lnTo>
                  <a:lnTo>
                    <a:pt x="1683786" y="632044"/>
                  </a:lnTo>
                  <a:lnTo>
                    <a:pt x="1685580" y="631546"/>
                  </a:lnTo>
                  <a:lnTo>
                    <a:pt x="1685580" y="633536"/>
                  </a:lnTo>
                  <a:lnTo>
                    <a:pt x="1688171" y="632740"/>
                  </a:lnTo>
                  <a:lnTo>
                    <a:pt x="1698932" y="627965"/>
                  </a:lnTo>
                  <a:lnTo>
                    <a:pt x="1704711" y="626771"/>
                  </a:lnTo>
                  <a:lnTo>
                    <a:pt x="1706206" y="624383"/>
                  </a:lnTo>
                  <a:lnTo>
                    <a:pt x="1706206" y="620702"/>
                  </a:lnTo>
                  <a:lnTo>
                    <a:pt x="1706206" y="618314"/>
                  </a:lnTo>
                  <a:lnTo>
                    <a:pt x="1706206" y="618314"/>
                  </a:lnTo>
                  <a:lnTo>
                    <a:pt x="1705309" y="618314"/>
                  </a:lnTo>
                  <a:lnTo>
                    <a:pt x="1703316" y="617618"/>
                  </a:lnTo>
                  <a:lnTo>
                    <a:pt x="1695644" y="612743"/>
                  </a:lnTo>
                  <a:lnTo>
                    <a:pt x="1693751" y="611052"/>
                  </a:lnTo>
                  <a:lnTo>
                    <a:pt x="1692056" y="608266"/>
                  </a:lnTo>
                  <a:lnTo>
                    <a:pt x="1691160" y="607072"/>
                  </a:lnTo>
                  <a:lnTo>
                    <a:pt x="1689765" y="607072"/>
                  </a:lnTo>
                  <a:lnTo>
                    <a:pt x="1687971" y="602098"/>
                  </a:lnTo>
                  <a:lnTo>
                    <a:pt x="1685978" y="598616"/>
                  </a:lnTo>
                  <a:lnTo>
                    <a:pt x="1683786" y="597124"/>
                  </a:lnTo>
                  <a:lnTo>
                    <a:pt x="1681195" y="595930"/>
                  </a:lnTo>
                  <a:lnTo>
                    <a:pt x="1677010" y="590557"/>
                  </a:lnTo>
                  <a:lnTo>
                    <a:pt x="1674220" y="589364"/>
                  </a:lnTo>
                  <a:lnTo>
                    <a:pt x="1668540" y="589364"/>
                  </a:lnTo>
                  <a:lnTo>
                    <a:pt x="1665949" y="590259"/>
                  </a:lnTo>
                  <a:lnTo>
                    <a:pt x="1663758" y="592050"/>
                  </a:lnTo>
                  <a:lnTo>
                    <a:pt x="1663060" y="593542"/>
                  </a:lnTo>
                  <a:lnTo>
                    <a:pt x="1663060" y="595134"/>
                  </a:lnTo>
                  <a:lnTo>
                    <a:pt x="1662362" y="596427"/>
                  </a:lnTo>
                  <a:lnTo>
                    <a:pt x="1660669" y="596925"/>
                  </a:lnTo>
                  <a:lnTo>
                    <a:pt x="1659772" y="596925"/>
                  </a:lnTo>
                  <a:lnTo>
                    <a:pt x="1658974" y="598118"/>
                  </a:lnTo>
                  <a:lnTo>
                    <a:pt x="1658974" y="599611"/>
                  </a:lnTo>
                  <a:lnTo>
                    <a:pt x="1658974" y="600904"/>
                  </a:lnTo>
                  <a:lnTo>
                    <a:pt x="1656384" y="599810"/>
                  </a:lnTo>
                  <a:lnTo>
                    <a:pt x="1655387" y="598914"/>
                  </a:lnTo>
                  <a:lnTo>
                    <a:pt x="1655387" y="596925"/>
                  </a:lnTo>
                  <a:lnTo>
                    <a:pt x="1657380" y="596925"/>
                  </a:lnTo>
                  <a:lnTo>
                    <a:pt x="1658277" y="596925"/>
                  </a:lnTo>
                  <a:lnTo>
                    <a:pt x="1656284" y="595930"/>
                  </a:lnTo>
                  <a:lnTo>
                    <a:pt x="1654590" y="596825"/>
                  </a:lnTo>
                  <a:lnTo>
                    <a:pt x="1652896" y="598317"/>
                  </a:lnTo>
                  <a:lnTo>
                    <a:pt x="1650903" y="599113"/>
                  </a:lnTo>
                  <a:lnTo>
                    <a:pt x="1647914" y="599113"/>
                  </a:lnTo>
                  <a:lnTo>
                    <a:pt x="1645622" y="598417"/>
                  </a:lnTo>
                  <a:lnTo>
                    <a:pt x="1636854" y="594338"/>
                  </a:lnTo>
                  <a:lnTo>
                    <a:pt x="1635458" y="593244"/>
                  </a:lnTo>
                  <a:lnTo>
                    <a:pt x="1633565" y="591154"/>
                  </a:lnTo>
                  <a:lnTo>
                    <a:pt x="1631572" y="589761"/>
                  </a:lnTo>
                  <a:lnTo>
                    <a:pt x="1626590" y="587871"/>
                  </a:lnTo>
                  <a:lnTo>
                    <a:pt x="1624298" y="586081"/>
                  </a:lnTo>
                  <a:lnTo>
                    <a:pt x="1625295" y="583295"/>
                  </a:lnTo>
                  <a:lnTo>
                    <a:pt x="1625295" y="580609"/>
                  </a:lnTo>
                  <a:lnTo>
                    <a:pt x="1622605" y="572650"/>
                  </a:lnTo>
                  <a:lnTo>
                    <a:pt x="1621209" y="565785"/>
                  </a:lnTo>
                  <a:lnTo>
                    <a:pt x="1621209" y="562402"/>
                  </a:lnTo>
                  <a:lnTo>
                    <a:pt x="1621907" y="560910"/>
                  </a:lnTo>
                  <a:lnTo>
                    <a:pt x="1623302" y="560015"/>
                  </a:lnTo>
                  <a:lnTo>
                    <a:pt x="1624298" y="559020"/>
                  </a:lnTo>
                  <a:lnTo>
                    <a:pt x="1624298" y="557329"/>
                  </a:lnTo>
                  <a:lnTo>
                    <a:pt x="1622903" y="556234"/>
                  </a:lnTo>
                  <a:lnTo>
                    <a:pt x="1621309" y="556234"/>
                  </a:lnTo>
                  <a:lnTo>
                    <a:pt x="1618120" y="557428"/>
                  </a:lnTo>
                  <a:lnTo>
                    <a:pt x="1613138" y="560512"/>
                  </a:lnTo>
                  <a:lnTo>
                    <a:pt x="1604071" y="569367"/>
                  </a:lnTo>
                  <a:lnTo>
                    <a:pt x="1577465" y="586180"/>
                  </a:lnTo>
                  <a:lnTo>
                    <a:pt x="1558932" y="590160"/>
                  </a:lnTo>
                  <a:lnTo>
                    <a:pt x="1555743" y="594040"/>
                  </a:lnTo>
                  <a:lnTo>
                    <a:pt x="1560427" y="590856"/>
                  </a:lnTo>
                  <a:lnTo>
                    <a:pt x="1563117" y="590060"/>
                  </a:lnTo>
                  <a:lnTo>
                    <a:pt x="1564612" y="590060"/>
                  </a:lnTo>
                  <a:lnTo>
                    <a:pt x="1565807" y="591552"/>
                  </a:lnTo>
                  <a:lnTo>
                    <a:pt x="1563914" y="593343"/>
                  </a:lnTo>
                  <a:lnTo>
                    <a:pt x="1561025" y="594835"/>
                  </a:lnTo>
                  <a:lnTo>
                    <a:pt x="1558732" y="595432"/>
                  </a:lnTo>
                  <a:lnTo>
                    <a:pt x="1556540" y="596427"/>
                  </a:lnTo>
                  <a:lnTo>
                    <a:pt x="1552056" y="601004"/>
                  </a:lnTo>
                  <a:lnTo>
                    <a:pt x="1549167" y="601998"/>
                  </a:lnTo>
                  <a:lnTo>
                    <a:pt x="1547174" y="600904"/>
                  </a:lnTo>
                  <a:lnTo>
                    <a:pt x="1547971" y="598317"/>
                  </a:lnTo>
                  <a:lnTo>
                    <a:pt x="1551359" y="593244"/>
                  </a:lnTo>
                  <a:lnTo>
                    <a:pt x="1548967" y="593244"/>
                  </a:lnTo>
                  <a:lnTo>
                    <a:pt x="1546974" y="593244"/>
                  </a:lnTo>
                  <a:lnTo>
                    <a:pt x="1544981" y="593244"/>
                  </a:lnTo>
                  <a:lnTo>
                    <a:pt x="1542590" y="592547"/>
                  </a:lnTo>
                  <a:lnTo>
                    <a:pt x="1541892" y="591851"/>
                  </a:lnTo>
                  <a:lnTo>
                    <a:pt x="1540996" y="590060"/>
                  </a:lnTo>
                  <a:lnTo>
                    <a:pt x="1539999" y="589264"/>
                  </a:lnTo>
                  <a:lnTo>
                    <a:pt x="1538505" y="588767"/>
                  </a:lnTo>
                  <a:lnTo>
                    <a:pt x="1535615" y="588767"/>
                  </a:lnTo>
                  <a:lnTo>
                    <a:pt x="1534021" y="588070"/>
                  </a:lnTo>
                  <a:lnTo>
                    <a:pt x="1532526" y="589364"/>
                  </a:lnTo>
                  <a:lnTo>
                    <a:pt x="1530534" y="589364"/>
                  </a:lnTo>
                  <a:lnTo>
                    <a:pt x="1528640" y="589364"/>
                  </a:lnTo>
                  <a:lnTo>
                    <a:pt x="1527445" y="589364"/>
                  </a:lnTo>
                  <a:lnTo>
                    <a:pt x="1526448" y="591353"/>
                  </a:lnTo>
                  <a:lnTo>
                    <a:pt x="1526448" y="593144"/>
                  </a:lnTo>
                  <a:lnTo>
                    <a:pt x="1527544" y="594636"/>
                  </a:lnTo>
                  <a:lnTo>
                    <a:pt x="1529636" y="595432"/>
                  </a:lnTo>
                  <a:lnTo>
                    <a:pt x="1528441" y="597721"/>
                  </a:lnTo>
                  <a:lnTo>
                    <a:pt x="1526847" y="597721"/>
                  </a:lnTo>
                  <a:lnTo>
                    <a:pt x="1524056" y="594238"/>
                  </a:lnTo>
                  <a:lnTo>
                    <a:pt x="1522063" y="593641"/>
                  </a:lnTo>
                  <a:lnTo>
                    <a:pt x="1520469" y="595333"/>
                  </a:lnTo>
                  <a:lnTo>
                    <a:pt x="1517879" y="599710"/>
                  </a:lnTo>
                  <a:lnTo>
                    <a:pt x="1516683" y="600606"/>
                  </a:lnTo>
                  <a:lnTo>
                    <a:pt x="1516683" y="598317"/>
                  </a:lnTo>
                  <a:lnTo>
                    <a:pt x="1518078" y="593741"/>
                  </a:lnTo>
                  <a:lnTo>
                    <a:pt x="1516483" y="592348"/>
                  </a:lnTo>
                  <a:lnTo>
                    <a:pt x="1514391" y="592348"/>
                  </a:lnTo>
                  <a:lnTo>
                    <a:pt x="1512398" y="593841"/>
                  </a:lnTo>
                  <a:lnTo>
                    <a:pt x="1511003" y="595532"/>
                  </a:lnTo>
                  <a:lnTo>
                    <a:pt x="1511999" y="592348"/>
                  </a:lnTo>
                  <a:lnTo>
                    <a:pt x="1513694" y="590358"/>
                  </a:lnTo>
                  <a:lnTo>
                    <a:pt x="1516185" y="589264"/>
                  </a:lnTo>
                  <a:lnTo>
                    <a:pt x="1522263" y="588369"/>
                  </a:lnTo>
                  <a:lnTo>
                    <a:pt x="1531131" y="583394"/>
                  </a:lnTo>
                  <a:lnTo>
                    <a:pt x="1529338" y="581902"/>
                  </a:lnTo>
                  <a:lnTo>
                    <a:pt x="1527145" y="580509"/>
                  </a:lnTo>
                  <a:lnTo>
                    <a:pt x="1524854" y="579415"/>
                  </a:lnTo>
                  <a:lnTo>
                    <a:pt x="1522761" y="579415"/>
                  </a:lnTo>
                  <a:lnTo>
                    <a:pt x="1518974" y="579415"/>
                  </a:lnTo>
                  <a:lnTo>
                    <a:pt x="1517679" y="578818"/>
                  </a:lnTo>
                  <a:lnTo>
                    <a:pt x="1515487" y="577127"/>
                  </a:lnTo>
                  <a:lnTo>
                    <a:pt x="1517779" y="576530"/>
                  </a:lnTo>
                  <a:lnTo>
                    <a:pt x="1520370" y="576530"/>
                  </a:lnTo>
                  <a:lnTo>
                    <a:pt x="1523160" y="576530"/>
                  </a:lnTo>
                  <a:lnTo>
                    <a:pt x="1525850" y="574739"/>
                  </a:lnTo>
                  <a:lnTo>
                    <a:pt x="1522761" y="574739"/>
                  </a:lnTo>
                  <a:lnTo>
                    <a:pt x="1516185" y="575833"/>
                  </a:lnTo>
                  <a:lnTo>
                    <a:pt x="1512896" y="575833"/>
                  </a:lnTo>
                  <a:lnTo>
                    <a:pt x="1494163" y="572948"/>
                  </a:lnTo>
                  <a:lnTo>
                    <a:pt x="1487188" y="570859"/>
                  </a:lnTo>
                  <a:lnTo>
                    <a:pt x="1471843" y="568372"/>
                  </a:lnTo>
                  <a:lnTo>
                    <a:pt x="1469352" y="569168"/>
                  </a:lnTo>
                  <a:lnTo>
                    <a:pt x="1473936" y="571754"/>
                  </a:lnTo>
                  <a:lnTo>
                    <a:pt x="1475729" y="573645"/>
                  </a:lnTo>
                  <a:lnTo>
                    <a:pt x="1476327" y="576828"/>
                  </a:lnTo>
                  <a:lnTo>
                    <a:pt x="1474035" y="576032"/>
                  </a:lnTo>
                  <a:lnTo>
                    <a:pt x="1471943" y="576032"/>
                  </a:lnTo>
                  <a:lnTo>
                    <a:pt x="1469750" y="576032"/>
                  </a:lnTo>
                  <a:lnTo>
                    <a:pt x="1467558" y="576729"/>
                  </a:lnTo>
                  <a:lnTo>
                    <a:pt x="1460583" y="580410"/>
                  </a:lnTo>
                  <a:lnTo>
                    <a:pt x="1458989" y="580410"/>
                  </a:lnTo>
                  <a:lnTo>
                    <a:pt x="1458989" y="579017"/>
                  </a:lnTo>
                  <a:lnTo>
                    <a:pt x="1459686" y="577823"/>
                  </a:lnTo>
                  <a:lnTo>
                    <a:pt x="1461579" y="576430"/>
                  </a:lnTo>
                  <a:lnTo>
                    <a:pt x="1461579" y="575734"/>
                  </a:lnTo>
                  <a:lnTo>
                    <a:pt x="1461579" y="574938"/>
                  </a:lnTo>
                  <a:lnTo>
                    <a:pt x="1461579" y="574142"/>
                  </a:lnTo>
                  <a:lnTo>
                    <a:pt x="1460882" y="574142"/>
                  </a:lnTo>
                  <a:lnTo>
                    <a:pt x="1460882" y="574142"/>
                  </a:lnTo>
                  <a:lnTo>
                    <a:pt x="1460882" y="574938"/>
                  </a:lnTo>
                  <a:lnTo>
                    <a:pt x="1460882" y="576132"/>
                  </a:lnTo>
                  <a:lnTo>
                    <a:pt x="1458889" y="576928"/>
                  </a:lnTo>
                  <a:lnTo>
                    <a:pt x="1453110" y="580609"/>
                  </a:lnTo>
                  <a:lnTo>
                    <a:pt x="1453110" y="577027"/>
                  </a:lnTo>
                  <a:lnTo>
                    <a:pt x="1451117" y="578818"/>
                  </a:lnTo>
                  <a:lnTo>
                    <a:pt x="1450021" y="579912"/>
                  </a:lnTo>
                  <a:lnTo>
                    <a:pt x="1450021" y="581007"/>
                  </a:lnTo>
                  <a:lnTo>
                    <a:pt x="1450021" y="582598"/>
                  </a:lnTo>
                  <a:lnTo>
                    <a:pt x="1449124" y="582598"/>
                  </a:lnTo>
                  <a:lnTo>
                    <a:pt x="1448028" y="581504"/>
                  </a:lnTo>
                  <a:lnTo>
                    <a:pt x="1446932" y="580708"/>
                  </a:lnTo>
                  <a:lnTo>
                    <a:pt x="1441352" y="579017"/>
                  </a:lnTo>
                  <a:lnTo>
                    <a:pt x="1435672" y="577027"/>
                  </a:lnTo>
                  <a:lnTo>
                    <a:pt x="1434676" y="574639"/>
                  </a:lnTo>
                  <a:lnTo>
                    <a:pt x="1438961" y="575435"/>
                  </a:lnTo>
                  <a:lnTo>
                    <a:pt x="1444739" y="574042"/>
                  </a:lnTo>
                  <a:lnTo>
                    <a:pt x="1450220" y="571456"/>
                  </a:lnTo>
                  <a:lnTo>
                    <a:pt x="1453807" y="569068"/>
                  </a:lnTo>
                  <a:lnTo>
                    <a:pt x="1450121" y="567476"/>
                  </a:lnTo>
                  <a:lnTo>
                    <a:pt x="1446035" y="568173"/>
                  </a:lnTo>
                  <a:lnTo>
                    <a:pt x="1441850" y="569466"/>
                  </a:lnTo>
                  <a:lnTo>
                    <a:pt x="1438064" y="570063"/>
                  </a:lnTo>
                  <a:lnTo>
                    <a:pt x="1436071" y="570063"/>
                  </a:lnTo>
                  <a:lnTo>
                    <a:pt x="1432384" y="568571"/>
                  </a:lnTo>
                  <a:lnTo>
                    <a:pt x="1430292" y="568571"/>
                  </a:lnTo>
                  <a:lnTo>
                    <a:pt x="1430292" y="568571"/>
                  </a:lnTo>
                  <a:lnTo>
                    <a:pt x="1429494" y="570063"/>
                  </a:lnTo>
                  <a:lnTo>
                    <a:pt x="1428996" y="570063"/>
                  </a:lnTo>
                  <a:lnTo>
                    <a:pt x="1428996" y="570063"/>
                  </a:lnTo>
                  <a:lnTo>
                    <a:pt x="1428099" y="569367"/>
                  </a:lnTo>
                  <a:lnTo>
                    <a:pt x="1427601" y="569367"/>
                  </a:lnTo>
                  <a:lnTo>
                    <a:pt x="1425210" y="569367"/>
                  </a:lnTo>
                  <a:lnTo>
                    <a:pt x="1424213" y="569367"/>
                  </a:lnTo>
                  <a:lnTo>
                    <a:pt x="1423217" y="568471"/>
                  </a:lnTo>
                  <a:lnTo>
                    <a:pt x="1420726" y="569566"/>
                  </a:lnTo>
                  <a:lnTo>
                    <a:pt x="1418234" y="568969"/>
                  </a:lnTo>
                  <a:lnTo>
                    <a:pt x="1417337" y="567476"/>
                  </a:lnTo>
                  <a:lnTo>
                    <a:pt x="1419729" y="566382"/>
                  </a:lnTo>
                  <a:lnTo>
                    <a:pt x="1422320" y="566382"/>
                  </a:lnTo>
                  <a:lnTo>
                    <a:pt x="1426903" y="567078"/>
                  </a:lnTo>
                  <a:lnTo>
                    <a:pt x="1429295" y="566282"/>
                  </a:lnTo>
                  <a:lnTo>
                    <a:pt x="1428099" y="564392"/>
                  </a:lnTo>
                  <a:lnTo>
                    <a:pt x="1424014" y="562104"/>
                  </a:lnTo>
                  <a:lnTo>
                    <a:pt x="1422419" y="560811"/>
                  </a:lnTo>
                  <a:lnTo>
                    <a:pt x="1424910" y="560811"/>
                  </a:lnTo>
                  <a:lnTo>
                    <a:pt x="1429395" y="561905"/>
                  </a:lnTo>
                  <a:lnTo>
                    <a:pt x="1431786" y="561905"/>
                  </a:lnTo>
                  <a:lnTo>
                    <a:pt x="1427999" y="558423"/>
                  </a:lnTo>
                  <a:lnTo>
                    <a:pt x="1421224" y="557329"/>
                  </a:lnTo>
                  <a:lnTo>
                    <a:pt x="1408470" y="558622"/>
                  </a:lnTo>
                  <a:lnTo>
                    <a:pt x="1403886" y="560612"/>
                  </a:lnTo>
                  <a:lnTo>
                    <a:pt x="1402790" y="560612"/>
                  </a:lnTo>
                  <a:lnTo>
                    <a:pt x="1401992" y="559617"/>
                  </a:lnTo>
                  <a:lnTo>
                    <a:pt x="1400896" y="558920"/>
                  </a:lnTo>
                  <a:lnTo>
                    <a:pt x="1400099" y="558920"/>
                  </a:lnTo>
                  <a:lnTo>
                    <a:pt x="1400099" y="560512"/>
                  </a:lnTo>
                  <a:lnTo>
                    <a:pt x="1400099" y="562800"/>
                  </a:lnTo>
                  <a:lnTo>
                    <a:pt x="1400797" y="563994"/>
                  </a:lnTo>
                  <a:lnTo>
                    <a:pt x="1400797" y="564890"/>
                  </a:lnTo>
                  <a:lnTo>
                    <a:pt x="1399501" y="566581"/>
                  </a:lnTo>
                  <a:lnTo>
                    <a:pt x="1398605" y="567078"/>
                  </a:lnTo>
                  <a:lnTo>
                    <a:pt x="1398006" y="566382"/>
                  </a:lnTo>
                  <a:lnTo>
                    <a:pt x="1398006" y="564989"/>
                  </a:lnTo>
                  <a:lnTo>
                    <a:pt x="1398704" y="563298"/>
                  </a:lnTo>
                  <a:lnTo>
                    <a:pt x="1395914" y="562303"/>
                  </a:lnTo>
                  <a:lnTo>
                    <a:pt x="1390135" y="564094"/>
                  </a:lnTo>
                  <a:lnTo>
                    <a:pt x="1387444" y="563298"/>
                  </a:lnTo>
                  <a:lnTo>
                    <a:pt x="1388839" y="562203"/>
                  </a:lnTo>
                  <a:lnTo>
                    <a:pt x="1391231" y="560910"/>
                  </a:lnTo>
                  <a:lnTo>
                    <a:pt x="1392726" y="559915"/>
                  </a:lnTo>
                  <a:lnTo>
                    <a:pt x="1390633" y="558522"/>
                  </a:lnTo>
                  <a:lnTo>
                    <a:pt x="1387245" y="557030"/>
                  </a:lnTo>
                  <a:lnTo>
                    <a:pt x="1383757" y="556234"/>
                  </a:lnTo>
                  <a:lnTo>
                    <a:pt x="1381266" y="556234"/>
                  </a:lnTo>
                  <a:lnTo>
                    <a:pt x="1380668" y="552852"/>
                  </a:lnTo>
                  <a:lnTo>
                    <a:pt x="1378875" y="550365"/>
                  </a:lnTo>
                  <a:lnTo>
                    <a:pt x="1376384" y="548872"/>
                  </a:lnTo>
                  <a:lnTo>
                    <a:pt x="1373594" y="548872"/>
                  </a:lnTo>
                  <a:lnTo>
                    <a:pt x="1373594" y="544594"/>
                  </a:lnTo>
                  <a:lnTo>
                    <a:pt x="1369210" y="541709"/>
                  </a:lnTo>
                  <a:lnTo>
                    <a:pt x="1355957" y="537232"/>
                  </a:lnTo>
                  <a:lnTo>
                    <a:pt x="1354661" y="537232"/>
                  </a:lnTo>
                  <a:lnTo>
                    <a:pt x="1353765" y="537730"/>
                  </a:lnTo>
                  <a:lnTo>
                    <a:pt x="1352668" y="538824"/>
                  </a:lnTo>
                  <a:lnTo>
                    <a:pt x="1351573" y="539520"/>
                  </a:lnTo>
                  <a:lnTo>
                    <a:pt x="1351573" y="539520"/>
                  </a:lnTo>
                  <a:lnTo>
                    <a:pt x="1350377" y="537929"/>
                  </a:lnTo>
                  <a:lnTo>
                    <a:pt x="1346391" y="534546"/>
                  </a:lnTo>
                  <a:lnTo>
                    <a:pt x="1345195" y="532855"/>
                  </a:lnTo>
                  <a:lnTo>
                    <a:pt x="1346890" y="532258"/>
                  </a:lnTo>
                  <a:lnTo>
                    <a:pt x="1346890" y="530964"/>
                  </a:lnTo>
                  <a:lnTo>
                    <a:pt x="1346890" y="529472"/>
                  </a:lnTo>
                  <a:lnTo>
                    <a:pt x="1346890" y="528477"/>
                  </a:lnTo>
                  <a:lnTo>
                    <a:pt x="1347985" y="528477"/>
                  </a:lnTo>
                  <a:lnTo>
                    <a:pt x="1367914" y="529074"/>
                  </a:lnTo>
                  <a:lnTo>
                    <a:pt x="1369309" y="529074"/>
                  </a:lnTo>
                  <a:lnTo>
                    <a:pt x="1370505" y="528079"/>
                  </a:lnTo>
                  <a:lnTo>
                    <a:pt x="1372896" y="525294"/>
                  </a:lnTo>
                  <a:lnTo>
                    <a:pt x="1373694" y="524697"/>
                  </a:lnTo>
                  <a:lnTo>
                    <a:pt x="1379672" y="523602"/>
                  </a:lnTo>
                  <a:lnTo>
                    <a:pt x="1382363" y="522607"/>
                  </a:lnTo>
                  <a:lnTo>
                    <a:pt x="1385053" y="520120"/>
                  </a:lnTo>
                  <a:lnTo>
                    <a:pt x="1382562" y="517534"/>
                  </a:lnTo>
                  <a:lnTo>
                    <a:pt x="1379672" y="516041"/>
                  </a:lnTo>
                  <a:lnTo>
                    <a:pt x="1369708" y="513355"/>
                  </a:lnTo>
                  <a:lnTo>
                    <a:pt x="1363131" y="509774"/>
                  </a:lnTo>
                  <a:lnTo>
                    <a:pt x="1359644" y="509077"/>
                  </a:lnTo>
                  <a:lnTo>
                    <a:pt x="1353466" y="509077"/>
                  </a:lnTo>
                  <a:lnTo>
                    <a:pt x="1351473" y="509077"/>
                  </a:lnTo>
                  <a:lnTo>
                    <a:pt x="1349978" y="509774"/>
                  </a:lnTo>
                  <a:lnTo>
                    <a:pt x="1346391" y="512261"/>
                  </a:lnTo>
                  <a:lnTo>
                    <a:pt x="1345793" y="512957"/>
                  </a:lnTo>
                  <a:lnTo>
                    <a:pt x="1343999" y="511465"/>
                  </a:lnTo>
                  <a:lnTo>
                    <a:pt x="1343103" y="510570"/>
                  </a:lnTo>
                  <a:lnTo>
                    <a:pt x="1342206" y="508480"/>
                  </a:lnTo>
                  <a:lnTo>
                    <a:pt x="1341210" y="509276"/>
                  </a:lnTo>
                  <a:lnTo>
                    <a:pt x="1340213" y="510570"/>
                  </a:lnTo>
                  <a:lnTo>
                    <a:pt x="1340213" y="511266"/>
                  </a:lnTo>
                  <a:lnTo>
                    <a:pt x="1337224" y="511266"/>
                  </a:lnTo>
                  <a:lnTo>
                    <a:pt x="1335928" y="511266"/>
                  </a:lnTo>
                  <a:lnTo>
                    <a:pt x="1334932" y="509077"/>
                  </a:lnTo>
                  <a:lnTo>
                    <a:pt x="1335729" y="507187"/>
                  </a:lnTo>
                  <a:lnTo>
                    <a:pt x="1332939" y="504700"/>
                  </a:lnTo>
                  <a:lnTo>
                    <a:pt x="1326263" y="501317"/>
                  </a:lnTo>
                  <a:lnTo>
                    <a:pt x="1324270" y="500820"/>
                  </a:lnTo>
                  <a:lnTo>
                    <a:pt x="1312412" y="501317"/>
                  </a:lnTo>
                  <a:lnTo>
                    <a:pt x="1311317" y="501317"/>
                  </a:lnTo>
                  <a:lnTo>
                    <a:pt x="1310419" y="501317"/>
                  </a:lnTo>
                  <a:lnTo>
                    <a:pt x="1309423" y="501317"/>
                  </a:lnTo>
                  <a:lnTo>
                    <a:pt x="1308128" y="501317"/>
                  </a:lnTo>
                  <a:lnTo>
                    <a:pt x="1307231" y="501317"/>
                  </a:lnTo>
                  <a:lnTo>
                    <a:pt x="1305836" y="499825"/>
                  </a:lnTo>
                  <a:lnTo>
                    <a:pt x="1305039" y="499825"/>
                  </a:lnTo>
                  <a:lnTo>
                    <a:pt x="1291188" y="499825"/>
                  </a:lnTo>
                  <a:lnTo>
                    <a:pt x="1288597" y="500621"/>
                  </a:lnTo>
                  <a:lnTo>
                    <a:pt x="1285508" y="502412"/>
                  </a:lnTo>
                  <a:lnTo>
                    <a:pt x="1284911" y="493358"/>
                  </a:lnTo>
                  <a:lnTo>
                    <a:pt x="1286007" y="490274"/>
                  </a:lnTo>
                  <a:lnTo>
                    <a:pt x="1289395" y="489080"/>
                  </a:lnTo>
                  <a:lnTo>
                    <a:pt x="1290092" y="486493"/>
                  </a:lnTo>
                  <a:lnTo>
                    <a:pt x="1288398" y="481718"/>
                  </a:lnTo>
                  <a:lnTo>
                    <a:pt x="1285608" y="478833"/>
                  </a:lnTo>
                  <a:lnTo>
                    <a:pt x="1282918" y="482216"/>
                  </a:lnTo>
                  <a:lnTo>
                    <a:pt x="1283515" y="483708"/>
                  </a:lnTo>
                  <a:lnTo>
                    <a:pt x="1281722" y="484305"/>
                  </a:lnTo>
                  <a:lnTo>
                    <a:pt x="1276839" y="484305"/>
                  </a:lnTo>
                  <a:lnTo>
                    <a:pt x="1274348" y="485797"/>
                  </a:lnTo>
                  <a:lnTo>
                    <a:pt x="1273053" y="486295"/>
                  </a:lnTo>
                  <a:lnTo>
                    <a:pt x="1272057" y="486295"/>
                  </a:lnTo>
                  <a:lnTo>
                    <a:pt x="1271160" y="485698"/>
                  </a:lnTo>
                  <a:lnTo>
                    <a:pt x="1269765" y="485698"/>
                  </a:lnTo>
                  <a:lnTo>
                    <a:pt x="1267174" y="485698"/>
                  </a:lnTo>
                  <a:lnTo>
                    <a:pt x="1269864" y="484504"/>
                  </a:lnTo>
                  <a:lnTo>
                    <a:pt x="1272256" y="484504"/>
                  </a:lnTo>
                  <a:lnTo>
                    <a:pt x="1274548" y="483907"/>
                  </a:lnTo>
                  <a:lnTo>
                    <a:pt x="1276839" y="481619"/>
                  </a:lnTo>
                  <a:lnTo>
                    <a:pt x="1277935" y="479430"/>
                  </a:lnTo>
                  <a:lnTo>
                    <a:pt x="1278433" y="477142"/>
                  </a:lnTo>
                  <a:lnTo>
                    <a:pt x="1278433" y="471073"/>
                  </a:lnTo>
                  <a:lnTo>
                    <a:pt x="1277637" y="468486"/>
                  </a:lnTo>
                  <a:lnTo>
                    <a:pt x="1275544" y="465900"/>
                  </a:lnTo>
                  <a:lnTo>
                    <a:pt x="1273153" y="463910"/>
                  </a:lnTo>
                  <a:lnTo>
                    <a:pt x="1271459" y="462716"/>
                  </a:lnTo>
                  <a:lnTo>
                    <a:pt x="1271459" y="462716"/>
                  </a:lnTo>
                  <a:lnTo>
                    <a:pt x="1270861" y="463313"/>
                  </a:lnTo>
                  <a:lnTo>
                    <a:pt x="1270263" y="463313"/>
                  </a:lnTo>
                  <a:lnTo>
                    <a:pt x="1269266" y="463313"/>
                  </a:lnTo>
                  <a:lnTo>
                    <a:pt x="1268669" y="462716"/>
                  </a:lnTo>
                  <a:lnTo>
                    <a:pt x="1267772" y="461224"/>
                  </a:lnTo>
                  <a:lnTo>
                    <a:pt x="1267075" y="461224"/>
                  </a:lnTo>
                  <a:lnTo>
                    <a:pt x="1267075" y="461224"/>
                  </a:lnTo>
                  <a:lnTo>
                    <a:pt x="1267075" y="460527"/>
                  </a:lnTo>
                  <a:lnTo>
                    <a:pt x="1267871" y="459731"/>
                  </a:lnTo>
                  <a:lnTo>
                    <a:pt x="1268968" y="459731"/>
                  </a:lnTo>
                  <a:lnTo>
                    <a:pt x="1270960" y="458339"/>
                  </a:lnTo>
                  <a:lnTo>
                    <a:pt x="1270960" y="455254"/>
                  </a:lnTo>
                  <a:lnTo>
                    <a:pt x="1269665" y="452170"/>
                  </a:lnTo>
                  <a:lnTo>
                    <a:pt x="1268370" y="450778"/>
                  </a:lnTo>
                  <a:lnTo>
                    <a:pt x="1266277" y="449285"/>
                  </a:lnTo>
                  <a:lnTo>
                    <a:pt x="1266277" y="446002"/>
                  </a:lnTo>
                  <a:lnTo>
                    <a:pt x="1267473" y="439734"/>
                  </a:lnTo>
                  <a:lnTo>
                    <a:pt x="1268071" y="433765"/>
                  </a:lnTo>
                  <a:lnTo>
                    <a:pt x="1268071" y="430383"/>
                  </a:lnTo>
                  <a:lnTo>
                    <a:pt x="1267273" y="427995"/>
                  </a:lnTo>
                  <a:lnTo>
                    <a:pt x="1264882" y="426105"/>
                  </a:lnTo>
                  <a:lnTo>
                    <a:pt x="1262690" y="426105"/>
                  </a:lnTo>
                  <a:lnTo>
                    <a:pt x="1261594" y="427697"/>
                  </a:lnTo>
                  <a:lnTo>
                    <a:pt x="1262491" y="430980"/>
                  </a:lnTo>
                  <a:lnTo>
                    <a:pt x="1256014" y="426801"/>
                  </a:lnTo>
                  <a:lnTo>
                    <a:pt x="1252128" y="426204"/>
                  </a:lnTo>
                  <a:lnTo>
                    <a:pt x="1250235" y="429885"/>
                  </a:lnTo>
                  <a:lnTo>
                    <a:pt x="1249437" y="429885"/>
                  </a:lnTo>
                  <a:lnTo>
                    <a:pt x="1249437" y="425906"/>
                  </a:lnTo>
                  <a:lnTo>
                    <a:pt x="1251031" y="423319"/>
                  </a:lnTo>
                  <a:lnTo>
                    <a:pt x="1253622" y="422026"/>
                  </a:lnTo>
                  <a:lnTo>
                    <a:pt x="1256313" y="422026"/>
                  </a:lnTo>
                  <a:lnTo>
                    <a:pt x="1249637" y="415758"/>
                  </a:lnTo>
                  <a:lnTo>
                    <a:pt x="1247046" y="412475"/>
                  </a:lnTo>
                  <a:lnTo>
                    <a:pt x="1244953" y="408694"/>
                  </a:lnTo>
                  <a:lnTo>
                    <a:pt x="1243259" y="404516"/>
                  </a:lnTo>
                  <a:lnTo>
                    <a:pt x="1242064" y="400138"/>
                  </a:lnTo>
                  <a:lnTo>
                    <a:pt x="1242064" y="395562"/>
                  </a:lnTo>
                  <a:lnTo>
                    <a:pt x="1243459" y="390787"/>
                  </a:lnTo>
                  <a:lnTo>
                    <a:pt x="1248839" y="383226"/>
                  </a:lnTo>
                  <a:lnTo>
                    <a:pt x="1253324" y="380838"/>
                  </a:lnTo>
                  <a:lnTo>
                    <a:pt x="1254619" y="379445"/>
                  </a:lnTo>
                  <a:lnTo>
                    <a:pt x="1254619" y="374570"/>
                  </a:lnTo>
                  <a:lnTo>
                    <a:pt x="1252925" y="370292"/>
                  </a:lnTo>
                  <a:lnTo>
                    <a:pt x="1252327" y="366711"/>
                  </a:lnTo>
                  <a:lnTo>
                    <a:pt x="1255615" y="363726"/>
                  </a:lnTo>
                  <a:lnTo>
                    <a:pt x="1252327" y="362532"/>
                  </a:lnTo>
                  <a:lnTo>
                    <a:pt x="1241765" y="361935"/>
                  </a:lnTo>
                  <a:lnTo>
                    <a:pt x="1238277" y="362731"/>
                  </a:lnTo>
                  <a:lnTo>
                    <a:pt x="1236882" y="364024"/>
                  </a:lnTo>
                  <a:lnTo>
                    <a:pt x="1235986" y="365517"/>
                  </a:lnTo>
                  <a:lnTo>
                    <a:pt x="1234690" y="366810"/>
                  </a:lnTo>
                  <a:lnTo>
                    <a:pt x="1232199" y="366810"/>
                  </a:lnTo>
                  <a:lnTo>
                    <a:pt x="1230406" y="366014"/>
                  </a:lnTo>
                  <a:lnTo>
                    <a:pt x="1228313" y="362134"/>
                  </a:lnTo>
                  <a:lnTo>
                    <a:pt x="1226120" y="361139"/>
                  </a:lnTo>
                  <a:lnTo>
                    <a:pt x="1222235" y="361836"/>
                  </a:lnTo>
                  <a:lnTo>
                    <a:pt x="1211373" y="367805"/>
                  </a:lnTo>
                  <a:lnTo>
                    <a:pt x="1204099" y="368899"/>
                  </a:lnTo>
                  <a:lnTo>
                    <a:pt x="1203202" y="368103"/>
                  </a:lnTo>
                  <a:lnTo>
                    <a:pt x="1203202" y="366014"/>
                  </a:lnTo>
                  <a:lnTo>
                    <a:pt x="1203900" y="363428"/>
                  </a:lnTo>
                  <a:lnTo>
                    <a:pt x="1203900" y="361139"/>
                  </a:lnTo>
                  <a:lnTo>
                    <a:pt x="1198619" y="363229"/>
                  </a:lnTo>
                  <a:lnTo>
                    <a:pt x="1193537" y="363229"/>
                  </a:lnTo>
                  <a:lnTo>
                    <a:pt x="1183075" y="362035"/>
                  </a:lnTo>
                  <a:lnTo>
                    <a:pt x="1183075" y="360940"/>
                  </a:lnTo>
                  <a:lnTo>
                    <a:pt x="1187658" y="359945"/>
                  </a:lnTo>
                  <a:lnTo>
                    <a:pt x="1214064" y="343232"/>
                  </a:lnTo>
                  <a:lnTo>
                    <a:pt x="1216156" y="340148"/>
                  </a:lnTo>
                  <a:lnTo>
                    <a:pt x="1217153" y="337660"/>
                  </a:lnTo>
                  <a:lnTo>
                    <a:pt x="1221836" y="335173"/>
                  </a:lnTo>
                  <a:lnTo>
                    <a:pt x="1224228" y="331293"/>
                  </a:lnTo>
                  <a:lnTo>
                    <a:pt x="1227117" y="330199"/>
                  </a:lnTo>
                  <a:lnTo>
                    <a:pt x="1232897" y="329502"/>
                  </a:lnTo>
                  <a:lnTo>
                    <a:pt x="1234690" y="328209"/>
                  </a:lnTo>
                  <a:lnTo>
                    <a:pt x="1234690" y="325224"/>
                  </a:lnTo>
                  <a:lnTo>
                    <a:pt x="1234690" y="322041"/>
                  </a:lnTo>
                  <a:lnTo>
                    <a:pt x="1234690" y="319952"/>
                  </a:lnTo>
                  <a:lnTo>
                    <a:pt x="1236185" y="317166"/>
                  </a:lnTo>
                  <a:lnTo>
                    <a:pt x="1237380" y="314380"/>
                  </a:lnTo>
                  <a:lnTo>
                    <a:pt x="1238775" y="311993"/>
                  </a:lnTo>
                  <a:lnTo>
                    <a:pt x="1241167" y="310401"/>
                  </a:lnTo>
                  <a:lnTo>
                    <a:pt x="1241167" y="311794"/>
                  </a:lnTo>
                  <a:lnTo>
                    <a:pt x="1241167" y="313186"/>
                  </a:lnTo>
                  <a:lnTo>
                    <a:pt x="1241167" y="314778"/>
                  </a:lnTo>
                  <a:lnTo>
                    <a:pt x="1241167" y="316469"/>
                  </a:lnTo>
                  <a:lnTo>
                    <a:pt x="1241167" y="318161"/>
                  </a:lnTo>
                  <a:lnTo>
                    <a:pt x="1243160" y="307217"/>
                  </a:lnTo>
                  <a:lnTo>
                    <a:pt x="1246348" y="296771"/>
                  </a:lnTo>
                  <a:lnTo>
                    <a:pt x="1243957" y="298263"/>
                  </a:lnTo>
                  <a:lnTo>
                    <a:pt x="1242064" y="299059"/>
                  </a:lnTo>
                  <a:lnTo>
                    <a:pt x="1240370" y="300154"/>
                  </a:lnTo>
                  <a:lnTo>
                    <a:pt x="1238576" y="302541"/>
                  </a:lnTo>
                  <a:lnTo>
                    <a:pt x="1239174" y="299756"/>
                  </a:lnTo>
                  <a:lnTo>
                    <a:pt x="1243658" y="294483"/>
                  </a:lnTo>
                  <a:lnTo>
                    <a:pt x="1245651" y="291200"/>
                  </a:lnTo>
                  <a:lnTo>
                    <a:pt x="1241167" y="291200"/>
                  </a:lnTo>
                  <a:lnTo>
                    <a:pt x="1242662" y="288315"/>
                  </a:lnTo>
                  <a:lnTo>
                    <a:pt x="1242662" y="287419"/>
                  </a:lnTo>
                  <a:lnTo>
                    <a:pt x="1242662" y="286126"/>
                  </a:lnTo>
                  <a:lnTo>
                    <a:pt x="1242662" y="284335"/>
                  </a:lnTo>
                  <a:lnTo>
                    <a:pt x="1243658" y="283340"/>
                  </a:lnTo>
                  <a:lnTo>
                    <a:pt x="1244754" y="283340"/>
                  </a:lnTo>
                  <a:lnTo>
                    <a:pt x="1245751" y="282743"/>
                  </a:lnTo>
                  <a:lnTo>
                    <a:pt x="1250733" y="277470"/>
                  </a:lnTo>
                  <a:lnTo>
                    <a:pt x="1252626" y="274884"/>
                  </a:lnTo>
                  <a:lnTo>
                    <a:pt x="1254420" y="271402"/>
                  </a:lnTo>
                  <a:lnTo>
                    <a:pt x="1253324" y="270606"/>
                  </a:lnTo>
                  <a:lnTo>
                    <a:pt x="1253324" y="269710"/>
                  </a:lnTo>
                  <a:lnTo>
                    <a:pt x="1253324" y="268815"/>
                  </a:lnTo>
                  <a:lnTo>
                    <a:pt x="1254420" y="267920"/>
                  </a:lnTo>
                  <a:lnTo>
                    <a:pt x="1253224" y="266228"/>
                  </a:lnTo>
                  <a:lnTo>
                    <a:pt x="1253224" y="265731"/>
                  </a:lnTo>
                  <a:lnTo>
                    <a:pt x="1255615" y="264836"/>
                  </a:lnTo>
                  <a:lnTo>
                    <a:pt x="1258206" y="264836"/>
                  </a:lnTo>
                  <a:lnTo>
                    <a:pt x="1260199" y="264836"/>
                  </a:lnTo>
                  <a:lnTo>
                    <a:pt x="1260996" y="262448"/>
                  </a:lnTo>
                  <a:lnTo>
                    <a:pt x="1262491" y="262448"/>
                  </a:lnTo>
                  <a:lnTo>
                    <a:pt x="1269366" y="258966"/>
                  </a:lnTo>
                  <a:lnTo>
                    <a:pt x="1271459" y="257374"/>
                  </a:lnTo>
                  <a:lnTo>
                    <a:pt x="1269964" y="255882"/>
                  </a:lnTo>
                  <a:lnTo>
                    <a:pt x="1265181" y="252499"/>
                  </a:lnTo>
                  <a:lnTo>
                    <a:pt x="1263587" y="251902"/>
                  </a:lnTo>
                  <a:lnTo>
                    <a:pt x="1262889" y="251902"/>
                  </a:lnTo>
                  <a:lnTo>
                    <a:pt x="1260697" y="253096"/>
                  </a:lnTo>
                  <a:lnTo>
                    <a:pt x="1260000" y="253892"/>
                  </a:lnTo>
                  <a:lnTo>
                    <a:pt x="1260000" y="254986"/>
                  </a:lnTo>
                  <a:lnTo>
                    <a:pt x="1260000" y="257175"/>
                  </a:lnTo>
                  <a:lnTo>
                    <a:pt x="1260000" y="258468"/>
                  </a:lnTo>
                  <a:lnTo>
                    <a:pt x="1260000" y="258468"/>
                  </a:lnTo>
                  <a:lnTo>
                    <a:pt x="1260000" y="258667"/>
                  </a:lnTo>
                  <a:lnTo>
                    <a:pt x="1259302" y="259762"/>
                  </a:lnTo>
                  <a:lnTo>
                    <a:pt x="1257409" y="259762"/>
                  </a:lnTo>
                  <a:lnTo>
                    <a:pt x="1257409" y="258866"/>
                  </a:lnTo>
                  <a:lnTo>
                    <a:pt x="1257409" y="256180"/>
                  </a:lnTo>
                  <a:lnTo>
                    <a:pt x="1257409" y="255185"/>
                  </a:lnTo>
                  <a:lnTo>
                    <a:pt x="1255217" y="253991"/>
                  </a:lnTo>
                  <a:lnTo>
                    <a:pt x="1250235" y="253991"/>
                  </a:lnTo>
                  <a:lnTo>
                    <a:pt x="1247942" y="253295"/>
                  </a:lnTo>
                  <a:lnTo>
                    <a:pt x="1247942" y="252101"/>
                  </a:lnTo>
                  <a:lnTo>
                    <a:pt x="1254420" y="252101"/>
                  </a:lnTo>
                  <a:lnTo>
                    <a:pt x="1256313" y="248719"/>
                  </a:lnTo>
                  <a:lnTo>
                    <a:pt x="1256313" y="245038"/>
                  </a:lnTo>
                  <a:lnTo>
                    <a:pt x="1254519" y="242351"/>
                  </a:lnTo>
                  <a:lnTo>
                    <a:pt x="1251131" y="241357"/>
                  </a:lnTo>
                  <a:lnTo>
                    <a:pt x="1247345" y="241357"/>
                  </a:lnTo>
                  <a:lnTo>
                    <a:pt x="1241067" y="242252"/>
                  </a:lnTo>
                  <a:lnTo>
                    <a:pt x="1230406" y="245535"/>
                  </a:lnTo>
                  <a:lnTo>
                    <a:pt x="1224128" y="246331"/>
                  </a:lnTo>
                  <a:lnTo>
                    <a:pt x="1221437" y="247127"/>
                  </a:lnTo>
                  <a:lnTo>
                    <a:pt x="1219843" y="247127"/>
                  </a:lnTo>
                  <a:lnTo>
                    <a:pt x="1222235" y="243346"/>
                  </a:lnTo>
                  <a:lnTo>
                    <a:pt x="1232199" y="236880"/>
                  </a:lnTo>
                  <a:lnTo>
                    <a:pt x="1226120" y="235686"/>
                  </a:lnTo>
                  <a:lnTo>
                    <a:pt x="1202804" y="240561"/>
                  </a:lnTo>
                  <a:lnTo>
                    <a:pt x="1192840" y="246828"/>
                  </a:lnTo>
                  <a:lnTo>
                    <a:pt x="1182875" y="250111"/>
                  </a:lnTo>
                  <a:lnTo>
                    <a:pt x="1173509" y="259264"/>
                  </a:lnTo>
                  <a:lnTo>
                    <a:pt x="1168427" y="263045"/>
                  </a:lnTo>
                  <a:lnTo>
                    <a:pt x="1165736" y="263741"/>
                  </a:lnTo>
                  <a:lnTo>
                    <a:pt x="1157067" y="263741"/>
                  </a:lnTo>
                  <a:lnTo>
                    <a:pt x="1153978" y="265134"/>
                  </a:lnTo>
                  <a:lnTo>
                    <a:pt x="1152085" y="267223"/>
                  </a:lnTo>
                  <a:lnTo>
                    <a:pt x="1148398" y="272894"/>
                  </a:lnTo>
                  <a:lnTo>
                    <a:pt x="1147004" y="271402"/>
                  </a:lnTo>
                  <a:lnTo>
                    <a:pt x="1145509" y="270307"/>
                  </a:lnTo>
                  <a:lnTo>
                    <a:pt x="1144413" y="269014"/>
                  </a:lnTo>
                  <a:lnTo>
                    <a:pt x="1144413" y="267223"/>
                  </a:lnTo>
                  <a:lnTo>
                    <a:pt x="1145110" y="267223"/>
                  </a:lnTo>
                  <a:lnTo>
                    <a:pt x="1149495" y="265035"/>
                  </a:lnTo>
                  <a:lnTo>
                    <a:pt x="1145110" y="260956"/>
                  </a:lnTo>
                  <a:lnTo>
                    <a:pt x="1143316" y="258767"/>
                  </a:lnTo>
                  <a:lnTo>
                    <a:pt x="1141822" y="256180"/>
                  </a:lnTo>
                  <a:lnTo>
                    <a:pt x="1135345" y="235686"/>
                  </a:lnTo>
                  <a:lnTo>
                    <a:pt x="1131359" y="230015"/>
                  </a:lnTo>
                  <a:lnTo>
                    <a:pt x="1125580" y="226035"/>
                  </a:lnTo>
                  <a:lnTo>
                    <a:pt x="1119402" y="224444"/>
                  </a:lnTo>
                  <a:lnTo>
                    <a:pt x="1106149" y="223250"/>
                  </a:lnTo>
                  <a:lnTo>
                    <a:pt x="1080042" y="214196"/>
                  </a:lnTo>
                  <a:lnTo>
                    <a:pt x="1076854" y="212306"/>
                  </a:lnTo>
                  <a:lnTo>
                    <a:pt x="1075060" y="212306"/>
                  </a:lnTo>
                  <a:lnTo>
                    <a:pt x="1072270" y="213600"/>
                  </a:lnTo>
                  <a:lnTo>
                    <a:pt x="1071274" y="212605"/>
                  </a:lnTo>
                  <a:lnTo>
                    <a:pt x="1070277" y="211013"/>
                  </a:lnTo>
                  <a:lnTo>
                    <a:pt x="1069281" y="210217"/>
                  </a:lnTo>
                  <a:lnTo>
                    <a:pt x="1065793" y="210217"/>
                  </a:lnTo>
                  <a:lnTo>
                    <a:pt x="1062007" y="209521"/>
                  </a:lnTo>
                  <a:lnTo>
                    <a:pt x="1058718" y="207730"/>
                  </a:lnTo>
                  <a:lnTo>
                    <a:pt x="1056626" y="204646"/>
                  </a:lnTo>
                  <a:lnTo>
                    <a:pt x="1057423" y="199870"/>
                  </a:lnTo>
                  <a:lnTo>
                    <a:pt x="1053537" y="198875"/>
                  </a:lnTo>
                  <a:lnTo>
                    <a:pt x="1031814" y="204944"/>
                  </a:lnTo>
                  <a:lnTo>
                    <a:pt x="1028427" y="207531"/>
                  </a:lnTo>
                  <a:lnTo>
                    <a:pt x="1024740" y="209521"/>
                  </a:lnTo>
                  <a:lnTo>
                    <a:pt x="1015573" y="209521"/>
                  </a:lnTo>
                  <a:lnTo>
                    <a:pt x="1009793" y="213102"/>
                  </a:lnTo>
                  <a:lnTo>
                    <a:pt x="1007402" y="213102"/>
                  </a:lnTo>
                  <a:lnTo>
                    <a:pt x="1002818" y="212008"/>
                  </a:lnTo>
                  <a:lnTo>
                    <a:pt x="998932" y="212008"/>
                  </a:lnTo>
                  <a:lnTo>
                    <a:pt x="996740" y="212008"/>
                  </a:lnTo>
                  <a:lnTo>
                    <a:pt x="995644" y="211311"/>
                  </a:lnTo>
                  <a:lnTo>
                    <a:pt x="995046" y="211311"/>
                  </a:lnTo>
                  <a:lnTo>
                    <a:pt x="996840" y="210416"/>
                  </a:lnTo>
                  <a:lnTo>
                    <a:pt x="998832" y="210416"/>
                  </a:lnTo>
                  <a:lnTo>
                    <a:pt x="1002918" y="210416"/>
                  </a:lnTo>
                  <a:lnTo>
                    <a:pt x="1004512" y="210416"/>
                  </a:lnTo>
                  <a:lnTo>
                    <a:pt x="1007601" y="208725"/>
                  </a:lnTo>
                  <a:lnTo>
                    <a:pt x="1013879" y="207730"/>
                  </a:lnTo>
                  <a:lnTo>
                    <a:pt x="1018363" y="206138"/>
                  </a:lnTo>
                  <a:lnTo>
                    <a:pt x="1019359" y="205243"/>
                  </a:lnTo>
                  <a:lnTo>
                    <a:pt x="1020056" y="204049"/>
                  </a:lnTo>
                  <a:lnTo>
                    <a:pt x="1020854" y="203153"/>
                  </a:lnTo>
                  <a:lnTo>
                    <a:pt x="1022349" y="203153"/>
                  </a:lnTo>
                  <a:lnTo>
                    <a:pt x="1024940" y="204347"/>
                  </a:lnTo>
                  <a:lnTo>
                    <a:pt x="1026434" y="204347"/>
                  </a:lnTo>
                  <a:lnTo>
                    <a:pt x="1028327" y="201562"/>
                  </a:lnTo>
                  <a:lnTo>
                    <a:pt x="1033708" y="201562"/>
                  </a:lnTo>
                  <a:lnTo>
                    <a:pt x="1034904" y="199572"/>
                  </a:lnTo>
                  <a:lnTo>
                    <a:pt x="1037196" y="193404"/>
                  </a:lnTo>
                  <a:lnTo>
                    <a:pt x="1042476" y="191414"/>
                  </a:lnTo>
                  <a:lnTo>
                    <a:pt x="1054833" y="192409"/>
                  </a:lnTo>
                  <a:lnTo>
                    <a:pt x="1059217" y="194498"/>
                  </a:lnTo>
                  <a:lnTo>
                    <a:pt x="1059815" y="194498"/>
                  </a:lnTo>
                  <a:lnTo>
                    <a:pt x="1059815" y="195194"/>
                  </a:lnTo>
                  <a:lnTo>
                    <a:pt x="1059815" y="196090"/>
                  </a:lnTo>
                  <a:lnTo>
                    <a:pt x="1059815" y="196786"/>
                  </a:lnTo>
                  <a:lnTo>
                    <a:pt x="1059815" y="197483"/>
                  </a:lnTo>
                  <a:lnTo>
                    <a:pt x="1062206" y="197483"/>
                  </a:lnTo>
                  <a:lnTo>
                    <a:pt x="1063003" y="198378"/>
                  </a:lnTo>
                  <a:lnTo>
                    <a:pt x="1063601" y="199572"/>
                  </a:lnTo>
                  <a:lnTo>
                    <a:pt x="1064298" y="200268"/>
                  </a:lnTo>
                  <a:lnTo>
                    <a:pt x="1065694" y="200268"/>
                  </a:lnTo>
                  <a:lnTo>
                    <a:pt x="1066291" y="199273"/>
                  </a:lnTo>
                  <a:lnTo>
                    <a:pt x="1067487" y="194597"/>
                  </a:lnTo>
                  <a:lnTo>
                    <a:pt x="1064996" y="194597"/>
                  </a:lnTo>
                  <a:lnTo>
                    <a:pt x="1064100" y="194597"/>
                  </a:lnTo>
                  <a:lnTo>
                    <a:pt x="1063103" y="194597"/>
                  </a:lnTo>
                  <a:lnTo>
                    <a:pt x="1064697" y="193603"/>
                  </a:lnTo>
                  <a:lnTo>
                    <a:pt x="1066790" y="193603"/>
                  </a:lnTo>
                  <a:lnTo>
                    <a:pt x="1077851" y="193603"/>
                  </a:lnTo>
                  <a:lnTo>
                    <a:pt x="1089011" y="196687"/>
                  </a:lnTo>
                  <a:lnTo>
                    <a:pt x="1092598" y="195891"/>
                  </a:lnTo>
                  <a:lnTo>
                    <a:pt x="1095288" y="193603"/>
                  </a:lnTo>
                  <a:lnTo>
                    <a:pt x="1105253" y="181565"/>
                  </a:lnTo>
                  <a:lnTo>
                    <a:pt x="1106647" y="180371"/>
                  </a:lnTo>
                  <a:lnTo>
                    <a:pt x="1108242" y="180371"/>
                  </a:lnTo>
                  <a:lnTo>
                    <a:pt x="1110334" y="180371"/>
                  </a:lnTo>
                  <a:lnTo>
                    <a:pt x="1111729" y="180371"/>
                  </a:lnTo>
                  <a:lnTo>
                    <a:pt x="1112825" y="179077"/>
                  </a:lnTo>
                  <a:lnTo>
                    <a:pt x="1113922" y="176292"/>
                  </a:lnTo>
                  <a:lnTo>
                    <a:pt x="1114519" y="179177"/>
                  </a:lnTo>
                  <a:lnTo>
                    <a:pt x="1114519" y="182559"/>
                  </a:lnTo>
                  <a:lnTo>
                    <a:pt x="1114519" y="185345"/>
                  </a:lnTo>
                  <a:lnTo>
                    <a:pt x="1118505" y="187235"/>
                  </a:lnTo>
                  <a:lnTo>
                    <a:pt x="1123387" y="192110"/>
                  </a:lnTo>
                  <a:lnTo>
                    <a:pt x="1127971" y="194498"/>
                  </a:lnTo>
                  <a:lnTo>
                    <a:pt x="1142718" y="197781"/>
                  </a:lnTo>
                  <a:lnTo>
                    <a:pt x="1154178" y="203054"/>
                  </a:lnTo>
                  <a:lnTo>
                    <a:pt x="1159359" y="203651"/>
                  </a:lnTo>
                  <a:lnTo>
                    <a:pt x="1163544" y="204944"/>
                  </a:lnTo>
                  <a:lnTo>
                    <a:pt x="1165039" y="205840"/>
                  </a:lnTo>
                  <a:lnTo>
                    <a:pt x="1165637" y="206735"/>
                  </a:lnTo>
                  <a:lnTo>
                    <a:pt x="1166334" y="209322"/>
                  </a:lnTo>
                  <a:lnTo>
                    <a:pt x="1166334" y="210217"/>
                  </a:lnTo>
                  <a:lnTo>
                    <a:pt x="1168626" y="211809"/>
                  </a:lnTo>
                  <a:lnTo>
                    <a:pt x="1172113" y="213102"/>
                  </a:lnTo>
                  <a:lnTo>
                    <a:pt x="1175601" y="213102"/>
                  </a:lnTo>
                  <a:lnTo>
                    <a:pt x="1178092" y="211809"/>
                  </a:lnTo>
                  <a:lnTo>
                    <a:pt x="1190647" y="211809"/>
                  </a:lnTo>
                  <a:lnTo>
                    <a:pt x="1203900" y="206834"/>
                  </a:lnTo>
                  <a:lnTo>
                    <a:pt x="1220341" y="196886"/>
                  </a:lnTo>
                  <a:lnTo>
                    <a:pt x="1228413" y="192807"/>
                  </a:lnTo>
                  <a:lnTo>
                    <a:pt x="1233195" y="188927"/>
                  </a:lnTo>
                  <a:lnTo>
                    <a:pt x="1232000" y="187036"/>
                  </a:lnTo>
                  <a:lnTo>
                    <a:pt x="1231502" y="184748"/>
                  </a:lnTo>
                  <a:lnTo>
                    <a:pt x="1231502" y="182957"/>
                  </a:lnTo>
                  <a:lnTo>
                    <a:pt x="1231502" y="182957"/>
                  </a:lnTo>
                  <a:lnTo>
                    <a:pt x="1232697" y="184052"/>
                  </a:lnTo>
                  <a:lnTo>
                    <a:pt x="1234192" y="184649"/>
                  </a:lnTo>
                  <a:lnTo>
                    <a:pt x="1235986" y="184649"/>
                  </a:lnTo>
                  <a:lnTo>
                    <a:pt x="1237978" y="184649"/>
                  </a:lnTo>
                  <a:lnTo>
                    <a:pt x="1254420" y="180271"/>
                  </a:lnTo>
                  <a:lnTo>
                    <a:pt x="1256113" y="177784"/>
                  </a:lnTo>
                  <a:lnTo>
                    <a:pt x="1257210" y="174302"/>
                  </a:lnTo>
                  <a:lnTo>
                    <a:pt x="1259701" y="169527"/>
                  </a:lnTo>
                  <a:lnTo>
                    <a:pt x="1260498" y="166940"/>
                  </a:lnTo>
                  <a:lnTo>
                    <a:pt x="1260498" y="166940"/>
                  </a:lnTo>
                  <a:lnTo>
                    <a:pt x="1261295" y="166940"/>
                  </a:lnTo>
                  <a:lnTo>
                    <a:pt x="1262192" y="166045"/>
                  </a:lnTo>
                  <a:lnTo>
                    <a:pt x="1262989" y="164950"/>
                  </a:lnTo>
                  <a:lnTo>
                    <a:pt x="1263487" y="163955"/>
                  </a:lnTo>
                  <a:lnTo>
                    <a:pt x="1263487" y="162363"/>
                  </a:lnTo>
                  <a:lnTo>
                    <a:pt x="1263487" y="161269"/>
                  </a:lnTo>
                  <a:lnTo>
                    <a:pt x="1262491" y="160374"/>
                  </a:lnTo>
                  <a:lnTo>
                    <a:pt x="1261096" y="159379"/>
                  </a:lnTo>
                  <a:lnTo>
                    <a:pt x="1262690" y="158682"/>
                  </a:lnTo>
                  <a:lnTo>
                    <a:pt x="1266177" y="158682"/>
                  </a:lnTo>
                  <a:lnTo>
                    <a:pt x="1268868" y="156991"/>
                  </a:lnTo>
                  <a:lnTo>
                    <a:pt x="1283715" y="150823"/>
                  </a:lnTo>
                  <a:lnTo>
                    <a:pt x="1289893" y="149729"/>
                  </a:lnTo>
                  <a:lnTo>
                    <a:pt x="1296470" y="147540"/>
                  </a:lnTo>
                  <a:lnTo>
                    <a:pt x="1307231" y="146545"/>
                  </a:lnTo>
                  <a:lnTo>
                    <a:pt x="1311117" y="145451"/>
                  </a:lnTo>
                  <a:lnTo>
                    <a:pt x="1313210" y="143461"/>
                  </a:lnTo>
                  <a:lnTo>
                    <a:pt x="1311515" y="142466"/>
                  </a:lnTo>
                  <a:lnTo>
                    <a:pt x="1312213" y="139481"/>
                  </a:lnTo>
                  <a:lnTo>
                    <a:pt x="1314106" y="137193"/>
                  </a:lnTo>
                  <a:lnTo>
                    <a:pt x="1316498" y="135601"/>
                  </a:lnTo>
                  <a:lnTo>
                    <a:pt x="1319288" y="134408"/>
                  </a:lnTo>
                  <a:lnTo>
                    <a:pt x="1323772" y="133413"/>
                  </a:lnTo>
                  <a:lnTo>
                    <a:pt x="1324868" y="132816"/>
                  </a:lnTo>
                  <a:lnTo>
                    <a:pt x="1325864" y="131323"/>
                  </a:lnTo>
                  <a:lnTo>
                    <a:pt x="1326661" y="129931"/>
                  </a:lnTo>
                  <a:lnTo>
                    <a:pt x="1327559" y="128637"/>
                  </a:lnTo>
                  <a:lnTo>
                    <a:pt x="1328854" y="127742"/>
                  </a:lnTo>
                  <a:lnTo>
                    <a:pt x="1326661" y="127742"/>
                  </a:lnTo>
                  <a:lnTo>
                    <a:pt x="1324768" y="126846"/>
                  </a:lnTo>
                  <a:lnTo>
                    <a:pt x="1320982" y="123961"/>
                  </a:lnTo>
                  <a:lnTo>
                    <a:pt x="1317395" y="122171"/>
                  </a:lnTo>
                  <a:lnTo>
                    <a:pt x="1317395" y="120877"/>
                  </a:lnTo>
                  <a:lnTo>
                    <a:pt x="1317395" y="117694"/>
                  </a:lnTo>
                  <a:lnTo>
                    <a:pt x="1319986" y="112620"/>
                  </a:lnTo>
                  <a:lnTo>
                    <a:pt x="1323872" y="111625"/>
                  </a:lnTo>
                  <a:lnTo>
                    <a:pt x="1328256" y="111625"/>
                  </a:lnTo>
                  <a:lnTo>
                    <a:pt x="1332142" y="110531"/>
                  </a:lnTo>
                  <a:lnTo>
                    <a:pt x="1330548" y="108043"/>
                  </a:lnTo>
                  <a:lnTo>
                    <a:pt x="1328654" y="105855"/>
                  </a:lnTo>
                  <a:lnTo>
                    <a:pt x="1326661" y="104362"/>
                  </a:lnTo>
                  <a:lnTo>
                    <a:pt x="1324768" y="103666"/>
                  </a:lnTo>
                  <a:lnTo>
                    <a:pt x="1322875" y="102472"/>
                  </a:lnTo>
                  <a:lnTo>
                    <a:pt x="1317395" y="94513"/>
                  </a:lnTo>
                  <a:lnTo>
                    <a:pt x="1311117" y="89539"/>
                  </a:lnTo>
                  <a:lnTo>
                    <a:pt x="1307829" y="88345"/>
                  </a:lnTo>
                  <a:lnTo>
                    <a:pt x="1305039" y="86156"/>
                  </a:lnTo>
                  <a:lnTo>
                    <a:pt x="1303544" y="85460"/>
                  </a:lnTo>
                  <a:lnTo>
                    <a:pt x="1306135" y="85460"/>
                  </a:lnTo>
                  <a:lnTo>
                    <a:pt x="1304939" y="86057"/>
                  </a:lnTo>
                  <a:lnTo>
                    <a:pt x="1303843" y="86057"/>
                  </a:lnTo>
                  <a:lnTo>
                    <a:pt x="1302348" y="85161"/>
                  </a:lnTo>
                  <a:lnTo>
                    <a:pt x="1303644" y="83370"/>
                  </a:lnTo>
                  <a:lnTo>
                    <a:pt x="1304939" y="83370"/>
                  </a:lnTo>
                  <a:lnTo>
                    <a:pt x="1307928" y="84166"/>
                  </a:lnTo>
                  <a:lnTo>
                    <a:pt x="1309224" y="83569"/>
                  </a:lnTo>
                  <a:lnTo>
                    <a:pt x="1309224" y="82177"/>
                  </a:lnTo>
                  <a:lnTo>
                    <a:pt x="1308327" y="80784"/>
                  </a:lnTo>
                  <a:lnTo>
                    <a:pt x="1308327" y="80784"/>
                  </a:lnTo>
                  <a:lnTo>
                    <a:pt x="1307131" y="79092"/>
                  </a:lnTo>
                  <a:lnTo>
                    <a:pt x="1304441" y="78297"/>
                  </a:lnTo>
                  <a:lnTo>
                    <a:pt x="1299160" y="78297"/>
                  </a:lnTo>
                  <a:lnTo>
                    <a:pt x="1291388" y="80087"/>
                  </a:lnTo>
                  <a:lnTo>
                    <a:pt x="1289195" y="79391"/>
                  </a:lnTo>
                  <a:lnTo>
                    <a:pt x="1289195" y="77899"/>
                  </a:lnTo>
                  <a:lnTo>
                    <a:pt x="1297067" y="77003"/>
                  </a:lnTo>
                  <a:lnTo>
                    <a:pt x="1297067" y="76008"/>
                  </a:lnTo>
                  <a:lnTo>
                    <a:pt x="1289395" y="70238"/>
                  </a:lnTo>
                  <a:lnTo>
                    <a:pt x="1286704" y="69144"/>
                  </a:lnTo>
                  <a:lnTo>
                    <a:pt x="1290491" y="69144"/>
                  </a:lnTo>
                  <a:lnTo>
                    <a:pt x="1319088" y="77899"/>
                  </a:lnTo>
                  <a:lnTo>
                    <a:pt x="1325466" y="81878"/>
                  </a:lnTo>
                  <a:lnTo>
                    <a:pt x="1328754" y="82774"/>
                  </a:lnTo>
                  <a:lnTo>
                    <a:pt x="1330747" y="84465"/>
                  </a:lnTo>
                  <a:lnTo>
                    <a:pt x="1333537" y="87449"/>
                  </a:lnTo>
                  <a:lnTo>
                    <a:pt x="1336228" y="89340"/>
                  </a:lnTo>
                  <a:lnTo>
                    <a:pt x="1337921" y="87250"/>
                  </a:lnTo>
                  <a:lnTo>
                    <a:pt x="1335430" y="85559"/>
                  </a:lnTo>
                  <a:lnTo>
                    <a:pt x="1333238" y="82972"/>
                  </a:lnTo>
                  <a:lnTo>
                    <a:pt x="1330149" y="78297"/>
                  </a:lnTo>
                  <a:lnTo>
                    <a:pt x="1331444" y="71332"/>
                  </a:lnTo>
                  <a:lnTo>
                    <a:pt x="1329551" y="67154"/>
                  </a:lnTo>
                  <a:lnTo>
                    <a:pt x="1321879" y="60488"/>
                  </a:lnTo>
                  <a:lnTo>
                    <a:pt x="1321281" y="59494"/>
                  </a:lnTo>
                  <a:lnTo>
                    <a:pt x="1320184" y="57106"/>
                  </a:lnTo>
                  <a:lnTo>
                    <a:pt x="1320184" y="56409"/>
                  </a:lnTo>
                  <a:lnTo>
                    <a:pt x="1318690" y="55514"/>
                  </a:lnTo>
                  <a:lnTo>
                    <a:pt x="1315003" y="54519"/>
                  </a:lnTo>
                  <a:lnTo>
                    <a:pt x="1313608" y="53624"/>
                  </a:lnTo>
                  <a:lnTo>
                    <a:pt x="1309921" y="49246"/>
                  </a:lnTo>
                  <a:lnTo>
                    <a:pt x="1307829" y="47555"/>
                  </a:lnTo>
                  <a:lnTo>
                    <a:pt x="1302448" y="44670"/>
                  </a:lnTo>
                  <a:lnTo>
                    <a:pt x="1301252" y="43774"/>
                  </a:lnTo>
                  <a:lnTo>
                    <a:pt x="1298462" y="40690"/>
                  </a:lnTo>
                  <a:lnTo>
                    <a:pt x="1297466" y="40193"/>
                  </a:lnTo>
                  <a:lnTo>
                    <a:pt x="1296470" y="40193"/>
                  </a:lnTo>
                  <a:lnTo>
                    <a:pt x="1294975" y="39497"/>
                  </a:lnTo>
                  <a:lnTo>
                    <a:pt x="1288000" y="33428"/>
                  </a:lnTo>
                  <a:lnTo>
                    <a:pt x="1284612" y="32134"/>
                  </a:lnTo>
                  <a:lnTo>
                    <a:pt x="1281722" y="29846"/>
                  </a:lnTo>
                  <a:lnTo>
                    <a:pt x="1280327" y="29150"/>
                  </a:lnTo>
                  <a:lnTo>
                    <a:pt x="1270362" y="27558"/>
                  </a:lnTo>
                  <a:lnTo>
                    <a:pt x="1267174" y="26563"/>
                  </a:lnTo>
                  <a:lnTo>
                    <a:pt x="1261395" y="23479"/>
                  </a:lnTo>
                  <a:lnTo>
                    <a:pt x="1256014" y="19400"/>
                  </a:lnTo>
                  <a:lnTo>
                    <a:pt x="1253324" y="18107"/>
                  </a:lnTo>
                  <a:lnTo>
                    <a:pt x="1246348" y="17012"/>
                  </a:lnTo>
                  <a:lnTo>
                    <a:pt x="1235487" y="13033"/>
                  </a:lnTo>
                  <a:lnTo>
                    <a:pt x="1206591" y="10048"/>
                  </a:lnTo>
                  <a:lnTo>
                    <a:pt x="1195729" y="8854"/>
                  </a:lnTo>
                  <a:lnTo>
                    <a:pt x="1180584" y="6069"/>
                  </a:lnTo>
                  <a:lnTo>
                    <a:pt x="1157964" y="0"/>
                  </a:lnTo>
                  <a:lnTo>
                    <a:pt x="1151687" y="995"/>
                  </a:lnTo>
                  <a:lnTo>
                    <a:pt x="1142918" y="3980"/>
                  </a:lnTo>
                  <a:lnTo>
                    <a:pt x="1117708" y="6964"/>
                  </a:lnTo>
                  <a:lnTo>
                    <a:pt x="1095886" y="6964"/>
                  </a:lnTo>
                  <a:lnTo>
                    <a:pt x="1075060" y="9849"/>
                  </a:lnTo>
                  <a:lnTo>
                    <a:pt x="1036199" y="22285"/>
                  </a:lnTo>
                  <a:lnTo>
                    <a:pt x="1024042" y="24076"/>
                  </a:lnTo>
                  <a:lnTo>
                    <a:pt x="991359" y="36810"/>
                  </a:lnTo>
                  <a:lnTo>
                    <a:pt x="961466" y="50739"/>
                  </a:lnTo>
                  <a:lnTo>
                    <a:pt x="939245" y="57205"/>
                  </a:lnTo>
                  <a:lnTo>
                    <a:pt x="930477" y="60588"/>
                  </a:lnTo>
                  <a:lnTo>
                    <a:pt x="922405" y="65662"/>
                  </a:lnTo>
                  <a:lnTo>
                    <a:pt x="907060" y="67552"/>
                  </a:lnTo>
                  <a:lnTo>
                    <a:pt x="899886" y="72626"/>
                  </a:lnTo>
                  <a:lnTo>
                    <a:pt x="894306" y="73720"/>
                  </a:lnTo>
                  <a:lnTo>
                    <a:pt x="891217" y="75014"/>
                  </a:lnTo>
                  <a:lnTo>
                    <a:pt x="886135" y="77799"/>
                  </a:lnTo>
                  <a:lnTo>
                    <a:pt x="885338" y="78595"/>
                  </a:lnTo>
                  <a:lnTo>
                    <a:pt x="854448" y="94414"/>
                  </a:lnTo>
                  <a:lnTo>
                    <a:pt x="851857" y="94414"/>
                  </a:lnTo>
                  <a:lnTo>
                    <a:pt x="845281" y="94414"/>
                  </a:lnTo>
                  <a:lnTo>
                    <a:pt x="841993" y="95011"/>
                  </a:lnTo>
                  <a:lnTo>
                    <a:pt x="839103" y="96602"/>
                  </a:lnTo>
                  <a:lnTo>
                    <a:pt x="834918" y="100781"/>
                  </a:lnTo>
                  <a:lnTo>
                    <a:pt x="832726" y="101975"/>
                  </a:lnTo>
                  <a:lnTo>
                    <a:pt x="826249" y="102771"/>
                  </a:lnTo>
                  <a:lnTo>
                    <a:pt x="823559" y="103765"/>
                  </a:lnTo>
                  <a:lnTo>
                    <a:pt x="809808" y="112819"/>
                  </a:lnTo>
                  <a:lnTo>
                    <a:pt x="804726" y="117992"/>
                  </a:lnTo>
                  <a:lnTo>
                    <a:pt x="801836" y="118887"/>
                  </a:lnTo>
                  <a:lnTo>
                    <a:pt x="795758" y="119484"/>
                  </a:lnTo>
                  <a:lnTo>
                    <a:pt x="790875" y="122569"/>
                  </a:lnTo>
                  <a:lnTo>
                    <a:pt x="783203" y="132517"/>
                  </a:lnTo>
                  <a:lnTo>
                    <a:pt x="778420" y="135701"/>
                  </a:lnTo>
                  <a:lnTo>
                    <a:pt x="768455" y="138884"/>
                  </a:lnTo>
                  <a:lnTo>
                    <a:pt x="766961" y="140775"/>
                  </a:lnTo>
                  <a:lnTo>
                    <a:pt x="765566" y="142168"/>
                  </a:lnTo>
                  <a:lnTo>
                    <a:pt x="757395" y="148137"/>
                  </a:lnTo>
                  <a:lnTo>
                    <a:pt x="754505" y="148734"/>
                  </a:lnTo>
                  <a:lnTo>
                    <a:pt x="747231" y="148734"/>
                  </a:lnTo>
                  <a:lnTo>
                    <a:pt x="744840" y="149828"/>
                  </a:lnTo>
                  <a:lnTo>
                    <a:pt x="742348" y="153609"/>
                  </a:lnTo>
                  <a:lnTo>
                    <a:pt x="727103" y="162761"/>
                  </a:lnTo>
                  <a:lnTo>
                    <a:pt x="715744" y="171914"/>
                  </a:lnTo>
                  <a:lnTo>
                    <a:pt x="703288" y="186141"/>
                  </a:lnTo>
                  <a:lnTo>
                    <a:pt x="690434" y="195194"/>
                  </a:lnTo>
                  <a:lnTo>
                    <a:pt x="681566" y="205143"/>
                  </a:lnTo>
                  <a:lnTo>
                    <a:pt x="679274" y="206834"/>
                  </a:lnTo>
                  <a:lnTo>
                    <a:pt x="676783" y="208028"/>
                  </a:lnTo>
                  <a:lnTo>
                    <a:pt x="670904" y="210018"/>
                  </a:lnTo>
                  <a:lnTo>
                    <a:pt x="668413" y="210018"/>
                  </a:lnTo>
                  <a:lnTo>
                    <a:pt x="666221" y="211112"/>
                  </a:lnTo>
                  <a:lnTo>
                    <a:pt x="653167" y="228025"/>
                  </a:lnTo>
                  <a:lnTo>
                    <a:pt x="652270" y="230910"/>
                  </a:lnTo>
                  <a:lnTo>
                    <a:pt x="652270" y="233398"/>
                  </a:lnTo>
                  <a:lnTo>
                    <a:pt x="652270" y="234691"/>
                  </a:lnTo>
                  <a:lnTo>
                    <a:pt x="652270" y="235586"/>
                  </a:lnTo>
                  <a:lnTo>
                    <a:pt x="651573" y="237178"/>
                  </a:lnTo>
                  <a:lnTo>
                    <a:pt x="650676" y="238173"/>
                  </a:lnTo>
                  <a:lnTo>
                    <a:pt x="647288" y="240561"/>
                  </a:lnTo>
                  <a:lnTo>
                    <a:pt x="634533" y="254688"/>
                  </a:lnTo>
                  <a:lnTo>
                    <a:pt x="620284" y="272098"/>
                  </a:lnTo>
                  <a:lnTo>
                    <a:pt x="608626" y="286026"/>
                  </a:lnTo>
                  <a:lnTo>
                    <a:pt x="604441" y="287419"/>
                  </a:lnTo>
                  <a:lnTo>
                    <a:pt x="603445" y="288712"/>
                  </a:lnTo>
                  <a:lnTo>
                    <a:pt x="602548" y="290205"/>
                  </a:lnTo>
                  <a:lnTo>
                    <a:pt x="601253" y="291498"/>
                  </a:lnTo>
                  <a:lnTo>
                    <a:pt x="599957" y="292095"/>
                  </a:lnTo>
                  <a:lnTo>
                    <a:pt x="597267" y="292891"/>
                  </a:lnTo>
                  <a:lnTo>
                    <a:pt x="596071" y="293687"/>
                  </a:lnTo>
                  <a:lnTo>
                    <a:pt x="592185" y="298562"/>
                  </a:lnTo>
                  <a:lnTo>
                    <a:pt x="589694" y="310003"/>
                  </a:lnTo>
                  <a:lnTo>
                    <a:pt x="586406" y="315077"/>
                  </a:lnTo>
                  <a:lnTo>
                    <a:pt x="571359" y="323832"/>
                  </a:lnTo>
                  <a:lnTo>
                    <a:pt x="567373" y="328607"/>
                  </a:lnTo>
                  <a:lnTo>
                    <a:pt x="559701" y="341242"/>
                  </a:lnTo>
                  <a:lnTo>
                    <a:pt x="546947" y="356563"/>
                  </a:lnTo>
                  <a:lnTo>
                    <a:pt x="528313" y="373774"/>
                  </a:lnTo>
                  <a:lnTo>
                    <a:pt x="525722" y="375167"/>
                  </a:lnTo>
                  <a:lnTo>
                    <a:pt x="519943" y="375963"/>
                  </a:lnTo>
                  <a:lnTo>
                    <a:pt x="503900" y="382629"/>
                  </a:lnTo>
                  <a:lnTo>
                    <a:pt x="501808" y="384220"/>
                  </a:lnTo>
                  <a:lnTo>
                    <a:pt x="499018" y="388001"/>
                  </a:lnTo>
                  <a:lnTo>
                    <a:pt x="497822" y="389095"/>
                  </a:lnTo>
                  <a:lnTo>
                    <a:pt x="496626" y="389095"/>
                  </a:lnTo>
                  <a:lnTo>
                    <a:pt x="493936" y="389095"/>
                  </a:lnTo>
                  <a:lnTo>
                    <a:pt x="492640" y="389095"/>
                  </a:lnTo>
                  <a:lnTo>
                    <a:pt x="491345" y="389891"/>
                  </a:lnTo>
                  <a:lnTo>
                    <a:pt x="488954" y="391980"/>
                  </a:lnTo>
                  <a:lnTo>
                    <a:pt x="487360" y="392478"/>
                  </a:lnTo>
                  <a:lnTo>
                    <a:pt x="486064" y="392478"/>
                  </a:lnTo>
                  <a:lnTo>
                    <a:pt x="483274" y="391682"/>
                  </a:lnTo>
                  <a:lnTo>
                    <a:pt x="481680" y="391682"/>
                  </a:lnTo>
                  <a:lnTo>
                    <a:pt x="479487" y="392577"/>
                  </a:lnTo>
                  <a:lnTo>
                    <a:pt x="472612" y="398348"/>
                  </a:lnTo>
                  <a:lnTo>
                    <a:pt x="466833" y="400039"/>
                  </a:lnTo>
                  <a:lnTo>
                    <a:pt x="454676" y="400039"/>
                  </a:lnTo>
                  <a:lnTo>
                    <a:pt x="449196" y="402128"/>
                  </a:lnTo>
                  <a:lnTo>
                    <a:pt x="446904" y="404914"/>
                  </a:lnTo>
                  <a:lnTo>
                    <a:pt x="443217" y="410883"/>
                  </a:lnTo>
                  <a:lnTo>
                    <a:pt x="440825" y="412077"/>
                  </a:lnTo>
                  <a:lnTo>
                    <a:pt x="438334" y="412773"/>
                  </a:lnTo>
                  <a:lnTo>
                    <a:pt x="433452" y="416454"/>
                  </a:lnTo>
                  <a:lnTo>
                    <a:pt x="430861" y="417748"/>
                  </a:lnTo>
                  <a:lnTo>
                    <a:pt x="378747" y="436153"/>
                  </a:lnTo>
                  <a:lnTo>
                    <a:pt x="372769" y="436153"/>
                  </a:lnTo>
                  <a:lnTo>
                    <a:pt x="367487" y="433666"/>
                  </a:lnTo>
                  <a:lnTo>
                    <a:pt x="364698" y="431775"/>
                  </a:lnTo>
                  <a:lnTo>
                    <a:pt x="362007" y="430681"/>
                  </a:lnTo>
                  <a:lnTo>
                    <a:pt x="359317" y="430681"/>
                  </a:lnTo>
                  <a:lnTo>
                    <a:pt x="354534" y="435058"/>
                  </a:lnTo>
                  <a:lnTo>
                    <a:pt x="347559" y="439138"/>
                  </a:lnTo>
                  <a:lnTo>
                    <a:pt x="345267" y="441625"/>
                  </a:lnTo>
                  <a:lnTo>
                    <a:pt x="343573" y="444211"/>
                  </a:lnTo>
                  <a:lnTo>
                    <a:pt x="341580" y="446201"/>
                  </a:lnTo>
                  <a:lnTo>
                    <a:pt x="338392" y="446997"/>
                  </a:lnTo>
                  <a:lnTo>
                    <a:pt x="335203" y="446997"/>
                  </a:lnTo>
                  <a:lnTo>
                    <a:pt x="329623" y="447693"/>
                  </a:lnTo>
                  <a:lnTo>
                    <a:pt x="318463" y="453265"/>
                  </a:lnTo>
                  <a:lnTo>
                    <a:pt x="317267" y="454956"/>
                  </a:lnTo>
                  <a:lnTo>
                    <a:pt x="316669" y="457443"/>
                  </a:lnTo>
                  <a:lnTo>
                    <a:pt x="315174" y="460826"/>
                  </a:lnTo>
                  <a:lnTo>
                    <a:pt x="311986" y="466696"/>
                  </a:lnTo>
                  <a:lnTo>
                    <a:pt x="307801" y="470476"/>
                  </a:lnTo>
                  <a:lnTo>
                    <a:pt x="292157" y="474356"/>
                  </a:lnTo>
                  <a:lnTo>
                    <a:pt x="284883" y="478435"/>
                  </a:lnTo>
                  <a:lnTo>
                    <a:pt x="281993" y="478932"/>
                  </a:lnTo>
                  <a:lnTo>
                    <a:pt x="279701" y="480226"/>
                  </a:lnTo>
                  <a:lnTo>
                    <a:pt x="272028" y="489080"/>
                  </a:lnTo>
                  <a:lnTo>
                    <a:pt x="265253" y="493856"/>
                  </a:lnTo>
                  <a:lnTo>
                    <a:pt x="259872" y="496741"/>
                  </a:lnTo>
                  <a:lnTo>
                    <a:pt x="257580" y="498532"/>
                  </a:lnTo>
                  <a:lnTo>
                    <a:pt x="257580" y="503804"/>
                  </a:lnTo>
                  <a:lnTo>
                    <a:pt x="249808" y="510072"/>
                  </a:lnTo>
                  <a:lnTo>
                    <a:pt x="246420" y="510768"/>
                  </a:lnTo>
                  <a:lnTo>
                    <a:pt x="235559" y="515643"/>
                  </a:lnTo>
                  <a:lnTo>
                    <a:pt x="231474" y="516539"/>
                  </a:lnTo>
                  <a:lnTo>
                    <a:pt x="227188" y="516539"/>
                  </a:lnTo>
                  <a:lnTo>
                    <a:pt x="224299" y="515046"/>
                  </a:lnTo>
                  <a:lnTo>
                    <a:pt x="221409" y="517335"/>
                  </a:lnTo>
                  <a:lnTo>
                    <a:pt x="218420" y="519722"/>
                  </a:lnTo>
                  <a:lnTo>
                    <a:pt x="215929" y="521712"/>
                  </a:lnTo>
                  <a:lnTo>
                    <a:pt x="213737" y="523304"/>
                  </a:lnTo>
                  <a:lnTo>
                    <a:pt x="211644" y="525095"/>
                  </a:lnTo>
                  <a:lnTo>
                    <a:pt x="210548" y="526587"/>
                  </a:lnTo>
                  <a:lnTo>
                    <a:pt x="206761" y="527283"/>
                  </a:lnTo>
                  <a:lnTo>
                    <a:pt x="202776" y="534347"/>
                  </a:lnTo>
                  <a:close/>
                  <a:moveTo>
                    <a:pt x="1157566" y="918468"/>
                  </a:moveTo>
                  <a:lnTo>
                    <a:pt x="1156868" y="921254"/>
                  </a:lnTo>
                  <a:lnTo>
                    <a:pt x="1155174" y="923343"/>
                  </a:lnTo>
                  <a:lnTo>
                    <a:pt x="1153878" y="926327"/>
                  </a:lnTo>
                  <a:lnTo>
                    <a:pt x="1152284" y="928914"/>
                  </a:lnTo>
                  <a:lnTo>
                    <a:pt x="1149893" y="929909"/>
                  </a:lnTo>
                  <a:lnTo>
                    <a:pt x="1150889" y="927820"/>
                  </a:lnTo>
                  <a:lnTo>
                    <a:pt x="1150192" y="926327"/>
                  </a:lnTo>
                  <a:lnTo>
                    <a:pt x="1149096" y="925034"/>
                  </a:lnTo>
                  <a:lnTo>
                    <a:pt x="1147800" y="924039"/>
                  </a:lnTo>
                  <a:lnTo>
                    <a:pt x="1146505" y="923442"/>
                  </a:lnTo>
                  <a:lnTo>
                    <a:pt x="1147701" y="922049"/>
                  </a:lnTo>
                  <a:lnTo>
                    <a:pt x="1149195" y="921254"/>
                  </a:lnTo>
                  <a:lnTo>
                    <a:pt x="1152584" y="920259"/>
                  </a:lnTo>
                  <a:lnTo>
                    <a:pt x="1151387" y="916379"/>
                  </a:lnTo>
                  <a:lnTo>
                    <a:pt x="1152982" y="915384"/>
                  </a:lnTo>
                  <a:lnTo>
                    <a:pt x="1158662" y="91588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7D7D49CA-5E5F-4B26-BE0B-98FA677DC650}"/>
                </a:ext>
              </a:extLst>
            </p:cNvPr>
            <p:cNvSpPr/>
            <p:nvPr/>
          </p:nvSpPr>
          <p:spPr>
            <a:xfrm>
              <a:off x="4279744" y="1028437"/>
              <a:ext cx="17536" cy="20394"/>
            </a:xfrm>
            <a:custGeom>
              <a:avLst/>
              <a:gdLst>
                <a:gd name="connsiteX0" fmla="*/ 6676 w 17536"/>
                <a:gd name="connsiteY0" fmla="*/ 3084 h 20394"/>
                <a:gd name="connsiteX1" fmla="*/ 5879 w 17536"/>
                <a:gd name="connsiteY1" fmla="*/ 4178 h 20394"/>
                <a:gd name="connsiteX2" fmla="*/ 5181 w 17536"/>
                <a:gd name="connsiteY2" fmla="*/ 5372 h 20394"/>
                <a:gd name="connsiteX3" fmla="*/ 4783 w 17536"/>
                <a:gd name="connsiteY3" fmla="*/ 6865 h 20394"/>
                <a:gd name="connsiteX4" fmla="*/ 4583 w 17536"/>
                <a:gd name="connsiteY4" fmla="*/ 8755 h 20394"/>
                <a:gd name="connsiteX5" fmla="*/ 3886 w 17536"/>
                <a:gd name="connsiteY5" fmla="*/ 10546 h 20394"/>
                <a:gd name="connsiteX6" fmla="*/ 1096 w 17536"/>
                <a:gd name="connsiteY6" fmla="*/ 14127 h 20394"/>
                <a:gd name="connsiteX7" fmla="*/ 199 w 17536"/>
                <a:gd name="connsiteY7" fmla="*/ 15918 h 20394"/>
                <a:gd name="connsiteX8" fmla="*/ 0 w 17536"/>
                <a:gd name="connsiteY8" fmla="*/ 19102 h 20394"/>
                <a:gd name="connsiteX9" fmla="*/ 199 w 17536"/>
                <a:gd name="connsiteY9" fmla="*/ 20395 h 20394"/>
                <a:gd name="connsiteX10" fmla="*/ 1794 w 17536"/>
                <a:gd name="connsiteY10" fmla="*/ 16913 h 20394"/>
                <a:gd name="connsiteX11" fmla="*/ 4483 w 17536"/>
                <a:gd name="connsiteY11" fmla="*/ 14824 h 20394"/>
                <a:gd name="connsiteX12" fmla="*/ 10064 w 17536"/>
                <a:gd name="connsiteY12" fmla="*/ 11541 h 20394"/>
                <a:gd name="connsiteX13" fmla="*/ 13551 w 17536"/>
                <a:gd name="connsiteY13" fmla="*/ 7064 h 20394"/>
                <a:gd name="connsiteX14" fmla="*/ 17537 w 17536"/>
                <a:gd name="connsiteY14" fmla="*/ 0 h 20394"/>
                <a:gd name="connsiteX15" fmla="*/ 8769 w 17536"/>
                <a:gd name="connsiteY15" fmla="*/ 1691 h 20394"/>
                <a:gd name="connsiteX16" fmla="*/ 6676 w 17536"/>
                <a:gd name="connsiteY16" fmla="*/ 3084 h 20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536" h="20394">
                  <a:moveTo>
                    <a:pt x="6676" y="3084"/>
                  </a:moveTo>
                  <a:lnTo>
                    <a:pt x="5879" y="4178"/>
                  </a:lnTo>
                  <a:lnTo>
                    <a:pt x="5181" y="5372"/>
                  </a:lnTo>
                  <a:lnTo>
                    <a:pt x="4783" y="6865"/>
                  </a:lnTo>
                  <a:lnTo>
                    <a:pt x="4583" y="8755"/>
                  </a:lnTo>
                  <a:lnTo>
                    <a:pt x="3886" y="10546"/>
                  </a:lnTo>
                  <a:lnTo>
                    <a:pt x="1096" y="14127"/>
                  </a:lnTo>
                  <a:lnTo>
                    <a:pt x="199" y="15918"/>
                  </a:lnTo>
                  <a:lnTo>
                    <a:pt x="0" y="19102"/>
                  </a:lnTo>
                  <a:lnTo>
                    <a:pt x="199" y="20395"/>
                  </a:lnTo>
                  <a:lnTo>
                    <a:pt x="1794" y="16913"/>
                  </a:lnTo>
                  <a:lnTo>
                    <a:pt x="4483" y="14824"/>
                  </a:lnTo>
                  <a:lnTo>
                    <a:pt x="10064" y="11541"/>
                  </a:lnTo>
                  <a:lnTo>
                    <a:pt x="13551" y="7064"/>
                  </a:lnTo>
                  <a:lnTo>
                    <a:pt x="17537" y="0"/>
                  </a:lnTo>
                  <a:lnTo>
                    <a:pt x="8769" y="1691"/>
                  </a:lnTo>
                  <a:lnTo>
                    <a:pt x="6676" y="308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B4C13818-372C-4FE5-A866-1ACF6CBF95FC}"/>
                </a:ext>
              </a:extLst>
            </p:cNvPr>
            <p:cNvSpPr/>
            <p:nvPr/>
          </p:nvSpPr>
          <p:spPr>
            <a:xfrm>
              <a:off x="5937523" y="1337743"/>
              <a:ext cx="53608" cy="15918"/>
            </a:xfrm>
            <a:custGeom>
              <a:avLst/>
              <a:gdLst>
                <a:gd name="connsiteX0" fmla="*/ 42647 w 53608"/>
                <a:gd name="connsiteY0" fmla="*/ 7860 h 15918"/>
                <a:gd name="connsiteX1" fmla="*/ 39359 w 53608"/>
                <a:gd name="connsiteY1" fmla="*/ 9451 h 15918"/>
                <a:gd name="connsiteX2" fmla="*/ 36669 w 53608"/>
                <a:gd name="connsiteY2" fmla="*/ 10148 h 15918"/>
                <a:gd name="connsiteX3" fmla="*/ 32783 w 53608"/>
                <a:gd name="connsiteY3" fmla="*/ 11441 h 15918"/>
                <a:gd name="connsiteX4" fmla="*/ 16740 w 53608"/>
                <a:gd name="connsiteY4" fmla="*/ 12137 h 15918"/>
                <a:gd name="connsiteX5" fmla="*/ 7174 w 53608"/>
                <a:gd name="connsiteY5" fmla="*/ 11342 h 15918"/>
                <a:gd name="connsiteX6" fmla="*/ 4882 w 53608"/>
                <a:gd name="connsiteY6" fmla="*/ 10247 h 15918"/>
                <a:gd name="connsiteX7" fmla="*/ 3189 w 53608"/>
                <a:gd name="connsiteY7" fmla="*/ 9451 h 15918"/>
                <a:gd name="connsiteX8" fmla="*/ 1494 w 53608"/>
                <a:gd name="connsiteY8" fmla="*/ 8655 h 15918"/>
                <a:gd name="connsiteX9" fmla="*/ 0 w 53608"/>
                <a:gd name="connsiteY9" fmla="*/ 8556 h 15918"/>
                <a:gd name="connsiteX10" fmla="*/ 1694 w 53608"/>
                <a:gd name="connsiteY10" fmla="*/ 11242 h 15918"/>
                <a:gd name="connsiteX11" fmla="*/ 6975 w 53608"/>
                <a:gd name="connsiteY11" fmla="*/ 13829 h 15918"/>
                <a:gd name="connsiteX12" fmla="*/ 14050 w 53608"/>
                <a:gd name="connsiteY12" fmla="*/ 15918 h 15918"/>
                <a:gd name="connsiteX13" fmla="*/ 21124 w 53608"/>
                <a:gd name="connsiteY13" fmla="*/ 15918 h 15918"/>
                <a:gd name="connsiteX14" fmla="*/ 28199 w 53608"/>
                <a:gd name="connsiteY14" fmla="*/ 15520 h 15918"/>
                <a:gd name="connsiteX15" fmla="*/ 34476 w 53608"/>
                <a:gd name="connsiteY15" fmla="*/ 14326 h 15918"/>
                <a:gd name="connsiteX16" fmla="*/ 40854 w 53608"/>
                <a:gd name="connsiteY16" fmla="*/ 11740 h 15918"/>
                <a:gd name="connsiteX17" fmla="*/ 47231 w 53608"/>
                <a:gd name="connsiteY17" fmla="*/ 7661 h 15918"/>
                <a:gd name="connsiteX18" fmla="*/ 53609 w 53608"/>
                <a:gd name="connsiteY18" fmla="*/ 0 h 15918"/>
                <a:gd name="connsiteX19" fmla="*/ 49323 w 53608"/>
                <a:gd name="connsiteY19" fmla="*/ 2786 h 15918"/>
                <a:gd name="connsiteX20" fmla="*/ 42647 w 53608"/>
                <a:gd name="connsiteY20" fmla="*/ 7860 h 1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3608" h="15918">
                  <a:moveTo>
                    <a:pt x="42647" y="7860"/>
                  </a:moveTo>
                  <a:lnTo>
                    <a:pt x="39359" y="9451"/>
                  </a:lnTo>
                  <a:lnTo>
                    <a:pt x="36669" y="10148"/>
                  </a:lnTo>
                  <a:lnTo>
                    <a:pt x="32783" y="11441"/>
                  </a:lnTo>
                  <a:lnTo>
                    <a:pt x="16740" y="12137"/>
                  </a:lnTo>
                  <a:lnTo>
                    <a:pt x="7174" y="11342"/>
                  </a:lnTo>
                  <a:lnTo>
                    <a:pt x="4882" y="10247"/>
                  </a:lnTo>
                  <a:lnTo>
                    <a:pt x="3189" y="9451"/>
                  </a:lnTo>
                  <a:lnTo>
                    <a:pt x="1494" y="8655"/>
                  </a:lnTo>
                  <a:lnTo>
                    <a:pt x="0" y="8556"/>
                  </a:lnTo>
                  <a:lnTo>
                    <a:pt x="1694" y="11242"/>
                  </a:lnTo>
                  <a:lnTo>
                    <a:pt x="6975" y="13829"/>
                  </a:lnTo>
                  <a:lnTo>
                    <a:pt x="14050" y="15918"/>
                  </a:lnTo>
                  <a:lnTo>
                    <a:pt x="21124" y="15918"/>
                  </a:lnTo>
                  <a:lnTo>
                    <a:pt x="28199" y="15520"/>
                  </a:lnTo>
                  <a:lnTo>
                    <a:pt x="34476" y="14326"/>
                  </a:lnTo>
                  <a:lnTo>
                    <a:pt x="40854" y="11740"/>
                  </a:lnTo>
                  <a:lnTo>
                    <a:pt x="47231" y="7661"/>
                  </a:lnTo>
                  <a:lnTo>
                    <a:pt x="53609" y="0"/>
                  </a:lnTo>
                  <a:lnTo>
                    <a:pt x="49323" y="2786"/>
                  </a:lnTo>
                  <a:lnTo>
                    <a:pt x="42647" y="786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5" name="Freeform: Shape 1334">
              <a:extLst>
                <a:ext uri="{FF2B5EF4-FFF2-40B4-BE49-F238E27FC236}">
                  <a16:creationId xmlns:a16="http://schemas.microsoft.com/office/drawing/2014/main" id="{4EAD3BE1-1574-48CB-8EC4-024664452854}"/>
                </a:ext>
              </a:extLst>
            </p:cNvPr>
            <p:cNvSpPr/>
            <p:nvPr/>
          </p:nvSpPr>
          <p:spPr>
            <a:xfrm>
              <a:off x="5358292" y="701819"/>
              <a:ext cx="28298" cy="35119"/>
            </a:xfrm>
            <a:custGeom>
              <a:avLst/>
              <a:gdLst>
                <a:gd name="connsiteX0" fmla="*/ 398 w 28298"/>
                <a:gd name="connsiteY0" fmla="*/ 30543 h 35119"/>
                <a:gd name="connsiteX1" fmla="*/ 2391 w 28298"/>
                <a:gd name="connsiteY1" fmla="*/ 31339 h 35119"/>
                <a:gd name="connsiteX2" fmla="*/ 4285 w 28298"/>
                <a:gd name="connsiteY2" fmla="*/ 31637 h 35119"/>
                <a:gd name="connsiteX3" fmla="*/ 5779 w 28298"/>
                <a:gd name="connsiteY3" fmla="*/ 32632 h 35119"/>
                <a:gd name="connsiteX4" fmla="*/ 6477 w 28298"/>
                <a:gd name="connsiteY4" fmla="*/ 35119 h 35119"/>
                <a:gd name="connsiteX5" fmla="*/ 13452 w 28298"/>
                <a:gd name="connsiteY5" fmla="*/ 29548 h 35119"/>
                <a:gd name="connsiteX6" fmla="*/ 20427 w 28298"/>
                <a:gd name="connsiteY6" fmla="*/ 22683 h 35119"/>
                <a:gd name="connsiteX7" fmla="*/ 22918 w 28298"/>
                <a:gd name="connsiteY7" fmla="*/ 19002 h 35119"/>
                <a:gd name="connsiteX8" fmla="*/ 24213 w 28298"/>
                <a:gd name="connsiteY8" fmla="*/ 16515 h 35119"/>
                <a:gd name="connsiteX9" fmla="*/ 24712 w 28298"/>
                <a:gd name="connsiteY9" fmla="*/ 14227 h 35119"/>
                <a:gd name="connsiteX10" fmla="*/ 24911 w 28298"/>
                <a:gd name="connsiteY10" fmla="*/ 11640 h 35119"/>
                <a:gd name="connsiteX11" fmla="*/ 25509 w 28298"/>
                <a:gd name="connsiteY11" fmla="*/ 8556 h 35119"/>
                <a:gd name="connsiteX12" fmla="*/ 26306 w 28298"/>
                <a:gd name="connsiteY12" fmla="*/ 5571 h 35119"/>
                <a:gd name="connsiteX13" fmla="*/ 28000 w 28298"/>
                <a:gd name="connsiteY13" fmla="*/ 1890 h 35119"/>
                <a:gd name="connsiteX14" fmla="*/ 28299 w 28298"/>
                <a:gd name="connsiteY14" fmla="*/ 1094 h 35119"/>
                <a:gd name="connsiteX15" fmla="*/ 28199 w 28298"/>
                <a:gd name="connsiteY15" fmla="*/ 0 h 35119"/>
                <a:gd name="connsiteX16" fmla="*/ 24811 w 28298"/>
                <a:gd name="connsiteY16" fmla="*/ 4576 h 35119"/>
                <a:gd name="connsiteX17" fmla="*/ 23815 w 28298"/>
                <a:gd name="connsiteY17" fmla="*/ 6964 h 35119"/>
                <a:gd name="connsiteX18" fmla="*/ 24712 w 28298"/>
                <a:gd name="connsiteY18" fmla="*/ 9053 h 35119"/>
                <a:gd name="connsiteX19" fmla="*/ 22818 w 28298"/>
                <a:gd name="connsiteY19" fmla="*/ 11740 h 35119"/>
                <a:gd name="connsiteX20" fmla="*/ 20427 w 28298"/>
                <a:gd name="connsiteY20" fmla="*/ 12336 h 35119"/>
                <a:gd name="connsiteX21" fmla="*/ 17836 w 28298"/>
                <a:gd name="connsiteY21" fmla="*/ 12436 h 35119"/>
                <a:gd name="connsiteX22" fmla="*/ 15245 w 28298"/>
                <a:gd name="connsiteY22" fmla="*/ 13530 h 35119"/>
                <a:gd name="connsiteX23" fmla="*/ 16740 w 28298"/>
                <a:gd name="connsiteY23" fmla="*/ 10148 h 35119"/>
                <a:gd name="connsiteX24" fmla="*/ 13252 w 28298"/>
                <a:gd name="connsiteY24" fmla="*/ 9750 h 35119"/>
                <a:gd name="connsiteX25" fmla="*/ 5181 w 28298"/>
                <a:gd name="connsiteY25" fmla="*/ 11441 h 35119"/>
                <a:gd name="connsiteX26" fmla="*/ 3886 w 28298"/>
                <a:gd name="connsiteY26" fmla="*/ 12137 h 35119"/>
                <a:gd name="connsiteX27" fmla="*/ 2491 w 28298"/>
                <a:gd name="connsiteY27" fmla="*/ 13729 h 35119"/>
                <a:gd name="connsiteX28" fmla="*/ 1096 w 28298"/>
                <a:gd name="connsiteY28" fmla="*/ 15620 h 35119"/>
                <a:gd name="connsiteX29" fmla="*/ 398 w 28298"/>
                <a:gd name="connsiteY29" fmla="*/ 16913 h 35119"/>
                <a:gd name="connsiteX30" fmla="*/ 0 w 28298"/>
                <a:gd name="connsiteY30" fmla="*/ 19301 h 35119"/>
                <a:gd name="connsiteX31" fmla="*/ 398 w 28298"/>
                <a:gd name="connsiteY31" fmla="*/ 20395 h 35119"/>
                <a:gd name="connsiteX32" fmla="*/ 1694 w 28298"/>
                <a:gd name="connsiteY32" fmla="*/ 20693 h 35119"/>
                <a:gd name="connsiteX33" fmla="*/ 3985 w 28298"/>
                <a:gd name="connsiteY33" fmla="*/ 20395 h 35119"/>
                <a:gd name="connsiteX34" fmla="*/ 2989 w 28298"/>
                <a:gd name="connsiteY34" fmla="*/ 21191 h 35119"/>
                <a:gd name="connsiteX35" fmla="*/ 2192 w 28298"/>
                <a:gd name="connsiteY35" fmla="*/ 22186 h 35119"/>
                <a:gd name="connsiteX36" fmla="*/ 1594 w 28298"/>
                <a:gd name="connsiteY36" fmla="*/ 23479 h 35119"/>
                <a:gd name="connsiteX37" fmla="*/ 1295 w 28298"/>
                <a:gd name="connsiteY37" fmla="*/ 24971 h 35119"/>
                <a:gd name="connsiteX38" fmla="*/ 2491 w 28298"/>
                <a:gd name="connsiteY38" fmla="*/ 24175 h 35119"/>
                <a:gd name="connsiteX39" fmla="*/ 4185 w 28298"/>
                <a:gd name="connsiteY39" fmla="*/ 23479 h 35119"/>
                <a:gd name="connsiteX40" fmla="*/ 5779 w 28298"/>
                <a:gd name="connsiteY40" fmla="*/ 23579 h 35119"/>
                <a:gd name="connsiteX41" fmla="*/ 6477 w 28298"/>
                <a:gd name="connsiteY41" fmla="*/ 25369 h 35119"/>
                <a:gd name="connsiteX42" fmla="*/ 5680 w 28298"/>
                <a:gd name="connsiteY42" fmla="*/ 26762 h 35119"/>
                <a:gd name="connsiteX43" fmla="*/ 398 w 28298"/>
                <a:gd name="connsiteY43" fmla="*/ 30543 h 35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298" h="35119">
                  <a:moveTo>
                    <a:pt x="398" y="30543"/>
                  </a:moveTo>
                  <a:lnTo>
                    <a:pt x="2391" y="31339"/>
                  </a:lnTo>
                  <a:lnTo>
                    <a:pt x="4285" y="31637"/>
                  </a:lnTo>
                  <a:lnTo>
                    <a:pt x="5779" y="32632"/>
                  </a:lnTo>
                  <a:lnTo>
                    <a:pt x="6477" y="35119"/>
                  </a:lnTo>
                  <a:lnTo>
                    <a:pt x="13452" y="29548"/>
                  </a:lnTo>
                  <a:lnTo>
                    <a:pt x="20427" y="22683"/>
                  </a:lnTo>
                  <a:lnTo>
                    <a:pt x="22918" y="19002"/>
                  </a:lnTo>
                  <a:lnTo>
                    <a:pt x="24213" y="16515"/>
                  </a:lnTo>
                  <a:lnTo>
                    <a:pt x="24712" y="14227"/>
                  </a:lnTo>
                  <a:lnTo>
                    <a:pt x="24911" y="11640"/>
                  </a:lnTo>
                  <a:lnTo>
                    <a:pt x="25509" y="8556"/>
                  </a:lnTo>
                  <a:lnTo>
                    <a:pt x="26306" y="5571"/>
                  </a:lnTo>
                  <a:lnTo>
                    <a:pt x="28000" y="1890"/>
                  </a:lnTo>
                  <a:lnTo>
                    <a:pt x="28299" y="1094"/>
                  </a:lnTo>
                  <a:lnTo>
                    <a:pt x="28199" y="0"/>
                  </a:lnTo>
                  <a:lnTo>
                    <a:pt x="24811" y="4576"/>
                  </a:lnTo>
                  <a:lnTo>
                    <a:pt x="23815" y="6964"/>
                  </a:lnTo>
                  <a:lnTo>
                    <a:pt x="24712" y="9053"/>
                  </a:lnTo>
                  <a:lnTo>
                    <a:pt x="22818" y="11740"/>
                  </a:lnTo>
                  <a:lnTo>
                    <a:pt x="20427" y="12336"/>
                  </a:lnTo>
                  <a:lnTo>
                    <a:pt x="17836" y="12436"/>
                  </a:lnTo>
                  <a:lnTo>
                    <a:pt x="15245" y="13530"/>
                  </a:lnTo>
                  <a:lnTo>
                    <a:pt x="16740" y="10148"/>
                  </a:lnTo>
                  <a:lnTo>
                    <a:pt x="13252" y="9750"/>
                  </a:lnTo>
                  <a:lnTo>
                    <a:pt x="5181" y="11441"/>
                  </a:lnTo>
                  <a:lnTo>
                    <a:pt x="3886" y="12137"/>
                  </a:lnTo>
                  <a:lnTo>
                    <a:pt x="2491" y="13729"/>
                  </a:lnTo>
                  <a:lnTo>
                    <a:pt x="1096" y="15620"/>
                  </a:lnTo>
                  <a:lnTo>
                    <a:pt x="398" y="16913"/>
                  </a:lnTo>
                  <a:lnTo>
                    <a:pt x="0" y="19301"/>
                  </a:lnTo>
                  <a:lnTo>
                    <a:pt x="398" y="20395"/>
                  </a:lnTo>
                  <a:lnTo>
                    <a:pt x="1694" y="20693"/>
                  </a:lnTo>
                  <a:lnTo>
                    <a:pt x="3985" y="20395"/>
                  </a:lnTo>
                  <a:lnTo>
                    <a:pt x="2989" y="21191"/>
                  </a:lnTo>
                  <a:lnTo>
                    <a:pt x="2192" y="22186"/>
                  </a:lnTo>
                  <a:lnTo>
                    <a:pt x="1594" y="23479"/>
                  </a:lnTo>
                  <a:lnTo>
                    <a:pt x="1295" y="24971"/>
                  </a:lnTo>
                  <a:lnTo>
                    <a:pt x="2491" y="24175"/>
                  </a:lnTo>
                  <a:lnTo>
                    <a:pt x="4185" y="23479"/>
                  </a:lnTo>
                  <a:lnTo>
                    <a:pt x="5779" y="23579"/>
                  </a:lnTo>
                  <a:lnTo>
                    <a:pt x="6477" y="25369"/>
                  </a:lnTo>
                  <a:lnTo>
                    <a:pt x="5680" y="26762"/>
                  </a:lnTo>
                  <a:lnTo>
                    <a:pt x="398" y="3054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A85BE5FA-E3F2-4EC5-B430-FA79A84D43B5}"/>
                </a:ext>
              </a:extLst>
            </p:cNvPr>
            <p:cNvSpPr/>
            <p:nvPr/>
          </p:nvSpPr>
          <p:spPr>
            <a:xfrm>
              <a:off x="5371744" y="687095"/>
              <a:ext cx="15345" cy="21489"/>
            </a:xfrm>
            <a:custGeom>
              <a:avLst/>
              <a:gdLst>
                <a:gd name="connsiteX0" fmla="*/ 15246 w 15345"/>
                <a:gd name="connsiteY0" fmla="*/ 8655 h 21489"/>
                <a:gd name="connsiteX1" fmla="*/ 14449 w 15345"/>
                <a:gd name="connsiteY1" fmla="*/ 5870 h 21489"/>
                <a:gd name="connsiteX2" fmla="*/ 13851 w 15345"/>
                <a:gd name="connsiteY2" fmla="*/ 2189 h 21489"/>
                <a:gd name="connsiteX3" fmla="*/ 10562 w 15345"/>
                <a:gd name="connsiteY3" fmla="*/ 0 h 21489"/>
                <a:gd name="connsiteX4" fmla="*/ 8569 w 15345"/>
                <a:gd name="connsiteY4" fmla="*/ 2189 h 21489"/>
                <a:gd name="connsiteX5" fmla="*/ 6078 w 15345"/>
                <a:gd name="connsiteY5" fmla="*/ 10247 h 21489"/>
                <a:gd name="connsiteX6" fmla="*/ 2093 w 15345"/>
                <a:gd name="connsiteY6" fmla="*/ 15719 h 21489"/>
                <a:gd name="connsiteX7" fmla="*/ 0 w 15345"/>
                <a:gd name="connsiteY7" fmla="*/ 19698 h 21489"/>
                <a:gd name="connsiteX8" fmla="*/ 399 w 15345"/>
                <a:gd name="connsiteY8" fmla="*/ 21489 h 21489"/>
                <a:gd name="connsiteX9" fmla="*/ 3288 w 15345"/>
                <a:gd name="connsiteY9" fmla="*/ 20892 h 21489"/>
                <a:gd name="connsiteX10" fmla="*/ 10861 w 15345"/>
                <a:gd name="connsiteY10" fmla="*/ 17410 h 21489"/>
                <a:gd name="connsiteX11" fmla="*/ 13452 w 15345"/>
                <a:gd name="connsiteY11" fmla="*/ 15321 h 21489"/>
                <a:gd name="connsiteX12" fmla="*/ 15346 w 15345"/>
                <a:gd name="connsiteY12" fmla="*/ 11640 h 21489"/>
                <a:gd name="connsiteX13" fmla="*/ 15246 w 15345"/>
                <a:gd name="connsiteY13" fmla="*/ 8655 h 21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345" h="21489">
                  <a:moveTo>
                    <a:pt x="15246" y="8655"/>
                  </a:moveTo>
                  <a:lnTo>
                    <a:pt x="14449" y="5870"/>
                  </a:lnTo>
                  <a:lnTo>
                    <a:pt x="13851" y="2189"/>
                  </a:lnTo>
                  <a:lnTo>
                    <a:pt x="10562" y="0"/>
                  </a:lnTo>
                  <a:lnTo>
                    <a:pt x="8569" y="2189"/>
                  </a:lnTo>
                  <a:lnTo>
                    <a:pt x="6078" y="10247"/>
                  </a:lnTo>
                  <a:lnTo>
                    <a:pt x="2093" y="15719"/>
                  </a:lnTo>
                  <a:lnTo>
                    <a:pt x="0" y="19698"/>
                  </a:lnTo>
                  <a:lnTo>
                    <a:pt x="399" y="21489"/>
                  </a:lnTo>
                  <a:lnTo>
                    <a:pt x="3288" y="20892"/>
                  </a:lnTo>
                  <a:lnTo>
                    <a:pt x="10861" y="17410"/>
                  </a:lnTo>
                  <a:lnTo>
                    <a:pt x="13452" y="15321"/>
                  </a:lnTo>
                  <a:lnTo>
                    <a:pt x="15346" y="11640"/>
                  </a:lnTo>
                  <a:lnTo>
                    <a:pt x="15246" y="865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7" name="Freeform: Shape 1336">
              <a:extLst>
                <a:ext uri="{FF2B5EF4-FFF2-40B4-BE49-F238E27FC236}">
                  <a16:creationId xmlns:a16="http://schemas.microsoft.com/office/drawing/2014/main" id="{1EFB760F-4A52-43E6-8BD8-5EE6001A2C69}"/>
                </a:ext>
              </a:extLst>
            </p:cNvPr>
            <p:cNvSpPr/>
            <p:nvPr/>
          </p:nvSpPr>
          <p:spPr>
            <a:xfrm>
              <a:off x="-2074657" y="441560"/>
              <a:ext cx="398" cy="596"/>
            </a:xfrm>
            <a:custGeom>
              <a:avLst/>
              <a:gdLst>
                <a:gd name="connsiteX0" fmla="*/ 399 w 398"/>
                <a:gd name="connsiteY0" fmla="*/ 597 h 596"/>
                <a:gd name="connsiteX1" fmla="*/ 100 w 398"/>
                <a:gd name="connsiteY1" fmla="*/ 0 h 596"/>
                <a:gd name="connsiteX2" fmla="*/ 0 w 398"/>
                <a:gd name="connsiteY2" fmla="*/ 99 h 596"/>
                <a:gd name="connsiteX3" fmla="*/ 399 w 398"/>
                <a:gd name="connsiteY3" fmla="*/ 597 h 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" h="596">
                  <a:moveTo>
                    <a:pt x="399" y="597"/>
                  </a:moveTo>
                  <a:lnTo>
                    <a:pt x="100" y="0"/>
                  </a:lnTo>
                  <a:lnTo>
                    <a:pt x="0" y="99"/>
                  </a:lnTo>
                  <a:lnTo>
                    <a:pt x="399" y="5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8" name="Freeform: Shape 1337">
              <a:extLst>
                <a:ext uri="{FF2B5EF4-FFF2-40B4-BE49-F238E27FC236}">
                  <a16:creationId xmlns:a16="http://schemas.microsoft.com/office/drawing/2014/main" id="{AC95AC22-A4C6-477D-A963-4EAD84710CCB}"/>
                </a:ext>
              </a:extLst>
            </p:cNvPr>
            <p:cNvSpPr/>
            <p:nvPr/>
          </p:nvSpPr>
          <p:spPr>
            <a:xfrm>
              <a:off x="-2073262" y="444247"/>
              <a:ext cx="1096" cy="4974"/>
            </a:xfrm>
            <a:custGeom>
              <a:avLst/>
              <a:gdLst>
                <a:gd name="connsiteX0" fmla="*/ 797 w 1096"/>
                <a:gd name="connsiteY0" fmla="*/ 4974 h 4974"/>
                <a:gd name="connsiteX1" fmla="*/ 897 w 1096"/>
                <a:gd name="connsiteY1" fmla="*/ 4775 h 4974"/>
                <a:gd name="connsiteX2" fmla="*/ 1096 w 1096"/>
                <a:gd name="connsiteY2" fmla="*/ 696 h 4974"/>
                <a:gd name="connsiteX3" fmla="*/ 598 w 1096"/>
                <a:gd name="connsiteY3" fmla="*/ 0 h 4974"/>
                <a:gd name="connsiteX4" fmla="*/ 0 w 1096"/>
                <a:gd name="connsiteY4" fmla="*/ 2885 h 4974"/>
                <a:gd name="connsiteX5" fmla="*/ 797 w 1096"/>
                <a:gd name="connsiteY5" fmla="*/ 4974 h 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6" h="4974">
                  <a:moveTo>
                    <a:pt x="797" y="4974"/>
                  </a:moveTo>
                  <a:lnTo>
                    <a:pt x="897" y="4775"/>
                  </a:lnTo>
                  <a:lnTo>
                    <a:pt x="1096" y="696"/>
                  </a:lnTo>
                  <a:lnTo>
                    <a:pt x="598" y="0"/>
                  </a:lnTo>
                  <a:lnTo>
                    <a:pt x="0" y="2885"/>
                  </a:lnTo>
                  <a:lnTo>
                    <a:pt x="797" y="497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9" name="Freeform: Shape 1338">
              <a:extLst>
                <a:ext uri="{FF2B5EF4-FFF2-40B4-BE49-F238E27FC236}">
                  <a16:creationId xmlns:a16="http://schemas.microsoft.com/office/drawing/2014/main" id="{4651F5EF-2BBA-443D-95C0-97DEE194024C}"/>
                </a:ext>
              </a:extLst>
            </p:cNvPr>
            <p:cNvSpPr/>
            <p:nvPr/>
          </p:nvSpPr>
          <p:spPr>
            <a:xfrm>
              <a:off x="-2089205" y="435492"/>
              <a:ext cx="16740" cy="17509"/>
            </a:xfrm>
            <a:custGeom>
              <a:avLst/>
              <a:gdLst>
                <a:gd name="connsiteX0" fmla="*/ 12655 w 16740"/>
                <a:gd name="connsiteY0" fmla="*/ 1293 h 17509"/>
                <a:gd name="connsiteX1" fmla="*/ 12057 w 16740"/>
                <a:gd name="connsiteY1" fmla="*/ 298 h 17509"/>
                <a:gd name="connsiteX2" fmla="*/ 10662 w 16740"/>
                <a:gd name="connsiteY2" fmla="*/ 0 h 17509"/>
                <a:gd name="connsiteX3" fmla="*/ 9466 w 16740"/>
                <a:gd name="connsiteY3" fmla="*/ 398 h 17509"/>
                <a:gd name="connsiteX4" fmla="*/ 8270 w 16740"/>
                <a:gd name="connsiteY4" fmla="*/ 995 h 17509"/>
                <a:gd name="connsiteX5" fmla="*/ 4883 w 16740"/>
                <a:gd name="connsiteY5" fmla="*/ 1890 h 17509"/>
                <a:gd name="connsiteX6" fmla="*/ 2192 w 16740"/>
                <a:gd name="connsiteY6" fmla="*/ 3482 h 17509"/>
                <a:gd name="connsiteX7" fmla="*/ 498 w 16740"/>
                <a:gd name="connsiteY7" fmla="*/ 5770 h 17509"/>
                <a:gd name="connsiteX8" fmla="*/ 1594 w 16740"/>
                <a:gd name="connsiteY8" fmla="*/ 8158 h 17509"/>
                <a:gd name="connsiteX9" fmla="*/ 1594 w 16740"/>
                <a:gd name="connsiteY9" fmla="*/ 9451 h 17509"/>
                <a:gd name="connsiteX10" fmla="*/ 0 w 16740"/>
                <a:gd name="connsiteY10" fmla="*/ 10745 h 17509"/>
                <a:gd name="connsiteX11" fmla="*/ 299 w 16740"/>
                <a:gd name="connsiteY11" fmla="*/ 12336 h 17509"/>
                <a:gd name="connsiteX12" fmla="*/ 996 w 16740"/>
                <a:gd name="connsiteY12" fmla="*/ 14028 h 17509"/>
                <a:gd name="connsiteX13" fmla="*/ 698 w 16740"/>
                <a:gd name="connsiteY13" fmla="*/ 16316 h 17509"/>
                <a:gd name="connsiteX14" fmla="*/ 2989 w 16740"/>
                <a:gd name="connsiteY14" fmla="*/ 16216 h 17509"/>
                <a:gd name="connsiteX15" fmla="*/ 4285 w 16740"/>
                <a:gd name="connsiteY15" fmla="*/ 15321 h 17509"/>
                <a:gd name="connsiteX16" fmla="*/ 5281 w 16740"/>
                <a:gd name="connsiteY16" fmla="*/ 14028 h 17509"/>
                <a:gd name="connsiteX17" fmla="*/ 6676 w 16740"/>
                <a:gd name="connsiteY17" fmla="*/ 12834 h 17509"/>
                <a:gd name="connsiteX18" fmla="*/ 8569 w 16740"/>
                <a:gd name="connsiteY18" fmla="*/ 12635 h 17509"/>
                <a:gd name="connsiteX19" fmla="*/ 10463 w 16740"/>
                <a:gd name="connsiteY19" fmla="*/ 13232 h 17509"/>
                <a:gd name="connsiteX20" fmla="*/ 11359 w 16740"/>
                <a:gd name="connsiteY20" fmla="*/ 14923 h 17509"/>
                <a:gd name="connsiteX21" fmla="*/ 10263 w 16740"/>
                <a:gd name="connsiteY21" fmla="*/ 17510 h 17509"/>
                <a:gd name="connsiteX22" fmla="*/ 14448 w 16740"/>
                <a:gd name="connsiteY22" fmla="*/ 16714 h 17509"/>
                <a:gd name="connsiteX23" fmla="*/ 16740 w 16740"/>
                <a:gd name="connsiteY23" fmla="*/ 13729 h 17509"/>
                <a:gd name="connsiteX24" fmla="*/ 15943 w 16740"/>
                <a:gd name="connsiteY24" fmla="*/ 11640 h 17509"/>
                <a:gd name="connsiteX25" fmla="*/ 16541 w 16740"/>
                <a:gd name="connsiteY25" fmla="*/ 8755 h 17509"/>
                <a:gd name="connsiteX26" fmla="*/ 14947 w 16740"/>
                <a:gd name="connsiteY26" fmla="*/ 6666 h 17509"/>
                <a:gd name="connsiteX27" fmla="*/ 14548 w 16740"/>
                <a:gd name="connsiteY27" fmla="*/ 6168 h 17509"/>
                <a:gd name="connsiteX28" fmla="*/ 14648 w 16740"/>
                <a:gd name="connsiteY28" fmla="*/ 6069 h 17509"/>
                <a:gd name="connsiteX29" fmla="*/ 14548 w 16740"/>
                <a:gd name="connsiteY29" fmla="*/ 5969 h 17509"/>
                <a:gd name="connsiteX30" fmla="*/ 12655 w 16740"/>
                <a:gd name="connsiteY30" fmla="*/ 1293 h 1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6740" h="17509">
                  <a:moveTo>
                    <a:pt x="12655" y="1293"/>
                  </a:moveTo>
                  <a:lnTo>
                    <a:pt x="12057" y="298"/>
                  </a:lnTo>
                  <a:lnTo>
                    <a:pt x="10662" y="0"/>
                  </a:lnTo>
                  <a:lnTo>
                    <a:pt x="9466" y="398"/>
                  </a:lnTo>
                  <a:lnTo>
                    <a:pt x="8270" y="995"/>
                  </a:lnTo>
                  <a:lnTo>
                    <a:pt x="4883" y="1890"/>
                  </a:lnTo>
                  <a:lnTo>
                    <a:pt x="2192" y="3482"/>
                  </a:lnTo>
                  <a:lnTo>
                    <a:pt x="498" y="5770"/>
                  </a:lnTo>
                  <a:lnTo>
                    <a:pt x="1594" y="8158"/>
                  </a:lnTo>
                  <a:lnTo>
                    <a:pt x="1594" y="9451"/>
                  </a:lnTo>
                  <a:lnTo>
                    <a:pt x="0" y="10745"/>
                  </a:lnTo>
                  <a:lnTo>
                    <a:pt x="299" y="12336"/>
                  </a:lnTo>
                  <a:lnTo>
                    <a:pt x="996" y="14028"/>
                  </a:lnTo>
                  <a:lnTo>
                    <a:pt x="698" y="16316"/>
                  </a:lnTo>
                  <a:lnTo>
                    <a:pt x="2989" y="16216"/>
                  </a:lnTo>
                  <a:lnTo>
                    <a:pt x="4285" y="15321"/>
                  </a:lnTo>
                  <a:lnTo>
                    <a:pt x="5281" y="14028"/>
                  </a:lnTo>
                  <a:lnTo>
                    <a:pt x="6676" y="12834"/>
                  </a:lnTo>
                  <a:lnTo>
                    <a:pt x="8569" y="12635"/>
                  </a:lnTo>
                  <a:lnTo>
                    <a:pt x="10463" y="13232"/>
                  </a:lnTo>
                  <a:lnTo>
                    <a:pt x="11359" y="14923"/>
                  </a:lnTo>
                  <a:lnTo>
                    <a:pt x="10263" y="17510"/>
                  </a:lnTo>
                  <a:lnTo>
                    <a:pt x="14448" y="16714"/>
                  </a:lnTo>
                  <a:lnTo>
                    <a:pt x="16740" y="13729"/>
                  </a:lnTo>
                  <a:lnTo>
                    <a:pt x="15943" y="11640"/>
                  </a:lnTo>
                  <a:lnTo>
                    <a:pt x="16541" y="8755"/>
                  </a:lnTo>
                  <a:lnTo>
                    <a:pt x="14947" y="6666"/>
                  </a:lnTo>
                  <a:lnTo>
                    <a:pt x="14548" y="6168"/>
                  </a:lnTo>
                  <a:lnTo>
                    <a:pt x="14648" y="6069"/>
                  </a:lnTo>
                  <a:lnTo>
                    <a:pt x="14548" y="5969"/>
                  </a:lnTo>
                  <a:lnTo>
                    <a:pt x="12655" y="12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C7220A08-9461-49B9-A7C3-796A2A52DEB2}"/>
                </a:ext>
              </a:extLst>
            </p:cNvPr>
            <p:cNvSpPr/>
            <p:nvPr/>
          </p:nvSpPr>
          <p:spPr>
            <a:xfrm>
              <a:off x="-2407170" y="277804"/>
              <a:ext cx="28697" cy="11242"/>
            </a:xfrm>
            <a:custGeom>
              <a:avLst/>
              <a:gdLst>
                <a:gd name="connsiteX0" fmla="*/ 14448 w 28697"/>
                <a:gd name="connsiteY0" fmla="*/ 895 h 11242"/>
                <a:gd name="connsiteX1" fmla="*/ 9765 w 28697"/>
                <a:gd name="connsiteY1" fmla="*/ 2288 h 11242"/>
                <a:gd name="connsiteX2" fmla="*/ 3388 w 28697"/>
                <a:gd name="connsiteY2" fmla="*/ 5074 h 11242"/>
                <a:gd name="connsiteX3" fmla="*/ 1495 w 28697"/>
                <a:gd name="connsiteY3" fmla="*/ 5372 h 11242"/>
                <a:gd name="connsiteX4" fmla="*/ 0 w 28697"/>
                <a:gd name="connsiteY4" fmla="*/ 6168 h 11242"/>
                <a:gd name="connsiteX5" fmla="*/ 2093 w 28697"/>
                <a:gd name="connsiteY5" fmla="*/ 8456 h 11242"/>
                <a:gd name="connsiteX6" fmla="*/ 7473 w 28697"/>
                <a:gd name="connsiteY6" fmla="*/ 9849 h 11242"/>
                <a:gd name="connsiteX7" fmla="*/ 11858 w 28697"/>
                <a:gd name="connsiteY7" fmla="*/ 9949 h 11242"/>
                <a:gd name="connsiteX8" fmla="*/ 17936 w 28697"/>
                <a:gd name="connsiteY8" fmla="*/ 11143 h 11242"/>
                <a:gd name="connsiteX9" fmla="*/ 20427 w 28697"/>
                <a:gd name="connsiteY9" fmla="*/ 11242 h 11242"/>
                <a:gd name="connsiteX10" fmla="*/ 22819 w 28697"/>
                <a:gd name="connsiteY10" fmla="*/ 10645 h 11242"/>
                <a:gd name="connsiteX11" fmla="*/ 26505 w 28697"/>
                <a:gd name="connsiteY11" fmla="*/ 9352 h 11242"/>
                <a:gd name="connsiteX12" fmla="*/ 27402 w 28697"/>
                <a:gd name="connsiteY12" fmla="*/ 8954 h 11242"/>
                <a:gd name="connsiteX13" fmla="*/ 28698 w 28697"/>
                <a:gd name="connsiteY13" fmla="*/ 7860 h 11242"/>
                <a:gd name="connsiteX14" fmla="*/ 28199 w 28697"/>
                <a:gd name="connsiteY14" fmla="*/ 6467 h 11242"/>
                <a:gd name="connsiteX15" fmla="*/ 26505 w 28697"/>
                <a:gd name="connsiteY15" fmla="*/ 5372 h 11242"/>
                <a:gd name="connsiteX16" fmla="*/ 25509 w 28697"/>
                <a:gd name="connsiteY16" fmla="*/ 4477 h 11242"/>
                <a:gd name="connsiteX17" fmla="*/ 25210 w 28697"/>
                <a:gd name="connsiteY17" fmla="*/ 3582 h 11242"/>
                <a:gd name="connsiteX18" fmla="*/ 24712 w 28697"/>
                <a:gd name="connsiteY18" fmla="*/ 2686 h 11242"/>
                <a:gd name="connsiteX19" fmla="*/ 21822 w 28697"/>
                <a:gd name="connsiteY19" fmla="*/ 398 h 11242"/>
                <a:gd name="connsiteX20" fmla="*/ 20327 w 28697"/>
                <a:gd name="connsiteY20" fmla="*/ 0 h 11242"/>
                <a:gd name="connsiteX21" fmla="*/ 19530 w 28697"/>
                <a:gd name="connsiteY21" fmla="*/ 100 h 11242"/>
                <a:gd name="connsiteX22" fmla="*/ 14448 w 28697"/>
                <a:gd name="connsiteY22" fmla="*/ 895 h 11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8697" h="11242">
                  <a:moveTo>
                    <a:pt x="14448" y="895"/>
                  </a:moveTo>
                  <a:lnTo>
                    <a:pt x="9765" y="2288"/>
                  </a:lnTo>
                  <a:lnTo>
                    <a:pt x="3388" y="5074"/>
                  </a:lnTo>
                  <a:lnTo>
                    <a:pt x="1495" y="5372"/>
                  </a:lnTo>
                  <a:lnTo>
                    <a:pt x="0" y="6168"/>
                  </a:lnTo>
                  <a:lnTo>
                    <a:pt x="2093" y="8456"/>
                  </a:lnTo>
                  <a:lnTo>
                    <a:pt x="7473" y="9849"/>
                  </a:lnTo>
                  <a:lnTo>
                    <a:pt x="11858" y="9949"/>
                  </a:lnTo>
                  <a:lnTo>
                    <a:pt x="17936" y="11143"/>
                  </a:lnTo>
                  <a:lnTo>
                    <a:pt x="20427" y="11242"/>
                  </a:lnTo>
                  <a:lnTo>
                    <a:pt x="22819" y="10645"/>
                  </a:lnTo>
                  <a:lnTo>
                    <a:pt x="26505" y="9352"/>
                  </a:lnTo>
                  <a:lnTo>
                    <a:pt x="27402" y="8954"/>
                  </a:lnTo>
                  <a:lnTo>
                    <a:pt x="28698" y="7860"/>
                  </a:lnTo>
                  <a:lnTo>
                    <a:pt x="28199" y="6467"/>
                  </a:lnTo>
                  <a:lnTo>
                    <a:pt x="26505" y="5372"/>
                  </a:lnTo>
                  <a:lnTo>
                    <a:pt x="25509" y="4477"/>
                  </a:lnTo>
                  <a:lnTo>
                    <a:pt x="25210" y="3582"/>
                  </a:lnTo>
                  <a:lnTo>
                    <a:pt x="24712" y="2686"/>
                  </a:lnTo>
                  <a:lnTo>
                    <a:pt x="21822" y="398"/>
                  </a:lnTo>
                  <a:lnTo>
                    <a:pt x="20327" y="0"/>
                  </a:lnTo>
                  <a:lnTo>
                    <a:pt x="19530" y="100"/>
                  </a:lnTo>
                  <a:lnTo>
                    <a:pt x="14448" y="8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1" name="Freeform: Shape 1340">
              <a:extLst>
                <a:ext uri="{FF2B5EF4-FFF2-40B4-BE49-F238E27FC236}">
                  <a16:creationId xmlns:a16="http://schemas.microsoft.com/office/drawing/2014/main" id="{24EC797F-B087-4208-A21C-EFB0AF11B1CC}"/>
                </a:ext>
              </a:extLst>
            </p:cNvPr>
            <p:cNvSpPr/>
            <p:nvPr/>
          </p:nvSpPr>
          <p:spPr>
            <a:xfrm>
              <a:off x="-2387640" y="277705"/>
              <a:ext cx="797" cy="198"/>
            </a:xfrm>
            <a:custGeom>
              <a:avLst/>
              <a:gdLst>
                <a:gd name="connsiteX0" fmla="*/ 0 w 797"/>
                <a:gd name="connsiteY0" fmla="*/ 199 h 198"/>
                <a:gd name="connsiteX1" fmla="*/ 797 w 797"/>
                <a:gd name="connsiteY1" fmla="*/ 99 h 198"/>
                <a:gd name="connsiteX2" fmla="*/ 698 w 797"/>
                <a:gd name="connsiteY2" fmla="*/ 0 h 198"/>
                <a:gd name="connsiteX3" fmla="*/ 0 w 797"/>
                <a:gd name="connsiteY3" fmla="*/ 199 h 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7" h="198">
                  <a:moveTo>
                    <a:pt x="0" y="199"/>
                  </a:moveTo>
                  <a:lnTo>
                    <a:pt x="797" y="99"/>
                  </a:lnTo>
                  <a:lnTo>
                    <a:pt x="698" y="0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2" name="Freeform: Shape 1341">
              <a:extLst>
                <a:ext uri="{FF2B5EF4-FFF2-40B4-BE49-F238E27FC236}">
                  <a16:creationId xmlns:a16="http://schemas.microsoft.com/office/drawing/2014/main" id="{0E148030-54E6-4D89-A194-26D9AE1886B1}"/>
                </a:ext>
              </a:extLst>
            </p:cNvPr>
            <p:cNvSpPr/>
            <p:nvPr/>
          </p:nvSpPr>
          <p:spPr>
            <a:xfrm>
              <a:off x="-2329049" y="308446"/>
              <a:ext cx="23914" cy="51037"/>
            </a:xfrm>
            <a:custGeom>
              <a:avLst/>
              <a:gdLst>
                <a:gd name="connsiteX0" fmla="*/ 15544 w 23914"/>
                <a:gd name="connsiteY0" fmla="*/ 38203 h 51037"/>
                <a:gd name="connsiteX1" fmla="*/ 16342 w 23914"/>
                <a:gd name="connsiteY1" fmla="*/ 39695 h 51037"/>
                <a:gd name="connsiteX2" fmla="*/ 19032 w 23914"/>
                <a:gd name="connsiteY2" fmla="*/ 42879 h 51037"/>
                <a:gd name="connsiteX3" fmla="*/ 19730 w 23914"/>
                <a:gd name="connsiteY3" fmla="*/ 44570 h 51037"/>
                <a:gd name="connsiteX4" fmla="*/ 20527 w 23914"/>
                <a:gd name="connsiteY4" fmla="*/ 48251 h 51037"/>
                <a:gd name="connsiteX5" fmla="*/ 21623 w 23914"/>
                <a:gd name="connsiteY5" fmla="*/ 49843 h 51037"/>
                <a:gd name="connsiteX6" fmla="*/ 23516 w 23914"/>
                <a:gd name="connsiteY6" fmla="*/ 51037 h 51037"/>
                <a:gd name="connsiteX7" fmla="*/ 23915 w 23914"/>
                <a:gd name="connsiteY7" fmla="*/ 49346 h 51037"/>
                <a:gd name="connsiteX8" fmla="*/ 22520 w 23914"/>
                <a:gd name="connsiteY8" fmla="*/ 42879 h 51037"/>
                <a:gd name="connsiteX9" fmla="*/ 22021 w 23914"/>
                <a:gd name="connsiteY9" fmla="*/ 37407 h 51037"/>
                <a:gd name="connsiteX10" fmla="*/ 21623 w 23914"/>
                <a:gd name="connsiteY10" fmla="*/ 35915 h 51037"/>
                <a:gd name="connsiteX11" fmla="*/ 20626 w 23914"/>
                <a:gd name="connsiteY11" fmla="*/ 34423 h 51037"/>
                <a:gd name="connsiteX12" fmla="*/ 19630 w 23914"/>
                <a:gd name="connsiteY12" fmla="*/ 33726 h 51037"/>
                <a:gd name="connsiteX13" fmla="*/ 18534 w 23914"/>
                <a:gd name="connsiteY13" fmla="*/ 33328 h 51037"/>
                <a:gd name="connsiteX14" fmla="*/ 17338 w 23914"/>
                <a:gd name="connsiteY14" fmla="*/ 32433 h 51037"/>
                <a:gd name="connsiteX15" fmla="*/ 15345 w 23914"/>
                <a:gd name="connsiteY15" fmla="*/ 29448 h 51037"/>
                <a:gd name="connsiteX16" fmla="*/ 15744 w 23914"/>
                <a:gd name="connsiteY16" fmla="*/ 27558 h 51037"/>
                <a:gd name="connsiteX17" fmla="*/ 17637 w 23914"/>
                <a:gd name="connsiteY17" fmla="*/ 26364 h 51037"/>
                <a:gd name="connsiteX18" fmla="*/ 20826 w 23914"/>
                <a:gd name="connsiteY18" fmla="*/ 25469 h 51037"/>
                <a:gd name="connsiteX19" fmla="*/ 20028 w 23914"/>
                <a:gd name="connsiteY19" fmla="*/ 23081 h 51037"/>
                <a:gd name="connsiteX20" fmla="*/ 20925 w 23914"/>
                <a:gd name="connsiteY20" fmla="*/ 21390 h 51037"/>
                <a:gd name="connsiteX21" fmla="*/ 22420 w 23914"/>
                <a:gd name="connsiteY21" fmla="*/ 19699 h 51037"/>
                <a:gd name="connsiteX22" fmla="*/ 23416 w 23914"/>
                <a:gd name="connsiteY22" fmla="*/ 17211 h 51037"/>
                <a:gd name="connsiteX23" fmla="*/ 23217 w 23914"/>
                <a:gd name="connsiteY23" fmla="*/ 15023 h 51037"/>
                <a:gd name="connsiteX24" fmla="*/ 22520 w 23914"/>
                <a:gd name="connsiteY24" fmla="*/ 12734 h 51037"/>
                <a:gd name="connsiteX25" fmla="*/ 21423 w 23914"/>
                <a:gd name="connsiteY25" fmla="*/ 11043 h 51037"/>
                <a:gd name="connsiteX26" fmla="*/ 19132 w 23914"/>
                <a:gd name="connsiteY26" fmla="*/ 9650 h 51037"/>
                <a:gd name="connsiteX27" fmla="*/ 16940 w 23914"/>
                <a:gd name="connsiteY27" fmla="*/ 6367 h 51037"/>
                <a:gd name="connsiteX28" fmla="*/ 15046 w 23914"/>
                <a:gd name="connsiteY28" fmla="*/ 5671 h 51037"/>
                <a:gd name="connsiteX29" fmla="*/ 14448 w 23914"/>
                <a:gd name="connsiteY29" fmla="*/ 4875 h 51037"/>
                <a:gd name="connsiteX30" fmla="*/ 12954 w 23914"/>
                <a:gd name="connsiteY30" fmla="*/ 1194 h 51037"/>
                <a:gd name="connsiteX31" fmla="*/ 10861 w 23914"/>
                <a:gd name="connsiteY31" fmla="*/ 0 h 51037"/>
                <a:gd name="connsiteX32" fmla="*/ 7473 w 23914"/>
                <a:gd name="connsiteY32" fmla="*/ 497 h 51037"/>
                <a:gd name="connsiteX33" fmla="*/ 3886 w 23914"/>
                <a:gd name="connsiteY33" fmla="*/ 1791 h 51037"/>
                <a:gd name="connsiteX34" fmla="*/ 1694 w 23914"/>
                <a:gd name="connsiteY34" fmla="*/ 3383 h 51037"/>
                <a:gd name="connsiteX35" fmla="*/ 598 w 23914"/>
                <a:gd name="connsiteY35" fmla="*/ 5571 h 51037"/>
                <a:gd name="connsiteX36" fmla="*/ 0 w 23914"/>
                <a:gd name="connsiteY36" fmla="*/ 8954 h 51037"/>
                <a:gd name="connsiteX37" fmla="*/ 0 w 23914"/>
                <a:gd name="connsiteY37" fmla="*/ 12635 h 51037"/>
                <a:gd name="connsiteX38" fmla="*/ 1794 w 23914"/>
                <a:gd name="connsiteY38" fmla="*/ 17012 h 51037"/>
                <a:gd name="connsiteX39" fmla="*/ 2491 w 23914"/>
                <a:gd name="connsiteY39" fmla="*/ 21788 h 51037"/>
                <a:gd name="connsiteX40" fmla="*/ 2491 w 23914"/>
                <a:gd name="connsiteY40" fmla="*/ 23678 h 51037"/>
                <a:gd name="connsiteX41" fmla="*/ 3189 w 23914"/>
                <a:gd name="connsiteY41" fmla="*/ 25568 h 51037"/>
                <a:gd name="connsiteX42" fmla="*/ 4683 w 23914"/>
                <a:gd name="connsiteY42" fmla="*/ 26862 h 51037"/>
                <a:gd name="connsiteX43" fmla="*/ 6278 w 23914"/>
                <a:gd name="connsiteY43" fmla="*/ 27657 h 51037"/>
                <a:gd name="connsiteX44" fmla="*/ 6975 w 23914"/>
                <a:gd name="connsiteY44" fmla="*/ 28354 h 51037"/>
                <a:gd name="connsiteX45" fmla="*/ 8370 w 23914"/>
                <a:gd name="connsiteY45" fmla="*/ 30145 h 51037"/>
                <a:gd name="connsiteX46" fmla="*/ 15046 w 23914"/>
                <a:gd name="connsiteY46" fmla="*/ 34721 h 51037"/>
                <a:gd name="connsiteX47" fmla="*/ 17338 w 23914"/>
                <a:gd name="connsiteY47" fmla="*/ 37109 h 51037"/>
                <a:gd name="connsiteX48" fmla="*/ 16043 w 23914"/>
                <a:gd name="connsiteY48" fmla="*/ 37905 h 51037"/>
                <a:gd name="connsiteX49" fmla="*/ 15544 w 23914"/>
                <a:gd name="connsiteY49" fmla="*/ 38203 h 51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3914" h="51037">
                  <a:moveTo>
                    <a:pt x="15544" y="38203"/>
                  </a:moveTo>
                  <a:lnTo>
                    <a:pt x="16342" y="39695"/>
                  </a:lnTo>
                  <a:lnTo>
                    <a:pt x="19032" y="42879"/>
                  </a:lnTo>
                  <a:lnTo>
                    <a:pt x="19730" y="44570"/>
                  </a:lnTo>
                  <a:lnTo>
                    <a:pt x="20527" y="48251"/>
                  </a:lnTo>
                  <a:lnTo>
                    <a:pt x="21623" y="49843"/>
                  </a:lnTo>
                  <a:lnTo>
                    <a:pt x="23516" y="51037"/>
                  </a:lnTo>
                  <a:lnTo>
                    <a:pt x="23915" y="49346"/>
                  </a:lnTo>
                  <a:lnTo>
                    <a:pt x="22520" y="42879"/>
                  </a:lnTo>
                  <a:lnTo>
                    <a:pt x="22021" y="37407"/>
                  </a:lnTo>
                  <a:lnTo>
                    <a:pt x="21623" y="35915"/>
                  </a:lnTo>
                  <a:lnTo>
                    <a:pt x="20626" y="34423"/>
                  </a:lnTo>
                  <a:lnTo>
                    <a:pt x="19630" y="33726"/>
                  </a:lnTo>
                  <a:lnTo>
                    <a:pt x="18534" y="33328"/>
                  </a:lnTo>
                  <a:lnTo>
                    <a:pt x="17338" y="32433"/>
                  </a:lnTo>
                  <a:lnTo>
                    <a:pt x="15345" y="29448"/>
                  </a:lnTo>
                  <a:lnTo>
                    <a:pt x="15744" y="27558"/>
                  </a:lnTo>
                  <a:lnTo>
                    <a:pt x="17637" y="26364"/>
                  </a:lnTo>
                  <a:lnTo>
                    <a:pt x="20826" y="25469"/>
                  </a:lnTo>
                  <a:lnTo>
                    <a:pt x="20028" y="23081"/>
                  </a:lnTo>
                  <a:lnTo>
                    <a:pt x="20925" y="21390"/>
                  </a:lnTo>
                  <a:lnTo>
                    <a:pt x="22420" y="19699"/>
                  </a:lnTo>
                  <a:lnTo>
                    <a:pt x="23416" y="17211"/>
                  </a:lnTo>
                  <a:lnTo>
                    <a:pt x="23217" y="15023"/>
                  </a:lnTo>
                  <a:lnTo>
                    <a:pt x="22520" y="12734"/>
                  </a:lnTo>
                  <a:lnTo>
                    <a:pt x="21423" y="11043"/>
                  </a:lnTo>
                  <a:lnTo>
                    <a:pt x="19132" y="9650"/>
                  </a:lnTo>
                  <a:lnTo>
                    <a:pt x="16940" y="6367"/>
                  </a:lnTo>
                  <a:lnTo>
                    <a:pt x="15046" y="5671"/>
                  </a:lnTo>
                  <a:lnTo>
                    <a:pt x="14448" y="4875"/>
                  </a:lnTo>
                  <a:lnTo>
                    <a:pt x="12954" y="1194"/>
                  </a:lnTo>
                  <a:lnTo>
                    <a:pt x="10861" y="0"/>
                  </a:lnTo>
                  <a:lnTo>
                    <a:pt x="7473" y="497"/>
                  </a:lnTo>
                  <a:lnTo>
                    <a:pt x="3886" y="1791"/>
                  </a:lnTo>
                  <a:lnTo>
                    <a:pt x="1694" y="3383"/>
                  </a:lnTo>
                  <a:lnTo>
                    <a:pt x="598" y="5571"/>
                  </a:lnTo>
                  <a:lnTo>
                    <a:pt x="0" y="8954"/>
                  </a:lnTo>
                  <a:lnTo>
                    <a:pt x="0" y="12635"/>
                  </a:lnTo>
                  <a:lnTo>
                    <a:pt x="1794" y="17012"/>
                  </a:lnTo>
                  <a:lnTo>
                    <a:pt x="2491" y="21788"/>
                  </a:lnTo>
                  <a:lnTo>
                    <a:pt x="2491" y="23678"/>
                  </a:lnTo>
                  <a:lnTo>
                    <a:pt x="3189" y="25568"/>
                  </a:lnTo>
                  <a:lnTo>
                    <a:pt x="4683" y="26862"/>
                  </a:lnTo>
                  <a:lnTo>
                    <a:pt x="6278" y="27657"/>
                  </a:lnTo>
                  <a:lnTo>
                    <a:pt x="6975" y="28354"/>
                  </a:lnTo>
                  <a:lnTo>
                    <a:pt x="8370" y="30145"/>
                  </a:lnTo>
                  <a:lnTo>
                    <a:pt x="15046" y="34721"/>
                  </a:lnTo>
                  <a:lnTo>
                    <a:pt x="17338" y="37109"/>
                  </a:lnTo>
                  <a:lnTo>
                    <a:pt x="16043" y="37905"/>
                  </a:lnTo>
                  <a:lnTo>
                    <a:pt x="15544" y="3820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3" name="Freeform: Shape 1342">
              <a:extLst>
                <a:ext uri="{FF2B5EF4-FFF2-40B4-BE49-F238E27FC236}">
                  <a16:creationId xmlns:a16="http://schemas.microsoft.com/office/drawing/2014/main" id="{C8C63884-6F1C-4E96-B302-9D45E497BEF2}"/>
                </a:ext>
              </a:extLst>
            </p:cNvPr>
            <p:cNvSpPr/>
            <p:nvPr/>
          </p:nvSpPr>
          <p:spPr>
            <a:xfrm>
              <a:off x="-2384052" y="283276"/>
              <a:ext cx="35572" cy="11043"/>
            </a:xfrm>
            <a:custGeom>
              <a:avLst/>
              <a:gdLst>
                <a:gd name="connsiteX0" fmla="*/ 29694 w 35572"/>
                <a:gd name="connsiteY0" fmla="*/ 398 h 11043"/>
                <a:gd name="connsiteX1" fmla="*/ 28996 w 35572"/>
                <a:gd name="connsiteY1" fmla="*/ 0 h 11043"/>
                <a:gd name="connsiteX2" fmla="*/ 24114 w 35572"/>
                <a:gd name="connsiteY2" fmla="*/ 796 h 11043"/>
                <a:gd name="connsiteX3" fmla="*/ 22221 w 35572"/>
                <a:gd name="connsiteY3" fmla="*/ 1393 h 11043"/>
                <a:gd name="connsiteX4" fmla="*/ 21224 w 35572"/>
                <a:gd name="connsiteY4" fmla="*/ 2089 h 11043"/>
                <a:gd name="connsiteX5" fmla="*/ 18633 w 35572"/>
                <a:gd name="connsiteY5" fmla="*/ 2885 h 11043"/>
                <a:gd name="connsiteX6" fmla="*/ 16043 w 35572"/>
                <a:gd name="connsiteY6" fmla="*/ 4178 h 11043"/>
                <a:gd name="connsiteX7" fmla="*/ 12057 w 35572"/>
                <a:gd name="connsiteY7" fmla="*/ 5472 h 11043"/>
                <a:gd name="connsiteX8" fmla="*/ 6078 w 35572"/>
                <a:gd name="connsiteY8" fmla="*/ 5372 h 11043"/>
                <a:gd name="connsiteX9" fmla="*/ 1395 w 35572"/>
                <a:gd name="connsiteY9" fmla="*/ 6566 h 11043"/>
                <a:gd name="connsiteX10" fmla="*/ 498 w 35572"/>
                <a:gd name="connsiteY10" fmla="*/ 6964 h 11043"/>
                <a:gd name="connsiteX11" fmla="*/ 0 w 35572"/>
                <a:gd name="connsiteY11" fmla="*/ 7660 h 11043"/>
                <a:gd name="connsiteX12" fmla="*/ 100 w 35572"/>
                <a:gd name="connsiteY12" fmla="*/ 8357 h 11043"/>
                <a:gd name="connsiteX13" fmla="*/ 199 w 35572"/>
                <a:gd name="connsiteY13" fmla="*/ 9053 h 11043"/>
                <a:gd name="connsiteX14" fmla="*/ 299 w 35572"/>
                <a:gd name="connsiteY14" fmla="*/ 9650 h 11043"/>
                <a:gd name="connsiteX15" fmla="*/ 1594 w 35572"/>
                <a:gd name="connsiteY15" fmla="*/ 10446 h 11043"/>
                <a:gd name="connsiteX16" fmla="*/ 2093 w 35572"/>
                <a:gd name="connsiteY16" fmla="*/ 10645 h 11043"/>
                <a:gd name="connsiteX17" fmla="*/ 4982 w 35572"/>
                <a:gd name="connsiteY17" fmla="*/ 11043 h 11043"/>
                <a:gd name="connsiteX18" fmla="*/ 18633 w 35572"/>
                <a:gd name="connsiteY18" fmla="*/ 10148 h 11043"/>
                <a:gd name="connsiteX19" fmla="*/ 20527 w 35572"/>
                <a:gd name="connsiteY19" fmla="*/ 9153 h 11043"/>
                <a:gd name="connsiteX20" fmla="*/ 22021 w 35572"/>
                <a:gd name="connsiteY20" fmla="*/ 8755 h 11043"/>
                <a:gd name="connsiteX21" fmla="*/ 24214 w 35572"/>
                <a:gd name="connsiteY21" fmla="*/ 9252 h 11043"/>
                <a:gd name="connsiteX22" fmla="*/ 35473 w 35572"/>
                <a:gd name="connsiteY22" fmla="*/ 6367 h 11043"/>
                <a:gd name="connsiteX23" fmla="*/ 35573 w 35572"/>
                <a:gd name="connsiteY23" fmla="*/ 4875 h 11043"/>
                <a:gd name="connsiteX24" fmla="*/ 34975 w 35572"/>
                <a:gd name="connsiteY24" fmla="*/ 1990 h 11043"/>
                <a:gd name="connsiteX25" fmla="*/ 33381 w 35572"/>
                <a:gd name="connsiteY25" fmla="*/ 597 h 11043"/>
                <a:gd name="connsiteX26" fmla="*/ 30491 w 35572"/>
                <a:gd name="connsiteY26" fmla="*/ 796 h 11043"/>
                <a:gd name="connsiteX27" fmla="*/ 29694 w 35572"/>
                <a:gd name="connsiteY27" fmla="*/ 398 h 11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5572" h="11043">
                  <a:moveTo>
                    <a:pt x="29694" y="398"/>
                  </a:moveTo>
                  <a:lnTo>
                    <a:pt x="28996" y="0"/>
                  </a:lnTo>
                  <a:lnTo>
                    <a:pt x="24114" y="796"/>
                  </a:lnTo>
                  <a:lnTo>
                    <a:pt x="22221" y="1393"/>
                  </a:lnTo>
                  <a:lnTo>
                    <a:pt x="21224" y="2089"/>
                  </a:lnTo>
                  <a:lnTo>
                    <a:pt x="18633" y="2885"/>
                  </a:lnTo>
                  <a:lnTo>
                    <a:pt x="16043" y="4178"/>
                  </a:lnTo>
                  <a:lnTo>
                    <a:pt x="12057" y="5472"/>
                  </a:lnTo>
                  <a:lnTo>
                    <a:pt x="6078" y="5372"/>
                  </a:lnTo>
                  <a:lnTo>
                    <a:pt x="1395" y="6566"/>
                  </a:lnTo>
                  <a:lnTo>
                    <a:pt x="498" y="6964"/>
                  </a:lnTo>
                  <a:lnTo>
                    <a:pt x="0" y="7660"/>
                  </a:lnTo>
                  <a:lnTo>
                    <a:pt x="100" y="8357"/>
                  </a:lnTo>
                  <a:lnTo>
                    <a:pt x="199" y="9053"/>
                  </a:lnTo>
                  <a:lnTo>
                    <a:pt x="299" y="9650"/>
                  </a:lnTo>
                  <a:lnTo>
                    <a:pt x="1594" y="10446"/>
                  </a:lnTo>
                  <a:lnTo>
                    <a:pt x="2093" y="10645"/>
                  </a:lnTo>
                  <a:lnTo>
                    <a:pt x="4982" y="11043"/>
                  </a:lnTo>
                  <a:lnTo>
                    <a:pt x="18633" y="10148"/>
                  </a:lnTo>
                  <a:lnTo>
                    <a:pt x="20527" y="9153"/>
                  </a:lnTo>
                  <a:lnTo>
                    <a:pt x="22021" y="8755"/>
                  </a:lnTo>
                  <a:lnTo>
                    <a:pt x="24214" y="9252"/>
                  </a:lnTo>
                  <a:lnTo>
                    <a:pt x="35473" y="6367"/>
                  </a:lnTo>
                  <a:lnTo>
                    <a:pt x="35573" y="4875"/>
                  </a:lnTo>
                  <a:lnTo>
                    <a:pt x="34975" y="1990"/>
                  </a:lnTo>
                  <a:lnTo>
                    <a:pt x="33381" y="597"/>
                  </a:lnTo>
                  <a:lnTo>
                    <a:pt x="30491" y="796"/>
                  </a:lnTo>
                  <a:lnTo>
                    <a:pt x="29694" y="3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4" name="Freeform: Shape 1343">
              <a:extLst>
                <a:ext uri="{FF2B5EF4-FFF2-40B4-BE49-F238E27FC236}">
                  <a16:creationId xmlns:a16="http://schemas.microsoft.com/office/drawing/2014/main" id="{EFE64D75-3EA3-426F-A1E6-07097AC6832E}"/>
                </a:ext>
              </a:extLst>
            </p:cNvPr>
            <p:cNvSpPr/>
            <p:nvPr/>
          </p:nvSpPr>
          <p:spPr>
            <a:xfrm>
              <a:off x="-2355056" y="283176"/>
              <a:ext cx="4384" cy="895"/>
            </a:xfrm>
            <a:custGeom>
              <a:avLst/>
              <a:gdLst>
                <a:gd name="connsiteX0" fmla="*/ 897 w 4384"/>
                <a:gd name="connsiteY0" fmla="*/ 0 h 895"/>
                <a:gd name="connsiteX1" fmla="*/ 0 w 4384"/>
                <a:gd name="connsiteY1" fmla="*/ 100 h 895"/>
                <a:gd name="connsiteX2" fmla="*/ 698 w 4384"/>
                <a:gd name="connsiteY2" fmla="*/ 497 h 895"/>
                <a:gd name="connsiteX3" fmla="*/ 1495 w 4384"/>
                <a:gd name="connsiteY3" fmla="*/ 895 h 895"/>
                <a:gd name="connsiteX4" fmla="*/ 4384 w 4384"/>
                <a:gd name="connsiteY4" fmla="*/ 696 h 895"/>
                <a:gd name="connsiteX5" fmla="*/ 3886 w 4384"/>
                <a:gd name="connsiteY5" fmla="*/ 199 h 895"/>
                <a:gd name="connsiteX6" fmla="*/ 897 w 4384"/>
                <a:gd name="connsiteY6" fmla="*/ 0 h 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84" h="895">
                  <a:moveTo>
                    <a:pt x="897" y="0"/>
                  </a:moveTo>
                  <a:lnTo>
                    <a:pt x="0" y="100"/>
                  </a:lnTo>
                  <a:lnTo>
                    <a:pt x="698" y="497"/>
                  </a:lnTo>
                  <a:lnTo>
                    <a:pt x="1495" y="895"/>
                  </a:lnTo>
                  <a:lnTo>
                    <a:pt x="4384" y="696"/>
                  </a:lnTo>
                  <a:lnTo>
                    <a:pt x="3886" y="199"/>
                  </a:lnTo>
                  <a:lnTo>
                    <a:pt x="897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5" name="Freeform: Shape 1344">
              <a:extLst>
                <a:ext uri="{FF2B5EF4-FFF2-40B4-BE49-F238E27FC236}">
                  <a16:creationId xmlns:a16="http://schemas.microsoft.com/office/drawing/2014/main" id="{7EE3FA88-A510-466C-9DCC-ED8A9857A213}"/>
                </a:ext>
              </a:extLst>
            </p:cNvPr>
            <p:cNvSpPr/>
            <p:nvPr/>
          </p:nvSpPr>
          <p:spPr>
            <a:xfrm>
              <a:off x="-2085718" y="456583"/>
              <a:ext cx="14448" cy="13629"/>
            </a:xfrm>
            <a:custGeom>
              <a:avLst/>
              <a:gdLst>
                <a:gd name="connsiteX0" fmla="*/ 11359 w 14448"/>
                <a:gd name="connsiteY0" fmla="*/ 2885 h 13629"/>
                <a:gd name="connsiteX1" fmla="*/ 9366 w 14448"/>
                <a:gd name="connsiteY1" fmla="*/ 4179 h 13629"/>
                <a:gd name="connsiteX2" fmla="*/ 7075 w 14448"/>
                <a:gd name="connsiteY2" fmla="*/ 4775 h 13629"/>
                <a:gd name="connsiteX3" fmla="*/ 4484 w 14448"/>
                <a:gd name="connsiteY3" fmla="*/ 4576 h 13629"/>
                <a:gd name="connsiteX4" fmla="*/ 3488 w 14448"/>
                <a:gd name="connsiteY4" fmla="*/ 4079 h 13629"/>
                <a:gd name="connsiteX5" fmla="*/ 1395 w 14448"/>
                <a:gd name="connsiteY5" fmla="*/ 6069 h 13629"/>
                <a:gd name="connsiteX6" fmla="*/ 498 w 14448"/>
                <a:gd name="connsiteY6" fmla="*/ 8357 h 13629"/>
                <a:gd name="connsiteX7" fmla="*/ 299 w 14448"/>
                <a:gd name="connsiteY7" fmla="*/ 10247 h 13629"/>
                <a:gd name="connsiteX8" fmla="*/ 0 w 14448"/>
                <a:gd name="connsiteY8" fmla="*/ 11740 h 13629"/>
                <a:gd name="connsiteX9" fmla="*/ 399 w 14448"/>
                <a:gd name="connsiteY9" fmla="*/ 12933 h 13629"/>
                <a:gd name="connsiteX10" fmla="*/ 1694 w 14448"/>
                <a:gd name="connsiteY10" fmla="*/ 13331 h 13629"/>
                <a:gd name="connsiteX11" fmla="*/ 5680 w 14448"/>
                <a:gd name="connsiteY11" fmla="*/ 13630 h 13629"/>
                <a:gd name="connsiteX12" fmla="*/ 6776 w 14448"/>
                <a:gd name="connsiteY12" fmla="*/ 13431 h 13629"/>
                <a:gd name="connsiteX13" fmla="*/ 8868 w 14448"/>
                <a:gd name="connsiteY13" fmla="*/ 12436 h 13629"/>
                <a:gd name="connsiteX14" fmla="*/ 10762 w 14448"/>
                <a:gd name="connsiteY14" fmla="*/ 10247 h 13629"/>
                <a:gd name="connsiteX15" fmla="*/ 11758 w 14448"/>
                <a:gd name="connsiteY15" fmla="*/ 8755 h 13629"/>
                <a:gd name="connsiteX16" fmla="*/ 12456 w 14448"/>
                <a:gd name="connsiteY16" fmla="*/ 7362 h 13629"/>
                <a:gd name="connsiteX17" fmla="*/ 13053 w 14448"/>
                <a:gd name="connsiteY17" fmla="*/ 5969 h 13629"/>
                <a:gd name="connsiteX18" fmla="*/ 12555 w 14448"/>
                <a:gd name="connsiteY18" fmla="*/ 5969 h 13629"/>
                <a:gd name="connsiteX19" fmla="*/ 12555 w 14448"/>
                <a:gd name="connsiteY19" fmla="*/ 5472 h 13629"/>
                <a:gd name="connsiteX20" fmla="*/ 13153 w 14448"/>
                <a:gd name="connsiteY20" fmla="*/ 4576 h 13629"/>
                <a:gd name="connsiteX21" fmla="*/ 13950 w 14448"/>
                <a:gd name="connsiteY21" fmla="*/ 2985 h 13629"/>
                <a:gd name="connsiteX22" fmla="*/ 14448 w 14448"/>
                <a:gd name="connsiteY22" fmla="*/ 597 h 13629"/>
                <a:gd name="connsiteX23" fmla="*/ 13751 w 14448"/>
                <a:gd name="connsiteY23" fmla="*/ 0 h 13629"/>
                <a:gd name="connsiteX24" fmla="*/ 13651 w 14448"/>
                <a:gd name="connsiteY24" fmla="*/ 398 h 13629"/>
                <a:gd name="connsiteX25" fmla="*/ 11359 w 14448"/>
                <a:gd name="connsiteY25" fmla="*/ 2885 h 13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4448" h="13629">
                  <a:moveTo>
                    <a:pt x="11359" y="2885"/>
                  </a:moveTo>
                  <a:lnTo>
                    <a:pt x="9366" y="4179"/>
                  </a:lnTo>
                  <a:lnTo>
                    <a:pt x="7075" y="4775"/>
                  </a:lnTo>
                  <a:lnTo>
                    <a:pt x="4484" y="4576"/>
                  </a:lnTo>
                  <a:lnTo>
                    <a:pt x="3488" y="4079"/>
                  </a:lnTo>
                  <a:lnTo>
                    <a:pt x="1395" y="6069"/>
                  </a:lnTo>
                  <a:lnTo>
                    <a:pt x="498" y="8357"/>
                  </a:lnTo>
                  <a:lnTo>
                    <a:pt x="299" y="10247"/>
                  </a:lnTo>
                  <a:lnTo>
                    <a:pt x="0" y="11740"/>
                  </a:lnTo>
                  <a:lnTo>
                    <a:pt x="399" y="12933"/>
                  </a:lnTo>
                  <a:lnTo>
                    <a:pt x="1694" y="13331"/>
                  </a:lnTo>
                  <a:lnTo>
                    <a:pt x="5680" y="13630"/>
                  </a:lnTo>
                  <a:lnTo>
                    <a:pt x="6776" y="13431"/>
                  </a:lnTo>
                  <a:lnTo>
                    <a:pt x="8868" y="12436"/>
                  </a:lnTo>
                  <a:lnTo>
                    <a:pt x="10762" y="10247"/>
                  </a:lnTo>
                  <a:lnTo>
                    <a:pt x="11758" y="8755"/>
                  </a:lnTo>
                  <a:lnTo>
                    <a:pt x="12456" y="7362"/>
                  </a:lnTo>
                  <a:lnTo>
                    <a:pt x="13053" y="5969"/>
                  </a:lnTo>
                  <a:lnTo>
                    <a:pt x="12555" y="5969"/>
                  </a:lnTo>
                  <a:lnTo>
                    <a:pt x="12555" y="5472"/>
                  </a:lnTo>
                  <a:lnTo>
                    <a:pt x="13153" y="4576"/>
                  </a:lnTo>
                  <a:lnTo>
                    <a:pt x="13950" y="2985"/>
                  </a:lnTo>
                  <a:lnTo>
                    <a:pt x="14448" y="597"/>
                  </a:lnTo>
                  <a:lnTo>
                    <a:pt x="13751" y="0"/>
                  </a:lnTo>
                  <a:lnTo>
                    <a:pt x="13651" y="398"/>
                  </a:lnTo>
                  <a:lnTo>
                    <a:pt x="11359" y="288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6" name="Freeform: Shape 1345">
              <a:extLst>
                <a:ext uri="{FF2B5EF4-FFF2-40B4-BE49-F238E27FC236}">
                  <a16:creationId xmlns:a16="http://schemas.microsoft.com/office/drawing/2014/main" id="{AE60A309-C8D6-40E1-8CA9-96753093BD95}"/>
                </a:ext>
              </a:extLst>
            </p:cNvPr>
            <p:cNvSpPr/>
            <p:nvPr/>
          </p:nvSpPr>
          <p:spPr>
            <a:xfrm>
              <a:off x="-2082230" y="455986"/>
              <a:ext cx="10263" cy="5372"/>
            </a:xfrm>
            <a:custGeom>
              <a:avLst/>
              <a:gdLst>
                <a:gd name="connsiteX0" fmla="*/ 6576 w 10263"/>
                <a:gd name="connsiteY0" fmla="*/ 497 h 5372"/>
                <a:gd name="connsiteX1" fmla="*/ 4085 w 10263"/>
                <a:gd name="connsiteY1" fmla="*/ 1492 h 5372"/>
                <a:gd name="connsiteX2" fmla="*/ 2192 w 10263"/>
                <a:gd name="connsiteY2" fmla="*/ 2686 h 5372"/>
                <a:gd name="connsiteX3" fmla="*/ 0 w 10263"/>
                <a:gd name="connsiteY3" fmla="*/ 4676 h 5372"/>
                <a:gd name="connsiteX4" fmla="*/ 996 w 10263"/>
                <a:gd name="connsiteY4" fmla="*/ 5173 h 5372"/>
                <a:gd name="connsiteX5" fmla="*/ 3587 w 10263"/>
                <a:gd name="connsiteY5" fmla="*/ 5372 h 5372"/>
                <a:gd name="connsiteX6" fmla="*/ 5879 w 10263"/>
                <a:gd name="connsiteY6" fmla="*/ 4775 h 5372"/>
                <a:gd name="connsiteX7" fmla="*/ 7872 w 10263"/>
                <a:gd name="connsiteY7" fmla="*/ 3482 h 5372"/>
                <a:gd name="connsiteX8" fmla="*/ 10164 w 10263"/>
                <a:gd name="connsiteY8" fmla="*/ 995 h 5372"/>
                <a:gd name="connsiteX9" fmla="*/ 10263 w 10263"/>
                <a:gd name="connsiteY9" fmla="*/ 597 h 5372"/>
                <a:gd name="connsiteX10" fmla="*/ 9566 w 10263"/>
                <a:gd name="connsiteY10" fmla="*/ 0 h 5372"/>
                <a:gd name="connsiteX11" fmla="*/ 6576 w 10263"/>
                <a:gd name="connsiteY11" fmla="*/ 497 h 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263" h="5372">
                  <a:moveTo>
                    <a:pt x="6576" y="497"/>
                  </a:moveTo>
                  <a:lnTo>
                    <a:pt x="4085" y="1492"/>
                  </a:lnTo>
                  <a:lnTo>
                    <a:pt x="2192" y="2686"/>
                  </a:lnTo>
                  <a:lnTo>
                    <a:pt x="0" y="4676"/>
                  </a:lnTo>
                  <a:lnTo>
                    <a:pt x="996" y="5173"/>
                  </a:lnTo>
                  <a:lnTo>
                    <a:pt x="3587" y="5372"/>
                  </a:lnTo>
                  <a:lnTo>
                    <a:pt x="5879" y="4775"/>
                  </a:lnTo>
                  <a:lnTo>
                    <a:pt x="7872" y="3482"/>
                  </a:lnTo>
                  <a:lnTo>
                    <a:pt x="10164" y="995"/>
                  </a:lnTo>
                  <a:lnTo>
                    <a:pt x="10263" y="597"/>
                  </a:lnTo>
                  <a:lnTo>
                    <a:pt x="9566" y="0"/>
                  </a:lnTo>
                  <a:lnTo>
                    <a:pt x="6576" y="4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7" name="Freeform: Shape 1346">
              <a:extLst>
                <a:ext uri="{FF2B5EF4-FFF2-40B4-BE49-F238E27FC236}">
                  <a16:creationId xmlns:a16="http://schemas.microsoft.com/office/drawing/2014/main" id="{60E68F46-8E85-4DDB-BBF9-C0400A03D620}"/>
                </a:ext>
              </a:extLst>
            </p:cNvPr>
            <p:cNvSpPr/>
            <p:nvPr/>
          </p:nvSpPr>
          <p:spPr>
            <a:xfrm>
              <a:off x="-2120394" y="508117"/>
              <a:ext cx="49224" cy="41386"/>
            </a:xfrm>
            <a:custGeom>
              <a:avLst/>
              <a:gdLst>
                <a:gd name="connsiteX0" fmla="*/ 48925 w 49224"/>
                <a:gd name="connsiteY0" fmla="*/ 40093 h 41386"/>
                <a:gd name="connsiteX1" fmla="*/ 49224 w 49224"/>
                <a:gd name="connsiteY1" fmla="*/ 38004 h 41386"/>
                <a:gd name="connsiteX2" fmla="*/ 48327 w 49224"/>
                <a:gd name="connsiteY2" fmla="*/ 35617 h 41386"/>
                <a:gd name="connsiteX3" fmla="*/ 46733 w 49224"/>
                <a:gd name="connsiteY3" fmla="*/ 34522 h 41386"/>
                <a:gd name="connsiteX4" fmla="*/ 42747 w 49224"/>
                <a:gd name="connsiteY4" fmla="*/ 33826 h 41386"/>
                <a:gd name="connsiteX5" fmla="*/ 39559 w 49224"/>
                <a:gd name="connsiteY5" fmla="*/ 31637 h 41386"/>
                <a:gd name="connsiteX6" fmla="*/ 34776 w 49224"/>
                <a:gd name="connsiteY6" fmla="*/ 30045 h 41386"/>
                <a:gd name="connsiteX7" fmla="*/ 31189 w 49224"/>
                <a:gd name="connsiteY7" fmla="*/ 29448 h 41386"/>
                <a:gd name="connsiteX8" fmla="*/ 29295 w 49224"/>
                <a:gd name="connsiteY8" fmla="*/ 28652 h 41386"/>
                <a:gd name="connsiteX9" fmla="*/ 19829 w 49224"/>
                <a:gd name="connsiteY9" fmla="*/ 22285 h 41386"/>
                <a:gd name="connsiteX10" fmla="*/ 16740 w 49224"/>
                <a:gd name="connsiteY10" fmla="*/ 19699 h 41386"/>
                <a:gd name="connsiteX11" fmla="*/ 5580 w 49224"/>
                <a:gd name="connsiteY11" fmla="*/ 6168 h 41386"/>
                <a:gd name="connsiteX12" fmla="*/ 1993 w 49224"/>
                <a:gd name="connsiteY12" fmla="*/ 199 h 41386"/>
                <a:gd name="connsiteX13" fmla="*/ 698 w 49224"/>
                <a:gd name="connsiteY13" fmla="*/ 0 h 41386"/>
                <a:gd name="connsiteX14" fmla="*/ 0 w 49224"/>
                <a:gd name="connsiteY14" fmla="*/ 1592 h 41386"/>
                <a:gd name="connsiteX15" fmla="*/ 598 w 49224"/>
                <a:gd name="connsiteY15" fmla="*/ 4576 h 41386"/>
                <a:gd name="connsiteX16" fmla="*/ 5580 w 49224"/>
                <a:gd name="connsiteY16" fmla="*/ 11441 h 41386"/>
                <a:gd name="connsiteX17" fmla="*/ 6178 w 49224"/>
                <a:gd name="connsiteY17" fmla="*/ 12635 h 41386"/>
                <a:gd name="connsiteX18" fmla="*/ 8868 w 49224"/>
                <a:gd name="connsiteY18" fmla="*/ 14227 h 41386"/>
                <a:gd name="connsiteX19" fmla="*/ 21822 w 49224"/>
                <a:gd name="connsiteY19" fmla="*/ 28055 h 41386"/>
                <a:gd name="connsiteX20" fmla="*/ 33680 w 49224"/>
                <a:gd name="connsiteY20" fmla="*/ 34323 h 41386"/>
                <a:gd name="connsiteX21" fmla="*/ 39060 w 49224"/>
                <a:gd name="connsiteY21" fmla="*/ 39596 h 41386"/>
                <a:gd name="connsiteX22" fmla="*/ 42249 w 49224"/>
                <a:gd name="connsiteY22" fmla="*/ 41387 h 41386"/>
                <a:gd name="connsiteX23" fmla="*/ 45737 w 49224"/>
                <a:gd name="connsiteY23" fmla="*/ 40093 h 41386"/>
                <a:gd name="connsiteX24" fmla="*/ 47630 w 49224"/>
                <a:gd name="connsiteY24" fmla="*/ 41088 h 41386"/>
                <a:gd name="connsiteX25" fmla="*/ 48925 w 49224"/>
                <a:gd name="connsiteY25" fmla="*/ 40093 h 41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9224" h="41386">
                  <a:moveTo>
                    <a:pt x="48925" y="40093"/>
                  </a:moveTo>
                  <a:lnTo>
                    <a:pt x="49224" y="38004"/>
                  </a:lnTo>
                  <a:lnTo>
                    <a:pt x="48327" y="35617"/>
                  </a:lnTo>
                  <a:lnTo>
                    <a:pt x="46733" y="34522"/>
                  </a:lnTo>
                  <a:lnTo>
                    <a:pt x="42747" y="33826"/>
                  </a:lnTo>
                  <a:lnTo>
                    <a:pt x="39559" y="31637"/>
                  </a:lnTo>
                  <a:lnTo>
                    <a:pt x="34776" y="30045"/>
                  </a:lnTo>
                  <a:lnTo>
                    <a:pt x="31189" y="29448"/>
                  </a:lnTo>
                  <a:lnTo>
                    <a:pt x="29295" y="28652"/>
                  </a:lnTo>
                  <a:lnTo>
                    <a:pt x="19829" y="22285"/>
                  </a:lnTo>
                  <a:lnTo>
                    <a:pt x="16740" y="19699"/>
                  </a:lnTo>
                  <a:lnTo>
                    <a:pt x="5580" y="6168"/>
                  </a:lnTo>
                  <a:lnTo>
                    <a:pt x="1993" y="199"/>
                  </a:lnTo>
                  <a:lnTo>
                    <a:pt x="698" y="0"/>
                  </a:lnTo>
                  <a:lnTo>
                    <a:pt x="0" y="1592"/>
                  </a:lnTo>
                  <a:lnTo>
                    <a:pt x="598" y="4576"/>
                  </a:lnTo>
                  <a:lnTo>
                    <a:pt x="5580" y="11441"/>
                  </a:lnTo>
                  <a:lnTo>
                    <a:pt x="6178" y="12635"/>
                  </a:lnTo>
                  <a:lnTo>
                    <a:pt x="8868" y="14227"/>
                  </a:lnTo>
                  <a:lnTo>
                    <a:pt x="21822" y="28055"/>
                  </a:lnTo>
                  <a:lnTo>
                    <a:pt x="33680" y="34323"/>
                  </a:lnTo>
                  <a:lnTo>
                    <a:pt x="39060" y="39596"/>
                  </a:lnTo>
                  <a:lnTo>
                    <a:pt x="42249" y="41387"/>
                  </a:lnTo>
                  <a:lnTo>
                    <a:pt x="45737" y="40093"/>
                  </a:lnTo>
                  <a:lnTo>
                    <a:pt x="47630" y="41088"/>
                  </a:lnTo>
                  <a:lnTo>
                    <a:pt x="48925" y="400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8" name="Freeform: Shape 1347">
              <a:extLst>
                <a:ext uri="{FF2B5EF4-FFF2-40B4-BE49-F238E27FC236}">
                  <a16:creationId xmlns:a16="http://schemas.microsoft.com/office/drawing/2014/main" id="{A2DA2E1C-C3E6-4671-912E-F619CF952A8D}"/>
                </a:ext>
              </a:extLst>
            </p:cNvPr>
            <p:cNvSpPr/>
            <p:nvPr/>
          </p:nvSpPr>
          <p:spPr>
            <a:xfrm>
              <a:off x="-2184067" y="395299"/>
              <a:ext cx="23516" cy="20991"/>
            </a:xfrm>
            <a:custGeom>
              <a:avLst/>
              <a:gdLst>
                <a:gd name="connsiteX0" fmla="*/ 14548 w 23516"/>
                <a:gd name="connsiteY0" fmla="*/ 1791 h 20991"/>
                <a:gd name="connsiteX1" fmla="*/ 13552 w 23516"/>
                <a:gd name="connsiteY1" fmla="*/ 2388 h 20991"/>
                <a:gd name="connsiteX2" fmla="*/ 13153 w 23516"/>
                <a:gd name="connsiteY2" fmla="*/ 3482 h 20991"/>
                <a:gd name="connsiteX3" fmla="*/ 12954 w 23516"/>
                <a:gd name="connsiteY3" fmla="*/ 5770 h 20991"/>
                <a:gd name="connsiteX4" fmla="*/ 12057 w 23516"/>
                <a:gd name="connsiteY4" fmla="*/ 5074 h 20991"/>
                <a:gd name="connsiteX5" fmla="*/ 10463 w 23516"/>
                <a:gd name="connsiteY5" fmla="*/ 5770 h 20991"/>
                <a:gd name="connsiteX6" fmla="*/ 8470 w 23516"/>
                <a:gd name="connsiteY6" fmla="*/ 4974 h 20991"/>
                <a:gd name="connsiteX7" fmla="*/ 7573 w 23516"/>
                <a:gd name="connsiteY7" fmla="*/ 5671 h 20991"/>
                <a:gd name="connsiteX8" fmla="*/ 0 w 23516"/>
                <a:gd name="connsiteY8" fmla="*/ 12734 h 20991"/>
                <a:gd name="connsiteX9" fmla="*/ 2192 w 23516"/>
                <a:gd name="connsiteY9" fmla="*/ 17211 h 20991"/>
                <a:gd name="connsiteX10" fmla="*/ 5281 w 23516"/>
                <a:gd name="connsiteY10" fmla="*/ 20395 h 20991"/>
                <a:gd name="connsiteX11" fmla="*/ 8669 w 23516"/>
                <a:gd name="connsiteY11" fmla="*/ 20992 h 20991"/>
                <a:gd name="connsiteX12" fmla="*/ 12157 w 23516"/>
                <a:gd name="connsiteY12" fmla="*/ 17410 h 20991"/>
                <a:gd name="connsiteX13" fmla="*/ 15146 w 23516"/>
                <a:gd name="connsiteY13" fmla="*/ 9650 h 20991"/>
                <a:gd name="connsiteX14" fmla="*/ 15644 w 23516"/>
                <a:gd name="connsiteY14" fmla="*/ 8655 h 20991"/>
                <a:gd name="connsiteX15" fmla="*/ 16541 w 23516"/>
                <a:gd name="connsiteY15" fmla="*/ 6666 h 20991"/>
                <a:gd name="connsiteX16" fmla="*/ 22619 w 23516"/>
                <a:gd name="connsiteY16" fmla="*/ 1194 h 20991"/>
                <a:gd name="connsiteX17" fmla="*/ 23018 w 23516"/>
                <a:gd name="connsiteY17" fmla="*/ 995 h 20991"/>
                <a:gd name="connsiteX18" fmla="*/ 23317 w 23516"/>
                <a:gd name="connsiteY18" fmla="*/ 995 h 20991"/>
                <a:gd name="connsiteX19" fmla="*/ 23516 w 23516"/>
                <a:gd name="connsiteY19" fmla="*/ 796 h 20991"/>
                <a:gd name="connsiteX20" fmla="*/ 23416 w 23516"/>
                <a:gd name="connsiteY20" fmla="*/ 0 h 20991"/>
                <a:gd name="connsiteX21" fmla="*/ 20028 w 23516"/>
                <a:gd name="connsiteY21" fmla="*/ 298 h 20991"/>
                <a:gd name="connsiteX22" fmla="*/ 14548 w 23516"/>
                <a:gd name="connsiteY22" fmla="*/ 1791 h 20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516" h="20991">
                  <a:moveTo>
                    <a:pt x="14548" y="1791"/>
                  </a:moveTo>
                  <a:lnTo>
                    <a:pt x="13552" y="2388"/>
                  </a:lnTo>
                  <a:lnTo>
                    <a:pt x="13153" y="3482"/>
                  </a:lnTo>
                  <a:lnTo>
                    <a:pt x="12954" y="5770"/>
                  </a:lnTo>
                  <a:lnTo>
                    <a:pt x="12057" y="5074"/>
                  </a:lnTo>
                  <a:lnTo>
                    <a:pt x="10463" y="5770"/>
                  </a:lnTo>
                  <a:lnTo>
                    <a:pt x="8470" y="4974"/>
                  </a:lnTo>
                  <a:lnTo>
                    <a:pt x="7573" y="5671"/>
                  </a:lnTo>
                  <a:lnTo>
                    <a:pt x="0" y="12734"/>
                  </a:lnTo>
                  <a:lnTo>
                    <a:pt x="2192" y="17211"/>
                  </a:lnTo>
                  <a:lnTo>
                    <a:pt x="5281" y="20395"/>
                  </a:lnTo>
                  <a:lnTo>
                    <a:pt x="8669" y="20992"/>
                  </a:lnTo>
                  <a:lnTo>
                    <a:pt x="12157" y="17410"/>
                  </a:lnTo>
                  <a:lnTo>
                    <a:pt x="15146" y="9650"/>
                  </a:lnTo>
                  <a:lnTo>
                    <a:pt x="15644" y="8655"/>
                  </a:lnTo>
                  <a:lnTo>
                    <a:pt x="16541" y="6666"/>
                  </a:lnTo>
                  <a:lnTo>
                    <a:pt x="22619" y="1194"/>
                  </a:lnTo>
                  <a:lnTo>
                    <a:pt x="23018" y="995"/>
                  </a:lnTo>
                  <a:lnTo>
                    <a:pt x="23317" y="995"/>
                  </a:lnTo>
                  <a:lnTo>
                    <a:pt x="23516" y="796"/>
                  </a:lnTo>
                  <a:lnTo>
                    <a:pt x="23416" y="0"/>
                  </a:lnTo>
                  <a:lnTo>
                    <a:pt x="20028" y="298"/>
                  </a:lnTo>
                  <a:lnTo>
                    <a:pt x="14548" y="179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49" name="Freeform: Shape 1348">
              <a:extLst>
                <a:ext uri="{FF2B5EF4-FFF2-40B4-BE49-F238E27FC236}">
                  <a16:creationId xmlns:a16="http://schemas.microsoft.com/office/drawing/2014/main" id="{806E64B5-9ECF-48EE-8545-3E05E11DF26C}"/>
                </a:ext>
              </a:extLst>
            </p:cNvPr>
            <p:cNvSpPr/>
            <p:nvPr/>
          </p:nvSpPr>
          <p:spPr>
            <a:xfrm>
              <a:off x="-2175597" y="399676"/>
              <a:ext cx="3587" cy="1392"/>
            </a:xfrm>
            <a:custGeom>
              <a:avLst/>
              <a:gdLst>
                <a:gd name="connsiteX0" fmla="*/ 3587 w 3587"/>
                <a:gd name="connsiteY0" fmla="*/ 696 h 1392"/>
                <a:gd name="connsiteX1" fmla="*/ 2491 w 3587"/>
                <a:gd name="connsiteY1" fmla="*/ 0 h 1392"/>
                <a:gd name="connsiteX2" fmla="*/ 698 w 3587"/>
                <a:gd name="connsiteY2" fmla="*/ 199 h 1392"/>
                <a:gd name="connsiteX3" fmla="*/ 0 w 3587"/>
                <a:gd name="connsiteY3" fmla="*/ 597 h 1392"/>
                <a:gd name="connsiteX4" fmla="*/ 1993 w 3587"/>
                <a:gd name="connsiteY4" fmla="*/ 1393 h 1392"/>
                <a:gd name="connsiteX5" fmla="*/ 3587 w 3587"/>
                <a:gd name="connsiteY5" fmla="*/ 696 h 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7" h="1392">
                  <a:moveTo>
                    <a:pt x="3587" y="696"/>
                  </a:moveTo>
                  <a:lnTo>
                    <a:pt x="2491" y="0"/>
                  </a:lnTo>
                  <a:lnTo>
                    <a:pt x="698" y="199"/>
                  </a:lnTo>
                  <a:lnTo>
                    <a:pt x="0" y="597"/>
                  </a:lnTo>
                  <a:lnTo>
                    <a:pt x="1993" y="1393"/>
                  </a:lnTo>
                  <a:lnTo>
                    <a:pt x="3587" y="6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0" name="Freeform: Shape 1349">
              <a:extLst>
                <a:ext uri="{FF2B5EF4-FFF2-40B4-BE49-F238E27FC236}">
                  <a16:creationId xmlns:a16="http://schemas.microsoft.com/office/drawing/2014/main" id="{9E750A3F-31DE-4F92-9829-D55FCDAE6CD8}"/>
                </a:ext>
              </a:extLst>
            </p:cNvPr>
            <p:cNvSpPr/>
            <p:nvPr/>
          </p:nvSpPr>
          <p:spPr>
            <a:xfrm>
              <a:off x="-2264579" y="425344"/>
              <a:ext cx="18932" cy="20693"/>
            </a:xfrm>
            <a:custGeom>
              <a:avLst/>
              <a:gdLst>
                <a:gd name="connsiteX0" fmla="*/ 16740 w 18932"/>
                <a:gd name="connsiteY0" fmla="*/ 17709 h 20693"/>
                <a:gd name="connsiteX1" fmla="*/ 15744 w 18932"/>
                <a:gd name="connsiteY1" fmla="*/ 17311 h 20693"/>
                <a:gd name="connsiteX2" fmla="*/ 6078 w 18932"/>
                <a:gd name="connsiteY2" fmla="*/ 3880 h 20693"/>
                <a:gd name="connsiteX3" fmla="*/ 4683 w 18932"/>
                <a:gd name="connsiteY3" fmla="*/ 2985 h 20693"/>
                <a:gd name="connsiteX4" fmla="*/ 1694 w 18932"/>
                <a:gd name="connsiteY4" fmla="*/ 0 h 20693"/>
                <a:gd name="connsiteX5" fmla="*/ 598 w 18932"/>
                <a:gd name="connsiteY5" fmla="*/ 796 h 20693"/>
                <a:gd name="connsiteX6" fmla="*/ 0 w 18932"/>
                <a:gd name="connsiteY6" fmla="*/ 4278 h 20693"/>
                <a:gd name="connsiteX7" fmla="*/ 199 w 18932"/>
                <a:gd name="connsiteY7" fmla="*/ 7760 h 20693"/>
                <a:gd name="connsiteX8" fmla="*/ 1893 w 18932"/>
                <a:gd name="connsiteY8" fmla="*/ 10546 h 20693"/>
                <a:gd name="connsiteX9" fmla="*/ 11858 w 18932"/>
                <a:gd name="connsiteY9" fmla="*/ 19201 h 20693"/>
                <a:gd name="connsiteX10" fmla="*/ 15046 w 18932"/>
                <a:gd name="connsiteY10" fmla="*/ 20295 h 20693"/>
                <a:gd name="connsiteX11" fmla="*/ 16641 w 18932"/>
                <a:gd name="connsiteY11" fmla="*/ 20594 h 20693"/>
                <a:gd name="connsiteX12" fmla="*/ 17537 w 18932"/>
                <a:gd name="connsiteY12" fmla="*/ 20693 h 20693"/>
                <a:gd name="connsiteX13" fmla="*/ 18932 w 18932"/>
                <a:gd name="connsiteY13" fmla="*/ 20196 h 20693"/>
                <a:gd name="connsiteX14" fmla="*/ 18534 w 18932"/>
                <a:gd name="connsiteY14" fmla="*/ 18803 h 20693"/>
                <a:gd name="connsiteX15" fmla="*/ 16740 w 18932"/>
                <a:gd name="connsiteY15" fmla="*/ 17709 h 20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932" h="20693">
                  <a:moveTo>
                    <a:pt x="16740" y="17709"/>
                  </a:moveTo>
                  <a:lnTo>
                    <a:pt x="15744" y="17311"/>
                  </a:lnTo>
                  <a:lnTo>
                    <a:pt x="6078" y="3880"/>
                  </a:lnTo>
                  <a:lnTo>
                    <a:pt x="4683" y="2985"/>
                  </a:lnTo>
                  <a:lnTo>
                    <a:pt x="1694" y="0"/>
                  </a:lnTo>
                  <a:lnTo>
                    <a:pt x="598" y="796"/>
                  </a:lnTo>
                  <a:lnTo>
                    <a:pt x="0" y="4278"/>
                  </a:lnTo>
                  <a:lnTo>
                    <a:pt x="199" y="7760"/>
                  </a:lnTo>
                  <a:lnTo>
                    <a:pt x="1893" y="10546"/>
                  </a:lnTo>
                  <a:lnTo>
                    <a:pt x="11858" y="19201"/>
                  </a:lnTo>
                  <a:lnTo>
                    <a:pt x="15046" y="20295"/>
                  </a:lnTo>
                  <a:lnTo>
                    <a:pt x="16641" y="20594"/>
                  </a:lnTo>
                  <a:lnTo>
                    <a:pt x="17537" y="20693"/>
                  </a:lnTo>
                  <a:lnTo>
                    <a:pt x="18932" y="20196"/>
                  </a:lnTo>
                  <a:lnTo>
                    <a:pt x="18534" y="18803"/>
                  </a:lnTo>
                  <a:lnTo>
                    <a:pt x="16740" y="1770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1" name="Freeform: Shape 1350">
              <a:extLst>
                <a:ext uri="{FF2B5EF4-FFF2-40B4-BE49-F238E27FC236}">
                  <a16:creationId xmlns:a16="http://schemas.microsoft.com/office/drawing/2014/main" id="{FB076429-6D2B-4BFF-BED4-28E8403E3046}"/>
                </a:ext>
              </a:extLst>
            </p:cNvPr>
            <p:cNvSpPr/>
            <p:nvPr/>
          </p:nvSpPr>
          <p:spPr>
            <a:xfrm>
              <a:off x="-2242259" y="391717"/>
              <a:ext cx="68555" cy="52728"/>
            </a:xfrm>
            <a:custGeom>
              <a:avLst/>
              <a:gdLst>
                <a:gd name="connsiteX0" fmla="*/ 996 w 68555"/>
                <a:gd name="connsiteY0" fmla="*/ 8058 h 52728"/>
                <a:gd name="connsiteX1" fmla="*/ 0 w 68555"/>
                <a:gd name="connsiteY1" fmla="*/ 9352 h 52728"/>
                <a:gd name="connsiteX2" fmla="*/ 3986 w 68555"/>
                <a:gd name="connsiteY2" fmla="*/ 12933 h 52728"/>
                <a:gd name="connsiteX3" fmla="*/ 6278 w 68555"/>
                <a:gd name="connsiteY3" fmla="*/ 14426 h 52728"/>
                <a:gd name="connsiteX4" fmla="*/ 11658 w 68555"/>
                <a:gd name="connsiteY4" fmla="*/ 15818 h 52728"/>
                <a:gd name="connsiteX5" fmla="*/ 16541 w 68555"/>
                <a:gd name="connsiteY5" fmla="*/ 19002 h 52728"/>
                <a:gd name="connsiteX6" fmla="*/ 18633 w 68555"/>
                <a:gd name="connsiteY6" fmla="*/ 19698 h 52728"/>
                <a:gd name="connsiteX7" fmla="*/ 18633 w 68555"/>
                <a:gd name="connsiteY7" fmla="*/ 19997 h 52728"/>
                <a:gd name="connsiteX8" fmla="*/ 21722 w 68555"/>
                <a:gd name="connsiteY8" fmla="*/ 21987 h 52728"/>
                <a:gd name="connsiteX9" fmla="*/ 22719 w 68555"/>
                <a:gd name="connsiteY9" fmla="*/ 21788 h 52728"/>
                <a:gd name="connsiteX10" fmla="*/ 23516 w 68555"/>
                <a:gd name="connsiteY10" fmla="*/ 21788 h 52728"/>
                <a:gd name="connsiteX11" fmla="*/ 24313 w 68555"/>
                <a:gd name="connsiteY11" fmla="*/ 21987 h 52728"/>
                <a:gd name="connsiteX12" fmla="*/ 24413 w 68555"/>
                <a:gd name="connsiteY12" fmla="*/ 22385 h 52728"/>
                <a:gd name="connsiteX13" fmla="*/ 25609 w 68555"/>
                <a:gd name="connsiteY13" fmla="*/ 24971 h 52728"/>
                <a:gd name="connsiteX14" fmla="*/ 28498 w 68555"/>
                <a:gd name="connsiteY14" fmla="*/ 28851 h 52728"/>
                <a:gd name="connsiteX15" fmla="*/ 28598 w 68555"/>
                <a:gd name="connsiteY15" fmla="*/ 30045 h 52728"/>
                <a:gd name="connsiteX16" fmla="*/ 28199 w 68555"/>
                <a:gd name="connsiteY16" fmla="*/ 31140 h 52728"/>
                <a:gd name="connsiteX17" fmla="*/ 28598 w 68555"/>
                <a:gd name="connsiteY17" fmla="*/ 32035 h 52728"/>
                <a:gd name="connsiteX18" fmla="*/ 36270 w 68555"/>
                <a:gd name="connsiteY18" fmla="*/ 33627 h 52728"/>
                <a:gd name="connsiteX19" fmla="*/ 59189 w 68555"/>
                <a:gd name="connsiteY19" fmla="*/ 47356 h 52728"/>
                <a:gd name="connsiteX20" fmla="*/ 63673 w 68555"/>
                <a:gd name="connsiteY20" fmla="*/ 51534 h 52728"/>
                <a:gd name="connsiteX21" fmla="*/ 66064 w 68555"/>
                <a:gd name="connsiteY21" fmla="*/ 52728 h 52728"/>
                <a:gd name="connsiteX22" fmla="*/ 68555 w 68555"/>
                <a:gd name="connsiteY22" fmla="*/ 50938 h 52728"/>
                <a:gd name="connsiteX23" fmla="*/ 65964 w 68555"/>
                <a:gd name="connsiteY23" fmla="*/ 45864 h 52728"/>
                <a:gd name="connsiteX24" fmla="*/ 62278 w 68555"/>
                <a:gd name="connsiteY24" fmla="*/ 41785 h 52728"/>
                <a:gd name="connsiteX25" fmla="*/ 50021 w 68555"/>
                <a:gd name="connsiteY25" fmla="*/ 31438 h 52728"/>
                <a:gd name="connsiteX26" fmla="*/ 48427 w 68555"/>
                <a:gd name="connsiteY26" fmla="*/ 29349 h 52728"/>
                <a:gd name="connsiteX27" fmla="*/ 47730 w 68555"/>
                <a:gd name="connsiteY27" fmla="*/ 27260 h 52728"/>
                <a:gd name="connsiteX28" fmla="*/ 46932 w 68555"/>
                <a:gd name="connsiteY28" fmla="*/ 25668 h 52728"/>
                <a:gd name="connsiteX29" fmla="*/ 43345 w 68555"/>
                <a:gd name="connsiteY29" fmla="*/ 22186 h 52728"/>
                <a:gd name="connsiteX30" fmla="*/ 42448 w 68555"/>
                <a:gd name="connsiteY30" fmla="*/ 20295 h 52728"/>
                <a:gd name="connsiteX31" fmla="*/ 40157 w 68555"/>
                <a:gd name="connsiteY31" fmla="*/ 16515 h 52728"/>
                <a:gd name="connsiteX32" fmla="*/ 34676 w 68555"/>
                <a:gd name="connsiteY32" fmla="*/ 13829 h 52728"/>
                <a:gd name="connsiteX33" fmla="*/ 22420 w 68555"/>
                <a:gd name="connsiteY33" fmla="*/ 11441 h 52728"/>
                <a:gd name="connsiteX34" fmla="*/ 18135 w 68555"/>
                <a:gd name="connsiteY34" fmla="*/ 9352 h 52728"/>
                <a:gd name="connsiteX35" fmla="*/ 12954 w 68555"/>
                <a:gd name="connsiteY35" fmla="*/ 8158 h 52728"/>
                <a:gd name="connsiteX36" fmla="*/ 11160 w 68555"/>
                <a:gd name="connsiteY36" fmla="*/ 6765 h 52728"/>
                <a:gd name="connsiteX37" fmla="*/ 8569 w 68555"/>
                <a:gd name="connsiteY37" fmla="*/ 2786 h 52728"/>
                <a:gd name="connsiteX38" fmla="*/ 6975 w 68555"/>
                <a:gd name="connsiteY38" fmla="*/ 1293 h 52728"/>
                <a:gd name="connsiteX39" fmla="*/ 5580 w 68555"/>
                <a:gd name="connsiteY39" fmla="*/ 497 h 52728"/>
                <a:gd name="connsiteX40" fmla="*/ 3986 w 68555"/>
                <a:gd name="connsiteY40" fmla="*/ 100 h 52728"/>
                <a:gd name="connsiteX41" fmla="*/ 2491 w 68555"/>
                <a:gd name="connsiteY41" fmla="*/ 0 h 52728"/>
                <a:gd name="connsiteX42" fmla="*/ 897 w 68555"/>
                <a:gd name="connsiteY42" fmla="*/ 100 h 52728"/>
                <a:gd name="connsiteX43" fmla="*/ 1196 w 68555"/>
                <a:gd name="connsiteY43" fmla="*/ 1691 h 52728"/>
                <a:gd name="connsiteX44" fmla="*/ 1295 w 68555"/>
                <a:gd name="connsiteY44" fmla="*/ 2388 h 52728"/>
                <a:gd name="connsiteX45" fmla="*/ 897 w 68555"/>
                <a:gd name="connsiteY45" fmla="*/ 3582 h 52728"/>
                <a:gd name="connsiteX46" fmla="*/ 897 w 68555"/>
                <a:gd name="connsiteY46" fmla="*/ 4775 h 52728"/>
                <a:gd name="connsiteX47" fmla="*/ 1594 w 68555"/>
                <a:gd name="connsiteY47" fmla="*/ 5770 h 52728"/>
                <a:gd name="connsiteX48" fmla="*/ 1594 w 68555"/>
                <a:gd name="connsiteY48" fmla="*/ 6865 h 52728"/>
                <a:gd name="connsiteX49" fmla="*/ 996 w 68555"/>
                <a:gd name="connsiteY49" fmla="*/ 8058 h 52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68555" h="52728">
                  <a:moveTo>
                    <a:pt x="996" y="8058"/>
                  </a:moveTo>
                  <a:lnTo>
                    <a:pt x="0" y="9352"/>
                  </a:lnTo>
                  <a:lnTo>
                    <a:pt x="3986" y="12933"/>
                  </a:lnTo>
                  <a:lnTo>
                    <a:pt x="6278" y="14426"/>
                  </a:lnTo>
                  <a:lnTo>
                    <a:pt x="11658" y="15818"/>
                  </a:lnTo>
                  <a:lnTo>
                    <a:pt x="16541" y="19002"/>
                  </a:lnTo>
                  <a:lnTo>
                    <a:pt x="18633" y="19698"/>
                  </a:lnTo>
                  <a:lnTo>
                    <a:pt x="18633" y="19997"/>
                  </a:lnTo>
                  <a:lnTo>
                    <a:pt x="21722" y="21987"/>
                  </a:lnTo>
                  <a:lnTo>
                    <a:pt x="22719" y="21788"/>
                  </a:lnTo>
                  <a:lnTo>
                    <a:pt x="23516" y="21788"/>
                  </a:lnTo>
                  <a:lnTo>
                    <a:pt x="24313" y="21987"/>
                  </a:lnTo>
                  <a:lnTo>
                    <a:pt x="24413" y="22385"/>
                  </a:lnTo>
                  <a:lnTo>
                    <a:pt x="25609" y="24971"/>
                  </a:lnTo>
                  <a:lnTo>
                    <a:pt x="28498" y="28851"/>
                  </a:lnTo>
                  <a:lnTo>
                    <a:pt x="28598" y="30045"/>
                  </a:lnTo>
                  <a:lnTo>
                    <a:pt x="28199" y="31140"/>
                  </a:lnTo>
                  <a:lnTo>
                    <a:pt x="28598" y="32035"/>
                  </a:lnTo>
                  <a:lnTo>
                    <a:pt x="36270" y="33627"/>
                  </a:lnTo>
                  <a:lnTo>
                    <a:pt x="59189" y="47356"/>
                  </a:lnTo>
                  <a:lnTo>
                    <a:pt x="63673" y="51534"/>
                  </a:lnTo>
                  <a:lnTo>
                    <a:pt x="66064" y="52728"/>
                  </a:lnTo>
                  <a:lnTo>
                    <a:pt x="68555" y="50938"/>
                  </a:lnTo>
                  <a:lnTo>
                    <a:pt x="65964" y="45864"/>
                  </a:lnTo>
                  <a:lnTo>
                    <a:pt x="62278" y="41785"/>
                  </a:lnTo>
                  <a:lnTo>
                    <a:pt x="50021" y="31438"/>
                  </a:lnTo>
                  <a:lnTo>
                    <a:pt x="48427" y="29349"/>
                  </a:lnTo>
                  <a:lnTo>
                    <a:pt x="47730" y="27260"/>
                  </a:lnTo>
                  <a:lnTo>
                    <a:pt x="46932" y="25668"/>
                  </a:lnTo>
                  <a:lnTo>
                    <a:pt x="43345" y="22186"/>
                  </a:lnTo>
                  <a:lnTo>
                    <a:pt x="42448" y="20295"/>
                  </a:lnTo>
                  <a:lnTo>
                    <a:pt x="40157" y="16515"/>
                  </a:lnTo>
                  <a:lnTo>
                    <a:pt x="34676" y="13829"/>
                  </a:lnTo>
                  <a:lnTo>
                    <a:pt x="22420" y="11441"/>
                  </a:lnTo>
                  <a:lnTo>
                    <a:pt x="18135" y="9352"/>
                  </a:lnTo>
                  <a:lnTo>
                    <a:pt x="12954" y="8158"/>
                  </a:lnTo>
                  <a:lnTo>
                    <a:pt x="11160" y="6765"/>
                  </a:lnTo>
                  <a:lnTo>
                    <a:pt x="8569" y="2786"/>
                  </a:lnTo>
                  <a:lnTo>
                    <a:pt x="6975" y="1293"/>
                  </a:lnTo>
                  <a:lnTo>
                    <a:pt x="5580" y="497"/>
                  </a:lnTo>
                  <a:lnTo>
                    <a:pt x="3986" y="100"/>
                  </a:lnTo>
                  <a:lnTo>
                    <a:pt x="2491" y="0"/>
                  </a:lnTo>
                  <a:lnTo>
                    <a:pt x="897" y="100"/>
                  </a:lnTo>
                  <a:lnTo>
                    <a:pt x="1196" y="1691"/>
                  </a:lnTo>
                  <a:lnTo>
                    <a:pt x="1295" y="2388"/>
                  </a:lnTo>
                  <a:lnTo>
                    <a:pt x="897" y="3582"/>
                  </a:lnTo>
                  <a:lnTo>
                    <a:pt x="897" y="4775"/>
                  </a:lnTo>
                  <a:lnTo>
                    <a:pt x="1594" y="5770"/>
                  </a:lnTo>
                  <a:lnTo>
                    <a:pt x="1594" y="6865"/>
                  </a:lnTo>
                  <a:lnTo>
                    <a:pt x="996" y="805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2" name="Freeform: Shape 1351">
              <a:extLst>
                <a:ext uri="{FF2B5EF4-FFF2-40B4-BE49-F238E27FC236}">
                  <a16:creationId xmlns:a16="http://schemas.microsoft.com/office/drawing/2014/main" id="{AA60516A-BFAC-47B6-8FDB-D2F3E6DB5EFC}"/>
                </a:ext>
              </a:extLst>
            </p:cNvPr>
            <p:cNvSpPr/>
            <p:nvPr/>
          </p:nvSpPr>
          <p:spPr>
            <a:xfrm>
              <a:off x="-2106743" y="534482"/>
              <a:ext cx="28697" cy="39993"/>
            </a:xfrm>
            <a:custGeom>
              <a:avLst/>
              <a:gdLst>
                <a:gd name="connsiteX0" fmla="*/ 12555 w 28697"/>
                <a:gd name="connsiteY0" fmla="*/ 17709 h 39993"/>
                <a:gd name="connsiteX1" fmla="*/ 12057 w 28697"/>
                <a:gd name="connsiteY1" fmla="*/ 17112 h 39993"/>
                <a:gd name="connsiteX2" fmla="*/ 12256 w 28697"/>
                <a:gd name="connsiteY2" fmla="*/ 15918 h 39993"/>
                <a:gd name="connsiteX3" fmla="*/ 12754 w 28697"/>
                <a:gd name="connsiteY3" fmla="*/ 15122 h 39993"/>
                <a:gd name="connsiteX4" fmla="*/ 13552 w 28697"/>
                <a:gd name="connsiteY4" fmla="*/ 14923 h 39993"/>
                <a:gd name="connsiteX5" fmla="*/ 14349 w 28697"/>
                <a:gd name="connsiteY5" fmla="*/ 15421 h 39993"/>
                <a:gd name="connsiteX6" fmla="*/ 15744 w 28697"/>
                <a:gd name="connsiteY6" fmla="*/ 16813 h 39993"/>
                <a:gd name="connsiteX7" fmla="*/ 17338 w 28697"/>
                <a:gd name="connsiteY7" fmla="*/ 17808 h 39993"/>
                <a:gd name="connsiteX8" fmla="*/ 19032 w 28697"/>
                <a:gd name="connsiteY8" fmla="*/ 18405 h 39993"/>
                <a:gd name="connsiteX9" fmla="*/ 20826 w 28697"/>
                <a:gd name="connsiteY9" fmla="*/ 18306 h 39993"/>
                <a:gd name="connsiteX10" fmla="*/ 11658 w 28697"/>
                <a:gd name="connsiteY10" fmla="*/ 10048 h 39993"/>
                <a:gd name="connsiteX11" fmla="*/ 1694 w 28697"/>
                <a:gd name="connsiteY11" fmla="*/ 3482 h 39993"/>
                <a:gd name="connsiteX12" fmla="*/ 1096 w 28697"/>
                <a:gd name="connsiteY12" fmla="*/ 1492 h 39993"/>
                <a:gd name="connsiteX13" fmla="*/ 598 w 28697"/>
                <a:gd name="connsiteY13" fmla="*/ 696 h 39993"/>
                <a:gd name="connsiteX14" fmla="*/ 0 w 28697"/>
                <a:gd name="connsiteY14" fmla="*/ 0 h 39993"/>
                <a:gd name="connsiteX15" fmla="*/ 199 w 28697"/>
                <a:gd name="connsiteY15" fmla="*/ 5472 h 39993"/>
                <a:gd name="connsiteX16" fmla="*/ 1096 w 28697"/>
                <a:gd name="connsiteY16" fmla="*/ 9053 h 39993"/>
                <a:gd name="connsiteX17" fmla="*/ 2989 w 28697"/>
                <a:gd name="connsiteY17" fmla="*/ 11740 h 39993"/>
                <a:gd name="connsiteX18" fmla="*/ 6078 w 28697"/>
                <a:gd name="connsiteY18" fmla="*/ 14923 h 39993"/>
                <a:gd name="connsiteX19" fmla="*/ 2989 w 28697"/>
                <a:gd name="connsiteY19" fmla="*/ 17012 h 39993"/>
                <a:gd name="connsiteX20" fmla="*/ 3189 w 28697"/>
                <a:gd name="connsiteY20" fmla="*/ 19997 h 39993"/>
                <a:gd name="connsiteX21" fmla="*/ 5281 w 28697"/>
                <a:gd name="connsiteY21" fmla="*/ 22882 h 39993"/>
                <a:gd name="connsiteX22" fmla="*/ 7772 w 28697"/>
                <a:gd name="connsiteY22" fmla="*/ 25170 h 39993"/>
                <a:gd name="connsiteX23" fmla="*/ 7772 w 28697"/>
                <a:gd name="connsiteY23" fmla="*/ 26364 h 39993"/>
                <a:gd name="connsiteX24" fmla="*/ 6178 w 28697"/>
                <a:gd name="connsiteY24" fmla="*/ 28055 h 39993"/>
                <a:gd name="connsiteX25" fmla="*/ 5779 w 28697"/>
                <a:gd name="connsiteY25" fmla="*/ 30244 h 39993"/>
                <a:gd name="connsiteX26" fmla="*/ 6178 w 28697"/>
                <a:gd name="connsiteY26" fmla="*/ 32433 h 39993"/>
                <a:gd name="connsiteX27" fmla="*/ 6875 w 28697"/>
                <a:gd name="connsiteY27" fmla="*/ 34323 h 39993"/>
                <a:gd name="connsiteX28" fmla="*/ 8071 w 28697"/>
                <a:gd name="connsiteY28" fmla="*/ 36313 h 39993"/>
                <a:gd name="connsiteX29" fmla="*/ 9466 w 28697"/>
                <a:gd name="connsiteY29" fmla="*/ 37208 h 39993"/>
                <a:gd name="connsiteX30" fmla="*/ 10961 w 28697"/>
                <a:gd name="connsiteY30" fmla="*/ 38004 h 39993"/>
                <a:gd name="connsiteX31" fmla="*/ 12555 w 28697"/>
                <a:gd name="connsiteY31" fmla="*/ 39397 h 39993"/>
                <a:gd name="connsiteX32" fmla="*/ 14349 w 28697"/>
                <a:gd name="connsiteY32" fmla="*/ 39994 h 39993"/>
                <a:gd name="connsiteX33" fmla="*/ 17039 w 28697"/>
                <a:gd name="connsiteY33" fmla="*/ 39397 h 39993"/>
                <a:gd name="connsiteX34" fmla="*/ 19630 w 28697"/>
                <a:gd name="connsiteY34" fmla="*/ 38303 h 39993"/>
                <a:gd name="connsiteX35" fmla="*/ 21224 w 28697"/>
                <a:gd name="connsiteY35" fmla="*/ 37109 h 39993"/>
                <a:gd name="connsiteX36" fmla="*/ 21124 w 28697"/>
                <a:gd name="connsiteY36" fmla="*/ 35617 h 39993"/>
                <a:gd name="connsiteX37" fmla="*/ 18235 w 28697"/>
                <a:gd name="connsiteY37" fmla="*/ 32134 h 39993"/>
                <a:gd name="connsiteX38" fmla="*/ 17338 w 28697"/>
                <a:gd name="connsiteY38" fmla="*/ 30742 h 39993"/>
                <a:gd name="connsiteX39" fmla="*/ 23815 w 28697"/>
                <a:gd name="connsiteY39" fmla="*/ 33030 h 39993"/>
                <a:gd name="connsiteX40" fmla="*/ 27004 w 28697"/>
                <a:gd name="connsiteY40" fmla="*/ 32632 h 39993"/>
                <a:gd name="connsiteX41" fmla="*/ 28697 w 28697"/>
                <a:gd name="connsiteY41" fmla="*/ 29647 h 39993"/>
                <a:gd name="connsiteX42" fmla="*/ 15644 w 28697"/>
                <a:gd name="connsiteY42" fmla="*/ 20693 h 39993"/>
                <a:gd name="connsiteX43" fmla="*/ 12555 w 28697"/>
                <a:gd name="connsiteY43" fmla="*/ 17709 h 3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697" h="39993">
                  <a:moveTo>
                    <a:pt x="12555" y="17709"/>
                  </a:moveTo>
                  <a:lnTo>
                    <a:pt x="12057" y="17112"/>
                  </a:lnTo>
                  <a:lnTo>
                    <a:pt x="12256" y="15918"/>
                  </a:lnTo>
                  <a:lnTo>
                    <a:pt x="12754" y="15122"/>
                  </a:lnTo>
                  <a:lnTo>
                    <a:pt x="13552" y="14923"/>
                  </a:lnTo>
                  <a:lnTo>
                    <a:pt x="14349" y="15421"/>
                  </a:lnTo>
                  <a:lnTo>
                    <a:pt x="15744" y="16813"/>
                  </a:lnTo>
                  <a:lnTo>
                    <a:pt x="17338" y="17808"/>
                  </a:lnTo>
                  <a:lnTo>
                    <a:pt x="19032" y="18405"/>
                  </a:lnTo>
                  <a:lnTo>
                    <a:pt x="20826" y="18306"/>
                  </a:lnTo>
                  <a:lnTo>
                    <a:pt x="11658" y="10048"/>
                  </a:lnTo>
                  <a:lnTo>
                    <a:pt x="1694" y="3482"/>
                  </a:lnTo>
                  <a:lnTo>
                    <a:pt x="1096" y="1492"/>
                  </a:lnTo>
                  <a:lnTo>
                    <a:pt x="598" y="696"/>
                  </a:lnTo>
                  <a:lnTo>
                    <a:pt x="0" y="0"/>
                  </a:lnTo>
                  <a:lnTo>
                    <a:pt x="199" y="5472"/>
                  </a:lnTo>
                  <a:lnTo>
                    <a:pt x="1096" y="9053"/>
                  </a:lnTo>
                  <a:lnTo>
                    <a:pt x="2989" y="11740"/>
                  </a:lnTo>
                  <a:lnTo>
                    <a:pt x="6078" y="14923"/>
                  </a:lnTo>
                  <a:lnTo>
                    <a:pt x="2989" y="17012"/>
                  </a:lnTo>
                  <a:lnTo>
                    <a:pt x="3189" y="19997"/>
                  </a:lnTo>
                  <a:lnTo>
                    <a:pt x="5281" y="22882"/>
                  </a:lnTo>
                  <a:lnTo>
                    <a:pt x="7772" y="25170"/>
                  </a:lnTo>
                  <a:lnTo>
                    <a:pt x="7772" y="26364"/>
                  </a:lnTo>
                  <a:lnTo>
                    <a:pt x="6178" y="28055"/>
                  </a:lnTo>
                  <a:lnTo>
                    <a:pt x="5779" y="30244"/>
                  </a:lnTo>
                  <a:lnTo>
                    <a:pt x="6178" y="32433"/>
                  </a:lnTo>
                  <a:lnTo>
                    <a:pt x="6875" y="34323"/>
                  </a:lnTo>
                  <a:lnTo>
                    <a:pt x="8071" y="36313"/>
                  </a:lnTo>
                  <a:lnTo>
                    <a:pt x="9466" y="37208"/>
                  </a:lnTo>
                  <a:lnTo>
                    <a:pt x="10961" y="38004"/>
                  </a:lnTo>
                  <a:lnTo>
                    <a:pt x="12555" y="39397"/>
                  </a:lnTo>
                  <a:lnTo>
                    <a:pt x="14349" y="39994"/>
                  </a:lnTo>
                  <a:lnTo>
                    <a:pt x="17039" y="39397"/>
                  </a:lnTo>
                  <a:lnTo>
                    <a:pt x="19630" y="38303"/>
                  </a:lnTo>
                  <a:lnTo>
                    <a:pt x="21224" y="37109"/>
                  </a:lnTo>
                  <a:lnTo>
                    <a:pt x="21124" y="35617"/>
                  </a:lnTo>
                  <a:lnTo>
                    <a:pt x="18235" y="32134"/>
                  </a:lnTo>
                  <a:lnTo>
                    <a:pt x="17338" y="30742"/>
                  </a:lnTo>
                  <a:lnTo>
                    <a:pt x="23815" y="33030"/>
                  </a:lnTo>
                  <a:lnTo>
                    <a:pt x="27004" y="32632"/>
                  </a:lnTo>
                  <a:lnTo>
                    <a:pt x="28697" y="29647"/>
                  </a:lnTo>
                  <a:lnTo>
                    <a:pt x="15644" y="20693"/>
                  </a:lnTo>
                  <a:lnTo>
                    <a:pt x="12555" y="1770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3" name="Freeform: Shape 1352">
              <a:extLst>
                <a:ext uri="{FF2B5EF4-FFF2-40B4-BE49-F238E27FC236}">
                  <a16:creationId xmlns:a16="http://schemas.microsoft.com/office/drawing/2014/main" id="{13635C2C-B9CB-4C7C-81CA-1EC8337C6A55}"/>
                </a:ext>
              </a:extLst>
            </p:cNvPr>
            <p:cNvSpPr/>
            <p:nvPr/>
          </p:nvSpPr>
          <p:spPr>
            <a:xfrm>
              <a:off x="-2247241" y="434298"/>
              <a:ext cx="13850" cy="9252"/>
            </a:xfrm>
            <a:custGeom>
              <a:avLst/>
              <a:gdLst>
                <a:gd name="connsiteX0" fmla="*/ 199 w 13850"/>
                <a:gd name="connsiteY0" fmla="*/ 1990 h 9252"/>
                <a:gd name="connsiteX1" fmla="*/ 0 w 13850"/>
                <a:gd name="connsiteY1" fmla="*/ 4775 h 9252"/>
                <a:gd name="connsiteX2" fmla="*/ 1594 w 13850"/>
                <a:gd name="connsiteY2" fmla="*/ 6765 h 9252"/>
                <a:gd name="connsiteX3" fmla="*/ 4085 w 13850"/>
                <a:gd name="connsiteY3" fmla="*/ 8755 h 9252"/>
                <a:gd name="connsiteX4" fmla="*/ 5181 w 13850"/>
                <a:gd name="connsiteY4" fmla="*/ 9252 h 9252"/>
                <a:gd name="connsiteX5" fmla="*/ 6377 w 13850"/>
                <a:gd name="connsiteY5" fmla="*/ 8954 h 9252"/>
                <a:gd name="connsiteX6" fmla="*/ 7673 w 13850"/>
                <a:gd name="connsiteY6" fmla="*/ 7561 h 9252"/>
                <a:gd name="connsiteX7" fmla="*/ 8569 w 13850"/>
                <a:gd name="connsiteY7" fmla="*/ 5372 h 9252"/>
                <a:gd name="connsiteX8" fmla="*/ 10064 w 13850"/>
                <a:gd name="connsiteY8" fmla="*/ 4377 h 9252"/>
                <a:gd name="connsiteX9" fmla="*/ 12555 w 13850"/>
                <a:gd name="connsiteY9" fmla="*/ 4775 h 9252"/>
                <a:gd name="connsiteX10" fmla="*/ 13851 w 13850"/>
                <a:gd name="connsiteY10" fmla="*/ 4676 h 9252"/>
                <a:gd name="connsiteX11" fmla="*/ 13053 w 13850"/>
                <a:gd name="connsiteY11" fmla="*/ 3681 h 9252"/>
                <a:gd name="connsiteX12" fmla="*/ 12157 w 13850"/>
                <a:gd name="connsiteY12" fmla="*/ 3084 h 9252"/>
                <a:gd name="connsiteX13" fmla="*/ 6178 w 13850"/>
                <a:gd name="connsiteY13" fmla="*/ 398 h 9252"/>
                <a:gd name="connsiteX14" fmla="*/ 2491 w 13850"/>
                <a:gd name="connsiteY14" fmla="*/ 0 h 9252"/>
                <a:gd name="connsiteX15" fmla="*/ 199 w 13850"/>
                <a:gd name="connsiteY15" fmla="*/ 1990 h 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850" h="9252">
                  <a:moveTo>
                    <a:pt x="199" y="1990"/>
                  </a:moveTo>
                  <a:lnTo>
                    <a:pt x="0" y="4775"/>
                  </a:lnTo>
                  <a:lnTo>
                    <a:pt x="1594" y="6765"/>
                  </a:lnTo>
                  <a:lnTo>
                    <a:pt x="4085" y="8755"/>
                  </a:lnTo>
                  <a:lnTo>
                    <a:pt x="5181" y="9252"/>
                  </a:lnTo>
                  <a:lnTo>
                    <a:pt x="6377" y="8954"/>
                  </a:lnTo>
                  <a:lnTo>
                    <a:pt x="7673" y="7561"/>
                  </a:lnTo>
                  <a:lnTo>
                    <a:pt x="8569" y="5372"/>
                  </a:lnTo>
                  <a:lnTo>
                    <a:pt x="10064" y="4377"/>
                  </a:lnTo>
                  <a:lnTo>
                    <a:pt x="12555" y="4775"/>
                  </a:lnTo>
                  <a:lnTo>
                    <a:pt x="13851" y="4676"/>
                  </a:lnTo>
                  <a:lnTo>
                    <a:pt x="13053" y="3681"/>
                  </a:lnTo>
                  <a:lnTo>
                    <a:pt x="12157" y="3084"/>
                  </a:lnTo>
                  <a:lnTo>
                    <a:pt x="6178" y="398"/>
                  </a:lnTo>
                  <a:lnTo>
                    <a:pt x="2491" y="0"/>
                  </a:lnTo>
                  <a:lnTo>
                    <a:pt x="199" y="19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4" name="Freeform: Shape 1353">
              <a:extLst>
                <a:ext uri="{FF2B5EF4-FFF2-40B4-BE49-F238E27FC236}">
                  <a16:creationId xmlns:a16="http://schemas.microsoft.com/office/drawing/2014/main" id="{667592E4-26EB-439F-A970-E7AFD8CDD9AA}"/>
                </a:ext>
              </a:extLst>
            </p:cNvPr>
            <p:cNvSpPr/>
            <p:nvPr/>
          </p:nvSpPr>
          <p:spPr>
            <a:xfrm>
              <a:off x="-2206088" y="438874"/>
              <a:ext cx="26306" cy="12634"/>
            </a:xfrm>
            <a:custGeom>
              <a:avLst/>
              <a:gdLst>
                <a:gd name="connsiteX0" fmla="*/ 2292 w 26306"/>
                <a:gd name="connsiteY0" fmla="*/ 7064 h 12634"/>
                <a:gd name="connsiteX1" fmla="*/ 3388 w 26306"/>
                <a:gd name="connsiteY1" fmla="*/ 7959 h 12634"/>
                <a:gd name="connsiteX2" fmla="*/ 7772 w 26306"/>
                <a:gd name="connsiteY2" fmla="*/ 9949 h 12634"/>
                <a:gd name="connsiteX3" fmla="*/ 10363 w 26306"/>
                <a:gd name="connsiteY3" fmla="*/ 10844 h 12634"/>
                <a:gd name="connsiteX4" fmla="*/ 14050 w 26306"/>
                <a:gd name="connsiteY4" fmla="*/ 11242 h 12634"/>
                <a:gd name="connsiteX5" fmla="*/ 15345 w 26306"/>
                <a:gd name="connsiteY5" fmla="*/ 11143 h 12634"/>
                <a:gd name="connsiteX6" fmla="*/ 16641 w 26306"/>
                <a:gd name="connsiteY6" fmla="*/ 10745 h 12634"/>
                <a:gd name="connsiteX7" fmla="*/ 18534 w 26306"/>
                <a:gd name="connsiteY7" fmla="*/ 10645 h 12634"/>
                <a:gd name="connsiteX8" fmla="*/ 24413 w 26306"/>
                <a:gd name="connsiteY8" fmla="*/ 12635 h 12634"/>
                <a:gd name="connsiteX9" fmla="*/ 26306 w 26306"/>
                <a:gd name="connsiteY9" fmla="*/ 11342 h 12634"/>
                <a:gd name="connsiteX10" fmla="*/ 26306 w 26306"/>
                <a:gd name="connsiteY10" fmla="*/ 9750 h 12634"/>
                <a:gd name="connsiteX11" fmla="*/ 18633 w 26306"/>
                <a:gd name="connsiteY11" fmla="*/ 3780 h 12634"/>
                <a:gd name="connsiteX12" fmla="*/ 16242 w 26306"/>
                <a:gd name="connsiteY12" fmla="*/ 2985 h 12634"/>
                <a:gd name="connsiteX13" fmla="*/ 13950 w 26306"/>
                <a:gd name="connsiteY13" fmla="*/ 2686 h 12634"/>
                <a:gd name="connsiteX14" fmla="*/ 12157 w 26306"/>
                <a:gd name="connsiteY14" fmla="*/ 1990 h 12634"/>
                <a:gd name="connsiteX15" fmla="*/ 10562 w 26306"/>
                <a:gd name="connsiteY15" fmla="*/ 1691 h 12634"/>
                <a:gd name="connsiteX16" fmla="*/ 7075 w 26306"/>
                <a:gd name="connsiteY16" fmla="*/ 1691 h 12634"/>
                <a:gd name="connsiteX17" fmla="*/ 6278 w 26306"/>
                <a:gd name="connsiteY17" fmla="*/ 1592 h 12634"/>
                <a:gd name="connsiteX18" fmla="*/ 3089 w 26306"/>
                <a:gd name="connsiteY18" fmla="*/ 0 h 12634"/>
                <a:gd name="connsiteX19" fmla="*/ 1794 w 26306"/>
                <a:gd name="connsiteY19" fmla="*/ 199 h 12634"/>
                <a:gd name="connsiteX20" fmla="*/ 698 w 26306"/>
                <a:gd name="connsiteY20" fmla="*/ 1194 h 12634"/>
                <a:gd name="connsiteX21" fmla="*/ 0 w 26306"/>
                <a:gd name="connsiteY21" fmla="*/ 2587 h 12634"/>
                <a:gd name="connsiteX22" fmla="*/ 299 w 26306"/>
                <a:gd name="connsiteY22" fmla="*/ 3780 h 12634"/>
                <a:gd name="connsiteX23" fmla="*/ 1794 w 26306"/>
                <a:gd name="connsiteY23" fmla="*/ 4178 h 12634"/>
                <a:gd name="connsiteX24" fmla="*/ 2989 w 26306"/>
                <a:gd name="connsiteY24" fmla="*/ 5372 h 12634"/>
                <a:gd name="connsiteX25" fmla="*/ 2690 w 26306"/>
                <a:gd name="connsiteY25" fmla="*/ 6467 h 12634"/>
                <a:gd name="connsiteX26" fmla="*/ 2292 w 26306"/>
                <a:gd name="connsiteY26" fmla="*/ 7064 h 12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6306" h="12634">
                  <a:moveTo>
                    <a:pt x="2292" y="7064"/>
                  </a:moveTo>
                  <a:lnTo>
                    <a:pt x="3388" y="7959"/>
                  </a:lnTo>
                  <a:lnTo>
                    <a:pt x="7772" y="9949"/>
                  </a:lnTo>
                  <a:lnTo>
                    <a:pt x="10363" y="10844"/>
                  </a:lnTo>
                  <a:lnTo>
                    <a:pt x="14050" y="11242"/>
                  </a:lnTo>
                  <a:lnTo>
                    <a:pt x="15345" y="11143"/>
                  </a:lnTo>
                  <a:lnTo>
                    <a:pt x="16641" y="10745"/>
                  </a:lnTo>
                  <a:lnTo>
                    <a:pt x="18534" y="10645"/>
                  </a:lnTo>
                  <a:lnTo>
                    <a:pt x="24413" y="12635"/>
                  </a:lnTo>
                  <a:lnTo>
                    <a:pt x="26306" y="11342"/>
                  </a:lnTo>
                  <a:lnTo>
                    <a:pt x="26306" y="9750"/>
                  </a:lnTo>
                  <a:lnTo>
                    <a:pt x="18633" y="3780"/>
                  </a:lnTo>
                  <a:lnTo>
                    <a:pt x="16242" y="2985"/>
                  </a:lnTo>
                  <a:lnTo>
                    <a:pt x="13950" y="2686"/>
                  </a:lnTo>
                  <a:lnTo>
                    <a:pt x="12157" y="1990"/>
                  </a:lnTo>
                  <a:lnTo>
                    <a:pt x="10562" y="1691"/>
                  </a:lnTo>
                  <a:lnTo>
                    <a:pt x="7075" y="1691"/>
                  </a:lnTo>
                  <a:lnTo>
                    <a:pt x="6278" y="1592"/>
                  </a:lnTo>
                  <a:lnTo>
                    <a:pt x="3089" y="0"/>
                  </a:lnTo>
                  <a:lnTo>
                    <a:pt x="1794" y="199"/>
                  </a:lnTo>
                  <a:lnTo>
                    <a:pt x="698" y="1194"/>
                  </a:lnTo>
                  <a:lnTo>
                    <a:pt x="0" y="2587"/>
                  </a:lnTo>
                  <a:lnTo>
                    <a:pt x="299" y="3780"/>
                  </a:lnTo>
                  <a:lnTo>
                    <a:pt x="1794" y="4178"/>
                  </a:lnTo>
                  <a:lnTo>
                    <a:pt x="2989" y="5372"/>
                  </a:lnTo>
                  <a:lnTo>
                    <a:pt x="2690" y="6467"/>
                  </a:lnTo>
                  <a:lnTo>
                    <a:pt x="2292" y="706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5" name="Freeform: Shape 1354">
              <a:extLst>
                <a:ext uri="{FF2B5EF4-FFF2-40B4-BE49-F238E27FC236}">
                  <a16:creationId xmlns:a16="http://schemas.microsoft.com/office/drawing/2014/main" id="{C4749BE3-55C9-473F-84B1-F7CEF617AB58}"/>
                </a:ext>
              </a:extLst>
            </p:cNvPr>
            <p:cNvSpPr/>
            <p:nvPr/>
          </p:nvSpPr>
          <p:spPr>
            <a:xfrm>
              <a:off x="-2141618" y="492796"/>
              <a:ext cx="22021" cy="12037"/>
            </a:xfrm>
            <a:custGeom>
              <a:avLst/>
              <a:gdLst>
                <a:gd name="connsiteX0" fmla="*/ 22021 w 22021"/>
                <a:gd name="connsiteY0" fmla="*/ 8954 h 12037"/>
                <a:gd name="connsiteX1" fmla="*/ 21025 w 22021"/>
                <a:gd name="connsiteY1" fmla="*/ 7561 h 12037"/>
                <a:gd name="connsiteX2" fmla="*/ 18932 w 22021"/>
                <a:gd name="connsiteY2" fmla="*/ 6765 h 12037"/>
                <a:gd name="connsiteX3" fmla="*/ 12954 w 22021"/>
                <a:gd name="connsiteY3" fmla="*/ 5372 h 12037"/>
                <a:gd name="connsiteX4" fmla="*/ 7772 w 22021"/>
                <a:gd name="connsiteY4" fmla="*/ 2786 h 12037"/>
                <a:gd name="connsiteX5" fmla="*/ 6676 w 22021"/>
                <a:gd name="connsiteY5" fmla="*/ 1691 h 12037"/>
                <a:gd name="connsiteX6" fmla="*/ 5879 w 22021"/>
                <a:gd name="connsiteY6" fmla="*/ 398 h 12037"/>
                <a:gd name="connsiteX7" fmla="*/ 4584 w 22021"/>
                <a:gd name="connsiteY7" fmla="*/ 0 h 12037"/>
                <a:gd name="connsiteX8" fmla="*/ 897 w 22021"/>
                <a:gd name="connsiteY8" fmla="*/ 796 h 12037"/>
                <a:gd name="connsiteX9" fmla="*/ 100 w 22021"/>
                <a:gd name="connsiteY9" fmla="*/ 1791 h 12037"/>
                <a:gd name="connsiteX10" fmla="*/ 0 w 22021"/>
                <a:gd name="connsiteY10" fmla="*/ 2587 h 12037"/>
                <a:gd name="connsiteX11" fmla="*/ 299 w 22021"/>
                <a:gd name="connsiteY11" fmla="*/ 2985 h 12037"/>
                <a:gd name="connsiteX12" fmla="*/ 598 w 22021"/>
                <a:gd name="connsiteY12" fmla="*/ 3582 h 12037"/>
                <a:gd name="connsiteX13" fmla="*/ 399 w 22021"/>
                <a:gd name="connsiteY13" fmla="*/ 4477 h 12037"/>
                <a:gd name="connsiteX14" fmla="*/ 1096 w 22021"/>
                <a:gd name="connsiteY14" fmla="*/ 6268 h 12037"/>
                <a:gd name="connsiteX15" fmla="*/ 3488 w 22021"/>
                <a:gd name="connsiteY15" fmla="*/ 8357 h 12037"/>
                <a:gd name="connsiteX16" fmla="*/ 11858 w 22021"/>
                <a:gd name="connsiteY16" fmla="*/ 11342 h 12037"/>
                <a:gd name="connsiteX17" fmla="*/ 15345 w 22021"/>
                <a:gd name="connsiteY17" fmla="*/ 12038 h 12037"/>
                <a:gd name="connsiteX18" fmla="*/ 17438 w 22021"/>
                <a:gd name="connsiteY18" fmla="*/ 11839 h 12037"/>
                <a:gd name="connsiteX19" fmla="*/ 19331 w 22021"/>
                <a:gd name="connsiteY19" fmla="*/ 11342 h 12037"/>
                <a:gd name="connsiteX20" fmla="*/ 20128 w 22021"/>
                <a:gd name="connsiteY20" fmla="*/ 11242 h 12037"/>
                <a:gd name="connsiteX21" fmla="*/ 20826 w 22021"/>
                <a:gd name="connsiteY21" fmla="*/ 11441 h 12037"/>
                <a:gd name="connsiteX22" fmla="*/ 21922 w 22021"/>
                <a:gd name="connsiteY22" fmla="*/ 10645 h 12037"/>
                <a:gd name="connsiteX23" fmla="*/ 22021 w 22021"/>
                <a:gd name="connsiteY23" fmla="*/ 8954 h 1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021" h="12037">
                  <a:moveTo>
                    <a:pt x="22021" y="8954"/>
                  </a:moveTo>
                  <a:lnTo>
                    <a:pt x="21025" y="7561"/>
                  </a:lnTo>
                  <a:lnTo>
                    <a:pt x="18932" y="6765"/>
                  </a:lnTo>
                  <a:lnTo>
                    <a:pt x="12954" y="5372"/>
                  </a:lnTo>
                  <a:lnTo>
                    <a:pt x="7772" y="2786"/>
                  </a:lnTo>
                  <a:lnTo>
                    <a:pt x="6676" y="1691"/>
                  </a:lnTo>
                  <a:lnTo>
                    <a:pt x="5879" y="398"/>
                  </a:lnTo>
                  <a:lnTo>
                    <a:pt x="4584" y="0"/>
                  </a:lnTo>
                  <a:lnTo>
                    <a:pt x="897" y="796"/>
                  </a:lnTo>
                  <a:lnTo>
                    <a:pt x="100" y="1791"/>
                  </a:lnTo>
                  <a:lnTo>
                    <a:pt x="0" y="2587"/>
                  </a:lnTo>
                  <a:lnTo>
                    <a:pt x="299" y="2985"/>
                  </a:lnTo>
                  <a:lnTo>
                    <a:pt x="598" y="3582"/>
                  </a:lnTo>
                  <a:lnTo>
                    <a:pt x="399" y="4477"/>
                  </a:lnTo>
                  <a:lnTo>
                    <a:pt x="1096" y="6268"/>
                  </a:lnTo>
                  <a:lnTo>
                    <a:pt x="3488" y="8357"/>
                  </a:lnTo>
                  <a:lnTo>
                    <a:pt x="11858" y="11342"/>
                  </a:lnTo>
                  <a:lnTo>
                    <a:pt x="15345" y="12038"/>
                  </a:lnTo>
                  <a:lnTo>
                    <a:pt x="17438" y="11839"/>
                  </a:lnTo>
                  <a:lnTo>
                    <a:pt x="19331" y="11342"/>
                  </a:lnTo>
                  <a:lnTo>
                    <a:pt x="20128" y="11242"/>
                  </a:lnTo>
                  <a:lnTo>
                    <a:pt x="20826" y="11441"/>
                  </a:lnTo>
                  <a:lnTo>
                    <a:pt x="21922" y="10645"/>
                  </a:lnTo>
                  <a:lnTo>
                    <a:pt x="22021" y="895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6" name="Freeform: Shape 1355">
              <a:extLst>
                <a:ext uri="{FF2B5EF4-FFF2-40B4-BE49-F238E27FC236}">
                  <a16:creationId xmlns:a16="http://schemas.microsoft.com/office/drawing/2014/main" id="{63C8490D-86EA-4180-BD21-CBEBF538A59D}"/>
                </a:ext>
              </a:extLst>
            </p:cNvPr>
            <p:cNvSpPr/>
            <p:nvPr/>
          </p:nvSpPr>
          <p:spPr>
            <a:xfrm>
              <a:off x="5757366" y="851449"/>
              <a:ext cx="221708" cy="241257"/>
            </a:xfrm>
            <a:custGeom>
              <a:avLst/>
              <a:gdLst>
                <a:gd name="connsiteX0" fmla="*/ 186434 w 221708"/>
                <a:gd name="connsiteY0" fmla="*/ 201860 h 241257"/>
                <a:gd name="connsiteX1" fmla="*/ 187231 w 221708"/>
                <a:gd name="connsiteY1" fmla="*/ 201064 h 241257"/>
                <a:gd name="connsiteX2" fmla="*/ 187530 w 221708"/>
                <a:gd name="connsiteY2" fmla="*/ 199671 h 241257"/>
                <a:gd name="connsiteX3" fmla="*/ 187131 w 221708"/>
                <a:gd name="connsiteY3" fmla="*/ 198080 h 241257"/>
                <a:gd name="connsiteX4" fmla="*/ 185537 w 221708"/>
                <a:gd name="connsiteY4" fmla="*/ 197383 h 241257"/>
                <a:gd name="connsiteX5" fmla="*/ 183843 w 221708"/>
                <a:gd name="connsiteY5" fmla="*/ 197184 h 241257"/>
                <a:gd name="connsiteX6" fmla="*/ 182448 w 221708"/>
                <a:gd name="connsiteY6" fmla="*/ 196687 h 241257"/>
                <a:gd name="connsiteX7" fmla="*/ 179857 w 221708"/>
                <a:gd name="connsiteY7" fmla="*/ 195095 h 241257"/>
                <a:gd name="connsiteX8" fmla="*/ 177964 w 221708"/>
                <a:gd name="connsiteY8" fmla="*/ 194399 h 241257"/>
                <a:gd name="connsiteX9" fmla="*/ 177068 w 221708"/>
                <a:gd name="connsiteY9" fmla="*/ 194598 h 241257"/>
                <a:gd name="connsiteX10" fmla="*/ 176968 w 221708"/>
                <a:gd name="connsiteY10" fmla="*/ 194498 h 241257"/>
                <a:gd name="connsiteX11" fmla="*/ 177267 w 221708"/>
                <a:gd name="connsiteY11" fmla="*/ 193006 h 241257"/>
                <a:gd name="connsiteX12" fmla="*/ 180555 w 221708"/>
                <a:gd name="connsiteY12" fmla="*/ 189325 h 241257"/>
                <a:gd name="connsiteX13" fmla="*/ 199687 w 221708"/>
                <a:gd name="connsiteY13" fmla="*/ 188529 h 241257"/>
                <a:gd name="connsiteX14" fmla="*/ 199089 w 221708"/>
                <a:gd name="connsiteY14" fmla="*/ 187733 h 241257"/>
                <a:gd name="connsiteX15" fmla="*/ 198690 w 221708"/>
                <a:gd name="connsiteY15" fmla="*/ 186738 h 241257"/>
                <a:gd name="connsiteX16" fmla="*/ 198092 w 221708"/>
                <a:gd name="connsiteY16" fmla="*/ 186240 h 241257"/>
                <a:gd name="connsiteX17" fmla="*/ 198591 w 221708"/>
                <a:gd name="connsiteY17" fmla="*/ 185146 h 241257"/>
                <a:gd name="connsiteX18" fmla="*/ 199089 w 221708"/>
                <a:gd name="connsiteY18" fmla="*/ 184251 h 241257"/>
                <a:gd name="connsiteX19" fmla="*/ 199886 w 221708"/>
                <a:gd name="connsiteY19" fmla="*/ 183554 h 241257"/>
                <a:gd name="connsiteX20" fmla="*/ 200683 w 221708"/>
                <a:gd name="connsiteY20" fmla="*/ 182858 h 241257"/>
                <a:gd name="connsiteX21" fmla="*/ 204370 w 221708"/>
                <a:gd name="connsiteY21" fmla="*/ 183753 h 241257"/>
                <a:gd name="connsiteX22" fmla="*/ 214135 w 221708"/>
                <a:gd name="connsiteY22" fmla="*/ 178679 h 241257"/>
                <a:gd name="connsiteX23" fmla="*/ 219018 w 221708"/>
                <a:gd name="connsiteY23" fmla="*/ 179077 h 241257"/>
                <a:gd name="connsiteX24" fmla="*/ 220413 w 221708"/>
                <a:gd name="connsiteY24" fmla="*/ 179475 h 241257"/>
                <a:gd name="connsiteX25" fmla="*/ 221310 w 221708"/>
                <a:gd name="connsiteY25" fmla="*/ 178679 h 241257"/>
                <a:gd name="connsiteX26" fmla="*/ 221708 w 221708"/>
                <a:gd name="connsiteY26" fmla="*/ 177088 h 241257"/>
                <a:gd name="connsiteX27" fmla="*/ 221608 w 221708"/>
                <a:gd name="connsiteY27" fmla="*/ 175197 h 241257"/>
                <a:gd name="connsiteX28" fmla="*/ 221110 w 221708"/>
                <a:gd name="connsiteY28" fmla="*/ 174700 h 241257"/>
                <a:gd name="connsiteX29" fmla="*/ 219018 w 221708"/>
                <a:gd name="connsiteY29" fmla="*/ 172909 h 241257"/>
                <a:gd name="connsiteX30" fmla="*/ 218121 w 221708"/>
                <a:gd name="connsiteY30" fmla="*/ 171815 h 241257"/>
                <a:gd name="connsiteX31" fmla="*/ 217922 w 221708"/>
                <a:gd name="connsiteY31" fmla="*/ 169527 h 241257"/>
                <a:gd name="connsiteX32" fmla="*/ 218121 w 221708"/>
                <a:gd name="connsiteY32" fmla="*/ 168333 h 241257"/>
                <a:gd name="connsiteX33" fmla="*/ 218918 w 221708"/>
                <a:gd name="connsiteY33" fmla="*/ 168631 h 241257"/>
                <a:gd name="connsiteX34" fmla="*/ 217922 w 221708"/>
                <a:gd name="connsiteY34" fmla="*/ 167736 h 241257"/>
                <a:gd name="connsiteX35" fmla="*/ 217024 w 221708"/>
                <a:gd name="connsiteY35" fmla="*/ 167437 h 241257"/>
                <a:gd name="connsiteX36" fmla="*/ 214633 w 221708"/>
                <a:gd name="connsiteY36" fmla="*/ 167437 h 241257"/>
                <a:gd name="connsiteX37" fmla="*/ 209551 w 221708"/>
                <a:gd name="connsiteY37" fmla="*/ 168731 h 241257"/>
                <a:gd name="connsiteX38" fmla="*/ 206662 w 221708"/>
                <a:gd name="connsiteY38" fmla="*/ 169129 h 241257"/>
                <a:gd name="connsiteX39" fmla="*/ 204669 w 221708"/>
                <a:gd name="connsiteY39" fmla="*/ 167935 h 241257"/>
                <a:gd name="connsiteX40" fmla="*/ 202975 w 221708"/>
                <a:gd name="connsiteY40" fmla="*/ 165746 h 241257"/>
                <a:gd name="connsiteX41" fmla="*/ 201979 w 221708"/>
                <a:gd name="connsiteY41" fmla="*/ 163856 h 241257"/>
                <a:gd name="connsiteX42" fmla="*/ 202377 w 221708"/>
                <a:gd name="connsiteY42" fmla="*/ 162463 h 241257"/>
                <a:gd name="connsiteX43" fmla="*/ 208157 w 221708"/>
                <a:gd name="connsiteY43" fmla="*/ 161468 h 241257"/>
                <a:gd name="connsiteX44" fmla="*/ 209850 w 221708"/>
                <a:gd name="connsiteY44" fmla="*/ 160175 h 241257"/>
                <a:gd name="connsiteX45" fmla="*/ 212840 w 221708"/>
                <a:gd name="connsiteY45" fmla="*/ 156394 h 241257"/>
                <a:gd name="connsiteX46" fmla="*/ 220712 w 221708"/>
                <a:gd name="connsiteY46" fmla="*/ 150823 h 241257"/>
                <a:gd name="connsiteX47" fmla="*/ 220712 w 221708"/>
                <a:gd name="connsiteY47" fmla="*/ 149629 h 241257"/>
                <a:gd name="connsiteX48" fmla="*/ 218320 w 221708"/>
                <a:gd name="connsiteY48" fmla="*/ 150226 h 241257"/>
                <a:gd name="connsiteX49" fmla="*/ 215530 w 221708"/>
                <a:gd name="connsiteY49" fmla="*/ 151320 h 241257"/>
                <a:gd name="connsiteX50" fmla="*/ 212939 w 221708"/>
                <a:gd name="connsiteY50" fmla="*/ 153012 h 241257"/>
                <a:gd name="connsiteX51" fmla="*/ 211146 w 221708"/>
                <a:gd name="connsiteY51" fmla="*/ 155200 h 241257"/>
                <a:gd name="connsiteX52" fmla="*/ 211544 w 221708"/>
                <a:gd name="connsiteY52" fmla="*/ 150226 h 241257"/>
                <a:gd name="connsiteX53" fmla="*/ 213936 w 221708"/>
                <a:gd name="connsiteY53" fmla="*/ 146147 h 241257"/>
                <a:gd name="connsiteX54" fmla="*/ 217324 w 221708"/>
                <a:gd name="connsiteY54" fmla="*/ 143063 h 241257"/>
                <a:gd name="connsiteX55" fmla="*/ 220712 w 221708"/>
                <a:gd name="connsiteY55" fmla="*/ 140775 h 241257"/>
                <a:gd name="connsiteX56" fmla="*/ 211544 w 221708"/>
                <a:gd name="connsiteY56" fmla="*/ 139680 h 241257"/>
                <a:gd name="connsiteX57" fmla="*/ 209153 w 221708"/>
                <a:gd name="connsiteY57" fmla="*/ 140377 h 241257"/>
                <a:gd name="connsiteX58" fmla="*/ 205068 w 221708"/>
                <a:gd name="connsiteY58" fmla="*/ 142566 h 241257"/>
                <a:gd name="connsiteX59" fmla="*/ 203274 w 221708"/>
                <a:gd name="connsiteY59" fmla="*/ 141969 h 241257"/>
                <a:gd name="connsiteX60" fmla="*/ 203673 w 221708"/>
                <a:gd name="connsiteY60" fmla="*/ 136497 h 241257"/>
                <a:gd name="connsiteX61" fmla="*/ 197694 w 221708"/>
                <a:gd name="connsiteY61" fmla="*/ 134706 h 241257"/>
                <a:gd name="connsiteX62" fmla="*/ 185039 w 221708"/>
                <a:gd name="connsiteY62" fmla="*/ 134109 h 241257"/>
                <a:gd name="connsiteX63" fmla="*/ 191915 w 221708"/>
                <a:gd name="connsiteY63" fmla="*/ 132020 h 241257"/>
                <a:gd name="connsiteX64" fmla="*/ 189224 w 221708"/>
                <a:gd name="connsiteY64" fmla="*/ 129732 h 241257"/>
                <a:gd name="connsiteX65" fmla="*/ 186135 w 221708"/>
                <a:gd name="connsiteY65" fmla="*/ 128438 h 241257"/>
                <a:gd name="connsiteX66" fmla="*/ 182748 w 221708"/>
                <a:gd name="connsiteY66" fmla="*/ 127642 h 241257"/>
                <a:gd name="connsiteX67" fmla="*/ 179359 w 221708"/>
                <a:gd name="connsiteY67" fmla="*/ 127444 h 241257"/>
                <a:gd name="connsiteX68" fmla="*/ 177366 w 221708"/>
                <a:gd name="connsiteY68" fmla="*/ 128438 h 241257"/>
                <a:gd name="connsiteX69" fmla="*/ 174577 w 221708"/>
                <a:gd name="connsiteY69" fmla="*/ 130925 h 241257"/>
                <a:gd name="connsiteX70" fmla="*/ 172185 w 221708"/>
                <a:gd name="connsiteY70" fmla="*/ 133910 h 241257"/>
                <a:gd name="connsiteX71" fmla="*/ 171089 w 221708"/>
                <a:gd name="connsiteY71" fmla="*/ 136895 h 241257"/>
                <a:gd name="connsiteX72" fmla="*/ 171388 w 221708"/>
                <a:gd name="connsiteY72" fmla="*/ 138487 h 241257"/>
                <a:gd name="connsiteX73" fmla="*/ 171886 w 221708"/>
                <a:gd name="connsiteY73" fmla="*/ 139879 h 241257"/>
                <a:gd name="connsiteX74" fmla="*/ 172284 w 221708"/>
                <a:gd name="connsiteY74" fmla="*/ 141372 h 241257"/>
                <a:gd name="connsiteX75" fmla="*/ 172086 w 221708"/>
                <a:gd name="connsiteY75" fmla="*/ 142964 h 241257"/>
                <a:gd name="connsiteX76" fmla="*/ 170690 w 221708"/>
                <a:gd name="connsiteY76" fmla="*/ 145252 h 241257"/>
                <a:gd name="connsiteX77" fmla="*/ 169793 w 221708"/>
                <a:gd name="connsiteY77" fmla="*/ 144754 h 241257"/>
                <a:gd name="connsiteX78" fmla="*/ 168598 w 221708"/>
                <a:gd name="connsiteY78" fmla="*/ 141969 h 241257"/>
                <a:gd name="connsiteX79" fmla="*/ 166804 w 221708"/>
                <a:gd name="connsiteY79" fmla="*/ 140277 h 241257"/>
                <a:gd name="connsiteX80" fmla="*/ 165708 w 221708"/>
                <a:gd name="connsiteY80" fmla="*/ 139680 h 241257"/>
                <a:gd name="connsiteX81" fmla="*/ 164213 w 221708"/>
                <a:gd name="connsiteY81" fmla="*/ 139680 h 241257"/>
                <a:gd name="connsiteX82" fmla="*/ 163516 w 221708"/>
                <a:gd name="connsiteY82" fmla="*/ 140178 h 241257"/>
                <a:gd name="connsiteX83" fmla="*/ 162619 w 221708"/>
                <a:gd name="connsiteY83" fmla="*/ 141372 h 241257"/>
                <a:gd name="connsiteX84" fmla="*/ 161424 w 221708"/>
                <a:gd name="connsiteY84" fmla="*/ 142466 h 241257"/>
                <a:gd name="connsiteX85" fmla="*/ 159829 w 221708"/>
                <a:gd name="connsiteY85" fmla="*/ 142964 h 241257"/>
                <a:gd name="connsiteX86" fmla="*/ 169793 w 221708"/>
                <a:gd name="connsiteY86" fmla="*/ 131920 h 241257"/>
                <a:gd name="connsiteX87" fmla="*/ 170690 w 221708"/>
                <a:gd name="connsiteY87" fmla="*/ 129135 h 241257"/>
                <a:gd name="connsiteX88" fmla="*/ 163715 w 221708"/>
                <a:gd name="connsiteY88" fmla="*/ 123066 h 241257"/>
                <a:gd name="connsiteX89" fmla="*/ 161224 w 221708"/>
                <a:gd name="connsiteY89" fmla="*/ 116898 h 241257"/>
                <a:gd name="connsiteX90" fmla="*/ 160726 w 221708"/>
                <a:gd name="connsiteY90" fmla="*/ 115206 h 241257"/>
                <a:gd name="connsiteX91" fmla="*/ 152157 w 221708"/>
                <a:gd name="connsiteY91" fmla="*/ 117694 h 241257"/>
                <a:gd name="connsiteX92" fmla="*/ 136413 w 221708"/>
                <a:gd name="connsiteY92" fmla="*/ 130428 h 241257"/>
                <a:gd name="connsiteX93" fmla="*/ 133922 w 221708"/>
                <a:gd name="connsiteY93" fmla="*/ 132915 h 241257"/>
                <a:gd name="connsiteX94" fmla="*/ 132925 w 221708"/>
                <a:gd name="connsiteY94" fmla="*/ 135701 h 241257"/>
                <a:gd name="connsiteX95" fmla="*/ 124157 w 221708"/>
                <a:gd name="connsiteY95" fmla="*/ 144058 h 241257"/>
                <a:gd name="connsiteX96" fmla="*/ 120370 w 221708"/>
                <a:gd name="connsiteY96" fmla="*/ 149530 h 241257"/>
                <a:gd name="connsiteX97" fmla="*/ 117879 w 221708"/>
                <a:gd name="connsiteY97" fmla="*/ 151917 h 241257"/>
                <a:gd name="connsiteX98" fmla="*/ 115189 w 221708"/>
                <a:gd name="connsiteY98" fmla="*/ 152912 h 241257"/>
                <a:gd name="connsiteX99" fmla="*/ 114192 w 221708"/>
                <a:gd name="connsiteY99" fmla="*/ 153609 h 241257"/>
                <a:gd name="connsiteX100" fmla="*/ 113594 w 221708"/>
                <a:gd name="connsiteY100" fmla="*/ 155001 h 241257"/>
                <a:gd name="connsiteX101" fmla="*/ 113893 w 221708"/>
                <a:gd name="connsiteY101" fmla="*/ 156494 h 241257"/>
                <a:gd name="connsiteX102" fmla="*/ 115687 w 221708"/>
                <a:gd name="connsiteY102" fmla="*/ 157389 h 241257"/>
                <a:gd name="connsiteX103" fmla="*/ 116783 w 221708"/>
                <a:gd name="connsiteY103" fmla="*/ 157290 h 241257"/>
                <a:gd name="connsiteX104" fmla="*/ 119673 w 221708"/>
                <a:gd name="connsiteY104" fmla="*/ 155897 h 241257"/>
                <a:gd name="connsiteX105" fmla="*/ 139900 w 221708"/>
                <a:gd name="connsiteY105" fmla="*/ 139680 h 241257"/>
                <a:gd name="connsiteX106" fmla="*/ 145879 w 221708"/>
                <a:gd name="connsiteY106" fmla="*/ 132915 h 241257"/>
                <a:gd name="connsiteX107" fmla="*/ 148171 w 221708"/>
                <a:gd name="connsiteY107" fmla="*/ 132020 h 241257"/>
                <a:gd name="connsiteX108" fmla="*/ 153751 w 221708"/>
                <a:gd name="connsiteY108" fmla="*/ 131622 h 241257"/>
                <a:gd name="connsiteX109" fmla="*/ 156342 w 221708"/>
                <a:gd name="connsiteY109" fmla="*/ 130925 h 241257"/>
                <a:gd name="connsiteX110" fmla="*/ 159032 w 221708"/>
                <a:gd name="connsiteY110" fmla="*/ 129732 h 241257"/>
                <a:gd name="connsiteX111" fmla="*/ 158533 w 221708"/>
                <a:gd name="connsiteY111" fmla="*/ 132816 h 241257"/>
                <a:gd name="connsiteX112" fmla="*/ 156740 w 221708"/>
                <a:gd name="connsiteY112" fmla="*/ 134408 h 241257"/>
                <a:gd name="connsiteX113" fmla="*/ 154349 w 221708"/>
                <a:gd name="connsiteY113" fmla="*/ 135005 h 241257"/>
                <a:gd name="connsiteX114" fmla="*/ 151658 w 221708"/>
                <a:gd name="connsiteY114" fmla="*/ 135104 h 241257"/>
                <a:gd name="connsiteX115" fmla="*/ 149068 w 221708"/>
                <a:gd name="connsiteY115" fmla="*/ 136397 h 241257"/>
                <a:gd name="connsiteX116" fmla="*/ 145281 w 221708"/>
                <a:gd name="connsiteY116" fmla="*/ 141770 h 241257"/>
                <a:gd name="connsiteX117" fmla="*/ 143786 w 221708"/>
                <a:gd name="connsiteY117" fmla="*/ 142964 h 241257"/>
                <a:gd name="connsiteX118" fmla="*/ 141993 w 221708"/>
                <a:gd name="connsiteY118" fmla="*/ 144058 h 241257"/>
                <a:gd name="connsiteX119" fmla="*/ 134619 w 221708"/>
                <a:gd name="connsiteY119" fmla="*/ 151818 h 241257"/>
                <a:gd name="connsiteX120" fmla="*/ 132327 w 221708"/>
                <a:gd name="connsiteY120" fmla="*/ 153609 h 241257"/>
                <a:gd name="connsiteX121" fmla="*/ 125153 w 221708"/>
                <a:gd name="connsiteY121" fmla="*/ 157389 h 241257"/>
                <a:gd name="connsiteX122" fmla="*/ 117680 w 221708"/>
                <a:gd name="connsiteY122" fmla="*/ 164353 h 241257"/>
                <a:gd name="connsiteX123" fmla="*/ 115189 w 221708"/>
                <a:gd name="connsiteY123" fmla="*/ 165249 h 241257"/>
                <a:gd name="connsiteX124" fmla="*/ 112299 w 221708"/>
                <a:gd name="connsiteY124" fmla="*/ 165846 h 241257"/>
                <a:gd name="connsiteX125" fmla="*/ 109907 w 221708"/>
                <a:gd name="connsiteY125" fmla="*/ 167139 h 241257"/>
                <a:gd name="connsiteX126" fmla="*/ 106021 w 221708"/>
                <a:gd name="connsiteY126" fmla="*/ 170720 h 241257"/>
                <a:gd name="connsiteX127" fmla="*/ 97551 w 221708"/>
                <a:gd name="connsiteY127" fmla="*/ 175595 h 241257"/>
                <a:gd name="connsiteX128" fmla="*/ 96356 w 221708"/>
                <a:gd name="connsiteY128" fmla="*/ 177983 h 241257"/>
                <a:gd name="connsiteX129" fmla="*/ 96854 w 221708"/>
                <a:gd name="connsiteY129" fmla="*/ 179575 h 241257"/>
                <a:gd name="connsiteX130" fmla="*/ 98349 w 221708"/>
                <a:gd name="connsiteY130" fmla="*/ 179774 h 241257"/>
                <a:gd name="connsiteX131" fmla="*/ 100042 w 221708"/>
                <a:gd name="connsiteY131" fmla="*/ 179475 h 241257"/>
                <a:gd name="connsiteX132" fmla="*/ 101737 w 221708"/>
                <a:gd name="connsiteY132" fmla="*/ 179674 h 241257"/>
                <a:gd name="connsiteX133" fmla="*/ 102833 w 221708"/>
                <a:gd name="connsiteY133" fmla="*/ 180769 h 241257"/>
                <a:gd name="connsiteX134" fmla="*/ 103929 w 221708"/>
                <a:gd name="connsiteY134" fmla="*/ 183654 h 241257"/>
                <a:gd name="connsiteX135" fmla="*/ 105124 w 221708"/>
                <a:gd name="connsiteY135" fmla="*/ 185146 h 241257"/>
                <a:gd name="connsiteX136" fmla="*/ 106719 w 221708"/>
                <a:gd name="connsiteY136" fmla="*/ 186042 h 241257"/>
                <a:gd name="connsiteX137" fmla="*/ 108014 w 221708"/>
                <a:gd name="connsiteY137" fmla="*/ 185942 h 241257"/>
                <a:gd name="connsiteX138" fmla="*/ 112398 w 221708"/>
                <a:gd name="connsiteY138" fmla="*/ 184649 h 241257"/>
                <a:gd name="connsiteX139" fmla="*/ 114790 w 221708"/>
                <a:gd name="connsiteY139" fmla="*/ 182360 h 241257"/>
                <a:gd name="connsiteX140" fmla="*/ 117879 w 221708"/>
                <a:gd name="connsiteY140" fmla="*/ 181266 h 241257"/>
                <a:gd name="connsiteX141" fmla="*/ 125153 w 221708"/>
                <a:gd name="connsiteY141" fmla="*/ 177287 h 241257"/>
                <a:gd name="connsiteX142" fmla="*/ 133622 w 221708"/>
                <a:gd name="connsiteY142" fmla="*/ 175297 h 241257"/>
                <a:gd name="connsiteX143" fmla="*/ 137908 w 221708"/>
                <a:gd name="connsiteY143" fmla="*/ 171914 h 241257"/>
                <a:gd name="connsiteX144" fmla="*/ 143388 w 221708"/>
                <a:gd name="connsiteY144" fmla="*/ 169328 h 241257"/>
                <a:gd name="connsiteX145" fmla="*/ 145979 w 221708"/>
                <a:gd name="connsiteY145" fmla="*/ 168631 h 241257"/>
                <a:gd name="connsiteX146" fmla="*/ 143886 w 221708"/>
                <a:gd name="connsiteY146" fmla="*/ 172113 h 241257"/>
                <a:gd name="connsiteX147" fmla="*/ 140199 w 221708"/>
                <a:gd name="connsiteY147" fmla="*/ 175695 h 241257"/>
                <a:gd name="connsiteX148" fmla="*/ 136114 w 221708"/>
                <a:gd name="connsiteY148" fmla="*/ 178580 h 241257"/>
                <a:gd name="connsiteX149" fmla="*/ 130633 w 221708"/>
                <a:gd name="connsiteY149" fmla="*/ 180470 h 241257"/>
                <a:gd name="connsiteX150" fmla="*/ 128042 w 221708"/>
                <a:gd name="connsiteY150" fmla="*/ 184251 h 241257"/>
                <a:gd name="connsiteX151" fmla="*/ 124555 w 221708"/>
                <a:gd name="connsiteY151" fmla="*/ 186042 h 241257"/>
                <a:gd name="connsiteX152" fmla="*/ 120669 w 221708"/>
                <a:gd name="connsiteY152" fmla="*/ 189922 h 241257"/>
                <a:gd name="connsiteX153" fmla="*/ 119473 w 221708"/>
                <a:gd name="connsiteY153" fmla="*/ 190817 h 241257"/>
                <a:gd name="connsiteX154" fmla="*/ 117580 w 221708"/>
                <a:gd name="connsiteY154" fmla="*/ 191613 h 241257"/>
                <a:gd name="connsiteX155" fmla="*/ 116284 w 221708"/>
                <a:gd name="connsiteY155" fmla="*/ 193503 h 241257"/>
                <a:gd name="connsiteX156" fmla="*/ 115089 w 221708"/>
                <a:gd name="connsiteY156" fmla="*/ 195592 h 241257"/>
                <a:gd name="connsiteX157" fmla="*/ 113793 w 221708"/>
                <a:gd name="connsiteY157" fmla="*/ 197383 h 241257"/>
                <a:gd name="connsiteX158" fmla="*/ 111800 w 221708"/>
                <a:gd name="connsiteY158" fmla="*/ 198875 h 241257"/>
                <a:gd name="connsiteX159" fmla="*/ 107915 w 221708"/>
                <a:gd name="connsiteY159" fmla="*/ 200567 h 241257"/>
                <a:gd name="connsiteX160" fmla="*/ 106021 w 221708"/>
                <a:gd name="connsiteY160" fmla="*/ 201860 h 241257"/>
                <a:gd name="connsiteX161" fmla="*/ 104726 w 221708"/>
                <a:gd name="connsiteY161" fmla="*/ 203054 h 241257"/>
                <a:gd name="connsiteX162" fmla="*/ 103231 w 221708"/>
                <a:gd name="connsiteY162" fmla="*/ 204845 h 241257"/>
                <a:gd name="connsiteX163" fmla="*/ 102035 w 221708"/>
                <a:gd name="connsiteY163" fmla="*/ 207033 h 241257"/>
                <a:gd name="connsiteX164" fmla="*/ 101737 w 221708"/>
                <a:gd name="connsiteY164" fmla="*/ 209521 h 241257"/>
                <a:gd name="connsiteX165" fmla="*/ 102434 w 221708"/>
                <a:gd name="connsiteY165" fmla="*/ 211013 h 241257"/>
                <a:gd name="connsiteX166" fmla="*/ 103630 w 221708"/>
                <a:gd name="connsiteY166" fmla="*/ 212804 h 241257"/>
                <a:gd name="connsiteX167" fmla="*/ 104128 w 221708"/>
                <a:gd name="connsiteY167" fmla="*/ 214495 h 241257"/>
                <a:gd name="connsiteX168" fmla="*/ 102633 w 221708"/>
                <a:gd name="connsiteY168" fmla="*/ 216087 h 241257"/>
                <a:gd name="connsiteX169" fmla="*/ 104128 w 221708"/>
                <a:gd name="connsiteY169" fmla="*/ 218176 h 241257"/>
                <a:gd name="connsiteX170" fmla="*/ 103829 w 221708"/>
                <a:gd name="connsiteY170" fmla="*/ 219270 h 241257"/>
                <a:gd name="connsiteX171" fmla="*/ 102335 w 221708"/>
                <a:gd name="connsiteY171" fmla="*/ 219171 h 241257"/>
                <a:gd name="connsiteX172" fmla="*/ 100342 w 221708"/>
                <a:gd name="connsiteY172" fmla="*/ 217778 h 241257"/>
                <a:gd name="connsiteX173" fmla="*/ 99544 w 221708"/>
                <a:gd name="connsiteY173" fmla="*/ 217878 h 241257"/>
                <a:gd name="connsiteX174" fmla="*/ 98149 w 221708"/>
                <a:gd name="connsiteY174" fmla="*/ 220962 h 241257"/>
                <a:gd name="connsiteX175" fmla="*/ 97253 w 221708"/>
                <a:gd name="connsiteY175" fmla="*/ 221758 h 241257"/>
                <a:gd name="connsiteX176" fmla="*/ 92968 w 221708"/>
                <a:gd name="connsiteY176" fmla="*/ 221758 h 241257"/>
                <a:gd name="connsiteX177" fmla="*/ 93964 w 221708"/>
                <a:gd name="connsiteY177" fmla="*/ 222753 h 241257"/>
                <a:gd name="connsiteX178" fmla="*/ 91175 w 221708"/>
                <a:gd name="connsiteY178" fmla="*/ 223946 h 241257"/>
                <a:gd name="connsiteX179" fmla="*/ 91673 w 221708"/>
                <a:gd name="connsiteY179" fmla="*/ 224742 h 241257"/>
                <a:gd name="connsiteX180" fmla="*/ 91971 w 221708"/>
                <a:gd name="connsiteY180" fmla="*/ 225737 h 241257"/>
                <a:gd name="connsiteX181" fmla="*/ 91573 w 221708"/>
                <a:gd name="connsiteY181" fmla="*/ 226334 h 241257"/>
                <a:gd name="connsiteX182" fmla="*/ 90377 w 221708"/>
                <a:gd name="connsiteY182" fmla="*/ 226035 h 241257"/>
                <a:gd name="connsiteX183" fmla="*/ 88982 w 221708"/>
                <a:gd name="connsiteY183" fmla="*/ 225140 h 241257"/>
                <a:gd name="connsiteX184" fmla="*/ 88882 w 221708"/>
                <a:gd name="connsiteY184" fmla="*/ 224543 h 241257"/>
                <a:gd name="connsiteX185" fmla="*/ 89580 w 221708"/>
                <a:gd name="connsiteY185" fmla="*/ 223946 h 241257"/>
                <a:gd name="connsiteX186" fmla="*/ 92271 w 221708"/>
                <a:gd name="connsiteY186" fmla="*/ 220166 h 241257"/>
                <a:gd name="connsiteX187" fmla="*/ 94264 w 221708"/>
                <a:gd name="connsiteY187" fmla="*/ 218275 h 241257"/>
                <a:gd name="connsiteX188" fmla="*/ 95359 w 221708"/>
                <a:gd name="connsiteY188" fmla="*/ 216186 h 241257"/>
                <a:gd name="connsiteX189" fmla="*/ 94363 w 221708"/>
                <a:gd name="connsiteY189" fmla="*/ 213401 h 241257"/>
                <a:gd name="connsiteX190" fmla="*/ 90676 w 221708"/>
                <a:gd name="connsiteY190" fmla="*/ 210217 h 241257"/>
                <a:gd name="connsiteX191" fmla="*/ 85993 w 221708"/>
                <a:gd name="connsiteY191" fmla="*/ 208227 h 241257"/>
                <a:gd name="connsiteX192" fmla="*/ 80911 w 221708"/>
                <a:gd name="connsiteY192" fmla="*/ 207630 h 241257"/>
                <a:gd name="connsiteX193" fmla="*/ 76527 w 221708"/>
                <a:gd name="connsiteY193" fmla="*/ 208426 h 241257"/>
                <a:gd name="connsiteX194" fmla="*/ 63673 w 221708"/>
                <a:gd name="connsiteY194" fmla="*/ 216982 h 241257"/>
                <a:gd name="connsiteX195" fmla="*/ 59487 w 221708"/>
                <a:gd name="connsiteY195" fmla="*/ 218275 h 241257"/>
                <a:gd name="connsiteX196" fmla="*/ 53011 w 221708"/>
                <a:gd name="connsiteY196" fmla="*/ 216883 h 241257"/>
                <a:gd name="connsiteX197" fmla="*/ 51715 w 221708"/>
                <a:gd name="connsiteY197" fmla="*/ 216186 h 241257"/>
                <a:gd name="connsiteX198" fmla="*/ 51217 w 221708"/>
                <a:gd name="connsiteY198" fmla="*/ 215490 h 241257"/>
                <a:gd name="connsiteX199" fmla="*/ 52213 w 221708"/>
                <a:gd name="connsiteY199" fmla="*/ 214793 h 241257"/>
                <a:gd name="connsiteX200" fmla="*/ 52911 w 221708"/>
                <a:gd name="connsiteY200" fmla="*/ 213998 h 241257"/>
                <a:gd name="connsiteX201" fmla="*/ 54007 w 221708"/>
                <a:gd name="connsiteY201" fmla="*/ 213202 h 241257"/>
                <a:gd name="connsiteX202" fmla="*/ 55203 w 221708"/>
                <a:gd name="connsiteY202" fmla="*/ 212804 h 241257"/>
                <a:gd name="connsiteX203" fmla="*/ 55602 w 221708"/>
                <a:gd name="connsiteY203" fmla="*/ 212207 h 241257"/>
                <a:gd name="connsiteX204" fmla="*/ 55701 w 221708"/>
                <a:gd name="connsiteY204" fmla="*/ 211013 h 241257"/>
                <a:gd name="connsiteX205" fmla="*/ 55800 w 221708"/>
                <a:gd name="connsiteY205" fmla="*/ 209521 h 241257"/>
                <a:gd name="connsiteX206" fmla="*/ 55701 w 221708"/>
                <a:gd name="connsiteY206" fmla="*/ 208426 h 241257"/>
                <a:gd name="connsiteX207" fmla="*/ 53509 w 221708"/>
                <a:gd name="connsiteY207" fmla="*/ 209222 h 241257"/>
                <a:gd name="connsiteX208" fmla="*/ 52911 w 221708"/>
                <a:gd name="connsiteY208" fmla="*/ 209521 h 241257"/>
                <a:gd name="connsiteX209" fmla="*/ 54306 w 221708"/>
                <a:gd name="connsiteY209" fmla="*/ 206436 h 241257"/>
                <a:gd name="connsiteX210" fmla="*/ 56797 w 221708"/>
                <a:gd name="connsiteY210" fmla="*/ 203949 h 241257"/>
                <a:gd name="connsiteX211" fmla="*/ 66762 w 221708"/>
                <a:gd name="connsiteY211" fmla="*/ 198378 h 241257"/>
                <a:gd name="connsiteX212" fmla="*/ 68256 w 221708"/>
                <a:gd name="connsiteY212" fmla="*/ 196886 h 241257"/>
                <a:gd name="connsiteX213" fmla="*/ 69153 w 221708"/>
                <a:gd name="connsiteY213" fmla="*/ 196786 h 241257"/>
                <a:gd name="connsiteX214" fmla="*/ 70548 w 221708"/>
                <a:gd name="connsiteY214" fmla="*/ 197383 h 241257"/>
                <a:gd name="connsiteX215" fmla="*/ 72242 w 221708"/>
                <a:gd name="connsiteY215" fmla="*/ 197184 h 241257"/>
                <a:gd name="connsiteX216" fmla="*/ 73836 w 221708"/>
                <a:gd name="connsiteY216" fmla="*/ 195095 h 241257"/>
                <a:gd name="connsiteX217" fmla="*/ 74833 w 221708"/>
                <a:gd name="connsiteY217" fmla="*/ 195891 h 241257"/>
                <a:gd name="connsiteX218" fmla="*/ 75829 w 221708"/>
                <a:gd name="connsiteY218" fmla="*/ 196289 h 241257"/>
                <a:gd name="connsiteX219" fmla="*/ 78220 w 221708"/>
                <a:gd name="connsiteY219" fmla="*/ 196289 h 241257"/>
                <a:gd name="connsiteX220" fmla="*/ 77224 w 221708"/>
                <a:gd name="connsiteY220" fmla="*/ 194896 h 241257"/>
                <a:gd name="connsiteX221" fmla="*/ 74135 w 221708"/>
                <a:gd name="connsiteY221" fmla="*/ 191414 h 241257"/>
                <a:gd name="connsiteX222" fmla="*/ 74335 w 221708"/>
                <a:gd name="connsiteY222" fmla="*/ 190817 h 241257"/>
                <a:gd name="connsiteX223" fmla="*/ 76327 w 221708"/>
                <a:gd name="connsiteY223" fmla="*/ 191314 h 241257"/>
                <a:gd name="connsiteX224" fmla="*/ 77822 w 221708"/>
                <a:gd name="connsiteY224" fmla="*/ 192409 h 241257"/>
                <a:gd name="connsiteX225" fmla="*/ 79217 w 221708"/>
                <a:gd name="connsiteY225" fmla="*/ 192906 h 241257"/>
                <a:gd name="connsiteX226" fmla="*/ 80811 w 221708"/>
                <a:gd name="connsiteY226" fmla="*/ 191812 h 241257"/>
                <a:gd name="connsiteX227" fmla="*/ 73836 w 221708"/>
                <a:gd name="connsiteY227" fmla="*/ 186639 h 241257"/>
                <a:gd name="connsiteX228" fmla="*/ 71246 w 221708"/>
                <a:gd name="connsiteY228" fmla="*/ 186240 h 241257"/>
                <a:gd name="connsiteX229" fmla="*/ 72142 w 221708"/>
                <a:gd name="connsiteY229" fmla="*/ 188131 h 241257"/>
                <a:gd name="connsiteX230" fmla="*/ 70149 w 221708"/>
                <a:gd name="connsiteY230" fmla="*/ 188529 h 241257"/>
                <a:gd name="connsiteX231" fmla="*/ 67459 w 221708"/>
                <a:gd name="connsiteY231" fmla="*/ 188330 h 241257"/>
                <a:gd name="connsiteX232" fmla="*/ 66064 w 221708"/>
                <a:gd name="connsiteY232" fmla="*/ 189026 h 241257"/>
                <a:gd name="connsiteX233" fmla="*/ 64868 w 221708"/>
                <a:gd name="connsiteY233" fmla="*/ 190320 h 241257"/>
                <a:gd name="connsiteX234" fmla="*/ 62178 w 221708"/>
                <a:gd name="connsiteY234" fmla="*/ 191314 h 241257"/>
                <a:gd name="connsiteX235" fmla="*/ 59288 w 221708"/>
                <a:gd name="connsiteY235" fmla="*/ 191911 h 241257"/>
                <a:gd name="connsiteX236" fmla="*/ 57395 w 221708"/>
                <a:gd name="connsiteY236" fmla="*/ 191812 h 241257"/>
                <a:gd name="connsiteX237" fmla="*/ 58691 w 221708"/>
                <a:gd name="connsiteY237" fmla="*/ 189524 h 241257"/>
                <a:gd name="connsiteX238" fmla="*/ 60584 w 221708"/>
                <a:gd name="connsiteY238" fmla="*/ 188529 h 241257"/>
                <a:gd name="connsiteX239" fmla="*/ 62676 w 221708"/>
                <a:gd name="connsiteY239" fmla="*/ 187733 h 241257"/>
                <a:gd name="connsiteX240" fmla="*/ 64370 w 221708"/>
                <a:gd name="connsiteY240" fmla="*/ 186240 h 241257"/>
                <a:gd name="connsiteX241" fmla="*/ 63274 w 221708"/>
                <a:gd name="connsiteY241" fmla="*/ 186240 h 241257"/>
                <a:gd name="connsiteX242" fmla="*/ 60882 w 221708"/>
                <a:gd name="connsiteY242" fmla="*/ 185146 h 241257"/>
                <a:gd name="connsiteX243" fmla="*/ 62875 w 221708"/>
                <a:gd name="connsiteY243" fmla="*/ 184848 h 241257"/>
                <a:gd name="connsiteX244" fmla="*/ 69751 w 221708"/>
                <a:gd name="connsiteY244" fmla="*/ 184947 h 241257"/>
                <a:gd name="connsiteX245" fmla="*/ 71246 w 221708"/>
                <a:gd name="connsiteY245" fmla="*/ 184649 h 241257"/>
                <a:gd name="connsiteX246" fmla="*/ 72342 w 221708"/>
                <a:gd name="connsiteY246" fmla="*/ 182759 h 241257"/>
                <a:gd name="connsiteX247" fmla="*/ 74733 w 221708"/>
                <a:gd name="connsiteY247" fmla="*/ 181963 h 241257"/>
                <a:gd name="connsiteX248" fmla="*/ 80014 w 221708"/>
                <a:gd name="connsiteY248" fmla="*/ 181863 h 241257"/>
                <a:gd name="connsiteX249" fmla="*/ 82804 w 221708"/>
                <a:gd name="connsiteY249" fmla="*/ 182858 h 241257"/>
                <a:gd name="connsiteX250" fmla="*/ 84299 w 221708"/>
                <a:gd name="connsiteY250" fmla="*/ 183057 h 241257"/>
                <a:gd name="connsiteX251" fmla="*/ 85595 w 221708"/>
                <a:gd name="connsiteY251" fmla="*/ 182360 h 241257"/>
                <a:gd name="connsiteX252" fmla="*/ 86591 w 221708"/>
                <a:gd name="connsiteY252" fmla="*/ 181266 h 241257"/>
                <a:gd name="connsiteX253" fmla="*/ 87886 w 221708"/>
                <a:gd name="connsiteY253" fmla="*/ 180371 h 241257"/>
                <a:gd name="connsiteX254" fmla="*/ 89281 w 221708"/>
                <a:gd name="connsiteY254" fmla="*/ 179873 h 241257"/>
                <a:gd name="connsiteX255" fmla="*/ 90776 w 221708"/>
                <a:gd name="connsiteY255" fmla="*/ 179674 h 241257"/>
                <a:gd name="connsiteX256" fmla="*/ 93366 w 221708"/>
                <a:gd name="connsiteY256" fmla="*/ 178480 h 241257"/>
                <a:gd name="connsiteX257" fmla="*/ 94363 w 221708"/>
                <a:gd name="connsiteY257" fmla="*/ 175695 h 241257"/>
                <a:gd name="connsiteX258" fmla="*/ 94861 w 221708"/>
                <a:gd name="connsiteY258" fmla="*/ 172312 h 241257"/>
                <a:gd name="connsiteX259" fmla="*/ 95559 w 221708"/>
                <a:gd name="connsiteY259" fmla="*/ 169626 h 241257"/>
                <a:gd name="connsiteX260" fmla="*/ 97751 w 221708"/>
                <a:gd name="connsiteY260" fmla="*/ 166940 h 241257"/>
                <a:gd name="connsiteX261" fmla="*/ 100242 w 221708"/>
                <a:gd name="connsiteY261" fmla="*/ 164652 h 241257"/>
                <a:gd name="connsiteX262" fmla="*/ 102434 w 221708"/>
                <a:gd name="connsiteY262" fmla="*/ 162264 h 241257"/>
                <a:gd name="connsiteX263" fmla="*/ 103431 w 221708"/>
                <a:gd name="connsiteY263" fmla="*/ 159080 h 241257"/>
                <a:gd name="connsiteX264" fmla="*/ 101936 w 221708"/>
                <a:gd name="connsiteY264" fmla="*/ 157588 h 241257"/>
                <a:gd name="connsiteX265" fmla="*/ 98648 w 221708"/>
                <a:gd name="connsiteY265" fmla="*/ 158683 h 241257"/>
                <a:gd name="connsiteX266" fmla="*/ 92968 w 221708"/>
                <a:gd name="connsiteY266" fmla="*/ 161966 h 241257"/>
                <a:gd name="connsiteX267" fmla="*/ 87288 w 221708"/>
                <a:gd name="connsiteY267" fmla="*/ 162065 h 241257"/>
                <a:gd name="connsiteX268" fmla="*/ 84598 w 221708"/>
                <a:gd name="connsiteY268" fmla="*/ 162662 h 241257"/>
                <a:gd name="connsiteX269" fmla="*/ 82206 w 221708"/>
                <a:gd name="connsiteY269" fmla="*/ 166542 h 241257"/>
                <a:gd name="connsiteX270" fmla="*/ 73836 w 221708"/>
                <a:gd name="connsiteY270" fmla="*/ 170720 h 241257"/>
                <a:gd name="connsiteX271" fmla="*/ 71943 w 221708"/>
                <a:gd name="connsiteY271" fmla="*/ 173208 h 241257"/>
                <a:gd name="connsiteX272" fmla="*/ 70548 w 221708"/>
                <a:gd name="connsiteY272" fmla="*/ 175695 h 241257"/>
                <a:gd name="connsiteX273" fmla="*/ 68655 w 221708"/>
                <a:gd name="connsiteY273" fmla="*/ 177784 h 241257"/>
                <a:gd name="connsiteX274" fmla="*/ 65666 w 221708"/>
                <a:gd name="connsiteY274" fmla="*/ 178580 h 241257"/>
                <a:gd name="connsiteX275" fmla="*/ 53907 w 221708"/>
                <a:gd name="connsiteY275" fmla="*/ 179674 h 241257"/>
                <a:gd name="connsiteX276" fmla="*/ 54904 w 221708"/>
                <a:gd name="connsiteY276" fmla="*/ 176491 h 241257"/>
                <a:gd name="connsiteX277" fmla="*/ 56996 w 221708"/>
                <a:gd name="connsiteY277" fmla="*/ 174999 h 241257"/>
                <a:gd name="connsiteX278" fmla="*/ 68057 w 221708"/>
                <a:gd name="connsiteY278" fmla="*/ 172312 h 241257"/>
                <a:gd name="connsiteX279" fmla="*/ 70747 w 221708"/>
                <a:gd name="connsiteY279" fmla="*/ 171119 h 241257"/>
                <a:gd name="connsiteX280" fmla="*/ 72940 w 221708"/>
                <a:gd name="connsiteY280" fmla="*/ 169626 h 241257"/>
                <a:gd name="connsiteX281" fmla="*/ 81011 w 221708"/>
                <a:gd name="connsiteY281" fmla="*/ 159876 h 241257"/>
                <a:gd name="connsiteX282" fmla="*/ 85793 w 221708"/>
                <a:gd name="connsiteY282" fmla="*/ 155499 h 241257"/>
                <a:gd name="connsiteX283" fmla="*/ 88683 w 221708"/>
                <a:gd name="connsiteY283" fmla="*/ 156394 h 241257"/>
                <a:gd name="connsiteX284" fmla="*/ 87288 w 221708"/>
                <a:gd name="connsiteY284" fmla="*/ 156494 h 241257"/>
                <a:gd name="connsiteX285" fmla="*/ 85793 w 221708"/>
                <a:gd name="connsiteY285" fmla="*/ 157190 h 241257"/>
                <a:gd name="connsiteX286" fmla="*/ 85196 w 221708"/>
                <a:gd name="connsiteY286" fmla="*/ 158285 h 241257"/>
                <a:gd name="connsiteX287" fmla="*/ 85993 w 221708"/>
                <a:gd name="connsiteY287" fmla="*/ 159677 h 241257"/>
                <a:gd name="connsiteX288" fmla="*/ 93167 w 221708"/>
                <a:gd name="connsiteY288" fmla="*/ 158285 h 241257"/>
                <a:gd name="connsiteX289" fmla="*/ 98648 w 221708"/>
                <a:gd name="connsiteY289" fmla="*/ 156394 h 241257"/>
                <a:gd name="connsiteX290" fmla="*/ 100840 w 221708"/>
                <a:gd name="connsiteY290" fmla="*/ 155200 h 241257"/>
                <a:gd name="connsiteX291" fmla="*/ 101836 w 221708"/>
                <a:gd name="connsiteY291" fmla="*/ 154405 h 241257"/>
                <a:gd name="connsiteX292" fmla="*/ 104726 w 221708"/>
                <a:gd name="connsiteY292" fmla="*/ 151320 h 241257"/>
                <a:gd name="connsiteX293" fmla="*/ 106021 w 221708"/>
                <a:gd name="connsiteY293" fmla="*/ 150823 h 241257"/>
                <a:gd name="connsiteX294" fmla="*/ 107815 w 221708"/>
                <a:gd name="connsiteY294" fmla="*/ 154007 h 241257"/>
                <a:gd name="connsiteX295" fmla="*/ 109011 w 221708"/>
                <a:gd name="connsiteY295" fmla="*/ 153509 h 241257"/>
                <a:gd name="connsiteX296" fmla="*/ 111004 w 221708"/>
                <a:gd name="connsiteY296" fmla="*/ 151818 h 241257"/>
                <a:gd name="connsiteX297" fmla="*/ 116484 w 221708"/>
                <a:gd name="connsiteY297" fmla="*/ 149132 h 241257"/>
                <a:gd name="connsiteX298" fmla="*/ 118975 w 221708"/>
                <a:gd name="connsiteY298" fmla="*/ 147440 h 241257"/>
                <a:gd name="connsiteX299" fmla="*/ 136413 w 221708"/>
                <a:gd name="connsiteY299" fmla="*/ 127444 h 241257"/>
                <a:gd name="connsiteX300" fmla="*/ 140598 w 221708"/>
                <a:gd name="connsiteY300" fmla="*/ 124459 h 241257"/>
                <a:gd name="connsiteX301" fmla="*/ 142491 w 221708"/>
                <a:gd name="connsiteY301" fmla="*/ 122270 h 241257"/>
                <a:gd name="connsiteX302" fmla="*/ 143288 w 221708"/>
                <a:gd name="connsiteY302" fmla="*/ 119186 h 241257"/>
                <a:gd name="connsiteX303" fmla="*/ 143687 w 221708"/>
                <a:gd name="connsiteY303" fmla="*/ 117196 h 241257"/>
                <a:gd name="connsiteX304" fmla="*/ 143986 w 221708"/>
                <a:gd name="connsiteY304" fmla="*/ 115804 h 241257"/>
                <a:gd name="connsiteX305" fmla="*/ 143587 w 221708"/>
                <a:gd name="connsiteY305" fmla="*/ 114809 h 241257"/>
                <a:gd name="connsiteX306" fmla="*/ 141594 w 221708"/>
                <a:gd name="connsiteY306" fmla="*/ 114212 h 241257"/>
                <a:gd name="connsiteX307" fmla="*/ 140498 w 221708"/>
                <a:gd name="connsiteY307" fmla="*/ 114411 h 241257"/>
                <a:gd name="connsiteX308" fmla="*/ 136413 w 221708"/>
                <a:gd name="connsiteY308" fmla="*/ 116400 h 241257"/>
                <a:gd name="connsiteX309" fmla="*/ 130135 w 221708"/>
                <a:gd name="connsiteY309" fmla="*/ 123165 h 241257"/>
                <a:gd name="connsiteX310" fmla="*/ 128142 w 221708"/>
                <a:gd name="connsiteY310" fmla="*/ 124160 h 241257"/>
                <a:gd name="connsiteX311" fmla="*/ 126648 w 221708"/>
                <a:gd name="connsiteY311" fmla="*/ 125752 h 241257"/>
                <a:gd name="connsiteX312" fmla="*/ 120769 w 221708"/>
                <a:gd name="connsiteY312" fmla="*/ 136298 h 241257"/>
                <a:gd name="connsiteX313" fmla="*/ 120569 w 221708"/>
                <a:gd name="connsiteY313" fmla="*/ 135701 h 241257"/>
                <a:gd name="connsiteX314" fmla="*/ 119872 w 221708"/>
                <a:gd name="connsiteY314" fmla="*/ 134010 h 241257"/>
                <a:gd name="connsiteX315" fmla="*/ 123359 w 221708"/>
                <a:gd name="connsiteY315" fmla="*/ 125454 h 241257"/>
                <a:gd name="connsiteX316" fmla="*/ 129438 w 221708"/>
                <a:gd name="connsiteY316" fmla="*/ 115804 h 241257"/>
                <a:gd name="connsiteX317" fmla="*/ 131231 w 221708"/>
                <a:gd name="connsiteY317" fmla="*/ 110531 h 241257"/>
                <a:gd name="connsiteX318" fmla="*/ 132128 w 221708"/>
                <a:gd name="connsiteY318" fmla="*/ 108541 h 241257"/>
                <a:gd name="connsiteX319" fmla="*/ 136711 w 221708"/>
                <a:gd name="connsiteY319" fmla="*/ 102273 h 241257"/>
                <a:gd name="connsiteX320" fmla="*/ 138107 w 221708"/>
                <a:gd name="connsiteY320" fmla="*/ 99686 h 241257"/>
                <a:gd name="connsiteX321" fmla="*/ 143288 w 221708"/>
                <a:gd name="connsiteY321" fmla="*/ 83072 h 241257"/>
                <a:gd name="connsiteX322" fmla="*/ 148569 w 221708"/>
                <a:gd name="connsiteY322" fmla="*/ 74019 h 241257"/>
                <a:gd name="connsiteX323" fmla="*/ 151359 w 221708"/>
                <a:gd name="connsiteY323" fmla="*/ 71731 h 241257"/>
                <a:gd name="connsiteX324" fmla="*/ 152057 w 221708"/>
                <a:gd name="connsiteY324" fmla="*/ 70636 h 241257"/>
                <a:gd name="connsiteX325" fmla="*/ 152256 w 221708"/>
                <a:gd name="connsiteY325" fmla="*/ 68248 h 241257"/>
                <a:gd name="connsiteX326" fmla="*/ 151060 w 221708"/>
                <a:gd name="connsiteY326" fmla="*/ 67154 h 241257"/>
                <a:gd name="connsiteX327" fmla="*/ 149267 w 221708"/>
                <a:gd name="connsiteY327" fmla="*/ 66060 h 241257"/>
                <a:gd name="connsiteX328" fmla="*/ 147772 w 221708"/>
                <a:gd name="connsiteY328" fmla="*/ 64070 h 241257"/>
                <a:gd name="connsiteX329" fmla="*/ 148769 w 221708"/>
                <a:gd name="connsiteY329" fmla="*/ 63771 h 241257"/>
                <a:gd name="connsiteX330" fmla="*/ 150363 w 221708"/>
                <a:gd name="connsiteY330" fmla="*/ 63075 h 241257"/>
                <a:gd name="connsiteX331" fmla="*/ 151260 w 221708"/>
                <a:gd name="connsiteY331" fmla="*/ 62777 h 241257"/>
                <a:gd name="connsiteX332" fmla="*/ 151260 w 221708"/>
                <a:gd name="connsiteY332" fmla="*/ 61782 h 241257"/>
                <a:gd name="connsiteX333" fmla="*/ 149765 w 221708"/>
                <a:gd name="connsiteY333" fmla="*/ 61981 h 241257"/>
                <a:gd name="connsiteX334" fmla="*/ 148270 w 221708"/>
                <a:gd name="connsiteY334" fmla="*/ 61782 h 241257"/>
                <a:gd name="connsiteX335" fmla="*/ 146975 w 221708"/>
                <a:gd name="connsiteY335" fmla="*/ 60886 h 241257"/>
                <a:gd name="connsiteX336" fmla="*/ 145979 w 221708"/>
                <a:gd name="connsiteY336" fmla="*/ 59494 h 241257"/>
                <a:gd name="connsiteX337" fmla="*/ 152057 w 221708"/>
                <a:gd name="connsiteY337" fmla="*/ 56807 h 241257"/>
                <a:gd name="connsiteX338" fmla="*/ 152953 w 221708"/>
                <a:gd name="connsiteY338" fmla="*/ 55514 h 241257"/>
                <a:gd name="connsiteX339" fmla="*/ 153253 w 221708"/>
                <a:gd name="connsiteY339" fmla="*/ 53226 h 241257"/>
                <a:gd name="connsiteX340" fmla="*/ 155544 w 221708"/>
                <a:gd name="connsiteY340" fmla="*/ 47257 h 241257"/>
                <a:gd name="connsiteX341" fmla="*/ 157537 w 221708"/>
                <a:gd name="connsiteY341" fmla="*/ 37706 h 241257"/>
                <a:gd name="connsiteX342" fmla="*/ 157936 w 221708"/>
                <a:gd name="connsiteY342" fmla="*/ 32731 h 241257"/>
                <a:gd name="connsiteX343" fmla="*/ 157238 w 221708"/>
                <a:gd name="connsiteY343" fmla="*/ 29448 h 241257"/>
                <a:gd name="connsiteX344" fmla="*/ 156541 w 221708"/>
                <a:gd name="connsiteY344" fmla="*/ 28354 h 241257"/>
                <a:gd name="connsiteX345" fmla="*/ 155644 w 221708"/>
                <a:gd name="connsiteY345" fmla="*/ 27359 h 241257"/>
                <a:gd name="connsiteX346" fmla="*/ 154747 w 221708"/>
                <a:gd name="connsiteY346" fmla="*/ 26563 h 241257"/>
                <a:gd name="connsiteX347" fmla="*/ 153751 w 221708"/>
                <a:gd name="connsiteY347" fmla="*/ 25966 h 241257"/>
                <a:gd name="connsiteX348" fmla="*/ 151260 w 221708"/>
                <a:gd name="connsiteY348" fmla="*/ 27459 h 241257"/>
                <a:gd name="connsiteX349" fmla="*/ 146776 w 221708"/>
                <a:gd name="connsiteY349" fmla="*/ 28056 h 241257"/>
                <a:gd name="connsiteX350" fmla="*/ 142093 w 221708"/>
                <a:gd name="connsiteY350" fmla="*/ 27857 h 241257"/>
                <a:gd name="connsiteX351" fmla="*/ 139004 w 221708"/>
                <a:gd name="connsiteY351" fmla="*/ 27160 h 241257"/>
                <a:gd name="connsiteX352" fmla="*/ 139004 w 221708"/>
                <a:gd name="connsiteY352" fmla="*/ 25966 h 241257"/>
                <a:gd name="connsiteX353" fmla="*/ 140598 w 221708"/>
                <a:gd name="connsiteY353" fmla="*/ 24474 h 241257"/>
                <a:gd name="connsiteX354" fmla="*/ 139302 w 221708"/>
                <a:gd name="connsiteY354" fmla="*/ 23181 h 241257"/>
                <a:gd name="connsiteX355" fmla="*/ 136612 w 221708"/>
                <a:gd name="connsiteY355" fmla="*/ 22484 h 241257"/>
                <a:gd name="connsiteX356" fmla="*/ 133822 w 221708"/>
                <a:gd name="connsiteY356" fmla="*/ 22683 h 241257"/>
                <a:gd name="connsiteX357" fmla="*/ 134520 w 221708"/>
                <a:gd name="connsiteY357" fmla="*/ 21091 h 241257"/>
                <a:gd name="connsiteX358" fmla="*/ 137808 w 221708"/>
                <a:gd name="connsiteY358" fmla="*/ 17510 h 241257"/>
                <a:gd name="connsiteX359" fmla="*/ 141594 w 221708"/>
                <a:gd name="connsiteY359" fmla="*/ 11441 h 241257"/>
                <a:gd name="connsiteX360" fmla="*/ 146178 w 221708"/>
                <a:gd name="connsiteY360" fmla="*/ 6367 h 241257"/>
                <a:gd name="connsiteX361" fmla="*/ 148071 w 221708"/>
                <a:gd name="connsiteY361" fmla="*/ 2885 h 241257"/>
                <a:gd name="connsiteX362" fmla="*/ 146477 w 221708"/>
                <a:gd name="connsiteY362" fmla="*/ 1293 h 241257"/>
                <a:gd name="connsiteX363" fmla="*/ 143388 w 221708"/>
                <a:gd name="connsiteY363" fmla="*/ 1990 h 241257"/>
                <a:gd name="connsiteX364" fmla="*/ 138107 w 221708"/>
                <a:gd name="connsiteY364" fmla="*/ 5074 h 241257"/>
                <a:gd name="connsiteX365" fmla="*/ 135117 w 221708"/>
                <a:gd name="connsiteY365" fmla="*/ 5770 h 241257"/>
                <a:gd name="connsiteX366" fmla="*/ 133124 w 221708"/>
                <a:gd name="connsiteY366" fmla="*/ 5372 h 241257"/>
                <a:gd name="connsiteX367" fmla="*/ 132128 w 221708"/>
                <a:gd name="connsiteY367" fmla="*/ 4576 h 241257"/>
                <a:gd name="connsiteX368" fmla="*/ 131431 w 221708"/>
                <a:gd name="connsiteY368" fmla="*/ 3482 h 241257"/>
                <a:gd name="connsiteX369" fmla="*/ 130335 w 221708"/>
                <a:gd name="connsiteY369" fmla="*/ 2487 h 241257"/>
                <a:gd name="connsiteX370" fmla="*/ 128939 w 221708"/>
                <a:gd name="connsiteY370" fmla="*/ 1990 h 241257"/>
                <a:gd name="connsiteX371" fmla="*/ 124157 w 221708"/>
                <a:gd name="connsiteY371" fmla="*/ 1293 h 241257"/>
                <a:gd name="connsiteX372" fmla="*/ 121366 w 221708"/>
                <a:gd name="connsiteY372" fmla="*/ 0 h 241257"/>
                <a:gd name="connsiteX373" fmla="*/ 120171 w 221708"/>
                <a:gd name="connsiteY373" fmla="*/ 100 h 241257"/>
                <a:gd name="connsiteX374" fmla="*/ 117680 w 221708"/>
                <a:gd name="connsiteY374" fmla="*/ 2885 h 241257"/>
                <a:gd name="connsiteX375" fmla="*/ 116384 w 221708"/>
                <a:gd name="connsiteY375" fmla="*/ 3880 h 241257"/>
                <a:gd name="connsiteX376" fmla="*/ 115288 w 221708"/>
                <a:gd name="connsiteY376" fmla="*/ 4974 h 241257"/>
                <a:gd name="connsiteX377" fmla="*/ 114093 w 221708"/>
                <a:gd name="connsiteY377" fmla="*/ 8556 h 241257"/>
                <a:gd name="connsiteX378" fmla="*/ 107715 w 221708"/>
                <a:gd name="connsiteY378" fmla="*/ 21191 h 241257"/>
                <a:gd name="connsiteX379" fmla="*/ 99046 w 221708"/>
                <a:gd name="connsiteY379" fmla="*/ 31140 h 241257"/>
                <a:gd name="connsiteX380" fmla="*/ 96755 w 221708"/>
                <a:gd name="connsiteY380" fmla="*/ 32632 h 241257"/>
                <a:gd name="connsiteX381" fmla="*/ 91175 w 221708"/>
                <a:gd name="connsiteY381" fmla="*/ 34821 h 241257"/>
                <a:gd name="connsiteX382" fmla="*/ 86491 w 221708"/>
                <a:gd name="connsiteY382" fmla="*/ 38303 h 241257"/>
                <a:gd name="connsiteX383" fmla="*/ 82704 w 221708"/>
                <a:gd name="connsiteY383" fmla="*/ 43377 h 241257"/>
                <a:gd name="connsiteX384" fmla="*/ 76527 w 221708"/>
                <a:gd name="connsiteY384" fmla="*/ 55017 h 241257"/>
                <a:gd name="connsiteX385" fmla="*/ 74335 w 221708"/>
                <a:gd name="connsiteY385" fmla="*/ 60787 h 241257"/>
                <a:gd name="connsiteX386" fmla="*/ 73438 w 221708"/>
                <a:gd name="connsiteY386" fmla="*/ 62279 h 241257"/>
                <a:gd name="connsiteX387" fmla="*/ 69253 w 221708"/>
                <a:gd name="connsiteY387" fmla="*/ 65463 h 241257"/>
                <a:gd name="connsiteX388" fmla="*/ 68655 w 221708"/>
                <a:gd name="connsiteY388" fmla="*/ 66756 h 241257"/>
                <a:gd name="connsiteX389" fmla="*/ 68356 w 221708"/>
                <a:gd name="connsiteY389" fmla="*/ 68547 h 241257"/>
                <a:gd name="connsiteX390" fmla="*/ 67758 w 221708"/>
                <a:gd name="connsiteY390" fmla="*/ 70835 h 241257"/>
                <a:gd name="connsiteX391" fmla="*/ 66861 w 221708"/>
                <a:gd name="connsiteY391" fmla="*/ 72029 h 241257"/>
                <a:gd name="connsiteX392" fmla="*/ 66064 w 221708"/>
                <a:gd name="connsiteY392" fmla="*/ 70636 h 241257"/>
                <a:gd name="connsiteX393" fmla="*/ 66064 w 221708"/>
                <a:gd name="connsiteY393" fmla="*/ 68945 h 241257"/>
                <a:gd name="connsiteX394" fmla="*/ 67858 w 221708"/>
                <a:gd name="connsiteY394" fmla="*/ 64070 h 241257"/>
                <a:gd name="connsiteX395" fmla="*/ 66164 w 221708"/>
                <a:gd name="connsiteY395" fmla="*/ 64965 h 241257"/>
                <a:gd name="connsiteX396" fmla="*/ 64469 w 221708"/>
                <a:gd name="connsiteY396" fmla="*/ 66756 h 241257"/>
                <a:gd name="connsiteX397" fmla="*/ 63075 w 221708"/>
                <a:gd name="connsiteY397" fmla="*/ 68845 h 241257"/>
                <a:gd name="connsiteX398" fmla="*/ 62576 w 221708"/>
                <a:gd name="connsiteY398" fmla="*/ 70636 h 241257"/>
                <a:gd name="connsiteX399" fmla="*/ 63573 w 221708"/>
                <a:gd name="connsiteY399" fmla="*/ 72128 h 241257"/>
                <a:gd name="connsiteX400" fmla="*/ 65167 w 221708"/>
                <a:gd name="connsiteY400" fmla="*/ 73820 h 241257"/>
                <a:gd name="connsiteX401" fmla="*/ 66064 w 221708"/>
                <a:gd name="connsiteY401" fmla="*/ 76108 h 241257"/>
                <a:gd name="connsiteX402" fmla="*/ 64769 w 221708"/>
                <a:gd name="connsiteY402" fmla="*/ 78993 h 241257"/>
                <a:gd name="connsiteX403" fmla="*/ 61480 w 221708"/>
                <a:gd name="connsiteY403" fmla="*/ 82774 h 241257"/>
                <a:gd name="connsiteX404" fmla="*/ 60384 w 221708"/>
                <a:gd name="connsiteY404" fmla="*/ 84962 h 241257"/>
                <a:gd name="connsiteX405" fmla="*/ 59687 w 221708"/>
                <a:gd name="connsiteY405" fmla="*/ 90335 h 241257"/>
                <a:gd name="connsiteX406" fmla="*/ 58989 w 221708"/>
                <a:gd name="connsiteY406" fmla="*/ 92623 h 241257"/>
                <a:gd name="connsiteX407" fmla="*/ 57893 w 221708"/>
                <a:gd name="connsiteY407" fmla="*/ 94613 h 241257"/>
                <a:gd name="connsiteX408" fmla="*/ 47331 w 221708"/>
                <a:gd name="connsiteY408" fmla="*/ 105755 h 241257"/>
                <a:gd name="connsiteX409" fmla="*/ 45637 w 221708"/>
                <a:gd name="connsiteY409" fmla="*/ 108740 h 241257"/>
                <a:gd name="connsiteX410" fmla="*/ 42947 w 221708"/>
                <a:gd name="connsiteY410" fmla="*/ 114610 h 241257"/>
                <a:gd name="connsiteX411" fmla="*/ 34676 w 221708"/>
                <a:gd name="connsiteY411" fmla="*/ 126946 h 241257"/>
                <a:gd name="connsiteX412" fmla="*/ 34377 w 221708"/>
                <a:gd name="connsiteY412" fmla="*/ 128438 h 241257"/>
                <a:gd name="connsiteX413" fmla="*/ 33281 w 221708"/>
                <a:gd name="connsiteY413" fmla="*/ 128936 h 241257"/>
                <a:gd name="connsiteX414" fmla="*/ 21224 w 221708"/>
                <a:gd name="connsiteY414" fmla="*/ 136795 h 241257"/>
                <a:gd name="connsiteX415" fmla="*/ 15245 w 221708"/>
                <a:gd name="connsiteY415" fmla="*/ 141869 h 241257"/>
                <a:gd name="connsiteX416" fmla="*/ 13551 w 221708"/>
                <a:gd name="connsiteY416" fmla="*/ 142964 h 241257"/>
                <a:gd name="connsiteX417" fmla="*/ 11758 w 221708"/>
                <a:gd name="connsiteY417" fmla="*/ 144754 h 241257"/>
                <a:gd name="connsiteX418" fmla="*/ 10861 w 221708"/>
                <a:gd name="connsiteY418" fmla="*/ 148734 h 241257"/>
                <a:gd name="connsiteX419" fmla="*/ 10263 w 221708"/>
                <a:gd name="connsiteY419" fmla="*/ 153310 h 241257"/>
                <a:gd name="connsiteX420" fmla="*/ 9665 w 221708"/>
                <a:gd name="connsiteY420" fmla="*/ 156394 h 241257"/>
                <a:gd name="connsiteX421" fmla="*/ 7573 w 221708"/>
                <a:gd name="connsiteY421" fmla="*/ 158086 h 241257"/>
                <a:gd name="connsiteX422" fmla="*/ 4285 w 221708"/>
                <a:gd name="connsiteY422" fmla="*/ 159677 h 241257"/>
                <a:gd name="connsiteX423" fmla="*/ 1295 w 221708"/>
                <a:gd name="connsiteY423" fmla="*/ 161667 h 241257"/>
                <a:gd name="connsiteX424" fmla="*/ 0 w 221708"/>
                <a:gd name="connsiteY424" fmla="*/ 164751 h 241257"/>
                <a:gd name="connsiteX425" fmla="*/ 498 w 221708"/>
                <a:gd name="connsiteY425" fmla="*/ 166343 h 241257"/>
                <a:gd name="connsiteX426" fmla="*/ 1594 w 221708"/>
                <a:gd name="connsiteY426" fmla="*/ 167736 h 241257"/>
                <a:gd name="connsiteX427" fmla="*/ 2889 w 221708"/>
                <a:gd name="connsiteY427" fmla="*/ 168830 h 241257"/>
                <a:gd name="connsiteX428" fmla="*/ 3487 w 221708"/>
                <a:gd name="connsiteY428" fmla="*/ 169626 h 241257"/>
                <a:gd name="connsiteX429" fmla="*/ 3886 w 221708"/>
                <a:gd name="connsiteY429" fmla="*/ 171417 h 241257"/>
                <a:gd name="connsiteX430" fmla="*/ 3886 w 221708"/>
                <a:gd name="connsiteY430" fmla="*/ 174501 h 241257"/>
                <a:gd name="connsiteX431" fmla="*/ 4484 w 221708"/>
                <a:gd name="connsiteY431" fmla="*/ 176192 h 241257"/>
                <a:gd name="connsiteX432" fmla="*/ 3687 w 221708"/>
                <a:gd name="connsiteY432" fmla="*/ 179077 h 241257"/>
                <a:gd name="connsiteX433" fmla="*/ 4683 w 221708"/>
                <a:gd name="connsiteY433" fmla="*/ 181266 h 241257"/>
                <a:gd name="connsiteX434" fmla="*/ 6477 w 221708"/>
                <a:gd name="connsiteY434" fmla="*/ 183455 h 241257"/>
                <a:gd name="connsiteX435" fmla="*/ 7971 w 221708"/>
                <a:gd name="connsiteY435" fmla="*/ 186240 h 241257"/>
                <a:gd name="connsiteX436" fmla="*/ 6875 w 221708"/>
                <a:gd name="connsiteY436" fmla="*/ 194896 h 241257"/>
                <a:gd name="connsiteX437" fmla="*/ 7473 w 221708"/>
                <a:gd name="connsiteY437" fmla="*/ 196289 h 241257"/>
                <a:gd name="connsiteX438" fmla="*/ 9665 w 221708"/>
                <a:gd name="connsiteY438" fmla="*/ 198776 h 241257"/>
                <a:gd name="connsiteX439" fmla="*/ 10961 w 221708"/>
                <a:gd name="connsiteY439" fmla="*/ 204447 h 241257"/>
                <a:gd name="connsiteX440" fmla="*/ 12156 w 221708"/>
                <a:gd name="connsiteY440" fmla="*/ 215092 h 241257"/>
                <a:gd name="connsiteX441" fmla="*/ 13851 w 221708"/>
                <a:gd name="connsiteY441" fmla="*/ 219668 h 241257"/>
                <a:gd name="connsiteX442" fmla="*/ 16740 w 221708"/>
                <a:gd name="connsiteY442" fmla="*/ 223648 h 241257"/>
                <a:gd name="connsiteX443" fmla="*/ 23915 w 221708"/>
                <a:gd name="connsiteY443" fmla="*/ 231010 h 241257"/>
                <a:gd name="connsiteX444" fmla="*/ 27502 w 221708"/>
                <a:gd name="connsiteY444" fmla="*/ 238273 h 241257"/>
                <a:gd name="connsiteX445" fmla="*/ 29096 w 221708"/>
                <a:gd name="connsiteY445" fmla="*/ 239466 h 241257"/>
                <a:gd name="connsiteX446" fmla="*/ 33779 w 221708"/>
                <a:gd name="connsiteY446" fmla="*/ 241257 h 241257"/>
                <a:gd name="connsiteX447" fmla="*/ 35673 w 221708"/>
                <a:gd name="connsiteY447" fmla="*/ 241158 h 241257"/>
                <a:gd name="connsiteX448" fmla="*/ 34776 w 221708"/>
                <a:gd name="connsiteY448" fmla="*/ 238173 h 241257"/>
                <a:gd name="connsiteX449" fmla="*/ 36071 w 221708"/>
                <a:gd name="connsiteY449" fmla="*/ 237477 h 241257"/>
                <a:gd name="connsiteX450" fmla="*/ 37765 w 221708"/>
                <a:gd name="connsiteY450" fmla="*/ 236084 h 241257"/>
                <a:gd name="connsiteX451" fmla="*/ 39260 w 221708"/>
                <a:gd name="connsiteY451" fmla="*/ 235188 h 241257"/>
                <a:gd name="connsiteX452" fmla="*/ 40455 w 221708"/>
                <a:gd name="connsiteY452" fmla="*/ 235387 h 241257"/>
                <a:gd name="connsiteX453" fmla="*/ 41353 w 221708"/>
                <a:gd name="connsiteY453" fmla="*/ 235785 h 241257"/>
                <a:gd name="connsiteX454" fmla="*/ 41950 w 221708"/>
                <a:gd name="connsiteY454" fmla="*/ 234492 h 241257"/>
                <a:gd name="connsiteX455" fmla="*/ 42548 w 221708"/>
                <a:gd name="connsiteY455" fmla="*/ 232801 h 241257"/>
                <a:gd name="connsiteX456" fmla="*/ 43445 w 221708"/>
                <a:gd name="connsiteY456" fmla="*/ 231507 h 241257"/>
                <a:gd name="connsiteX457" fmla="*/ 43844 w 221708"/>
                <a:gd name="connsiteY457" fmla="*/ 233994 h 241257"/>
                <a:gd name="connsiteX458" fmla="*/ 45039 w 221708"/>
                <a:gd name="connsiteY458" fmla="*/ 234492 h 241257"/>
                <a:gd name="connsiteX459" fmla="*/ 46833 w 221708"/>
                <a:gd name="connsiteY459" fmla="*/ 234393 h 241257"/>
                <a:gd name="connsiteX460" fmla="*/ 48726 w 221708"/>
                <a:gd name="connsiteY460" fmla="*/ 234989 h 241257"/>
                <a:gd name="connsiteX461" fmla="*/ 50220 w 221708"/>
                <a:gd name="connsiteY461" fmla="*/ 236283 h 241257"/>
                <a:gd name="connsiteX462" fmla="*/ 50719 w 221708"/>
                <a:gd name="connsiteY462" fmla="*/ 237477 h 241257"/>
                <a:gd name="connsiteX463" fmla="*/ 50022 w 221708"/>
                <a:gd name="connsiteY463" fmla="*/ 238471 h 241257"/>
                <a:gd name="connsiteX464" fmla="*/ 47729 w 221708"/>
                <a:gd name="connsiteY464" fmla="*/ 239466 h 241257"/>
                <a:gd name="connsiteX465" fmla="*/ 50022 w 221708"/>
                <a:gd name="connsiteY465" fmla="*/ 239864 h 241257"/>
                <a:gd name="connsiteX466" fmla="*/ 53210 w 221708"/>
                <a:gd name="connsiteY466" fmla="*/ 239267 h 241257"/>
                <a:gd name="connsiteX467" fmla="*/ 59089 w 221708"/>
                <a:gd name="connsiteY467" fmla="*/ 237178 h 241257"/>
                <a:gd name="connsiteX468" fmla="*/ 62576 w 221708"/>
                <a:gd name="connsiteY468" fmla="*/ 234193 h 241257"/>
                <a:gd name="connsiteX469" fmla="*/ 63971 w 221708"/>
                <a:gd name="connsiteY469" fmla="*/ 233795 h 241257"/>
                <a:gd name="connsiteX470" fmla="*/ 66762 w 221708"/>
                <a:gd name="connsiteY470" fmla="*/ 234193 h 241257"/>
                <a:gd name="connsiteX471" fmla="*/ 67858 w 221708"/>
                <a:gd name="connsiteY471" fmla="*/ 233597 h 241257"/>
                <a:gd name="connsiteX472" fmla="*/ 68655 w 221708"/>
                <a:gd name="connsiteY472" fmla="*/ 231507 h 241257"/>
                <a:gd name="connsiteX473" fmla="*/ 66861 w 221708"/>
                <a:gd name="connsiteY473" fmla="*/ 230513 h 241257"/>
                <a:gd name="connsiteX474" fmla="*/ 73737 w 221708"/>
                <a:gd name="connsiteY474" fmla="*/ 231507 h 241257"/>
                <a:gd name="connsiteX475" fmla="*/ 76726 w 221708"/>
                <a:gd name="connsiteY475" fmla="*/ 230811 h 241257"/>
                <a:gd name="connsiteX476" fmla="*/ 76527 w 221708"/>
                <a:gd name="connsiteY476" fmla="*/ 228324 h 241257"/>
                <a:gd name="connsiteX477" fmla="*/ 78021 w 221708"/>
                <a:gd name="connsiteY477" fmla="*/ 228324 h 241257"/>
                <a:gd name="connsiteX478" fmla="*/ 79317 w 221708"/>
                <a:gd name="connsiteY478" fmla="*/ 228622 h 241257"/>
                <a:gd name="connsiteX479" fmla="*/ 80513 w 221708"/>
                <a:gd name="connsiteY479" fmla="*/ 229418 h 241257"/>
                <a:gd name="connsiteX480" fmla="*/ 81609 w 221708"/>
                <a:gd name="connsiteY480" fmla="*/ 230513 h 241257"/>
                <a:gd name="connsiteX481" fmla="*/ 83103 w 221708"/>
                <a:gd name="connsiteY481" fmla="*/ 229020 h 241257"/>
                <a:gd name="connsiteX482" fmla="*/ 84598 w 221708"/>
                <a:gd name="connsiteY482" fmla="*/ 226831 h 241257"/>
                <a:gd name="connsiteX483" fmla="*/ 86192 w 221708"/>
                <a:gd name="connsiteY483" fmla="*/ 225538 h 241257"/>
                <a:gd name="connsiteX484" fmla="*/ 88185 w 221708"/>
                <a:gd name="connsiteY484" fmla="*/ 226533 h 241257"/>
                <a:gd name="connsiteX485" fmla="*/ 88982 w 221708"/>
                <a:gd name="connsiteY485" fmla="*/ 228523 h 241257"/>
                <a:gd name="connsiteX486" fmla="*/ 89082 w 221708"/>
                <a:gd name="connsiteY486" fmla="*/ 230513 h 241257"/>
                <a:gd name="connsiteX487" fmla="*/ 89580 w 221708"/>
                <a:gd name="connsiteY487" fmla="*/ 232104 h 241257"/>
                <a:gd name="connsiteX488" fmla="*/ 91673 w 221708"/>
                <a:gd name="connsiteY488" fmla="*/ 232701 h 241257"/>
                <a:gd name="connsiteX489" fmla="*/ 101238 w 221708"/>
                <a:gd name="connsiteY489" fmla="*/ 233795 h 241257"/>
                <a:gd name="connsiteX490" fmla="*/ 102335 w 221708"/>
                <a:gd name="connsiteY490" fmla="*/ 234393 h 241257"/>
                <a:gd name="connsiteX491" fmla="*/ 102534 w 221708"/>
                <a:gd name="connsiteY491" fmla="*/ 235785 h 241257"/>
                <a:gd name="connsiteX492" fmla="*/ 102633 w 221708"/>
                <a:gd name="connsiteY492" fmla="*/ 237278 h 241257"/>
                <a:gd name="connsiteX493" fmla="*/ 103431 w 221708"/>
                <a:gd name="connsiteY493" fmla="*/ 238173 h 241257"/>
                <a:gd name="connsiteX494" fmla="*/ 104527 w 221708"/>
                <a:gd name="connsiteY494" fmla="*/ 238372 h 241257"/>
                <a:gd name="connsiteX495" fmla="*/ 105523 w 221708"/>
                <a:gd name="connsiteY495" fmla="*/ 237974 h 241257"/>
                <a:gd name="connsiteX496" fmla="*/ 106420 w 221708"/>
                <a:gd name="connsiteY496" fmla="*/ 237377 h 241257"/>
                <a:gd name="connsiteX497" fmla="*/ 107416 w 221708"/>
                <a:gd name="connsiteY497" fmla="*/ 237178 h 241257"/>
                <a:gd name="connsiteX498" fmla="*/ 111502 w 221708"/>
                <a:gd name="connsiteY498" fmla="*/ 237079 h 241257"/>
                <a:gd name="connsiteX499" fmla="*/ 112697 w 221708"/>
                <a:gd name="connsiteY499" fmla="*/ 236482 h 241257"/>
                <a:gd name="connsiteX500" fmla="*/ 116783 w 221708"/>
                <a:gd name="connsiteY500" fmla="*/ 233696 h 241257"/>
                <a:gd name="connsiteX501" fmla="*/ 131729 w 221708"/>
                <a:gd name="connsiteY501" fmla="*/ 228523 h 241257"/>
                <a:gd name="connsiteX502" fmla="*/ 133324 w 221708"/>
                <a:gd name="connsiteY502" fmla="*/ 227627 h 241257"/>
                <a:gd name="connsiteX503" fmla="*/ 136413 w 221708"/>
                <a:gd name="connsiteY503" fmla="*/ 224941 h 241257"/>
                <a:gd name="connsiteX504" fmla="*/ 137110 w 221708"/>
                <a:gd name="connsiteY504" fmla="*/ 226433 h 241257"/>
                <a:gd name="connsiteX505" fmla="*/ 138007 w 221708"/>
                <a:gd name="connsiteY505" fmla="*/ 227030 h 241257"/>
                <a:gd name="connsiteX506" fmla="*/ 140697 w 221708"/>
                <a:gd name="connsiteY506" fmla="*/ 227130 h 241257"/>
                <a:gd name="connsiteX507" fmla="*/ 146577 w 221708"/>
                <a:gd name="connsiteY507" fmla="*/ 226035 h 241257"/>
                <a:gd name="connsiteX508" fmla="*/ 155744 w 221708"/>
                <a:gd name="connsiteY508" fmla="*/ 219370 h 241257"/>
                <a:gd name="connsiteX509" fmla="*/ 160726 w 221708"/>
                <a:gd name="connsiteY509" fmla="*/ 217181 h 241257"/>
                <a:gd name="connsiteX510" fmla="*/ 163715 w 221708"/>
                <a:gd name="connsiteY510" fmla="*/ 216684 h 241257"/>
                <a:gd name="connsiteX511" fmla="*/ 166804 w 221708"/>
                <a:gd name="connsiteY511" fmla="*/ 215589 h 241257"/>
                <a:gd name="connsiteX512" fmla="*/ 169295 w 221708"/>
                <a:gd name="connsiteY512" fmla="*/ 213600 h 241257"/>
                <a:gd name="connsiteX513" fmla="*/ 170292 w 221708"/>
                <a:gd name="connsiteY513" fmla="*/ 210118 h 241257"/>
                <a:gd name="connsiteX514" fmla="*/ 171488 w 221708"/>
                <a:gd name="connsiteY514" fmla="*/ 207730 h 241257"/>
                <a:gd name="connsiteX515" fmla="*/ 174178 w 221708"/>
                <a:gd name="connsiteY515" fmla="*/ 205939 h 241257"/>
                <a:gd name="connsiteX516" fmla="*/ 184840 w 221708"/>
                <a:gd name="connsiteY516" fmla="*/ 202059 h 241257"/>
                <a:gd name="connsiteX517" fmla="*/ 186434 w 221708"/>
                <a:gd name="connsiteY517" fmla="*/ 201860 h 241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</a:cxnLst>
              <a:rect l="l" t="t" r="r" b="b"/>
              <a:pathLst>
                <a:path w="221708" h="241257">
                  <a:moveTo>
                    <a:pt x="186434" y="201860"/>
                  </a:moveTo>
                  <a:lnTo>
                    <a:pt x="187231" y="201064"/>
                  </a:lnTo>
                  <a:lnTo>
                    <a:pt x="187530" y="199671"/>
                  </a:lnTo>
                  <a:lnTo>
                    <a:pt x="187131" y="198080"/>
                  </a:lnTo>
                  <a:lnTo>
                    <a:pt x="185537" y="197383"/>
                  </a:lnTo>
                  <a:lnTo>
                    <a:pt x="183843" y="197184"/>
                  </a:lnTo>
                  <a:lnTo>
                    <a:pt x="182448" y="196687"/>
                  </a:lnTo>
                  <a:lnTo>
                    <a:pt x="179857" y="195095"/>
                  </a:lnTo>
                  <a:lnTo>
                    <a:pt x="177964" y="194399"/>
                  </a:lnTo>
                  <a:lnTo>
                    <a:pt x="177068" y="194598"/>
                  </a:lnTo>
                  <a:lnTo>
                    <a:pt x="176968" y="194498"/>
                  </a:lnTo>
                  <a:lnTo>
                    <a:pt x="177267" y="193006"/>
                  </a:lnTo>
                  <a:lnTo>
                    <a:pt x="180555" y="189325"/>
                  </a:lnTo>
                  <a:lnTo>
                    <a:pt x="199687" y="188529"/>
                  </a:lnTo>
                  <a:lnTo>
                    <a:pt x="199089" y="187733"/>
                  </a:lnTo>
                  <a:lnTo>
                    <a:pt x="198690" y="186738"/>
                  </a:lnTo>
                  <a:lnTo>
                    <a:pt x="198092" y="186240"/>
                  </a:lnTo>
                  <a:lnTo>
                    <a:pt x="198591" y="185146"/>
                  </a:lnTo>
                  <a:lnTo>
                    <a:pt x="199089" y="184251"/>
                  </a:lnTo>
                  <a:lnTo>
                    <a:pt x="199886" y="183554"/>
                  </a:lnTo>
                  <a:lnTo>
                    <a:pt x="200683" y="182858"/>
                  </a:lnTo>
                  <a:lnTo>
                    <a:pt x="204370" y="183753"/>
                  </a:lnTo>
                  <a:lnTo>
                    <a:pt x="214135" y="178679"/>
                  </a:lnTo>
                  <a:lnTo>
                    <a:pt x="219018" y="179077"/>
                  </a:lnTo>
                  <a:lnTo>
                    <a:pt x="220413" y="179475"/>
                  </a:lnTo>
                  <a:lnTo>
                    <a:pt x="221310" y="178679"/>
                  </a:lnTo>
                  <a:lnTo>
                    <a:pt x="221708" y="177088"/>
                  </a:lnTo>
                  <a:lnTo>
                    <a:pt x="221608" y="175197"/>
                  </a:lnTo>
                  <a:lnTo>
                    <a:pt x="221110" y="174700"/>
                  </a:lnTo>
                  <a:lnTo>
                    <a:pt x="219018" y="172909"/>
                  </a:lnTo>
                  <a:lnTo>
                    <a:pt x="218121" y="171815"/>
                  </a:lnTo>
                  <a:lnTo>
                    <a:pt x="217922" y="169527"/>
                  </a:lnTo>
                  <a:lnTo>
                    <a:pt x="218121" y="168333"/>
                  </a:lnTo>
                  <a:lnTo>
                    <a:pt x="218918" y="168631"/>
                  </a:lnTo>
                  <a:lnTo>
                    <a:pt x="217922" y="167736"/>
                  </a:lnTo>
                  <a:lnTo>
                    <a:pt x="217024" y="167437"/>
                  </a:lnTo>
                  <a:lnTo>
                    <a:pt x="214633" y="167437"/>
                  </a:lnTo>
                  <a:lnTo>
                    <a:pt x="209551" y="168731"/>
                  </a:lnTo>
                  <a:lnTo>
                    <a:pt x="206662" y="169129"/>
                  </a:lnTo>
                  <a:lnTo>
                    <a:pt x="204669" y="167935"/>
                  </a:lnTo>
                  <a:lnTo>
                    <a:pt x="202975" y="165746"/>
                  </a:lnTo>
                  <a:lnTo>
                    <a:pt x="201979" y="163856"/>
                  </a:lnTo>
                  <a:lnTo>
                    <a:pt x="202377" y="162463"/>
                  </a:lnTo>
                  <a:lnTo>
                    <a:pt x="208157" y="161468"/>
                  </a:lnTo>
                  <a:lnTo>
                    <a:pt x="209850" y="160175"/>
                  </a:lnTo>
                  <a:lnTo>
                    <a:pt x="212840" y="156394"/>
                  </a:lnTo>
                  <a:lnTo>
                    <a:pt x="220712" y="150823"/>
                  </a:lnTo>
                  <a:lnTo>
                    <a:pt x="220712" y="149629"/>
                  </a:lnTo>
                  <a:lnTo>
                    <a:pt x="218320" y="150226"/>
                  </a:lnTo>
                  <a:lnTo>
                    <a:pt x="215530" y="151320"/>
                  </a:lnTo>
                  <a:lnTo>
                    <a:pt x="212939" y="153012"/>
                  </a:lnTo>
                  <a:lnTo>
                    <a:pt x="211146" y="155200"/>
                  </a:lnTo>
                  <a:lnTo>
                    <a:pt x="211544" y="150226"/>
                  </a:lnTo>
                  <a:lnTo>
                    <a:pt x="213936" y="146147"/>
                  </a:lnTo>
                  <a:lnTo>
                    <a:pt x="217324" y="143063"/>
                  </a:lnTo>
                  <a:lnTo>
                    <a:pt x="220712" y="140775"/>
                  </a:lnTo>
                  <a:lnTo>
                    <a:pt x="211544" y="139680"/>
                  </a:lnTo>
                  <a:lnTo>
                    <a:pt x="209153" y="140377"/>
                  </a:lnTo>
                  <a:lnTo>
                    <a:pt x="205068" y="142566"/>
                  </a:lnTo>
                  <a:lnTo>
                    <a:pt x="203274" y="141969"/>
                  </a:lnTo>
                  <a:lnTo>
                    <a:pt x="203673" y="136497"/>
                  </a:lnTo>
                  <a:lnTo>
                    <a:pt x="197694" y="134706"/>
                  </a:lnTo>
                  <a:lnTo>
                    <a:pt x="185039" y="134109"/>
                  </a:lnTo>
                  <a:lnTo>
                    <a:pt x="191915" y="132020"/>
                  </a:lnTo>
                  <a:lnTo>
                    <a:pt x="189224" y="129732"/>
                  </a:lnTo>
                  <a:lnTo>
                    <a:pt x="186135" y="128438"/>
                  </a:lnTo>
                  <a:lnTo>
                    <a:pt x="182748" y="127642"/>
                  </a:lnTo>
                  <a:lnTo>
                    <a:pt x="179359" y="127444"/>
                  </a:lnTo>
                  <a:lnTo>
                    <a:pt x="177366" y="128438"/>
                  </a:lnTo>
                  <a:lnTo>
                    <a:pt x="174577" y="130925"/>
                  </a:lnTo>
                  <a:lnTo>
                    <a:pt x="172185" y="133910"/>
                  </a:lnTo>
                  <a:lnTo>
                    <a:pt x="171089" y="136895"/>
                  </a:lnTo>
                  <a:lnTo>
                    <a:pt x="171388" y="138487"/>
                  </a:lnTo>
                  <a:lnTo>
                    <a:pt x="171886" y="139879"/>
                  </a:lnTo>
                  <a:lnTo>
                    <a:pt x="172284" y="141372"/>
                  </a:lnTo>
                  <a:lnTo>
                    <a:pt x="172086" y="142964"/>
                  </a:lnTo>
                  <a:lnTo>
                    <a:pt x="170690" y="145252"/>
                  </a:lnTo>
                  <a:lnTo>
                    <a:pt x="169793" y="144754"/>
                  </a:lnTo>
                  <a:lnTo>
                    <a:pt x="168598" y="141969"/>
                  </a:lnTo>
                  <a:lnTo>
                    <a:pt x="166804" y="140277"/>
                  </a:lnTo>
                  <a:lnTo>
                    <a:pt x="165708" y="139680"/>
                  </a:lnTo>
                  <a:lnTo>
                    <a:pt x="164213" y="139680"/>
                  </a:lnTo>
                  <a:lnTo>
                    <a:pt x="163516" y="140178"/>
                  </a:lnTo>
                  <a:lnTo>
                    <a:pt x="162619" y="141372"/>
                  </a:lnTo>
                  <a:lnTo>
                    <a:pt x="161424" y="142466"/>
                  </a:lnTo>
                  <a:lnTo>
                    <a:pt x="159829" y="142964"/>
                  </a:lnTo>
                  <a:lnTo>
                    <a:pt x="169793" y="131920"/>
                  </a:lnTo>
                  <a:lnTo>
                    <a:pt x="170690" y="129135"/>
                  </a:lnTo>
                  <a:lnTo>
                    <a:pt x="163715" y="123066"/>
                  </a:lnTo>
                  <a:lnTo>
                    <a:pt x="161224" y="116898"/>
                  </a:lnTo>
                  <a:lnTo>
                    <a:pt x="160726" y="115206"/>
                  </a:lnTo>
                  <a:lnTo>
                    <a:pt x="152157" y="117694"/>
                  </a:lnTo>
                  <a:lnTo>
                    <a:pt x="136413" y="130428"/>
                  </a:lnTo>
                  <a:lnTo>
                    <a:pt x="133922" y="132915"/>
                  </a:lnTo>
                  <a:lnTo>
                    <a:pt x="132925" y="135701"/>
                  </a:lnTo>
                  <a:lnTo>
                    <a:pt x="124157" y="144058"/>
                  </a:lnTo>
                  <a:lnTo>
                    <a:pt x="120370" y="149530"/>
                  </a:lnTo>
                  <a:lnTo>
                    <a:pt x="117879" y="151917"/>
                  </a:lnTo>
                  <a:lnTo>
                    <a:pt x="115189" y="152912"/>
                  </a:lnTo>
                  <a:lnTo>
                    <a:pt x="114192" y="153609"/>
                  </a:lnTo>
                  <a:lnTo>
                    <a:pt x="113594" y="155001"/>
                  </a:lnTo>
                  <a:lnTo>
                    <a:pt x="113893" y="156494"/>
                  </a:lnTo>
                  <a:lnTo>
                    <a:pt x="115687" y="157389"/>
                  </a:lnTo>
                  <a:lnTo>
                    <a:pt x="116783" y="157290"/>
                  </a:lnTo>
                  <a:lnTo>
                    <a:pt x="119673" y="155897"/>
                  </a:lnTo>
                  <a:lnTo>
                    <a:pt x="139900" y="139680"/>
                  </a:lnTo>
                  <a:lnTo>
                    <a:pt x="145879" y="132915"/>
                  </a:lnTo>
                  <a:lnTo>
                    <a:pt x="148171" y="132020"/>
                  </a:lnTo>
                  <a:lnTo>
                    <a:pt x="153751" y="131622"/>
                  </a:lnTo>
                  <a:lnTo>
                    <a:pt x="156342" y="130925"/>
                  </a:lnTo>
                  <a:lnTo>
                    <a:pt x="159032" y="129732"/>
                  </a:lnTo>
                  <a:lnTo>
                    <a:pt x="158533" y="132816"/>
                  </a:lnTo>
                  <a:lnTo>
                    <a:pt x="156740" y="134408"/>
                  </a:lnTo>
                  <a:lnTo>
                    <a:pt x="154349" y="135005"/>
                  </a:lnTo>
                  <a:lnTo>
                    <a:pt x="151658" y="135104"/>
                  </a:lnTo>
                  <a:lnTo>
                    <a:pt x="149068" y="136397"/>
                  </a:lnTo>
                  <a:lnTo>
                    <a:pt x="145281" y="141770"/>
                  </a:lnTo>
                  <a:lnTo>
                    <a:pt x="143786" y="142964"/>
                  </a:lnTo>
                  <a:lnTo>
                    <a:pt x="141993" y="144058"/>
                  </a:lnTo>
                  <a:lnTo>
                    <a:pt x="134619" y="151818"/>
                  </a:lnTo>
                  <a:lnTo>
                    <a:pt x="132327" y="153609"/>
                  </a:lnTo>
                  <a:lnTo>
                    <a:pt x="125153" y="157389"/>
                  </a:lnTo>
                  <a:lnTo>
                    <a:pt x="117680" y="164353"/>
                  </a:lnTo>
                  <a:lnTo>
                    <a:pt x="115189" y="165249"/>
                  </a:lnTo>
                  <a:lnTo>
                    <a:pt x="112299" y="165846"/>
                  </a:lnTo>
                  <a:lnTo>
                    <a:pt x="109907" y="167139"/>
                  </a:lnTo>
                  <a:lnTo>
                    <a:pt x="106021" y="170720"/>
                  </a:lnTo>
                  <a:lnTo>
                    <a:pt x="97551" y="175595"/>
                  </a:lnTo>
                  <a:lnTo>
                    <a:pt x="96356" y="177983"/>
                  </a:lnTo>
                  <a:lnTo>
                    <a:pt x="96854" y="179575"/>
                  </a:lnTo>
                  <a:lnTo>
                    <a:pt x="98349" y="179774"/>
                  </a:lnTo>
                  <a:lnTo>
                    <a:pt x="100042" y="179475"/>
                  </a:lnTo>
                  <a:lnTo>
                    <a:pt x="101737" y="179674"/>
                  </a:lnTo>
                  <a:lnTo>
                    <a:pt x="102833" y="180769"/>
                  </a:lnTo>
                  <a:lnTo>
                    <a:pt x="103929" y="183654"/>
                  </a:lnTo>
                  <a:lnTo>
                    <a:pt x="105124" y="185146"/>
                  </a:lnTo>
                  <a:lnTo>
                    <a:pt x="106719" y="186042"/>
                  </a:lnTo>
                  <a:lnTo>
                    <a:pt x="108014" y="185942"/>
                  </a:lnTo>
                  <a:lnTo>
                    <a:pt x="112398" y="184649"/>
                  </a:lnTo>
                  <a:lnTo>
                    <a:pt x="114790" y="182360"/>
                  </a:lnTo>
                  <a:lnTo>
                    <a:pt x="117879" y="181266"/>
                  </a:lnTo>
                  <a:lnTo>
                    <a:pt x="125153" y="177287"/>
                  </a:lnTo>
                  <a:lnTo>
                    <a:pt x="133622" y="175297"/>
                  </a:lnTo>
                  <a:lnTo>
                    <a:pt x="137908" y="171914"/>
                  </a:lnTo>
                  <a:lnTo>
                    <a:pt x="143388" y="169328"/>
                  </a:lnTo>
                  <a:lnTo>
                    <a:pt x="145979" y="168631"/>
                  </a:lnTo>
                  <a:lnTo>
                    <a:pt x="143886" y="172113"/>
                  </a:lnTo>
                  <a:lnTo>
                    <a:pt x="140199" y="175695"/>
                  </a:lnTo>
                  <a:lnTo>
                    <a:pt x="136114" y="178580"/>
                  </a:lnTo>
                  <a:lnTo>
                    <a:pt x="130633" y="180470"/>
                  </a:lnTo>
                  <a:lnTo>
                    <a:pt x="128042" y="184251"/>
                  </a:lnTo>
                  <a:lnTo>
                    <a:pt x="124555" y="186042"/>
                  </a:lnTo>
                  <a:lnTo>
                    <a:pt x="120669" y="189922"/>
                  </a:lnTo>
                  <a:lnTo>
                    <a:pt x="119473" y="190817"/>
                  </a:lnTo>
                  <a:lnTo>
                    <a:pt x="117580" y="191613"/>
                  </a:lnTo>
                  <a:lnTo>
                    <a:pt x="116284" y="193503"/>
                  </a:lnTo>
                  <a:lnTo>
                    <a:pt x="115089" y="195592"/>
                  </a:lnTo>
                  <a:lnTo>
                    <a:pt x="113793" y="197383"/>
                  </a:lnTo>
                  <a:lnTo>
                    <a:pt x="111800" y="198875"/>
                  </a:lnTo>
                  <a:lnTo>
                    <a:pt x="107915" y="200567"/>
                  </a:lnTo>
                  <a:lnTo>
                    <a:pt x="106021" y="201860"/>
                  </a:lnTo>
                  <a:lnTo>
                    <a:pt x="104726" y="203054"/>
                  </a:lnTo>
                  <a:lnTo>
                    <a:pt x="103231" y="204845"/>
                  </a:lnTo>
                  <a:lnTo>
                    <a:pt x="102035" y="207033"/>
                  </a:lnTo>
                  <a:lnTo>
                    <a:pt x="101737" y="209521"/>
                  </a:lnTo>
                  <a:lnTo>
                    <a:pt x="102434" y="211013"/>
                  </a:lnTo>
                  <a:lnTo>
                    <a:pt x="103630" y="212804"/>
                  </a:lnTo>
                  <a:lnTo>
                    <a:pt x="104128" y="214495"/>
                  </a:lnTo>
                  <a:lnTo>
                    <a:pt x="102633" y="216087"/>
                  </a:lnTo>
                  <a:lnTo>
                    <a:pt x="104128" y="218176"/>
                  </a:lnTo>
                  <a:lnTo>
                    <a:pt x="103829" y="219270"/>
                  </a:lnTo>
                  <a:lnTo>
                    <a:pt x="102335" y="219171"/>
                  </a:lnTo>
                  <a:lnTo>
                    <a:pt x="100342" y="217778"/>
                  </a:lnTo>
                  <a:lnTo>
                    <a:pt x="99544" y="217878"/>
                  </a:lnTo>
                  <a:lnTo>
                    <a:pt x="98149" y="220962"/>
                  </a:lnTo>
                  <a:lnTo>
                    <a:pt x="97253" y="221758"/>
                  </a:lnTo>
                  <a:lnTo>
                    <a:pt x="92968" y="221758"/>
                  </a:lnTo>
                  <a:lnTo>
                    <a:pt x="93964" y="222753"/>
                  </a:lnTo>
                  <a:lnTo>
                    <a:pt x="91175" y="223946"/>
                  </a:lnTo>
                  <a:lnTo>
                    <a:pt x="91673" y="224742"/>
                  </a:lnTo>
                  <a:lnTo>
                    <a:pt x="91971" y="225737"/>
                  </a:lnTo>
                  <a:lnTo>
                    <a:pt x="91573" y="226334"/>
                  </a:lnTo>
                  <a:lnTo>
                    <a:pt x="90377" y="226035"/>
                  </a:lnTo>
                  <a:lnTo>
                    <a:pt x="88982" y="225140"/>
                  </a:lnTo>
                  <a:lnTo>
                    <a:pt x="88882" y="224543"/>
                  </a:lnTo>
                  <a:lnTo>
                    <a:pt x="89580" y="223946"/>
                  </a:lnTo>
                  <a:lnTo>
                    <a:pt x="92271" y="220166"/>
                  </a:lnTo>
                  <a:lnTo>
                    <a:pt x="94264" y="218275"/>
                  </a:lnTo>
                  <a:lnTo>
                    <a:pt x="95359" y="216186"/>
                  </a:lnTo>
                  <a:lnTo>
                    <a:pt x="94363" y="213401"/>
                  </a:lnTo>
                  <a:lnTo>
                    <a:pt x="90676" y="210217"/>
                  </a:lnTo>
                  <a:lnTo>
                    <a:pt x="85993" y="208227"/>
                  </a:lnTo>
                  <a:lnTo>
                    <a:pt x="80911" y="207630"/>
                  </a:lnTo>
                  <a:lnTo>
                    <a:pt x="76527" y="208426"/>
                  </a:lnTo>
                  <a:lnTo>
                    <a:pt x="63673" y="216982"/>
                  </a:lnTo>
                  <a:lnTo>
                    <a:pt x="59487" y="218275"/>
                  </a:lnTo>
                  <a:lnTo>
                    <a:pt x="53011" y="216883"/>
                  </a:lnTo>
                  <a:lnTo>
                    <a:pt x="51715" y="216186"/>
                  </a:lnTo>
                  <a:lnTo>
                    <a:pt x="51217" y="215490"/>
                  </a:lnTo>
                  <a:lnTo>
                    <a:pt x="52213" y="214793"/>
                  </a:lnTo>
                  <a:lnTo>
                    <a:pt x="52911" y="213998"/>
                  </a:lnTo>
                  <a:lnTo>
                    <a:pt x="54007" y="213202"/>
                  </a:lnTo>
                  <a:lnTo>
                    <a:pt x="55203" y="212804"/>
                  </a:lnTo>
                  <a:lnTo>
                    <a:pt x="55602" y="212207"/>
                  </a:lnTo>
                  <a:lnTo>
                    <a:pt x="55701" y="211013"/>
                  </a:lnTo>
                  <a:lnTo>
                    <a:pt x="55800" y="209521"/>
                  </a:lnTo>
                  <a:lnTo>
                    <a:pt x="55701" y="208426"/>
                  </a:lnTo>
                  <a:lnTo>
                    <a:pt x="53509" y="209222"/>
                  </a:lnTo>
                  <a:lnTo>
                    <a:pt x="52911" y="209521"/>
                  </a:lnTo>
                  <a:lnTo>
                    <a:pt x="54306" y="206436"/>
                  </a:lnTo>
                  <a:lnTo>
                    <a:pt x="56797" y="203949"/>
                  </a:lnTo>
                  <a:lnTo>
                    <a:pt x="66762" y="198378"/>
                  </a:lnTo>
                  <a:lnTo>
                    <a:pt x="68256" y="196886"/>
                  </a:lnTo>
                  <a:lnTo>
                    <a:pt x="69153" y="196786"/>
                  </a:lnTo>
                  <a:lnTo>
                    <a:pt x="70548" y="197383"/>
                  </a:lnTo>
                  <a:lnTo>
                    <a:pt x="72242" y="197184"/>
                  </a:lnTo>
                  <a:lnTo>
                    <a:pt x="73836" y="195095"/>
                  </a:lnTo>
                  <a:lnTo>
                    <a:pt x="74833" y="195891"/>
                  </a:lnTo>
                  <a:lnTo>
                    <a:pt x="75829" y="196289"/>
                  </a:lnTo>
                  <a:lnTo>
                    <a:pt x="78220" y="196289"/>
                  </a:lnTo>
                  <a:lnTo>
                    <a:pt x="77224" y="194896"/>
                  </a:lnTo>
                  <a:lnTo>
                    <a:pt x="74135" y="191414"/>
                  </a:lnTo>
                  <a:lnTo>
                    <a:pt x="74335" y="190817"/>
                  </a:lnTo>
                  <a:lnTo>
                    <a:pt x="76327" y="191314"/>
                  </a:lnTo>
                  <a:lnTo>
                    <a:pt x="77822" y="192409"/>
                  </a:lnTo>
                  <a:lnTo>
                    <a:pt x="79217" y="192906"/>
                  </a:lnTo>
                  <a:lnTo>
                    <a:pt x="80811" y="191812"/>
                  </a:lnTo>
                  <a:lnTo>
                    <a:pt x="73836" y="186639"/>
                  </a:lnTo>
                  <a:lnTo>
                    <a:pt x="71246" y="186240"/>
                  </a:lnTo>
                  <a:lnTo>
                    <a:pt x="72142" y="188131"/>
                  </a:lnTo>
                  <a:lnTo>
                    <a:pt x="70149" y="188529"/>
                  </a:lnTo>
                  <a:lnTo>
                    <a:pt x="67459" y="188330"/>
                  </a:lnTo>
                  <a:lnTo>
                    <a:pt x="66064" y="189026"/>
                  </a:lnTo>
                  <a:lnTo>
                    <a:pt x="64868" y="190320"/>
                  </a:lnTo>
                  <a:lnTo>
                    <a:pt x="62178" y="191314"/>
                  </a:lnTo>
                  <a:lnTo>
                    <a:pt x="59288" y="191911"/>
                  </a:lnTo>
                  <a:lnTo>
                    <a:pt x="57395" y="191812"/>
                  </a:lnTo>
                  <a:lnTo>
                    <a:pt x="58691" y="189524"/>
                  </a:lnTo>
                  <a:lnTo>
                    <a:pt x="60584" y="188529"/>
                  </a:lnTo>
                  <a:lnTo>
                    <a:pt x="62676" y="187733"/>
                  </a:lnTo>
                  <a:lnTo>
                    <a:pt x="64370" y="186240"/>
                  </a:lnTo>
                  <a:lnTo>
                    <a:pt x="63274" y="186240"/>
                  </a:lnTo>
                  <a:lnTo>
                    <a:pt x="60882" y="185146"/>
                  </a:lnTo>
                  <a:lnTo>
                    <a:pt x="62875" y="184848"/>
                  </a:lnTo>
                  <a:lnTo>
                    <a:pt x="69751" y="184947"/>
                  </a:lnTo>
                  <a:lnTo>
                    <a:pt x="71246" y="184649"/>
                  </a:lnTo>
                  <a:lnTo>
                    <a:pt x="72342" y="182759"/>
                  </a:lnTo>
                  <a:lnTo>
                    <a:pt x="74733" y="181963"/>
                  </a:lnTo>
                  <a:lnTo>
                    <a:pt x="80014" y="181863"/>
                  </a:lnTo>
                  <a:lnTo>
                    <a:pt x="82804" y="182858"/>
                  </a:lnTo>
                  <a:lnTo>
                    <a:pt x="84299" y="183057"/>
                  </a:lnTo>
                  <a:lnTo>
                    <a:pt x="85595" y="182360"/>
                  </a:lnTo>
                  <a:lnTo>
                    <a:pt x="86591" y="181266"/>
                  </a:lnTo>
                  <a:lnTo>
                    <a:pt x="87886" y="180371"/>
                  </a:lnTo>
                  <a:lnTo>
                    <a:pt x="89281" y="179873"/>
                  </a:lnTo>
                  <a:lnTo>
                    <a:pt x="90776" y="179674"/>
                  </a:lnTo>
                  <a:lnTo>
                    <a:pt x="93366" y="178480"/>
                  </a:lnTo>
                  <a:lnTo>
                    <a:pt x="94363" y="175695"/>
                  </a:lnTo>
                  <a:lnTo>
                    <a:pt x="94861" y="172312"/>
                  </a:lnTo>
                  <a:lnTo>
                    <a:pt x="95559" y="169626"/>
                  </a:lnTo>
                  <a:lnTo>
                    <a:pt x="97751" y="166940"/>
                  </a:lnTo>
                  <a:lnTo>
                    <a:pt x="100242" y="164652"/>
                  </a:lnTo>
                  <a:lnTo>
                    <a:pt x="102434" y="162264"/>
                  </a:lnTo>
                  <a:lnTo>
                    <a:pt x="103431" y="159080"/>
                  </a:lnTo>
                  <a:lnTo>
                    <a:pt x="101936" y="157588"/>
                  </a:lnTo>
                  <a:lnTo>
                    <a:pt x="98648" y="158683"/>
                  </a:lnTo>
                  <a:lnTo>
                    <a:pt x="92968" y="161966"/>
                  </a:lnTo>
                  <a:lnTo>
                    <a:pt x="87288" y="162065"/>
                  </a:lnTo>
                  <a:lnTo>
                    <a:pt x="84598" y="162662"/>
                  </a:lnTo>
                  <a:lnTo>
                    <a:pt x="82206" y="166542"/>
                  </a:lnTo>
                  <a:lnTo>
                    <a:pt x="73836" y="170720"/>
                  </a:lnTo>
                  <a:lnTo>
                    <a:pt x="71943" y="173208"/>
                  </a:lnTo>
                  <a:lnTo>
                    <a:pt x="70548" y="175695"/>
                  </a:lnTo>
                  <a:lnTo>
                    <a:pt x="68655" y="177784"/>
                  </a:lnTo>
                  <a:lnTo>
                    <a:pt x="65666" y="178580"/>
                  </a:lnTo>
                  <a:lnTo>
                    <a:pt x="53907" y="179674"/>
                  </a:lnTo>
                  <a:lnTo>
                    <a:pt x="54904" y="176491"/>
                  </a:lnTo>
                  <a:lnTo>
                    <a:pt x="56996" y="174999"/>
                  </a:lnTo>
                  <a:lnTo>
                    <a:pt x="68057" y="172312"/>
                  </a:lnTo>
                  <a:lnTo>
                    <a:pt x="70747" y="171119"/>
                  </a:lnTo>
                  <a:lnTo>
                    <a:pt x="72940" y="169626"/>
                  </a:lnTo>
                  <a:lnTo>
                    <a:pt x="81011" y="159876"/>
                  </a:lnTo>
                  <a:lnTo>
                    <a:pt x="85793" y="155499"/>
                  </a:lnTo>
                  <a:lnTo>
                    <a:pt x="88683" y="156394"/>
                  </a:lnTo>
                  <a:lnTo>
                    <a:pt x="87288" y="156494"/>
                  </a:lnTo>
                  <a:lnTo>
                    <a:pt x="85793" y="157190"/>
                  </a:lnTo>
                  <a:lnTo>
                    <a:pt x="85196" y="158285"/>
                  </a:lnTo>
                  <a:lnTo>
                    <a:pt x="85993" y="159677"/>
                  </a:lnTo>
                  <a:lnTo>
                    <a:pt x="93167" y="158285"/>
                  </a:lnTo>
                  <a:lnTo>
                    <a:pt x="98648" y="156394"/>
                  </a:lnTo>
                  <a:lnTo>
                    <a:pt x="100840" y="155200"/>
                  </a:lnTo>
                  <a:lnTo>
                    <a:pt x="101836" y="154405"/>
                  </a:lnTo>
                  <a:lnTo>
                    <a:pt x="104726" y="151320"/>
                  </a:lnTo>
                  <a:lnTo>
                    <a:pt x="106021" y="150823"/>
                  </a:lnTo>
                  <a:lnTo>
                    <a:pt x="107815" y="154007"/>
                  </a:lnTo>
                  <a:lnTo>
                    <a:pt x="109011" y="153509"/>
                  </a:lnTo>
                  <a:lnTo>
                    <a:pt x="111004" y="151818"/>
                  </a:lnTo>
                  <a:lnTo>
                    <a:pt x="116484" y="149132"/>
                  </a:lnTo>
                  <a:lnTo>
                    <a:pt x="118975" y="147440"/>
                  </a:lnTo>
                  <a:lnTo>
                    <a:pt x="136413" y="127444"/>
                  </a:lnTo>
                  <a:lnTo>
                    <a:pt x="140598" y="124459"/>
                  </a:lnTo>
                  <a:lnTo>
                    <a:pt x="142491" y="122270"/>
                  </a:lnTo>
                  <a:lnTo>
                    <a:pt x="143288" y="119186"/>
                  </a:lnTo>
                  <a:lnTo>
                    <a:pt x="143687" y="117196"/>
                  </a:lnTo>
                  <a:lnTo>
                    <a:pt x="143986" y="115804"/>
                  </a:lnTo>
                  <a:lnTo>
                    <a:pt x="143587" y="114809"/>
                  </a:lnTo>
                  <a:lnTo>
                    <a:pt x="141594" y="114212"/>
                  </a:lnTo>
                  <a:lnTo>
                    <a:pt x="140498" y="114411"/>
                  </a:lnTo>
                  <a:lnTo>
                    <a:pt x="136413" y="116400"/>
                  </a:lnTo>
                  <a:lnTo>
                    <a:pt x="130135" y="123165"/>
                  </a:lnTo>
                  <a:lnTo>
                    <a:pt x="128142" y="124160"/>
                  </a:lnTo>
                  <a:lnTo>
                    <a:pt x="126648" y="125752"/>
                  </a:lnTo>
                  <a:lnTo>
                    <a:pt x="120769" y="136298"/>
                  </a:lnTo>
                  <a:lnTo>
                    <a:pt x="120569" y="135701"/>
                  </a:lnTo>
                  <a:lnTo>
                    <a:pt x="119872" y="134010"/>
                  </a:lnTo>
                  <a:lnTo>
                    <a:pt x="123359" y="125454"/>
                  </a:lnTo>
                  <a:lnTo>
                    <a:pt x="129438" y="115804"/>
                  </a:lnTo>
                  <a:lnTo>
                    <a:pt x="131231" y="110531"/>
                  </a:lnTo>
                  <a:lnTo>
                    <a:pt x="132128" y="108541"/>
                  </a:lnTo>
                  <a:lnTo>
                    <a:pt x="136711" y="102273"/>
                  </a:lnTo>
                  <a:lnTo>
                    <a:pt x="138107" y="99686"/>
                  </a:lnTo>
                  <a:lnTo>
                    <a:pt x="143288" y="83072"/>
                  </a:lnTo>
                  <a:lnTo>
                    <a:pt x="148569" y="74019"/>
                  </a:lnTo>
                  <a:lnTo>
                    <a:pt x="151359" y="71731"/>
                  </a:lnTo>
                  <a:lnTo>
                    <a:pt x="152057" y="70636"/>
                  </a:lnTo>
                  <a:lnTo>
                    <a:pt x="152256" y="68248"/>
                  </a:lnTo>
                  <a:lnTo>
                    <a:pt x="151060" y="67154"/>
                  </a:lnTo>
                  <a:lnTo>
                    <a:pt x="149267" y="66060"/>
                  </a:lnTo>
                  <a:lnTo>
                    <a:pt x="147772" y="64070"/>
                  </a:lnTo>
                  <a:lnTo>
                    <a:pt x="148769" y="63771"/>
                  </a:lnTo>
                  <a:lnTo>
                    <a:pt x="150363" y="63075"/>
                  </a:lnTo>
                  <a:lnTo>
                    <a:pt x="151260" y="62777"/>
                  </a:lnTo>
                  <a:lnTo>
                    <a:pt x="151260" y="61782"/>
                  </a:lnTo>
                  <a:lnTo>
                    <a:pt x="149765" y="61981"/>
                  </a:lnTo>
                  <a:lnTo>
                    <a:pt x="148270" y="61782"/>
                  </a:lnTo>
                  <a:lnTo>
                    <a:pt x="146975" y="60886"/>
                  </a:lnTo>
                  <a:lnTo>
                    <a:pt x="145979" y="59494"/>
                  </a:lnTo>
                  <a:lnTo>
                    <a:pt x="152057" y="56807"/>
                  </a:lnTo>
                  <a:lnTo>
                    <a:pt x="152953" y="55514"/>
                  </a:lnTo>
                  <a:lnTo>
                    <a:pt x="153253" y="53226"/>
                  </a:lnTo>
                  <a:lnTo>
                    <a:pt x="155544" y="47257"/>
                  </a:lnTo>
                  <a:lnTo>
                    <a:pt x="157537" y="37706"/>
                  </a:lnTo>
                  <a:lnTo>
                    <a:pt x="157936" y="32731"/>
                  </a:lnTo>
                  <a:lnTo>
                    <a:pt x="157238" y="29448"/>
                  </a:lnTo>
                  <a:lnTo>
                    <a:pt x="156541" y="28354"/>
                  </a:lnTo>
                  <a:lnTo>
                    <a:pt x="155644" y="27359"/>
                  </a:lnTo>
                  <a:lnTo>
                    <a:pt x="154747" y="26563"/>
                  </a:lnTo>
                  <a:lnTo>
                    <a:pt x="153751" y="25966"/>
                  </a:lnTo>
                  <a:lnTo>
                    <a:pt x="151260" y="27459"/>
                  </a:lnTo>
                  <a:lnTo>
                    <a:pt x="146776" y="28056"/>
                  </a:lnTo>
                  <a:lnTo>
                    <a:pt x="142093" y="27857"/>
                  </a:lnTo>
                  <a:lnTo>
                    <a:pt x="139004" y="27160"/>
                  </a:lnTo>
                  <a:lnTo>
                    <a:pt x="139004" y="25966"/>
                  </a:lnTo>
                  <a:lnTo>
                    <a:pt x="140598" y="24474"/>
                  </a:lnTo>
                  <a:lnTo>
                    <a:pt x="139302" y="23181"/>
                  </a:lnTo>
                  <a:lnTo>
                    <a:pt x="136612" y="22484"/>
                  </a:lnTo>
                  <a:lnTo>
                    <a:pt x="133822" y="22683"/>
                  </a:lnTo>
                  <a:lnTo>
                    <a:pt x="134520" y="21091"/>
                  </a:lnTo>
                  <a:lnTo>
                    <a:pt x="137808" y="17510"/>
                  </a:lnTo>
                  <a:lnTo>
                    <a:pt x="141594" y="11441"/>
                  </a:lnTo>
                  <a:lnTo>
                    <a:pt x="146178" y="6367"/>
                  </a:lnTo>
                  <a:lnTo>
                    <a:pt x="148071" y="2885"/>
                  </a:lnTo>
                  <a:lnTo>
                    <a:pt x="146477" y="1293"/>
                  </a:lnTo>
                  <a:lnTo>
                    <a:pt x="143388" y="1990"/>
                  </a:lnTo>
                  <a:lnTo>
                    <a:pt x="138107" y="5074"/>
                  </a:lnTo>
                  <a:lnTo>
                    <a:pt x="135117" y="5770"/>
                  </a:lnTo>
                  <a:lnTo>
                    <a:pt x="133124" y="5372"/>
                  </a:lnTo>
                  <a:lnTo>
                    <a:pt x="132128" y="4576"/>
                  </a:lnTo>
                  <a:lnTo>
                    <a:pt x="131431" y="3482"/>
                  </a:lnTo>
                  <a:lnTo>
                    <a:pt x="130335" y="2487"/>
                  </a:lnTo>
                  <a:lnTo>
                    <a:pt x="128939" y="1990"/>
                  </a:lnTo>
                  <a:lnTo>
                    <a:pt x="124157" y="1293"/>
                  </a:lnTo>
                  <a:lnTo>
                    <a:pt x="121366" y="0"/>
                  </a:lnTo>
                  <a:lnTo>
                    <a:pt x="120171" y="100"/>
                  </a:lnTo>
                  <a:lnTo>
                    <a:pt x="117680" y="2885"/>
                  </a:lnTo>
                  <a:lnTo>
                    <a:pt x="116384" y="3880"/>
                  </a:lnTo>
                  <a:lnTo>
                    <a:pt x="115288" y="4974"/>
                  </a:lnTo>
                  <a:lnTo>
                    <a:pt x="114093" y="8556"/>
                  </a:lnTo>
                  <a:lnTo>
                    <a:pt x="107715" y="21191"/>
                  </a:lnTo>
                  <a:lnTo>
                    <a:pt x="99046" y="31140"/>
                  </a:lnTo>
                  <a:lnTo>
                    <a:pt x="96755" y="32632"/>
                  </a:lnTo>
                  <a:lnTo>
                    <a:pt x="91175" y="34821"/>
                  </a:lnTo>
                  <a:lnTo>
                    <a:pt x="86491" y="38303"/>
                  </a:lnTo>
                  <a:lnTo>
                    <a:pt x="82704" y="43377"/>
                  </a:lnTo>
                  <a:lnTo>
                    <a:pt x="76527" y="55017"/>
                  </a:lnTo>
                  <a:lnTo>
                    <a:pt x="74335" y="60787"/>
                  </a:lnTo>
                  <a:lnTo>
                    <a:pt x="73438" y="62279"/>
                  </a:lnTo>
                  <a:lnTo>
                    <a:pt x="69253" y="65463"/>
                  </a:lnTo>
                  <a:lnTo>
                    <a:pt x="68655" y="66756"/>
                  </a:lnTo>
                  <a:lnTo>
                    <a:pt x="68356" y="68547"/>
                  </a:lnTo>
                  <a:lnTo>
                    <a:pt x="67758" y="70835"/>
                  </a:lnTo>
                  <a:lnTo>
                    <a:pt x="66861" y="72029"/>
                  </a:lnTo>
                  <a:lnTo>
                    <a:pt x="66064" y="70636"/>
                  </a:lnTo>
                  <a:lnTo>
                    <a:pt x="66064" y="68945"/>
                  </a:lnTo>
                  <a:lnTo>
                    <a:pt x="67858" y="64070"/>
                  </a:lnTo>
                  <a:lnTo>
                    <a:pt x="66164" y="64965"/>
                  </a:lnTo>
                  <a:lnTo>
                    <a:pt x="64469" y="66756"/>
                  </a:lnTo>
                  <a:lnTo>
                    <a:pt x="63075" y="68845"/>
                  </a:lnTo>
                  <a:lnTo>
                    <a:pt x="62576" y="70636"/>
                  </a:lnTo>
                  <a:lnTo>
                    <a:pt x="63573" y="72128"/>
                  </a:lnTo>
                  <a:lnTo>
                    <a:pt x="65167" y="73820"/>
                  </a:lnTo>
                  <a:lnTo>
                    <a:pt x="66064" y="76108"/>
                  </a:lnTo>
                  <a:lnTo>
                    <a:pt x="64769" y="78993"/>
                  </a:lnTo>
                  <a:lnTo>
                    <a:pt x="61480" y="82774"/>
                  </a:lnTo>
                  <a:lnTo>
                    <a:pt x="60384" y="84962"/>
                  </a:lnTo>
                  <a:lnTo>
                    <a:pt x="59687" y="90335"/>
                  </a:lnTo>
                  <a:lnTo>
                    <a:pt x="58989" y="92623"/>
                  </a:lnTo>
                  <a:lnTo>
                    <a:pt x="57893" y="94613"/>
                  </a:lnTo>
                  <a:lnTo>
                    <a:pt x="47331" y="105755"/>
                  </a:lnTo>
                  <a:lnTo>
                    <a:pt x="45637" y="108740"/>
                  </a:lnTo>
                  <a:lnTo>
                    <a:pt x="42947" y="114610"/>
                  </a:lnTo>
                  <a:lnTo>
                    <a:pt x="34676" y="126946"/>
                  </a:lnTo>
                  <a:lnTo>
                    <a:pt x="34377" y="128438"/>
                  </a:lnTo>
                  <a:lnTo>
                    <a:pt x="33281" y="128936"/>
                  </a:lnTo>
                  <a:lnTo>
                    <a:pt x="21224" y="136795"/>
                  </a:lnTo>
                  <a:lnTo>
                    <a:pt x="15245" y="141869"/>
                  </a:lnTo>
                  <a:lnTo>
                    <a:pt x="13551" y="142964"/>
                  </a:lnTo>
                  <a:lnTo>
                    <a:pt x="11758" y="144754"/>
                  </a:lnTo>
                  <a:lnTo>
                    <a:pt x="10861" y="148734"/>
                  </a:lnTo>
                  <a:lnTo>
                    <a:pt x="10263" y="153310"/>
                  </a:lnTo>
                  <a:lnTo>
                    <a:pt x="9665" y="156394"/>
                  </a:lnTo>
                  <a:lnTo>
                    <a:pt x="7573" y="158086"/>
                  </a:lnTo>
                  <a:lnTo>
                    <a:pt x="4285" y="159677"/>
                  </a:lnTo>
                  <a:lnTo>
                    <a:pt x="1295" y="161667"/>
                  </a:lnTo>
                  <a:lnTo>
                    <a:pt x="0" y="164751"/>
                  </a:lnTo>
                  <a:lnTo>
                    <a:pt x="498" y="166343"/>
                  </a:lnTo>
                  <a:lnTo>
                    <a:pt x="1594" y="167736"/>
                  </a:lnTo>
                  <a:lnTo>
                    <a:pt x="2889" y="168830"/>
                  </a:lnTo>
                  <a:lnTo>
                    <a:pt x="3487" y="169626"/>
                  </a:lnTo>
                  <a:lnTo>
                    <a:pt x="3886" y="171417"/>
                  </a:lnTo>
                  <a:lnTo>
                    <a:pt x="3886" y="174501"/>
                  </a:lnTo>
                  <a:lnTo>
                    <a:pt x="4484" y="176192"/>
                  </a:lnTo>
                  <a:lnTo>
                    <a:pt x="3687" y="179077"/>
                  </a:lnTo>
                  <a:lnTo>
                    <a:pt x="4683" y="181266"/>
                  </a:lnTo>
                  <a:lnTo>
                    <a:pt x="6477" y="183455"/>
                  </a:lnTo>
                  <a:lnTo>
                    <a:pt x="7971" y="186240"/>
                  </a:lnTo>
                  <a:lnTo>
                    <a:pt x="6875" y="194896"/>
                  </a:lnTo>
                  <a:lnTo>
                    <a:pt x="7473" y="196289"/>
                  </a:lnTo>
                  <a:lnTo>
                    <a:pt x="9665" y="198776"/>
                  </a:lnTo>
                  <a:lnTo>
                    <a:pt x="10961" y="204447"/>
                  </a:lnTo>
                  <a:lnTo>
                    <a:pt x="12156" y="215092"/>
                  </a:lnTo>
                  <a:lnTo>
                    <a:pt x="13851" y="219668"/>
                  </a:lnTo>
                  <a:lnTo>
                    <a:pt x="16740" y="223648"/>
                  </a:lnTo>
                  <a:lnTo>
                    <a:pt x="23915" y="231010"/>
                  </a:lnTo>
                  <a:lnTo>
                    <a:pt x="27502" y="238273"/>
                  </a:lnTo>
                  <a:lnTo>
                    <a:pt x="29096" y="239466"/>
                  </a:lnTo>
                  <a:lnTo>
                    <a:pt x="33779" y="241257"/>
                  </a:lnTo>
                  <a:lnTo>
                    <a:pt x="35673" y="241158"/>
                  </a:lnTo>
                  <a:lnTo>
                    <a:pt x="34776" y="238173"/>
                  </a:lnTo>
                  <a:lnTo>
                    <a:pt x="36071" y="237477"/>
                  </a:lnTo>
                  <a:lnTo>
                    <a:pt x="37765" y="236084"/>
                  </a:lnTo>
                  <a:lnTo>
                    <a:pt x="39260" y="235188"/>
                  </a:lnTo>
                  <a:lnTo>
                    <a:pt x="40455" y="235387"/>
                  </a:lnTo>
                  <a:lnTo>
                    <a:pt x="41353" y="235785"/>
                  </a:lnTo>
                  <a:lnTo>
                    <a:pt x="41950" y="234492"/>
                  </a:lnTo>
                  <a:lnTo>
                    <a:pt x="42548" y="232801"/>
                  </a:lnTo>
                  <a:lnTo>
                    <a:pt x="43445" y="231507"/>
                  </a:lnTo>
                  <a:lnTo>
                    <a:pt x="43844" y="233994"/>
                  </a:lnTo>
                  <a:lnTo>
                    <a:pt x="45039" y="234492"/>
                  </a:lnTo>
                  <a:lnTo>
                    <a:pt x="46833" y="234393"/>
                  </a:lnTo>
                  <a:lnTo>
                    <a:pt x="48726" y="234989"/>
                  </a:lnTo>
                  <a:lnTo>
                    <a:pt x="50220" y="236283"/>
                  </a:lnTo>
                  <a:lnTo>
                    <a:pt x="50719" y="237477"/>
                  </a:lnTo>
                  <a:lnTo>
                    <a:pt x="50022" y="238471"/>
                  </a:lnTo>
                  <a:lnTo>
                    <a:pt x="47729" y="239466"/>
                  </a:lnTo>
                  <a:lnTo>
                    <a:pt x="50022" y="239864"/>
                  </a:lnTo>
                  <a:lnTo>
                    <a:pt x="53210" y="239267"/>
                  </a:lnTo>
                  <a:lnTo>
                    <a:pt x="59089" y="237178"/>
                  </a:lnTo>
                  <a:lnTo>
                    <a:pt x="62576" y="234193"/>
                  </a:lnTo>
                  <a:lnTo>
                    <a:pt x="63971" y="233795"/>
                  </a:lnTo>
                  <a:lnTo>
                    <a:pt x="66762" y="234193"/>
                  </a:lnTo>
                  <a:lnTo>
                    <a:pt x="67858" y="233597"/>
                  </a:lnTo>
                  <a:lnTo>
                    <a:pt x="68655" y="231507"/>
                  </a:lnTo>
                  <a:lnTo>
                    <a:pt x="66861" y="230513"/>
                  </a:lnTo>
                  <a:lnTo>
                    <a:pt x="73737" y="231507"/>
                  </a:lnTo>
                  <a:lnTo>
                    <a:pt x="76726" y="230811"/>
                  </a:lnTo>
                  <a:lnTo>
                    <a:pt x="76527" y="228324"/>
                  </a:lnTo>
                  <a:lnTo>
                    <a:pt x="78021" y="228324"/>
                  </a:lnTo>
                  <a:lnTo>
                    <a:pt x="79317" y="228622"/>
                  </a:lnTo>
                  <a:lnTo>
                    <a:pt x="80513" y="229418"/>
                  </a:lnTo>
                  <a:lnTo>
                    <a:pt x="81609" y="230513"/>
                  </a:lnTo>
                  <a:lnTo>
                    <a:pt x="83103" y="229020"/>
                  </a:lnTo>
                  <a:lnTo>
                    <a:pt x="84598" y="226831"/>
                  </a:lnTo>
                  <a:lnTo>
                    <a:pt x="86192" y="225538"/>
                  </a:lnTo>
                  <a:lnTo>
                    <a:pt x="88185" y="226533"/>
                  </a:lnTo>
                  <a:lnTo>
                    <a:pt x="88982" y="228523"/>
                  </a:lnTo>
                  <a:lnTo>
                    <a:pt x="89082" y="230513"/>
                  </a:lnTo>
                  <a:lnTo>
                    <a:pt x="89580" y="232104"/>
                  </a:lnTo>
                  <a:lnTo>
                    <a:pt x="91673" y="232701"/>
                  </a:lnTo>
                  <a:lnTo>
                    <a:pt x="101238" y="233795"/>
                  </a:lnTo>
                  <a:lnTo>
                    <a:pt x="102335" y="234393"/>
                  </a:lnTo>
                  <a:lnTo>
                    <a:pt x="102534" y="235785"/>
                  </a:lnTo>
                  <a:lnTo>
                    <a:pt x="102633" y="237278"/>
                  </a:lnTo>
                  <a:lnTo>
                    <a:pt x="103431" y="238173"/>
                  </a:lnTo>
                  <a:lnTo>
                    <a:pt x="104527" y="238372"/>
                  </a:lnTo>
                  <a:lnTo>
                    <a:pt x="105523" y="237974"/>
                  </a:lnTo>
                  <a:lnTo>
                    <a:pt x="106420" y="237377"/>
                  </a:lnTo>
                  <a:lnTo>
                    <a:pt x="107416" y="237178"/>
                  </a:lnTo>
                  <a:lnTo>
                    <a:pt x="111502" y="237079"/>
                  </a:lnTo>
                  <a:lnTo>
                    <a:pt x="112697" y="236482"/>
                  </a:lnTo>
                  <a:lnTo>
                    <a:pt x="116783" y="233696"/>
                  </a:lnTo>
                  <a:lnTo>
                    <a:pt x="131729" y="228523"/>
                  </a:lnTo>
                  <a:lnTo>
                    <a:pt x="133324" y="227627"/>
                  </a:lnTo>
                  <a:lnTo>
                    <a:pt x="136413" y="224941"/>
                  </a:lnTo>
                  <a:lnTo>
                    <a:pt x="137110" y="226433"/>
                  </a:lnTo>
                  <a:lnTo>
                    <a:pt x="138007" y="227030"/>
                  </a:lnTo>
                  <a:lnTo>
                    <a:pt x="140697" y="227130"/>
                  </a:lnTo>
                  <a:lnTo>
                    <a:pt x="146577" y="226035"/>
                  </a:lnTo>
                  <a:lnTo>
                    <a:pt x="155744" y="219370"/>
                  </a:lnTo>
                  <a:lnTo>
                    <a:pt x="160726" y="217181"/>
                  </a:lnTo>
                  <a:lnTo>
                    <a:pt x="163715" y="216684"/>
                  </a:lnTo>
                  <a:lnTo>
                    <a:pt x="166804" y="215589"/>
                  </a:lnTo>
                  <a:lnTo>
                    <a:pt x="169295" y="213600"/>
                  </a:lnTo>
                  <a:lnTo>
                    <a:pt x="170292" y="210118"/>
                  </a:lnTo>
                  <a:lnTo>
                    <a:pt x="171488" y="207730"/>
                  </a:lnTo>
                  <a:lnTo>
                    <a:pt x="174178" y="205939"/>
                  </a:lnTo>
                  <a:lnTo>
                    <a:pt x="184840" y="202059"/>
                  </a:lnTo>
                  <a:lnTo>
                    <a:pt x="186434" y="20186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AEBE8CC9-707D-4C3B-8671-DCCF4DDACB72}"/>
                </a:ext>
              </a:extLst>
            </p:cNvPr>
            <p:cNvSpPr/>
            <p:nvPr/>
          </p:nvSpPr>
          <p:spPr>
            <a:xfrm>
              <a:off x="5237124" y="1416836"/>
              <a:ext cx="12156" cy="14525"/>
            </a:xfrm>
            <a:custGeom>
              <a:avLst/>
              <a:gdLst>
                <a:gd name="connsiteX0" fmla="*/ 4882 w 12156"/>
                <a:gd name="connsiteY0" fmla="*/ 995 h 14525"/>
                <a:gd name="connsiteX1" fmla="*/ 6079 w 12156"/>
                <a:gd name="connsiteY1" fmla="*/ 4875 h 14525"/>
                <a:gd name="connsiteX2" fmla="*/ 2691 w 12156"/>
                <a:gd name="connsiteY2" fmla="*/ 5870 h 14525"/>
                <a:gd name="connsiteX3" fmla="*/ 1196 w 12156"/>
                <a:gd name="connsiteY3" fmla="*/ 6666 h 14525"/>
                <a:gd name="connsiteX4" fmla="*/ 0 w 12156"/>
                <a:gd name="connsiteY4" fmla="*/ 8059 h 14525"/>
                <a:gd name="connsiteX5" fmla="*/ 1295 w 12156"/>
                <a:gd name="connsiteY5" fmla="*/ 8656 h 14525"/>
                <a:gd name="connsiteX6" fmla="*/ 2591 w 12156"/>
                <a:gd name="connsiteY6" fmla="*/ 9650 h 14525"/>
                <a:gd name="connsiteX7" fmla="*/ 3687 w 12156"/>
                <a:gd name="connsiteY7" fmla="*/ 10844 h 14525"/>
                <a:gd name="connsiteX8" fmla="*/ 4384 w 12156"/>
                <a:gd name="connsiteY8" fmla="*/ 12436 h 14525"/>
                <a:gd name="connsiteX9" fmla="*/ 3388 w 12156"/>
                <a:gd name="connsiteY9" fmla="*/ 14525 h 14525"/>
                <a:gd name="connsiteX10" fmla="*/ 5780 w 12156"/>
                <a:gd name="connsiteY10" fmla="*/ 13530 h 14525"/>
                <a:gd name="connsiteX11" fmla="*/ 7374 w 12156"/>
                <a:gd name="connsiteY11" fmla="*/ 10944 h 14525"/>
                <a:gd name="connsiteX12" fmla="*/ 8769 w 12156"/>
                <a:gd name="connsiteY12" fmla="*/ 7959 h 14525"/>
                <a:gd name="connsiteX13" fmla="*/ 10363 w 12156"/>
                <a:gd name="connsiteY13" fmla="*/ 5870 h 14525"/>
                <a:gd name="connsiteX14" fmla="*/ 11061 w 12156"/>
                <a:gd name="connsiteY14" fmla="*/ 3084 h 14525"/>
                <a:gd name="connsiteX15" fmla="*/ 12157 w 12156"/>
                <a:gd name="connsiteY15" fmla="*/ 497 h 14525"/>
                <a:gd name="connsiteX16" fmla="*/ 6477 w 12156"/>
                <a:gd name="connsiteY16" fmla="*/ 0 h 14525"/>
                <a:gd name="connsiteX17" fmla="*/ 4882 w 12156"/>
                <a:gd name="connsiteY17" fmla="*/ 995 h 1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56" h="14525">
                  <a:moveTo>
                    <a:pt x="4882" y="995"/>
                  </a:moveTo>
                  <a:lnTo>
                    <a:pt x="6079" y="4875"/>
                  </a:lnTo>
                  <a:lnTo>
                    <a:pt x="2691" y="5870"/>
                  </a:lnTo>
                  <a:lnTo>
                    <a:pt x="1196" y="6666"/>
                  </a:lnTo>
                  <a:lnTo>
                    <a:pt x="0" y="8059"/>
                  </a:lnTo>
                  <a:lnTo>
                    <a:pt x="1295" y="8656"/>
                  </a:lnTo>
                  <a:lnTo>
                    <a:pt x="2591" y="9650"/>
                  </a:lnTo>
                  <a:lnTo>
                    <a:pt x="3687" y="10844"/>
                  </a:lnTo>
                  <a:lnTo>
                    <a:pt x="4384" y="12436"/>
                  </a:lnTo>
                  <a:lnTo>
                    <a:pt x="3388" y="14525"/>
                  </a:lnTo>
                  <a:lnTo>
                    <a:pt x="5780" y="13530"/>
                  </a:lnTo>
                  <a:lnTo>
                    <a:pt x="7374" y="10944"/>
                  </a:lnTo>
                  <a:lnTo>
                    <a:pt x="8769" y="7959"/>
                  </a:lnTo>
                  <a:lnTo>
                    <a:pt x="10363" y="5870"/>
                  </a:lnTo>
                  <a:lnTo>
                    <a:pt x="11061" y="3084"/>
                  </a:lnTo>
                  <a:lnTo>
                    <a:pt x="12157" y="497"/>
                  </a:lnTo>
                  <a:lnTo>
                    <a:pt x="6477" y="0"/>
                  </a:lnTo>
                  <a:lnTo>
                    <a:pt x="4882" y="9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8" name="Freeform: Shape 1357">
              <a:extLst>
                <a:ext uri="{FF2B5EF4-FFF2-40B4-BE49-F238E27FC236}">
                  <a16:creationId xmlns:a16="http://schemas.microsoft.com/office/drawing/2014/main" id="{38A0A35F-A8C8-4873-A8BD-94CEB3119305}"/>
                </a:ext>
              </a:extLst>
            </p:cNvPr>
            <p:cNvSpPr/>
            <p:nvPr/>
          </p:nvSpPr>
          <p:spPr>
            <a:xfrm>
              <a:off x="5698377" y="751364"/>
              <a:ext cx="80412" cy="70138"/>
            </a:xfrm>
            <a:custGeom>
              <a:avLst/>
              <a:gdLst>
                <a:gd name="connsiteX0" fmla="*/ 28698 w 80412"/>
                <a:gd name="connsiteY0" fmla="*/ 29548 h 70138"/>
                <a:gd name="connsiteX1" fmla="*/ 31687 w 80412"/>
                <a:gd name="connsiteY1" fmla="*/ 28453 h 70138"/>
                <a:gd name="connsiteX2" fmla="*/ 34676 w 80412"/>
                <a:gd name="connsiteY2" fmla="*/ 26563 h 70138"/>
                <a:gd name="connsiteX3" fmla="*/ 40256 w 80412"/>
                <a:gd name="connsiteY3" fmla="*/ 19201 h 70138"/>
                <a:gd name="connsiteX4" fmla="*/ 41352 w 80412"/>
                <a:gd name="connsiteY4" fmla="*/ 18107 h 70138"/>
                <a:gd name="connsiteX5" fmla="*/ 43843 w 80412"/>
                <a:gd name="connsiteY5" fmla="*/ 16117 h 70138"/>
                <a:gd name="connsiteX6" fmla="*/ 47032 w 80412"/>
                <a:gd name="connsiteY6" fmla="*/ 15023 h 70138"/>
                <a:gd name="connsiteX7" fmla="*/ 50220 w 80412"/>
                <a:gd name="connsiteY7" fmla="*/ 12535 h 70138"/>
                <a:gd name="connsiteX8" fmla="*/ 55502 w 80412"/>
                <a:gd name="connsiteY8" fmla="*/ 6964 h 70138"/>
                <a:gd name="connsiteX9" fmla="*/ 58591 w 80412"/>
                <a:gd name="connsiteY9" fmla="*/ 4775 h 70138"/>
                <a:gd name="connsiteX10" fmla="*/ 62178 w 80412"/>
                <a:gd name="connsiteY10" fmla="*/ 3582 h 70138"/>
                <a:gd name="connsiteX11" fmla="*/ 65865 w 80412"/>
                <a:gd name="connsiteY11" fmla="*/ 3283 h 70138"/>
                <a:gd name="connsiteX12" fmla="*/ 69452 w 80412"/>
                <a:gd name="connsiteY12" fmla="*/ 3582 h 70138"/>
                <a:gd name="connsiteX13" fmla="*/ 67858 w 80412"/>
                <a:gd name="connsiteY13" fmla="*/ 7064 h 70138"/>
                <a:gd name="connsiteX14" fmla="*/ 65267 w 80412"/>
                <a:gd name="connsiteY14" fmla="*/ 10148 h 70138"/>
                <a:gd name="connsiteX15" fmla="*/ 62078 w 80412"/>
                <a:gd name="connsiteY15" fmla="*/ 12436 h 70138"/>
                <a:gd name="connsiteX16" fmla="*/ 58989 w 80412"/>
                <a:gd name="connsiteY16" fmla="*/ 13729 h 70138"/>
                <a:gd name="connsiteX17" fmla="*/ 61181 w 80412"/>
                <a:gd name="connsiteY17" fmla="*/ 15122 h 70138"/>
                <a:gd name="connsiteX18" fmla="*/ 65366 w 80412"/>
                <a:gd name="connsiteY18" fmla="*/ 14426 h 70138"/>
                <a:gd name="connsiteX19" fmla="*/ 69352 w 80412"/>
                <a:gd name="connsiteY19" fmla="*/ 12237 h 70138"/>
                <a:gd name="connsiteX20" fmla="*/ 71145 w 80412"/>
                <a:gd name="connsiteY20" fmla="*/ 9849 h 70138"/>
                <a:gd name="connsiteX21" fmla="*/ 72042 w 80412"/>
                <a:gd name="connsiteY21" fmla="*/ 7163 h 70138"/>
                <a:gd name="connsiteX22" fmla="*/ 74035 w 80412"/>
                <a:gd name="connsiteY22" fmla="*/ 5969 h 70138"/>
                <a:gd name="connsiteX23" fmla="*/ 78220 w 80412"/>
                <a:gd name="connsiteY23" fmla="*/ 4576 h 70138"/>
                <a:gd name="connsiteX24" fmla="*/ 79616 w 80412"/>
                <a:gd name="connsiteY24" fmla="*/ 3084 h 70138"/>
                <a:gd name="connsiteX25" fmla="*/ 80413 w 80412"/>
                <a:gd name="connsiteY25" fmla="*/ 1293 h 70138"/>
                <a:gd name="connsiteX26" fmla="*/ 79914 w 80412"/>
                <a:gd name="connsiteY26" fmla="*/ 0 h 70138"/>
                <a:gd name="connsiteX27" fmla="*/ 64769 w 80412"/>
                <a:gd name="connsiteY27" fmla="*/ 497 h 70138"/>
                <a:gd name="connsiteX28" fmla="*/ 60783 w 80412"/>
                <a:gd name="connsiteY28" fmla="*/ 1293 h 70138"/>
                <a:gd name="connsiteX29" fmla="*/ 57594 w 80412"/>
                <a:gd name="connsiteY29" fmla="*/ 2786 h 70138"/>
                <a:gd name="connsiteX30" fmla="*/ 40954 w 80412"/>
                <a:gd name="connsiteY30" fmla="*/ 17609 h 70138"/>
                <a:gd name="connsiteX31" fmla="*/ 40057 w 80412"/>
                <a:gd name="connsiteY31" fmla="*/ 18505 h 70138"/>
                <a:gd name="connsiteX32" fmla="*/ 22520 w 80412"/>
                <a:gd name="connsiteY32" fmla="*/ 34124 h 70138"/>
                <a:gd name="connsiteX33" fmla="*/ 20327 w 80412"/>
                <a:gd name="connsiteY33" fmla="*/ 35119 h 70138"/>
                <a:gd name="connsiteX34" fmla="*/ 17936 w 80412"/>
                <a:gd name="connsiteY34" fmla="*/ 35517 h 70138"/>
                <a:gd name="connsiteX35" fmla="*/ 14647 w 80412"/>
                <a:gd name="connsiteY35" fmla="*/ 36512 h 70138"/>
                <a:gd name="connsiteX36" fmla="*/ 11558 w 80412"/>
                <a:gd name="connsiteY36" fmla="*/ 38004 h 70138"/>
                <a:gd name="connsiteX37" fmla="*/ 9565 w 80412"/>
                <a:gd name="connsiteY37" fmla="*/ 39695 h 70138"/>
                <a:gd name="connsiteX38" fmla="*/ 8669 w 80412"/>
                <a:gd name="connsiteY38" fmla="*/ 42979 h 70138"/>
                <a:gd name="connsiteX39" fmla="*/ 8569 w 80412"/>
                <a:gd name="connsiteY39" fmla="*/ 50639 h 70138"/>
                <a:gd name="connsiteX40" fmla="*/ 7274 w 80412"/>
                <a:gd name="connsiteY40" fmla="*/ 53723 h 70138"/>
                <a:gd name="connsiteX41" fmla="*/ 6178 w 80412"/>
                <a:gd name="connsiteY41" fmla="*/ 55315 h 70138"/>
                <a:gd name="connsiteX42" fmla="*/ 3487 w 80412"/>
                <a:gd name="connsiteY42" fmla="*/ 60986 h 70138"/>
                <a:gd name="connsiteX43" fmla="*/ 0 w 80412"/>
                <a:gd name="connsiteY43" fmla="*/ 65463 h 70138"/>
                <a:gd name="connsiteX44" fmla="*/ 797 w 80412"/>
                <a:gd name="connsiteY44" fmla="*/ 68945 h 70138"/>
                <a:gd name="connsiteX45" fmla="*/ 3587 w 80412"/>
                <a:gd name="connsiteY45" fmla="*/ 70139 h 70138"/>
                <a:gd name="connsiteX46" fmla="*/ 9964 w 80412"/>
                <a:gd name="connsiteY46" fmla="*/ 69940 h 70138"/>
                <a:gd name="connsiteX47" fmla="*/ 15445 w 80412"/>
                <a:gd name="connsiteY47" fmla="*/ 67452 h 70138"/>
                <a:gd name="connsiteX48" fmla="*/ 18036 w 80412"/>
                <a:gd name="connsiteY48" fmla="*/ 66855 h 70138"/>
                <a:gd name="connsiteX49" fmla="*/ 18234 w 80412"/>
                <a:gd name="connsiteY49" fmla="*/ 68845 h 70138"/>
                <a:gd name="connsiteX50" fmla="*/ 21722 w 80412"/>
                <a:gd name="connsiteY50" fmla="*/ 68845 h 70138"/>
                <a:gd name="connsiteX51" fmla="*/ 25409 w 80412"/>
                <a:gd name="connsiteY51" fmla="*/ 68348 h 70138"/>
                <a:gd name="connsiteX52" fmla="*/ 28398 w 80412"/>
                <a:gd name="connsiteY52" fmla="*/ 66358 h 70138"/>
                <a:gd name="connsiteX53" fmla="*/ 29494 w 80412"/>
                <a:gd name="connsiteY53" fmla="*/ 62180 h 70138"/>
                <a:gd name="connsiteX54" fmla="*/ 27701 w 80412"/>
                <a:gd name="connsiteY54" fmla="*/ 64468 h 70138"/>
                <a:gd name="connsiteX55" fmla="*/ 26107 w 80412"/>
                <a:gd name="connsiteY55" fmla="*/ 65761 h 70138"/>
                <a:gd name="connsiteX56" fmla="*/ 24313 w 80412"/>
                <a:gd name="connsiteY56" fmla="*/ 65960 h 70138"/>
                <a:gd name="connsiteX57" fmla="*/ 19032 w 80412"/>
                <a:gd name="connsiteY57" fmla="*/ 64766 h 70138"/>
                <a:gd name="connsiteX58" fmla="*/ 16939 w 80412"/>
                <a:gd name="connsiteY58" fmla="*/ 63771 h 70138"/>
                <a:gd name="connsiteX59" fmla="*/ 15245 w 80412"/>
                <a:gd name="connsiteY59" fmla="*/ 62279 h 70138"/>
                <a:gd name="connsiteX60" fmla="*/ 13850 w 80412"/>
                <a:gd name="connsiteY60" fmla="*/ 59891 h 70138"/>
                <a:gd name="connsiteX61" fmla="*/ 12256 w 80412"/>
                <a:gd name="connsiteY61" fmla="*/ 63075 h 70138"/>
                <a:gd name="connsiteX62" fmla="*/ 9665 w 80412"/>
                <a:gd name="connsiteY62" fmla="*/ 62777 h 70138"/>
                <a:gd name="connsiteX63" fmla="*/ 7274 w 80412"/>
                <a:gd name="connsiteY63" fmla="*/ 60886 h 70138"/>
                <a:gd name="connsiteX64" fmla="*/ 6477 w 80412"/>
                <a:gd name="connsiteY64" fmla="*/ 59394 h 70138"/>
                <a:gd name="connsiteX65" fmla="*/ 7672 w 80412"/>
                <a:gd name="connsiteY65" fmla="*/ 57205 h 70138"/>
                <a:gd name="connsiteX66" fmla="*/ 9665 w 80412"/>
                <a:gd name="connsiteY66" fmla="*/ 52231 h 70138"/>
                <a:gd name="connsiteX67" fmla="*/ 10861 w 80412"/>
                <a:gd name="connsiteY67" fmla="*/ 50241 h 70138"/>
                <a:gd name="connsiteX68" fmla="*/ 12654 w 80412"/>
                <a:gd name="connsiteY68" fmla="*/ 48550 h 70138"/>
                <a:gd name="connsiteX69" fmla="*/ 14548 w 80412"/>
                <a:gd name="connsiteY69" fmla="*/ 47754 h 70138"/>
                <a:gd name="connsiteX70" fmla="*/ 19530 w 80412"/>
                <a:gd name="connsiteY70" fmla="*/ 47455 h 70138"/>
                <a:gd name="connsiteX71" fmla="*/ 20327 w 80412"/>
                <a:gd name="connsiteY71" fmla="*/ 46063 h 70138"/>
                <a:gd name="connsiteX72" fmla="*/ 21423 w 80412"/>
                <a:gd name="connsiteY72" fmla="*/ 42979 h 70138"/>
                <a:gd name="connsiteX73" fmla="*/ 22818 w 80412"/>
                <a:gd name="connsiteY73" fmla="*/ 39894 h 70138"/>
                <a:gd name="connsiteX74" fmla="*/ 24712 w 80412"/>
                <a:gd name="connsiteY74" fmla="*/ 38502 h 70138"/>
                <a:gd name="connsiteX75" fmla="*/ 30292 w 80412"/>
                <a:gd name="connsiteY75" fmla="*/ 39198 h 70138"/>
                <a:gd name="connsiteX76" fmla="*/ 31886 w 80412"/>
                <a:gd name="connsiteY76" fmla="*/ 38303 h 70138"/>
                <a:gd name="connsiteX77" fmla="*/ 39060 w 80412"/>
                <a:gd name="connsiteY77" fmla="*/ 26066 h 70138"/>
                <a:gd name="connsiteX78" fmla="*/ 45637 w 80412"/>
                <a:gd name="connsiteY78" fmla="*/ 18704 h 70138"/>
                <a:gd name="connsiteX79" fmla="*/ 49623 w 80412"/>
                <a:gd name="connsiteY79" fmla="*/ 15620 h 70138"/>
                <a:gd name="connsiteX80" fmla="*/ 53807 w 80412"/>
                <a:gd name="connsiteY80" fmla="*/ 13729 h 70138"/>
                <a:gd name="connsiteX81" fmla="*/ 48227 w 80412"/>
                <a:gd name="connsiteY81" fmla="*/ 14326 h 70138"/>
                <a:gd name="connsiteX82" fmla="*/ 43743 w 80412"/>
                <a:gd name="connsiteY82" fmla="*/ 17510 h 70138"/>
                <a:gd name="connsiteX83" fmla="*/ 29295 w 80412"/>
                <a:gd name="connsiteY83" fmla="*/ 34622 h 70138"/>
                <a:gd name="connsiteX84" fmla="*/ 24712 w 80412"/>
                <a:gd name="connsiteY84" fmla="*/ 37606 h 70138"/>
                <a:gd name="connsiteX85" fmla="*/ 19929 w 80412"/>
                <a:gd name="connsiteY85" fmla="*/ 36313 h 70138"/>
                <a:gd name="connsiteX86" fmla="*/ 22918 w 80412"/>
                <a:gd name="connsiteY86" fmla="*/ 34721 h 70138"/>
                <a:gd name="connsiteX87" fmla="*/ 28698 w 80412"/>
                <a:gd name="connsiteY87" fmla="*/ 29548 h 7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80412" h="70138">
                  <a:moveTo>
                    <a:pt x="28698" y="29548"/>
                  </a:moveTo>
                  <a:lnTo>
                    <a:pt x="31687" y="28453"/>
                  </a:lnTo>
                  <a:lnTo>
                    <a:pt x="34676" y="26563"/>
                  </a:lnTo>
                  <a:lnTo>
                    <a:pt x="40256" y="19201"/>
                  </a:lnTo>
                  <a:lnTo>
                    <a:pt x="41352" y="18107"/>
                  </a:lnTo>
                  <a:lnTo>
                    <a:pt x="43843" y="16117"/>
                  </a:lnTo>
                  <a:lnTo>
                    <a:pt x="47032" y="15023"/>
                  </a:lnTo>
                  <a:lnTo>
                    <a:pt x="50220" y="12535"/>
                  </a:lnTo>
                  <a:lnTo>
                    <a:pt x="55502" y="6964"/>
                  </a:lnTo>
                  <a:lnTo>
                    <a:pt x="58591" y="4775"/>
                  </a:lnTo>
                  <a:lnTo>
                    <a:pt x="62178" y="3582"/>
                  </a:lnTo>
                  <a:lnTo>
                    <a:pt x="65865" y="3283"/>
                  </a:lnTo>
                  <a:lnTo>
                    <a:pt x="69452" y="3582"/>
                  </a:lnTo>
                  <a:lnTo>
                    <a:pt x="67858" y="7064"/>
                  </a:lnTo>
                  <a:lnTo>
                    <a:pt x="65267" y="10148"/>
                  </a:lnTo>
                  <a:lnTo>
                    <a:pt x="62078" y="12436"/>
                  </a:lnTo>
                  <a:lnTo>
                    <a:pt x="58989" y="13729"/>
                  </a:lnTo>
                  <a:lnTo>
                    <a:pt x="61181" y="15122"/>
                  </a:lnTo>
                  <a:lnTo>
                    <a:pt x="65366" y="14426"/>
                  </a:lnTo>
                  <a:lnTo>
                    <a:pt x="69352" y="12237"/>
                  </a:lnTo>
                  <a:lnTo>
                    <a:pt x="71145" y="9849"/>
                  </a:lnTo>
                  <a:lnTo>
                    <a:pt x="72042" y="7163"/>
                  </a:lnTo>
                  <a:lnTo>
                    <a:pt x="74035" y="5969"/>
                  </a:lnTo>
                  <a:lnTo>
                    <a:pt x="78220" y="4576"/>
                  </a:lnTo>
                  <a:lnTo>
                    <a:pt x="79616" y="3084"/>
                  </a:lnTo>
                  <a:lnTo>
                    <a:pt x="80413" y="1293"/>
                  </a:lnTo>
                  <a:lnTo>
                    <a:pt x="79914" y="0"/>
                  </a:lnTo>
                  <a:lnTo>
                    <a:pt x="64769" y="497"/>
                  </a:lnTo>
                  <a:lnTo>
                    <a:pt x="60783" y="1293"/>
                  </a:lnTo>
                  <a:lnTo>
                    <a:pt x="57594" y="2786"/>
                  </a:lnTo>
                  <a:lnTo>
                    <a:pt x="40954" y="17609"/>
                  </a:lnTo>
                  <a:lnTo>
                    <a:pt x="40057" y="18505"/>
                  </a:lnTo>
                  <a:lnTo>
                    <a:pt x="22520" y="34124"/>
                  </a:lnTo>
                  <a:lnTo>
                    <a:pt x="20327" y="35119"/>
                  </a:lnTo>
                  <a:lnTo>
                    <a:pt x="17936" y="35517"/>
                  </a:lnTo>
                  <a:lnTo>
                    <a:pt x="14647" y="36512"/>
                  </a:lnTo>
                  <a:lnTo>
                    <a:pt x="11558" y="38004"/>
                  </a:lnTo>
                  <a:lnTo>
                    <a:pt x="9565" y="39695"/>
                  </a:lnTo>
                  <a:lnTo>
                    <a:pt x="8669" y="42979"/>
                  </a:lnTo>
                  <a:lnTo>
                    <a:pt x="8569" y="50639"/>
                  </a:lnTo>
                  <a:lnTo>
                    <a:pt x="7274" y="53723"/>
                  </a:lnTo>
                  <a:lnTo>
                    <a:pt x="6178" y="55315"/>
                  </a:lnTo>
                  <a:lnTo>
                    <a:pt x="3487" y="60986"/>
                  </a:lnTo>
                  <a:lnTo>
                    <a:pt x="0" y="65463"/>
                  </a:lnTo>
                  <a:lnTo>
                    <a:pt x="797" y="68945"/>
                  </a:lnTo>
                  <a:lnTo>
                    <a:pt x="3587" y="70139"/>
                  </a:lnTo>
                  <a:lnTo>
                    <a:pt x="9964" y="69940"/>
                  </a:lnTo>
                  <a:lnTo>
                    <a:pt x="15445" y="67452"/>
                  </a:lnTo>
                  <a:lnTo>
                    <a:pt x="18036" y="66855"/>
                  </a:lnTo>
                  <a:lnTo>
                    <a:pt x="18234" y="68845"/>
                  </a:lnTo>
                  <a:lnTo>
                    <a:pt x="21722" y="68845"/>
                  </a:lnTo>
                  <a:lnTo>
                    <a:pt x="25409" y="68348"/>
                  </a:lnTo>
                  <a:lnTo>
                    <a:pt x="28398" y="66358"/>
                  </a:lnTo>
                  <a:lnTo>
                    <a:pt x="29494" y="62180"/>
                  </a:lnTo>
                  <a:lnTo>
                    <a:pt x="27701" y="64468"/>
                  </a:lnTo>
                  <a:lnTo>
                    <a:pt x="26107" y="65761"/>
                  </a:lnTo>
                  <a:lnTo>
                    <a:pt x="24313" y="65960"/>
                  </a:lnTo>
                  <a:lnTo>
                    <a:pt x="19032" y="64766"/>
                  </a:lnTo>
                  <a:lnTo>
                    <a:pt x="16939" y="63771"/>
                  </a:lnTo>
                  <a:lnTo>
                    <a:pt x="15245" y="62279"/>
                  </a:lnTo>
                  <a:lnTo>
                    <a:pt x="13850" y="59891"/>
                  </a:lnTo>
                  <a:lnTo>
                    <a:pt x="12256" y="63075"/>
                  </a:lnTo>
                  <a:lnTo>
                    <a:pt x="9665" y="62777"/>
                  </a:lnTo>
                  <a:lnTo>
                    <a:pt x="7274" y="60886"/>
                  </a:lnTo>
                  <a:lnTo>
                    <a:pt x="6477" y="59394"/>
                  </a:lnTo>
                  <a:lnTo>
                    <a:pt x="7672" y="57205"/>
                  </a:lnTo>
                  <a:lnTo>
                    <a:pt x="9665" y="52231"/>
                  </a:lnTo>
                  <a:lnTo>
                    <a:pt x="10861" y="50241"/>
                  </a:lnTo>
                  <a:lnTo>
                    <a:pt x="12654" y="48550"/>
                  </a:lnTo>
                  <a:lnTo>
                    <a:pt x="14548" y="47754"/>
                  </a:lnTo>
                  <a:lnTo>
                    <a:pt x="19530" y="47455"/>
                  </a:lnTo>
                  <a:lnTo>
                    <a:pt x="20327" y="46063"/>
                  </a:lnTo>
                  <a:lnTo>
                    <a:pt x="21423" y="42979"/>
                  </a:lnTo>
                  <a:lnTo>
                    <a:pt x="22818" y="39894"/>
                  </a:lnTo>
                  <a:lnTo>
                    <a:pt x="24712" y="38502"/>
                  </a:lnTo>
                  <a:lnTo>
                    <a:pt x="30292" y="39198"/>
                  </a:lnTo>
                  <a:lnTo>
                    <a:pt x="31886" y="38303"/>
                  </a:lnTo>
                  <a:lnTo>
                    <a:pt x="39060" y="26066"/>
                  </a:lnTo>
                  <a:lnTo>
                    <a:pt x="45637" y="18704"/>
                  </a:lnTo>
                  <a:lnTo>
                    <a:pt x="49623" y="15620"/>
                  </a:lnTo>
                  <a:lnTo>
                    <a:pt x="53807" y="13729"/>
                  </a:lnTo>
                  <a:lnTo>
                    <a:pt x="48227" y="14326"/>
                  </a:lnTo>
                  <a:lnTo>
                    <a:pt x="43743" y="17510"/>
                  </a:lnTo>
                  <a:lnTo>
                    <a:pt x="29295" y="34622"/>
                  </a:lnTo>
                  <a:lnTo>
                    <a:pt x="24712" y="37606"/>
                  </a:lnTo>
                  <a:lnTo>
                    <a:pt x="19929" y="36313"/>
                  </a:lnTo>
                  <a:lnTo>
                    <a:pt x="22918" y="34721"/>
                  </a:lnTo>
                  <a:lnTo>
                    <a:pt x="28698" y="2954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9" name="Freeform: Shape 1358">
              <a:extLst>
                <a:ext uri="{FF2B5EF4-FFF2-40B4-BE49-F238E27FC236}">
                  <a16:creationId xmlns:a16="http://schemas.microsoft.com/office/drawing/2014/main" id="{8EB70BFA-1E63-4BB1-BE15-F69E28BB9E02}"/>
                </a:ext>
              </a:extLst>
            </p:cNvPr>
            <p:cNvSpPr/>
            <p:nvPr/>
          </p:nvSpPr>
          <p:spPr>
            <a:xfrm>
              <a:off x="5813068" y="1087234"/>
              <a:ext cx="29494" cy="19499"/>
            </a:xfrm>
            <a:custGeom>
              <a:avLst/>
              <a:gdLst>
                <a:gd name="connsiteX0" fmla="*/ 27003 w 29494"/>
                <a:gd name="connsiteY0" fmla="*/ 497 h 19499"/>
                <a:gd name="connsiteX1" fmla="*/ 25807 w 29494"/>
                <a:gd name="connsiteY1" fmla="*/ 696 h 19499"/>
                <a:gd name="connsiteX2" fmla="*/ 25110 w 29494"/>
                <a:gd name="connsiteY2" fmla="*/ 2388 h 19499"/>
                <a:gd name="connsiteX3" fmla="*/ 22818 w 29494"/>
                <a:gd name="connsiteY3" fmla="*/ 796 h 19499"/>
                <a:gd name="connsiteX4" fmla="*/ 19430 w 29494"/>
                <a:gd name="connsiteY4" fmla="*/ 0 h 19499"/>
                <a:gd name="connsiteX5" fmla="*/ 12954 w 29494"/>
                <a:gd name="connsiteY5" fmla="*/ 199 h 19499"/>
                <a:gd name="connsiteX6" fmla="*/ 10263 w 29494"/>
                <a:gd name="connsiteY6" fmla="*/ 696 h 19499"/>
                <a:gd name="connsiteX7" fmla="*/ 7374 w 29494"/>
                <a:gd name="connsiteY7" fmla="*/ 1691 h 19499"/>
                <a:gd name="connsiteX8" fmla="*/ 4683 w 29494"/>
                <a:gd name="connsiteY8" fmla="*/ 3084 h 19499"/>
                <a:gd name="connsiteX9" fmla="*/ 2590 w 29494"/>
                <a:gd name="connsiteY9" fmla="*/ 4676 h 19499"/>
                <a:gd name="connsiteX10" fmla="*/ 797 w 29494"/>
                <a:gd name="connsiteY10" fmla="*/ 4875 h 19499"/>
                <a:gd name="connsiteX11" fmla="*/ 0 w 29494"/>
                <a:gd name="connsiteY11" fmla="*/ 5273 h 19499"/>
                <a:gd name="connsiteX12" fmla="*/ 797 w 29494"/>
                <a:gd name="connsiteY12" fmla="*/ 7263 h 19499"/>
                <a:gd name="connsiteX13" fmla="*/ 797 w 29494"/>
                <a:gd name="connsiteY13" fmla="*/ 8158 h 19499"/>
                <a:gd name="connsiteX14" fmla="*/ 896 w 29494"/>
                <a:gd name="connsiteY14" fmla="*/ 8854 h 19499"/>
                <a:gd name="connsiteX15" fmla="*/ 2889 w 29494"/>
                <a:gd name="connsiteY15" fmla="*/ 9352 h 19499"/>
                <a:gd name="connsiteX16" fmla="*/ 4683 w 29494"/>
                <a:gd name="connsiteY16" fmla="*/ 11441 h 19499"/>
                <a:gd name="connsiteX17" fmla="*/ 5978 w 29494"/>
                <a:gd name="connsiteY17" fmla="*/ 12436 h 19499"/>
                <a:gd name="connsiteX18" fmla="*/ 7473 w 29494"/>
                <a:gd name="connsiteY18" fmla="*/ 13033 h 19499"/>
                <a:gd name="connsiteX19" fmla="*/ 9067 w 29494"/>
                <a:gd name="connsiteY19" fmla="*/ 13331 h 19499"/>
                <a:gd name="connsiteX20" fmla="*/ 12555 w 29494"/>
                <a:gd name="connsiteY20" fmla="*/ 13431 h 19499"/>
                <a:gd name="connsiteX21" fmla="*/ 13950 w 29494"/>
                <a:gd name="connsiteY21" fmla="*/ 14028 h 19499"/>
                <a:gd name="connsiteX22" fmla="*/ 13750 w 29494"/>
                <a:gd name="connsiteY22" fmla="*/ 15520 h 19499"/>
                <a:gd name="connsiteX23" fmla="*/ 12555 w 29494"/>
                <a:gd name="connsiteY23" fmla="*/ 16913 h 19499"/>
                <a:gd name="connsiteX24" fmla="*/ 11160 w 29494"/>
                <a:gd name="connsiteY24" fmla="*/ 17808 h 19499"/>
                <a:gd name="connsiteX25" fmla="*/ 13750 w 29494"/>
                <a:gd name="connsiteY25" fmla="*/ 19499 h 19499"/>
                <a:gd name="connsiteX26" fmla="*/ 16043 w 29494"/>
                <a:gd name="connsiteY26" fmla="*/ 18007 h 19499"/>
                <a:gd name="connsiteX27" fmla="*/ 18234 w 29494"/>
                <a:gd name="connsiteY27" fmla="*/ 15321 h 19499"/>
                <a:gd name="connsiteX28" fmla="*/ 20825 w 29494"/>
                <a:gd name="connsiteY28" fmla="*/ 13431 h 19499"/>
                <a:gd name="connsiteX29" fmla="*/ 19032 w 29494"/>
                <a:gd name="connsiteY29" fmla="*/ 10347 h 19499"/>
                <a:gd name="connsiteX30" fmla="*/ 20227 w 29494"/>
                <a:gd name="connsiteY30" fmla="*/ 8058 h 19499"/>
                <a:gd name="connsiteX31" fmla="*/ 25110 w 29494"/>
                <a:gd name="connsiteY31" fmla="*/ 4676 h 19499"/>
                <a:gd name="connsiteX32" fmla="*/ 26605 w 29494"/>
                <a:gd name="connsiteY32" fmla="*/ 4875 h 19499"/>
                <a:gd name="connsiteX33" fmla="*/ 27900 w 29494"/>
                <a:gd name="connsiteY33" fmla="*/ 4676 h 19499"/>
                <a:gd name="connsiteX34" fmla="*/ 28896 w 29494"/>
                <a:gd name="connsiteY34" fmla="*/ 3880 h 19499"/>
                <a:gd name="connsiteX35" fmla="*/ 29494 w 29494"/>
                <a:gd name="connsiteY35" fmla="*/ 2388 h 19499"/>
                <a:gd name="connsiteX36" fmla="*/ 28199 w 29494"/>
                <a:gd name="connsiteY36" fmla="*/ 1194 h 19499"/>
                <a:gd name="connsiteX37" fmla="*/ 27003 w 29494"/>
                <a:gd name="connsiteY37" fmla="*/ 497 h 19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9494" h="19499">
                  <a:moveTo>
                    <a:pt x="27003" y="497"/>
                  </a:moveTo>
                  <a:lnTo>
                    <a:pt x="25807" y="696"/>
                  </a:lnTo>
                  <a:lnTo>
                    <a:pt x="25110" y="2388"/>
                  </a:lnTo>
                  <a:lnTo>
                    <a:pt x="22818" y="796"/>
                  </a:lnTo>
                  <a:lnTo>
                    <a:pt x="19430" y="0"/>
                  </a:lnTo>
                  <a:lnTo>
                    <a:pt x="12954" y="199"/>
                  </a:lnTo>
                  <a:lnTo>
                    <a:pt x="10263" y="696"/>
                  </a:lnTo>
                  <a:lnTo>
                    <a:pt x="7374" y="1691"/>
                  </a:lnTo>
                  <a:lnTo>
                    <a:pt x="4683" y="3084"/>
                  </a:lnTo>
                  <a:lnTo>
                    <a:pt x="2590" y="4676"/>
                  </a:lnTo>
                  <a:lnTo>
                    <a:pt x="797" y="4875"/>
                  </a:lnTo>
                  <a:lnTo>
                    <a:pt x="0" y="5273"/>
                  </a:lnTo>
                  <a:lnTo>
                    <a:pt x="797" y="7263"/>
                  </a:lnTo>
                  <a:lnTo>
                    <a:pt x="797" y="8158"/>
                  </a:lnTo>
                  <a:lnTo>
                    <a:pt x="896" y="8854"/>
                  </a:lnTo>
                  <a:lnTo>
                    <a:pt x="2889" y="9352"/>
                  </a:lnTo>
                  <a:lnTo>
                    <a:pt x="4683" y="11441"/>
                  </a:lnTo>
                  <a:lnTo>
                    <a:pt x="5978" y="12436"/>
                  </a:lnTo>
                  <a:lnTo>
                    <a:pt x="7473" y="13033"/>
                  </a:lnTo>
                  <a:lnTo>
                    <a:pt x="9067" y="13331"/>
                  </a:lnTo>
                  <a:lnTo>
                    <a:pt x="12555" y="13431"/>
                  </a:lnTo>
                  <a:lnTo>
                    <a:pt x="13950" y="14028"/>
                  </a:lnTo>
                  <a:lnTo>
                    <a:pt x="13750" y="15520"/>
                  </a:lnTo>
                  <a:lnTo>
                    <a:pt x="12555" y="16913"/>
                  </a:lnTo>
                  <a:lnTo>
                    <a:pt x="11160" y="17808"/>
                  </a:lnTo>
                  <a:lnTo>
                    <a:pt x="13750" y="19499"/>
                  </a:lnTo>
                  <a:lnTo>
                    <a:pt x="16043" y="18007"/>
                  </a:lnTo>
                  <a:lnTo>
                    <a:pt x="18234" y="15321"/>
                  </a:lnTo>
                  <a:lnTo>
                    <a:pt x="20825" y="13431"/>
                  </a:lnTo>
                  <a:lnTo>
                    <a:pt x="19032" y="10347"/>
                  </a:lnTo>
                  <a:lnTo>
                    <a:pt x="20227" y="8058"/>
                  </a:lnTo>
                  <a:lnTo>
                    <a:pt x="25110" y="4676"/>
                  </a:lnTo>
                  <a:lnTo>
                    <a:pt x="26605" y="4875"/>
                  </a:lnTo>
                  <a:lnTo>
                    <a:pt x="27900" y="4676"/>
                  </a:lnTo>
                  <a:lnTo>
                    <a:pt x="28896" y="3880"/>
                  </a:lnTo>
                  <a:lnTo>
                    <a:pt x="29494" y="2388"/>
                  </a:lnTo>
                  <a:lnTo>
                    <a:pt x="28199" y="1194"/>
                  </a:lnTo>
                  <a:lnTo>
                    <a:pt x="27003" y="4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0" name="Freeform: Shape 1359">
              <a:extLst>
                <a:ext uri="{FF2B5EF4-FFF2-40B4-BE49-F238E27FC236}">
                  <a16:creationId xmlns:a16="http://schemas.microsoft.com/office/drawing/2014/main" id="{F8870A45-0639-41D7-9F89-D3419DB0A616}"/>
                </a:ext>
              </a:extLst>
            </p:cNvPr>
            <p:cNvSpPr/>
            <p:nvPr/>
          </p:nvSpPr>
          <p:spPr>
            <a:xfrm>
              <a:off x="5624042" y="1047339"/>
              <a:ext cx="12156" cy="4775"/>
            </a:xfrm>
            <a:custGeom>
              <a:avLst/>
              <a:gdLst>
                <a:gd name="connsiteX0" fmla="*/ 7374 w 12156"/>
                <a:gd name="connsiteY0" fmla="*/ 398 h 4775"/>
                <a:gd name="connsiteX1" fmla="*/ 6278 w 12156"/>
                <a:gd name="connsiteY1" fmla="*/ 796 h 4775"/>
                <a:gd name="connsiteX2" fmla="*/ 4882 w 12156"/>
                <a:gd name="connsiteY2" fmla="*/ 796 h 4775"/>
                <a:gd name="connsiteX3" fmla="*/ 3687 w 12156"/>
                <a:gd name="connsiteY3" fmla="*/ 796 h 4775"/>
                <a:gd name="connsiteX4" fmla="*/ 1196 w 12156"/>
                <a:gd name="connsiteY4" fmla="*/ 2189 h 4775"/>
                <a:gd name="connsiteX5" fmla="*/ 0 w 12156"/>
                <a:gd name="connsiteY5" fmla="*/ 2985 h 4775"/>
                <a:gd name="connsiteX6" fmla="*/ 0 w 12156"/>
                <a:gd name="connsiteY6" fmla="*/ 3980 h 4775"/>
                <a:gd name="connsiteX7" fmla="*/ 1096 w 12156"/>
                <a:gd name="connsiteY7" fmla="*/ 4079 h 4775"/>
                <a:gd name="connsiteX8" fmla="*/ 3189 w 12156"/>
                <a:gd name="connsiteY8" fmla="*/ 3781 h 4775"/>
                <a:gd name="connsiteX9" fmla="*/ 4584 w 12156"/>
                <a:gd name="connsiteY9" fmla="*/ 4278 h 4775"/>
                <a:gd name="connsiteX10" fmla="*/ 5978 w 12156"/>
                <a:gd name="connsiteY10" fmla="*/ 4776 h 4775"/>
                <a:gd name="connsiteX11" fmla="*/ 6776 w 12156"/>
                <a:gd name="connsiteY11" fmla="*/ 4079 h 4775"/>
                <a:gd name="connsiteX12" fmla="*/ 9765 w 12156"/>
                <a:gd name="connsiteY12" fmla="*/ 3184 h 4775"/>
                <a:gd name="connsiteX13" fmla="*/ 11558 w 12156"/>
                <a:gd name="connsiteY13" fmla="*/ 2388 h 4775"/>
                <a:gd name="connsiteX14" fmla="*/ 11658 w 12156"/>
                <a:gd name="connsiteY14" fmla="*/ 896 h 4775"/>
                <a:gd name="connsiteX15" fmla="*/ 12157 w 12156"/>
                <a:gd name="connsiteY15" fmla="*/ 199 h 4775"/>
                <a:gd name="connsiteX16" fmla="*/ 10861 w 12156"/>
                <a:gd name="connsiteY16" fmla="*/ 199 h 4775"/>
                <a:gd name="connsiteX17" fmla="*/ 8968 w 12156"/>
                <a:gd name="connsiteY17" fmla="*/ 0 h 4775"/>
                <a:gd name="connsiteX18" fmla="*/ 7374 w 12156"/>
                <a:gd name="connsiteY18" fmla="*/ 398 h 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156" h="4775">
                  <a:moveTo>
                    <a:pt x="7374" y="398"/>
                  </a:moveTo>
                  <a:lnTo>
                    <a:pt x="6278" y="796"/>
                  </a:lnTo>
                  <a:lnTo>
                    <a:pt x="4882" y="796"/>
                  </a:lnTo>
                  <a:lnTo>
                    <a:pt x="3687" y="796"/>
                  </a:lnTo>
                  <a:lnTo>
                    <a:pt x="1196" y="2189"/>
                  </a:lnTo>
                  <a:lnTo>
                    <a:pt x="0" y="2985"/>
                  </a:lnTo>
                  <a:lnTo>
                    <a:pt x="0" y="3980"/>
                  </a:lnTo>
                  <a:lnTo>
                    <a:pt x="1096" y="4079"/>
                  </a:lnTo>
                  <a:lnTo>
                    <a:pt x="3189" y="3781"/>
                  </a:lnTo>
                  <a:lnTo>
                    <a:pt x="4584" y="4278"/>
                  </a:lnTo>
                  <a:lnTo>
                    <a:pt x="5978" y="4776"/>
                  </a:lnTo>
                  <a:lnTo>
                    <a:pt x="6776" y="4079"/>
                  </a:lnTo>
                  <a:lnTo>
                    <a:pt x="9765" y="3184"/>
                  </a:lnTo>
                  <a:lnTo>
                    <a:pt x="11558" y="2388"/>
                  </a:lnTo>
                  <a:lnTo>
                    <a:pt x="11658" y="896"/>
                  </a:lnTo>
                  <a:lnTo>
                    <a:pt x="12157" y="199"/>
                  </a:lnTo>
                  <a:lnTo>
                    <a:pt x="10861" y="199"/>
                  </a:lnTo>
                  <a:lnTo>
                    <a:pt x="8968" y="0"/>
                  </a:lnTo>
                  <a:lnTo>
                    <a:pt x="7374" y="3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A7381081-9EF2-4D53-8DBE-2C0C822AA389}"/>
                </a:ext>
              </a:extLst>
            </p:cNvPr>
            <p:cNvSpPr/>
            <p:nvPr/>
          </p:nvSpPr>
          <p:spPr>
            <a:xfrm>
              <a:off x="5382306" y="366348"/>
              <a:ext cx="361209" cy="148733"/>
            </a:xfrm>
            <a:custGeom>
              <a:avLst/>
              <a:gdLst>
                <a:gd name="connsiteX0" fmla="*/ 22221 w 361209"/>
                <a:gd name="connsiteY0" fmla="*/ 23081 h 148733"/>
                <a:gd name="connsiteX1" fmla="*/ 24213 w 361209"/>
                <a:gd name="connsiteY1" fmla="*/ 27260 h 148733"/>
                <a:gd name="connsiteX2" fmla="*/ 26406 w 361209"/>
                <a:gd name="connsiteY2" fmla="*/ 29249 h 148733"/>
                <a:gd name="connsiteX3" fmla="*/ 42150 w 361209"/>
                <a:gd name="connsiteY3" fmla="*/ 35716 h 148733"/>
                <a:gd name="connsiteX4" fmla="*/ 57196 w 361209"/>
                <a:gd name="connsiteY4" fmla="*/ 40193 h 148733"/>
                <a:gd name="connsiteX5" fmla="*/ 74235 w 361209"/>
                <a:gd name="connsiteY5" fmla="*/ 46859 h 148733"/>
                <a:gd name="connsiteX6" fmla="*/ 94562 w 361209"/>
                <a:gd name="connsiteY6" fmla="*/ 59096 h 148733"/>
                <a:gd name="connsiteX7" fmla="*/ 105623 w 361209"/>
                <a:gd name="connsiteY7" fmla="*/ 69243 h 148733"/>
                <a:gd name="connsiteX8" fmla="*/ 110107 w 361209"/>
                <a:gd name="connsiteY8" fmla="*/ 74019 h 148733"/>
                <a:gd name="connsiteX9" fmla="*/ 112000 w 361209"/>
                <a:gd name="connsiteY9" fmla="*/ 76506 h 148733"/>
                <a:gd name="connsiteX10" fmla="*/ 113096 w 361209"/>
                <a:gd name="connsiteY10" fmla="*/ 78993 h 148733"/>
                <a:gd name="connsiteX11" fmla="*/ 113495 w 361209"/>
                <a:gd name="connsiteY11" fmla="*/ 81679 h 148733"/>
                <a:gd name="connsiteX12" fmla="*/ 113594 w 361209"/>
                <a:gd name="connsiteY12" fmla="*/ 84863 h 148733"/>
                <a:gd name="connsiteX13" fmla="*/ 114890 w 361209"/>
                <a:gd name="connsiteY13" fmla="*/ 87449 h 148733"/>
                <a:gd name="connsiteX14" fmla="*/ 117381 w 361209"/>
                <a:gd name="connsiteY14" fmla="*/ 89837 h 148733"/>
                <a:gd name="connsiteX15" fmla="*/ 118875 w 361209"/>
                <a:gd name="connsiteY15" fmla="*/ 92225 h 148733"/>
                <a:gd name="connsiteX16" fmla="*/ 117082 w 361209"/>
                <a:gd name="connsiteY16" fmla="*/ 94812 h 148733"/>
                <a:gd name="connsiteX17" fmla="*/ 132925 w 361209"/>
                <a:gd name="connsiteY17" fmla="*/ 99885 h 148733"/>
                <a:gd name="connsiteX18" fmla="*/ 140299 w 361209"/>
                <a:gd name="connsiteY18" fmla="*/ 100880 h 148733"/>
                <a:gd name="connsiteX19" fmla="*/ 142890 w 361209"/>
                <a:gd name="connsiteY19" fmla="*/ 101875 h 148733"/>
                <a:gd name="connsiteX20" fmla="*/ 145381 w 361209"/>
                <a:gd name="connsiteY20" fmla="*/ 103069 h 148733"/>
                <a:gd name="connsiteX21" fmla="*/ 149068 w 361209"/>
                <a:gd name="connsiteY21" fmla="*/ 105755 h 148733"/>
                <a:gd name="connsiteX22" fmla="*/ 156242 w 361209"/>
                <a:gd name="connsiteY22" fmla="*/ 107347 h 148733"/>
                <a:gd name="connsiteX23" fmla="*/ 164512 w 361209"/>
                <a:gd name="connsiteY23" fmla="*/ 114411 h 148733"/>
                <a:gd name="connsiteX24" fmla="*/ 170591 w 361209"/>
                <a:gd name="connsiteY24" fmla="*/ 116102 h 148733"/>
                <a:gd name="connsiteX25" fmla="*/ 179659 w 361209"/>
                <a:gd name="connsiteY25" fmla="*/ 121076 h 148733"/>
                <a:gd name="connsiteX26" fmla="*/ 206164 w 361209"/>
                <a:gd name="connsiteY26" fmla="*/ 127145 h 148733"/>
                <a:gd name="connsiteX27" fmla="*/ 231772 w 361209"/>
                <a:gd name="connsiteY27" fmla="*/ 135203 h 148733"/>
                <a:gd name="connsiteX28" fmla="*/ 253993 w 361209"/>
                <a:gd name="connsiteY28" fmla="*/ 136895 h 148733"/>
                <a:gd name="connsiteX29" fmla="*/ 265352 w 361209"/>
                <a:gd name="connsiteY29" fmla="*/ 141372 h 148733"/>
                <a:gd name="connsiteX30" fmla="*/ 274819 w 361209"/>
                <a:gd name="connsiteY30" fmla="*/ 142963 h 148733"/>
                <a:gd name="connsiteX31" fmla="*/ 277409 w 361209"/>
                <a:gd name="connsiteY31" fmla="*/ 144655 h 148733"/>
                <a:gd name="connsiteX32" fmla="*/ 279801 w 361209"/>
                <a:gd name="connsiteY32" fmla="*/ 146744 h 148733"/>
                <a:gd name="connsiteX33" fmla="*/ 283089 w 361209"/>
                <a:gd name="connsiteY33" fmla="*/ 148137 h 148733"/>
                <a:gd name="connsiteX34" fmla="*/ 286776 w 361209"/>
                <a:gd name="connsiteY34" fmla="*/ 148734 h 148733"/>
                <a:gd name="connsiteX35" fmla="*/ 301723 w 361209"/>
                <a:gd name="connsiteY35" fmla="*/ 146346 h 148733"/>
                <a:gd name="connsiteX36" fmla="*/ 311787 w 361209"/>
                <a:gd name="connsiteY36" fmla="*/ 147639 h 148733"/>
                <a:gd name="connsiteX37" fmla="*/ 333110 w 361209"/>
                <a:gd name="connsiteY37" fmla="*/ 146048 h 148733"/>
                <a:gd name="connsiteX38" fmla="*/ 335203 w 361209"/>
                <a:gd name="connsiteY38" fmla="*/ 146346 h 148733"/>
                <a:gd name="connsiteX39" fmla="*/ 340484 w 361209"/>
                <a:gd name="connsiteY39" fmla="*/ 148435 h 148733"/>
                <a:gd name="connsiteX40" fmla="*/ 342078 w 361209"/>
                <a:gd name="connsiteY40" fmla="*/ 148535 h 148733"/>
                <a:gd name="connsiteX41" fmla="*/ 348954 w 361209"/>
                <a:gd name="connsiteY41" fmla="*/ 143859 h 148733"/>
                <a:gd name="connsiteX42" fmla="*/ 350448 w 361209"/>
                <a:gd name="connsiteY42" fmla="*/ 143660 h 148733"/>
                <a:gd name="connsiteX43" fmla="*/ 352939 w 361209"/>
                <a:gd name="connsiteY43" fmla="*/ 144058 h 148733"/>
                <a:gd name="connsiteX44" fmla="*/ 355331 w 361209"/>
                <a:gd name="connsiteY44" fmla="*/ 143759 h 148733"/>
                <a:gd name="connsiteX45" fmla="*/ 355630 w 361209"/>
                <a:gd name="connsiteY45" fmla="*/ 142864 h 148733"/>
                <a:gd name="connsiteX46" fmla="*/ 355231 w 361209"/>
                <a:gd name="connsiteY46" fmla="*/ 141471 h 148733"/>
                <a:gd name="connsiteX47" fmla="*/ 355929 w 361209"/>
                <a:gd name="connsiteY47" fmla="*/ 139481 h 148733"/>
                <a:gd name="connsiteX48" fmla="*/ 357125 w 361209"/>
                <a:gd name="connsiteY48" fmla="*/ 138387 h 148733"/>
                <a:gd name="connsiteX49" fmla="*/ 359914 w 361209"/>
                <a:gd name="connsiteY49" fmla="*/ 136497 h 148733"/>
                <a:gd name="connsiteX50" fmla="*/ 361210 w 361209"/>
                <a:gd name="connsiteY50" fmla="*/ 134806 h 148733"/>
                <a:gd name="connsiteX51" fmla="*/ 358221 w 361209"/>
                <a:gd name="connsiteY51" fmla="*/ 132318 h 148733"/>
                <a:gd name="connsiteX52" fmla="*/ 355132 w 361209"/>
                <a:gd name="connsiteY52" fmla="*/ 129234 h 148733"/>
                <a:gd name="connsiteX53" fmla="*/ 351545 w 361209"/>
                <a:gd name="connsiteY53" fmla="*/ 122966 h 148733"/>
                <a:gd name="connsiteX54" fmla="*/ 349950 w 361209"/>
                <a:gd name="connsiteY54" fmla="*/ 121076 h 148733"/>
                <a:gd name="connsiteX55" fmla="*/ 347160 w 361209"/>
                <a:gd name="connsiteY55" fmla="*/ 119385 h 148733"/>
                <a:gd name="connsiteX56" fmla="*/ 346463 w 361209"/>
                <a:gd name="connsiteY56" fmla="*/ 118788 h 148733"/>
                <a:gd name="connsiteX57" fmla="*/ 346064 w 361209"/>
                <a:gd name="connsiteY57" fmla="*/ 117694 h 148733"/>
                <a:gd name="connsiteX58" fmla="*/ 345167 w 361209"/>
                <a:gd name="connsiteY58" fmla="*/ 115008 h 148733"/>
                <a:gd name="connsiteX59" fmla="*/ 344769 w 361209"/>
                <a:gd name="connsiteY59" fmla="*/ 114212 h 148733"/>
                <a:gd name="connsiteX60" fmla="*/ 341082 w 361209"/>
                <a:gd name="connsiteY60" fmla="*/ 112122 h 148733"/>
                <a:gd name="connsiteX61" fmla="*/ 340185 w 361209"/>
                <a:gd name="connsiteY61" fmla="*/ 110730 h 148733"/>
                <a:gd name="connsiteX62" fmla="*/ 341281 w 361209"/>
                <a:gd name="connsiteY62" fmla="*/ 108541 h 148733"/>
                <a:gd name="connsiteX63" fmla="*/ 335203 w 361209"/>
                <a:gd name="connsiteY63" fmla="*/ 103566 h 148733"/>
                <a:gd name="connsiteX64" fmla="*/ 333110 w 361209"/>
                <a:gd name="connsiteY64" fmla="*/ 100681 h 148733"/>
                <a:gd name="connsiteX65" fmla="*/ 330320 w 361209"/>
                <a:gd name="connsiteY65" fmla="*/ 100781 h 148733"/>
                <a:gd name="connsiteX66" fmla="*/ 325637 w 361209"/>
                <a:gd name="connsiteY66" fmla="*/ 101577 h 148733"/>
                <a:gd name="connsiteX67" fmla="*/ 324441 w 361209"/>
                <a:gd name="connsiteY67" fmla="*/ 100980 h 148733"/>
                <a:gd name="connsiteX68" fmla="*/ 321751 w 361209"/>
                <a:gd name="connsiteY68" fmla="*/ 98592 h 148733"/>
                <a:gd name="connsiteX69" fmla="*/ 317466 w 361209"/>
                <a:gd name="connsiteY69" fmla="*/ 95707 h 148733"/>
                <a:gd name="connsiteX70" fmla="*/ 315872 w 361209"/>
                <a:gd name="connsiteY70" fmla="*/ 95011 h 148733"/>
                <a:gd name="connsiteX71" fmla="*/ 301324 w 361209"/>
                <a:gd name="connsiteY71" fmla="*/ 93618 h 148733"/>
                <a:gd name="connsiteX72" fmla="*/ 295644 w 361209"/>
                <a:gd name="connsiteY72" fmla="*/ 91528 h 148733"/>
                <a:gd name="connsiteX73" fmla="*/ 293950 w 361209"/>
                <a:gd name="connsiteY73" fmla="*/ 91230 h 148733"/>
                <a:gd name="connsiteX74" fmla="*/ 292356 w 361209"/>
                <a:gd name="connsiteY74" fmla="*/ 90633 h 148733"/>
                <a:gd name="connsiteX75" fmla="*/ 291160 w 361209"/>
                <a:gd name="connsiteY75" fmla="*/ 89539 h 148733"/>
                <a:gd name="connsiteX76" fmla="*/ 290263 w 361209"/>
                <a:gd name="connsiteY76" fmla="*/ 88444 h 148733"/>
                <a:gd name="connsiteX77" fmla="*/ 289566 w 361209"/>
                <a:gd name="connsiteY77" fmla="*/ 87847 h 148733"/>
                <a:gd name="connsiteX78" fmla="*/ 285979 w 361209"/>
                <a:gd name="connsiteY78" fmla="*/ 83171 h 148733"/>
                <a:gd name="connsiteX79" fmla="*/ 284683 w 361209"/>
                <a:gd name="connsiteY79" fmla="*/ 81978 h 148733"/>
                <a:gd name="connsiteX80" fmla="*/ 283288 w 361209"/>
                <a:gd name="connsiteY80" fmla="*/ 81580 h 148733"/>
                <a:gd name="connsiteX81" fmla="*/ 280199 w 361209"/>
                <a:gd name="connsiteY81" fmla="*/ 81381 h 148733"/>
                <a:gd name="connsiteX82" fmla="*/ 278705 w 361209"/>
                <a:gd name="connsiteY82" fmla="*/ 80883 h 148733"/>
                <a:gd name="connsiteX83" fmla="*/ 275217 w 361209"/>
                <a:gd name="connsiteY83" fmla="*/ 77799 h 148733"/>
                <a:gd name="connsiteX84" fmla="*/ 273523 w 361209"/>
                <a:gd name="connsiteY84" fmla="*/ 77302 h 148733"/>
                <a:gd name="connsiteX85" fmla="*/ 270733 w 361209"/>
                <a:gd name="connsiteY85" fmla="*/ 77899 h 148733"/>
                <a:gd name="connsiteX86" fmla="*/ 269338 w 361209"/>
                <a:gd name="connsiteY86" fmla="*/ 77899 h 148733"/>
                <a:gd name="connsiteX87" fmla="*/ 267843 w 361209"/>
                <a:gd name="connsiteY87" fmla="*/ 76804 h 148733"/>
                <a:gd name="connsiteX88" fmla="*/ 262263 w 361209"/>
                <a:gd name="connsiteY88" fmla="*/ 70437 h 148733"/>
                <a:gd name="connsiteX89" fmla="*/ 261965 w 361209"/>
                <a:gd name="connsiteY89" fmla="*/ 69741 h 148733"/>
                <a:gd name="connsiteX90" fmla="*/ 261765 w 361209"/>
                <a:gd name="connsiteY90" fmla="*/ 67950 h 148733"/>
                <a:gd name="connsiteX91" fmla="*/ 261367 w 361209"/>
                <a:gd name="connsiteY91" fmla="*/ 66955 h 148733"/>
                <a:gd name="connsiteX92" fmla="*/ 260669 w 361209"/>
                <a:gd name="connsiteY92" fmla="*/ 66557 h 148733"/>
                <a:gd name="connsiteX93" fmla="*/ 258676 w 361209"/>
                <a:gd name="connsiteY93" fmla="*/ 66159 h 148733"/>
                <a:gd name="connsiteX94" fmla="*/ 257879 w 361209"/>
                <a:gd name="connsiteY94" fmla="*/ 65861 h 148733"/>
                <a:gd name="connsiteX95" fmla="*/ 253196 w 361209"/>
                <a:gd name="connsiteY95" fmla="*/ 60787 h 148733"/>
                <a:gd name="connsiteX96" fmla="*/ 250505 w 361209"/>
                <a:gd name="connsiteY96" fmla="*/ 58598 h 148733"/>
                <a:gd name="connsiteX97" fmla="*/ 243430 w 361209"/>
                <a:gd name="connsiteY97" fmla="*/ 57305 h 148733"/>
                <a:gd name="connsiteX98" fmla="*/ 239943 w 361209"/>
                <a:gd name="connsiteY98" fmla="*/ 56011 h 148733"/>
                <a:gd name="connsiteX99" fmla="*/ 231075 w 361209"/>
                <a:gd name="connsiteY99" fmla="*/ 50540 h 148733"/>
                <a:gd name="connsiteX100" fmla="*/ 228484 w 361209"/>
                <a:gd name="connsiteY100" fmla="*/ 49445 h 148733"/>
                <a:gd name="connsiteX101" fmla="*/ 225594 w 361209"/>
                <a:gd name="connsiteY101" fmla="*/ 48749 h 148733"/>
                <a:gd name="connsiteX102" fmla="*/ 222206 w 361209"/>
                <a:gd name="connsiteY102" fmla="*/ 48649 h 148733"/>
                <a:gd name="connsiteX103" fmla="*/ 219915 w 361209"/>
                <a:gd name="connsiteY103" fmla="*/ 47754 h 148733"/>
                <a:gd name="connsiteX104" fmla="*/ 210946 w 361209"/>
                <a:gd name="connsiteY104" fmla="*/ 42879 h 148733"/>
                <a:gd name="connsiteX105" fmla="*/ 204968 w 361209"/>
                <a:gd name="connsiteY105" fmla="*/ 43078 h 148733"/>
                <a:gd name="connsiteX106" fmla="*/ 203573 w 361209"/>
                <a:gd name="connsiteY106" fmla="*/ 42282 h 148733"/>
                <a:gd name="connsiteX107" fmla="*/ 199188 w 361209"/>
                <a:gd name="connsiteY107" fmla="*/ 37606 h 148733"/>
                <a:gd name="connsiteX108" fmla="*/ 196299 w 361209"/>
                <a:gd name="connsiteY108" fmla="*/ 35815 h 148733"/>
                <a:gd name="connsiteX109" fmla="*/ 185737 w 361209"/>
                <a:gd name="connsiteY109" fmla="*/ 33527 h 148733"/>
                <a:gd name="connsiteX110" fmla="*/ 175772 w 361209"/>
                <a:gd name="connsiteY110" fmla="*/ 28453 h 148733"/>
                <a:gd name="connsiteX111" fmla="*/ 165011 w 361209"/>
                <a:gd name="connsiteY111" fmla="*/ 27260 h 148733"/>
                <a:gd name="connsiteX112" fmla="*/ 143986 w 361209"/>
                <a:gd name="connsiteY112" fmla="*/ 20793 h 148733"/>
                <a:gd name="connsiteX113" fmla="*/ 126448 w 361209"/>
                <a:gd name="connsiteY113" fmla="*/ 18007 h 148733"/>
                <a:gd name="connsiteX114" fmla="*/ 114790 w 361209"/>
                <a:gd name="connsiteY114" fmla="*/ 17211 h 148733"/>
                <a:gd name="connsiteX115" fmla="*/ 102933 w 361209"/>
                <a:gd name="connsiteY115" fmla="*/ 14326 h 148733"/>
                <a:gd name="connsiteX116" fmla="*/ 71744 w 361209"/>
                <a:gd name="connsiteY116" fmla="*/ 9551 h 148733"/>
                <a:gd name="connsiteX117" fmla="*/ 65765 w 361209"/>
                <a:gd name="connsiteY117" fmla="*/ 6168 h 148733"/>
                <a:gd name="connsiteX118" fmla="*/ 64570 w 361209"/>
                <a:gd name="connsiteY118" fmla="*/ 5770 h 148733"/>
                <a:gd name="connsiteX119" fmla="*/ 61281 w 361209"/>
                <a:gd name="connsiteY119" fmla="*/ 5273 h 148733"/>
                <a:gd name="connsiteX120" fmla="*/ 47829 w 361209"/>
                <a:gd name="connsiteY120" fmla="*/ 398 h 148733"/>
                <a:gd name="connsiteX121" fmla="*/ 37566 w 361209"/>
                <a:gd name="connsiteY121" fmla="*/ 0 h 148733"/>
                <a:gd name="connsiteX122" fmla="*/ 35673 w 361209"/>
                <a:gd name="connsiteY122" fmla="*/ 398 h 148733"/>
                <a:gd name="connsiteX123" fmla="*/ 34577 w 361209"/>
                <a:gd name="connsiteY123" fmla="*/ 1293 h 148733"/>
                <a:gd name="connsiteX124" fmla="*/ 33580 w 361209"/>
                <a:gd name="connsiteY124" fmla="*/ 2487 h 148733"/>
                <a:gd name="connsiteX125" fmla="*/ 31986 w 361209"/>
                <a:gd name="connsiteY125" fmla="*/ 3582 h 148733"/>
                <a:gd name="connsiteX126" fmla="*/ 30591 w 361209"/>
                <a:gd name="connsiteY126" fmla="*/ 3880 h 148733"/>
                <a:gd name="connsiteX127" fmla="*/ 27402 w 361209"/>
                <a:gd name="connsiteY127" fmla="*/ 3582 h 148733"/>
                <a:gd name="connsiteX128" fmla="*/ 20228 w 361209"/>
                <a:gd name="connsiteY128" fmla="*/ 4178 h 148733"/>
                <a:gd name="connsiteX129" fmla="*/ 7473 w 361209"/>
                <a:gd name="connsiteY129" fmla="*/ 7263 h 148733"/>
                <a:gd name="connsiteX130" fmla="*/ 2491 w 361209"/>
                <a:gd name="connsiteY130" fmla="*/ 10347 h 148733"/>
                <a:gd name="connsiteX131" fmla="*/ 0 w 361209"/>
                <a:gd name="connsiteY131" fmla="*/ 14227 h 148733"/>
                <a:gd name="connsiteX132" fmla="*/ 1794 w 361209"/>
                <a:gd name="connsiteY132" fmla="*/ 15819 h 148733"/>
                <a:gd name="connsiteX133" fmla="*/ 5082 w 361209"/>
                <a:gd name="connsiteY133" fmla="*/ 16913 h 148733"/>
                <a:gd name="connsiteX134" fmla="*/ 6776 w 361209"/>
                <a:gd name="connsiteY134" fmla="*/ 19102 h 148733"/>
                <a:gd name="connsiteX135" fmla="*/ 7971 w 361209"/>
                <a:gd name="connsiteY135" fmla="*/ 21788 h 148733"/>
                <a:gd name="connsiteX136" fmla="*/ 10861 w 361209"/>
                <a:gd name="connsiteY136" fmla="*/ 24275 h 148733"/>
                <a:gd name="connsiteX137" fmla="*/ 14349 w 361209"/>
                <a:gd name="connsiteY137" fmla="*/ 26066 h 148733"/>
                <a:gd name="connsiteX138" fmla="*/ 17239 w 361209"/>
                <a:gd name="connsiteY138" fmla="*/ 26663 h 148733"/>
                <a:gd name="connsiteX139" fmla="*/ 15445 w 361209"/>
                <a:gd name="connsiteY139" fmla="*/ 22484 h 148733"/>
                <a:gd name="connsiteX140" fmla="*/ 18135 w 361209"/>
                <a:gd name="connsiteY140" fmla="*/ 21390 h 148733"/>
                <a:gd name="connsiteX141" fmla="*/ 22221 w 361209"/>
                <a:gd name="connsiteY141" fmla="*/ 23081 h 14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361209" h="148733">
                  <a:moveTo>
                    <a:pt x="22221" y="23081"/>
                  </a:moveTo>
                  <a:lnTo>
                    <a:pt x="24213" y="27260"/>
                  </a:lnTo>
                  <a:lnTo>
                    <a:pt x="26406" y="29249"/>
                  </a:lnTo>
                  <a:lnTo>
                    <a:pt x="42150" y="35716"/>
                  </a:lnTo>
                  <a:lnTo>
                    <a:pt x="57196" y="40193"/>
                  </a:lnTo>
                  <a:lnTo>
                    <a:pt x="74235" y="46859"/>
                  </a:lnTo>
                  <a:lnTo>
                    <a:pt x="94562" y="59096"/>
                  </a:lnTo>
                  <a:lnTo>
                    <a:pt x="105623" y="69243"/>
                  </a:lnTo>
                  <a:lnTo>
                    <a:pt x="110107" y="74019"/>
                  </a:lnTo>
                  <a:lnTo>
                    <a:pt x="112000" y="76506"/>
                  </a:lnTo>
                  <a:lnTo>
                    <a:pt x="113096" y="78993"/>
                  </a:lnTo>
                  <a:lnTo>
                    <a:pt x="113495" y="81679"/>
                  </a:lnTo>
                  <a:lnTo>
                    <a:pt x="113594" y="84863"/>
                  </a:lnTo>
                  <a:lnTo>
                    <a:pt x="114890" y="87449"/>
                  </a:lnTo>
                  <a:lnTo>
                    <a:pt x="117381" y="89837"/>
                  </a:lnTo>
                  <a:lnTo>
                    <a:pt x="118875" y="92225"/>
                  </a:lnTo>
                  <a:lnTo>
                    <a:pt x="117082" y="94812"/>
                  </a:lnTo>
                  <a:lnTo>
                    <a:pt x="132925" y="99885"/>
                  </a:lnTo>
                  <a:lnTo>
                    <a:pt x="140299" y="100880"/>
                  </a:lnTo>
                  <a:lnTo>
                    <a:pt x="142890" y="101875"/>
                  </a:lnTo>
                  <a:lnTo>
                    <a:pt x="145381" y="103069"/>
                  </a:lnTo>
                  <a:lnTo>
                    <a:pt x="149068" y="105755"/>
                  </a:lnTo>
                  <a:lnTo>
                    <a:pt x="156242" y="107347"/>
                  </a:lnTo>
                  <a:lnTo>
                    <a:pt x="164512" y="114411"/>
                  </a:lnTo>
                  <a:lnTo>
                    <a:pt x="170591" y="116102"/>
                  </a:lnTo>
                  <a:lnTo>
                    <a:pt x="179659" y="121076"/>
                  </a:lnTo>
                  <a:lnTo>
                    <a:pt x="206164" y="127145"/>
                  </a:lnTo>
                  <a:lnTo>
                    <a:pt x="231772" y="135203"/>
                  </a:lnTo>
                  <a:lnTo>
                    <a:pt x="253993" y="136895"/>
                  </a:lnTo>
                  <a:lnTo>
                    <a:pt x="265352" y="141372"/>
                  </a:lnTo>
                  <a:lnTo>
                    <a:pt x="274819" y="142963"/>
                  </a:lnTo>
                  <a:lnTo>
                    <a:pt x="277409" y="144655"/>
                  </a:lnTo>
                  <a:lnTo>
                    <a:pt x="279801" y="146744"/>
                  </a:lnTo>
                  <a:lnTo>
                    <a:pt x="283089" y="148137"/>
                  </a:lnTo>
                  <a:lnTo>
                    <a:pt x="286776" y="148734"/>
                  </a:lnTo>
                  <a:lnTo>
                    <a:pt x="301723" y="146346"/>
                  </a:lnTo>
                  <a:lnTo>
                    <a:pt x="311787" y="147639"/>
                  </a:lnTo>
                  <a:lnTo>
                    <a:pt x="333110" y="146048"/>
                  </a:lnTo>
                  <a:lnTo>
                    <a:pt x="335203" y="146346"/>
                  </a:lnTo>
                  <a:lnTo>
                    <a:pt x="340484" y="148435"/>
                  </a:lnTo>
                  <a:lnTo>
                    <a:pt x="342078" y="148535"/>
                  </a:lnTo>
                  <a:lnTo>
                    <a:pt x="348954" y="143859"/>
                  </a:lnTo>
                  <a:lnTo>
                    <a:pt x="350448" y="143660"/>
                  </a:lnTo>
                  <a:lnTo>
                    <a:pt x="352939" y="144058"/>
                  </a:lnTo>
                  <a:lnTo>
                    <a:pt x="355331" y="143759"/>
                  </a:lnTo>
                  <a:lnTo>
                    <a:pt x="355630" y="142864"/>
                  </a:lnTo>
                  <a:lnTo>
                    <a:pt x="355231" y="141471"/>
                  </a:lnTo>
                  <a:lnTo>
                    <a:pt x="355929" y="139481"/>
                  </a:lnTo>
                  <a:lnTo>
                    <a:pt x="357125" y="138387"/>
                  </a:lnTo>
                  <a:lnTo>
                    <a:pt x="359914" y="136497"/>
                  </a:lnTo>
                  <a:lnTo>
                    <a:pt x="361210" y="134806"/>
                  </a:lnTo>
                  <a:lnTo>
                    <a:pt x="358221" y="132318"/>
                  </a:lnTo>
                  <a:lnTo>
                    <a:pt x="355132" y="129234"/>
                  </a:lnTo>
                  <a:lnTo>
                    <a:pt x="351545" y="122966"/>
                  </a:lnTo>
                  <a:lnTo>
                    <a:pt x="349950" y="121076"/>
                  </a:lnTo>
                  <a:lnTo>
                    <a:pt x="347160" y="119385"/>
                  </a:lnTo>
                  <a:lnTo>
                    <a:pt x="346463" y="118788"/>
                  </a:lnTo>
                  <a:lnTo>
                    <a:pt x="346064" y="117694"/>
                  </a:lnTo>
                  <a:lnTo>
                    <a:pt x="345167" y="115008"/>
                  </a:lnTo>
                  <a:lnTo>
                    <a:pt x="344769" y="114212"/>
                  </a:lnTo>
                  <a:lnTo>
                    <a:pt x="341082" y="112122"/>
                  </a:lnTo>
                  <a:lnTo>
                    <a:pt x="340185" y="110730"/>
                  </a:lnTo>
                  <a:lnTo>
                    <a:pt x="341281" y="108541"/>
                  </a:lnTo>
                  <a:lnTo>
                    <a:pt x="335203" y="103566"/>
                  </a:lnTo>
                  <a:lnTo>
                    <a:pt x="333110" y="100681"/>
                  </a:lnTo>
                  <a:lnTo>
                    <a:pt x="330320" y="100781"/>
                  </a:lnTo>
                  <a:lnTo>
                    <a:pt x="325637" y="101577"/>
                  </a:lnTo>
                  <a:lnTo>
                    <a:pt x="324441" y="100980"/>
                  </a:lnTo>
                  <a:lnTo>
                    <a:pt x="321751" y="98592"/>
                  </a:lnTo>
                  <a:lnTo>
                    <a:pt x="317466" y="95707"/>
                  </a:lnTo>
                  <a:lnTo>
                    <a:pt x="315872" y="95011"/>
                  </a:lnTo>
                  <a:lnTo>
                    <a:pt x="301324" y="93618"/>
                  </a:lnTo>
                  <a:lnTo>
                    <a:pt x="295644" y="91528"/>
                  </a:lnTo>
                  <a:lnTo>
                    <a:pt x="293950" y="91230"/>
                  </a:lnTo>
                  <a:lnTo>
                    <a:pt x="292356" y="90633"/>
                  </a:lnTo>
                  <a:lnTo>
                    <a:pt x="291160" y="89539"/>
                  </a:lnTo>
                  <a:lnTo>
                    <a:pt x="290263" y="88444"/>
                  </a:lnTo>
                  <a:lnTo>
                    <a:pt x="289566" y="87847"/>
                  </a:lnTo>
                  <a:lnTo>
                    <a:pt x="285979" y="83171"/>
                  </a:lnTo>
                  <a:lnTo>
                    <a:pt x="284683" y="81978"/>
                  </a:lnTo>
                  <a:lnTo>
                    <a:pt x="283288" y="81580"/>
                  </a:lnTo>
                  <a:lnTo>
                    <a:pt x="280199" y="81381"/>
                  </a:lnTo>
                  <a:lnTo>
                    <a:pt x="278705" y="80883"/>
                  </a:lnTo>
                  <a:lnTo>
                    <a:pt x="275217" y="77799"/>
                  </a:lnTo>
                  <a:lnTo>
                    <a:pt x="273523" y="77302"/>
                  </a:lnTo>
                  <a:lnTo>
                    <a:pt x="270733" y="77899"/>
                  </a:lnTo>
                  <a:lnTo>
                    <a:pt x="269338" y="77899"/>
                  </a:lnTo>
                  <a:lnTo>
                    <a:pt x="267843" y="76804"/>
                  </a:lnTo>
                  <a:lnTo>
                    <a:pt x="262263" y="70437"/>
                  </a:lnTo>
                  <a:lnTo>
                    <a:pt x="261965" y="69741"/>
                  </a:lnTo>
                  <a:lnTo>
                    <a:pt x="261765" y="67950"/>
                  </a:lnTo>
                  <a:lnTo>
                    <a:pt x="261367" y="66955"/>
                  </a:lnTo>
                  <a:lnTo>
                    <a:pt x="260669" y="66557"/>
                  </a:lnTo>
                  <a:lnTo>
                    <a:pt x="258676" y="66159"/>
                  </a:lnTo>
                  <a:lnTo>
                    <a:pt x="257879" y="65861"/>
                  </a:lnTo>
                  <a:lnTo>
                    <a:pt x="253196" y="60787"/>
                  </a:lnTo>
                  <a:lnTo>
                    <a:pt x="250505" y="58598"/>
                  </a:lnTo>
                  <a:lnTo>
                    <a:pt x="243430" y="57305"/>
                  </a:lnTo>
                  <a:lnTo>
                    <a:pt x="239943" y="56011"/>
                  </a:lnTo>
                  <a:lnTo>
                    <a:pt x="231075" y="50540"/>
                  </a:lnTo>
                  <a:lnTo>
                    <a:pt x="228484" y="49445"/>
                  </a:lnTo>
                  <a:lnTo>
                    <a:pt x="225594" y="48749"/>
                  </a:lnTo>
                  <a:lnTo>
                    <a:pt x="222206" y="48649"/>
                  </a:lnTo>
                  <a:lnTo>
                    <a:pt x="219915" y="47754"/>
                  </a:lnTo>
                  <a:lnTo>
                    <a:pt x="210946" y="42879"/>
                  </a:lnTo>
                  <a:lnTo>
                    <a:pt x="204968" y="43078"/>
                  </a:lnTo>
                  <a:lnTo>
                    <a:pt x="203573" y="42282"/>
                  </a:lnTo>
                  <a:lnTo>
                    <a:pt x="199188" y="37606"/>
                  </a:lnTo>
                  <a:lnTo>
                    <a:pt x="196299" y="35815"/>
                  </a:lnTo>
                  <a:lnTo>
                    <a:pt x="185737" y="33527"/>
                  </a:lnTo>
                  <a:lnTo>
                    <a:pt x="175772" y="28453"/>
                  </a:lnTo>
                  <a:lnTo>
                    <a:pt x="165011" y="27260"/>
                  </a:lnTo>
                  <a:lnTo>
                    <a:pt x="143986" y="20793"/>
                  </a:lnTo>
                  <a:lnTo>
                    <a:pt x="126448" y="18007"/>
                  </a:lnTo>
                  <a:lnTo>
                    <a:pt x="114790" y="17211"/>
                  </a:lnTo>
                  <a:lnTo>
                    <a:pt x="102933" y="14326"/>
                  </a:lnTo>
                  <a:lnTo>
                    <a:pt x="71744" y="9551"/>
                  </a:lnTo>
                  <a:lnTo>
                    <a:pt x="65765" y="6168"/>
                  </a:lnTo>
                  <a:lnTo>
                    <a:pt x="64570" y="5770"/>
                  </a:lnTo>
                  <a:lnTo>
                    <a:pt x="61281" y="5273"/>
                  </a:lnTo>
                  <a:lnTo>
                    <a:pt x="47829" y="398"/>
                  </a:lnTo>
                  <a:lnTo>
                    <a:pt x="37566" y="0"/>
                  </a:lnTo>
                  <a:lnTo>
                    <a:pt x="35673" y="398"/>
                  </a:lnTo>
                  <a:lnTo>
                    <a:pt x="34577" y="1293"/>
                  </a:lnTo>
                  <a:lnTo>
                    <a:pt x="33580" y="2487"/>
                  </a:lnTo>
                  <a:lnTo>
                    <a:pt x="31986" y="3582"/>
                  </a:lnTo>
                  <a:lnTo>
                    <a:pt x="30591" y="3880"/>
                  </a:lnTo>
                  <a:lnTo>
                    <a:pt x="27402" y="3582"/>
                  </a:lnTo>
                  <a:lnTo>
                    <a:pt x="20228" y="4178"/>
                  </a:lnTo>
                  <a:lnTo>
                    <a:pt x="7473" y="7263"/>
                  </a:lnTo>
                  <a:lnTo>
                    <a:pt x="2491" y="10347"/>
                  </a:lnTo>
                  <a:lnTo>
                    <a:pt x="0" y="14227"/>
                  </a:lnTo>
                  <a:lnTo>
                    <a:pt x="1794" y="15819"/>
                  </a:lnTo>
                  <a:lnTo>
                    <a:pt x="5082" y="16913"/>
                  </a:lnTo>
                  <a:lnTo>
                    <a:pt x="6776" y="19102"/>
                  </a:lnTo>
                  <a:lnTo>
                    <a:pt x="7971" y="21788"/>
                  </a:lnTo>
                  <a:lnTo>
                    <a:pt x="10861" y="24275"/>
                  </a:lnTo>
                  <a:lnTo>
                    <a:pt x="14349" y="26066"/>
                  </a:lnTo>
                  <a:lnTo>
                    <a:pt x="17239" y="26663"/>
                  </a:lnTo>
                  <a:lnTo>
                    <a:pt x="15445" y="22484"/>
                  </a:lnTo>
                  <a:lnTo>
                    <a:pt x="18135" y="21390"/>
                  </a:lnTo>
                  <a:lnTo>
                    <a:pt x="22221" y="2308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2" name="Freeform: Shape 1361">
              <a:extLst>
                <a:ext uri="{FF2B5EF4-FFF2-40B4-BE49-F238E27FC236}">
                  <a16:creationId xmlns:a16="http://schemas.microsoft.com/office/drawing/2014/main" id="{D7EA5E2B-820D-4C2E-BDB3-0A29024FECB4}"/>
                </a:ext>
              </a:extLst>
            </p:cNvPr>
            <p:cNvSpPr/>
            <p:nvPr/>
          </p:nvSpPr>
          <p:spPr>
            <a:xfrm>
              <a:off x="5394164" y="846076"/>
              <a:ext cx="309295" cy="181564"/>
            </a:xfrm>
            <a:custGeom>
              <a:avLst/>
              <a:gdLst>
                <a:gd name="connsiteX0" fmla="*/ 275914 w 309295"/>
                <a:gd name="connsiteY0" fmla="*/ 116699 h 181564"/>
                <a:gd name="connsiteX1" fmla="*/ 277509 w 309295"/>
                <a:gd name="connsiteY1" fmla="*/ 117594 h 181564"/>
                <a:gd name="connsiteX2" fmla="*/ 279402 w 309295"/>
                <a:gd name="connsiteY2" fmla="*/ 117296 h 181564"/>
                <a:gd name="connsiteX3" fmla="*/ 285381 w 309295"/>
                <a:gd name="connsiteY3" fmla="*/ 115505 h 181564"/>
                <a:gd name="connsiteX4" fmla="*/ 302320 w 309295"/>
                <a:gd name="connsiteY4" fmla="*/ 106352 h 181564"/>
                <a:gd name="connsiteX5" fmla="*/ 307203 w 309295"/>
                <a:gd name="connsiteY5" fmla="*/ 102174 h 181564"/>
                <a:gd name="connsiteX6" fmla="*/ 309196 w 309295"/>
                <a:gd name="connsiteY6" fmla="*/ 100980 h 181564"/>
                <a:gd name="connsiteX7" fmla="*/ 309296 w 309295"/>
                <a:gd name="connsiteY7" fmla="*/ 99885 h 181564"/>
                <a:gd name="connsiteX8" fmla="*/ 305808 w 309295"/>
                <a:gd name="connsiteY8" fmla="*/ 98393 h 181564"/>
                <a:gd name="connsiteX9" fmla="*/ 293751 w 309295"/>
                <a:gd name="connsiteY9" fmla="*/ 95210 h 181564"/>
                <a:gd name="connsiteX10" fmla="*/ 282890 w 309295"/>
                <a:gd name="connsiteY10" fmla="*/ 94612 h 181564"/>
                <a:gd name="connsiteX11" fmla="*/ 272826 w 309295"/>
                <a:gd name="connsiteY11" fmla="*/ 96801 h 181564"/>
                <a:gd name="connsiteX12" fmla="*/ 261068 w 309295"/>
                <a:gd name="connsiteY12" fmla="*/ 95906 h 181564"/>
                <a:gd name="connsiteX13" fmla="*/ 240840 w 309295"/>
                <a:gd name="connsiteY13" fmla="*/ 96503 h 181564"/>
                <a:gd name="connsiteX14" fmla="*/ 237652 w 309295"/>
                <a:gd name="connsiteY14" fmla="*/ 97100 h 181564"/>
                <a:gd name="connsiteX15" fmla="*/ 234563 w 309295"/>
                <a:gd name="connsiteY15" fmla="*/ 97199 h 181564"/>
                <a:gd name="connsiteX16" fmla="*/ 232171 w 309295"/>
                <a:gd name="connsiteY16" fmla="*/ 96005 h 181564"/>
                <a:gd name="connsiteX17" fmla="*/ 228783 w 309295"/>
                <a:gd name="connsiteY17" fmla="*/ 97796 h 181564"/>
                <a:gd name="connsiteX18" fmla="*/ 220911 w 309295"/>
                <a:gd name="connsiteY18" fmla="*/ 98294 h 181564"/>
                <a:gd name="connsiteX19" fmla="*/ 217324 w 309295"/>
                <a:gd name="connsiteY19" fmla="*/ 99487 h 181564"/>
                <a:gd name="connsiteX20" fmla="*/ 220512 w 309295"/>
                <a:gd name="connsiteY20" fmla="*/ 100980 h 181564"/>
                <a:gd name="connsiteX21" fmla="*/ 232171 w 309295"/>
                <a:gd name="connsiteY21" fmla="*/ 102671 h 181564"/>
                <a:gd name="connsiteX22" fmla="*/ 232171 w 309295"/>
                <a:gd name="connsiteY22" fmla="*/ 103964 h 181564"/>
                <a:gd name="connsiteX23" fmla="*/ 209452 w 309295"/>
                <a:gd name="connsiteY23" fmla="*/ 100880 h 181564"/>
                <a:gd name="connsiteX24" fmla="*/ 202477 w 309295"/>
                <a:gd name="connsiteY24" fmla="*/ 102671 h 181564"/>
                <a:gd name="connsiteX25" fmla="*/ 203374 w 309295"/>
                <a:gd name="connsiteY25" fmla="*/ 103964 h 181564"/>
                <a:gd name="connsiteX26" fmla="*/ 201879 w 309295"/>
                <a:gd name="connsiteY26" fmla="*/ 106352 h 181564"/>
                <a:gd name="connsiteX27" fmla="*/ 200683 w 309295"/>
                <a:gd name="connsiteY27" fmla="*/ 105656 h 181564"/>
                <a:gd name="connsiteX28" fmla="*/ 199587 w 309295"/>
                <a:gd name="connsiteY28" fmla="*/ 103765 h 181564"/>
                <a:gd name="connsiteX29" fmla="*/ 198591 w 309295"/>
                <a:gd name="connsiteY29" fmla="*/ 102671 h 181564"/>
                <a:gd name="connsiteX30" fmla="*/ 185537 w 309295"/>
                <a:gd name="connsiteY30" fmla="*/ 104860 h 181564"/>
                <a:gd name="connsiteX31" fmla="*/ 169295 w 309295"/>
                <a:gd name="connsiteY31" fmla="*/ 105357 h 181564"/>
                <a:gd name="connsiteX32" fmla="*/ 154946 w 309295"/>
                <a:gd name="connsiteY32" fmla="*/ 103666 h 181564"/>
                <a:gd name="connsiteX33" fmla="*/ 153950 w 309295"/>
                <a:gd name="connsiteY33" fmla="*/ 103964 h 181564"/>
                <a:gd name="connsiteX34" fmla="*/ 153053 w 309295"/>
                <a:gd name="connsiteY34" fmla="*/ 104561 h 181564"/>
                <a:gd name="connsiteX35" fmla="*/ 152655 w 309295"/>
                <a:gd name="connsiteY35" fmla="*/ 105258 h 181564"/>
                <a:gd name="connsiteX36" fmla="*/ 152455 w 309295"/>
                <a:gd name="connsiteY36" fmla="*/ 105855 h 181564"/>
                <a:gd name="connsiteX37" fmla="*/ 152157 w 309295"/>
                <a:gd name="connsiteY37" fmla="*/ 106253 h 181564"/>
                <a:gd name="connsiteX38" fmla="*/ 150662 w 309295"/>
                <a:gd name="connsiteY38" fmla="*/ 107148 h 181564"/>
                <a:gd name="connsiteX39" fmla="*/ 149466 w 309295"/>
                <a:gd name="connsiteY39" fmla="*/ 107546 h 181564"/>
                <a:gd name="connsiteX40" fmla="*/ 148570 w 309295"/>
                <a:gd name="connsiteY40" fmla="*/ 106750 h 181564"/>
                <a:gd name="connsiteX41" fmla="*/ 147872 w 309295"/>
                <a:gd name="connsiteY41" fmla="*/ 103964 h 181564"/>
                <a:gd name="connsiteX42" fmla="*/ 146975 w 309295"/>
                <a:gd name="connsiteY42" fmla="*/ 105059 h 181564"/>
                <a:gd name="connsiteX43" fmla="*/ 146178 w 309295"/>
                <a:gd name="connsiteY43" fmla="*/ 104561 h 181564"/>
                <a:gd name="connsiteX44" fmla="*/ 144086 w 309295"/>
                <a:gd name="connsiteY44" fmla="*/ 102372 h 181564"/>
                <a:gd name="connsiteX45" fmla="*/ 141295 w 309295"/>
                <a:gd name="connsiteY45" fmla="*/ 100482 h 181564"/>
                <a:gd name="connsiteX46" fmla="*/ 140897 w 309295"/>
                <a:gd name="connsiteY46" fmla="*/ 100482 h 181564"/>
                <a:gd name="connsiteX47" fmla="*/ 140100 w 309295"/>
                <a:gd name="connsiteY47" fmla="*/ 98095 h 181564"/>
                <a:gd name="connsiteX48" fmla="*/ 139901 w 309295"/>
                <a:gd name="connsiteY48" fmla="*/ 96005 h 181564"/>
                <a:gd name="connsiteX49" fmla="*/ 139302 w 309295"/>
                <a:gd name="connsiteY49" fmla="*/ 94314 h 181564"/>
                <a:gd name="connsiteX50" fmla="*/ 137509 w 309295"/>
                <a:gd name="connsiteY50" fmla="*/ 92722 h 181564"/>
                <a:gd name="connsiteX51" fmla="*/ 133822 w 309295"/>
                <a:gd name="connsiteY51" fmla="*/ 91429 h 181564"/>
                <a:gd name="connsiteX52" fmla="*/ 129039 w 309295"/>
                <a:gd name="connsiteY52" fmla="*/ 90534 h 181564"/>
                <a:gd name="connsiteX53" fmla="*/ 124256 w 309295"/>
                <a:gd name="connsiteY53" fmla="*/ 90534 h 181564"/>
                <a:gd name="connsiteX54" fmla="*/ 120868 w 309295"/>
                <a:gd name="connsiteY54" fmla="*/ 91528 h 181564"/>
                <a:gd name="connsiteX55" fmla="*/ 124057 w 309295"/>
                <a:gd name="connsiteY55" fmla="*/ 91528 h 181564"/>
                <a:gd name="connsiteX56" fmla="*/ 125253 w 309295"/>
                <a:gd name="connsiteY56" fmla="*/ 92921 h 181564"/>
                <a:gd name="connsiteX57" fmla="*/ 124755 w 309295"/>
                <a:gd name="connsiteY57" fmla="*/ 95210 h 181564"/>
                <a:gd name="connsiteX58" fmla="*/ 123160 w 309295"/>
                <a:gd name="connsiteY58" fmla="*/ 97796 h 181564"/>
                <a:gd name="connsiteX59" fmla="*/ 121765 w 309295"/>
                <a:gd name="connsiteY59" fmla="*/ 97796 h 181564"/>
                <a:gd name="connsiteX60" fmla="*/ 118477 w 309295"/>
                <a:gd name="connsiteY60" fmla="*/ 93717 h 181564"/>
                <a:gd name="connsiteX61" fmla="*/ 116584 w 309295"/>
                <a:gd name="connsiteY61" fmla="*/ 93817 h 181564"/>
                <a:gd name="connsiteX62" fmla="*/ 116086 w 309295"/>
                <a:gd name="connsiteY62" fmla="*/ 92623 h 181564"/>
                <a:gd name="connsiteX63" fmla="*/ 116384 w 309295"/>
                <a:gd name="connsiteY63" fmla="*/ 91528 h 181564"/>
                <a:gd name="connsiteX64" fmla="*/ 116683 w 309295"/>
                <a:gd name="connsiteY64" fmla="*/ 90434 h 181564"/>
                <a:gd name="connsiteX65" fmla="*/ 116584 w 309295"/>
                <a:gd name="connsiteY65" fmla="*/ 89340 h 181564"/>
                <a:gd name="connsiteX66" fmla="*/ 116683 w 309295"/>
                <a:gd name="connsiteY66" fmla="*/ 88842 h 181564"/>
                <a:gd name="connsiteX67" fmla="*/ 116982 w 309295"/>
                <a:gd name="connsiteY67" fmla="*/ 88146 h 181564"/>
                <a:gd name="connsiteX68" fmla="*/ 116882 w 309295"/>
                <a:gd name="connsiteY68" fmla="*/ 87449 h 181564"/>
                <a:gd name="connsiteX69" fmla="*/ 115687 w 309295"/>
                <a:gd name="connsiteY69" fmla="*/ 87151 h 181564"/>
                <a:gd name="connsiteX70" fmla="*/ 114591 w 309295"/>
                <a:gd name="connsiteY70" fmla="*/ 87251 h 181564"/>
                <a:gd name="connsiteX71" fmla="*/ 113993 w 309295"/>
                <a:gd name="connsiteY71" fmla="*/ 87052 h 181564"/>
                <a:gd name="connsiteX72" fmla="*/ 113594 w 309295"/>
                <a:gd name="connsiteY72" fmla="*/ 86654 h 181564"/>
                <a:gd name="connsiteX73" fmla="*/ 111601 w 309295"/>
                <a:gd name="connsiteY73" fmla="*/ 85261 h 181564"/>
                <a:gd name="connsiteX74" fmla="*/ 98648 w 309295"/>
                <a:gd name="connsiteY74" fmla="*/ 81580 h 181564"/>
                <a:gd name="connsiteX75" fmla="*/ 93865 w 309295"/>
                <a:gd name="connsiteY75" fmla="*/ 81480 h 181564"/>
                <a:gd name="connsiteX76" fmla="*/ 89480 w 309295"/>
                <a:gd name="connsiteY76" fmla="*/ 83072 h 181564"/>
                <a:gd name="connsiteX77" fmla="*/ 87089 w 309295"/>
                <a:gd name="connsiteY77" fmla="*/ 87151 h 181564"/>
                <a:gd name="connsiteX78" fmla="*/ 88086 w 309295"/>
                <a:gd name="connsiteY78" fmla="*/ 87350 h 181564"/>
                <a:gd name="connsiteX79" fmla="*/ 90577 w 309295"/>
                <a:gd name="connsiteY79" fmla="*/ 88345 h 181564"/>
                <a:gd name="connsiteX80" fmla="*/ 90577 w 309295"/>
                <a:gd name="connsiteY80" fmla="*/ 89340 h 181564"/>
                <a:gd name="connsiteX81" fmla="*/ 86591 w 309295"/>
                <a:gd name="connsiteY81" fmla="*/ 90832 h 181564"/>
                <a:gd name="connsiteX82" fmla="*/ 86790 w 309295"/>
                <a:gd name="connsiteY82" fmla="*/ 93120 h 181564"/>
                <a:gd name="connsiteX83" fmla="*/ 89182 w 309295"/>
                <a:gd name="connsiteY83" fmla="*/ 96204 h 181564"/>
                <a:gd name="connsiteX84" fmla="*/ 91274 w 309295"/>
                <a:gd name="connsiteY84" fmla="*/ 99487 h 181564"/>
                <a:gd name="connsiteX85" fmla="*/ 89779 w 309295"/>
                <a:gd name="connsiteY85" fmla="*/ 101577 h 181564"/>
                <a:gd name="connsiteX86" fmla="*/ 87089 w 309295"/>
                <a:gd name="connsiteY86" fmla="*/ 101776 h 181564"/>
                <a:gd name="connsiteX87" fmla="*/ 76527 w 309295"/>
                <a:gd name="connsiteY87" fmla="*/ 99686 h 181564"/>
                <a:gd name="connsiteX88" fmla="*/ 75331 w 309295"/>
                <a:gd name="connsiteY88" fmla="*/ 98891 h 181564"/>
                <a:gd name="connsiteX89" fmla="*/ 74534 w 309295"/>
                <a:gd name="connsiteY89" fmla="*/ 97796 h 181564"/>
                <a:gd name="connsiteX90" fmla="*/ 73936 w 309295"/>
                <a:gd name="connsiteY90" fmla="*/ 96503 h 181564"/>
                <a:gd name="connsiteX91" fmla="*/ 74035 w 309295"/>
                <a:gd name="connsiteY91" fmla="*/ 95508 h 181564"/>
                <a:gd name="connsiteX92" fmla="*/ 75331 w 309295"/>
                <a:gd name="connsiteY92" fmla="*/ 95011 h 181564"/>
                <a:gd name="connsiteX93" fmla="*/ 76527 w 309295"/>
                <a:gd name="connsiteY93" fmla="*/ 94215 h 181564"/>
                <a:gd name="connsiteX94" fmla="*/ 76527 w 309295"/>
                <a:gd name="connsiteY94" fmla="*/ 92424 h 181564"/>
                <a:gd name="connsiteX95" fmla="*/ 75829 w 309295"/>
                <a:gd name="connsiteY95" fmla="*/ 90534 h 181564"/>
                <a:gd name="connsiteX96" fmla="*/ 74933 w 309295"/>
                <a:gd name="connsiteY96" fmla="*/ 89340 h 181564"/>
                <a:gd name="connsiteX97" fmla="*/ 73737 w 309295"/>
                <a:gd name="connsiteY97" fmla="*/ 89340 h 181564"/>
                <a:gd name="connsiteX98" fmla="*/ 72541 w 309295"/>
                <a:gd name="connsiteY98" fmla="*/ 89937 h 181564"/>
                <a:gd name="connsiteX99" fmla="*/ 70548 w 309295"/>
                <a:gd name="connsiteY99" fmla="*/ 91528 h 181564"/>
                <a:gd name="connsiteX100" fmla="*/ 65267 w 309295"/>
                <a:gd name="connsiteY100" fmla="*/ 92722 h 181564"/>
                <a:gd name="connsiteX101" fmla="*/ 62975 w 309295"/>
                <a:gd name="connsiteY101" fmla="*/ 93717 h 181564"/>
                <a:gd name="connsiteX102" fmla="*/ 60982 w 309295"/>
                <a:gd name="connsiteY102" fmla="*/ 96005 h 181564"/>
                <a:gd name="connsiteX103" fmla="*/ 60185 w 309295"/>
                <a:gd name="connsiteY103" fmla="*/ 92523 h 181564"/>
                <a:gd name="connsiteX104" fmla="*/ 62776 w 309295"/>
                <a:gd name="connsiteY104" fmla="*/ 90732 h 181564"/>
                <a:gd name="connsiteX105" fmla="*/ 66164 w 309295"/>
                <a:gd name="connsiteY105" fmla="*/ 89837 h 181564"/>
                <a:gd name="connsiteX106" fmla="*/ 67957 w 309295"/>
                <a:gd name="connsiteY106" fmla="*/ 88842 h 181564"/>
                <a:gd name="connsiteX107" fmla="*/ 71644 w 309295"/>
                <a:gd name="connsiteY107" fmla="*/ 80585 h 181564"/>
                <a:gd name="connsiteX108" fmla="*/ 72441 w 309295"/>
                <a:gd name="connsiteY108" fmla="*/ 79789 h 181564"/>
                <a:gd name="connsiteX109" fmla="*/ 73936 w 309295"/>
                <a:gd name="connsiteY109" fmla="*/ 79391 h 181564"/>
                <a:gd name="connsiteX110" fmla="*/ 73936 w 309295"/>
                <a:gd name="connsiteY110" fmla="*/ 78297 h 181564"/>
                <a:gd name="connsiteX111" fmla="*/ 73239 w 309295"/>
                <a:gd name="connsiteY111" fmla="*/ 77799 h 181564"/>
                <a:gd name="connsiteX112" fmla="*/ 72840 w 309295"/>
                <a:gd name="connsiteY112" fmla="*/ 77302 h 181564"/>
                <a:gd name="connsiteX113" fmla="*/ 72641 w 309295"/>
                <a:gd name="connsiteY113" fmla="*/ 76705 h 181564"/>
                <a:gd name="connsiteX114" fmla="*/ 72242 w 309295"/>
                <a:gd name="connsiteY114" fmla="*/ 76008 h 181564"/>
                <a:gd name="connsiteX115" fmla="*/ 73637 w 309295"/>
                <a:gd name="connsiteY115" fmla="*/ 75113 h 181564"/>
                <a:gd name="connsiteX116" fmla="*/ 73936 w 309295"/>
                <a:gd name="connsiteY116" fmla="*/ 74218 h 181564"/>
                <a:gd name="connsiteX117" fmla="*/ 73537 w 309295"/>
                <a:gd name="connsiteY117" fmla="*/ 73223 h 181564"/>
                <a:gd name="connsiteX118" fmla="*/ 72740 w 309295"/>
                <a:gd name="connsiteY118" fmla="*/ 72128 h 181564"/>
                <a:gd name="connsiteX119" fmla="*/ 71246 w 309295"/>
                <a:gd name="connsiteY119" fmla="*/ 70835 h 181564"/>
                <a:gd name="connsiteX120" fmla="*/ 70448 w 309295"/>
                <a:gd name="connsiteY120" fmla="*/ 71432 h 181564"/>
                <a:gd name="connsiteX121" fmla="*/ 70249 w 309295"/>
                <a:gd name="connsiteY121" fmla="*/ 72427 h 181564"/>
                <a:gd name="connsiteX122" fmla="*/ 70548 w 309295"/>
                <a:gd name="connsiteY122" fmla="*/ 72725 h 181564"/>
                <a:gd name="connsiteX123" fmla="*/ 69851 w 309295"/>
                <a:gd name="connsiteY123" fmla="*/ 73820 h 181564"/>
                <a:gd name="connsiteX124" fmla="*/ 69751 w 309295"/>
                <a:gd name="connsiteY124" fmla="*/ 74914 h 181564"/>
                <a:gd name="connsiteX125" fmla="*/ 69153 w 309295"/>
                <a:gd name="connsiteY125" fmla="*/ 75710 h 181564"/>
                <a:gd name="connsiteX126" fmla="*/ 67459 w 309295"/>
                <a:gd name="connsiteY126" fmla="*/ 76008 h 181564"/>
                <a:gd name="connsiteX127" fmla="*/ 65865 w 309295"/>
                <a:gd name="connsiteY127" fmla="*/ 75710 h 181564"/>
                <a:gd name="connsiteX128" fmla="*/ 64669 w 309295"/>
                <a:gd name="connsiteY128" fmla="*/ 74914 h 181564"/>
                <a:gd name="connsiteX129" fmla="*/ 63971 w 309295"/>
                <a:gd name="connsiteY129" fmla="*/ 73521 h 181564"/>
                <a:gd name="connsiteX130" fmla="*/ 63573 w 309295"/>
                <a:gd name="connsiteY130" fmla="*/ 71531 h 181564"/>
                <a:gd name="connsiteX131" fmla="*/ 64968 w 309295"/>
                <a:gd name="connsiteY131" fmla="*/ 73024 h 181564"/>
                <a:gd name="connsiteX132" fmla="*/ 66264 w 309295"/>
                <a:gd name="connsiteY132" fmla="*/ 73820 h 181564"/>
                <a:gd name="connsiteX133" fmla="*/ 67359 w 309295"/>
                <a:gd name="connsiteY133" fmla="*/ 73322 h 181564"/>
                <a:gd name="connsiteX134" fmla="*/ 67957 w 309295"/>
                <a:gd name="connsiteY134" fmla="*/ 71531 h 181564"/>
                <a:gd name="connsiteX135" fmla="*/ 67858 w 309295"/>
                <a:gd name="connsiteY135" fmla="*/ 69243 h 181564"/>
                <a:gd name="connsiteX136" fmla="*/ 67260 w 309295"/>
                <a:gd name="connsiteY136" fmla="*/ 67950 h 181564"/>
                <a:gd name="connsiteX137" fmla="*/ 65267 w 309295"/>
                <a:gd name="connsiteY137" fmla="*/ 66060 h 181564"/>
                <a:gd name="connsiteX138" fmla="*/ 63075 w 309295"/>
                <a:gd name="connsiteY138" fmla="*/ 63175 h 181564"/>
                <a:gd name="connsiteX139" fmla="*/ 60584 w 309295"/>
                <a:gd name="connsiteY139" fmla="*/ 60687 h 181564"/>
                <a:gd name="connsiteX140" fmla="*/ 57893 w 309295"/>
                <a:gd name="connsiteY140" fmla="*/ 58698 h 181564"/>
                <a:gd name="connsiteX141" fmla="*/ 54904 w 309295"/>
                <a:gd name="connsiteY141" fmla="*/ 57106 h 181564"/>
                <a:gd name="connsiteX142" fmla="*/ 56100 w 309295"/>
                <a:gd name="connsiteY142" fmla="*/ 53723 h 181564"/>
                <a:gd name="connsiteX143" fmla="*/ 56698 w 309295"/>
                <a:gd name="connsiteY143" fmla="*/ 52629 h 181564"/>
                <a:gd name="connsiteX144" fmla="*/ 54705 w 309295"/>
                <a:gd name="connsiteY144" fmla="*/ 51137 h 181564"/>
                <a:gd name="connsiteX145" fmla="*/ 52911 w 309295"/>
                <a:gd name="connsiteY145" fmla="*/ 51336 h 181564"/>
                <a:gd name="connsiteX146" fmla="*/ 51018 w 309295"/>
                <a:gd name="connsiteY146" fmla="*/ 52131 h 181564"/>
                <a:gd name="connsiteX147" fmla="*/ 48427 w 309295"/>
                <a:gd name="connsiteY147" fmla="*/ 52629 h 181564"/>
                <a:gd name="connsiteX148" fmla="*/ 45737 w 309295"/>
                <a:gd name="connsiteY148" fmla="*/ 52032 h 181564"/>
                <a:gd name="connsiteX149" fmla="*/ 43744 w 309295"/>
                <a:gd name="connsiteY149" fmla="*/ 50540 h 181564"/>
                <a:gd name="connsiteX150" fmla="*/ 41053 w 309295"/>
                <a:gd name="connsiteY150" fmla="*/ 46958 h 181564"/>
                <a:gd name="connsiteX151" fmla="*/ 41950 w 309295"/>
                <a:gd name="connsiteY151" fmla="*/ 45864 h 181564"/>
                <a:gd name="connsiteX152" fmla="*/ 42548 w 309295"/>
                <a:gd name="connsiteY152" fmla="*/ 44670 h 181564"/>
                <a:gd name="connsiteX153" fmla="*/ 42847 w 309295"/>
                <a:gd name="connsiteY153" fmla="*/ 43277 h 181564"/>
                <a:gd name="connsiteX154" fmla="*/ 42847 w 309295"/>
                <a:gd name="connsiteY154" fmla="*/ 41486 h 181564"/>
                <a:gd name="connsiteX155" fmla="*/ 43346 w 309295"/>
                <a:gd name="connsiteY155" fmla="*/ 41785 h 181564"/>
                <a:gd name="connsiteX156" fmla="*/ 44740 w 309295"/>
                <a:gd name="connsiteY156" fmla="*/ 42282 h 181564"/>
                <a:gd name="connsiteX157" fmla="*/ 45239 w 309295"/>
                <a:gd name="connsiteY157" fmla="*/ 42581 h 181564"/>
                <a:gd name="connsiteX158" fmla="*/ 45837 w 309295"/>
                <a:gd name="connsiteY158" fmla="*/ 40491 h 181564"/>
                <a:gd name="connsiteX159" fmla="*/ 46633 w 309295"/>
                <a:gd name="connsiteY159" fmla="*/ 39994 h 181564"/>
                <a:gd name="connsiteX160" fmla="*/ 47431 w 309295"/>
                <a:gd name="connsiteY160" fmla="*/ 40292 h 181564"/>
                <a:gd name="connsiteX161" fmla="*/ 48029 w 309295"/>
                <a:gd name="connsiteY161" fmla="*/ 40193 h 181564"/>
                <a:gd name="connsiteX162" fmla="*/ 48427 w 309295"/>
                <a:gd name="connsiteY162" fmla="*/ 39298 h 181564"/>
                <a:gd name="connsiteX163" fmla="*/ 49224 w 309295"/>
                <a:gd name="connsiteY163" fmla="*/ 36810 h 181564"/>
                <a:gd name="connsiteX164" fmla="*/ 49722 w 309295"/>
                <a:gd name="connsiteY164" fmla="*/ 35816 h 181564"/>
                <a:gd name="connsiteX165" fmla="*/ 56000 w 309295"/>
                <a:gd name="connsiteY165" fmla="*/ 28354 h 181564"/>
                <a:gd name="connsiteX166" fmla="*/ 56199 w 309295"/>
                <a:gd name="connsiteY166" fmla="*/ 26364 h 181564"/>
                <a:gd name="connsiteX167" fmla="*/ 54107 w 309295"/>
                <a:gd name="connsiteY167" fmla="*/ 21887 h 181564"/>
                <a:gd name="connsiteX168" fmla="*/ 53110 w 309295"/>
                <a:gd name="connsiteY168" fmla="*/ 15719 h 181564"/>
                <a:gd name="connsiteX169" fmla="*/ 53409 w 309295"/>
                <a:gd name="connsiteY169" fmla="*/ 9352 h 181564"/>
                <a:gd name="connsiteX170" fmla="*/ 54904 w 309295"/>
                <a:gd name="connsiteY170" fmla="*/ 4477 h 181564"/>
                <a:gd name="connsiteX171" fmla="*/ 54705 w 309295"/>
                <a:gd name="connsiteY171" fmla="*/ 3283 h 181564"/>
                <a:gd name="connsiteX172" fmla="*/ 54306 w 309295"/>
                <a:gd name="connsiteY172" fmla="*/ 2089 h 181564"/>
                <a:gd name="connsiteX173" fmla="*/ 53210 w 309295"/>
                <a:gd name="connsiteY173" fmla="*/ 0 h 181564"/>
                <a:gd name="connsiteX174" fmla="*/ 46135 w 309295"/>
                <a:gd name="connsiteY174" fmla="*/ 7462 h 181564"/>
                <a:gd name="connsiteX175" fmla="*/ 32185 w 309295"/>
                <a:gd name="connsiteY175" fmla="*/ 18206 h 181564"/>
                <a:gd name="connsiteX176" fmla="*/ 23516 w 309295"/>
                <a:gd name="connsiteY176" fmla="*/ 26762 h 181564"/>
                <a:gd name="connsiteX177" fmla="*/ 21523 w 309295"/>
                <a:gd name="connsiteY177" fmla="*/ 29548 h 181564"/>
                <a:gd name="connsiteX178" fmla="*/ 19929 w 309295"/>
                <a:gd name="connsiteY178" fmla="*/ 32831 h 181564"/>
                <a:gd name="connsiteX179" fmla="*/ 19331 w 309295"/>
                <a:gd name="connsiteY179" fmla="*/ 36412 h 181564"/>
                <a:gd name="connsiteX180" fmla="*/ 18335 w 309295"/>
                <a:gd name="connsiteY180" fmla="*/ 39596 h 181564"/>
                <a:gd name="connsiteX181" fmla="*/ 15943 w 309295"/>
                <a:gd name="connsiteY181" fmla="*/ 42083 h 181564"/>
                <a:gd name="connsiteX182" fmla="*/ 10562 w 309295"/>
                <a:gd name="connsiteY182" fmla="*/ 45864 h 181564"/>
                <a:gd name="connsiteX183" fmla="*/ 5979 w 309295"/>
                <a:gd name="connsiteY183" fmla="*/ 50341 h 181564"/>
                <a:gd name="connsiteX184" fmla="*/ 1993 w 309295"/>
                <a:gd name="connsiteY184" fmla="*/ 56210 h 181564"/>
                <a:gd name="connsiteX185" fmla="*/ 0 w 309295"/>
                <a:gd name="connsiteY185" fmla="*/ 62777 h 181564"/>
                <a:gd name="connsiteX186" fmla="*/ 1794 w 309295"/>
                <a:gd name="connsiteY186" fmla="*/ 69442 h 181564"/>
                <a:gd name="connsiteX187" fmla="*/ 4285 w 309295"/>
                <a:gd name="connsiteY187" fmla="*/ 71731 h 181564"/>
                <a:gd name="connsiteX188" fmla="*/ 6676 w 309295"/>
                <a:gd name="connsiteY188" fmla="*/ 71929 h 181564"/>
                <a:gd name="connsiteX189" fmla="*/ 11957 w 309295"/>
                <a:gd name="connsiteY189" fmla="*/ 70537 h 181564"/>
                <a:gd name="connsiteX190" fmla="*/ 23616 w 309295"/>
                <a:gd name="connsiteY190" fmla="*/ 70537 h 181564"/>
                <a:gd name="connsiteX191" fmla="*/ 25210 w 309295"/>
                <a:gd name="connsiteY191" fmla="*/ 71133 h 181564"/>
                <a:gd name="connsiteX192" fmla="*/ 27900 w 309295"/>
                <a:gd name="connsiteY192" fmla="*/ 73322 h 181564"/>
                <a:gd name="connsiteX193" fmla="*/ 28797 w 309295"/>
                <a:gd name="connsiteY193" fmla="*/ 73820 h 181564"/>
                <a:gd name="connsiteX194" fmla="*/ 30192 w 309295"/>
                <a:gd name="connsiteY194" fmla="*/ 74019 h 181564"/>
                <a:gd name="connsiteX195" fmla="*/ 31886 w 309295"/>
                <a:gd name="connsiteY195" fmla="*/ 74715 h 181564"/>
                <a:gd name="connsiteX196" fmla="*/ 33381 w 309295"/>
                <a:gd name="connsiteY196" fmla="*/ 75611 h 181564"/>
                <a:gd name="connsiteX197" fmla="*/ 34477 w 309295"/>
                <a:gd name="connsiteY197" fmla="*/ 76605 h 181564"/>
                <a:gd name="connsiteX198" fmla="*/ 36271 w 309295"/>
                <a:gd name="connsiteY198" fmla="*/ 76406 h 181564"/>
                <a:gd name="connsiteX199" fmla="*/ 43644 w 309295"/>
                <a:gd name="connsiteY199" fmla="*/ 69442 h 181564"/>
                <a:gd name="connsiteX200" fmla="*/ 43046 w 309295"/>
                <a:gd name="connsiteY200" fmla="*/ 71631 h 181564"/>
                <a:gd name="connsiteX201" fmla="*/ 42847 w 309295"/>
                <a:gd name="connsiteY201" fmla="*/ 73223 h 181564"/>
                <a:gd name="connsiteX202" fmla="*/ 42847 w 309295"/>
                <a:gd name="connsiteY202" fmla="*/ 76605 h 181564"/>
                <a:gd name="connsiteX203" fmla="*/ 43544 w 309295"/>
                <a:gd name="connsiteY203" fmla="*/ 77998 h 181564"/>
                <a:gd name="connsiteX204" fmla="*/ 44740 w 309295"/>
                <a:gd name="connsiteY204" fmla="*/ 79689 h 181564"/>
                <a:gd name="connsiteX205" fmla="*/ 45039 w 309295"/>
                <a:gd name="connsiteY205" fmla="*/ 81082 h 181564"/>
                <a:gd name="connsiteX206" fmla="*/ 42847 w 309295"/>
                <a:gd name="connsiteY206" fmla="*/ 81679 h 181564"/>
                <a:gd name="connsiteX207" fmla="*/ 43046 w 309295"/>
                <a:gd name="connsiteY207" fmla="*/ 82276 h 181564"/>
                <a:gd name="connsiteX208" fmla="*/ 43644 w 309295"/>
                <a:gd name="connsiteY208" fmla="*/ 83868 h 181564"/>
                <a:gd name="connsiteX209" fmla="*/ 39160 w 309295"/>
                <a:gd name="connsiteY209" fmla="*/ 85360 h 181564"/>
                <a:gd name="connsiteX210" fmla="*/ 38363 w 309295"/>
                <a:gd name="connsiteY210" fmla="*/ 90434 h 181564"/>
                <a:gd name="connsiteX211" fmla="*/ 38762 w 309295"/>
                <a:gd name="connsiteY211" fmla="*/ 96801 h 181564"/>
                <a:gd name="connsiteX212" fmla="*/ 38363 w 309295"/>
                <a:gd name="connsiteY212" fmla="*/ 101676 h 181564"/>
                <a:gd name="connsiteX213" fmla="*/ 37068 w 309295"/>
                <a:gd name="connsiteY213" fmla="*/ 100681 h 181564"/>
                <a:gd name="connsiteX214" fmla="*/ 35971 w 309295"/>
                <a:gd name="connsiteY214" fmla="*/ 101875 h 181564"/>
                <a:gd name="connsiteX215" fmla="*/ 35473 w 309295"/>
                <a:gd name="connsiteY215" fmla="*/ 104064 h 181564"/>
                <a:gd name="connsiteX216" fmla="*/ 35772 w 309295"/>
                <a:gd name="connsiteY216" fmla="*/ 106253 h 181564"/>
                <a:gd name="connsiteX217" fmla="*/ 37068 w 309295"/>
                <a:gd name="connsiteY217" fmla="*/ 107247 h 181564"/>
                <a:gd name="connsiteX218" fmla="*/ 38861 w 309295"/>
                <a:gd name="connsiteY218" fmla="*/ 107446 h 181564"/>
                <a:gd name="connsiteX219" fmla="*/ 42349 w 309295"/>
                <a:gd name="connsiteY219" fmla="*/ 107247 h 181564"/>
                <a:gd name="connsiteX220" fmla="*/ 54506 w 309295"/>
                <a:gd name="connsiteY220" fmla="*/ 108839 h 181564"/>
                <a:gd name="connsiteX221" fmla="*/ 58391 w 309295"/>
                <a:gd name="connsiteY221" fmla="*/ 107247 h 181564"/>
                <a:gd name="connsiteX222" fmla="*/ 61182 w 309295"/>
                <a:gd name="connsiteY222" fmla="*/ 105059 h 181564"/>
                <a:gd name="connsiteX223" fmla="*/ 62178 w 309295"/>
                <a:gd name="connsiteY223" fmla="*/ 105258 h 181564"/>
                <a:gd name="connsiteX224" fmla="*/ 64470 w 309295"/>
                <a:gd name="connsiteY224" fmla="*/ 106253 h 181564"/>
                <a:gd name="connsiteX225" fmla="*/ 64968 w 309295"/>
                <a:gd name="connsiteY225" fmla="*/ 106651 h 181564"/>
                <a:gd name="connsiteX226" fmla="*/ 66164 w 309295"/>
                <a:gd name="connsiteY226" fmla="*/ 107745 h 181564"/>
                <a:gd name="connsiteX227" fmla="*/ 66961 w 309295"/>
                <a:gd name="connsiteY227" fmla="*/ 108342 h 181564"/>
                <a:gd name="connsiteX228" fmla="*/ 67160 w 309295"/>
                <a:gd name="connsiteY228" fmla="*/ 107944 h 181564"/>
                <a:gd name="connsiteX229" fmla="*/ 68057 w 309295"/>
                <a:gd name="connsiteY229" fmla="*/ 107446 h 181564"/>
                <a:gd name="connsiteX230" fmla="*/ 69153 w 309295"/>
                <a:gd name="connsiteY230" fmla="*/ 107247 h 181564"/>
                <a:gd name="connsiteX231" fmla="*/ 73139 w 309295"/>
                <a:gd name="connsiteY231" fmla="*/ 109237 h 181564"/>
                <a:gd name="connsiteX232" fmla="*/ 82406 w 309295"/>
                <a:gd name="connsiteY232" fmla="*/ 108839 h 181564"/>
                <a:gd name="connsiteX233" fmla="*/ 86192 w 309295"/>
                <a:gd name="connsiteY233" fmla="*/ 109337 h 181564"/>
                <a:gd name="connsiteX234" fmla="*/ 86192 w 309295"/>
                <a:gd name="connsiteY234" fmla="*/ 110531 h 181564"/>
                <a:gd name="connsiteX235" fmla="*/ 85096 w 309295"/>
                <a:gd name="connsiteY235" fmla="*/ 110531 h 181564"/>
                <a:gd name="connsiteX236" fmla="*/ 84299 w 309295"/>
                <a:gd name="connsiteY236" fmla="*/ 110829 h 181564"/>
                <a:gd name="connsiteX237" fmla="*/ 82605 w 309295"/>
                <a:gd name="connsiteY237" fmla="*/ 111724 h 181564"/>
                <a:gd name="connsiteX238" fmla="*/ 88882 w 309295"/>
                <a:gd name="connsiteY238" fmla="*/ 116201 h 181564"/>
                <a:gd name="connsiteX239" fmla="*/ 85893 w 309295"/>
                <a:gd name="connsiteY239" fmla="*/ 115803 h 181564"/>
                <a:gd name="connsiteX240" fmla="*/ 77424 w 309295"/>
                <a:gd name="connsiteY240" fmla="*/ 112918 h 181564"/>
                <a:gd name="connsiteX241" fmla="*/ 80114 w 309295"/>
                <a:gd name="connsiteY241" fmla="*/ 118390 h 181564"/>
                <a:gd name="connsiteX242" fmla="*/ 78021 w 309295"/>
                <a:gd name="connsiteY242" fmla="*/ 117097 h 181564"/>
                <a:gd name="connsiteX243" fmla="*/ 77424 w 309295"/>
                <a:gd name="connsiteY243" fmla="*/ 117992 h 181564"/>
                <a:gd name="connsiteX244" fmla="*/ 78221 w 309295"/>
                <a:gd name="connsiteY244" fmla="*/ 119882 h 181564"/>
                <a:gd name="connsiteX245" fmla="*/ 80114 w 309295"/>
                <a:gd name="connsiteY245" fmla="*/ 121773 h 181564"/>
                <a:gd name="connsiteX246" fmla="*/ 86093 w 309295"/>
                <a:gd name="connsiteY246" fmla="*/ 124658 h 181564"/>
                <a:gd name="connsiteX247" fmla="*/ 89182 w 309295"/>
                <a:gd name="connsiteY247" fmla="*/ 126647 h 181564"/>
                <a:gd name="connsiteX248" fmla="*/ 90577 w 309295"/>
                <a:gd name="connsiteY248" fmla="*/ 128936 h 181564"/>
                <a:gd name="connsiteX249" fmla="*/ 91573 w 309295"/>
                <a:gd name="connsiteY249" fmla="*/ 132119 h 181564"/>
                <a:gd name="connsiteX250" fmla="*/ 93964 w 309295"/>
                <a:gd name="connsiteY250" fmla="*/ 134308 h 181564"/>
                <a:gd name="connsiteX251" fmla="*/ 100043 w 309295"/>
                <a:gd name="connsiteY251" fmla="*/ 137392 h 181564"/>
                <a:gd name="connsiteX252" fmla="*/ 103231 w 309295"/>
                <a:gd name="connsiteY252" fmla="*/ 138486 h 181564"/>
                <a:gd name="connsiteX253" fmla="*/ 105124 w 309295"/>
                <a:gd name="connsiteY253" fmla="*/ 138586 h 181564"/>
                <a:gd name="connsiteX254" fmla="*/ 106619 w 309295"/>
                <a:gd name="connsiteY254" fmla="*/ 137890 h 181564"/>
                <a:gd name="connsiteX255" fmla="*/ 107715 w 309295"/>
                <a:gd name="connsiteY255" fmla="*/ 137492 h 181564"/>
                <a:gd name="connsiteX256" fmla="*/ 109110 w 309295"/>
                <a:gd name="connsiteY256" fmla="*/ 138089 h 181564"/>
                <a:gd name="connsiteX257" fmla="*/ 110406 w 309295"/>
                <a:gd name="connsiteY257" fmla="*/ 138984 h 181564"/>
                <a:gd name="connsiteX258" fmla="*/ 111801 w 309295"/>
                <a:gd name="connsiteY258" fmla="*/ 139481 h 181564"/>
                <a:gd name="connsiteX259" fmla="*/ 113594 w 309295"/>
                <a:gd name="connsiteY259" fmla="*/ 139083 h 181564"/>
                <a:gd name="connsiteX260" fmla="*/ 116284 w 309295"/>
                <a:gd name="connsiteY260" fmla="*/ 137591 h 181564"/>
                <a:gd name="connsiteX261" fmla="*/ 117381 w 309295"/>
                <a:gd name="connsiteY261" fmla="*/ 137392 h 181564"/>
                <a:gd name="connsiteX262" fmla="*/ 118676 w 309295"/>
                <a:gd name="connsiteY262" fmla="*/ 137989 h 181564"/>
                <a:gd name="connsiteX263" fmla="*/ 120570 w 309295"/>
                <a:gd name="connsiteY263" fmla="*/ 140476 h 181564"/>
                <a:gd name="connsiteX264" fmla="*/ 121865 w 309295"/>
                <a:gd name="connsiteY264" fmla="*/ 141670 h 181564"/>
                <a:gd name="connsiteX265" fmla="*/ 122562 w 309295"/>
                <a:gd name="connsiteY265" fmla="*/ 141869 h 181564"/>
                <a:gd name="connsiteX266" fmla="*/ 125253 w 309295"/>
                <a:gd name="connsiteY266" fmla="*/ 141670 h 181564"/>
                <a:gd name="connsiteX267" fmla="*/ 126050 w 309295"/>
                <a:gd name="connsiteY267" fmla="*/ 142068 h 181564"/>
                <a:gd name="connsiteX268" fmla="*/ 126548 w 309295"/>
                <a:gd name="connsiteY268" fmla="*/ 143560 h 181564"/>
                <a:gd name="connsiteX269" fmla="*/ 127345 w 309295"/>
                <a:gd name="connsiteY269" fmla="*/ 143859 h 181564"/>
                <a:gd name="connsiteX270" fmla="*/ 128939 w 309295"/>
                <a:gd name="connsiteY270" fmla="*/ 144257 h 181564"/>
                <a:gd name="connsiteX271" fmla="*/ 132328 w 309295"/>
                <a:gd name="connsiteY271" fmla="*/ 145749 h 181564"/>
                <a:gd name="connsiteX272" fmla="*/ 137110 w 309295"/>
                <a:gd name="connsiteY272" fmla="*/ 146843 h 181564"/>
                <a:gd name="connsiteX273" fmla="*/ 143587 w 309295"/>
                <a:gd name="connsiteY273" fmla="*/ 149828 h 181564"/>
                <a:gd name="connsiteX274" fmla="*/ 146975 w 309295"/>
                <a:gd name="connsiteY274" fmla="*/ 150624 h 181564"/>
                <a:gd name="connsiteX275" fmla="*/ 149964 w 309295"/>
                <a:gd name="connsiteY275" fmla="*/ 150126 h 181564"/>
                <a:gd name="connsiteX276" fmla="*/ 153253 w 309295"/>
                <a:gd name="connsiteY276" fmla="*/ 146843 h 181564"/>
                <a:gd name="connsiteX277" fmla="*/ 157139 w 309295"/>
                <a:gd name="connsiteY277" fmla="*/ 145749 h 181564"/>
                <a:gd name="connsiteX278" fmla="*/ 160925 w 309295"/>
                <a:gd name="connsiteY278" fmla="*/ 143859 h 181564"/>
                <a:gd name="connsiteX279" fmla="*/ 161623 w 309295"/>
                <a:gd name="connsiteY279" fmla="*/ 141471 h 181564"/>
                <a:gd name="connsiteX280" fmla="*/ 160925 w 309295"/>
                <a:gd name="connsiteY280" fmla="*/ 140178 h 181564"/>
                <a:gd name="connsiteX281" fmla="*/ 157338 w 309295"/>
                <a:gd name="connsiteY281" fmla="*/ 138387 h 181564"/>
                <a:gd name="connsiteX282" fmla="*/ 155644 w 309295"/>
                <a:gd name="connsiteY282" fmla="*/ 141969 h 181564"/>
                <a:gd name="connsiteX283" fmla="*/ 152356 w 309295"/>
                <a:gd name="connsiteY283" fmla="*/ 142665 h 181564"/>
                <a:gd name="connsiteX284" fmla="*/ 145281 w 309295"/>
                <a:gd name="connsiteY284" fmla="*/ 141670 h 181564"/>
                <a:gd name="connsiteX285" fmla="*/ 145281 w 309295"/>
                <a:gd name="connsiteY285" fmla="*/ 140476 h 181564"/>
                <a:gd name="connsiteX286" fmla="*/ 149964 w 309295"/>
                <a:gd name="connsiteY286" fmla="*/ 140476 h 181564"/>
                <a:gd name="connsiteX287" fmla="*/ 151160 w 309295"/>
                <a:gd name="connsiteY287" fmla="*/ 139979 h 181564"/>
                <a:gd name="connsiteX288" fmla="*/ 153253 w 309295"/>
                <a:gd name="connsiteY288" fmla="*/ 137890 h 181564"/>
                <a:gd name="connsiteX289" fmla="*/ 154349 w 309295"/>
                <a:gd name="connsiteY289" fmla="*/ 137392 h 181564"/>
                <a:gd name="connsiteX290" fmla="*/ 157438 w 309295"/>
                <a:gd name="connsiteY290" fmla="*/ 136696 h 181564"/>
                <a:gd name="connsiteX291" fmla="*/ 157537 w 309295"/>
                <a:gd name="connsiteY291" fmla="*/ 135104 h 181564"/>
                <a:gd name="connsiteX292" fmla="*/ 154748 w 309295"/>
                <a:gd name="connsiteY292" fmla="*/ 129533 h 181564"/>
                <a:gd name="connsiteX293" fmla="*/ 159132 w 309295"/>
                <a:gd name="connsiteY293" fmla="*/ 131622 h 181564"/>
                <a:gd name="connsiteX294" fmla="*/ 161822 w 309295"/>
                <a:gd name="connsiteY294" fmla="*/ 134606 h 181564"/>
                <a:gd name="connsiteX295" fmla="*/ 162519 w 309295"/>
                <a:gd name="connsiteY295" fmla="*/ 135104 h 181564"/>
                <a:gd name="connsiteX296" fmla="*/ 164313 w 309295"/>
                <a:gd name="connsiteY296" fmla="*/ 134109 h 181564"/>
                <a:gd name="connsiteX297" fmla="*/ 167303 w 309295"/>
                <a:gd name="connsiteY297" fmla="*/ 129433 h 181564"/>
                <a:gd name="connsiteX298" fmla="*/ 169195 w 309295"/>
                <a:gd name="connsiteY298" fmla="*/ 128438 h 181564"/>
                <a:gd name="connsiteX299" fmla="*/ 170790 w 309295"/>
                <a:gd name="connsiteY299" fmla="*/ 127742 h 181564"/>
                <a:gd name="connsiteX300" fmla="*/ 174079 w 309295"/>
                <a:gd name="connsiteY300" fmla="*/ 124757 h 181564"/>
                <a:gd name="connsiteX301" fmla="*/ 178164 w 309295"/>
                <a:gd name="connsiteY301" fmla="*/ 123663 h 181564"/>
                <a:gd name="connsiteX302" fmla="*/ 181950 w 309295"/>
                <a:gd name="connsiteY302" fmla="*/ 121872 h 181564"/>
                <a:gd name="connsiteX303" fmla="*/ 184342 w 309295"/>
                <a:gd name="connsiteY303" fmla="*/ 121773 h 181564"/>
                <a:gd name="connsiteX304" fmla="*/ 182050 w 309295"/>
                <a:gd name="connsiteY304" fmla="*/ 124160 h 181564"/>
                <a:gd name="connsiteX305" fmla="*/ 174776 w 309295"/>
                <a:gd name="connsiteY305" fmla="*/ 127244 h 181564"/>
                <a:gd name="connsiteX306" fmla="*/ 174079 w 309295"/>
                <a:gd name="connsiteY306" fmla="*/ 127941 h 181564"/>
                <a:gd name="connsiteX307" fmla="*/ 174079 w 309295"/>
                <a:gd name="connsiteY307" fmla="*/ 128836 h 181564"/>
                <a:gd name="connsiteX308" fmla="*/ 174079 w 309295"/>
                <a:gd name="connsiteY308" fmla="*/ 129831 h 181564"/>
                <a:gd name="connsiteX309" fmla="*/ 173879 w 309295"/>
                <a:gd name="connsiteY309" fmla="*/ 130527 h 181564"/>
                <a:gd name="connsiteX310" fmla="*/ 173381 w 309295"/>
                <a:gd name="connsiteY310" fmla="*/ 130726 h 181564"/>
                <a:gd name="connsiteX311" fmla="*/ 171886 w 309295"/>
                <a:gd name="connsiteY311" fmla="*/ 130428 h 181564"/>
                <a:gd name="connsiteX312" fmla="*/ 171288 w 309295"/>
                <a:gd name="connsiteY312" fmla="*/ 130527 h 181564"/>
                <a:gd name="connsiteX313" fmla="*/ 171089 w 309295"/>
                <a:gd name="connsiteY313" fmla="*/ 131224 h 181564"/>
                <a:gd name="connsiteX314" fmla="*/ 171089 w 309295"/>
                <a:gd name="connsiteY314" fmla="*/ 132119 h 181564"/>
                <a:gd name="connsiteX315" fmla="*/ 170990 w 309295"/>
                <a:gd name="connsiteY315" fmla="*/ 133015 h 181564"/>
                <a:gd name="connsiteX316" fmla="*/ 170392 w 309295"/>
                <a:gd name="connsiteY316" fmla="*/ 133811 h 181564"/>
                <a:gd name="connsiteX317" fmla="*/ 169694 w 309295"/>
                <a:gd name="connsiteY317" fmla="*/ 134209 h 181564"/>
                <a:gd name="connsiteX318" fmla="*/ 168498 w 309295"/>
                <a:gd name="connsiteY318" fmla="*/ 134606 h 181564"/>
                <a:gd name="connsiteX319" fmla="*/ 167801 w 309295"/>
                <a:gd name="connsiteY319" fmla="*/ 135104 h 181564"/>
                <a:gd name="connsiteX320" fmla="*/ 165410 w 309295"/>
                <a:gd name="connsiteY320" fmla="*/ 137293 h 181564"/>
                <a:gd name="connsiteX321" fmla="*/ 164812 w 309295"/>
                <a:gd name="connsiteY321" fmla="*/ 138686 h 181564"/>
                <a:gd name="connsiteX322" fmla="*/ 166107 w 309295"/>
                <a:gd name="connsiteY322" fmla="*/ 139581 h 181564"/>
                <a:gd name="connsiteX323" fmla="*/ 172683 w 309295"/>
                <a:gd name="connsiteY323" fmla="*/ 141770 h 181564"/>
                <a:gd name="connsiteX324" fmla="*/ 176370 w 309295"/>
                <a:gd name="connsiteY324" fmla="*/ 143461 h 181564"/>
                <a:gd name="connsiteX325" fmla="*/ 179957 w 309295"/>
                <a:gd name="connsiteY325" fmla="*/ 144655 h 181564"/>
                <a:gd name="connsiteX326" fmla="*/ 182648 w 309295"/>
                <a:gd name="connsiteY326" fmla="*/ 143859 h 181564"/>
                <a:gd name="connsiteX327" fmla="*/ 181950 w 309295"/>
                <a:gd name="connsiteY327" fmla="*/ 143461 h 181564"/>
                <a:gd name="connsiteX328" fmla="*/ 181751 w 309295"/>
                <a:gd name="connsiteY328" fmla="*/ 143063 h 181564"/>
                <a:gd name="connsiteX329" fmla="*/ 181452 w 309295"/>
                <a:gd name="connsiteY329" fmla="*/ 142466 h 181564"/>
                <a:gd name="connsiteX330" fmla="*/ 180954 w 309295"/>
                <a:gd name="connsiteY330" fmla="*/ 141670 h 181564"/>
                <a:gd name="connsiteX331" fmla="*/ 182648 w 309295"/>
                <a:gd name="connsiteY331" fmla="*/ 140476 h 181564"/>
                <a:gd name="connsiteX332" fmla="*/ 186335 w 309295"/>
                <a:gd name="connsiteY332" fmla="*/ 142267 h 181564"/>
                <a:gd name="connsiteX333" fmla="*/ 187730 w 309295"/>
                <a:gd name="connsiteY333" fmla="*/ 143361 h 181564"/>
                <a:gd name="connsiteX334" fmla="*/ 188626 w 309295"/>
                <a:gd name="connsiteY334" fmla="*/ 145053 h 181564"/>
                <a:gd name="connsiteX335" fmla="*/ 185737 w 309295"/>
                <a:gd name="connsiteY335" fmla="*/ 146645 h 181564"/>
                <a:gd name="connsiteX336" fmla="*/ 185139 w 309295"/>
                <a:gd name="connsiteY336" fmla="*/ 150226 h 181564"/>
                <a:gd name="connsiteX337" fmla="*/ 186135 w 309295"/>
                <a:gd name="connsiteY337" fmla="*/ 152912 h 181564"/>
                <a:gd name="connsiteX338" fmla="*/ 188228 w 309295"/>
                <a:gd name="connsiteY338" fmla="*/ 152216 h 181564"/>
                <a:gd name="connsiteX339" fmla="*/ 190420 w 309295"/>
                <a:gd name="connsiteY339" fmla="*/ 149729 h 181564"/>
                <a:gd name="connsiteX340" fmla="*/ 192812 w 309295"/>
                <a:gd name="connsiteY340" fmla="*/ 148137 h 181564"/>
                <a:gd name="connsiteX341" fmla="*/ 195004 w 309295"/>
                <a:gd name="connsiteY341" fmla="*/ 148435 h 181564"/>
                <a:gd name="connsiteX342" fmla="*/ 196598 w 309295"/>
                <a:gd name="connsiteY342" fmla="*/ 151718 h 181564"/>
                <a:gd name="connsiteX343" fmla="*/ 193908 w 309295"/>
                <a:gd name="connsiteY343" fmla="*/ 152614 h 181564"/>
                <a:gd name="connsiteX344" fmla="*/ 190021 w 309295"/>
                <a:gd name="connsiteY344" fmla="*/ 157190 h 181564"/>
                <a:gd name="connsiteX345" fmla="*/ 185936 w 309295"/>
                <a:gd name="connsiteY345" fmla="*/ 158782 h 181564"/>
                <a:gd name="connsiteX346" fmla="*/ 182946 w 309295"/>
                <a:gd name="connsiteY346" fmla="*/ 161170 h 181564"/>
                <a:gd name="connsiteX347" fmla="*/ 181253 w 309295"/>
                <a:gd name="connsiteY347" fmla="*/ 161767 h 181564"/>
                <a:gd name="connsiteX348" fmla="*/ 178463 w 309295"/>
                <a:gd name="connsiteY348" fmla="*/ 162065 h 181564"/>
                <a:gd name="connsiteX349" fmla="*/ 175673 w 309295"/>
                <a:gd name="connsiteY349" fmla="*/ 162761 h 181564"/>
                <a:gd name="connsiteX350" fmla="*/ 180057 w 309295"/>
                <a:gd name="connsiteY350" fmla="*/ 163557 h 181564"/>
                <a:gd name="connsiteX351" fmla="*/ 191117 w 309295"/>
                <a:gd name="connsiteY351" fmla="*/ 161966 h 181564"/>
                <a:gd name="connsiteX352" fmla="*/ 193908 w 309295"/>
                <a:gd name="connsiteY352" fmla="*/ 165050 h 181564"/>
                <a:gd name="connsiteX353" fmla="*/ 189623 w 309295"/>
                <a:gd name="connsiteY353" fmla="*/ 164751 h 181564"/>
                <a:gd name="connsiteX354" fmla="*/ 187929 w 309295"/>
                <a:gd name="connsiteY354" fmla="*/ 165050 h 181564"/>
                <a:gd name="connsiteX355" fmla="*/ 188228 w 309295"/>
                <a:gd name="connsiteY355" fmla="*/ 166741 h 181564"/>
                <a:gd name="connsiteX356" fmla="*/ 189822 w 309295"/>
                <a:gd name="connsiteY356" fmla="*/ 168333 h 181564"/>
                <a:gd name="connsiteX357" fmla="*/ 191715 w 309295"/>
                <a:gd name="connsiteY357" fmla="*/ 169527 h 181564"/>
                <a:gd name="connsiteX358" fmla="*/ 193608 w 309295"/>
                <a:gd name="connsiteY358" fmla="*/ 170223 h 181564"/>
                <a:gd name="connsiteX359" fmla="*/ 195601 w 309295"/>
                <a:gd name="connsiteY359" fmla="*/ 170621 h 181564"/>
                <a:gd name="connsiteX360" fmla="*/ 195601 w 309295"/>
                <a:gd name="connsiteY360" fmla="*/ 171715 h 181564"/>
                <a:gd name="connsiteX361" fmla="*/ 194804 w 309295"/>
                <a:gd name="connsiteY361" fmla="*/ 171914 h 181564"/>
                <a:gd name="connsiteX362" fmla="*/ 193011 w 309295"/>
                <a:gd name="connsiteY362" fmla="*/ 172810 h 181564"/>
                <a:gd name="connsiteX363" fmla="*/ 199089 w 309295"/>
                <a:gd name="connsiteY363" fmla="*/ 177187 h 181564"/>
                <a:gd name="connsiteX364" fmla="*/ 201181 w 309295"/>
                <a:gd name="connsiteY364" fmla="*/ 178082 h 181564"/>
                <a:gd name="connsiteX365" fmla="*/ 207857 w 309295"/>
                <a:gd name="connsiteY365" fmla="*/ 179376 h 181564"/>
                <a:gd name="connsiteX366" fmla="*/ 208555 w 309295"/>
                <a:gd name="connsiteY366" fmla="*/ 179873 h 181564"/>
                <a:gd name="connsiteX367" fmla="*/ 210448 w 309295"/>
                <a:gd name="connsiteY367" fmla="*/ 181366 h 181564"/>
                <a:gd name="connsiteX368" fmla="*/ 211146 w 309295"/>
                <a:gd name="connsiteY368" fmla="*/ 181565 h 181564"/>
                <a:gd name="connsiteX369" fmla="*/ 211843 w 309295"/>
                <a:gd name="connsiteY369" fmla="*/ 181067 h 181564"/>
                <a:gd name="connsiteX370" fmla="*/ 212939 w 309295"/>
                <a:gd name="connsiteY370" fmla="*/ 178978 h 181564"/>
                <a:gd name="connsiteX371" fmla="*/ 213936 w 309295"/>
                <a:gd name="connsiteY371" fmla="*/ 178381 h 181564"/>
                <a:gd name="connsiteX372" fmla="*/ 215730 w 309295"/>
                <a:gd name="connsiteY372" fmla="*/ 178381 h 181564"/>
                <a:gd name="connsiteX373" fmla="*/ 219616 w 309295"/>
                <a:gd name="connsiteY373" fmla="*/ 179177 h 181564"/>
                <a:gd name="connsiteX374" fmla="*/ 237253 w 309295"/>
                <a:gd name="connsiteY374" fmla="*/ 178182 h 181564"/>
                <a:gd name="connsiteX375" fmla="*/ 244826 w 309295"/>
                <a:gd name="connsiteY375" fmla="*/ 175297 h 181564"/>
                <a:gd name="connsiteX376" fmla="*/ 248612 w 309295"/>
                <a:gd name="connsiteY376" fmla="*/ 169527 h 181564"/>
                <a:gd name="connsiteX377" fmla="*/ 246719 w 309295"/>
                <a:gd name="connsiteY377" fmla="*/ 169527 h 181564"/>
                <a:gd name="connsiteX378" fmla="*/ 243430 w 309295"/>
                <a:gd name="connsiteY378" fmla="*/ 170621 h 181564"/>
                <a:gd name="connsiteX379" fmla="*/ 241637 w 309295"/>
                <a:gd name="connsiteY379" fmla="*/ 170621 h 181564"/>
                <a:gd name="connsiteX380" fmla="*/ 236057 w 309295"/>
                <a:gd name="connsiteY380" fmla="*/ 168631 h 181564"/>
                <a:gd name="connsiteX381" fmla="*/ 233865 w 309295"/>
                <a:gd name="connsiteY381" fmla="*/ 168333 h 181564"/>
                <a:gd name="connsiteX382" fmla="*/ 233865 w 309295"/>
                <a:gd name="connsiteY382" fmla="*/ 167338 h 181564"/>
                <a:gd name="connsiteX383" fmla="*/ 236057 w 309295"/>
                <a:gd name="connsiteY383" fmla="*/ 166542 h 181564"/>
                <a:gd name="connsiteX384" fmla="*/ 239445 w 309295"/>
                <a:gd name="connsiteY384" fmla="*/ 164353 h 181564"/>
                <a:gd name="connsiteX385" fmla="*/ 242135 w 309295"/>
                <a:gd name="connsiteY385" fmla="*/ 163955 h 181564"/>
                <a:gd name="connsiteX386" fmla="*/ 244427 w 309295"/>
                <a:gd name="connsiteY386" fmla="*/ 164055 h 181564"/>
                <a:gd name="connsiteX387" fmla="*/ 245623 w 309295"/>
                <a:gd name="connsiteY387" fmla="*/ 163955 h 181564"/>
                <a:gd name="connsiteX388" fmla="*/ 246420 w 309295"/>
                <a:gd name="connsiteY388" fmla="*/ 163358 h 181564"/>
                <a:gd name="connsiteX389" fmla="*/ 248313 w 309295"/>
                <a:gd name="connsiteY389" fmla="*/ 160672 h 181564"/>
                <a:gd name="connsiteX390" fmla="*/ 248612 w 309295"/>
                <a:gd name="connsiteY390" fmla="*/ 160573 h 181564"/>
                <a:gd name="connsiteX391" fmla="*/ 248911 w 309295"/>
                <a:gd name="connsiteY391" fmla="*/ 156195 h 181564"/>
                <a:gd name="connsiteX392" fmla="*/ 247516 w 309295"/>
                <a:gd name="connsiteY392" fmla="*/ 151718 h 181564"/>
                <a:gd name="connsiteX393" fmla="*/ 244726 w 309295"/>
                <a:gd name="connsiteY393" fmla="*/ 148933 h 181564"/>
                <a:gd name="connsiteX394" fmla="*/ 240740 w 309295"/>
                <a:gd name="connsiteY394" fmla="*/ 149430 h 181564"/>
                <a:gd name="connsiteX395" fmla="*/ 244128 w 309295"/>
                <a:gd name="connsiteY395" fmla="*/ 150723 h 181564"/>
                <a:gd name="connsiteX396" fmla="*/ 245423 w 309295"/>
                <a:gd name="connsiteY396" fmla="*/ 151718 h 181564"/>
                <a:gd name="connsiteX397" fmla="*/ 246021 w 309295"/>
                <a:gd name="connsiteY397" fmla="*/ 154007 h 181564"/>
                <a:gd name="connsiteX398" fmla="*/ 243929 w 309295"/>
                <a:gd name="connsiteY398" fmla="*/ 153310 h 181564"/>
                <a:gd name="connsiteX399" fmla="*/ 237751 w 309295"/>
                <a:gd name="connsiteY399" fmla="*/ 152813 h 181564"/>
                <a:gd name="connsiteX400" fmla="*/ 237452 w 309295"/>
                <a:gd name="connsiteY400" fmla="*/ 152017 h 181564"/>
                <a:gd name="connsiteX401" fmla="*/ 237652 w 309295"/>
                <a:gd name="connsiteY401" fmla="*/ 150027 h 181564"/>
                <a:gd name="connsiteX402" fmla="*/ 238150 w 309295"/>
                <a:gd name="connsiteY402" fmla="*/ 147739 h 181564"/>
                <a:gd name="connsiteX403" fmla="*/ 239046 w 309295"/>
                <a:gd name="connsiteY403" fmla="*/ 146147 h 181564"/>
                <a:gd name="connsiteX404" fmla="*/ 237054 w 309295"/>
                <a:gd name="connsiteY404" fmla="*/ 145252 h 181564"/>
                <a:gd name="connsiteX405" fmla="*/ 231972 w 309295"/>
                <a:gd name="connsiteY405" fmla="*/ 144854 h 181564"/>
                <a:gd name="connsiteX406" fmla="*/ 229481 w 309295"/>
                <a:gd name="connsiteY406" fmla="*/ 143859 h 181564"/>
                <a:gd name="connsiteX407" fmla="*/ 231473 w 309295"/>
                <a:gd name="connsiteY407" fmla="*/ 142963 h 181564"/>
                <a:gd name="connsiteX408" fmla="*/ 232570 w 309295"/>
                <a:gd name="connsiteY408" fmla="*/ 142765 h 181564"/>
                <a:gd name="connsiteX409" fmla="*/ 233865 w 309295"/>
                <a:gd name="connsiteY409" fmla="*/ 142864 h 181564"/>
                <a:gd name="connsiteX410" fmla="*/ 233865 w 309295"/>
                <a:gd name="connsiteY410" fmla="*/ 141670 h 181564"/>
                <a:gd name="connsiteX411" fmla="*/ 232470 w 309295"/>
                <a:gd name="connsiteY411" fmla="*/ 141770 h 181564"/>
                <a:gd name="connsiteX412" fmla="*/ 231573 w 309295"/>
                <a:gd name="connsiteY412" fmla="*/ 141471 h 181564"/>
                <a:gd name="connsiteX413" fmla="*/ 230975 w 309295"/>
                <a:gd name="connsiteY413" fmla="*/ 140775 h 181564"/>
                <a:gd name="connsiteX414" fmla="*/ 230377 w 309295"/>
                <a:gd name="connsiteY414" fmla="*/ 139481 h 181564"/>
                <a:gd name="connsiteX415" fmla="*/ 233765 w 309295"/>
                <a:gd name="connsiteY415" fmla="*/ 140078 h 181564"/>
                <a:gd name="connsiteX416" fmla="*/ 239843 w 309295"/>
                <a:gd name="connsiteY416" fmla="*/ 143461 h 181564"/>
                <a:gd name="connsiteX417" fmla="*/ 243331 w 309295"/>
                <a:gd name="connsiteY417" fmla="*/ 143859 h 181564"/>
                <a:gd name="connsiteX418" fmla="*/ 241338 w 309295"/>
                <a:gd name="connsiteY418" fmla="*/ 140974 h 181564"/>
                <a:gd name="connsiteX419" fmla="*/ 237452 w 309295"/>
                <a:gd name="connsiteY419" fmla="*/ 138785 h 181564"/>
                <a:gd name="connsiteX420" fmla="*/ 232171 w 309295"/>
                <a:gd name="connsiteY420" fmla="*/ 136795 h 181564"/>
                <a:gd name="connsiteX421" fmla="*/ 233267 w 309295"/>
                <a:gd name="connsiteY421" fmla="*/ 134905 h 181564"/>
                <a:gd name="connsiteX422" fmla="*/ 236057 w 309295"/>
                <a:gd name="connsiteY422" fmla="*/ 135701 h 181564"/>
                <a:gd name="connsiteX423" fmla="*/ 241239 w 309295"/>
                <a:gd name="connsiteY423" fmla="*/ 138387 h 181564"/>
                <a:gd name="connsiteX424" fmla="*/ 247217 w 309295"/>
                <a:gd name="connsiteY424" fmla="*/ 138785 h 181564"/>
                <a:gd name="connsiteX425" fmla="*/ 250904 w 309295"/>
                <a:gd name="connsiteY425" fmla="*/ 138586 h 181564"/>
                <a:gd name="connsiteX426" fmla="*/ 252996 w 309295"/>
                <a:gd name="connsiteY426" fmla="*/ 137392 h 181564"/>
                <a:gd name="connsiteX427" fmla="*/ 252598 w 309295"/>
                <a:gd name="connsiteY427" fmla="*/ 133910 h 181564"/>
                <a:gd name="connsiteX428" fmla="*/ 249708 w 309295"/>
                <a:gd name="connsiteY428" fmla="*/ 131622 h 181564"/>
                <a:gd name="connsiteX429" fmla="*/ 243331 w 309295"/>
                <a:gd name="connsiteY429" fmla="*/ 129533 h 181564"/>
                <a:gd name="connsiteX430" fmla="*/ 246619 w 309295"/>
                <a:gd name="connsiteY430" fmla="*/ 128140 h 181564"/>
                <a:gd name="connsiteX431" fmla="*/ 256883 w 309295"/>
                <a:gd name="connsiteY431" fmla="*/ 130527 h 181564"/>
                <a:gd name="connsiteX432" fmla="*/ 259972 w 309295"/>
                <a:gd name="connsiteY432" fmla="*/ 129632 h 181564"/>
                <a:gd name="connsiteX433" fmla="*/ 259672 w 309295"/>
                <a:gd name="connsiteY433" fmla="*/ 127543 h 181564"/>
                <a:gd name="connsiteX434" fmla="*/ 255587 w 309295"/>
                <a:gd name="connsiteY434" fmla="*/ 122867 h 181564"/>
                <a:gd name="connsiteX435" fmla="*/ 257679 w 309295"/>
                <a:gd name="connsiteY435" fmla="*/ 124061 h 181564"/>
                <a:gd name="connsiteX436" fmla="*/ 259772 w 309295"/>
                <a:gd name="connsiteY436" fmla="*/ 124061 h 181564"/>
                <a:gd name="connsiteX437" fmla="*/ 264256 w 309295"/>
                <a:gd name="connsiteY437" fmla="*/ 122867 h 181564"/>
                <a:gd name="connsiteX438" fmla="*/ 262463 w 309295"/>
                <a:gd name="connsiteY438" fmla="*/ 121076 h 181564"/>
                <a:gd name="connsiteX439" fmla="*/ 262263 w 309295"/>
                <a:gd name="connsiteY439" fmla="*/ 117594 h 181564"/>
                <a:gd name="connsiteX440" fmla="*/ 260768 w 309295"/>
                <a:gd name="connsiteY440" fmla="*/ 116201 h 181564"/>
                <a:gd name="connsiteX441" fmla="*/ 260768 w 309295"/>
                <a:gd name="connsiteY441" fmla="*/ 115107 h 181564"/>
                <a:gd name="connsiteX442" fmla="*/ 263359 w 309295"/>
                <a:gd name="connsiteY442" fmla="*/ 115405 h 181564"/>
                <a:gd name="connsiteX443" fmla="*/ 267445 w 309295"/>
                <a:gd name="connsiteY443" fmla="*/ 117793 h 181564"/>
                <a:gd name="connsiteX444" fmla="*/ 269438 w 309295"/>
                <a:gd name="connsiteY444" fmla="*/ 118390 h 181564"/>
                <a:gd name="connsiteX445" fmla="*/ 271630 w 309295"/>
                <a:gd name="connsiteY445" fmla="*/ 117694 h 181564"/>
                <a:gd name="connsiteX446" fmla="*/ 272028 w 309295"/>
                <a:gd name="connsiteY446" fmla="*/ 116201 h 181564"/>
                <a:gd name="connsiteX447" fmla="*/ 270334 w 309295"/>
                <a:gd name="connsiteY447" fmla="*/ 111724 h 181564"/>
                <a:gd name="connsiteX448" fmla="*/ 274619 w 309295"/>
                <a:gd name="connsiteY448" fmla="*/ 115206 h 181564"/>
                <a:gd name="connsiteX449" fmla="*/ 275914 w 309295"/>
                <a:gd name="connsiteY449" fmla="*/ 116699 h 181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</a:cxnLst>
              <a:rect l="l" t="t" r="r" b="b"/>
              <a:pathLst>
                <a:path w="309295" h="181564">
                  <a:moveTo>
                    <a:pt x="275914" y="116699"/>
                  </a:moveTo>
                  <a:lnTo>
                    <a:pt x="277509" y="117594"/>
                  </a:lnTo>
                  <a:lnTo>
                    <a:pt x="279402" y="117296"/>
                  </a:lnTo>
                  <a:lnTo>
                    <a:pt x="285381" y="115505"/>
                  </a:lnTo>
                  <a:lnTo>
                    <a:pt x="302320" y="106352"/>
                  </a:lnTo>
                  <a:lnTo>
                    <a:pt x="307203" y="102174"/>
                  </a:lnTo>
                  <a:lnTo>
                    <a:pt x="309196" y="100980"/>
                  </a:lnTo>
                  <a:lnTo>
                    <a:pt x="309296" y="99885"/>
                  </a:lnTo>
                  <a:lnTo>
                    <a:pt x="305808" y="98393"/>
                  </a:lnTo>
                  <a:lnTo>
                    <a:pt x="293751" y="95210"/>
                  </a:lnTo>
                  <a:lnTo>
                    <a:pt x="282890" y="94612"/>
                  </a:lnTo>
                  <a:lnTo>
                    <a:pt x="272826" y="96801"/>
                  </a:lnTo>
                  <a:lnTo>
                    <a:pt x="261068" y="95906"/>
                  </a:lnTo>
                  <a:lnTo>
                    <a:pt x="240840" y="96503"/>
                  </a:lnTo>
                  <a:lnTo>
                    <a:pt x="237652" y="97100"/>
                  </a:lnTo>
                  <a:lnTo>
                    <a:pt x="234563" y="97199"/>
                  </a:lnTo>
                  <a:lnTo>
                    <a:pt x="232171" y="96005"/>
                  </a:lnTo>
                  <a:lnTo>
                    <a:pt x="228783" y="97796"/>
                  </a:lnTo>
                  <a:lnTo>
                    <a:pt x="220911" y="98294"/>
                  </a:lnTo>
                  <a:lnTo>
                    <a:pt x="217324" y="99487"/>
                  </a:lnTo>
                  <a:lnTo>
                    <a:pt x="220512" y="100980"/>
                  </a:lnTo>
                  <a:lnTo>
                    <a:pt x="232171" y="102671"/>
                  </a:lnTo>
                  <a:lnTo>
                    <a:pt x="232171" y="103964"/>
                  </a:lnTo>
                  <a:lnTo>
                    <a:pt x="209452" y="100880"/>
                  </a:lnTo>
                  <a:lnTo>
                    <a:pt x="202477" y="102671"/>
                  </a:lnTo>
                  <a:lnTo>
                    <a:pt x="203374" y="103964"/>
                  </a:lnTo>
                  <a:lnTo>
                    <a:pt x="201879" y="106352"/>
                  </a:lnTo>
                  <a:lnTo>
                    <a:pt x="200683" y="105656"/>
                  </a:lnTo>
                  <a:lnTo>
                    <a:pt x="199587" y="103765"/>
                  </a:lnTo>
                  <a:lnTo>
                    <a:pt x="198591" y="102671"/>
                  </a:lnTo>
                  <a:lnTo>
                    <a:pt x="185537" y="104860"/>
                  </a:lnTo>
                  <a:lnTo>
                    <a:pt x="169295" y="105357"/>
                  </a:lnTo>
                  <a:lnTo>
                    <a:pt x="154946" y="103666"/>
                  </a:lnTo>
                  <a:lnTo>
                    <a:pt x="153950" y="103964"/>
                  </a:lnTo>
                  <a:lnTo>
                    <a:pt x="153053" y="104561"/>
                  </a:lnTo>
                  <a:lnTo>
                    <a:pt x="152655" y="105258"/>
                  </a:lnTo>
                  <a:lnTo>
                    <a:pt x="152455" y="105855"/>
                  </a:lnTo>
                  <a:lnTo>
                    <a:pt x="152157" y="106253"/>
                  </a:lnTo>
                  <a:lnTo>
                    <a:pt x="150662" y="107148"/>
                  </a:lnTo>
                  <a:lnTo>
                    <a:pt x="149466" y="107546"/>
                  </a:lnTo>
                  <a:lnTo>
                    <a:pt x="148570" y="106750"/>
                  </a:lnTo>
                  <a:lnTo>
                    <a:pt x="147872" y="103964"/>
                  </a:lnTo>
                  <a:lnTo>
                    <a:pt x="146975" y="105059"/>
                  </a:lnTo>
                  <a:lnTo>
                    <a:pt x="146178" y="104561"/>
                  </a:lnTo>
                  <a:lnTo>
                    <a:pt x="144086" y="102372"/>
                  </a:lnTo>
                  <a:lnTo>
                    <a:pt x="141295" y="100482"/>
                  </a:lnTo>
                  <a:lnTo>
                    <a:pt x="140897" y="100482"/>
                  </a:lnTo>
                  <a:lnTo>
                    <a:pt x="140100" y="98095"/>
                  </a:lnTo>
                  <a:lnTo>
                    <a:pt x="139901" y="96005"/>
                  </a:lnTo>
                  <a:lnTo>
                    <a:pt x="139302" y="94314"/>
                  </a:lnTo>
                  <a:lnTo>
                    <a:pt x="137509" y="92722"/>
                  </a:lnTo>
                  <a:lnTo>
                    <a:pt x="133822" y="91429"/>
                  </a:lnTo>
                  <a:lnTo>
                    <a:pt x="129039" y="90534"/>
                  </a:lnTo>
                  <a:lnTo>
                    <a:pt x="124256" y="90534"/>
                  </a:lnTo>
                  <a:lnTo>
                    <a:pt x="120868" y="91528"/>
                  </a:lnTo>
                  <a:lnTo>
                    <a:pt x="124057" y="91528"/>
                  </a:lnTo>
                  <a:lnTo>
                    <a:pt x="125253" y="92921"/>
                  </a:lnTo>
                  <a:lnTo>
                    <a:pt x="124755" y="95210"/>
                  </a:lnTo>
                  <a:lnTo>
                    <a:pt x="123160" y="97796"/>
                  </a:lnTo>
                  <a:lnTo>
                    <a:pt x="121765" y="97796"/>
                  </a:lnTo>
                  <a:lnTo>
                    <a:pt x="118477" y="93717"/>
                  </a:lnTo>
                  <a:lnTo>
                    <a:pt x="116584" y="93817"/>
                  </a:lnTo>
                  <a:lnTo>
                    <a:pt x="116086" y="92623"/>
                  </a:lnTo>
                  <a:lnTo>
                    <a:pt x="116384" y="91528"/>
                  </a:lnTo>
                  <a:lnTo>
                    <a:pt x="116683" y="90434"/>
                  </a:lnTo>
                  <a:lnTo>
                    <a:pt x="116584" y="89340"/>
                  </a:lnTo>
                  <a:lnTo>
                    <a:pt x="116683" y="88842"/>
                  </a:lnTo>
                  <a:lnTo>
                    <a:pt x="116982" y="88146"/>
                  </a:lnTo>
                  <a:lnTo>
                    <a:pt x="116882" y="87449"/>
                  </a:lnTo>
                  <a:lnTo>
                    <a:pt x="115687" y="87151"/>
                  </a:lnTo>
                  <a:lnTo>
                    <a:pt x="114591" y="87251"/>
                  </a:lnTo>
                  <a:lnTo>
                    <a:pt x="113993" y="87052"/>
                  </a:lnTo>
                  <a:lnTo>
                    <a:pt x="113594" y="86654"/>
                  </a:lnTo>
                  <a:lnTo>
                    <a:pt x="111601" y="85261"/>
                  </a:lnTo>
                  <a:lnTo>
                    <a:pt x="98648" y="81580"/>
                  </a:lnTo>
                  <a:lnTo>
                    <a:pt x="93865" y="81480"/>
                  </a:lnTo>
                  <a:lnTo>
                    <a:pt x="89480" y="83072"/>
                  </a:lnTo>
                  <a:lnTo>
                    <a:pt x="87089" y="87151"/>
                  </a:lnTo>
                  <a:lnTo>
                    <a:pt x="88086" y="87350"/>
                  </a:lnTo>
                  <a:lnTo>
                    <a:pt x="90577" y="88345"/>
                  </a:lnTo>
                  <a:lnTo>
                    <a:pt x="90577" y="89340"/>
                  </a:lnTo>
                  <a:lnTo>
                    <a:pt x="86591" y="90832"/>
                  </a:lnTo>
                  <a:lnTo>
                    <a:pt x="86790" y="93120"/>
                  </a:lnTo>
                  <a:lnTo>
                    <a:pt x="89182" y="96204"/>
                  </a:lnTo>
                  <a:lnTo>
                    <a:pt x="91274" y="99487"/>
                  </a:lnTo>
                  <a:lnTo>
                    <a:pt x="89779" y="101577"/>
                  </a:lnTo>
                  <a:lnTo>
                    <a:pt x="87089" y="101776"/>
                  </a:lnTo>
                  <a:lnTo>
                    <a:pt x="76527" y="99686"/>
                  </a:lnTo>
                  <a:lnTo>
                    <a:pt x="75331" y="98891"/>
                  </a:lnTo>
                  <a:lnTo>
                    <a:pt x="74534" y="97796"/>
                  </a:lnTo>
                  <a:lnTo>
                    <a:pt x="73936" y="96503"/>
                  </a:lnTo>
                  <a:lnTo>
                    <a:pt x="74035" y="95508"/>
                  </a:lnTo>
                  <a:lnTo>
                    <a:pt x="75331" y="95011"/>
                  </a:lnTo>
                  <a:lnTo>
                    <a:pt x="76527" y="94215"/>
                  </a:lnTo>
                  <a:lnTo>
                    <a:pt x="76527" y="92424"/>
                  </a:lnTo>
                  <a:lnTo>
                    <a:pt x="75829" y="90534"/>
                  </a:lnTo>
                  <a:lnTo>
                    <a:pt x="74933" y="89340"/>
                  </a:lnTo>
                  <a:lnTo>
                    <a:pt x="73737" y="89340"/>
                  </a:lnTo>
                  <a:lnTo>
                    <a:pt x="72541" y="89937"/>
                  </a:lnTo>
                  <a:lnTo>
                    <a:pt x="70548" y="91528"/>
                  </a:lnTo>
                  <a:lnTo>
                    <a:pt x="65267" y="92722"/>
                  </a:lnTo>
                  <a:lnTo>
                    <a:pt x="62975" y="93717"/>
                  </a:lnTo>
                  <a:lnTo>
                    <a:pt x="60982" y="96005"/>
                  </a:lnTo>
                  <a:lnTo>
                    <a:pt x="60185" y="92523"/>
                  </a:lnTo>
                  <a:lnTo>
                    <a:pt x="62776" y="90732"/>
                  </a:lnTo>
                  <a:lnTo>
                    <a:pt x="66164" y="89837"/>
                  </a:lnTo>
                  <a:lnTo>
                    <a:pt x="67957" y="88842"/>
                  </a:lnTo>
                  <a:lnTo>
                    <a:pt x="71644" y="80585"/>
                  </a:lnTo>
                  <a:lnTo>
                    <a:pt x="72441" y="79789"/>
                  </a:lnTo>
                  <a:lnTo>
                    <a:pt x="73936" y="79391"/>
                  </a:lnTo>
                  <a:lnTo>
                    <a:pt x="73936" y="78297"/>
                  </a:lnTo>
                  <a:lnTo>
                    <a:pt x="73239" y="77799"/>
                  </a:lnTo>
                  <a:lnTo>
                    <a:pt x="72840" y="77302"/>
                  </a:lnTo>
                  <a:lnTo>
                    <a:pt x="72641" y="76705"/>
                  </a:lnTo>
                  <a:lnTo>
                    <a:pt x="72242" y="76008"/>
                  </a:lnTo>
                  <a:lnTo>
                    <a:pt x="73637" y="75113"/>
                  </a:lnTo>
                  <a:lnTo>
                    <a:pt x="73936" y="74218"/>
                  </a:lnTo>
                  <a:lnTo>
                    <a:pt x="73537" y="73223"/>
                  </a:lnTo>
                  <a:lnTo>
                    <a:pt x="72740" y="72128"/>
                  </a:lnTo>
                  <a:lnTo>
                    <a:pt x="71246" y="70835"/>
                  </a:lnTo>
                  <a:lnTo>
                    <a:pt x="70448" y="71432"/>
                  </a:lnTo>
                  <a:lnTo>
                    <a:pt x="70249" y="72427"/>
                  </a:lnTo>
                  <a:lnTo>
                    <a:pt x="70548" y="72725"/>
                  </a:lnTo>
                  <a:lnTo>
                    <a:pt x="69851" y="73820"/>
                  </a:lnTo>
                  <a:lnTo>
                    <a:pt x="69751" y="74914"/>
                  </a:lnTo>
                  <a:lnTo>
                    <a:pt x="69153" y="75710"/>
                  </a:lnTo>
                  <a:lnTo>
                    <a:pt x="67459" y="76008"/>
                  </a:lnTo>
                  <a:lnTo>
                    <a:pt x="65865" y="75710"/>
                  </a:lnTo>
                  <a:lnTo>
                    <a:pt x="64669" y="74914"/>
                  </a:lnTo>
                  <a:lnTo>
                    <a:pt x="63971" y="73521"/>
                  </a:lnTo>
                  <a:lnTo>
                    <a:pt x="63573" y="71531"/>
                  </a:lnTo>
                  <a:lnTo>
                    <a:pt x="64968" y="73024"/>
                  </a:lnTo>
                  <a:lnTo>
                    <a:pt x="66264" y="73820"/>
                  </a:lnTo>
                  <a:lnTo>
                    <a:pt x="67359" y="73322"/>
                  </a:lnTo>
                  <a:lnTo>
                    <a:pt x="67957" y="71531"/>
                  </a:lnTo>
                  <a:lnTo>
                    <a:pt x="67858" y="69243"/>
                  </a:lnTo>
                  <a:lnTo>
                    <a:pt x="67260" y="67950"/>
                  </a:lnTo>
                  <a:lnTo>
                    <a:pt x="65267" y="66060"/>
                  </a:lnTo>
                  <a:lnTo>
                    <a:pt x="63075" y="63175"/>
                  </a:lnTo>
                  <a:lnTo>
                    <a:pt x="60584" y="60687"/>
                  </a:lnTo>
                  <a:lnTo>
                    <a:pt x="57893" y="58698"/>
                  </a:lnTo>
                  <a:lnTo>
                    <a:pt x="54904" y="57106"/>
                  </a:lnTo>
                  <a:lnTo>
                    <a:pt x="56100" y="53723"/>
                  </a:lnTo>
                  <a:lnTo>
                    <a:pt x="56698" y="52629"/>
                  </a:lnTo>
                  <a:lnTo>
                    <a:pt x="54705" y="51137"/>
                  </a:lnTo>
                  <a:lnTo>
                    <a:pt x="52911" y="51336"/>
                  </a:lnTo>
                  <a:lnTo>
                    <a:pt x="51018" y="52131"/>
                  </a:lnTo>
                  <a:lnTo>
                    <a:pt x="48427" y="52629"/>
                  </a:lnTo>
                  <a:lnTo>
                    <a:pt x="45737" y="52032"/>
                  </a:lnTo>
                  <a:lnTo>
                    <a:pt x="43744" y="50540"/>
                  </a:lnTo>
                  <a:lnTo>
                    <a:pt x="41053" y="46958"/>
                  </a:lnTo>
                  <a:lnTo>
                    <a:pt x="41950" y="45864"/>
                  </a:lnTo>
                  <a:lnTo>
                    <a:pt x="42548" y="44670"/>
                  </a:lnTo>
                  <a:lnTo>
                    <a:pt x="42847" y="43277"/>
                  </a:lnTo>
                  <a:lnTo>
                    <a:pt x="42847" y="41486"/>
                  </a:lnTo>
                  <a:lnTo>
                    <a:pt x="43346" y="41785"/>
                  </a:lnTo>
                  <a:lnTo>
                    <a:pt x="44740" y="42282"/>
                  </a:lnTo>
                  <a:lnTo>
                    <a:pt x="45239" y="42581"/>
                  </a:lnTo>
                  <a:lnTo>
                    <a:pt x="45837" y="40491"/>
                  </a:lnTo>
                  <a:lnTo>
                    <a:pt x="46633" y="39994"/>
                  </a:lnTo>
                  <a:lnTo>
                    <a:pt x="47431" y="40292"/>
                  </a:lnTo>
                  <a:lnTo>
                    <a:pt x="48029" y="40193"/>
                  </a:lnTo>
                  <a:lnTo>
                    <a:pt x="48427" y="39298"/>
                  </a:lnTo>
                  <a:lnTo>
                    <a:pt x="49224" y="36810"/>
                  </a:lnTo>
                  <a:lnTo>
                    <a:pt x="49722" y="35816"/>
                  </a:lnTo>
                  <a:lnTo>
                    <a:pt x="56000" y="28354"/>
                  </a:lnTo>
                  <a:lnTo>
                    <a:pt x="56199" y="26364"/>
                  </a:lnTo>
                  <a:lnTo>
                    <a:pt x="54107" y="21887"/>
                  </a:lnTo>
                  <a:lnTo>
                    <a:pt x="53110" y="15719"/>
                  </a:lnTo>
                  <a:lnTo>
                    <a:pt x="53409" y="9352"/>
                  </a:lnTo>
                  <a:lnTo>
                    <a:pt x="54904" y="4477"/>
                  </a:lnTo>
                  <a:lnTo>
                    <a:pt x="54705" y="3283"/>
                  </a:lnTo>
                  <a:lnTo>
                    <a:pt x="54306" y="2089"/>
                  </a:lnTo>
                  <a:lnTo>
                    <a:pt x="53210" y="0"/>
                  </a:lnTo>
                  <a:lnTo>
                    <a:pt x="46135" y="7462"/>
                  </a:lnTo>
                  <a:lnTo>
                    <a:pt x="32185" y="18206"/>
                  </a:lnTo>
                  <a:lnTo>
                    <a:pt x="23516" y="26762"/>
                  </a:lnTo>
                  <a:lnTo>
                    <a:pt x="21523" y="29548"/>
                  </a:lnTo>
                  <a:lnTo>
                    <a:pt x="19929" y="32831"/>
                  </a:lnTo>
                  <a:lnTo>
                    <a:pt x="19331" y="36412"/>
                  </a:lnTo>
                  <a:lnTo>
                    <a:pt x="18335" y="39596"/>
                  </a:lnTo>
                  <a:lnTo>
                    <a:pt x="15943" y="42083"/>
                  </a:lnTo>
                  <a:lnTo>
                    <a:pt x="10562" y="45864"/>
                  </a:lnTo>
                  <a:lnTo>
                    <a:pt x="5979" y="50341"/>
                  </a:lnTo>
                  <a:lnTo>
                    <a:pt x="1993" y="56210"/>
                  </a:lnTo>
                  <a:lnTo>
                    <a:pt x="0" y="62777"/>
                  </a:lnTo>
                  <a:lnTo>
                    <a:pt x="1794" y="69442"/>
                  </a:lnTo>
                  <a:lnTo>
                    <a:pt x="4285" y="71731"/>
                  </a:lnTo>
                  <a:lnTo>
                    <a:pt x="6676" y="71929"/>
                  </a:lnTo>
                  <a:lnTo>
                    <a:pt x="11957" y="70537"/>
                  </a:lnTo>
                  <a:lnTo>
                    <a:pt x="23616" y="70537"/>
                  </a:lnTo>
                  <a:lnTo>
                    <a:pt x="25210" y="71133"/>
                  </a:lnTo>
                  <a:lnTo>
                    <a:pt x="27900" y="73322"/>
                  </a:lnTo>
                  <a:lnTo>
                    <a:pt x="28797" y="73820"/>
                  </a:lnTo>
                  <a:lnTo>
                    <a:pt x="30192" y="74019"/>
                  </a:lnTo>
                  <a:lnTo>
                    <a:pt x="31886" y="74715"/>
                  </a:lnTo>
                  <a:lnTo>
                    <a:pt x="33381" y="75611"/>
                  </a:lnTo>
                  <a:lnTo>
                    <a:pt x="34477" y="76605"/>
                  </a:lnTo>
                  <a:lnTo>
                    <a:pt x="36271" y="76406"/>
                  </a:lnTo>
                  <a:lnTo>
                    <a:pt x="43644" y="69442"/>
                  </a:lnTo>
                  <a:lnTo>
                    <a:pt x="43046" y="71631"/>
                  </a:lnTo>
                  <a:lnTo>
                    <a:pt x="42847" y="73223"/>
                  </a:lnTo>
                  <a:lnTo>
                    <a:pt x="42847" y="76605"/>
                  </a:lnTo>
                  <a:lnTo>
                    <a:pt x="43544" y="77998"/>
                  </a:lnTo>
                  <a:lnTo>
                    <a:pt x="44740" y="79689"/>
                  </a:lnTo>
                  <a:lnTo>
                    <a:pt x="45039" y="81082"/>
                  </a:lnTo>
                  <a:lnTo>
                    <a:pt x="42847" y="81679"/>
                  </a:lnTo>
                  <a:lnTo>
                    <a:pt x="43046" y="82276"/>
                  </a:lnTo>
                  <a:lnTo>
                    <a:pt x="43644" y="83868"/>
                  </a:lnTo>
                  <a:lnTo>
                    <a:pt x="39160" y="85360"/>
                  </a:lnTo>
                  <a:lnTo>
                    <a:pt x="38363" y="90434"/>
                  </a:lnTo>
                  <a:lnTo>
                    <a:pt x="38762" y="96801"/>
                  </a:lnTo>
                  <a:lnTo>
                    <a:pt x="38363" y="101676"/>
                  </a:lnTo>
                  <a:lnTo>
                    <a:pt x="37068" y="100681"/>
                  </a:lnTo>
                  <a:lnTo>
                    <a:pt x="35971" y="101875"/>
                  </a:lnTo>
                  <a:lnTo>
                    <a:pt x="35473" y="104064"/>
                  </a:lnTo>
                  <a:lnTo>
                    <a:pt x="35772" y="106253"/>
                  </a:lnTo>
                  <a:lnTo>
                    <a:pt x="37068" y="107247"/>
                  </a:lnTo>
                  <a:lnTo>
                    <a:pt x="38861" y="107446"/>
                  </a:lnTo>
                  <a:lnTo>
                    <a:pt x="42349" y="107247"/>
                  </a:lnTo>
                  <a:lnTo>
                    <a:pt x="54506" y="108839"/>
                  </a:lnTo>
                  <a:lnTo>
                    <a:pt x="58391" y="107247"/>
                  </a:lnTo>
                  <a:lnTo>
                    <a:pt x="61182" y="105059"/>
                  </a:lnTo>
                  <a:lnTo>
                    <a:pt x="62178" y="105258"/>
                  </a:lnTo>
                  <a:lnTo>
                    <a:pt x="64470" y="106253"/>
                  </a:lnTo>
                  <a:lnTo>
                    <a:pt x="64968" y="106651"/>
                  </a:lnTo>
                  <a:lnTo>
                    <a:pt x="66164" y="107745"/>
                  </a:lnTo>
                  <a:lnTo>
                    <a:pt x="66961" y="108342"/>
                  </a:lnTo>
                  <a:lnTo>
                    <a:pt x="67160" y="107944"/>
                  </a:lnTo>
                  <a:lnTo>
                    <a:pt x="68057" y="107446"/>
                  </a:lnTo>
                  <a:lnTo>
                    <a:pt x="69153" y="107247"/>
                  </a:lnTo>
                  <a:lnTo>
                    <a:pt x="73139" y="109237"/>
                  </a:lnTo>
                  <a:lnTo>
                    <a:pt x="82406" y="108839"/>
                  </a:lnTo>
                  <a:lnTo>
                    <a:pt x="86192" y="109337"/>
                  </a:lnTo>
                  <a:lnTo>
                    <a:pt x="86192" y="110531"/>
                  </a:lnTo>
                  <a:lnTo>
                    <a:pt x="85096" y="110531"/>
                  </a:lnTo>
                  <a:lnTo>
                    <a:pt x="84299" y="110829"/>
                  </a:lnTo>
                  <a:lnTo>
                    <a:pt x="82605" y="111724"/>
                  </a:lnTo>
                  <a:lnTo>
                    <a:pt x="88882" y="116201"/>
                  </a:lnTo>
                  <a:lnTo>
                    <a:pt x="85893" y="115803"/>
                  </a:lnTo>
                  <a:lnTo>
                    <a:pt x="77424" y="112918"/>
                  </a:lnTo>
                  <a:lnTo>
                    <a:pt x="80114" y="118390"/>
                  </a:lnTo>
                  <a:lnTo>
                    <a:pt x="78021" y="117097"/>
                  </a:lnTo>
                  <a:lnTo>
                    <a:pt x="77424" y="117992"/>
                  </a:lnTo>
                  <a:lnTo>
                    <a:pt x="78221" y="119882"/>
                  </a:lnTo>
                  <a:lnTo>
                    <a:pt x="80114" y="121773"/>
                  </a:lnTo>
                  <a:lnTo>
                    <a:pt x="86093" y="124658"/>
                  </a:lnTo>
                  <a:lnTo>
                    <a:pt x="89182" y="126647"/>
                  </a:lnTo>
                  <a:lnTo>
                    <a:pt x="90577" y="128936"/>
                  </a:lnTo>
                  <a:lnTo>
                    <a:pt x="91573" y="132119"/>
                  </a:lnTo>
                  <a:lnTo>
                    <a:pt x="93964" y="134308"/>
                  </a:lnTo>
                  <a:lnTo>
                    <a:pt x="100043" y="137392"/>
                  </a:lnTo>
                  <a:lnTo>
                    <a:pt x="103231" y="138486"/>
                  </a:lnTo>
                  <a:lnTo>
                    <a:pt x="105124" y="138586"/>
                  </a:lnTo>
                  <a:lnTo>
                    <a:pt x="106619" y="137890"/>
                  </a:lnTo>
                  <a:lnTo>
                    <a:pt x="107715" y="137492"/>
                  </a:lnTo>
                  <a:lnTo>
                    <a:pt x="109110" y="138089"/>
                  </a:lnTo>
                  <a:lnTo>
                    <a:pt x="110406" y="138984"/>
                  </a:lnTo>
                  <a:lnTo>
                    <a:pt x="111801" y="139481"/>
                  </a:lnTo>
                  <a:lnTo>
                    <a:pt x="113594" y="139083"/>
                  </a:lnTo>
                  <a:lnTo>
                    <a:pt x="116284" y="137591"/>
                  </a:lnTo>
                  <a:lnTo>
                    <a:pt x="117381" y="137392"/>
                  </a:lnTo>
                  <a:lnTo>
                    <a:pt x="118676" y="137989"/>
                  </a:lnTo>
                  <a:lnTo>
                    <a:pt x="120570" y="140476"/>
                  </a:lnTo>
                  <a:lnTo>
                    <a:pt x="121865" y="141670"/>
                  </a:lnTo>
                  <a:lnTo>
                    <a:pt x="122562" y="141869"/>
                  </a:lnTo>
                  <a:lnTo>
                    <a:pt x="125253" y="141670"/>
                  </a:lnTo>
                  <a:lnTo>
                    <a:pt x="126050" y="142068"/>
                  </a:lnTo>
                  <a:lnTo>
                    <a:pt x="126548" y="143560"/>
                  </a:lnTo>
                  <a:lnTo>
                    <a:pt x="127345" y="143859"/>
                  </a:lnTo>
                  <a:lnTo>
                    <a:pt x="128939" y="144257"/>
                  </a:lnTo>
                  <a:lnTo>
                    <a:pt x="132328" y="145749"/>
                  </a:lnTo>
                  <a:lnTo>
                    <a:pt x="137110" y="146843"/>
                  </a:lnTo>
                  <a:lnTo>
                    <a:pt x="143587" y="149828"/>
                  </a:lnTo>
                  <a:lnTo>
                    <a:pt x="146975" y="150624"/>
                  </a:lnTo>
                  <a:lnTo>
                    <a:pt x="149964" y="150126"/>
                  </a:lnTo>
                  <a:lnTo>
                    <a:pt x="153253" y="146843"/>
                  </a:lnTo>
                  <a:lnTo>
                    <a:pt x="157139" y="145749"/>
                  </a:lnTo>
                  <a:lnTo>
                    <a:pt x="160925" y="143859"/>
                  </a:lnTo>
                  <a:lnTo>
                    <a:pt x="161623" y="141471"/>
                  </a:lnTo>
                  <a:lnTo>
                    <a:pt x="160925" y="140178"/>
                  </a:lnTo>
                  <a:lnTo>
                    <a:pt x="157338" y="138387"/>
                  </a:lnTo>
                  <a:lnTo>
                    <a:pt x="155644" y="141969"/>
                  </a:lnTo>
                  <a:lnTo>
                    <a:pt x="152356" y="142665"/>
                  </a:lnTo>
                  <a:lnTo>
                    <a:pt x="145281" y="141670"/>
                  </a:lnTo>
                  <a:lnTo>
                    <a:pt x="145281" y="140476"/>
                  </a:lnTo>
                  <a:lnTo>
                    <a:pt x="149964" y="140476"/>
                  </a:lnTo>
                  <a:lnTo>
                    <a:pt x="151160" y="139979"/>
                  </a:lnTo>
                  <a:lnTo>
                    <a:pt x="153253" y="137890"/>
                  </a:lnTo>
                  <a:lnTo>
                    <a:pt x="154349" y="137392"/>
                  </a:lnTo>
                  <a:lnTo>
                    <a:pt x="157438" y="136696"/>
                  </a:lnTo>
                  <a:lnTo>
                    <a:pt x="157537" y="135104"/>
                  </a:lnTo>
                  <a:lnTo>
                    <a:pt x="154748" y="129533"/>
                  </a:lnTo>
                  <a:lnTo>
                    <a:pt x="159132" y="131622"/>
                  </a:lnTo>
                  <a:lnTo>
                    <a:pt x="161822" y="134606"/>
                  </a:lnTo>
                  <a:lnTo>
                    <a:pt x="162519" y="135104"/>
                  </a:lnTo>
                  <a:lnTo>
                    <a:pt x="164313" y="134109"/>
                  </a:lnTo>
                  <a:lnTo>
                    <a:pt x="167303" y="129433"/>
                  </a:lnTo>
                  <a:lnTo>
                    <a:pt x="169195" y="128438"/>
                  </a:lnTo>
                  <a:lnTo>
                    <a:pt x="170790" y="127742"/>
                  </a:lnTo>
                  <a:lnTo>
                    <a:pt x="174079" y="124757"/>
                  </a:lnTo>
                  <a:lnTo>
                    <a:pt x="178164" y="123663"/>
                  </a:lnTo>
                  <a:lnTo>
                    <a:pt x="181950" y="121872"/>
                  </a:lnTo>
                  <a:lnTo>
                    <a:pt x="184342" y="121773"/>
                  </a:lnTo>
                  <a:lnTo>
                    <a:pt x="182050" y="124160"/>
                  </a:lnTo>
                  <a:lnTo>
                    <a:pt x="174776" y="127244"/>
                  </a:lnTo>
                  <a:lnTo>
                    <a:pt x="174079" y="127941"/>
                  </a:lnTo>
                  <a:lnTo>
                    <a:pt x="174079" y="128836"/>
                  </a:lnTo>
                  <a:lnTo>
                    <a:pt x="174079" y="129831"/>
                  </a:lnTo>
                  <a:lnTo>
                    <a:pt x="173879" y="130527"/>
                  </a:lnTo>
                  <a:lnTo>
                    <a:pt x="173381" y="130726"/>
                  </a:lnTo>
                  <a:lnTo>
                    <a:pt x="171886" y="130428"/>
                  </a:lnTo>
                  <a:lnTo>
                    <a:pt x="171288" y="130527"/>
                  </a:lnTo>
                  <a:lnTo>
                    <a:pt x="171089" y="131224"/>
                  </a:lnTo>
                  <a:lnTo>
                    <a:pt x="171089" y="132119"/>
                  </a:lnTo>
                  <a:lnTo>
                    <a:pt x="170990" y="133015"/>
                  </a:lnTo>
                  <a:lnTo>
                    <a:pt x="170392" y="133811"/>
                  </a:lnTo>
                  <a:lnTo>
                    <a:pt x="169694" y="134209"/>
                  </a:lnTo>
                  <a:lnTo>
                    <a:pt x="168498" y="134606"/>
                  </a:lnTo>
                  <a:lnTo>
                    <a:pt x="167801" y="135104"/>
                  </a:lnTo>
                  <a:lnTo>
                    <a:pt x="165410" y="137293"/>
                  </a:lnTo>
                  <a:lnTo>
                    <a:pt x="164812" y="138686"/>
                  </a:lnTo>
                  <a:lnTo>
                    <a:pt x="166107" y="139581"/>
                  </a:lnTo>
                  <a:lnTo>
                    <a:pt x="172683" y="141770"/>
                  </a:lnTo>
                  <a:lnTo>
                    <a:pt x="176370" y="143461"/>
                  </a:lnTo>
                  <a:lnTo>
                    <a:pt x="179957" y="144655"/>
                  </a:lnTo>
                  <a:lnTo>
                    <a:pt x="182648" y="143859"/>
                  </a:lnTo>
                  <a:lnTo>
                    <a:pt x="181950" y="143461"/>
                  </a:lnTo>
                  <a:lnTo>
                    <a:pt x="181751" y="143063"/>
                  </a:lnTo>
                  <a:lnTo>
                    <a:pt x="181452" y="142466"/>
                  </a:lnTo>
                  <a:lnTo>
                    <a:pt x="180954" y="141670"/>
                  </a:lnTo>
                  <a:lnTo>
                    <a:pt x="182648" y="140476"/>
                  </a:lnTo>
                  <a:lnTo>
                    <a:pt x="186335" y="142267"/>
                  </a:lnTo>
                  <a:lnTo>
                    <a:pt x="187730" y="143361"/>
                  </a:lnTo>
                  <a:lnTo>
                    <a:pt x="188626" y="145053"/>
                  </a:lnTo>
                  <a:lnTo>
                    <a:pt x="185737" y="146645"/>
                  </a:lnTo>
                  <a:lnTo>
                    <a:pt x="185139" y="150226"/>
                  </a:lnTo>
                  <a:lnTo>
                    <a:pt x="186135" y="152912"/>
                  </a:lnTo>
                  <a:lnTo>
                    <a:pt x="188228" y="152216"/>
                  </a:lnTo>
                  <a:lnTo>
                    <a:pt x="190420" y="149729"/>
                  </a:lnTo>
                  <a:lnTo>
                    <a:pt x="192812" y="148137"/>
                  </a:lnTo>
                  <a:lnTo>
                    <a:pt x="195004" y="148435"/>
                  </a:lnTo>
                  <a:lnTo>
                    <a:pt x="196598" y="151718"/>
                  </a:lnTo>
                  <a:lnTo>
                    <a:pt x="193908" y="152614"/>
                  </a:lnTo>
                  <a:lnTo>
                    <a:pt x="190021" y="157190"/>
                  </a:lnTo>
                  <a:lnTo>
                    <a:pt x="185936" y="158782"/>
                  </a:lnTo>
                  <a:lnTo>
                    <a:pt x="182946" y="161170"/>
                  </a:lnTo>
                  <a:lnTo>
                    <a:pt x="181253" y="161767"/>
                  </a:lnTo>
                  <a:lnTo>
                    <a:pt x="178463" y="162065"/>
                  </a:lnTo>
                  <a:lnTo>
                    <a:pt x="175673" y="162761"/>
                  </a:lnTo>
                  <a:lnTo>
                    <a:pt x="180057" y="163557"/>
                  </a:lnTo>
                  <a:lnTo>
                    <a:pt x="191117" y="161966"/>
                  </a:lnTo>
                  <a:lnTo>
                    <a:pt x="193908" y="165050"/>
                  </a:lnTo>
                  <a:lnTo>
                    <a:pt x="189623" y="164751"/>
                  </a:lnTo>
                  <a:lnTo>
                    <a:pt x="187929" y="165050"/>
                  </a:lnTo>
                  <a:lnTo>
                    <a:pt x="188228" y="166741"/>
                  </a:lnTo>
                  <a:lnTo>
                    <a:pt x="189822" y="168333"/>
                  </a:lnTo>
                  <a:lnTo>
                    <a:pt x="191715" y="169527"/>
                  </a:lnTo>
                  <a:lnTo>
                    <a:pt x="193608" y="170223"/>
                  </a:lnTo>
                  <a:lnTo>
                    <a:pt x="195601" y="170621"/>
                  </a:lnTo>
                  <a:lnTo>
                    <a:pt x="195601" y="171715"/>
                  </a:lnTo>
                  <a:lnTo>
                    <a:pt x="194804" y="171914"/>
                  </a:lnTo>
                  <a:lnTo>
                    <a:pt x="193011" y="172810"/>
                  </a:lnTo>
                  <a:lnTo>
                    <a:pt x="199089" y="177187"/>
                  </a:lnTo>
                  <a:lnTo>
                    <a:pt x="201181" y="178082"/>
                  </a:lnTo>
                  <a:lnTo>
                    <a:pt x="207857" y="179376"/>
                  </a:lnTo>
                  <a:lnTo>
                    <a:pt x="208555" y="179873"/>
                  </a:lnTo>
                  <a:lnTo>
                    <a:pt x="210448" y="181366"/>
                  </a:lnTo>
                  <a:lnTo>
                    <a:pt x="211146" y="181565"/>
                  </a:lnTo>
                  <a:lnTo>
                    <a:pt x="211843" y="181067"/>
                  </a:lnTo>
                  <a:lnTo>
                    <a:pt x="212939" y="178978"/>
                  </a:lnTo>
                  <a:lnTo>
                    <a:pt x="213936" y="178381"/>
                  </a:lnTo>
                  <a:lnTo>
                    <a:pt x="215730" y="178381"/>
                  </a:lnTo>
                  <a:lnTo>
                    <a:pt x="219616" y="179177"/>
                  </a:lnTo>
                  <a:lnTo>
                    <a:pt x="237253" y="178182"/>
                  </a:lnTo>
                  <a:lnTo>
                    <a:pt x="244826" y="175297"/>
                  </a:lnTo>
                  <a:lnTo>
                    <a:pt x="248612" y="169527"/>
                  </a:lnTo>
                  <a:lnTo>
                    <a:pt x="246719" y="169527"/>
                  </a:lnTo>
                  <a:lnTo>
                    <a:pt x="243430" y="170621"/>
                  </a:lnTo>
                  <a:lnTo>
                    <a:pt x="241637" y="170621"/>
                  </a:lnTo>
                  <a:lnTo>
                    <a:pt x="236057" y="168631"/>
                  </a:lnTo>
                  <a:lnTo>
                    <a:pt x="233865" y="168333"/>
                  </a:lnTo>
                  <a:lnTo>
                    <a:pt x="233865" y="167338"/>
                  </a:lnTo>
                  <a:lnTo>
                    <a:pt x="236057" y="166542"/>
                  </a:lnTo>
                  <a:lnTo>
                    <a:pt x="239445" y="164353"/>
                  </a:lnTo>
                  <a:lnTo>
                    <a:pt x="242135" y="163955"/>
                  </a:lnTo>
                  <a:lnTo>
                    <a:pt x="244427" y="164055"/>
                  </a:lnTo>
                  <a:lnTo>
                    <a:pt x="245623" y="163955"/>
                  </a:lnTo>
                  <a:lnTo>
                    <a:pt x="246420" y="163358"/>
                  </a:lnTo>
                  <a:lnTo>
                    <a:pt x="248313" y="160672"/>
                  </a:lnTo>
                  <a:lnTo>
                    <a:pt x="248612" y="160573"/>
                  </a:lnTo>
                  <a:lnTo>
                    <a:pt x="248911" y="156195"/>
                  </a:lnTo>
                  <a:lnTo>
                    <a:pt x="247516" y="151718"/>
                  </a:lnTo>
                  <a:lnTo>
                    <a:pt x="244726" y="148933"/>
                  </a:lnTo>
                  <a:lnTo>
                    <a:pt x="240740" y="149430"/>
                  </a:lnTo>
                  <a:lnTo>
                    <a:pt x="244128" y="150723"/>
                  </a:lnTo>
                  <a:lnTo>
                    <a:pt x="245423" y="151718"/>
                  </a:lnTo>
                  <a:lnTo>
                    <a:pt x="246021" y="154007"/>
                  </a:lnTo>
                  <a:lnTo>
                    <a:pt x="243929" y="153310"/>
                  </a:lnTo>
                  <a:lnTo>
                    <a:pt x="237751" y="152813"/>
                  </a:lnTo>
                  <a:lnTo>
                    <a:pt x="237452" y="152017"/>
                  </a:lnTo>
                  <a:lnTo>
                    <a:pt x="237652" y="150027"/>
                  </a:lnTo>
                  <a:lnTo>
                    <a:pt x="238150" y="147739"/>
                  </a:lnTo>
                  <a:lnTo>
                    <a:pt x="239046" y="146147"/>
                  </a:lnTo>
                  <a:lnTo>
                    <a:pt x="237054" y="145252"/>
                  </a:lnTo>
                  <a:lnTo>
                    <a:pt x="231972" y="144854"/>
                  </a:lnTo>
                  <a:lnTo>
                    <a:pt x="229481" y="143859"/>
                  </a:lnTo>
                  <a:lnTo>
                    <a:pt x="231473" y="142963"/>
                  </a:lnTo>
                  <a:lnTo>
                    <a:pt x="232570" y="142765"/>
                  </a:lnTo>
                  <a:lnTo>
                    <a:pt x="233865" y="142864"/>
                  </a:lnTo>
                  <a:lnTo>
                    <a:pt x="233865" y="141670"/>
                  </a:lnTo>
                  <a:lnTo>
                    <a:pt x="232470" y="141770"/>
                  </a:lnTo>
                  <a:lnTo>
                    <a:pt x="231573" y="141471"/>
                  </a:lnTo>
                  <a:lnTo>
                    <a:pt x="230975" y="140775"/>
                  </a:lnTo>
                  <a:lnTo>
                    <a:pt x="230377" y="139481"/>
                  </a:lnTo>
                  <a:lnTo>
                    <a:pt x="233765" y="140078"/>
                  </a:lnTo>
                  <a:lnTo>
                    <a:pt x="239843" y="143461"/>
                  </a:lnTo>
                  <a:lnTo>
                    <a:pt x="243331" y="143859"/>
                  </a:lnTo>
                  <a:lnTo>
                    <a:pt x="241338" y="140974"/>
                  </a:lnTo>
                  <a:lnTo>
                    <a:pt x="237452" y="138785"/>
                  </a:lnTo>
                  <a:lnTo>
                    <a:pt x="232171" y="136795"/>
                  </a:lnTo>
                  <a:lnTo>
                    <a:pt x="233267" y="134905"/>
                  </a:lnTo>
                  <a:lnTo>
                    <a:pt x="236057" y="135701"/>
                  </a:lnTo>
                  <a:lnTo>
                    <a:pt x="241239" y="138387"/>
                  </a:lnTo>
                  <a:lnTo>
                    <a:pt x="247217" y="138785"/>
                  </a:lnTo>
                  <a:lnTo>
                    <a:pt x="250904" y="138586"/>
                  </a:lnTo>
                  <a:lnTo>
                    <a:pt x="252996" y="137392"/>
                  </a:lnTo>
                  <a:lnTo>
                    <a:pt x="252598" y="133910"/>
                  </a:lnTo>
                  <a:lnTo>
                    <a:pt x="249708" y="131622"/>
                  </a:lnTo>
                  <a:lnTo>
                    <a:pt x="243331" y="129533"/>
                  </a:lnTo>
                  <a:lnTo>
                    <a:pt x="246619" y="128140"/>
                  </a:lnTo>
                  <a:lnTo>
                    <a:pt x="256883" y="130527"/>
                  </a:lnTo>
                  <a:lnTo>
                    <a:pt x="259972" y="129632"/>
                  </a:lnTo>
                  <a:lnTo>
                    <a:pt x="259672" y="127543"/>
                  </a:lnTo>
                  <a:lnTo>
                    <a:pt x="255587" y="122867"/>
                  </a:lnTo>
                  <a:lnTo>
                    <a:pt x="257679" y="124061"/>
                  </a:lnTo>
                  <a:lnTo>
                    <a:pt x="259772" y="124061"/>
                  </a:lnTo>
                  <a:lnTo>
                    <a:pt x="264256" y="122867"/>
                  </a:lnTo>
                  <a:lnTo>
                    <a:pt x="262463" y="121076"/>
                  </a:lnTo>
                  <a:lnTo>
                    <a:pt x="262263" y="117594"/>
                  </a:lnTo>
                  <a:lnTo>
                    <a:pt x="260768" y="116201"/>
                  </a:lnTo>
                  <a:lnTo>
                    <a:pt x="260768" y="115107"/>
                  </a:lnTo>
                  <a:lnTo>
                    <a:pt x="263359" y="115405"/>
                  </a:lnTo>
                  <a:lnTo>
                    <a:pt x="267445" y="117793"/>
                  </a:lnTo>
                  <a:lnTo>
                    <a:pt x="269438" y="118390"/>
                  </a:lnTo>
                  <a:lnTo>
                    <a:pt x="271630" y="117694"/>
                  </a:lnTo>
                  <a:lnTo>
                    <a:pt x="272028" y="116201"/>
                  </a:lnTo>
                  <a:lnTo>
                    <a:pt x="270334" y="111724"/>
                  </a:lnTo>
                  <a:lnTo>
                    <a:pt x="274619" y="115206"/>
                  </a:lnTo>
                  <a:lnTo>
                    <a:pt x="275914" y="11669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3" name="Freeform: Shape 1362">
              <a:extLst>
                <a:ext uri="{FF2B5EF4-FFF2-40B4-BE49-F238E27FC236}">
                  <a16:creationId xmlns:a16="http://schemas.microsoft.com/office/drawing/2014/main" id="{B0B7C579-6D2F-4E8D-B7A9-0B4D2049BD75}"/>
                </a:ext>
              </a:extLst>
            </p:cNvPr>
            <p:cNvSpPr/>
            <p:nvPr/>
          </p:nvSpPr>
          <p:spPr>
            <a:xfrm>
              <a:off x="-2074259" y="585121"/>
              <a:ext cx="7373" cy="9451"/>
            </a:xfrm>
            <a:custGeom>
              <a:avLst/>
              <a:gdLst>
                <a:gd name="connsiteX0" fmla="*/ 6576 w 7373"/>
                <a:gd name="connsiteY0" fmla="*/ 5969 h 9451"/>
                <a:gd name="connsiteX1" fmla="*/ 5680 w 7373"/>
                <a:gd name="connsiteY1" fmla="*/ 5571 h 9451"/>
                <a:gd name="connsiteX2" fmla="*/ 4285 w 7373"/>
                <a:gd name="connsiteY2" fmla="*/ 4974 h 9451"/>
                <a:gd name="connsiteX3" fmla="*/ 2790 w 7373"/>
                <a:gd name="connsiteY3" fmla="*/ 3184 h 9451"/>
                <a:gd name="connsiteX4" fmla="*/ 1594 w 7373"/>
                <a:gd name="connsiteY4" fmla="*/ 1393 h 9451"/>
                <a:gd name="connsiteX5" fmla="*/ 199 w 7373"/>
                <a:gd name="connsiteY5" fmla="*/ 0 h 9451"/>
                <a:gd name="connsiteX6" fmla="*/ 0 w 7373"/>
                <a:gd name="connsiteY6" fmla="*/ 298 h 9451"/>
                <a:gd name="connsiteX7" fmla="*/ 897 w 7373"/>
                <a:gd name="connsiteY7" fmla="*/ 2288 h 9451"/>
                <a:gd name="connsiteX8" fmla="*/ 797 w 7373"/>
                <a:gd name="connsiteY8" fmla="*/ 3084 h 9451"/>
                <a:gd name="connsiteX9" fmla="*/ 100 w 7373"/>
                <a:gd name="connsiteY9" fmla="*/ 2388 h 9451"/>
                <a:gd name="connsiteX10" fmla="*/ 299 w 7373"/>
                <a:gd name="connsiteY10" fmla="*/ 2885 h 9451"/>
                <a:gd name="connsiteX11" fmla="*/ 1694 w 7373"/>
                <a:gd name="connsiteY11" fmla="*/ 4775 h 9451"/>
                <a:gd name="connsiteX12" fmla="*/ 3288 w 7373"/>
                <a:gd name="connsiteY12" fmla="*/ 6666 h 9451"/>
                <a:gd name="connsiteX13" fmla="*/ 4584 w 7373"/>
                <a:gd name="connsiteY13" fmla="*/ 8556 h 9451"/>
                <a:gd name="connsiteX14" fmla="*/ 6477 w 7373"/>
                <a:gd name="connsiteY14" fmla="*/ 9451 h 9451"/>
                <a:gd name="connsiteX15" fmla="*/ 7374 w 7373"/>
                <a:gd name="connsiteY15" fmla="*/ 7859 h 9451"/>
                <a:gd name="connsiteX16" fmla="*/ 7075 w 7373"/>
                <a:gd name="connsiteY16" fmla="*/ 6168 h 9451"/>
                <a:gd name="connsiteX17" fmla="*/ 6576 w 7373"/>
                <a:gd name="connsiteY17" fmla="*/ 5969 h 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373" h="9451">
                  <a:moveTo>
                    <a:pt x="6576" y="5969"/>
                  </a:moveTo>
                  <a:lnTo>
                    <a:pt x="5680" y="5571"/>
                  </a:lnTo>
                  <a:lnTo>
                    <a:pt x="4285" y="4974"/>
                  </a:lnTo>
                  <a:lnTo>
                    <a:pt x="2790" y="3184"/>
                  </a:lnTo>
                  <a:lnTo>
                    <a:pt x="1594" y="1393"/>
                  </a:lnTo>
                  <a:lnTo>
                    <a:pt x="199" y="0"/>
                  </a:lnTo>
                  <a:lnTo>
                    <a:pt x="0" y="298"/>
                  </a:lnTo>
                  <a:lnTo>
                    <a:pt x="897" y="2288"/>
                  </a:lnTo>
                  <a:lnTo>
                    <a:pt x="797" y="3084"/>
                  </a:lnTo>
                  <a:lnTo>
                    <a:pt x="100" y="2388"/>
                  </a:lnTo>
                  <a:lnTo>
                    <a:pt x="299" y="2885"/>
                  </a:lnTo>
                  <a:lnTo>
                    <a:pt x="1694" y="4775"/>
                  </a:lnTo>
                  <a:lnTo>
                    <a:pt x="3288" y="6666"/>
                  </a:lnTo>
                  <a:lnTo>
                    <a:pt x="4584" y="8556"/>
                  </a:lnTo>
                  <a:lnTo>
                    <a:pt x="6477" y="9451"/>
                  </a:lnTo>
                  <a:lnTo>
                    <a:pt x="7374" y="7859"/>
                  </a:lnTo>
                  <a:lnTo>
                    <a:pt x="7075" y="6168"/>
                  </a:lnTo>
                  <a:lnTo>
                    <a:pt x="6576" y="596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061C5FAE-5561-4B75-BF1C-B3F6C31A093D}"/>
                </a:ext>
              </a:extLst>
            </p:cNvPr>
            <p:cNvSpPr/>
            <p:nvPr/>
          </p:nvSpPr>
          <p:spPr>
            <a:xfrm>
              <a:off x="-2072166" y="556966"/>
              <a:ext cx="17736" cy="14226"/>
            </a:xfrm>
            <a:custGeom>
              <a:avLst/>
              <a:gdLst>
                <a:gd name="connsiteX0" fmla="*/ 15246 w 17736"/>
                <a:gd name="connsiteY0" fmla="*/ 9650 h 14226"/>
                <a:gd name="connsiteX1" fmla="*/ 13053 w 17736"/>
                <a:gd name="connsiteY1" fmla="*/ 9252 h 14226"/>
                <a:gd name="connsiteX2" fmla="*/ 10363 w 17736"/>
                <a:gd name="connsiteY2" fmla="*/ 9252 h 14226"/>
                <a:gd name="connsiteX3" fmla="*/ 9167 w 17736"/>
                <a:gd name="connsiteY3" fmla="*/ 8556 h 14226"/>
                <a:gd name="connsiteX4" fmla="*/ 9366 w 17736"/>
                <a:gd name="connsiteY4" fmla="*/ 6566 h 14226"/>
                <a:gd name="connsiteX5" fmla="*/ 8968 w 17736"/>
                <a:gd name="connsiteY5" fmla="*/ 4477 h 14226"/>
                <a:gd name="connsiteX6" fmla="*/ 7174 w 17736"/>
                <a:gd name="connsiteY6" fmla="*/ 2885 h 14226"/>
                <a:gd name="connsiteX7" fmla="*/ 4484 w 17736"/>
                <a:gd name="connsiteY7" fmla="*/ 696 h 14226"/>
                <a:gd name="connsiteX8" fmla="*/ 2989 w 17736"/>
                <a:gd name="connsiteY8" fmla="*/ 298 h 14226"/>
                <a:gd name="connsiteX9" fmla="*/ 1196 w 17736"/>
                <a:gd name="connsiteY9" fmla="*/ 0 h 14226"/>
                <a:gd name="connsiteX10" fmla="*/ 0 w 17736"/>
                <a:gd name="connsiteY10" fmla="*/ 696 h 14226"/>
                <a:gd name="connsiteX11" fmla="*/ 0 w 17736"/>
                <a:gd name="connsiteY11" fmla="*/ 1890 h 14226"/>
                <a:gd name="connsiteX12" fmla="*/ 1395 w 17736"/>
                <a:gd name="connsiteY12" fmla="*/ 3283 h 14226"/>
                <a:gd name="connsiteX13" fmla="*/ 1395 w 17736"/>
                <a:gd name="connsiteY13" fmla="*/ 4775 h 14226"/>
                <a:gd name="connsiteX14" fmla="*/ 1395 w 17736"/>
                <a:gd name="connsiteY14" fmla="*/ 7561 h 14226"/>
                <a:gd name="connsiteX15" fmla="*/ 1993 w 17736"/>
                <a:gd name="connsiteY15" fmla="*/ 8755 h 14226"/>
                <a:gd name="connsiteX16" fmla="*/ 3886 w 17736"/>
                <a:gd name="connsiteY16" fmla="*/ 10148 h 14226"/>
                <a:gd name="connsiteX17" fmla="*/ 4982 w 17736"/>
                <a:gd name="connsiteY17" fmla="*/ 10844 h 14226"/>
                <a:gd name="connsiteX18" fmla="*/ 8270 w 17736"/>
                <a:gd name="connsiteY18" fmla="*/ 13033 h 14226"/>
                <a:gd name="connsiteX19" fmla="*/ 10363 w 17736"/>
                <a:gd name="connsiteY19" fmla="*/ 13431 h 14226"/>
                <a:gd name="connsiteX20" fmla="*/ 12356 w 17736"/>
                <a:gd name="connsiteY20" fmla="*/ 13729 h 14226"/>
                <a:gd name="connsiteX21" fmla="*/ 15544 w 17736"/>
                <a:gd name="connsiteY21" fmla="*/ 14227 h 14226"/>
                <a:gd name="connsiteX22" fmla="*/ 17238 w 17736"/>
                <a:gd name="connsiteY22" fmla="*/ 13431 h 14226"/>
                <a:gd name="connsiteX23" fmla="*/ 17737 w 17736"/>
                <a:gd name="connsiteY23" fmla="*/ 12237 h 14226"/>
                <a:gd name="connsiteX24" fmla="*/ 17039 w 17736"/>
                <a:gd name="connsiteY24" fmla="*/ 10148 h 14226"/>
                <a:gd name="connsiteX25" fmla="*/ 15246 w 17736"/>
                <a:gd name="connsiteY25" fmla="*/ 9650 h 14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736" h="14226">
                  <a:moveTo>
                    <a:pt x="15246" y="9650"/>
                  </a:moveTo>
                  <a:lnTo>
                    <a:pt x="13053" y="9252"/>
                  </a:lnTo>
                  <a:lnTo>
                    <a:pt x="10363" y="9252"/>
                  </a:lnTo>
                  <a:lnTo>
                    <a:pt x="9167" y="8556"/>
                  </a:lnTo>
                  <a:lnTo>
                    <a:pt x="9366" y="6566"/>
                  </a:lnTo>
                  <a:lnTo>
                    <a:pt x="8968" y="4477"/>
                  </a:lnTo>
                  <a:lnTo>
                    <a:pt x="7174" y="2885"/>
                  </a:lnTo>
                  <a:lnTo>
                    <a:pt x="4484" y="696"/>
                  </a:lnTo>
                  <a:lnTo>
                    <a:pt x="2989" y="298"/>
                  </a:lnTo>
                  <a:lnTo>
                    <a:pt x="1196" y="0"/>
                  </a:lnTo>
                  <a:lnTo>
                    <a:pt x="0" y="696"/>
                  </a:lnTo>
                  <a:lnTo>
                    <a:pt x="0" y="1890"/>
                  </a:lnTo>
                  <a:lnTo>
                    <a:pt x="1395" y="3283"/>
                  </a:lnTo>
                  <a:lnTo>
                    <a:pt x="1395" y="4775"/>
                  </a:lnTo>
                  <a:lnTo>
                    <a:pt x="1395" y="7561"/>
                  </a:lnTo>
                  <a:lnTo>
                    <a:pt x="1993" y="8755"/>
                  </a:lnTo>
                  <a:lnTo>
                    <a:pt x="3886" y="10148"/>
                  </a:lnTo>
                  <a:lnTo>
                    <a:pt x="4982" y="10844"/>
                  </a:lnTo>
                  <a:lnTo>
                    <a:pt x="8270" y="13033"/>
                  </a:lnTo>
                  <a:lnTo>
                    <a:pt x="10363" y="13431"/>
                  </a:lnTo>
                  <a:lnTo>
                    <a:pt x="12356" y="13729"/>
                  </a:lnTo>
                  <a:lnTo>
                    <a:pt x="15544" y="14227"/>
                  </a:lnTo>
                  <a:lnTo>
                    <a:pt x="17238" y="13431"/>
                  </a:lnTo>
                  <a:lnTo>
                    <a:pt x="17737" y="12237"/>
                  </a:lnTo>
                  <a:lnTo>
                    <a:pt x="17039" y="10148"/>
                  </a:lnTo>
                  <a:lnTo>
                    <a:pt x="15246" y="965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F07F38B4-8394-4E9C-840A-92BB419AECD9}"/>
                </a:ext>
              </a:extLst>
            </p:cNvPr>
            <p:cNvSpPr/>
            <p:nvPr/>
          </p:nvSpPr>
          <p:spPr>
            <a:xfrm>
              <a:off x="-2059611" y="554379"/>
              <a:ext cx="22918" cy="11839"/>
            </a:xfrm>
            <a:custGeom>
              <a:avLst/>
              <a:gdLst>
                <a:gd name="connsiteX0" fmla="*/ 21523 w 22918"/>
                <a:gd name="connsiteY0" fmla="*/ 6168 h 11839"/>
                <a:gd name="connsiteX1" fmla="*/ 16840 w 22918"/>
                <a:gd name="connsiteY1" fmla="*/ 5671 h 11839"/>
                <a:gd name="connsiteX2" fmla="*/ 10363 w 22918"/>
                <a:gd name="connsiteY2" fmla="*/ 5173 h 11839"/>
                <a:gd name="connsiteX3" fmla="*/ 5580 w 22918"/>
                <a:gd name="connsiteY3" fmla="*/ 2885 h 11839"/>
                <a:gd name="connsiteX4" fmla="*/ 2491 w 22918"/>
                <a:gd name="connsiteY4" fmla="*/ 497 h 11839"/>
                <a:gd name="connsiteX5" fmla="*/ 0 w 22918"/>
                <a:gd name="connsiteY5" fmla="*/ 0 h 11839"/>
                <a:gd name="connsiteX6" fmla="*/ 199 w 22918"/>
                <a:gd name="connsiteY6" fmla="*/ 1691 h 11839"/>
                <a:gd name="connsiteX7" fmla="*/ 897 w 22918"/>
                <a:gd name="connsiteY7" fmla="*/ 2189 h 11839"/>
                <a:gd name="connsiteX8" fmla="*/ 1993 w 22918"/>
                <a:gd name="connsiteY8" fmla="*/ 2885 h 11839"/>
                <a:gd name="connsiteX9" fmla="*/ 2491 w 22918"/>
                <a:gd name="connsiteY9" fmla="*/ 3980 h 11839"/>
                <a:gd name="connsiteX10" fmla="*/ 2491 w 22918"/>
                <a:gd name="connsiteY10" fmla="*/ 5173 h 11839"/>
                <a:gd name="connsiteX11" fmla="*/ 2491 w 22918"/>
                <a:gd name="connsiteY11" fmla="*/ 6367 h 11839"/>
                <a:gd name="connsiteX12" fmla="*/ 2491 w 22918"/>
                <a:gd name="connsiteY12" fmla="*/ 8058 h 11839"/>
                <a:gd name="connsiteX13" fmla="*/ 4783 w 22918"/>
                <a:gd name="connsiteY13" fmla="*/ 9750 h 11839"/>
                <a:gd name="connsiteX14" fmla="*/ 6676 w 22918"/>
                <a:gd name="connsiteY14" fmla="*/ 10645 h 11839"/>
                <a:gd name="connsiteX15" fmla="*/ 8270 w 22918"/>
                <a:gd name="connsiteY15" fmla="*/ 11541 h 11839"/>
                <a:gd name="connsiteX16" fmla="*/ 10961 w 22918"/>
                <a:gd name="connsiteY16" fmla="*/ 11342 h 11839"/>
                <a:gd name="connsiteX17" fmla="*/ 13053 w 22918"/>
                <a:gd name="connsiteY17" fmla="*/ 11342 h 11839"/>
                <a:gd name="connsiteX18" fmla="*/ 15445 w 22918"/>
                <a:gd name="connsiteY18" fmla="*/ 11839 h 11839"/>
                <a:gd name="connsiteX19" fmla="*/ 17039 w 22918"/>
                <a:gd name="connsiteY19" fmla="*/ 10844 h 11839"/>
                <a:gd name="connsiteX20" fmla="*/ 18434 w 22918"/>
                <a:gd name="connsiteY20" fmla="*/ 9451 h 11839"/>
                <a:gd name="connsiteX21" fmla="*/ 19331 w 22918"/>
                <a:gd name="connsiteY21" fmla="*/ 8954 h 11839"/>
                <a:gd name="connsiteX22" fmla="*/ 21523 w 22918"/>
                <a:gd name="connsiteY22" fmla="*/ 8257 h 11839"/>
                <a:gd name="connsiteX23" fmla="*/ 22918 w 22918"/>
                <a:gd name="connsiteY23" fmla="*/ 8058 h 11839"/>
                <a:gd name="connsiteX24" fmla="*/ 22719 w 22918"/>
                <a:gd name="connsiteY24" fmla="*/ 7362 h 11839"/>
                <a:gd name="connsiteX25" fmla="*/ 21523 w 22918"/>
                <a:gd name="connsiteY25" fmla="*/ 6168 h 11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2918" h="11839">
                  <a:moveTo>
                    <a:pt x="21523" y="6168"/>
                  </a:moveTo>
                  <a:lnTo>
                    <a:pt x="16840" y="5671"/>
                  </a:lnTo>
                  <a:lnTo>
                    <a:pt x="10363" y="5173"/>
                  </a:lnTo>
                  <a:lnTo>
                    <a:pt x="5580" y="2885"/>
                  </a:lnTo>
                  <a:lnTo>
                    <a:pt x="2491" y="497"/>
                  </a:lnTo>
                  <a:lnTo>
                    <a:pt x="0" y="0"/>
                  </a:lnTo>
                  <a:lnTo>
                    <a:pt x="199" y="1691"/>
                  </a:lnTo>
                  <a:lnTo>
                    <a:pt x="897" y="2189"/>
                  </a:lnTo>
                  <a:lnTo>
                    <a:pt x="1993" y="2885"/>
                  </a:lnTo>
                  <a:lnTo>
                    <a:pt x="2491" y="3980"/>
                  </a:lnTo>
                  <a:lnTo>
                    <a:pt x="2491" y="5173"/>
                  </a:lnTo>
                  <a:lnTo>
                    <a:pt x="2491" y="6367"/>
                  </a:lnTo>
                  <a:lnTo>
                    <a:pt x="2491" y="8058"/>
                  </a:lnTo>
                  <a:lnTo>
                    <a:pt x="4783" y="9750"/>
                  </a:lnTo>
                  <a:lnTo>
                    <a:pt x="6676" y="10645"/>
                  </a:lnTo>
                  <a:lnTo>
                    <a:pt x="8270" y="11541"/>
                  </a:lnTo>
                  <a:lnTo>
                    <a:pt x="10961" y="11342"/>
                  </a:lnTo>
                  <a:lnTo>
                    <a:pt x="13053" y="11342"/>
                  </a:lnTo>
                  <a:lnTo>
                    <a:pt x="15445" y="11839"/>
                  </a:lnTo>
                  <a:lnTo>
                    <a:pt x="17039" y="10844"/>
                  </a:lnTo>
                  <a:lnTo>
                    <a:pt x="18434" y="9451"/>
                  </a:lnTo>
                  <a:lnTo>
                    <a:pt x="19331" y="8954"/>
                  </a:lnTo>
                  <a:lnTo>
                    <a:pt x="21523" y="8257"/>
                  </a:lnTo>
                  <a:lnTo>
                    <a:pt x="22918" y="8058"/>
                  </a:lnTo>
                  <a:lnTo>
                    <a:pt x="22719" y="7362"/>
                  </a:lnTo>
                  <a:lnTo>
                    <a:pt x="21523" y="616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9C0EACD6-C7A0-4AC9-BE91-087ECFF8B9D7}"/>
                </a:ext>
              </a:extLst>
            </p:cNvPr>
            <p:cNvSpPr/>
            <p:nvPr/>
          </p:nvSpPr>
          <p:spPr>
            <a:xfrm>
              <a:off x="5151929" y="1277155"/>
              <a:ext cx="15743" cy="23081"/>
            </a:xfrm>
            <a:custGeom>
              <a:avLst/>
              <a:gdLst>
                <a:gd name="connsiteX0" fmla="*/ 15744 w 15743"/>
                <a:gd name="connsiteY0" fmla="*/ 497 h 23081"/>
                <a:gd name="connsiteX1" fmla="*/ 14548 w 15743"/>
                <a:gd name="connsiteY1" fmla="*/ 0 h 23081"/>
                <a:gd name="connsiteX2" fmla="*/ 12256 w 15743"/>
                <a:gd name="connsiteY2" fmla="*/ 1293 h 23081"/>
                <a:gd name="connsiteX3" fmla="*/ 10961 w 15743"/>
                <a:gd name="connsiteY3" fmla="*/ 2885 h 23081"/>
                <a:gd name="connsiteX4" fmla="*/ 8868 w 15743"/>
                <a:gd name="connsiteY4" fmla="*/ 6566 h 23081"/>
                <a:gd name="connsiteX5" fmla="*/ 5381 w 15743"/>
                <a:gd name="connsiteY5" fmla="*/ 11242 h 23081"/>
                <a:gd name="connsiteX6" fmla="*/ 0 w 15743"/>
                <a:gd name="connsiteY6" fmla="*/ 21887 h 23081"/>
                <a:gd name="connsiteX7" fmla="*/ 1893 w 15743"/>
                <a:gd name="connsiteY7" fmla="*/ 23081 h 23081"/>
                <a:gd name="connsiteX8" fmla="*/ 3787 w 15743"/>
                <a:gd name="connsiteY8" fmla="*/ 17908 h 23081"/>
                <a:gd name="connsiteX9" fmla="*/ 11360 w 15743"/>
                <a:gd name="connsiteY9" fmla="*/ 9053 h 23081"/>
                <a:gd name="connsiteX10" fmla="*/ 13950 w 15743"/>
                <a:gd name="connsiteY10" fmla="*/ 4477 h 23081"/>
                <a:gd name="connsiteX11" fmla="*/ 15644 w 15743"/>
                <a:gd name="connsiteY11" fmla="*/ 2288 h 23081"/>
                <a:gd name="connsiteX12" fmla="*/ 15744 w 15743"/>
                <a:gd name="connsiteY12" fmla="*/ 497 h 23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43" h="23081">
                  <a:moveTo>
                    <a:pt x="15744" y="497"/>
                  </a:moveTo>
                  <a:lnTo>
                    <a:pt x="14548" y="0"/>
                  </a:lnTo>
                  <a:lnTo>
                    <a:pt x="12256" y="1293"/>
                  </a:lnTo>
                  <a:lnTo>
                    <a:pt x="10961" y="2885"/>
                  </a:lnTo>
                  <a:lnTo>
                    <a:pt x="8868" y="6566"/>
                  </a:lnTo>
                  <a:lnTo>
                    <a:pt x="5381" y="11242"/>
                  </a:lnTo>
                  <a:lnTo>
                    <a:pt x="0" y="21887"/>
                  </a:lnTo>
                  <a:lnTo>
                    <a:pt x="1893" y="23081"/>
                  </a:lnTo>
                  <a:lnTo>
                    <a:pt x="3787" y="17908"/>
                  </a:lnTo>
                  <a:lnTo>
                    <a:pt x="11360" y="9053"/>
                  </a:lnTo>
                  <a:lnTo>
                    <a:pt x="13950" y="4477"/>
                  </a:lnTo>
                  <a:lnTo>
                    <a:pt x="15644" y="2288"/>
                  </a:lnTo>
                  <a:lnTo>
                    <a:pt x="15744" y="4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7" name="Freeform: Shape 1366">
              <a:extLst>
                <a:ext uri="{FF2B5EF4-FFF2-40B4-BE49-F238E27FC236}">
                  <a16:creationId xmlns:a16="http://schemas.microsoft.com/office/drawing/2014/main" id="{0A26AA58-6BC6-4718-9512-B3E044BAD78C}"/>
                </a:ext>
              </a:extLst>
            </p:cNvPr>
            <p:cNvSpPr/>
            <p:nvPr/>
          </p:nvSpPr>
          <p:spPr>
            <a:xfrm>
              <a:off x="6035772" y="265667"/>
              <a:ext cx="2092" cy="1392"/>
            </a:xfrm>
            <a:custGeom>
              <a:avLst/>
              <a:gdLst>
                <a:gd name="connsiteX0" fmla="*/ 0 w 2092"/>
                <a:gd name="connsiteY0" fmla="*/ 298 h 1392"/>
                <a:gd name="connsiteX1" fmla="*/ 299 w 2092"/>
                <a:gd name="connsiteY1" fmla="*/ 1393 h 1392"/>
                <a:gd name="connsiteX2" fmla="*/ 1794 w 2092"/>
                <a:gd name="connsiteY2" fmla="*/ 1393 h 1392"/>
                <a:gd name="connsiteX3" fmla="*/ 2093 w 2092"/>
                <a:gd name="connsiteY3" fmla="*/ 1094 h 1392"/>
                <a:gd name="connsiteX4" fmla="*/ 698 w 2092"/>
                <a:gd name="connsiteY4" fmla="*/ 0 h 1392"/>
                <a:gd name="connsiteX5" fmla="*/ 0 w 2092"/>
                <a:gd name="connsiteY5" fmla="*/ 298 h 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2" h="1392">
                  <a:moveTo>
                    <a:pt x="0" y="298"/>
                  </a:moveTo>
                  <a:lnTo>
                    <a:pt x="299" y="1393"/>
                  </a:lnTo>
                  <a:lnTo>
                    <a:pt x="1794" y="1393"/>
                  </a:lnTo>
                  <a:lnTo>
                    <a:pt x="2093" y="1094"/>
                  </a:lnTo>
                  <a:lnTo>
                    <a:pt x="698" y="0"/>
                  </a:lnTo>
                  <a:lnTo>
                    <a:pt x="0" y="2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8" name="Freeform: Shape 1367">
              <a:extLst>
                <a:ext uri="{FF2B5EF4-FFF2-40B4-BE49-F238E27FC236}">
                  <a16:creationId xmlns:a16="http://schemas.microsoft.com/office/drawing/2014/main" id="{23232305-372C-4615-9874-1C703D868DB3}"/>
                </a:ext>
              </a:extLst>
            </p:cNvPr>
            <p:cNvSpPr/>
            <p:nvPr/>
          </p:nvSpPr>
          <p:spPr>
            <a:xfrm>
              <a:off x="6041750" y="257111"/>
              <a:ext cx="498" cy="994"/>
            </a:xfrm>
            <a:custGeom>
              <a:avLst/>
              <a:gdLst>
                <a:gd name="connsiteX0" fmla="*/ 499 w 498"/>
                <a:gd name="connsiteY0" fmla="*/ 995 h 994"/>
                <a:gd name="connsiteX1" fmla="*/ 199 w 498"/>
                <a:gd name="connsiteY1" fmla="*/ 0 h 994"/>
                <a:gd name="connsiteX2" fmla="*/ 0 w 498"/>
                <a:gd name="connsiteY2" fmla="*/ 597 h 994"/>
                <a:gd name="connsiteX3" fmla="*/ 499 w 498"/>
                <a:gd name="connsiteY3" fmla="*/ 995 h 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" h="994">
                  <a:moveTo>
                    <a:pt x="499" y="995"/>
                  </a:moveTo>
                  <a:lnTo>
                    <a:pt x="199" y="0"/>
                  </a:lnTo>
                  <a:lnTo>
                    <a:pt x="0" y="597"/>
                  </a:lnTo>
                  <a:lnTo>
                    <a:pt x="499" y="9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9" name="Freeform: Shape 1368">
              <a:extLst>
                <a:ext uri="{FF2B5EF4-FFF2-40B4-BE49-F238E27FC236}">
                  <a16:creationId xmlns:a16="http://schemas.microsoft.com/office/drawing/2014/main" id="{6CC48A9D-2D6A-4BFC-A7EF-41F7F5485898}"/>
                </a:ext>
              </a:extLst>
            </p:cNvPr>
            <p:cNvSpPr/>
            <p:nvPr/>
          </p:nvSpPr>
          <p:spPr>
            <a:xfrm>
              <a:off x="6032185" y="246963"/>
              <a:ext cx="11060" cy="19798"/>
            </a:xfrm>
            <a:custGeom>
              <a:avLst/>
              <a:gdLst>
                <a:gd name="connsiteX0" fmla="*/ 8769 w 11060"/>
                <a:gd name="connsiteY0" fmla="*/ 8954 h 19798"/>
                <a:gd name="connsiteX1" fmla="*/ 5779 w 11060"/>
                <a:gd name="connsiteY1" fmla="*/ 1890 h 19798"/>
                <a:gd name="connsiteX2" fmla="*/ 2989 w 11060"/>
                <a:gd name="connsiteY2" fmla="*/ 0 h 19798"/>
                <a:gd name="connsiteX3" fmla="*/ 896 w 11060"/>
                <a:gd name="connsiteY3" fmla="*/ 597 h 19798"/>
                <a:gd name="connsiteX4" fmla="*/ 0 w 11060"/>
                <a:gd name="connsiteY4" fmla="*/ 2885 h 19798"/>
                <a:gd name="connsiteX5" fmla="*/ 996 w 11060"/>
                <a:gd name="connsiteY5" fmla="*/ 6069 h 19798"/>
                <a:gd name="connsiteX6" fmla="*/ 1992 w 11060"/>
                <a:gd name="connsiteY6" fmla="*/ 7760 h 19798"/>
                <a:gd name="connsiteX7" fmla="*/ 2292 w 11060"/>
                <a:gd name="connsiteY7" fmla="*/ 8456 h 19798"/>
                <a:gd name="connsiteX8" fmla="*/ 2591 w 11060"/>
                <a:gd name="connsiteY8" fmla="*/ 8755 h 19798"/>
                <a:gd name="connsiteX9" fmla="*/ 4185 w 11060"/>
                <a:gd name="connsiteY9" fmla="*/ 8954 h 19798"/>
                <a:gd name="connsiteX10" fmla="*/ 4683 w 11060"/>
                <a:gd name="connsiteY10" fmla="*/ 8357 h 19798"/>
                <a:gd name="connsiteX11" fmla="*/ 5181 w 11060"/>
                <a:gd name="connsiteY11" fmla="*/ 7362 h 19798"/>
                <a:gd name="connsiteX12" fmla="*/ 6078 w 11060"/>
                <a:gd name="connsiteY12" fmla="*/ 6765 h 19798"/>
                <a:gd name="connsiteX13" fmla="*/ 7473 w 11060"/>
                <a:gd name="connsiteY13" fmla="*/ 7760 h 19798"/>
                <a:gd name="connsiteX14" fmla="*/ 3787 w 11060"/>
                <a:gd name="connsiteY14" fmla="*/ 15620 h 19798"/>
                <a:gd name="connsiteX15" fmla="*/ 3189 w 11060"/>
                <a:gd name="connsiteY15" fmla="*/ 17808 h 19798"/>
                <a:gd name="connsiteX16" fmla="*/ 3587 w 11060"/>
                <a:gd name="connsiteY16" fmla="*/ 19002 h 19798"/>
                <a:gd name="connsiteX17" fmla="*/ 4285 w 11060"/>
                <a:gd name="connsiteY17" fmla="*/ 18704 h 19798"/>
                <a:gd name="connsiteX18" fmla="*/ 5680 w 11060"/>
                <a:gd name="connsiteY18" fmla="*/ 19798 h 19798"/>
                <a:gd name="connsiteX19" fmla="*/ 7074 w 11060"/>
                <a:gd name="connsiteY19" fmla="*/ 18704 h 19798"/>
                <a:gd name="connsiteX20" fmla="*/ 8370 w 11060"/>
                <a:gd name="connsiteY20" fmla="*/ 17112 h 19798"/>
                <a:gd name="connsiteX21" fmla="*/ 9267 w 11060"/>
                <a:gd name="connsiteY21" fmla="*/ 16515 h 19798"/>
                <a:gd name="connsiteX22" fmla="*/ 10163 w 11060"/>
                <a:gd name="connsiteY22" fmla="*/ 16216 h 19798"/>
                <a:gd name="connsiteX23" fmla="*/ 10861 w 11060"/>
                <a:gd name="connsiteY23" fmla="*/ 15620 h 19798"/>
                <a:gd name="connsiteX24" fmla="*/ 11060 w 11060"/>
                <a:gd name="connsiteY24" fmla="*/ 14227 h 19798"/>
                <a:gd name="connsiteX25" fmla="*/ 10064 w 11060"/>
                <a:gd name="connsiteY25" fmla="*/ 11143 h 19798"/>
                <a:gd name="connsiteX26" fmla="*/ 9565 w 11060"/>
                <a:gd name="connsiteY26" fmla="*/ 10745 h 19798"/>
                <a:gd name="connsiteX27" fmla="*/ 9765 w 11060"/>
                <a:gd name="connsiteY27" fmla="*/ 10148 h 19798"/>
                <a:gd name="connsiteX28" fmla="*/ 9765 w 11060"/>
                <a:gd name="connsiteY28" fmla="*/ 10148 h 19798"/>
                <a:gd name="connsiteX29" fmla="*/ 8769 w 11060"/>
                <a:gd name="connsiteY29" fmla="*/ 8954 h 19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060" h="19798">
                  <a:moveTo>
                    <a:pt x="8769" y="8954"/>
                  </a:moveTo>
                  <a:lnTo>
                    <a:pt x="5779" y="1890"/>
                  </a:lnTo>
                  <a:lnTo>
                    <a:pt x="2989" y="0"/>
                  </a:lnTo>
                  <a:lnTo>
                    <a:pt x="896" y="597"/>
                  </a:lnTo>
                  <a:lnTo>
                    <a:pt x="0" y="2885"/>
                  </a:lnTo>
                  <a:lnTo>
                    <a:pt x="996" y="6069"/>
                  </a:lnTo>
                  <a:lnTo>
                    <a:pt x="1992" y="7760"/>
                  </a:lnTo>
                  <a:lnTo>
                    <a:pt x="2292" y="8456"/>
                  </a:lnTo>
                  <a:lnTo>
                    <a:pt x="2591" y="8755"/>
                  </a:lnTo>
                  <a:lnTo>
                    <a:pt x="4185" y="8954"/>
                  </a:lnTo>
                  <a:lnTo>
                    <a:pt x="4683" y="8357"/>
                  </a:lnTo>
                  <a:lnTo>
                    <a:pt x="5181" y="7362"/>
                  </a:lnTo>
                  <a:lnTo>
                    <a:pt x="6078" y="6765"/>
                  </a:lnTo>
                  <a:lnTo>
                    <a:pt x="7473" y="7760"/>
                  </a:lnTo>
                  <a:lnTo>
                    <a:pt x="3787" y="15620"/>
                  </a:lnTo>
                  <a:lnTo>
                    <a:pt x="3189" y="17808"/>
                  </a:lnTo>
                  <a:lnTo>
                    <a:pt x="3587" y="19002"/>
                  </a:lnTo>
                  <a:lnTo>
                    <a:pt x="4285" y="18704"/>
                  </a:lnTo>
                  <a:lnTo>
                    <a:pt x="5680" y="19798"/>
                  </a:lnTo>
                  <a:lnTo>
                    <a:pt x="7074" y="18704"/>
                  </a:lnTo>
                  <a:lnTo>
                    <a:pt x="8370" y="17112"/>
                  </a:lnTo>
                  <a:lnTo>
                    <a:pt x="9267" y="16515"/>
                  </a:lnTo>
                  <a:lnTo>
                    <a:pt x="10163" y="16216"/>
                  </a:lnTo>
                  <a:lnTo>
                    <a:pt x="10861" y="15620"/>
                  </a:lnTo>
                  <a:lnTo>
                    <a:pt x="11060" y="14227"/>
                  </a:lnTo>
                  <a:lnTo>
                    <a:pt x="10064" y="11143"/>
                  </a:lnTo>
                  <a:lnTo>
                    <a:pt x="9565" y="10745"/>
                  </a:lnTo>
                  <a:lnTo>
                    <a:pt x="9765" y="10148"/>
                  </a:lnTo>
                  <a:lnTo>
                    <a:pt x="9765" y="10148"/>
                  </a:lnTo>
                  <a:lnTo>
                    <a:pt x="8769" y="895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0" name="Freeform: Shape 1369">
              <a:extLst>
                <a:ext uri="{FF2B5EF4-FFF2-40B4-BE49-F238E27FC236}">
                  <a16:creationId xmlns:a16="http://schemas.microsoft.com/office/drawing/2014/main" id="{9B9E5212-BBD6-4912-B7E2-0FEDABBCFD87}"/>
                </a:ext>
              </a:extLst>
            </p:cNvPr>
            <p:cNvSpPr/>
            <p:nvPr/>
          </p:nvSpPr>
          <p:spPr>
            <a:xfrm>
              <a:off x="6097551" y="225175"/>
              <a:ext cx="1594" cy="696"/>
            </a:xfrm>
            <a:custGeom>
              <a:avLst/>
              <a:gdLst>
                <a:gd name="connsiteX0" fmla="*/ 797 w 1594"/>
                <a:gd name="connsiteY0" fmla="*/ 696 h 696"/>
                <a:gd name="connsiteX1" fmla="*/ 1594 w 1594"/>
                <a:gd name="connsiteY1" fmla="*/ 0 h 696"/>
                <a:gd name="connsiteX2" fmla="*/ 0 w 1594"/>
                <a:gd name="connsiteY2" fmla="*/ 398 h 696"/>
                <a:gd name="connsiteX3" fmla="*/ 797 w 1594"/>
                <a:gd name="connsiteY3" fmla="*/ 696 h 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4" h="696">
                  <a:moveTo>
                    <a:pt x="797" y="696"/>
                  </a:moveTo>
                  <a:lnTo>
                    <a:pt x="1594" y="0"/>
                  </a:lnTo>
                  <a:lnTo>
                    <a:pt x="0" y="398"/>
                  </a:lnTo>
                  <a:lnTo>
                    <a:pt x="797" y="6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1" name="Freeform: Shape 1370">
              <a:extLst>
                <a:ext uri="{FF2B5EF4-FFF2-40B4-BE49-F238E27FC236}">
                  <a16:creationId xmlns:a16="http://schemas.microsoft.com/office/drawing/2014/main" id="{0CEBE83B-AA9C-4554-8A58-DCCE24956A53}"/>
                </a:ext>
              </a:extLst>
            </p:cNvPr>
            <p:cNvSpPr/>
            <p:nvPr/>
          </p:nvSpPr>
          <p:spPr>
            <a:xfrm>
              <a:off x="6095259" y="216719"/>
              <a:ext cx="4982" cy="8854"/>
            </a:xfrm>
            <a:custGeom>
              <a:avLst/>
              <a:gdLst>
                <a:gd name="connsiteX0" fmla="*/ 4285 w 4982"/>
                <a:gd name="connsiteY0" fmla="*/ 3482 h 8854"/>
                <a:gd name="connsiteX1" fmla="*/ 3089 w 4982"/>
                <a:gd name="connsiteY1" fmla="*/ 0 h 8854"/>
                <a:gd name="connsiteX2" fmla="*/ 0 w 4982"/>
                <a:gd name="connsiteY2" fmla="*/ 6666 h 8854"/>
                <a:gd name="connsiteX3" fmla="*/ 598 w 4982"/>
                <a:gd name="connsiteY3" fmla="*/ 8257 h 8854"/>
                <a:gd name="connsiteX4" fmla="*/ 2292 w 4982"/>
                <a:gd name="connsiteY4" fmla="*/ 8854 h 8854"/>
                <a:gd name="connsiteX5" fmla="*/ 3886 w 4982"/>
                <a:gd name="connsiteY5" fmla="*/ 8456 h 8854"/>
                <a:gd name="connsiteX6" fmla="*/ 4982 w 4982"/>
                <a:gd name="connsiteY6" fmla="*/ 7462 h 8854"/>
                <a:gd name="connsiteX7" fmla="*/ 4285 w 4982"/>
                <a:gd name="connsiteY7" fmla="*/ 3482 h 8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82" h="8854">
                  <a:moveTo>
                    <a:pt x="4285" y="3482"/>
                  </a:moveTo>
                  <a:lnTo>
                    <a:pt x="3089" y="0"/>
                  </a:lnTo>
                  <a:lnTo>
                    <a:pt x="0" y="6666"/>
                  </a:lnTo>
                  <a:lnTo>
                    <a:pt x="598" y="8257"/>
                  </a:lnTo>
                  <a:lnTo>
                    <a:pt x="2292" y="8854"/>
                  </a:lnTo>
                  <a:lnTo>
                    <a:pt x="3886" y="8456"/>
                  </a:lnTo>
                  <a:lnTo>
                    <a:pt x="4982" y="7462"/>
                  </a:lnTo>
                  <a:lnTo>
                    <a:pt x="4285" y="348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2" name="Freeform: Shape 1371">
              <a:extLst>
                <a:ext uri="{FF2B5EF4-FFF2-40B4-BE49-F238E27FC236}">
                  <a16:creationId xmlns:a16="http://schemas.microsoft.com/office/drawing/2014/main" id="{1FC488E5-30EB-4E68-8540-EECF68F0BC91}"/>
                </a:ext>
              </a:extLst>
            </p:cNvPr>
            <p:cNvSpPr/>
            <p:nvPr/>
          </p:nvSpPr>
          <p:spPr>
            <a:xfrm>
              <a:off x="6128740" y="158519"/>
              <a:ext cx="24611" cy="15918"/>
            </a:xfrm>
            <a:custGeom>
              <a:avLst/>
              <a:gdLst>
                <a:gd name="connsiteX0" fmla="*/ 19829 w 24611"/>
                <a:gd name="connsiteY0" fmla="*/ 3681 h 15918"/>
                <a:gd name="connsiteX1" fmla="*/ 18036 w 24611"/>
                <a:gd name="connsiteY1" fmla="*/ 4576 h 15918"/>
                <a:gd name="connsiteX2" fmla="*/ 14149 w 24611"/>
                <a:gd name="connsiteY2" fmla="*/ 5372 h 15918"/>
                <a:gd name="connsiteX3" fmla="*/ 12555 w 24611"/>
                <a:gd name="connsiteY3" fmla="*/ 6666 h 15918"/>
                <a:gd name="connsiteX4" fmla="*/ 9865 w 24611"/>
                <a:gd name="connsiteY4" fmla="*/ 10148 h 15918"/>
                <a:gd name="connsiteX5" fmla="*/ 8270 w 24611"/>
                <a:gd name="connsiteY5" fmla="*/ 11441 h 15918"/>
                <a:gd name="connsiteX6" fmla="*/ 299 w 24611"/>
                <a:gd name="connsiteY6" fmla="*/ 13630 h 15918"/>
                <a:gd name="connsiteX7" fmla="*/ 299 w 24611"/>
                <a:gd name="connsiteY7" fmla="*/ 13630 h 15918"/>
                <a:gd name="connsiteX8" fmla="*/ 0 w 24611"/>
                <a:gd name="connsiteY8" fmla="*/ 13928 h 15918"/>
                <a:gd name="connsiteX9" fmla="*/ 5081 w 24611"/>
                <a:gd name="connsiteY9" fmla="*/ 15918 h 15918"/>
                <a:gd name="connsiteX10" fmla="*/ 6676 w 24611"/>
                <a:gd name="connsiteY10" fmla="*/ 12436 h 15918"/>
                <a:gd name="connsiteX11" fmla="*/ 15943 w 24611"/>
                <a:gd name="connsiteY11" fmla="*/ 8954 h 15918"/>
                <a:gd name="connsiteX12" fmla="*/ 20825 w 24611"/>
                <a:gd name="connsiteY12" fmla="*/ 5571 h 15918"/>
                <a:gd name="connsiteX13" fmla="*/ 24612 w 24611"/>
                <a:gd name="connsiteY13" fmla="*/ 995 h 15918"/>
                <a:gd name="connsiteX14" fmla="*/ 21623 w 24611"/>
                <a:gd name="connsiteY14" fmla="*/ 0 h 15918"/>
                <a:gd name="connsiteX15" fmla="*/ 20925 w 24611"/>
                <a:gd name="connsiteY15" fmla="*/ 1990 h 15918"/>
                <a:gd name="connsiteX16" fmla="*/ 19829 w 24611"/>
                <a:gd name="connsiteY16" fmla="*/ 3681 h 1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611" h="15918">
                  <a:moveTo>
                    <a:pt x="19829" y="3681"/>
                  </a:moveTo>
                  <a:lnTo>
                    <a:pt x="18036" y="4576"/>
                  </a:lnTo>
                  <a:lnTo>
                    <a:pt x="14149" y="5372"/>
                  </a:lnTo>
                  <a:lnTo>
                    <a:pt x="12555" y="6666"/>
                  </a:lnTo>
                  <a:lnTo>
                    <a:pt x="9865" y="10148"/>
                  </a:lnTo>
                  <a:lnTo>
                    <a:pt x="8270" y="11441"/>
                  </a:lnTo>
                  <a:lnTo>
                    <a:pt x="299" y="13630"/>
                  </a:lnTo>
                  <a:lnTo>
                    <a:pt x="299" y="13630"/>
                  </a:lnTo>
                  <a:lnTo>
                    <a:pt x="0" y="13928"/>
                  </a:lnTo>
                  <a:lnTo>
                    <a:pt x="5081" y="15918"/>
                  </a:lnTo>
                  <a:lnTo>
                    <a:pt x="6676" y="12436"/>
                  </a:lnTo>
                  <a:lnTo>
                    <a:pt x="15943" y="8954"/>
                  </a:lnTo>
                  <a:lnTo>
                    <a:pt x="20825" y="5571"/>
                  </a:lnTo>
                  <a:lnTo>
                    <a:pt x="24612" y="995"/>
                  </a:lnTo>
                  <a:lnTo>
                    <a:pt x="21623" y="0"/>
                  </a:lnTo>
                  <a:lnTo>
                    <a:pt x="20925" y="1990"/>
                  </a:lnTo>
                  <a:lnTo>
                    <a:pt x="19829" y="368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3" name="Freeform: Shape 1372">
              <a:extLst>
                <a:ext uri="{FF2B5EF4-FFF2-40B4-BE49-F238E27FC236}">
                  <a16:creationId xmlns:a16="http://schemas.microsoft.com/office/drawing/2014/main" id="{C042F8BE-BCF0-4670-8BD6-CA94B33BA924}"/>
                </a:ext>
              </a:extLst>
            </p:cNvPr>
            <p:cNvSpPr/>
            <p:nvPr/>
          </p:nvSpPr>
          <p:spPr>
            <a:xfrm>
              <a:off x="6129039" y="158021"/>
              <a:ext cx="21323" cy="14127"/>
            </a:xfrm>
            <a:custGeom>
              <a:avLst/>
              <a:gdLst>
                <a:gd name="connsiteX0" fmla="*/ 9167 w 21323"/>
                <a:gd name="connsiteY0" fmla="*/ 4377 h 14127"/>
                <a:gd name="connsiteX1" fmla="*/ 3986 w 21323"/>
                <a:gd name="connsiteY1" fmla="*/ 9650 h 14127"/>
                <a:gd name="connsiteX2" fmla="*/ 0 w 21323"/>
                <a:gd name="connsiteY2" fmla="*/ 14127 h 14127"/>
                <a:gd name="connsiteX3" fmla="*/ 0 w 21323"/>
                <a:gd name="connsiteY3" fmla="*/ 14127 h 14127"/>
                <a:gd name="connsiteX4" fmla="*/ 7971 w 21323"/>
                <a:gd name="connsiteY4" fmla="*/ 11938 h 14127"/>
                <a:gd name="connsiteX5" fmla="*/ 9566 w 21323"/>
                <a:gd name="connsiteY5" fmla="*/ 10645 h 14127"/>
                <a:gd name="connsiteX6" fmla="*/ 12256 w 21323"/>
                <a:gd name="connsiteY6" fmla="*/ 7163 h 14127"/>
                <a:gd name="connsiteX7" fmla="*/ 13851 w 21323"/>
                <a:gd name="connsiteY7" fmla="*/ 5870 h 14127"/>
                <a:gd name="connsiteX8" fmla="*/ 17737 w 21323"/>
                <a:gd name="connsiteY8" fmla="*/ 5074 h 14127"/>
                <a:gd name="connsiteX9" fmla="*/ 19530 w 21323"/>
                <a:gd name="connsiteY9" fmla="*/ 4178 h 14127"/>
                <a:gd name="connsiteX10" fmla="*/ 20626 w 21323"/>
                <a:gd name="connsiteY10" fmla="*/ 2487 h 14127"/>
                <a:gd name="connsiteX11" fmla="*/ 21324 w 21323"/>
                <a:gd name="connsiteY11" fmla="*/ 497 h 14127"/>
                <a:gd name="connsiteX12" fmla="*/ 19829 w 21323"/>
                <a:gd name="connsiteY12" fmla="*/ 0 h 14127"/>
                <a:gd name="connsiteX13" fmla="*/ 9167 w 21323"/>
                <a:gd name="connsiteY13" fmla="*/ 4377 h 1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323" h="14127">
                  <a:moveTo>
                    <a:pt x="9167" y="4377"/>
                  </a:moveTo>
                  <a:lnTo>
                    <a:pt x="3986" y="9650"/>
                  </a:lnTo>
                  <a:lnTo>
                    <a:pt x="0" y="14127"/>
                  </a:lnTo>
                  <a:lnTo>
                    <a:pt x="0" y="14127"/>
                  </a:lnTo>
                  <a:lnTo>
                    <a:pt x="7971" y="11938"/>
                  </a:lnTo>
                  <a:lnTo>
                    <a:pt x="9566" y="10645"/>
                  </a:lnTo>
                  <a:lnTo>
                    <a:pt x="12256" y="7163"/>
                  </a:lnTo>
                  <a:lnTo>
                    <a:pt x="13851" y="5870"/>
                  </a:lnTo>
                  <a:lnTo>
                    <a:pt x="17737" y="5074"/>
                  </a:lnTo>
                  <a:lnTo>
                    <a:pt x="19530" y="4178"/>
                  </a:lnTo>
                  <a:lnTo>
                    <a:pt x="20626" y="2487"/>
                  </a:lnTo>
                  <a:lnTo>
                    <a:pt x="21324" y="497"/>
                  </a:lnTo>
                  <a:lnTo>
                    <a:pt x="19829" y="0"/>
                  </a:lnTo>
                  <a:lnTo>
                    <a:pt x="9167" y="437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4" name="Freeform: Shape 1373">
              <a:extLst>
                <a:ext uri="{FF2B5EF4-FFF2-40B4-BE49-F238E27FC236}">
                  <a16:creationId xmlns:a16="http://schemas.microsoft.com/office/drawing/2014/main" id="{492CA4B1-3FB6-4A5D-98FE-3A66671379BD}"/>
                </a:ext>
              </a:extLst>
            </p:cNvPr>
            <p:cNvSpPr/>
            <p:nvPr/>
          </p:nvSpPr>
          <p:spPr>
            <a:xfrm>
              <a:off x="6155046" y="144988"/>
              <a:ext cx="13552" cy="8655"/>
            </a:xfrm>
            <a:custGeom>
              <a:avLst/>
              <a:gdLst>
                <a:gd name="connsiteX0" fmla="*/ 11061 w 13552"/>
                <a:gd name="connsiteY0" fmla="*/ 5472 h 8655"/>
                <a:gd name="connsiteX1" fmla="*/ 13552 w 13552"/>
                <a:gd name="connsiteY1" fmla="*/ 2786 h 8655"/>
                <a:gd name="connsiteX2" fmla="*/ 13452 w 13552"/>
                <a:gd name="connsiteY2" fmla="*/ 0 h 8655"/>
                <a:gd name="connsiteX3" fmla="*/ 3288 w 13552"/>
                <a:gd name="connsiteY3" fmla="*/ 2288 h 8655"/>
                <a:gd name="connsiteX4" fmla="*/ 0 w 13552"/>
                <a:gd name="connsiteY4" fmla="*/ 5173 h 8655"/>
                <a:gd name="connsiteX5" fmla="*/ 399 w 13552"/>
                <a:gd name="connsiteY5" fmla="*/ 8655 h 8655"/>
                <a:gd name="connsiteX6" fmla="*/ 6477 w 13552"/>
                <a:gd name="connsiteY6" fmla="*/ 8556 h 8655"/>
                <a:gd name="connsiteX7" fmla="*/ 11061 w 13552"/>
                <a:gd name="connsiteY7" fmla="*/ 5472 h 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552" h="8655">
                  <a:moveTo>
                    <a:pt x="11061" y="5472"/>
                  </a:moveTo>
                  <a:lnTo>
                    <a:pt x="13552" y="2786"/>
                  </a:lnTo>
                  <a:lnTo>
                    <a:pt x="13452" y="0"/>
                  </a:lnTo>
                  <a:lnTo>
                    <a:pt x="3288" y="2288"/>
                  </a:lnTo>
                  <a:lnTo>
                    <a:pt x="0" y="5173"/>
                  </a:lnTo>
                  <a:lnTo>
                    <a:pt x="399" y="8655"/>
                  </a:lnTo>
                  <a:lnTo>
                    <a:pt x="6477" y="8556"/>
                  </a:lnTo>
                  <a:lnTo>
                    <a:pt x="11061" y="547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5" name="Freeform: Shape 1374">
              <a:extLst>
                <a:ext uri="{FF2B5EF4-FFF2-40B4-BE49-F238E27FC236}">
                  <a16:creationId xmlns:a16="http://schemas.microsoft.com/office/drawing/2014/main" id="{FCAA5402-9A53-43C9-BB69-4D29EDA94FF1}"/>
                </a:ext>
              </a:extLst>
            </p:cNvPr>
            <p:cNvSpPr/>
            <p:nvPr/>
          </p:nvSpPr>
          <p:spPr>
            <a:xfrm>
              <a:off x="-2280422" y="306854"/>
              <a:ext cx="26804" cy="31537"/>
            </a:xfrm>
            <a:custGeom>
              <a:avLst/>
              <a:gdLst>
                <a:gd name="connsiteX0" fmla="*/ 16441 w 26804"/>
                <a:gd name="connsiteY0" fmla="*/ 3780 h 31537"/>
                <a:gd name="connsiteX1" fmla="*/ 10463 w 26804"/>
                <a:gd name="connsiteY1" fmla="*/ 2388 h 31537"/>
                <a:gd name="connsiteX2" fmla="*/ 6178 w 26804"/>
                <a:gd name="connsiteY2" fmla="*/ 0 h 31537"/>
                <a:gd name="connsiteX3" fmla="*/ 4683 w 26804"/>
                <a:gd name="connsiteY3" fmla="*/ 1890 h 31537"/>
                <a:gd name="connsiteX4" fmla="*/ 3587 w 26804"/>
                <a:gd name="connsiteY4" fmla="*/ 4676 h 31537"/>
                <a:gd name="connsiteX5" fmla="*/ 2093 w 26804"/>
                <a:gd name="connsiteY5" fmla="*/ 6168 h 31537"/>
                <a:gd name="connsiteX6" fmla="*/ 100 w 26804"/>
                <a:gd name="connsiteY6" fmla="*/ 7064 h 31537"/>
                <a:gd name="connsiteX7" fmla="*/ 0 w 26804"/>
                <a:gd name="connsiteY7" fmla="*/ 9252 h 31537"/>
                <a:gd name="connsiteX8" fmla="*/ 996 w 26804"/>
                <a:gd name="connsiteY8" fmla="*/ 11740 h 31537"/>
                <a:gd name="connsiteX9" fmla="*/ 4982 w 26804"/>
                <a:gd name="connsiteY9" fmla="*/ 17609 h 31537"/>
                <a:gd name="connsiteX10" fmla="*/ 6676 w 26804"/>
                <a:gd name="connsiteY10" fmla="*/ 18604 h 31537"/>
                <a:gd name="connsiteX11" fmla="*/ 9466 w 26804"/>
                <a:gd name="connsiteY11" fmla="*/ 18803 h 31537"/>
                <a:gd name="connsiteX12" fmla="*/ 13851 w 26804"/>
                <a:gd name="connsiteY12" fmla="*/ 17709 h 31537"/>
                <a:gd name="connsiteX13" fmla="*/ 15843 w 26804"/>
                <a:gd name="connsiteY13" fmla="*/ 17808 h 31537"/>
                <a:gd name="connsiteX14" fmla="*/ 17238 w 26804"/>
                <a:gd name="connsiteY14" fmla="*/ 20096 h 31537"/>
                <a:gd name="connsiteX15" fmla="*/ 15644 w 26804"/>
                <a:gd name="connsiteY15" fmla="*/ 21191 h 31537"/>
                <a:gd name="connsiteX16" fmla="*/ 13552 w 26804"/>
                <a:gd name="connsiteY16" fmla="*/ 22086 h 31537"/>
                <a:gd name="connsiteX17" fmla="*/ 12157 w 26804"/>
                <a:gd name="connsiteY17" fmla="*/ 23280 h 31537"/>
                <a:gd name="connsiteX18" fmla="*/ 12555 w 26804"/>
                <a:gd name="connsiteY18" fmla="*/ 25270 h 31537"/>
                <a:gd name="connsiteX19" fmla="*/ 14349 w 26804"/>
                <a:gd name="connsiteY19" fmla="*/ 28851 h 31537"/>
                <a:gd name="connsiteX20" fmla="*/ 15544 w 26804"/>
                <a:gd name="connsiteY20" fmla="*/ 30742 h 31537"/>
                <a:gd name="connsiteX21" fmla="*/ 16840 w 26804"/>
                <a:gd name="connsiteY21" fmla="*/ 31537 h 31537"/>
                <a:gd name="connsiteX22" fmla="*/ 19331 w 26804"/>
                <a:gd name="connsiteY22" fmla="*/ 30443 h 31537"/>
                <a:gd name="connsiteX23" fmla="*/ 22719 w 26804"/>
                <a:gd name="connsiteY23" fmla="*/ 27856 h 31537"/>
                <a:gd name="connsiteX24" fmla="*/ 25609 w 26804"/>
                <a:gd name="connsiteY24" fmla="*/ 24971 h 31537"/>
                <a:gd name="connsiteX25" fmla="*/ 26804 w 26804"/>
                <a:gd name="connsiteY25" fmla="*/ 22982 h 31537"/>
                <a:gd name="connsiteX26" fmla="*/ 25310 w 26804"/>
                <a:gd name="connsiteY26" fmla="*/ 19400 h 31537"/>
                <a:gd name="connsiteX27" fmla="*/ 22021 w 26804"/>
                <a:gd name="connsiteY27" fmla="*/ 17908 h 31537"/>
                <a:gd name="connsiteX28" fmla="*/ 19032 w 26804"/>
                <a:gd name="connsiteY28" fmla="*/ 15620 h 31537"/>
                <a:gd name="connsiteX29" fmla="*/ 18135 w 26804"/>
                <a:gd name="connsiteY29" fmla="*/ 9750 h 31537"/>
                <a:gd name="connsiteX30" fmla="*/ 18833 w 26804"/>
                <a:gd name="connsiteY30" fmla="*/ 6964 h 31537"/>
                <a:gd name="connsiteX31" fmla="*/ 19431 w 26804"/>
                <a:gd name="connsiteY31" fmla="*/ 5770 h 31537"/>
                <a:gd name="connsiteX32" fmla="*/ 18932 w 26804"/>
                <a:gd name="connsiteY32" fmla="*/ 5074 h 31537"/>
                <a:gd name="connsiteX33" fmla="*/ 16441 w 26804"/>
                <a:gd name="connsiteY33" fmla="*/ 3780 h 31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6804" h="31537">
                  <a:moveTo>
                    <a:pt x="16441" y="3780"/>
                  </a:moveTo>
                  <a:lnTo>
                    <a:pt x="10463" y="2388"/>
                  </a:lnTo>
                  <a:lnTo>
                    <a:pt x="6178" y="0"/>
                  </a:lnTo>
                  <a:lnTo>
                    <a:pt x="4683" y="1890"/>
                  </a:lnTo>
                  <a:lnTo>
                    <a:pt x="3587" y="4676"/>
                  </a:lnTo>
                  <a:lnTo>
                    <a:pt x="2093" y="6168"/>
                  </a:lnTo>
                  <a:lnTo>
                    <a:pt x="100" y="7064"/>
                  </a:lnTo>
                  <a:lnTo>
                    <a:pt x="0" y="9252"/>
                  </a:lnTo>
                  <a:lnTo>
                    <a:pt x="996" y="11740"/>
                  </a:lnTo>
                  <a:lnTo>
                    <a:pt x="4982" y="17609"/>
                  </a:lnTo>
                  <a:lnTo>
                    <a:pt x="6676" y="18604"/>
                  </a:lnTo>
                  <a:lnTo>
                    <a:pt x="9466" y="18803"/>
                  </a:lnTo>
                  <a:lnTo>
                    <a:pt x="13851" y="17709"/>
                  </a:lnTo>
                  <a:lnTo>
                    <a:pt x="15843" y="17808"/>
                  </a:lnTo>
                  <a:lnTo>
                    <a:pt x="17238" y="20096"/>
                  </a:lnTo>
                  <a:lnTo>
                    <a:pt x="15644" y="21191"/>
                  </a:lnTo>
                  <a:lnTo>
                    <a:pt x="13552" y="22086"/>
                  </a:lnTo>
                  <a:lnTo>
                    <a:pt x="12157" y="23280"/>
                  </a:lnTo>
                  <a:lnTo>
                    <a:pt x="12555" y="25270"/>
                  </a:lnTo>
                  <a:lnTo>
                    <a:pt x="14349" y="28851"/>
                  </a:lnTo>
                  <a:lnTo>
                    <a:pt x="15544" y="30742"/>
                  </a:lnTo>
                  <a:lnTo>
                    <a:pt x="16840" y="31537"/>
                  </a:lnTo>
                  <a:lnTo>
                    <a:pt x="19331" y="30443"/>
                  </a:lnTo>
                  <a:lnTo>
                    <a:pt x="22719" y="27856"/>
                  </a:lnTo>
                  <a:lnTo>
                    <a:pt x="25609" y="24971"/>
                  </a:lnTo>
                  <a:lnTo>
                    <a:pt x="26804" y="22982"/>
                  </a:lnTo>
                  <a:lnTo>
                    <a:pt x="25310" y="19400"/>
                  </a:lnTo>
                  <a:lnTo>
                    <a:pt x="22021" y="17908"/>
                  </a:lnTo>
                  <a:lnTo>
                    <a:pt x="19032" y="15620"/>
                  </a:lnTo>
                  <a:lnTo>
                    <a:pt x="18135" y="9750"/>
                  </a:lnTo>
                  <a:lnTo>
                    <a:pt x="18833" y="6964"/>
                  </a:lnTo>
                  <a:lnTo>
                    <a:pt x="19431" y="5770"/>
                  </a:lnTo>
                  <a:lnTo>
                    <a:pt x="18932" y="5074"/>
                  </a:lnTo>
                  <a:lnTo>
                    <a:pt x="16441" y="378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6" name="Freeform: Shape 1375">
              <a:extLst>
                <a:ext uri="{FF2B5EF4-FFF2-40B4-BE49-F238E27FC236}">
                  <a16:creationId xmlns:a16="http://schemas.microsoft.com/office/drawing/2014/main" id="{9C3676ED-842D-4073-9B82-A4FEED7B3E5D}"/>
                </a:ext>
              </a:extLst>
            </p:cNvPr>
            <p:cNvSpPr/>
            <p:nvPr/>
          </p:nvSpPr>
          <p:spPr>
            <a:xfrm>
              <a:off x="6299131" y="216818"/>
              <a:ext cx="1095" cy="3880"/>
            </a:xfrm>
            <a:custGeom>
              <a:avLst/>
              <a:gdLst>
                <a:gd name="connsiteX0" fmla="*/ 1096 w 1095"/>
                <a:gd name="connsiteY0" fmla="*/ 0 h 3880"/>
                <a:gd name="connsiteX1" fmla="*/ 199 w 1095"/>
                <a:gd name="connsiteY1" fmla="*/ 895 h 3880"/>
                <a:gd name="connsiteX2" fmla="*/ 0 w 1095"/>
                <a:gd name="connsiteY2" fmla="*/ 2587 h 3880"/>
                <a:gd name="connsiteX3" fmla="*/ 897 w 1095"/>
                <a:gd name="connsiteY3" fmla="*/ 3880 h 3880"/>
                <a:gd name="connsiteX4" fmla="*/ 1096 w 1095"/>
                <a:gd name="connsiteY4" fmla="*/ 3880 h 3880"/>
                <a:gd name="connsiteX5" fmla="*/ 1096 w 1095"/>
                <a:gd name="connsiteY5" fmla="*/ 0 h 3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5" h="3880">
                  <a:moveTo>
                    <a:pt x="1096" y="0"/>
                  </a:moveTo>
                  <a:lnTo>
                    <a:pt x="199" y="895"/>
                  </a:lnTo>
                  <a:lnTo>
                    <a:pt x="0" y="2587"/>
                  </a:lnTo>
                  <a:lnTo>
                    <a:pt x="897" y="3880"/>
                  </a:lnTo>
                  <a:lnTo>
                    <a:pt x="1096" y="3880"/>
                  </a:lnTo>
                  <a:lnTo>
                    <a:pt x="1096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7" name="Freeform: Shape 1376">
              <a:extLst>
                <a:ext uri="{FF2B5EF4-FFF2-40B4-BE49-F238E27FC236}">
                  <a16:creationId xmlns:a16="http://schemas.microsoft.com/office/drawing/2014/main" id="{AF5B3439-3712-49D6-8158-9051583CA5DA}"/>
                </a:ext>
              </a:extLst>
            </p:cNvPr>
            <p:cNvSpPr/>
            <p:nvPr/>
          </p:nvSpPr>
          <p:spPr>
            <a:xfrm>
              <a:off x="6141992" y="140611"/>
              <a:ext cx="15046" cy="9849"/>
            </a:xfrm>
            <a:custGeom>
              <a:avLst/>
              <a:gdLst>
                <a:gd name="connsiteX0" fmla="*/ 11061 w 15046"/>
                <a:gd name="connsiteY0" fmla="*/ 4576 h 9849"/>
                <a:gd name="connsiteX1" fmla="*/ 10363 w 15046"/>
                <a:gd name="connsiteY1" fmla="*/ 1592 h 9849"/>
                <a:gd name="connsiteX2" fmla="*/ 8968 w 15046"/>
                <a:gd name="connsiteY2" fmla="*/ 199 h 9849"/>
                <a:gd name="connsiteX3" fmla="*/ 6875 w 15046"/>
                <a:gd name="connsiteY3" fmla="*/ 0 h 9849"/>
                <a:gd name="connsiteX4" fmla="*/ 5780 w 15046"/>
                <a:gd name="connsiteY4" fmla="*/ 2786 h 9849"/>
                <a:gd name="connsiteX5" fmla="*/ 6178 w 15046"/>
                <a:gd name="connsiteY5" fmla="*/ 3184 h 9849"/>
                <a:gd name="connsiteX6" fmla="*/ 7075 w 15046"/>
                <a:gd name="connsiteY6" fmla="*/ 4477 h 9849"/>
                <a:gd name="connsiteX7" fmla="*/ 7673 w 15046"/>
                <a:gd name="connsiteY7" fmla="*/ 6069 h 9849"/>
                <a:gd name="connsiteX8" fmla="*/ 7473 w 15046"/>
                <a:gd name="connsiteY8" fmla="*/ 7561 h 9849"/>
                <a:gd name="connsiteX9" fmla="*/ 6377 w 15046"/>
                <a:gd name="connsiteY9" fmla="*/ 8058 h 9849"/>
                <a:gd name="connsiteX10" fmla="*/ 4584 w 15046"/>
                <a:gd name="connsiteY10" fmla="*/ 7860 h 9849"/>
                <a:gd name="connsiteX11" fmla="*/ 2990 w 15046"/>
                <a:gd name="connsiteY11" fmla="*/ 7064 h 9849"/>
                <a:gd name="connsiteX12" fmla="*/ 2292 w 15046"/>
                <a:gd name="connsiteY12" fmla="*/ 5671 h 9849"/>
                <a:gd name="connsiteX13" fmla="*/ 1794 w 15046"/>
                <a:gd name="connsiteY13" fmla="*/ 3482 h 9849"/>
                <a:gd name="connsiteX14" fmla="*/ 698 w 15046"/>
                <a:gd name="connsiteY14" fmla="*/ 3781 h 9849"/>
                <a:gd name="connsiteX15" fmla="*/ 0 w 15046"/>
                <a:gd name="connsiteY15" fmla="*/ 5671 h 9849"/>
                <a:gd name="connsiteX16" fmla="*/ 598 w 15046"/>
                <a:gd name="connsiteY16" fmla="*/ 8655 h 9849"/>
                <a:gd name="connsiteX17" fmla="*/ 797 w 15046"/>
                <a:gd name="connsiteY17" fmla="*/ 8854 h 9849"/>
                <a:gd name="connsiteX18" fmla="*/ 5381 w 15046"/>
                <a:gd name="connsiteY18" fmla="*/ 9849 h 9849"/>
                <a:gd name="connsiteX19" fmla="*/ 7773 w 15046"/>
                <a:gd name="connsiteY19" fmla="*/ 9053 h 9849"/>
                <a:gd name="connsiteX20" fmla="*/ 13751 w 15046"/>
                <a:gd name="connsiteY20" fmla="*/ 5173 h 9849"/>
                <a:gd name="connsiteX21" fmla="*/ 15046 w 15046"/>
                <a:gd name="connsiteY21" fmla="*/ 3980 h 9849"/>
                <a:gd name="connsiteX22" fmla="*/ 14150 w 15046"/>
                <a:gd name="connsiteY22" fmla="*/ 3781 h 9849"/>
                <a:gd name="connsiteX23" fmla="*/ 13751 w 15046"/>
                <a:gd name="connsiteY23" fmla="*/ 3184 h 9849"/>
                <a:gd name="connsiteX24" fmla="*/ 13751 w 15046"/>
                <a:gd name="connsiteY24" fmla="*/ 3184 h 9849"/>
                <a:gd name="connsiteX25" fmla="*/ 13452 w 15046"/>
                <a:gd name="connsiteY25" fmla="*/ 3283 h 9849"/>
                <a:gd name="connsiteX26" fmla="*/ 11061 w 15046"/>
                <a:gd name="connsiteY26" fmla="*/ 4576 h 9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046" h="9849">
                  <a:moveTo>
                    <a:pt x="11061" y="4576"/>
                  </a:moveTo>
                  <a:lnTo>
                    <a:pt x="10363" y="1592"/>
                  </a:lnTo>
                  <a:lnTo>
                    <a:pt x="8968" y="199"/>
                  </a:lnTo>
                  <a:lnTo>
                    <a:pt x="6875" y="0"/>
                  </a:lnTo>
                  <a:lnTo>
                    <a:pt x="5780" y="2786"/>
                  </a:lnTo>
                  <a:lnTo>
                    <a:pt x="6178" y="3184"/>
                  </a:lnTo>
                  <a:lnTo>
                    <a:pt x="7075" y="4477"/>
                  </a:lnTo>
                  <a:lnTo>
                    <a:pt x="7673" y="6069"/>
                  </a:lnTo>
                  <a:lnTo>
                    <a:pt x="7473" y="7561"/>
                  </a:lnTo>
                  <a:lnTo>
                    <a:pt x="6377" y="8058"/>
                  </a:lnTo>
                  <a:lnTo>
                    <a:pt x="4584" y="7860"/>
                  </a:lnTo>
                  <a:lnTo>
                    <a:pt x="2990" y="7064"/>
                  </a:lnTo>
                  <a:lnTo>
                    <a:pt x="2292" y="5671"/>
                  </a:lnTo>
                  <a:lnTo>
                    <a:pt x="1794" y="3482"/>
                  </a:lnTo>
                  <a:lnTo>
                    <a:pt x="698" y="3781"/>
                  </a:lnTo>
                  <a:lnTo>
                    <a:pt x="0" y="5671"/>
                  </a:lnTo>
                  <a:lnTo>
                    <a:pt x="598" y="8655"/>
                  </a:lnTo>
                  <a:lnTo>
                    <a:pt x="797" y="8854"/>
                  </a:lnTo>
                  <a:lnTo>
                    <a:pt x="5381" y="9849"/>
                  </a:lnTo>
                  <a:lnTo>
                    <a:pt x="7773" y="9053"/>
                  </a:lnTo>
                  <a:lnTo>
                    <a:pt x="13751" y="5173"/>
                  </a:lnTo>
                  <a:lnTo>
                    <a:pt x="15046" y="3980"/>
                  </a:lnTo>
                  <a:lnTo>
                    <a:pt x="14150" y="3781"/>
                  </a:lnTo>
                  <a:lnTo>
                    <a:pt x="13751" y="3184"/>
                  </a:lnTo>
                  <a:lnTo>
                    <a:pt x="13751" y="3184"/>
                  </a:lnTo>
                  <a:lnTo>
                    <a:pt x="13452" y="3283"/>
                  </a:lnTo>
                  <a:lnTo>
                    <a:pt x="11061" y="457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8" name="Freeform: Shape 1377">
              <a:extLst>
                <a:ext uri="{FF2B5EF4-FFF2-40B4-BE49-F238E27FC236}">
                  <a16:creationId xmlns:a16="http://schemas.microsoft.com/office/drawing/2014/main" id="{B24583AB-2291-4582-99D6-5DE8ED71D990}"/>
                </a:ext>
              </a:extLst>
            </p:cNvPr>
            <p:cNvSpPr/>
            <p:nvPr/>
          </p:nvSpPr>
          <p:spPr>
            <a:xfrm>
              <a:off x="6150960" y="139914"/>
              <a:ext cx="4782" cy="5272"/>
            </a:xfrm>
            <a:custGeom>
              <a:avLst/>
              <a:gdLst>
                <a:gd name="connsiteX0" fmla="*/ 4384 w 4782"/>
                <a:gd name="connsiteY0" fmla="*/ 2388 h 5272"/>
                <a:gd name="connsiteX1" fmla="*/ 4384 w 4782"/>
                <a:gd name="connsiteY1" fmla="*/ 0 h 5272"/>
                <a:gd name="connsiteX2" fmla="*/ 1594 w 4782"/>
                <a:gd name="connsiteY2" fmla="*/ 995 h 5272"/>
                <a:gd name="connsiteX3" fmla="*/ 0 w 4782"/>
                <a:gd name="connsiteY3" fmla="*/ 895 h 5272"/>
                <a:gd name="connsiteX4" fmla="*/ 1395 w 4782"/>
                <a:gd name="connsiteY4" fmla="*/ 2288 h 5272"/>
                <a:gd name="connsiteX5" fmla="*/ 2093 w 4782"/>
                <a:gd name="connsiteY5" fmla="*/ 5273 h 5272"/>
                <a:gd name="connsiteX6" fmla="*/ 4484 w 4782"/>
                <a:gd name="connsiteY6" fmla="*/ 3980 h 5272"/>
                <a:gd name="connsiteX7" fmla="*/ 4783 w 4782"/>
                <a:gd name="connsiteY7" fmla="*/ 3880 h 5272"/>
                <a:gd name="connsiteX8" fmla="*/ 4683 w 4782"/>
                <a:gd name="connsiteY8" fmla="*/ 3184 h 5272"/>
                <a:gd name="connsiteX9" fmla="*/ 4384 w 4782"/>
                <a:gd name="connsiteY9" fmla="*/ 2388 h 5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82" h="5272">
                  <a:moveTo>
                    <a:pt x="4384" y="2388"/>
                  </a:moveTo>
                  <a:lnTo>
                    <a:pt x="4384" y="0"/>
                  </a:lnTo>
                  <a:lnTo>
                    <a:pt x="1594" y="995"/>
                  </a:lnTo>
                  <a:lnTo>
                    <a:pt x="0" y="895"/>
                  </a:lnTo>
                  <a:lnTo>
                    <a:pt x="1395" y="2288"/>
                  </a:lnTo>
                  <a:lnTo>
                    <a:pt x="2093" y="5273"/>
                  </a:lnTo>
                  <a:lnTo>
                    <a:pt x="4484" y="3980"/>
                  </a:lnTo>
                  <a:lnTo>
                    <a:pt x="4783" y="3880"/>
                  </a:lnTo>
                  <a:lnTo>
                    <a:pt x="4683" y="3184"/>
                  </a:lnTo>
                  <a:lnTo>
                    <a:pt x="4384" y="238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79" name="Freeform: Shape 1378">
              <a:extLst>
                <a:ext uri="{FF2B5EF4-FFF2-40B4-BE49-F238E27FC236}">
                  <a16:creationId xmlns:a16="http://schemas.microsoft.com/office/drawing/2014/main" id="{394AF7DF-B9A4-4CFE-B483-7FAA1E641FD7}"/>
                </a:ext>
              </a:extLst>
            </p:cNvPr>
            <p:cNvSpPr/>
            <p:nvPr/>
          </p:nvSpPr>
          <p:spPr>
            <a:xfrm>
              <a:off x="6136213" y="140511"/>
              <a:ext cx="13451" cy="8953"/>
            </a:xfrm>
            <a:custGeom>
              <a:avLst/>
              <a:gdLst>
                <a:gd name="connsiteX0" fmla="*/ 5779 w 13451"/>
                <a:gd name="connsiteY0" fmla="*/ 5770 h 8953"/>
                <a:gd name="connsiteX1" fmla="*/ 6477 w 13451"/>
                <a:gd name="connsiteY1" fmla="*/ 3880 h 8953"/>
                <a:gd name="connsiteX2" fmla="*/ 7572 w 13451"/>
                <a:gd name="connsiteY2" fmla="*/ 3582 h 8953"/>
                <a:gd name="connsiteX3" fmla="*/ 8071 w 13451"/>
                <a:gd name="connsiteY3" fmla="*/ 5770 h 8953"/>
                <a:gd name="connsiteX4" fmla="*/ 8769 w 13451"/>
                <a:gd name="connsiteY4" fmla="*/ 7163 h 8953"/>
                <a:gd name="connsiteX5" fmla="*/ 10363 w 13451"/>
                <a:gd name="connsiteY5" fmla="*/ 7959 h 8953"/>
                <a:gd name="connsiteX6" fmla="*/ 12156 w 13451"/>
                <a:gd name="connsiteY6" fmla="*/ 8158 h 8953"/>
                <a:gd name="connsiteX7" fmla="*/ 13252 w 13451"/>
                <a:gd name="connsiteY7" fmla="*/ 7661 h 8953"/>
                <a:gd name="connsiteX8" fmla="*/ 13452 w 13451"/>
                <a:gd name="connsiteY8" fmla="*/ 6168 h 8953"/>
                <a:gd name="connsiteX9" fmla="*/ 12854 w 13451"/>
                <a:gd name="connsiteY9" fmla="*/ 4576 h 8953"/>
                <a:gd name="connsiteX10" fmla="*/ 11957 w 13451"/>
                <a:gd name="connsiteY10" fmla="*/ 3283 h 8953"/>
                <a:gd name="connsiteX11" fmla="*/ 11558 w 13451"/>
                <a:gd name="connsiteY11" fmla="*/ 2885 h 8953"/>
                <a:gd name="connsiteX12" fmla="*/ 12654 w 13451"/>
                <a:gd name="connsiteY12" fmla="*/ 99 h 8953"/>
                <a:gd name="connsiteX13" fmla="*/ 10562 w 13451"/>
                <a:gd name="connsiteY13" fmla="*/ 0 h 8953"/>
                <a:gd name="connsiteX14" fmla="*/ 7672 w 13451"/>
                <a:gd name="connsiteY14" fmla="*/ 497 h 8953"/>
                <a:gd name="connsiteX15" fmla="*/ 3388 w 13451"/>
                <a:gd name="connsiteY15" fmla="*/ 3383 h 8953"/>
                <a:gd name="connsiteX16" fmla="*/ 1096 w 13451"/>
                <a:gd name="connsiteY16" fmla="*/ 5571 h 8953"/>
                <a:gd name="connsiteX17" fmla="*/ 0 w 13451"/>
                <a:gd name="connsiteY17" fmla="*/ 7661 h 8953"/>
                <a:gd name="connsiteX18" fmla="*/ 6576 w 13451"/>
                <a:gd name="connsiteY18" fmla="*/ 8954 h 8953"/>
                <a:gd name="connsiteX19" fmla="*/ 6377 w 13451"/>
                <a:gd name="connsiteY19" fmla="*/ 8755 h 8953"/>
                <a:gd name="connsiteX20" fmla="*/ 5779 w 13451"/>
                <a:gd name="connsiteY20" fmla="*/ 5770 h 8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451" h="8953">
                  <a:moveTo>
                    <a:pt x="5779" y="5770"/>
                  </a:moveTo>
                  <a:lnTo>
                    <a:pt x="6477" y="3880"/>
                  </a:lnTo>
                  <a:lnTo>
                    <a:pt x="7572" y="3582"/>
                  </a:lnTo>
                  <a:lnTo>
                    <a:pt x="8071" y="5770"/>
                  </a:lnTo>
                  <a:lnTo>
                    <a:pt x="8769" y="7163"/>
                  </a:lnTo>
                  <a:lnTo>
                    <a:pt x="10363" y="7959"/>
                  </a:lnTo>
                  <a:lnTo>
                    <a:pt x="12156" y="8158"/>
                  </a:lnTo>
                  <a:lnTo>
                    <a:pt x="13252" y="7661"/>
                  </a:lnTo>
                  <a:lnTo>
                    <a:pt x="13452" y="6168"/>
                  </a:lnTo>
                  <a:lnTo>
                    <a:pt x="12854" y="4576"/>
                  </a:lnTo>
                  <a:lnTo>
                    <a:pt x="11957" y="3283"/>
                  </a:lnTo>
                  <a:lnTo>
                    <a:pt x="11558" y="2885"/>
                  </a:lnTo>
                  <a:lnTo>
                    <a:pt x="12654" y="99"/>
                  </a:lnTo>
                  <a:lnTo>
                    <a:pt x="10562" y="0"/>
                  </a:lnTo>
                  <a:lnTo>
                    <a:pt x="7672" y="497"/>
                  </a:lnTo>
                  <a:lnTo>
                    <a:pt x="3388" y="3383"/>
                  </a:lnTo>
                  <a:lnTo>
                    <a:pt x="1096" y="5571"/>
                  </a:lnTo>
                  <a:lnTo>
                    <a:pt x="0" y="7661"/>
                  </a:lnTo>
                  <a:lnTo>
                    <a:pt x="6576" y="8954"/>
                  </a:lnTo>
                  <a:lnTo>
                    <a:pt x="6377" y="8755"/>
                  </a:lnTo>
                  <a:lnTo>
                    <a:pt x="5779" y="577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0" name="Freeform: Shape 1379">
              <a:extLst>
                <a:ext uri="{FF2B5EF4-FFF2-40B4-BE49-F238E27FC236}">
                  <a16:creationId xmlns:a16="http://schemas.microsoft.com/office/drawing/2014/main" id="{2A09EC17-4E5A-42F1-BFE6-17C6258DB3FD}"/>
                </a:ext>
              </a:extLst>
            </p:cNvPr>
            <p:cNvSpPr/>
            <p:nvPr/>
          </p:nvSpPr>
          <p:spPr>
            <a:xfrm>
              <a:off x="6299331" y="251340"/>
              <a:ext cx="896" cy="1392"/>
            </a:xfrm>
            <a:custGeom>
              <a:avLst/>
              <a:gdLst>
                <a:gd name="connsiteX0" fmla="*/ 0 w 896"/>
                <a:gd name="connsiteY0" fmla="*/ 1094 h 1392"/>
                <a:gd name="connsiteX1" fmla="*/ 896 w 896"/>
                <a:gd name="connsiteY1" fmla="*/ 1393 h 1392"/>
                <a:gd name="connsiteX2" fmla="*/ 896 w 896"/>
                <a:gd name="connsiteY2" fmla="*/ 0 h 1392"/>
                <a:gd name="connsiteX3" fmla="*/ 0 w 896"/>
                <a:gd name="connsiteY3" fmla="*/ 0 h 1392"/>
                <a:gd name="connsiteX4" fmla="*/ 0 w 896"/>
                <a:gd name="connsiteY4" fmla="*/ 1094 h 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6" h="1392">
                  <a:moveTo>
                    <a:pt x="0" y="1094"/>
                  </a:moveTo>
                  <a:lnTo>
                    <a:pt x="896" y="1393"/>
                  </a:lnTo>
                  <a:lnTo>
                    <a:pt x="896" y="0"/>
                  </a:lnTo>
                  <a:lnTo>
                    <a:pt x="0" y="0"/>
                  </a:lnTo>
                  <a:lnTo>
                    <a:pt x="0" y="10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1" name="Freeform: Shape 1380">
              <a:extLst>
                <a:ext uri="{FF2B5EF4-FFF2-40B4-BE49-F238E27FC236}">
                  <a16:creationId xmlns:a16="http://schemas.microsoft.com/office/drawing/2014/main" id="{D3645EC0-F853-4B07-AB00-9915A8231E5D}"/>
                </a:ext>
              </a:extLst>
            </p:cNvPr>
            <p:cNvSpPr/>
            <p:nvPr/>
          </p:nvSpPr>
          <p:spPr>
            <a:xfrm>
              <a:off x="6283786" y="234825"/>
              <a:ext cx="16440" cy="13231"/>
            </a:xfrm>
            <a:custGeom>
              <a:avLst/>
              <a:gdLst>
                <a:gd name="connsiteX0" fmla="*/ 14050 w 16440"/>
                <a:gd name="connsiteY0" fmla="*/ 1194 h 13231"/>
                <a:gd name="connsiteX1" fmla="*/ 8769 w 16440"/>
                <a:gd name="connsiteY1" fmla="*/ 2288 h 13231"/>
                <a:gd name="connsiteX2" fmla="*/ 7971 w 16440"/>
                <a:gd name="connsiteY2" fmla="*/ 1990 h 13231"/>
                <a:gd name="connsiteX3" fmla="*/ 7772 w 16440"/>
                <a:gd name="connsiteY3" fmla="*/ 398 h 13231"/>
                <a:gd name="connsiteX4" fmla="*/ 6875 w 16440"/>
                <a:gd name="connsiteY4" fmla="*/ 0 h 13231"/>
                <a:gd name="connsiteX5" fmla="*/ 6078 w 16440"/>
                <a:gd name="connsiteY5" fmla="*/ 199 h 13231"/>
                <a:gd name="connsiteX6" fmla="*/ 4882 w 16440"/>
                <a:gd name="connsiteY6" fmla="*/ 895 h 13231"/>
                <a:gd name="connsiteX7" fmla="*/ 1395 w 16440"/>
                <a:gd name="connsiteY7" fmla="*/ 2089 h 13231"/>
                <a:gd name="connsiteX8" fmla="*/ 100 w 16440"/>
                <a:gd name="connsiteY8" fmla="*/ 3184 h 13231"/>
                <a:gd name="connsiteX9" fmla="*/ 0 w 16440"/>
                <a:gd name="connsiteY9" fmla="*/ 4775 h 13231"/>
                <a:gd name="connsiteX10" fmla="*/ 2192 w 16440"/>
                <a:gd name="connsiteY10" fmla="*/ 6168 h 13231"/>
                <a:gd name="connsiteX11" fmla="*/ 6078 w 16440"/>
                <a:gd name="connsiteY11" fmla="*/ 6168 h 13231"/>
                <a:gd name="connsiteX12" fmla="*/ 9665 w 16440"/>
                <a:gd name="connsiteY12" fmla="*/ 6765 h 13231"/>
                <a:gd name="connsiteX13" fmla="*/ 11260 w 16440"/>
                <a:gd name="connsiteY13" fmla="*/ 9949 h 13231"/>
                <a:gd name="connsiteX14" fmla="*/ 12456 w 16440"/>
                <a:gd name="connsiteY14" fmla="*/ 13232 h 13231"/>
                <a:gd name="connsiteX15" fmla="*/ 16441 w 16440"/>
                <a:gd name="connsiteY15" fmla="*/ 13033 h 13231"/>
                <a:gd name="connsiteX16" fmla="*/ 16441 w 16440"/>
                <a:gd name="connsiteY16" fmla="*/ 299 h 13231"/>
                <a:gd name="connsiteX17" fmla="*/ 14050 w 16440"/>
                <a:gd name="connsiteY17" fmla="*/ 1194 h 1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440" h="13231">
                  <a:moveTo>
                    <a:pt x="14050" y="1194"/>
                  </a:moveTo>
                  <a:lnTo>
                    <a:pt x="8769" y="2288"/>
                  </a:lnTo>
                  <a:lnTo>
                    <a:pt x="7971" y="1990"/>
                  </a:lnTo>
                  <a:lnTo>
                    <a:pt x="7772" y="398"/>
                  </a:lnTo>
                  <a:lnTo>
                    <a:pt x="6875" y="0"/>
                  </a:lnTo>
                  <a:lnTo>
                    <a:pt x="6078" y="199"/>
                  </a:lnTo>
                  <a:lnTo>
                    <a:pt x="4882" y="895"/>
                  </a:lnTo>
                  <a:lnTo>
                    <a:pt x="1395" y="2089"/>
                  </a:lnTo>
                  <a:lnTo>
                    <a:pt x="100" y="3184"/>
                  </a:lnTo>
                  <a:lnTo>
                    <a:pt x="0" y="4775"/>
                  </a:lnTo>
                  <a:lnTo>
                    <a:pt x="2192" y="6168"/>
                  </a:lnTo>
                  <a:lnTo>
                    <a:pt x="6078" y="6168"/>
                  </a:lnTo>
                  <a:lnTo>
                    <a:pt x="9665" y="6765"/>
                  </a:lnTo>
                  <a:lnTo>
                    <a:pt x="11260" y="9949"/>
                  </a:lnTo>
                  <a:lnTo>
                    <a:pt x="12456" y="13232"/>
                  </a:lnTo>
                  <a:lnTo>
                    <a:pt x="16441" y="13033"/>
                  </a:lnTo>
                  <a:lnTo>
                    <a:pt x="16441" y="299"/>
                  </a:lnTo>
                  <a:lnTo>
                    <a:pt x="14050" y="11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2" name="Freeform: Shape 1381">
              <a:extLst>
                <a:ext uri="{FF2B5EF4-FFF2-40B4-BE49-F238E27FC236}">
                  <a16:creationId xmlns:a16="http://schemas.microsoft.com/office/drawing/2014/main" id="{17D51351-AC47-43E2-8FDE-C2B079CA54AA}"/>
                </a:ext>
              </a:extLst>
            </p:cNvPr>
            <p:cNvSpPr/>
            <p:nvPr/>
          </p:nvSpPr>
          <p:spPr>
            <a:xfrm>
              <a:off x="6029295" y="253529"/>
              <a:ext cx="270932" cy="511564"/>
            </a:xfrm>
            <a:custGeom>
              <a:avLst/>
              <a:gdLst>
                <a:gd name="connsiteX0" fmla="*/ 259972 w 270932"/>
                <a:gd name="connsiteY0" fmla="*/ 1791 h 511564"/>
                <a:gd name="connsiteX1" fmla="*/ 257580 w 270932"/>
                <a:gd name="connsiteY1" fmla="*/ 6168 h 511564"/>
                <a:gd name="connsiteX2" fmla="*/ 255886 w 270932"/>
                <a:gd name="connsiteY2" fmla="*/ 11640 h 511564"/>
                <a:gd name="connsiteX3" fmla="*/ 253594 w 270932"/>
                <a:gd name="connsiteY3" fmla="*/ 16515 h 511564"/>
                <a:gd name="connsiteX4" fmla="*/ 248512 w 270932"/>
                <a:gd name="connsiteY4" fmla="*/ 21191 h 511564"/>
                <a:gd name="connsiteX5" fmla="*/ 247018 w 270932"/>
                <a:gd name="connsiteY5" fmla="*/ 22882 h 511564"/>
                <a:gd name="connsiteX6" fmla="*/ 246519 w 270932"/>
                <a:gd name="connsiteY6" fmla="*/ 24275 h 511564"/>
                <a:gd name="connsiteX7" fmla="*/ 246121 w 270932"/>
                <a:gd name="connsiteY7" fmla="*/ 27160 h 511564"/>
                <a:gd name="connsiteX8" fmla="*/ 245423 w 270932"/>
                <a:gd name="connsiteY8" fmla="*/ 28553 h 511564"/>
                <a:gd name="connsiteX9" fmla="*/ 242235 w 270932"/>
                <a:gd name="connsiteY9" fmla="*/ 32632 h 511564"/>
                <a:gd name="connsiteX10" fmla="*/ 240043 w 270932"/>
                <a:gd name="connsiteY10" fmla="*/ 38701 h 511564"/>
                <a:gd name="connsiteX11" fmla="*/ 239445 w 270932"/>
                <a:gd name="connsiteY11" fmla="*/ 41287 h 511564"/>
                <a:gd name="connsiteX12" fmla="*/ 238747 w 270932"/>
                <a:gd name="connsiteY12" fmla="*/ 41785 h 511564"/>
                <a:gd name="connsiteX13" fmla="*/ 238249 w 270932"/>
                <a:gd name="connsiteY13" fmla="*/ 41984 h 511564"/>
                <a:gd name="connsiteX14" fmla="*/ 237950 w 270932"/>
                <a:gd name="connsiteY14" fmla="*/ 42481 h 511564"/>
                <a:gd name="connsiteX15" fmla="*/ 238050 w 270932"/>
                <a:gd name="connsiteY15" fmla="*/ 43575 h 511564"/>
                <a:gd name="connsiteX16" fmla="*/ 238349 w 270932"/>
                <a:gd name="connsiteY16" fmla="*/ 44172 h 511564"/>
                <a:gd name="connsiteX17" fmla="*/ 238747 w 270932"/>
                <a:gd name="connsiteY17" fmla="*/ 44471 h 511564"/>
                <a:gd name="connsiteX18" fmla="*/ 238847 w 270932"/>
                <a:gd name="connsiteY18" fmla="*/ 44869 h 511564"/>
                <a:gd name="connsiteX19" fmla="*/ 238249 w 270932"/>
                <a:gd name="connsiteY19" fmla="*/ 48749 h 511564"/>
                <a:gd name="connsiteX20" fmla="*/ 236655 w 270932"/>
                <a:gd name="connsiteY20" fmla="*/ 52529 h 511564"/>
                <a:gd name="connsiteX21" fmla="*/ 232769 w 270932"/>
                <a:gd name="connsiteY21" fmla="*/ 59493 h 511564"/>
                <a:gd name="connsiteX22" fmla="*/ 229680 w 270932"/>
                <a:gd name="connsiteY22" fmla="*/ 66756 h 511564"/>
                <a:gd name="connsiteX23" fmla="*/ 228783 w 270932"/>
                <a:gd name="connsiteY23" fmla="*/ 70238 h 511564"/>
                <a:gd name="connsiteX24" fmla="*/ 228484 w 270932"/>
                <a:gd name="connsiteY24" fmla="*/ 73919 h 511564"/>
                <a:gd name="connsiteX25" fmla="*/ 227687 w 270932"/>
                <a:gd name="connsiteY25" fmla="*/ 76705 h 511564"/>
                <a:gd name="connsiteX26" fmla="*/ 221509 w 270932"/>
                <a:gd name="connsiteY26" fmla="*/ 86156 h 511564"/>
                <a:gd name="connsiteX27" fmla="*/ 216427 w 270932"/>
                <a:gd name="connsiteY27" fmla="*/ 97398 h 511564"/>
                <a:gd name="connsiteX28" fmla="*/ 212043 w 270932"/>
                <a:gd name="connsiteY28" fmla="*/ 103765 h 511564"/>
                <a:gd name="connsiteX29" fmla="*/ 208456 w 270932"/>
                <a:gd name="connsiteY29" fmla="*/ 114112 h 511564"/>
                <a:gd name="connsiteX30" fmla="*/ 206761 w 270932"/>
                <a:gd name="connsiteY30" fmla="*/ 116898 h 511564"/>
                <a:gd name="connsiteX31" fmla="*/ 202377 w 270932"/>
                <a:gd name="connsiteY31" fmla="*/ 122171 h 511564"/>
                <a:gd name="connsiteX32" fmla="*/ 200484 w 270932"/>
                <a:gd name="connsiteY32" fmla="*/ 128140 h 511564"/>
                <a:gd name="connsiteX33" fmla="*/ 196897 w 270932"/>
                <a:gd name="connsiteY33" fmla="*/ 132915 h 511564"/>
                <a:gd name="connsiteX34" fmla="*/ 197196 w 270932"/>
                <a:gd name="connsiteY34" fmla="*/ 134706 h 511564"/>
                <a:gd name="connsiteX35" fmla="*/ 196199 w 270932"/>
                <a:gd name="connsiteY35" fmla="*/ 136298 h 511564"/>
                <a:gd name="connsiteX36" fmla="*/ 195901 w 270932"/>
                <a:gd name="connsiteY36" fmla="*/ 137790 h 511564"/>
                <a:gd name="connsiteX37" fmla="*/ 195901 w 270932"/>
                <a:gd name="connsiteY37" fmla="*/ 139282 h 511564"/>
                <a:gd name="connsiteX38" fmla="*/ 195502 w 270932"/>
                <a:gd name="connsiteY38" fmla="*/ 140576 h 511564"/>
                <a:gd name="connsiteX39" fmla="*/ 194605 w 270932"/>
                <a:gd name="connsiteY39" fmla="*/ 141471 h 511564"/>
                <a:gd name="connsiteX40" fmla="*/ 192114 w 270932"/>
                <a:gd name="connsiteY40" fmla="*/ 142963 h 511564"/>
                <a:gd name="connsiteX41" fmla="*/ 191018 w 270932"/>
                <a:gd name="connsiteY41" fmla="*/ 144058 h 511564"/>
                <a:gd name="connsiteX42" fmla="*/ 189324 w 270932"/>
                <a:gd name="connsiteY42" fmla="*/ 146545 h 511564"/>
                <a:gd name="connsiteX43" fmla="*/ 185836 w 270932"/>
                <a:gd name="connsiteY43" fmla="*/ 154504 h 511564"/>
                <a:gd name="connsiteX44" fmla="*/ 184741 w 270932"/>
                <a:gd name="connsiteY44" fmla="*/ 158881 h 511564"/>
                <a:gd name="connsiteX45" fmla="*/ 184342 w 270932"/>
                <a:gd name="connsiteY45" fmla="*/ 164851 h 511564"/>
                <a:gd name="connsiteX46" fmla="*/ 185338 w 270932"/>
                <a:gd name="connsiteY46" fmla="*/ 169925 h 511564"/>
                <a:gd name="connsiteX47" fmla="*/ 188527 w 270932"/>
                <a:gd name="connsiteY47" fmla="*/ 171715 h 511564"/>
                <a:gd name="connsiteX48" fmla="*/ 188328 w 270932"/>
                <a:gd name="connsiteY48" fmla="*/ 172312 h 511564"/>
                <a:gd name="connsiteX49" fmla="*/ 188128 w 270932"/>
                <a:gd name="connsiteY49" fmla="*/ 172810 h 511564"/>
                <a:gd name="connsiteX50" fmla="*/ 187929 w 270932"/>
                <a:gd name="connsiteY50" fmla="*/ 173407 h 511564"/>
                <a:gd name="connsiteX51" fmla="*/ 187630 w 270932"/>
                <a:gd name="connsiteY51" fmla="*/ 174103 h 511564"/>
                <a:gd name="connsiteX52" fmla="*/ 190221 w 270932"/>
                <a:gd name="connsiteY52" fmla="*/ 176292 h 511564"/>
                <a:gd name="connsiteX53" fmla="*/ 191417 w 270932"/>
                <a:gd name="connsiteY53" fmla="*/ 177784 h 511564"/>
                <a:gd name="connsiteX54" fmla="*/ 192014 w 270932"/>
                <a:gd name="connsiteY54" fmla="*/ 179276 h 511564"/>
                <a:gd name="connsiteX55" fmla="*/ 192214 w 270932"/>
                <a:gd name="connsiteY55" fmla="*/ 180470 h 511564"/>
                <a:gd name="connsiteX56" fmla="*/ 192911 w 270932"/>
                <a:gd name="connsiteY56" fmla="*/ 182062 h 511564"/>
                <a:gd name="connsiteX57" fmla="*/ 193708 w 270932"/>
                <a:gd name="connsiteY57" fmla="*/ 183654 h 511564"/>
                <a:gd name="connsiteX58" fmla="*/ 194505 w 270932"/>
                <a:gd name="connsiteY58" fmla="*/ 184450 h 511564"/>
                <a:gd name="connsiteX59" fmla="*/ 196697 w 270932"/>
                <a:gd name="connsiteY59" fmla="*/ 184450 h 511564"/>
                <a:gd name="connsiteX60" fmla="*/ 198192 w 270932"/>
                <a:gd name="connsiteY60" fmla="*/ 182559 h 511564"/>
                <a:gd name="connsiteX61" fmla="*/ 199388 w 270932"/>
                <a:gd name="connsiteY61" fmla="*/ 180271 h 511564"/>
                <a:gd name="connsiteX62" fmla="*/ 200683 w 270932"/>
                <a:gd name="connsiteY62" fmla="*/ 178679 h 511564"/>
                <a:gd name="connsiteX63" fmla="*/ 201181 w 270932"/>
                <a:gd name="connsiteY63" fmla="*/ 183952 h 511564"/>
                <a:gd name="connsiteX64" fmla="*/ 203872 w 270932"/>
                <a:gd name="connsiteY64" fmla="*/ 187434 h 511564"/>
                <a:gd name="connsiteX65" fmla="*/ 214634 w 270932"/>
                <a:gd name="connsiteY65" fmla="*/ 193801 h 511564"/>
                <a:gd name="connsiteX66" fmla="*/ 216228 w 270932"/>
                <a:gd name="connsiteY66" fmla="*/ 195393 h 511564"/>
                <a:gd name="connsiteX67" fmla="*/ 215829 w 270932"/>
                <a:gd name="connsiteY67" fmla="*/ 195990 h 511564"/>
                <a:gd name="connsiteX68" fmla="*/ 211943 w 270932"/>
                <a:gd name="connsiteY68" fmla="*/ 195791 h 511564"/>
                <a:gd name="connsiteX69" fmla="*/ 208456 w 270932"/>
                <a:gd name="connsiteY69" fmla="*/ 194796 h 511564"/>
                <a:gd name="connsiteX70" fmla="*/ 204769 w 270932"/>
                <a:gd name="connsiteY70" fmla="*/ 192707 h 511564"/>
                <a:gd name="connsiteX71" fmla="*/ 201281 w 270932"/>
                <a:gd name="connsiteY71" fmla="*/ 190021 h 511564"/>
                <a:gd name="connsiteX72" fmla="*/ 197993 w 270932"/>
                <a:gd name="connsiteY72" fmla="*/ 188031 h 511564"/>
                <a:gd name="connsiteX73" fmla="*/ 194505 w 270932"/>
                <a:gd name="connsiteY73" fmla="*/ 187932 h 511564"/>
                <a:gd name="connsiteX74" fmla="*/ 191417 w 270932"/>
                <a:gd name="connsiteY74" fmla="*/ 190319 h 511564"/>
                <a:gd name="connsiteX75" fmla="*/ 191317 w 270932"/>
                <a:gd name="connsiteY75" fmla="*/ 193503 h 511564"/>
                <a:gd name="connsiteX76" fmla="*/ 194505 w 270932"/>
                <a:gd name="connsiteY76" fmla="*/ 200666 h 511564"/>
                <a:gd name="connsiteX77" fmla="*/ 191217 w 270932"/>
                <a:gd name="connsiteY77" fmla="*/ 199273 h 511564"/>
                <a:gd name="connsiteX78" fmla="*/ 189723 w 270932"/>
                <a:gd name="connsiteY78" fmla="*/ 195891 h 511564"/>
                <a:gd name="connsiteX79" fmla="*/ 189324 w 270932"/>
                <a:gd name="connsiteY79" fmla="*/ 191613 h 511564"/>
                <a:gd name="connsiteX80" fmla="*/ 189324 w 270932"/>
                <a:gd name="connsiteY80" fmla="*/ 187335 h 511564"/>
                <a:gd name="connsiteX81" fmla="*/ 188328 w 270932"/>
                <a:gd name="connsiteY81" fmla="*/ 183753 h 511564"/>
                <a:gd name="connsiteX82" fmla="*/ 185836 w 270932"/>
                <a:gd name="connsiteY82" fmla="*/ 180868 h 511564"/>
                <a:gd name="connsiteX83" fmla="*/ 182448 w 270932"/>
                <a:gd name="connsiteY83" fmla="*/ 179077 h 511564"/>
                <a:gd name="connsiteX84" fmla="*/ 178064 w 270932"/>
                <a:gd name="connsiteY84" fmla="*/ 178679 h 511564"/>
                <a:gd name="connsiteX85" fmla="*/ 175374 w 270932"/>
                <a:gd name="connsiteY85" fmla="*/ 179973 h 511564"/>
                <a:gd name="connsiteX86" fmla="*/ 170890 w 270932"/>
                <a:gd name="connsiteY86" fmla="*/ 184549 h 511564"/>
                <a:gd name="connsiteX87" fmla="*/ 166605 w 270932"/>
                <a:gd name="connsiteY87" fmla="*/ 186638 h 511564"/>
                <a:gd name="connsiteX88" fmla="*/ 160826 w 270932"/>
                <a:gd name="connsiteY88" fmla="*/ 191712 h 511564"/>
                <a:gd name="connsiteX89" fmla="*/ 154648 w 270932"/>
                <a:gd name="connsiteY89" fmla="*/ 198776 h 511564"/>
                <a:gd name="connsiteX90" fmla="*/ 151359 w 270932"/>
                <a:gd name="connsiteY90" fmla="*/ 204347 h 511564"/>
                <a:gd name="connsiteX91" fmla="*/ 149267 w 270932"/>
                <a:gd name="connsiteY91" fmla="*/ 210814 h 511564"/>
                <a:gd name="connsiteX92" fmla="*/ 148370 w 270932"/>
                <a:gd name="connsiteY92" fmla="*/ 222155 h 511564"/>
                <a:gd name="connsiteX93" fmla="*/ 148370 w 270932"/>
                <a:gd name="connsiteY93" fmla="*/ 225240 h 511564"/>
                <a:gd name="connsiteX94" fmla="*/ 149168 w 270932"/>
                <a:gd name="connsiteY94" fmla="*/ 227926 h 511564"/>
                <a:gd name="connsiteX95" fmla="*/ 151061 w 270932"/>
                <a:gd name="connsiteY95" fmla="*/ 230512 h 511564"/>
                <a:gd name="connsiteX96" fmla="*/ 153652 w 270932"/>
                <a:gd name="connsiteY96" fmla="*/ 232204 h 511564"/>
                <a:gd name="connsiteX97" fmla="*/ 160726 w 270932"/>
                <a:gd name="connsiteY97" fmla="*/ 234691 h 511564"/>
                <a:gd name="connsiteX98" fmla="*/ 173680 w 270932"/>
                <a:gd name="connsiteY98" fmla="*/ 236482 h 511564"/>
                <a:gd name="connsiteX99" fmla="*/ 177068 w 270932"/>
                <a:gd name="connsiteY99" fmla="*/ 236183 h 511564"/>
                <a:gd name="connsiteX100" fmla="*/ 179957 w 270932"/>
                <a:gd name="connsiteY100" fmla="*/ 235188 h 511564"/>
                <a:gd name="connsiteX101" fmla="*/ 184641 w 270932"/>
                <a:gd name="connsiteY101" fmla="*/ 232502 h 511564"/>
                <a:gd name="connsiteX102" fmla="*/ 187630 w 270932"/>
                <a:gd name="connsiteY102" fmla="*/ 231607 h 511564"/>
                <a:gd name="connsiteX103" fmla="*/ 182448 w 270932"/>
                <a:gd name="connsiteY103" fmla="*/ 238670 h 511564"/>
                <a:gd name="connsiteX104" fmla="*/ 179559 w 270932"/>
                <a:gd name="connsiteY104" fmla="*/ 241456 h 511564"/>
                <a:gd name="connsiteX105" fmla="*/ 176370 w 270932"/>
                <a:gd name="connsiteY105" fmla="*/ 243048 h 511564"/>
                <a:gd name="connsiteX106" fmla="*/ 165509 w 270932"/>
                <a:gd name="connsiteY106" fmla="*/ 242351 h 511564"/>
                <a:gd name="connsiteX107" fmla="*/ 164214 w 270932"/>
                <a:gd name="connsiteY107" fmla="*/ 244341 h 511564"/>
                <a:gd name="connsiteX108" fmla="*/ 168100 w 270932"/>
                <a:gd name="connsiteY108" fmla="*/ 248321 h 511564"/>
                <a:gd name="connsiteX109" fmla="*/ 175374 w 270932"/>
                <a:gd name="connsiteY109" fmla="*/ 246629 h 511564"/>
                <a:gd name="connsiteX110" fmla="*/ 187630 w 270932"/>
                <a:gd name="connsiteY110" fmla="*/ 240760 h 511564"/>
                <a:gd name="connsiteX111" fmla="*/ 187630 w 270932"/>
                <a:gd name="connsiteY111" fmla="*/ 242053 h 511564"/>
                <a:gd name="connsiteX112" fmla="*/ 184441 w 270932"/>
                <a:gd name="connsiteY112" fmla="*/ 243247 h 511564"/>
                <a:gd name="connsiteX113" fmla="*/ 182249 w 270932"/>
                <a:gd name="connsiteY113" fmla="*/ 245137 h 511564"/>
                <a:gd name="connsiteX114" fmla="*/ 182249 w 270932"/>
                <a:gd name="connsiteY114" fmla="*/ 246828 h 511564"/>
                <a:gd name="connsiteX115" fmla="*/ 185836 w 270932"/>
                <a:gd name="connsiteY115" fmla="*/ 247624 h 511564"/>
                <a:gd name="connsiteX116" fmla="*/ 189025 w 270932"/>
                <a:gd name="connsiteY116" fmla="*/ 247027 h 511564"/>
                <a:gd name="connsiteX117" fmla="*/ 191616 w 270932"/>
                <a:gd name="connsiteY117" fmla="*/ 245435 h 511564"/>
                <a:gd name="connsiteX118" fmla="*/ 196199 w 270932"/>
                <a:gd name="connsiteY118" fmla="*/ 240760 h 511564"/>
                <a:gd name="connsiteX119" fmla="*/ 197196 w 270932"/>
                <a:gd name="connsiteY119" fmla="*/ 242053 h 511564"/>
                <a:gd name="connsiteX120" fmla="*/ 190918 w 270932"/>
                <a:gd name="connsiteY120" fmla="*/ 249614 h 511564"/>
                <a:gd name="connsiteX121" fmla="*/ 189324 w 270932"/>
                <a:gd name="connsiteY121" fmla="*/ 251206 h 511564"/>
                <a:gd name="connsiteX122" fmla="*/ 186534 w 270932"/>
                <a:gd name="connsiteY122" fmla="*/ 251703 h 511564"/>
                <a:gd name="connsiteX123" fmla="*/ 178064 w 270932"/>
                <a:gd name="connsiteY123" fmla="*/ 250012 h 511564"/>
                <a:gd name="connsiteX124" fmla="*/ 170491 w 270932"/>
                <a:gd name="connsiteY124" fmla="*/ 251504 h 511564"/>
                <a:gd name="connsiteX125" fmla="*/ 164214 w 270932"/>
                <a:gd name="connsiteY125" fmla="*/ 250410 h 511564"/>
                <a:gd name="connsiteX126" fmla="*/ 162121 w 270932"/>
                <a:gd name="connsiteY126" fmla="*/ 250310 h 511564"/>
                <a:gd name="connsiteX127" fmla="*/ 161025 w 270932"/>
                <a:gd name="connsiteY127" fmla="*/ 251703 h 511564"/>
                <a:gd name="connsiteX128" fmla="*/ 160726 w 270932"/>
                <a:gd name="connsiteY128" fmla="*/ 255185 h 511564"/>
                <a:gd name="connsiteX129" fmla="*/ 160925 w 270932"/>
                <a:gd name="connsiteY129" fmla="*/ 257075 h 511564"/>
                <a:gd name="connsiteX130" fmla="*/ 161424 w 270932"/>
                <a:gd name="connsiteY130" fmla="*/ 258369 h 511564"/>
                <a:gd name="connsiteX131" fmla="*/ 162420 w 270932"/>
                <a:gd name="connsiteY131" fmla="*/ 260458 h 511564"/>
                <a:gd name="connsiteX132" fmla="*/ 164612 w 270932"/>
                <a:gd name="connsiteY132" fmla="*/ 266626 h 511564"/>
                <a:gd name="connsiteX133" fmla="*/ 166306 w 270932"/>
                <a:gd name="connsiteY133" fmla="*/ 268517 h 511564"/>
                <a:gd name="connsiteX134" fmla="*/ 170491 w 270932"/>
                <a:gd name="connsiteY134" fmla="*/ 271501 h 511564"/>
                <a:gd name="connsiteX135" fmla="*/ 172385 w 270932"/>
                <a:gd name="connsiteY135" fmla="*/ 273491 h 511564"/>
                <a:gd name="connsiteX136" fmla="*/ 177068 w 270932"/>
                <a:gd name="connsiteY136" fmla="*/ 275779 h 511564"/>
                <a:gd name="connsiteX137" fmla="*/ 189922 w 270932"/>
                <a:gd name="connsiteY137" fmla="*/ 275779 h 511564"/>
                <a:gd name="connsiteX138" fmla="*/ 192812 w 270932"/>
                <a:gd name="connsiteY138" fmla="*/ 277570 h 511564"/>
                <a:gd name="connsiteX139" fmla="*/ 188328 w 270932"/>
                <a:gd name="connsiteY139" fmla="*/ 279261 h 511564"/>
                <a:gd name="connsiteX140" fmla="*/ 169495 w 270932"/>
                <a:gd name="connsiteY140" fmla="*/ 276376 h 511564"/>
                <a:gd name="connsiteX141" fmla="*/ 165808 w 270932"/>
                <a:gd name="connsiteY141" fmla="*/ 273391 h 511564"/>
                <a:gd name="connsiteX142" fmla="*/ 159830 w 270932"/>
                <a:gd name="connsiteY142" fmla="*/ 265035 h 511564"/>
                <a:gd name="connsiteX143" fmla="*/ 155943 w 270932"/>
                <a:gd name="connsiteY143" fmla="*/ 261751 h 511564"/>
                <a:gd name="connsiteX144" fmla="*/ 151161 w 270932"/>
                <a:gd name="connsiteY144" fmla="*/ 260558 h 511564"/>
                <a:gd name="connsiteX145" fmla="*/ 141096 w 270932"/>
                <a:gd name="connsiteY145" fmla="*/ 260458 h 511564"/>
                <a:gd name="connsiteX146" fmla="*/ 139103 w 270932"/>
                <a:gd name="connsiteY146" fmla="*/ 260955 h 511564"/>
                <a:gd name="connsiteX147" fmla="*/ 134719 w 270932"/>
                <a:gd name="connsiteY147" fmla="*/ 262846 h 511564"/>
                <a:gd name="connsiteX148" fmla="*/ 132925 w 270932"/>
                <a:gd name="connsiteY148" fmla="*/ 262647 h 511564"/>
                <a:gd name="connsiteX149" fmla="*/ 131331 w 270932"/>
                <a:gd name="connsiteY149" fmla="*/ 260757 h 511564"/>
                <a:gd name="connsiteX150" fmla="*/ 131630 w 270932"/>
                <a:gd name="connsiteY150" fmla="*/ 258866 h 511564"/>
                <a:gd name="connsiteX151" fmla="*/ 133025 w 270932"/>
                <a:gd name="connsiteY151" fmla="*/ 257175 h 511564"/>
                <a:gd name="connsiteX152" fmla="*/ 134520 w 270932"/>
                <a:gd name="connsiteY152" fmla="*/ 255782 h 511564"/>
                <a:gd name="connsiteX153" fmla="*/ 134520 w 270932"/>
                <a:gd name="connsiteY153" fmla="*/ 254588 h 511564"/>
                <a:gd name="connsiteX154" fmla="*/ 131132 w 270932"/>
                <a:gd name="connsiteY154" fmla="*/ 254588 h 511564"/>
                <a:gd name="connsiteX155" fmla="*/ 133424 w 270932"/>
                <a:gd name="connsiteY155" fmla="*/ 253394 h 511564"/>
                <a:gd name="connsiteX156" fmla="*/ 134321 w 270932"/>
                <a:gd name="connsiteY156" fmla="*/ 251007 h 511564"/>
                <a:gd name="connsiteX157" fmla="*/ 134021 w 270932"/>
                <a:gd name="connsiteY157" fmla="*/ 248619 h 511564"/>
                <a:gd name="connsiteX158" fmla="*/ 132427 w 270932"/>
                <a:gd name="connsiteY158" fmla="*/ 247624 h 511564"/>
                <a:gd name="connsiteX159" fmla="*/ 131530 w 270932"/>
                <a:gd name="connsiteY159" fmla="*/ 247923 h 511564"/>
                <a:gd name="connsiteX160" fmla="*/ 127744 w 270932"/>
                <a:gd name="connsiteY160" fmla="*/ 250012 h 511564"/>
                <a:gd name="connsiteX161" fmla="*/ 125153 w 270932"/>
                <a:gd name="connsiteY161" fmla="*/ 253593 h 511564"/>
                <a:gd name="connsiteX162" fmla="*/ 121964 w 270932"/>
                <a:gd name="connsiteY162" fmla="*/ 263443 h 511564"/>
                <a:gd name="connsiteX163" fmla="*/ 120470 w 270932"/>
                <a:gd name="connsiteY163" fmla="*/ 266029 h 511564"/>
                <a:gd name="connsiteX164" fmla="*/ 114591 w 270932"/>
                <a:gd name="connsiteY164" fmla="*/ 271800 h 511564"/>
                <a:gd name="connsiteX165" fmla="*/ 113295 w 270932"/>
                <a:gd name="connsiteY165" fmla="*/ 284435 h 511564"/>
                <a:gd name="connsiteX166" fmla="*/ 112000 w 270932"/>
                <a:gd name="connsiteY166" fmla="*/ 285230 h 511564"/>
                <a:gd name="connsiteX167" fmla="*/ 111303 w 270932"/>
                <a:gd name="connsiteY167" fmla="*/ 287220 h 511564"/>
                <a:gd name="connsiteX168" fmla="*/ 110306 w 270932"/>
                <a:gd name="connsiteY168" fmla="*/ 291200 h 511564"/>
                <a:gd name="connsiteX169" fmla="*/ 109210 w 270932"/>
                <a:gd name="connsiteY169" fmla="*/ 294383 h 511564"/>
                <a:gd name="connsiteX170" fmla="*/ 108612 w 270932"/>
                <a:gd name="connsiteY170" fmla="*/ 295478 h 511564"/>
                <a:gd name="connsiteX171" fmla="*/ 107616 w 270932"/>
                <a:gd name="connsiteY171" fmla="*/ 296870 h 511564"/>
                <a:gd name="connsiteX172" fmla="*/ 103032 w 270932"/>
                <a:gd name="connsiteY172" fmla="*/ 301646 h 511564"/>
                <a:gd name="connsiteX173" fmla="*/ 100840 w 270932"/>
                <a:gd name="connsiteY173" fmla="*/ 304531 h 511564"/>
                <a:gd name="connsiteX174" fmla="*/ 99046 w 270932"/>
                <a:gd name="connsiteY174" fmla="*/ 310401 h 511564"/>
                <a:gd name="connsiteX175" fmla="*/ 93765 w 270932"/>
                <a:gd name="connsiteY175" fmla="*/ 318658 h 511564"/>
                <a:gd name="connsiteX176" fmla="*/ 92370 w 270932"/>
                <a:gd name="connsiteY176" fmla="*/ 325224 h 511564"/>
                <a:gd name="connsiteX177" fmla="*/ 92271 w 270932"/>
                <a:gd name="connsiteY177" fmla="*/ 332487 h 511564"/>
                <a:gd name="connsiteX178" fmla="*/ 91374 w 270932"/>
                <a:gd name="connsiteY178" fmla="*/ 339352 h 511564"/>
                <a:gd name="connsiteX179" fmla="*/ 87786 w 270932"/>
                <a:gd name="connsiteY179" fmla="*/ 344923 h 511564"/>
                <a:gd name="connsiteX180" fmla="*/ 85395 w 270932"/>
                <a:gd name="connsiteY180" fmla="*/ 345619 h 511564"/>
                <a:gd name="connsiteX181" fmla="*/ 81410 w 270932"/>
                <a:gd name="connsiteY181" fmla="*/ 345818 h 511564"/>
                <a:gd name="connsiteX182" fmla="*/ 77523 w 270932"/>
                <a:gd name="connsiteY182" fmla="*/ 345420 h 511564"/>
                <a:gd name="connsiteX183" fmla="*/ 75132 w 270932"/>
                <a:gd name="connsiteY183" fmla="*/ 344326 h 511564"/>
                <a:gd name="connsiteX184" fmla="*/ 74135 w 270932"/>
                <a:gd name="connsiteY184" fmla="*/ 343232 h 511564"/>
                <a:gd name="connsiteX185" fmla="*/ 71943 w 270932"/>
                <a:gd name="connsiteY185" fmla="*/ 341540 h 511564"/>
                <a:gd name="connsiteX186" fmla="*/ 71744 w 270932"/>
                <a:gd name="connsiteY186" fmla="*/ 340048 h 511564"/>
                <a:gd name="connsiteX187" fmla="*/ 71544 w 270932"/>
                <a:gd name="connsiteY187" fmla="*/ 338257 h 511564"/>
                <a:gd name="connsiteX188" fmla="*/ 71246 w 270932"/>
                <a:gd name="connsiteY188" fmla="*/ 333581 h 511564"/>
                <a:gd name="connsiteX189" fmla="*/ 70349 w 270932"/>
                <a:gd name="connsiteY189" fmla="*/ 333581 h 511564"/>
                <a:gd name="connsiteX190" fmla="*/ 70947 w 270932"/>
                <a:gd name="connsiteY190" fmla="*/ 338357 h 511564"/>
                <a:gd name="connsiteX191" fmla="*/ 70847 w 270932"/>
                <a:gd name="connsiteY191" fmla="*/ 340247 h 511564"/>
                <a:gd name="connsiteX192" fmla="*/ 69950 w 270932"/>
                <a:gd name="connsiteY192" fmla="*/ 342137 h 511564"/>
                <a:gd name="connsiteX193" fmla="*/ 66961 w 270932"/>
                <a:gd name="connsiteY193" fmla="*/ 345619 h 511564"/>
                <a:gd name="connsiteX194" fmla="*/ 65068 w 270932"/>
                <a:gd name="connsiteY194" fmla="*/ 347311 h 511564"/>
                <a:gd name="connsiteX195" fmla="*/ 64171 w 270932"/>
                <a:gd name="connsiteY195" fmla="*/ 346714 h 511564"/>
                <a:gd name="connsiteX196" fmla="*/ 64370 w 270932"/>
                <a:gd name="connsiteY196" fmla="*/ 343033 h 511564"/>
                <a:gd name="connsiteX197" fmla="*/ 64171 w 270932"/>
                <a:gd name="connsiteY197" fmla="*/ 341839 h 511564"/>
                <a:gd name="connsiteX198" fmla="*/ 60883 w 270932"/>
                <a:gd name="connsiteY198" fmla="*/ 340346 h 511564"/>
                <a:gd name="connsiteX199" fmla="*/ 57694 w 270932"/>
                <a:gd name="connsiteY199" fmla="*/ 338357 h 511564"/>
                <a:gd name="connsiteX200" fmla="*/ 56698 w 270932"/>
                <a:gd name="connsiteY200" fmla="*/ 336964 h 511564"/>
                <a:gd name="connsiteX201" fmla="*/ 56399 w 270932"/>
                <a:gd name="connsiteY201" fmla="*/ 334676 h 511564"/>
                <a:gd name="connsiteX202" fmla="*/ 58192 w 270932"/>
                <a:gd name="connsiteY202" fmla="*/ 331094 h 511564"/>
                <a:gd name="connsiteX203" fmla="*/ 61779 w 270932"/>
                <a:gd name="connsiteY203" fmla="*/ 326518 h 511564"/>
                <a:gd name="connsiteX204" fmla="*/ 65666 w 270932"/>
                <a:gd name="connsiteY204" fmla="*/ 322538 h 511564"/>
                <a:gd name="connsiteX205" fmla="*/ 68157 w 270932"/>
                <a:gd name="connsiteY205" fmla="*/ 320946 h 511564"/>
                <a:gd name="connsiteX206" fmla="*/ 71445 w 270932"/>
                <a:gd name="connsiteY206" fmla="*/ 319753 h 511564"/>
                <a:gd name="connsiteX207" fmla="*/ 74933 w 270932"/>
                <a:gd name="connsiteY207" fmla="*/ 316768 h 511564"/>
                <a:gd name="connsiteX208" fmla="*/ 78221 w 270932"/>
                <a:gd name="connsiteY208" fmla="*/ 313087 h 511564"/>
                <a:gd name="connsiteX209" fmla="*/ 80812 w 270932"/>
                <a:gd name="connsiteY209" fmla="*/ 309605 h 511564"/>
                <a:gd name="connsiteX210" fmla="*/ 76328 w 270932"/>
                <a:gd name="connsiteY210" fmla="*/ 310998 h 511564"/>
                <a:gd name="connsiteX211" fmla="*/ 55203 w 270932"/>
                <a:gd name="connsiteY211" fmla="*/ 327115 h 511564"/>
                <a:gd name="connsiteX212" fmla="*/ 37168 w 270932"/>
                <a:gd name="connsiteY212" fmla="*/ 338158 h 511564"/>
                <a:gd name="connsiteX213" fmla="*/ 25210 w 270932"/>
                <a:gd name="connsiteY213" fmla="*/ 347112 h 511564"/>
                <a:gd name="connsiteX214" fmla="*/ 22719 w 270932"/>
                <a:gd name="connsiteY214" fmla="*/ 349599 h 511564"/>
                <a:gd name="connsiteX215" fmla="*/ 21623 w 270932"/>
                <a:gd name="connsiteY215" fmla="*/ 352384 h 511564"/>
                <a:gd name="connsiteX216" fmla="*/ 21722 w 270932"/>
                <a:gd name="connsiteY216" fmla="*/ 354175 h 511564"/>
                <a:gd name="connsiteX217" fmla="*/ 20826 w 270932"/>
                <a:gd name="connsiteY217" fmla="*/ 356364 h 511564"/>
                <a:gd name="connsiteX218" fmla="*/ 20228 w 270932"/>
                <a:gd name="connsiteY218" fmla="*/ 357657 h 511564"/>
                <a:gd name="connsiteX219" fmla="*/ 18833 w 270932"/>
                <a:gd name="connsiteY219" fmla="*/ 359548 h 511564"/>
                <a:gd name="connsiteX220" fmla="*/ 18235 w 270932"/>
                <a:gd name="connsiteY220" fmla="*/ 360841 h 511564"/>
                <a:gd name="connsiteX221" fmla="*/ 21523 w 270932"/>
                <a:gd name="connsiteY221" fmla="*/ 360741 h 511564"/>
                <a:gd name="connsiteX222" fmla="*/ 41552 w 270932"/>
                <a:gd name="connsiteY222" fmla="*/ 353777 h 511564"/>
                <a:gd name="connsiteX223" fmla="*/ 47331 w 270932"/>
                <a:gd name="connsiteY223" fmla="*/ 352782 h 511564"/>
                <a:gd name="connsiteX224" fmla="*/ 59288 w 270932"/>
                <a:gd name="connsiteY224" fmla="*/ 353479 h 511564"/>
                <a:gd name="connsiteX225" fmla="*/ 72043 w 270932"/>
                <a:gd name="connsiteY225" fmla="*/ 351987 h 511564"/>
                <a:gd name="connsiteX226" fmla="*/ 86093 w 270932"/>
                <a:gd name="connsiteY226" fmla="*/ 347609 h 511564"/>
                <a:gd name="connsiteX227" fmla="*/ 89082 w 270932"/>
                <a:gd name="connsiteY227" fmla="*/ 347211 h 511564"/>
                <a:gd name="connsiteX228" fmla="*/ 102434 w 270932"/>
                <a:gd name="connsiteY228" fmla="*/ 348405 h 511564"/>
                <a:gd name="connsiteX229" fmla="*/ 105424 w 270932"/>
                <a:gd name="connsiteY229" fmla="*/ 349897 h 511564"/>
                <a:gd name="connsiteX230" fmla="*/ 109708 w 270932"/>
                <a:gd name="connsiteY230" fmla="*/ 354275 h 511564"/>
                <a:gd name="connsiteX231" fmla="*/ 112399 w 270932"/>
                <a:gd name="connsiteY231" fmla="*/ 355071 h 511564"/>
                <a:gd name="connsiteX232" fmla="*/ 118577 w 270932"/>
                <a:gd name="connsiteY232" fmla="*/ 353777 h 511564"/>
                <a:gd name="connsiteX233" fmla="*/ 121466 w 270932"/>
                <a:gd name="connsiteY233" fmla="*/ 354076 h 511564"/>
                <a:gd name="connsiteX234" fmla="*/ 123359 w 270932"/>
                <a:gd name="connsiteY234" fmla="*/ 356364 h 511564"/>
                <a:gd name="connsiteX235" fmla="*/ 126150 w 270932"/>
                <a:gd name="connsiteY235" fmla="*/ 353877 h 511564"/>
                <a:gd name="connsiteX236" fmla="*/ 130634 w 270932"/>
                <a:gd name="connsiteY236" fmla="*/ 352086 h 511564"/>
                <a:gd name="connsiteX237" fmla="*/ 138904 w 270932"/>
                <a:gd name="connsiteY237" fmla="*/ 350594 h 511564"/>
                <a:gd name="connsiteX238" fmla="*/ 141395 w 270932"/>
                <a:gd name="connsiteY238" fmla="*/ 350892 h 511564"/>
                <a:gd name="connsiteX239" fmla="*/ 143288 w 270932"/>
                <a:gd name="connsiteY239" fmla="*/ 351688 h 511564"/>
                <a:gd name="connsiteX240" fmla="*/ 143687 w 270932"/>
                <a:gd name="connsiteY240" fmla="*/ 352782 h 511564"/>
                <a:gd name="connsiteX241" fmla="*/ 141594 w 270932"/>
                <a:gd name="connsiteY241" fmla="*/ 353976 h 511564"/>
                <a:gd name="connsiteX242" fmla="*/ 139402 w 270932"/>
                <a:gd name="connsiteY242" fmla="*/ 354374 h 511564"/>
                <a:gd name="connsiteX243" fmla="*/ 135018 w 270932"/>
                <a:gd name="connsiteY243" fmla="*/ 354673 h 511564"/>
                <a:gd name="connsiteX244" fmla="*/ 126748 w 270932"/>
                <a:gd name="connsiteY244" fmla="*/ 356762 h 511564"/>
                <a:gd name="connsiteX245" fmla="*/ 125153 w 270932"/>
                <a:gd name="connsiteY245" fmla="*/ 357558 h 511564"/>
                <a:gd name="connsiteX246" fmla="*/ 123260 w 270932"/>
                <a:gd name="connsiteY246" fmla="*/ 359647 h 511564"/>
                <a:gd name="connsiteX247" fmla="*/ 120171 w 270932"/>
                <a:gd name="connsiteY247" fmla="*/ 364621 h 511564"/>
                <a:gd name="connsiteX248" fmla="*/ 118079 w 270932"/>
                <a:gd name="connsiteY248" fmla="*/ 366611 h 511564"/>
                <a:gd name="connsiteX249" fmla="*/ 116484 w 270932"/>
                <a:gd name="connsiteY249" fmla="*/ 367208 h 511564"/>
                <a:gd name="connsiteX250" fmla="*/ 110306 w 270932"/>
                <a:gd name="connsiteY250" fmla="*/ 368899 h 511564"/>
                <a:gd name="connsiteX251" fmla="*/ 103929 w 270932"/>
                <a:gd name="connsiteY251" fmla="*/ 371984 h 511564"/>
                <a:gd name="connsiteX252" fmla="*/ 101537 w 270932"/>
                <a:gd name="connsiteY252" fmla="*/ 372282 h 511564"/>
                <a:gd name="connsiteX253" fmla="*/ 104926 w 270932"/>
                <a:gd name="connsiteY253" fmla="*/ 368999 h 511564"/>
                <a:gd name="connsiteX254" fmla="*/ 108313 w 270932"/>
                <a:gd name="connsiteY254" fmla="*/ 367308 h 511564"/>
                <a:gd name="connsiteX255" fmla="*/ 111801 w 270932"/>
                <a:gd name="connsiteY255" fmla="*/ 366114 h 511564"/>
                <a:gd name="connsiteX256" fmla="*/ 115488 w 270932"/>
                <a:gd name="connsiteY256" fmla="*/ 364323 h 511564"/>
                <a:gd name="connsiteX257" fmla="*/ 115488 w 270932"/>
                <a:gd name="connsiteY257" fmla="*/ 363229 h 511564"/>
                <a:gd name="connsiteX258" fmla="*/ 110206 w 270932"/>
                <a:gd name="connsiteY258" fmla="*/ 364024 h 511564"/>
                <a:gd name="connsiteX259" fmla="*/ 105922 w 270932"/>
                <a:gd name="connsiteY259" fmla="*/ 366114 h 511564"/>
                <a:gd name="connsiteX260" fmla="*/ 102135 w 270932"/>
                <a:gd name="connsiteY260" fmla="*/ 369596 h 511564"/>
                <a:gd name="connsiteX261" fmla="*/ 98548 w 270932"/>
                <a:gd name="connsiteY261" fmla="*/ 373874 h 511564"/>
                <a:gd name="connsiteX262" fmla="*/ 97452 w 270932"/>
                <a:gd name="connsiteY262" fmla="*/ 374570 h 511564"/>
                <a:gd name="connsiteX263" fmla="*/ 94861 w 270932"/>
                <a:gd name="connsiteY263" fmla="*/ 375068 h 511564"/>
                <a:gd name="connsiteX264" fmla="*/ 93765 w 270932"/>
                <a:gd name="connsiteY264" fmla="*/ 375664 h 511564"/>
                <a:gd name="connsiteX265" fmla="*/ 92769 w 270932"/>
                <a:gd name="connsiteY265" fmla="*/ 377256 h 511564"/>
                <a:gd name="connsiteX266" fmla="*/ 92271 w 270932"/>
                <a:gd name="connsiteY266" fmla="*/ 380639 h 511564"/>
                <a:gd name="connsiteX267" fmla="*/ 91573 w 270932"/>
                <a:gd name="connsiteY267" fmla="*/ 381932 h 511564"/>
                <a:gd name="connsiteX268" fmla="*/ 86491 w 270932"/>
                <a:gd name="connsiteY268" fmla="*/ 388498 h 511564"/>
                <a:gd name="connsiteX269" fmla="*/ 84299 w 270932"/>
                <a:gd name="connsiteY269" fmla="*/ 390488 h 511564"/>
                <a:gd name="connsiteX270" fmla="*/ 77025 w 270932"/>
                <a:gd name="connsiteY270" fmla="*/ 395164 h 511564"/>
                <a:gd name="connsiteX271" fmla="*/ 74833 w 270932"/>
                <a:gd name="connsiteY271" fmla="*/ 397253 h 511564"/>
                <a:gd name="connsiteX272" fmla="*/ 71644 w 270932"/>
                <a:gd name="connsiteY272" fmla="*/ 401432 h 511564"/>
                <a:gd name="connsiteX273" fmla="*/ 69651 w 270932"/>
                <a:gd name="connsiteY273" fmla="*/ 403322 h 511564"/>
                <a:gd name="connsiteX274" fmla="*/ 62776 w 270932"/>
                <a:gd name="connsiteY274" fmla="*/ 406108 h 511564"/>
                <a:gd name="connsiteX275" fmla="*/ 55303 w 270932"/>
                <a:gd name="connsiteY275" fmla="*/ 415658 h 511564"/>
                <a:gd name="connsiteX276" fmla="*/ 51217 w 270932"/>
                <a:gd name="connsiteY276" fmla="*/ 418842 h 511564"/>
                <a:gd name="connsiteX277" fmla="*/ 30093 w 270932"/>
                <a:gd name="connsiteY277" fmla="*/ 429388 h 511564"/>
                <a:gd name="connsiteX278" fmla="*/ 20826 w 270932"/>
                <a:gd name="connsiteY278" fmla="*/ 436551 h 511564"/>
                <a:gd name="connsiteX279" fmla="*/ 13053 w 270932"/>
                <a:gd name="connsiteY279" fmla="*/ 444908 h 511564"/>
                <a:gd name="connsiteX280" fmla="*/ 12257 w 270932"/>
                <a:gd name="connsiteY280" fmla="*/ 446599 h 511564"/>
                <a:gd name="connsiteX281" fmla="*/ 11758 w 270932"/>
                <a:gd name="connsiteY281" fmla="*/ 448489 h 511564"/>
                <a:gd name="connsiteX282" fmla="*/ 10861 w 270932"/>
                <a:gd name="connsiteY282" fmla="*/ 449982 h 511564"/>
                <a:gd name="connsiteX283" fmla="*/ 9068 w 270932"/>
                <a:gd name="connsiteY283" fmla="*/ 450579 h 511564"/>
                <a:gd name="connsiteX284" fmla="*/ 6377 w 270932"/>
                <a:gd name="connsiteY284" fmla="*/ 450380 h 511564"/>
                <a:gd name="connsiteX285" fmla="*/ 4882 w 270932"/>
                <a:gd name="connsiteY285" fmla="*/ 450479 h 511564"/>
                <a:gd name="connsiteX286" fmla="*/ 3886 w 270932"/>
                <a:gd name="connsiteY286" fmla="*/ 451175 h 511564"/>
                <a:gd name="connsiteX287" fmla="*/ 2691 w 270932"/>
                <a:gd name="connsiteY287" fmla="*/ 452270 h 511564"/>
                <a:gd name="connsiteX288" fmla="*/ 1395 w 270932"/>
                <a:gd name="connsiteY288" fmla="*/ 452966 h 511564"/>
                <a:gd name="connsiteX289" fmla="*/ 399 w 270932"/>
                <a:gd name="connsiteY289" fmla="*/ 454061 h 511564"/>
                <a:gd name="connsiteX290" fmla="*/ 0 w 270932"/>
                <a:gd name="connsiteY290" fmla="*/ 456249 h 511564"/>
                <a:gd name="connsiteX291" fmla="*/ 199 w 270932"/>
                <a:gd name="connsiteY291" fmla="*/ 457841 h 511564"/>
                <a:gd name="connsiteX292" fmla="*/ 897 w 270932"/>
                <a:gd name="connsiteY292" fmla="*/ 458935 h 511564"/>
                <a:gd name="connsiteX293" fmla="*/ 4384 w 270932"/>
                <a:gd name="connsiteY293" fmla="*/ 463114 h 511564"/>
                <a:gd name="connsiteX294" fmla="*/ 4982 w 270932"/>
                <a:gd name="connsiteY294" fmla="*/ 464208 h 511564"/>
                <a:gd name="connsiteX295" fmla="*/ 5182 w 270932"/>
                <a:gd name="connsiteY295" fmla="*/ 465800 h 511564"/>
                <a:gd name="connsiteX296" fmla="*/ 5879 w 270932"/>
                <a:gd name="connsiteY296" fmla="*/ 466695 h 511564"/>
                <a:gd name="connsiteX297" fmla="*/ 8868 w 270932"/>
                <a:gd name="connsiteY297" fmla="*/ 468287 h 511564"/>
                <a:gd name="connsiteX298" fmla="*/ 9466 w 270932"/>
                <a:gd name="connsiteY298" fmla="*/ 469282 h 511564"/>
                <a:gd name="connsiteX299" fmla="*/ 9566 w 270932"/>
                <a:gd name="connsiteY299" fmla="*/ 473063 h 511564"/>
                <a:gd name="connsiteX300" fmla="*/ 10264 w 270932"/>
                <a:gd name="connsiteY300" fmla="*/ 476346 h 511564"/>
                <a:gd name="connsiteX301" fmla="*/ 12057 w 270932"/>
                <a:gd name="connsiteY301" fmla="*/ 478435 h 511564"/>
                <a:gd name="connsiteX302" fmla="*/ 15644 w 270932"/>
                <a:gd name="connsiteY302" fmla="*/ 478833 h 511564"/>
                <a:gd name="connsiteX303" fmla="*/ 13950 w 270932"/>
                <a:gd name="connsiteY303" fmla="*/ 482812 h 511564"/>
                <a:gd name="connsiteX304" fmla="*/ 12456 w 270932"/>
                <a:gd name="connsiteY304" fmla="*/ 488782 h 511564"/>
                <a:gd name="connsiteX305" fmla="*/ 11858 w 270932"/>
                <a:gd name="connsiteY305" fmla="*/ 494850 h 511564"/>
                <a:gd name="connsiteX306" fmla="*/ 13053 w 270932"/>
                <a:gd name="connsiteY306" fmla="*/ 499128 h 511564"/>
                <a:gd name="connsiteX307" fmla="*/ 12356 w 270932"/>
                <a:gd name="connsiteY307" fmla="*/ 501417 h 511564"/>
                <a:gd name="connsiteX308" fmla="*/ 13353 w 270932"/>
                <a:gd name="connsiteY308" fmla="*/ 502710 h 511564"/>
                <a:gd name="connsiteX309" fmla="*/ 15046 w 270932"/>
                <a:gd name="connsiteY309" fmla="*/ 503406 h 511564"/>
                <a:gd name="connsiteX310" fmla="*/ 16940 w 270932"/>
                <a:gd name="connsiteY310" fmla="*/ 503605 h 511564"/>
                <a:gd name="connsiteX311" fmla="*/ 19032 w 270932"/>
                <a:gd name="connsiteY311" fmla="*/ 504302 h 511564"/>
                <a:gd name="connsiteX312" fmla="*/ 20228 w 270932"/>
                <a:gd name="connsiteY312" fmla="*/ 505993 h 511564"/>
                <a:gd name="connsiteX313" fmla="*/ 21224 w 270932"/>
                <a:gd name="connsiteY313" fmla="*/ 507883 h 511564"/>
                <a:gd name="connsiteX314" fmla="*/ 22619 w 270932"/>
                <a:gd name="connsiteY314" fmla="*/ 509376 h 511564"/>
                <a:gd name="connsiteX315" fmla="*/ 24114 w 270932"/>
                <a:gd name="connsiteY315" fmla="*/ 509475 h 511564"/>
                <a:gd name="connsiteX316" fmla="*/ 25609 w 270932"/>
                <a:gd name="connsiteY316" fmla="*/ 508878 h 511564"/>
                <a:gd name="connsiteX317" fmla="*/ 27302 w 270932"/>
                <a:gd name="connsiteY317" fmla="*/ 508679 h 511564"/>
                <a:gd name="connsiteX318" fmla="*/ 30790 w 270932"/>
                <a:gd name="connsiteY318" fmla="*/ 511067 h 511564"/>
                <a:gd name="connsiteX319" fmla="*/ 32883 w 270932"/>
                <a:gd name="connsiteY319" fmla="*/ 511564 h 511564"/>
                <a:gd name="connsiteX320" fmla="*/ 37267 w 270932"/>
                <a:gd name="connsiteY320" fmla="*/ 511564 h 511564"/>
                <a:gd name="connsiteX321" fmla="*/ 47331 w 270932"/>
                <a:gd name="connsiteY321" fmla="*/ 509376 h 511564"/>
                <a:gd name="connsiteX322" fmla="*/ 48726 w 270932"/>
                <a:gd name="connsiteY322" fmla="*/ 508978 h 511564"/>
                <a:gd name="connsiteX323" fmla="*/ 51516 w 270932"/>
                <a:gd name="connsiteY323" fmla="*/ 507485 h 511564"/>
                <a:gd name="connsiteX324" fmla="*/ 52911 w 270932"/>
                <a:gd name="connsiteY324" fmla="*/ 507087 h 511564"/>
                <a:gd name="connsiteX325" fmla="*/ 54206 w 270932"/>
                <a:gd name="connsiteY325" fmla="*/ 507386 h 511564"/>
                <a:gd name="connsiteX326" fmla="*/ 55203 w 270932"/>
                <a:gd name="connsiteY326" fmla="*/ 508182 h 511564"/>
                <a:gd name="connsiteX327" fmla="*/ 56199 w 270932"/>
                <a:gd name="connsiteY327" fmla="*/ 508182 h 511564"/>
                <a:gd name="connsiteX328" fmla="*/ 57694 w 270932"/>
                <a:gd name="connsiteY328" fmla="*/ 506490 h 511564"/>
                <a:gd name="connsiteX329" fmla="*/ 61381 w 270932"/>
                <a:gd name="connsiteY329" fmla="*/ 504799 h 511564"/>
                <a:gd name="connsiteX330" fmla="*/ 81011 w 270932"/>
                <a:gd name="connsiteY330" fmla="*/ 505794 h 511564"/>
                <a:gd name="connsiteX331" fmla="*/ 89082 w 270932"/>
                <a:gd name="connsiteY331" fmla="*/ 504799 h 511564"/>
                <a:gd name="connsiteX332" fmla="*/ 96057 w 270932"/>
                <a:gd name="connsiteY332" fmla="*/ 500820 h 511564"/>
                <a:gd name="connsiteX333" fmla="*/ 97253 w 270932"/>
                <a:gd name="connsiteY333" fmla="*/ 500919 h 511564"/>
                <a:gd name="connsiteX334" fmla="*/ 98648 w 270932"/>
                <a:gd name="connsiteY334" fmla="*/ 503108 h 511564"/>
                <a:gd name="connsiteX335" fmla="*/ 101737 w 270932"/>
                <a:gd name="connsiteY335" fmla="*/ 501815 h 511564"/>
                <a:gd name="connsiteX336" fmla="*/ 104726 w 270932"/>
                <a:gd name="connsiteY336" fmla="*/ 499327 h 511564"/>
                <a:gd name="connsiteX337" fmla="*/ 105922 w 270932"/>
                <a:gd name="connsiteY337" fmla="*/ 498034 h 511564"/>
                <a:gd name="connsiteX338" fmla="*/ 110306 w 270932"/>
                <a:gd name="connsiteY338" fmla="*/ 497537 h 511564"/>
                <a:gd name="connsiteX339" fmla="*/ 111402 w 270932"/>
                <a:gd name="connsiteY339" fmla="*/ 496741 h 511564"/>
                <a:gd name="connsiteX340" fmla="*/ 109410 w 270932"/>
                <a:gd name="connsiteY340" fmla="*/ 494652 h 511564"/>
                <a:gd name="connsiteX341" fmla="*/ 110804 w 270932"/>
                <a:gd name="connsiteY341" fmla="*/ 494254 h 511564"/>
                <a:gd name="connsiteX342" fmla="*/ 111901 w 270932"/>
                <a:gd name="connsiteY342" fmla="*/ 494950 h 511564"/>
                <a:gd name="connsiteX343" fmla="*/ 112897 w 270932"/>
                <a:gd name="connsiteY343" fmla="*/ 496243 h 511564"/>
                <a:gd name="connsiteX344" fmla="*/ 113794 w 270932"/>
                <a:gd name="connsiteY344" fmla="*/ 498034 h 511564"/>
                <a:gd name="connsiteX345" fmla="*/ 116285 w 270932"/>
                <a:gd name="connsiteY345" fmla="*/ 496641 h 511564"/>
                <a:gd name="connsiteX346" fmla="*/ 118577 w 270932"/>
                <a:gd name="connsiteY346" fmla="*/ 496542 h 511564"/>
                <a:gd name="connsiteX347" fmla="*/ 120868 w 270932"/>
                <a:gd name="connsiteY347" fmla="*/ 497437 h 511564"/>
                <a:gd name="connsiteX348" fmla="*/ 123359 w 270932"/>
                <a:gd name="connsiteY348" fmla="*/ 499128 h 511564"/>
                <a:gd name="connsiteX349" fmla="*/ 124256 w 270932"/>
                <a:gd name="connsiteY349" fmla="*/ 499128 h 511564"/>
                <a:gd name="connsiteX350" fmla="*/ 127445 w 270932"/>
                <a:gd name="connsiteY350" fmla="*/ 496144 h 511564"/>
                <a:gd name="connsiteX351" fmla="*/ 129039 w 270932"/>
                <a:gd name="connsiteY351" fmla="*/ 492562 h 511564"/>
                <a:gd name="connsiteX352" fmla="*/ 131132 w 270932"/>
                <a:gd name="connsiteY352" fmla="*/ 485598 h 511564"/>
                <a:gd name="connsiteX353" fmla="*/ 133922 w 270932"/>
                <a:gd name="connsiteY353" fmla="*/ 482116 h 511564"/>
                <a:gd name="connsiteX354" fmla="*/ 137110 w 270932"/>
                <a:gd name="connsiteY354" fmla="*/ 480524 h 511564"/>
                <a:gd name="connsiteX355" fmla="*/ 145082 w 270932"/>
                <a:gd name="connsiteY355" fmla="*/ 479927 h 511564"/>
                <a:gd name="connsiteX356" fmla="*/ 143388 w 270932"/>
                <a:gd name="connsiteY356" fmla="*/ 480524 h 511564"/>
                <a:gd name="connsiteX357" fmla="*/ 141495 w 270932"/>
                <a:gd name="connsiteY357" fmla="*/ 481420 h 511564"/>
                <a:gd name="connsiteX358" fmla="*/ 139801 w 270932"/>
                <a:gd name="connsiteY358" fmla="*/ 482514 h 511564"/>
                <a:gd name="connsiteX359" fmla="*/ 138506 w 270932"/>
                <a:gd name="connsiteY359" fmla="*/ 484006 h 511564"/>
                <a:gd name="connsiteX360" fmla="*/ 135417 w 270932"/>
                <a:gd name="connsiteY360" fmla="*/ 490274 h 511564"/>
                <a:gd name="connsiteX361" fmla="*/ 135018 w 270932"/>
                <a:gd name="connsiteY361" fmla="*/ 491368 h 511564"/>
                <a:gd name="connsiteX362" fmla="*/ 134121 w 270932"/>
                <a:gd name="connsiteY362" fmla="*/ 492363 h 511564"/>
                <a:gd name="connsiteX363" fmla="*/ 133224 w 270932"/>
                <a:gd name="connsiteY363" fmla="*/ 494751 h 511564"/>
                <a:gd name="connsiteX364" fmla="*/ 133224 w 270932"/>
                <a:gd name="connsiteY364" fmla="*/ 497039 h 511564"/>
                <a:gd name="connsiteX365" fmla="*/ 135018 w 270932"/>
                <a:gd name="connsiteY365" fmla="*/ 498034 h 511564"/>
                <a:gd name="connsiteX366" fmla="*/ 136313 w 270932"/>
                <a:gd name="connsiteY366" fmla="*/ 497437 h 511564"/>
                <a:gd name="connsiteX367" fmla="*/ 140000 w 270932"/>
                <a:gd name="connsiteY367" fmla="*/ 494254 h 511564"/>
                <a:gd name="connsiteX368" fmla="*/ 141096 w 270932"/>
                <a:gd name="connsiteY368" fmla="*/ 492960 h 511564"/>
                <a:gd name="connsiteX369" fmla="*/ 142690 w 270932"/>
                <a:gd name="connsiteY369" fmla="*/ 492761 h 511564"/>
                <a:gd name="connsiteX370" fmla="*/ 147573 w 270932"/>
                <a:gd name="connsiteY370" fmla="*/ 495348 h 511564"/>
                <a:gd name="connsiteX371" fmla="*/ 149466 w 270932"/>
                <a:gd name="connsiteY371" fmla="*/ 495845 h 511564"/>
                <a:gd name="connsiteX372" fmla="*/ 151061 w 270932"/>
                <a:gd name="connsiteY372" fmla="*/ 495149 h 511564"/>
                <a:gd name="connsiteX373" fmla="*/ 154448 w 270932"/>
                <a:gd name="connsiteY373" fmla="*/ 493060 h 511564"/>
                <a:gd name="connsiteX374" fmla="*/ 165808 w 270932"/>
                <a:gd name="connsiteY374" fmla="*/ 489379 h 511564"/>
                <a:gd name="connsiteX375" fmla="*/ 169395 w 270932"/>
                <a:gd name="connsiteY375" fmla="*/ 489080 h 511564"/>
                <a:gd name="connsiteX376" fmla="*/ 169395 w 270932"/>
                <a:gd name="connsiteY376" fmla="*/ 490075 h 511564"/>
                <a:gd name="connsiteX377" fmla="*/ 167601 w 270932"/>
                <a:gd name="connsiteY377" fmla="*/ 491766 h 511564"/>
                <a:gd name="connsiteX378" fmla="*/ 168697 w 270932"/>
                <a:gd name="connsiteY378" fmla="*/ 492861 h 511564"/>
                <a:gd name="connsiteX379" fmla="*/ 170790 w 270932"/>
                <a:gd name="connsiteY379" fmla="*/ 492662 h 511564"/>
                <a:gd name="connsiteX380" fmla="*/ 172883 w 270932"/>
                <a:gd name="connsiteY380" fmla="*/ 488881 h 511564"/>
                <a:gd name="connsiteX381" fmla="*/ 174975 w 270932"/>
                <a:gd name="connsiteY381" fmla="*/ 489677 h 511564"/>
                <a:gd name="connsiteX382" fmla="*/ 176968 w 270932"/>
                <a:gd name="connsiteY382" fmla="*/ 491368 h 511564"/>
                <a:gd name="connsiteX383" fmla="*/ 177566 w 270932"/>
                <a:gd name="connsiteY383" fmla="*/ 492363 h 511564"/>
                <a:gd name="connsiteX384" fmla="*/ 183943 w 270932"/>
                <a:gd name="connsiteY384" fmla="*/ 493159 h 511564"/>
                <a:gd name="connsiteX385" fmla="*/ 185836 w 270932"/>
                <a:gd name="connsiteY385" fmla="*/ 492363 h 511564"/>
                <a:gd name="connsiteX386" fmla="*/ 186733 w 270932"/>
                <a:gd name="connsiteY386" fmla="*/ 491368 h 511564"/>
                <a:gd name="connsiteX387" fmla="*/ 187032 w 270932"/>
                <a:gd name="connsiteY387" fmla="*/ 490274 h 511564"/>
                <a:gd name="connsiteX388" fmla="*/ 187630 w 270932"/>
                <a:gd name="connsiteY388" fmla="*/ 489379 h 511564"/>
                <a:gd name="connsiteX389" fmla="*/ 188925 w 270932"/>
                <a:gd name="connsiteY389" fmla="*/ 489080 h 511564"/>
                <a:gd name="connsiteX390" fmla="*/ 192812 w 270932"/>
                <a:gd name="connsiteY390" fmla="*/ 489080 h 511564"/>
                <a:gd name="connsiteX391" fmla="*/ 191516 w 270932"/>
                <a:gd name="connsiteY391" fmla="*/ 490075 h 511564"/>
                <a:gd name="connsiteX392" fmla="*/ 190321 w 270932"/>
                <a:gd name="connsiteY392" fmla="*/ 492065 h 511564"/>
                <a:gd name="connsiteX393" fmla="*/ 188527 w 270932"/>
                <a:gd name="connsiteY393" fmla="*/ 496840 h 511564"/>
                <a:gd name="connsiteX394" fmla="*/ 193608 w 270932"/>
                <a:gd name="connsiteY394" fmla="*/ 495845 h 511564"/>
                <a:gd name="connsiteX395" fmla="*/ 195502 w 270932"/>
                <a:gd name="connsiteY395" fmla="*/ 495845 h 511564"/>
                <a:gd name="connsiteX396" fmla="*/ 197594 w 270932"/>
                <a:gd name="connsiteY396" fmla="*/ 496542 h 511564"/>
                <a:gd name="connsiteX397" fmla="*/ 198790 w 270932"/>
                <a:gd name="connsiteY397" fmla="*/ 497636 h 511564"/>
                <a:gd name="connsiteX398" fmla="*/ 199787 w 270932"/>
                <a:gd name="connsiteY398" fmla="*/ 499128 h 511564"/>
                <a:gd name="connsiteX399" fmla="*/ 201481 w 270932"/>
                <a:gd name="connsiteY399" fmla="*/ 500322 h 511564"/>
                <a:gd name="connsiteX400" fmla="*/ 202577 w 270932"/>
                <a:gd name="connsiteY400" fmla="*/ 500322 h 511564"/>
                <a:gd name="connsiteX401" fmla="*/ 204071 w 270932"/>
                <a:gd name="connsiteY401" fmla="*/ 499228 h 511564"/>
                <a:gd name="connsiteX402" fmla="*/ 204868 w 270932"/>
                <a:gd name="connsiteY402" fmla="*/ 499128 h 511564"/>
                <a:gd name="connsiteX403" fmla="*/ 205566 w 270932"/>
                <a:gd name="connsiteY403" fmla="*/ 499725 h 511564"/>
                <a:gd name="connsiteX404" fmla="*/ 207659 w 270932"/>
                <a:gd name="connsiteY404" fmla="*/ 502412 h 511564"/>
                <a:gd name="connsiteX405" fmla="*/ 208754 w 270932"/>
                <a:gd name="connsiteY405" fmla="*/ 500919 h 511564"/>
                <a:gd name="connsiteX406" fmla="*/ 209153 w 270932"/>
                <a:gd name="connsiteY406" fmla="*/ 498730 h 511564"/>
                <a:gd name="connsiteX407" fmla="*/ 209850 w 270932"/>
                <a:gd name="connsiteY407" fmla="*/ 496741 h 511564"/>
                <a:gd name="connsiteX408" fmla="*/ 211943 w 270932"/>
                <a:gd name="connsiteY408" fmla="*/ 495845 h 511564"/>
                <a:gd name="connsiteX409" fmla="*/ 213637 w 270932"/>
                <a:gd name="connsiteY409" fmla="*/ 496243 h 511564"/>
                <a:gd name="connsiteX410" fmla="*/ 218619 w 270932"/>
                <a:gd name="connsiteY410" fmla="*/ 498532 h 511564"/>
                <a:gd name="connsiteX411" fmla="*/ 220214 w 270932"/>
                <a:gd name="connsiteY411" fmla="*/ 499725 h 511564"/>
                <a:gd name="connsiteX412" fmla="*/ 222007 w 270932"/>
                <a:gd name="connsiteY412" fmla="*/ 503406 h 511564"/>
                <a:gd name="connsiteX413" fmla="*/ 223103 w 270932"/>
                <a:gd name="connsiteY413" fmla="*/ 504401 h 511564"/>
                <a:gd name="connsiteX414" fmla="*/ 225395 w 270932"/>
                <a:gd name="connsiteY414" fmla="*/ 504799 h 511564"/>
                <a:gd name="connsiteX415" fmla="*/ 231474 w 270932"/>
                <a:gd name="connsiteY415" fmla="*/ 500919 h 511564"/>
                <a:gd name="connsiteX416" fmla="*/ 232968 w 270932"/>
                <a:gd name="connsiteY416" fmla="*/ 499228 h 511564"/>
                <a:gd name="connsiteX417" fmla="*/ 234463 w 270932"/>
                <a:gd name="connsiteY417" fmla="*/ 498034 h 511564"/>
                <a:gd name="connsiteX418" fmla="*/ 236057 w 270932"/>
                <a:gd name="connsiteY418" fmla="*/ 497338 h 511564"/>
                <a:gd name="connsiteX419" fmla="*/ 237950 w 270932"/>
                <a:gd name="connsiteY419" fmla="*/ 496840 h 511564"/>
                <a:gd name="connsiteX420" fmla="*/ 237552 w 270932"/>
                <a:gd name="connsiteY420" fmla="*/ 497437 h 511564"/>
                <a:gd name="connsiteX421" fmla="*/ 237352 w 270932"/>
                <a:gd name="connsiteY421" fmla="*/ 498034 h 511564"/>
                <a:gd name="connsiteX422" fmla="*/ 237054 w 270932"/>
                <a:gd name="connsiteY422" fmla="*/ 499128 h 511564"/>
                <a:gd name="connsiteX423" fmla="*/ 240939 w 270932"/>
                <a:gd name="connsiteY423" fmla="*/ 499725 h 511564"/>
                <a:gd name="connsiteX424" fmla="*/ 251901 w 270932"/>
                <a:gd name="connsiteY424" fmla="*/ 499128 h 511564"/>
                <a:gd name="connsiteX425" fmla="*/ 253196 w 270932"/>
                <a:gd name="connsiteY425" fmla="*/ 499327 h 511564"/>
                <a:gd name="connsiteX426" fmla="*/ 255488 w 270932"/>
                <a:gd name="connsiteY426" fmla="*/ 500123 h 511564"/>
                <a:gd name="connsiteX427" fmla="*/ 256683 w 270932"/>
                <a:gd name="connsiteY427" fmla="*/ 500322 h 511564"/>
                <a:gd name="connsiteX428" fmla="*/ 257281 w 270932"/>
                <a:gd name="connsiteY428" fmla="*/ 500123 h 511564"/>
                <a:gd name="connsiteX429" fmla="*/ 258477 w 270932"/>
                <a:gd name="connsiteY429" fmla="*/ 499327 h 511564"/>
                <a:gd name="connsiteX430" fmla="*/ 260470 w 270932"/>
                <a:gd name="connsiteY430" fmla="*/ 498631 h 511564"/>
                <a:gd name="connsiteX431" fmla="*/ 261765 w 270932"/>
                <a:gd name="connsiteY431" fmla="*/ 498034 h 511564"/>
                <a:gd name="connsiteX432" fmla="*/ 262761 w 270932"/>
                <a:gd name="connsiteY432" fmla="*/ 498034 h 511564"/>
                <a:gd name="connsiteX433" fmla="*/ 263160 w 270932"/>
                <a:gd name="connsiteY433" fmla="*/ 499725 h 511564"/>
                <a:gd name="connsiteX434" fmla="*/ 262761 w 270932"/>
                <a:gd name="connsiteY434" fmla="*/ 501019 h 511564"/>
                <a:gd name="connsiteX435" fmla="*/ 261965 w 270932"/>
                <a:gd name="connsiteY435" fmla="*/ 502213 h 511564"/>
                <a:gd name="connsiteX436" fmla="*/ 261665 w 270932"/>
                <a:gd name="connsiteY436" fmla="*/ 503705 h 511564"/>
                <a:gd name="connsiteX437" fmla="*/ 262363 w 270932"/>
                <a:gd name="connsiteY437" fmla="*/ 505794 h 511564"/>
                <a:gd name="connsiteX438" fmla="*/ 263658 w 270932"/>
                <a:gd name="connsiteY438" fmla="*/ 507386 h 511564"/>
                <a:gd name="connsiteX439" fmla="*/ 265054 w 270932"/>
                <a:gd name="connsiteY439" fmla="*/ 507784 h 511564"/>
                <a:gd name="connsiteX440" fmla="*/ 268341 w 270932"/>
                <a:gd name="connsiteY440" fmla="*/ 507087 h 511564"/>
                <a:gd name="connsiteX441" fmla="*/ 270932 w 270932"/>
                <a:gd name="connsiteY441" fmla="*/ 505794 h 511564"/>
                <a:gd name="connsiteX442" fmla="*/ 270932 w 270932"/>
                <a:gd name="connsiteY442" fmla="*/ 1890 h 511564"/>
                <a:gd name="connsiteX443" fmla="*/ 264556 w 270932"/>
                <a:gd name="connsiteY443" fmla="*/ 0 h 511564"/>
                <a:gd name="connsiteX444" fmla="*/ 259972 w 270932"/>
                <a:gd name="connsiteY444" fmla="*/ 1791 h 511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</a:cxnLst>
              <a:rect l="l" t="t" r="r" b="b"/>
              <a:pathLst>
                <a:path w="270932" h="511564">
                  <a:moveTo>
                    <a:pt x="259972" y="1791"/>
                  </a:moveTo>
                  <a:lnTo>
                    <a:pt x="257580" y="6168"/>
                  </a:lnTo>
                  <a:lnTo>
                    <a:pt x="255886" y="11640"/>
                  </a:lnTo>
                  <a:lnTo>
                    <a:pt x="253594" y="16515"/>
                  </a:lnTo>
                  <a:lnTo>
                    <a:pt x="248512" y="21191"/>
                  </a:lnTo>
                  <a:lnTo>
                    <a:pt x="247018" y="22882"/>
                  </a:lnTo>
                  <a:lnTo>
                    <a:pt x="246519" y="24275"/>
                  </a:lnTo>
                  <a:lnTo>
                    <a:pt x="246121" y="27160"/>
                  </a:lnTo>
                  <a:lnTo>
                    <a:pt x="245423" y="28553"/>
                  </a:lnTo>
                  <a:lnTo>
                    <a:pt x="242235" y="32632"/>
                  </a:lnTo>
                  <a:lnTo>
                    <a:pt x="240043" y="38701"/>
                  </a:lnTo>
                  <a:lnTo>
                    <a:pt x="239445" y="41287"/>
                  </a:lnTo>
                  <a:lnTo>
                    <a:pt x="238747" y="41785"/>
                  </a:lnTo>
                  <a:lnTo>
                    <a:pt x="238249" y="41984"/>
                  </a:lnTo>
                  <a:lnTo>
                    <a:pt x="237950" y="42481"/>
                  </a:lnTo>
                  <a:lnTo>
                    <a:pt x="238050" y="43575"/>
                  </a:lnTo>
                  <a:lnTo>
                    <a:pt x="238349" y="44172"/>
                  </a:lnTo>
                  <a:lnTo>
                    <a:pt x="238747" y="44471"/>
                  </a:lnTo>
                  <a:lnTo>
                    <a:pt x="238847" y="44869"/>
                  </a:lnTo>
                  <a:lnTo>
                    <a:pt x="238249" y="48749"/>
                  </a:lnTo>
                  <a:lnTo>
                    <a:pt x="236655" y="52529"/>
                  </a:lnTo>
                  <a:lnTo>
                    <a:pt x="232769" y="59493"/>
                  </a:lnTo>
                  <a:lnTo>
                    <a:pt x="229680" y="66756"/>
                  </a:lnTo>
                  <a:lnTo>
                    <a:pt x="228783" y="70238"/>
                  </a:lnTo>
                  <a:lnTo>
                    <a:pt x="228484" y="73919"/>
                  </a:lnTo>
                  <a:lnTo>
                    <a:pt x="227687" y="76705"/>
                  </a:lnTo>
                  <a:lnTo>
                    <a:pt x="221509" y="86156"/>
                  </a:lnTo>
                  <a:lnTo>
                    <a:pt x="216427" y="97398"/>
                  </a:lnTo>
                  <a:lnTo>
                    <a:pt x="212043" y="103765"/>
                  </a:lnTo>
                  <a:lnTo>
                    <a:pt x="208456" y="114112"/>
                  </a:lnTo>
                  <a:lnTo>
                    <a:pt x="206761" y="116898"/>
                  </a:lnTo>
                  <a:lnTo>
                    <a:pt x="202377" y="122171"/>
                  </a:lnTo>
                  <a:lnTo>
                    <a:pt x="200484" y="128140"/>
                  </a:lnTo>
                  <a:lnTo>
                    <a:pt x="196897" y="132915"/>
                  </a:lnTo>
                  <a:lnTo>
                    <a:pt x="197196" y="134706"/>
                  </a:lnTo>
                  <a:lnTo>
                    <a:pt x="196199" y="136298"/>
                  </a:lnTo>
                  <a:lnTo>
                    <a:pt x="195901" y="137790"/>
                  </a:lnTo>
                  <a:lnTo>
                    <a:pt x="195901" y="139282"/>
                  </a:lnTo>
                  <a:lnTo>
                    <a:pt x="195502" y="140576"/>
                  </a:lnTo>
                  <a:lnTo>
                    <a:pt x="194605" y="141471"/>
                  </a:lnTo>
                  <a:lnTo>
                    <a:pt x="192114" y="142963"/>
                  </a:lnTo>
                  <a:lnTo>
                    <a:pt x="191018" y="144058"/>
                  </a:lnTo>
                  <a:lnTo>
                    <a:pt x="189324" y="146545"/>
                  </a:lnTo>
                  <a:lnTo>
                    <a:pt x="185836" y="154504"/>
                  </a:lnTo>
                  <a:lnTo>
                    <a:pt x="184741" y="158881"/>
                  </a:lnTo>
                  <a:lnTo>
                    <a:pt x="184342" y="164851"/>
                  </a:lnTo>
                  <a:lnTo>
                    <a:pt x="185338" y="169925"/>
                  </a:lnTo>
                  <a:lnTo>
                    <a:pt x="188527" y="171715"/>
                  </a:lnTo>
                  <a:lnTo>
                    <a:pt x="188328" y="172312"/>
                  </a:lnTo>
                  <a:lnTo>
                    <a:pt x="188128" y="172810"/>
                  </a:lnTo>
                  <a:lnTo>
                    <a:pt x="187929" y="173407"/>
                  </a:lnTo>
                  <a:lnTo>
                    <a:pt x="187630" y="174103"/>
                  </a:lnTo>
                  <a:lnTo>
                    <a:pt x="190221" y="176292"/>
                  </a:lnTo>
                  <a:lnTo>
                    <a:pt x="191417" y="177784"/>
                  </a:lnTo>
                  <a:lnTo>
                    <a:pt x="192014" y="179276"/>
                  </a:lnTo>
                  <a:lnTo>
                    <a:pt x="192214" y="180470"/>
                  </a:lnTo>
                  <a:lnTo>
                    <a:pt x="192911" y="182062"/>
                  </a:lnTo>
                  <a:lnTo>
                    <a:pt x="193708" y="183654"/>
                  </a:lnTo>
                  <a:lnTo>
                    <a:pt x="194505" y="184450"/>
                  </a:lnTo>
                  <a:lnTo>
                    <a:pt x="196697" y="184450"/>
                  </a:lnTo>
                  <a:lnTo>
                    <a:pt x="198192" y="182559"/>
                  </a:lnTo>
                  <a:lnTo>
                    <a:pt x="199388" y="180271"/>
                  </a:lnTo>
                  <a:lnTo>
                    <a:pt x="200683" y="178679"/>
                  </a:lnTo>
                  <a:lnTo>
                    <a:pt x="201181" y="183952"/>
                  </a:lnTo>
                  <a:lnTo>
                    <a:pt x="203872" y="187434"/>
                  </a:lnTo>
                  <a:lnTo>
                    <a:pt x="214634" y="193801"/>
                  </a:lnTo>
                  <a:lnTo>
                    <a:pt x="216228" y="195393"/>
                  </a:lnTo>
                  <a:lnTo>
                    <a:pt x="215829" y="195990"/>
                  </a:lnTo>
                  <a:lnTo>
                    <a:pt x="211943" y="195791"/>
                  </a:lnTo>
                  <a:lnTo>
                    <a:pt x="208456" y="194796"/>
                  </a:lnTo>
                  <a:lnTo>
                    <a:pt x="204769" y="192707"/>
                  </a:lnTo>
                  <a:lnTo>
                    <a:pt x="201281" y="190021"/>
                  </a:lnTo>
                  <a:lnTo>
                    <a:pt x="197993" y="188031"/>
                  </a:lnTo>
                  <a:lnTo>
                    <a:pt x="194505" y="187932"/>
                  </a:lnTo>
                  <a:lnTo>
                    <a:pt x="191417" y="190319"/>
                  </a:lnTo>
                  <a:lnTo>
                    <a:pt x="191317" y="193503"/>
                  </a:lnTo>
                  <a:lnTo>
                    <a:pt x="194505" y="200666"/>
                  </a:lnTo>
                  <a:lnTo>
                    <a:pt x="191217" y="199273"/>
                  </a:lnTo>
                  <a:lnTo>
                    <a:pt x="189723" y="195891"/>
                  </a:lnTo>
                  <a:lnTo>
                    <a:pt x="189324" y="191613"/>
                  </a:lnTo>
                  <a:lnTo>
                    <a:pt x="189324" y="187335"/>
                  </a:lnTo>
                  <a:lnTo>
                    <a:pt x="188328" y="183753"/>
                  </a:lnTo>
                  <a:lnTo>
                    <a:pt x="185836" y="180868"/>
                  </a:lnTo>
                  <a:lnTo>
                    <a:pt x="182448" y="179077"/>
                  </a:lnTo>
                  <a:lnTo>
                    <a:pt x="178064" y="178679"/>
                  </a:lnTo>
                  <a:lnTo>
                    <a:pt x="175374" y="179973"/>
                  </a:lnTo>
                  <a:lnTo>
                    <a:pt x="170890" y="184549"/>
                  </a:lnTo>
                  <a:lnTo>
                    <a:pt x="166605" y="186638"/>
                  </a:lnTo>
                  <a:lnTo>
                    <a:pt x="160826" y="191712"/>
                  </a:lnTo>
                  <a:lnTo>
                    <a:pt x="154648" y="198776"/>
                  </a:lnTo>
                  <a:lnTo>
                    <a:pt x="151359" y="204347"/>
                  </a:lnTo>
                  <a:lnTo>
                    <a:pt x="149267" y="210814"/>
                  </a:lnTo>
                  <a:lnTo>
                    <a:pt x="148370" y="222155"/>
                  </a:lnTo>
                  <a:lnTo>
                    <a:pt x="148370" y="225240"/>
                  </a:lnTo>
                  <a:lnTo>
                    <a:pt x="149168" y="227926"/>
                  </a:lnTo>
                  <a:lnTo>
                    <a:pt x="151061" y="230512"/>
                  </a:lnTo>
                  <a:lnTo>
                    <a:pt x="153652" y="232204"/>
                  </a:lnTo>
                  <a:lnTo>
                    <a:pt x="160726" y="234691"/>
                  </a:lnTo>
                  <a:lnTo>
                    <a:pt x="173680" y="236482"/>
                  </a:lnTo>
                  <a:lnTo>
                    <a:pt x="177068" y="236183"/>
                  </a:lnTo>
                  <a:lnTo>
                    <a:pt x="179957" y="235188"/>
                  </a:lnTo>
                  <a:lnTo>
                    <a:pt x="184641" y="232502"/>
                  </a:lnTo>
                  <a:lnTo>
                    <a:pt x="187630" y="231607"/>
                  </a:lnTo>
                  <a:lnTo>
                    <a:pt x="182448" y="238670"/>
                  </a:lnTo>
                  <a:lnTo>
                    <a:pt x="179559" y="241456"/>
                  </a:lnTo>
                  <a:lnTo>
                    <a:pt x="176370" y="243048"/>
                  </a:lnTo>
                  <a:lnTo>
                    <a:pt x="165509" y="242351"/>
                  </a:lnTo>
                  <a:lnTo>
                    <a:pt x="164214" y="244341"/>
                  </a:lnTo>
                  <a:lnTo>
                    <a:pt x="168100" y="248321"/>
                  </a:lnTo>
                  <a:lnTo>
                    <a:pt x="175374" y="246629"/>
                  </a:lnTo>
                  <a:lnTo>
                    <a:pt x="187630" y="240760"/>
                  </a:lnTo>
                  <a:lnTo>
                    <a:pt x="187630" y="242053"/>
                  </a:lnTo>
                  <a:lnTo>
                    <a:pt x="184441" y="243247"/>
                  </a:lnTo>
                  <a:lnTo>
                    <a:pt x="182249" y="245137"/>
                  </a:lnTo>
                  <a:lnTo>
                    <a:pt x="182249" y="246828"/>
                  </a:lnTo>
                  <a:lnTo>
                    <a:pt x="185836" y="247624"/>
                  </a:lnTo>
                  <a:lnTo>
                    <a:pt x="189025" y="247027"/>
                  </a:lnTo>
                  <a:lnTo>
                    <a:pt x="191616" y="245435"/>
                  </a:lnTo>
                  <a:lnTo>
                    <a:pt x="196199" y="240760"/>
                  </a:lnTo>
                  <a:lnTo>
                    <a:pt x="197196" y="242053"/>
                  </a:lnTo>
                  <a:lnTo>
                    <a:pt x="190918" y="249614"/>
                  </a:lnTo>
                  <a:lnTo>
                    <a:pt x="189324" y="251206"/>
                  </a:lnTo>
                  <a:lnTo>
                    <a:pt x="186534" y="251703"/>
                  </a:lnTo>
                  <a:lnTo>
                    <a:pt x="178064" y="250012"/>
                  </a:lnTo>
                  <a:lnTo>
                    <a:pt x="170491" y="251504"/>
                  </a:lnTo>
                  <a:lnTo>
                    <a:pt x="164214" y="250410"/>
                  </a:lnTo>
                  <a:lnTo>
                    <a:pt x="162121" y="250310"/>
                  </a:lnTo>
                  <a:lnTo>
                    <a:pt x="161025" y="251703"/>
                  </a:lnTo>
                  <a:lnTo>
                    <a:pt x="160726" y="255185"/>
                  </a:lnTo>
                  <a:lnTo>
                    <a:pt x="160925" y="257075"/>
                  </a:lnTo>
                  <a:lnTo>
                    <a:pt x="161424" y="258369"/>
                  </a:lnTo>
                  <a:lnTo>
                    <a:pt x="162420" y="260458"/>
                  </a:lnTo>
                  <a:lnTo>
                    <a:pt x="164612" y="266626"/>
                  </a:lnTo>
                  <a:lnTo>
                    <a:pt x="166306" y="268517"/>
                  </a:lnTo>
                  <a:lnTo>
                    <a:pt x="170491" y="271501"/>
                  </a:lnTo>
                  <a:lnTo>
                    <a:pt x="172385" y="273491"/>
                  </a:lnTo>
                  <a:lnTo>
                    <a:pt x="177068" y="275779"/>
                  </a:lnTo>
                  <a:lnTo>
                    <a:pt x="189922" y="275779"/>
                  </a:lnTo>
                  <a:lnTo>
                    <a:pt x="192812" y="277570"/>
                  </a:lnTo>
                  <a:lnTo>
                    <a:pt x="188328" y="279261"/>
                  </a:lnTo>
                  <a:lnTo>
                    <a:pt x="169495" y="276376"/>
                  </a:lnTo>
                  <a:lnTo>
                    <a:pt x="165808" y="273391"/>
                  </a:lnTo>
                  <a:lnTo>
                    <a:pt x="159830" y="265035"/>
                  </a:lnTo>
                  <a:lnTo>
                    <a:pt x="155943" y="261751"/>
                  </a:lnTo>
                  <a:lnTo>
                    <a:pt x="151161" y="260558"/>
                  </a:lnTo>
                  <a:lnTo>
                    <a:pt x="141096" y="260458"/>
                  </a:lnTo>
                  <a:lnTo>
                    <a:pt x="139103" y="260955"/>
                  </a:lnTo>
                  <a:lnTo>
                    <a:pt x="134719" y="262846"/>
                  </a:lnTo>
                  <a:lnTo>
                    <a:pt x="132925" y="262647"/>
                  </a:lnTo>
                  <a:lnTo>
                    <a:pt x="131331" y="260757"/>
                  </a:lnTo>
                  <a:lnTo>
                    <a:pt x="131630" y="258866"/>
                  </a:lnTo>
                  <a:lnTo>
                    <a:pt x="133025" y="257175"/>
                  </a:lnTo>
                  <a:lnTo>
                    <a:pt x="134520" y="255782"/>
                  </a:lnTo>
                  <a:lnTo>
                    <a:pt x="134520" y="254588"/>
                  </a:lnTo>
                  <a:lnTo>
                    <a:pt x="131132" y="254588"/>
                  </a:lnTo>
                  <a:lnTo>
                    <a:pt x="133424" y="253394"/>
                  </a:lnTo>
                  <a:lnTo>
                    <a:pt x="134321" y="251007"/>
                  </a:lnTo>
                  <a:lnTo>
                    <a:pt x="134021" y="248619"/>
                  </a:lnTo>
                  <a:lnTo>
                    <a:pt x="132427" y="247624"/>
                  </a:lnTo>
                  <a:lnTo>
                    <a:pt x="131530" y="247923"/>
                  </a:lnTo>
                  <a:lnTo>
                    <a:pt x="127744" y="250012"/>
                  </a:lnTo>
                  <a:lnTo>
                    <a:pt x="125153" y="253593"/>
                  </a:lnTo>
                  <a:lnTo>
                    <a:pt x="121964" y="263443"/>
                  </a:lnTo>
                  <a:lnTo>
                    <a:pt x="120470" y="266029"/>
                  </a:lnTo>
                  <a:lnTo>
                    <a:pt x="114591" y="271800"/>
                  </a:lnTo>
                  <a:lnTo>
                    <a:pt x="113295" y="284435"/>
                  </a:lnTo>
                  <a:lnTo>
                    <a:pt x="112000" y="285230"/>
                  </a:lnTo>
                  <a:lnTo>
                    <a:pt x="111303" y="287220"/>
                  </a:lnTo>
                  <a:lnTo>
                    <a:pt x="110306" y="291200"/>
                  </a:lnTo>
                  <a:lnTo>
                    <a:pt x="109210" y="294383"/>
                  </a:lnTo>
                  <a:lnTo>
                    <a:pt x="108612" y="295478"/>
                  </a:lnTo>
                  <a:lnTo>
                    <a:pt x="107616" y="296870"/>
                  </a:lnTo>
                  <a:lnTo>
                    <a:pt x="103032" y="301646"/>
                  </a:lnTo>
                  <a:lnTo>
                    <a:pt x="100840" y="304531"/>
                  </a:lnTo>
                  <a:lnTo>
                    <a:pt x="99046" y="310401"/>
                  </a:lnTo>
                  <a:lnTo>
                    <a:pt x="93765" y="318658"/>
                  </a:lnTo>
                  <a:lnTo>
                    <a:pt x="92370" y="325224"/>
                  </a:lnTo>
                  <a:lnTo>
                    <a:pt x="92271" y="332487"/>
                  </a:lnTo>
                  <a:lnTo>
                    <a:pt x="91374" y="339352"/>
                  </a:lnTo>
                  <a:lnTo>
                    <a:pt x="87786" y="344923"/>
                  </a:lnTo>
                  <a:lnTo>
                    <a:pt x="85395" y="345619"/>
                  </a:lnTo>
                  <a:lnTo>
                    <a:pt x="81410" y="345818"/>
                  </a:lnTo>
                  <a:lnTo>
                    <a:pt x="77523" y="345420"/>
                  </a:lnTo>
                  <a:lnTo>
                    <a:pt x="75132" y="344326"/>
                  </a:lnTo>
                  <a:lnTo>
                    <a:pt x="74135" y="343232"/>
                  </a:lnTo>
                  <a:lnTo>
                    <a:pt x="71943" y="341540"/>
                  </a:lnTo>
                  <a:lnTo>
                    <a:pt x="71744" y="340048"/>
                  </a:lnTo>
                  <a:lnTo>
                    <a:pt x="71544" y="338257"/>
                  </a:lnTo>
                  <a:lnTo>
                    <a:pt x="71246" y="333581"/>
                  </a:lnTo>
                  <a:lnTo>
                    <a:pt x="70349" y="333581"/>
                  </a:lnTo>
                  <a:lnTo>
                    <a:pt x="70947" y="338357"/>
                  </a:lnTo>
                  <a:lnTo>
                    <a:pt x="70847" y="340247"/>
                  </a:lnTo>
                  <a:lnTo>
                    <a:pt x="69950" y="342137"/>
                  </a:lnTo>
                  <a:lnTo>
                    <a:pt x="66961" y="345619"/>
                  </a:lnTo>
                  <a:lnTo>
                    <a:pt x="65068" y="347311"/>
                  </a:lnTo>
                  <a:lnTo>
                    <a:pt x="64171" y="346714"/>
                  </a:lnTo>
                  <a:lnTo>
                    <a:pt x="64370" y="343033"/>
                  </a:lnTo>
                  <a:lnTo>
                    <a:pt x="64171" y="341839"/>
                  </a:lnTo>
                  <a:lnTo>
                    <a:pt x="60883" y="340346"/>
                  </a:lnTo>
                  <a:lnTo>
                    <a:pt x="57694" y="338357"/>
                  </a:lnTo>
                  <a:lnTo>
                    <a:pt x="56698" y="336964"/>
                  </a:lnTo>
                  <a:lnTo>
                    <a:pt x="56399" y="334676"/>
                  </a:lnTo>
                  <a:lnTo>
                    <a:pt x="58192" y="331094"/>
                  </a:lnTo>
                  <a:lnTo>
                    <a:pt x="61779" y="326518"/>
                  </a:lnTo>
                  <a:lnTo>
                    <a:pt x="65666" y="322538"/>
                  </a:lnTo>
                  <a:lnTo>
                    <a:pt x="68157" y="320946"/>
                  </a:lnTo>
                  <a:lnTo>
                    <a:pt x="71445" y="319753"/>
                  </a:lnTo>
                  <a:lnTo>
                    <a:pt x="74933" y="316768"/>
                  </a:lnTo>
                  <a:lnTo>
                    <a:pt x="78221" y="313087"/>
                  </a:lnTo>
                  <a:lnTo>
                    <a:pt x="80812" y="309605"/>
                  </a:lnTo>
                  <a:lnTo>
                    <a:pt x="76328" y="310998"/>
                  </a:lnTo>
                  <a:lnTo>
                    <a:pt x="55203" y="327115"/>
                  </a:lnTo>
                  <a:lnTo>
                    <a:pt x="37168" y="338158"/>
                  </a:lnTo>
                  <a:lnTo>
                    <a:pt x="25210" y="347112"/>
                  </a:lnTo>
                  <a:lnTo>
                    <a:pt x="22719" y="349599"/>
                  </a:lnTo>
                  <a:lnTo>
                    <a:pt x="21623" y="352384"/>
                  </a:lnTo>
                  <a:lnTo>
                    <a:pt x="21722" y="354175"/>
                  </a:lnTo>
                  <a:lnTo>
                    <a:pt x="20826" y="356364"/>
                  </a:lnTo>
                  <a:lnTo>
                    <a:pt x="20228" y="357657"/>
                  </a:lnTo>
                  <a:lnTo>
                    <a:pt x="18833" y="359548"/>
                  </a:lnTo>
                  <a:lnTo>
                    <a:pt x="18235" y="360841"/>
                  </a:lnTo>
                  <a:lnTo>
                    <a:pt x="21523" y="360741"/>
                  </a:lnTo>
                  <a:lnTo>
                    <a:pt x="41552" y="353777"/>
                  </a:lnTo>
                  <a:lnTo>
                    <a:pt x="47331" y="352782"/>
                  </a:lnTo>
                  <a:lnTo>
                    <a:pt x="59288" y="353479"/>
                  </a:lnTo>
                  <a:lnTo>
                    <a:pt x="72043" y="351987"/>
                  </a:lnTo>
                  <a:lnTo>
                    <a:pt x="86093" y="347609"/>
                  </a:lnTo>
                  <a:lnTo>
                    <a:pt x="89082" y="347211"/>
                  </a:lnTo>
                  <a:lnTo>
                    <a:pt x="102434" y="348405"/>
                  </a:lnTo>
                  <a:lnTo>
                    <a:pt x="105424" y="349897"/>
                  </a:lnTo>
                  <a:lnTo>
                    <a:pt x="109708" y="354275"/>
                  </a:lnTo>
                  <a:lnTo>
                    <a:pt x="112399" y="355071"/>
                  </a:lnTo>
                  <a:lnTo>
                    <a:pt x="118577" y="353777"/>
                  </a:lnTo>
                  <a:lnTo>
                    <a:pt x="121466" y="354076"/>
                  </a:lnTo>
                  <a:lnTo>
                    <a:pt x="123359" y="356364"/>
                  </a:lnTo>
                  <a:lnTo>
                    <a:pt x="126150" y="353877"/>
                  </a:lnTo>
                  <a:lnTo>
                    <a:pt x="130634" y="352086"/>
                  </a:lnTo>
                  <a:lnTo>
                    <a:pt x="138904" y="350594"/>
                  </a:lnTo>
                  <a:lnTo>
                    <a:pt x="141395" y="350892"/>
                  </a:lnTo>
                  <a:lnTo>
                    <a:pt x="143288" y="351688"/>
                  </a:lnTo>
                  <a:lnTo>
                    <a:pt x="143687" y="352782"/>
                  </a:lnTo>
                  <a:lnTo>
                    <a:pt x="141594" y="353976"/>
                  </a:lnTo>
                  <a:lnTo>
                    <a:pt x="139402" y="354374"/>
                  </a:lnTo>
                  <a:lnTo>
                    <a:pt x="135018" y="354673"/>
                  </a:lnTo>
                  <a:lnTo>
                    <a:pt x="126748" y="356762"/>
                  </a:lnTo>
                  <a:lnTo>
                    <a:pt x="125153" y="357558"/>
                  </a:lnTo>
                  <a:lnTo>
                    <a:pt x="123260" y="359647"/>
                  </a:lnTo>
                  <a:lnTo>
                    <a:pt x="120171" y="364621"/>
                  </a:lnTo>
                  <a:lnTo>
                    <a:pt x="118079" y="366611"/>
                  </a:lnTo>
                  <a:lnTo>
                    <a:pt x="116484" y="367208"/>
                  </a:lnTo>
                  <a:lnTo>
                    <a:pt x="110306" y="368899"/>
                  </a:lnTo>
                  <a:lnTo>
                    <a:pt x="103929" y="371984"/>
                  </a:lnTo>
                  <a:lnTo>
                    <a:pt x="101537" y="372282"/>
                  </a:lnTo>
                  <a:lnTo>
                    <a:pt x="104926" y="368999"/>
                  </a:lnTo>
                  <a:lnTo>
                    <a:pt x="108313" y="367308"/>
                  </a:lnTo>
                  <a:lnTo>
                    <a:pt x="111801" y="366114"/>
                  </a:lnTo>
                  <a:lnTo>
                    <a:pt x="115488" y="364323"/>
                  </a:lnTo>
                  <a:lnTo>
                    <a:pt x="115488" y="363229"/>
                  </a:lnTo>
                  <a:lnTo>
                    <a:pt x="110206" y="364024"/>
                  </a:lnTo>
                  <a:lnTo>
                    <a:pt x="105922" y="366114"/>
                  </a:lnTo>
                  <a:lnTo>
                    <a:pt x="102135" y="369596"/>
                  </a:lnTo>
                  <a:lnTo>
                    <a:pt x="98548" y="373874"/>
                  </a:lnTo>
                  <a:lnTo>
                    <a:pt x="97452" y="374570"/>
                  </a:lnTo>
                  <a:lnTo>
                    <a:pt x="94861" y="375068"/>
                  </a:lnTo>
                  <a:lnTo>
                    <a:pt x="93765" y="375664"/>
                  </a:lnTo>
                  <a:lnTo>
                    <a:pt x="92769" y="377256"/>
                  </a:lnTo>
                  <a:lnTo>
                    <a:pt x="92271" y="380639"/>
                  </a:lnTo>
                  <a:lnTo>
                    <a:pt x="91573" y="381932"/>
                  </a:lnTo>
                  <a:lnTo>
                    <a:pt x="86491" y="388498"/>
                  </a:lnTo>
                  <a:lnTo>
                    <a:pt x="84299" y="390488"/>
                  </a:lnTo>
                  <a:lnTo>
                    <a:pt x="77025" y="395164"/>
                  </a:lnTo>
                  <a:lnTo>
                    <a:pt x="74833" y="397253"/>
                  </a:lnTo>
                  <a:lnTo>
                    <a:pt x="71644" y="401432"/>
                  </a:lnTo>
                  <a:lnTo>
                    <a:pt x="69651" y="403322"/>
                  </a:lnTo>
                  <a:lnTo>
                    <a:pt x="62776" y="406108"/>
                  </a:lnTo>
                  <a:lnTo>
                    <a:pt x="55303" y="415658"/>
                  </a:lnTo>
                  <a:lnTo>
                    <a:pt x="51217" y="418842"/>
                  </a:lnTo>
                  <a:lnTo>
                    <a:pt x="30093" y="429388"/>
                  </a:lnTo>
                  <a:lnTo>
                    <a:pt x="20826" y="436551"/>
                  </a:lnTo>
                  <a:lnTo>
                    <a:pt x="13053" y="444908"/>
                  </a:lnTo>
                  <a:lnTo>
                    <a:pt x="12257" y="446599"/>
                  </a:lnTo>
                  <a:lnTo>
                    <a:pt x="11758" y="448489"/>
                  </a:lnTo>
                  <a:lnTo>
                    <a:pt x="10861" y="449982"/>
                  </a:lnTo>
                  <a:lnTo>
                    <a:pt x="9068" y="450579"/>
                  </a:lnTo>
                  <a:lnTo>
                    <a:pt x="6377" y="450380"/>
                  </a:lnTo>
                  <a:lnTo>
                    <a:pt x="4882" y="450479"/>
                  </a:lnTo>
                  <a:lnTo>
                    <a:pt x="3886" y="451175"/>
                  </a:lnTo>
                  <a:lnTo>
                    <a:pt x="2691" y="452270"/>
                  </a:lnTo>
                  <a:lnTo>
                    <a:pt x="1395" y="452966"/>
                  </a:lnTo>
                  <a:lnTo>
                    <a:pt x="399" y="454061"/>
                  </a:lnTo>
                  <a:lnTo>
                    <a:pt x="0" y="456249"/>
                  </a:lnTo>
                  <a:lnTo>
                    <a:pt x="199" y="457841"/>
                  </a:lnTo>
                  <a:lnTo>
                    <a:pt x="897" y="458935"/>
                  </a:lnTo>
                  <a:lnTo>
                    <a:pt x="4384" y="463114"/>
                  </a:lnTo>
                  <a:lnTo>
                    <a:pt x="4982" y="464208"/>
                  </a:lnTo>
                  <a:lnTo>
                    <a:pt x="5182" y="465800"/>
                  </a:lnTo>
                  <a:lnTo>
                    <a:pt x="5879" y="466695"/>
                  </a:lnTo>
                  <a:lnTo>
                    <a:pt x="8868" y="468287"/>
                  </a:lnTo>
                  <a:lnTo>
                    <a:pt x="9466" y="469282"/>
                  </a:lnTo>
                  <a:lnTo>
                    <a:pt x="9566" y="473063"/>
                  </a:lnTo>
                  <a:lnTo>
                    <a:pt x="10264" y="476346"/>
                  </a:lnTo>
                  <a:lnTo>
                    <a:pt x="12057" y="478435"/>
                  </a:lnTo>
                  <a:lnTo>
                    <a:pt x="15644" y="478833"/>
                  </a:lnTo>
                  <a:lnTo>
                    <a:pt x="13950" y="482812"/>
                  </a:lnTo>
                  <a:lnTo>
                    <a:pt x="12456" y="488782"/>
                  </a:lnTo>
                  <a:lnTo>
                    <a:pt x="11858" y="494850"/>
                  </a:lnTo>
                  <a:lnTo>
                    <a:pt x="13053" y="499128"/>
                  </a:lnTo>
                  <a:lnTo>
                    <a:pt x="12356" y="501417"/>
                  </a:lnTo>
                  <a:lnTo>
                    <a:pt x="13353" y="502710"/>
                  </a:lnTo>
                  <a:lnTo>
                    <a:pt x="15046" y="503406"/>
                  </a:lnTo>
                  <a:lnTo>
                    <a:pt x="16940" y="503605"/>
                  </a:lnTo>
                  <a:lnTo>
                    <a:pt x="19032" y="504302"/>
                  </a:lnTo>
                  <a:lnTo>
                    <a:pt x="20228" y="505993"/>
                  </a:lnTo>
                  <a:lnTo>
                    <a:pt x="21224" y="507883"/>
                  </a:lnTo>
                  <a:lnTo>
                    <a:pt x="22619" y="509376"/>
                  </a:lnTo>
                  <a:lnTo>
                    <a:pt x="24114" y="509475"/>
                  </a:lnTo>
                  <a:lnTo>
                    <a:pt x="25609" y="508878"/>
                  </a:lnTo>
                  <a:lnTo>
                    <a:pt x="27302" y="508679"/>
                  </a:lnTo>
                  <a:lnTo>
                    <a:pt x="30790" y="511067"/>
                  </a:lnTo>
                  <a:lnTo>
                    <a:pt x="32883" y="511564"/>
                  </a:lnTo>
                  <a:lnTo>
                    <a:pt x="37267" y="511564"/>
                  </a:lnTo>
                  <a:lnTo>
                    <a:pt x="47331" y="509376"/>
                  </a:lnTo>
                  <a:lnTo>
                    <a:pt x="48726" y="508978"/>
                  </a:lnTo>
                  <a:lnTo>
                    <a:pt x="51516" y="507485"/>
                  </a:lnTo>
                  <a:lnTo>
                    <a:pt x="52911" y="507087"/>
                  </a:lnTo>
                  <a:lnTo>
                    <a:pt x="54206" y="507386"/>
                  </a:lnTo>
                  <a:lnTo>
                    <a:pt x="55203" y="508182"/>
                  </a:lnTo>
                  <a:lnTo>
                    <a:pt x="56199" y="508182"/>
                  </a:lnTo>
                  <a:lnTo>
                    <a:pt x="57694" y="506490"/>
                  </a:lnTo>
                  <a:lnTo>
                    <a:pt x="61381" y="504799"/>
                  </a:lnTo>
                  <a:lnTo>
                    <a:pt x="81011" y="505794"/>
                  </a:lnTo>
                  <a:lnTo>
                    <a:pt x="89082" y="504799"/>
                  </a:lnTo>
                  <a:lnTo>
                    <a:pt x="96057" y="500820"/>
                  </a:lnTo>
                  <a:lnTo>
                    <a:pt x="97253" y="500919"/>
                  </a:lnTo>
                  <a:lnTo>
                    <a:pt x="98648" y="503108"/>
                  </a:lnTo>
                  <a:lnTo>
                    <a:pt x="101737" y="501815"/>
                  </a:lnTo>
                  <a:lnTo>
                    <a:pt x="104726" y="499327"/>
                  </a:lnTo>
                  <a:lnTo>
                    <a:pt x="105922" y="498034"/>
                  </a:lnTo>
                  <a:lnTo>
                    <a:pt x="110306" y="497537"/>
                  </a:lnTo>
                  <a:lnTo>
                    <a:pt x="111402" y="496741"/>
                  </a:lnTo>
                  <a:lnTo>
                    <a:pt x="109410" y="494652"/>
                  </a:lnTo>
                  <a:lnTo>
                    <a:pt x="110804" y="494254"/>
                  </a:lnTo>
                  <a:lnTo>
                    <a:pt x="111901" y="494950"/>
                  </a:lnTo>
                  <a:lnTo>
                    <a:pt x="112897" y="496243"/>
                  </a:lnTo>
                  <a:lnTo>
                    <a:pt x="113794" y="498034"/>
                  </a:lnTo>
                  <a:lnTo>
                    <a:pt x="116285" y="496641"/>
                  </a:lnTo>
                  <a:lnTo>
                    <a:pt x="118577" y="496542"/>
                  </a:lnTo>
                  <a:lnTo>
                    <a:pt x="120868" y="497437"/>
                  </a:lnTo>
                  <a:lnTo>
                    <a:pt x="123359" y="499128"/>
                  </a:lnTo>
                  <a:lnTo>
                    <a:pt x="124256" y="499128"/>
                  </a:lnTo>
                  <a:lnTo>
                    <a:pt x="127445" y="496144"/>
                  </a:lnTo>
                  <a:lnTo>
                    <a:pt x="129039" y="492562"/>
                  </a:lnTo>
                  <a:lnTo>
                    <a:pt x="131132" y="485598"/>
                  </a:lnTo>
                  <a:lnTo>
                    <a:pt x="133922" y="482116"/>
                  </a:lnTo>
                  <a:lnTo>
                    <a:pt x="137110" y="480524"/>
                  </a:lnTo>
                  <a:lnTo>
                    <a:pt x="145082" y="479927"/>
                  </a:lnTo>
                  <a:lnTo>
                    <a:pt x="143388" y="480524"/>
                  </a:lnTo>
                  <a:lnTo>
                    <a:pt x="141495" y="481420"/>
                  </a:lnTo>
                  <a:lnTo>
                    <a:pt x="139801" y="482514"/>
                  </a:lnTo>
                  <a:lnTo>
                    <a:pt x="138506" y="484006"/>
                  </a:lnTo>
                  <a:lnTo>
                    <a:pt x="135417" y="490274"/>
                  </a:lnTo>
                  <a:lnTo>
                    <a:pt x="135018" y="491368"/>
                  </a:lnTo>
                  <a:lnTo>
                    <a:pt x="134121" y="492363"/>
                  </a:lnTo>
                  <a:lnTo>
                    <a:pt x="133224" y="494751"/>
                  </a:lnTo>
                  <a:lnTo>
                    <a:pt x="133224" y="497039"/>
                  </a:lnTo>
                  <a:lnTo>
                    <a:pt x="135018" y="498034"/>
                  </a:lnTo>
                  <a:lnTo>
                    <a:pt x="136313" y="497437"/>
                  </a:lnTo>
                  <a:lnTo>
                    <a:pt x="140000" y="494254"/>
                  </a:lnTo>
                  <a:lnTo>
                    <a:pt x="141096" y="492960"/>
                  </a:lnTo>
                  <a:lnTo>
                    <a:pt x="142690" y="492761"/>
                  </a:lnTo>
                  <a:lnTo>
                    <a:pt x="147573" y="495348"/>
                  </a:lnTo>
                  <a:lnTo>
                    <a:pt x="149466" y="495845"/>
                  </a:lnTo>
                  <a:lnTo>
                    <a:pt x="151061" y="495149"/>
                  </a:lnTo>
                  <a:lnTo>
                    <a:pt x="154448" y="493060"/>
                  </a:lnTo>
                  <a:lnTo>
                    <a:pt x="165808" y="489379"/>
                  </a:lnTo>
                  <a:lnTo>
                    <a:pt x="169395" y="489080"/>
                  </a:lnTo>
                  <a:lnTo>
                    <a:pt x="169395" y="490075"/>
                  </a:lnTo>
                  <a:lnTo>
                    <a:pt x="167601" y="491766"/>
                  </a:lnTo>
                  <a:lnTo>
                    <a:pt x="168697" y="492861"/>
                  </a:lnTo>
                  <a:lnTo>
                    <a:pt x="170790" y="492662"/>
                  </a:lnTo>
                  <a:lnTo>
                    <a:pt x="172883" y="488881"/>
                  </a:lnTo>
                  <a:lnTo>
                    <a:pt x="174975" y="489677"/>
                  </a:lnTo>
                  <a:lnTo>
                    <a:pt x="176968" y="491368"/>
                  </a:lnTo>
                  <a:lnTo>
                    <a:pt x="177566" y="492363"/>
                  </a:lnTo>
                  <a:lnTo>
                    <a:pt x="183943" y="493159"/>
                  </a:lnTo>
                  <a:lnTo>
                    <a:pt x="185836" y="492363"/>
                  </a:lnTo>
                  <a:lnTo>
                    <a:pt x="186733" y="491368"/>
                  </a:lnTo>
                  <a:lnTo>
                    <a:pt x="187032" y="490274"/>
                  </a:lnTo>
                  <a:lnTo>
                    <a:pt x="187630" y="489379"/>
                  </a:lnTo>
                  <a:lnTo>
                    <a:pt x="188925" y="489080"/>
                  </a:lnTo>
                  <a:lnTo>
                    <a:pt x="192812" y="489080"/>
                  </a:lnTo>
                  <a:lnTo>
                    <a:pt x="191516" y="490075"/>
                  </a:lnTo>
                  <a:lnTo>
                    <a:pt x="190321" y="492065"/>
                  </a:lnTo>
                  <a:lnTo>
                    <a:pt x="188527" y="496840"/>
                  </a:lnTo>
                  <a:lnTo>
                    <a:pt x="193608" y="495845"/>
                  </a:lnTo>
                  <a:lnTo>
                    <a:pt x="195502" y="495845"/>
                  </a:lnTo>
                  <a:lnTo>
                    <a:pt x="197594" y="496542"/>
                  </a:lnTo>
                  <a:lnTo>
                    <a:pt x="198790" y="497636"/>
                  </a:lnTo>
                  <a:lnTo>
                    <a:pt x="199787" y="499128"/>
                  </a:lnTo>
                  <a:lnTo>
                    <a:pt x="201481" y="500322"/>
                  </a:lnTo>
                  <a:lnTo>
                    <a:pt x="202577" y="500322"/>
                  </a:lnTo>
                  <a:lnTo>
                    <a:pt x="204071" y="499228"/>
                  </a:lnTo>
                  <a:lnTo>
                    <a:pt x="204868" y="499128"/>
                  </a:lnTo>
                  <a:lnTo>
                    <a:pt x="205566" y="499725"/>
                  </a:lnTo>
                  <a:lnTo>
                    <a:pt x="207659" y="502412"/>
                  </a:lnTo>
                  <a:lnTo>
                    <a:pt x="208754" y="500919"/>
                  </a:lnTo>
                  <a:lnTo>
                    <a:pt x="209153" y="498730"/>
                  </a:lnTo>
                  <a:lnTo>
                    <a:pt x="209850" y="496741"/>
                  </a:lnTo>
                  <a:lnTo>
                    <a:pt x="211943" y="495845"/>
                  </a:lnTo>
                  <a:lnTo>
                    <a:pt x="213637" y="496243"/>
                  </a:lnTo>
                  <a:lnTo>
                    <a:pt x="218619" y="498532"/>
                  </a:lnTo>
                  <a:lnTo>
                    <a:pt x="220214" y="499725"/>
                  </a:lnTo>
                  <a:lnTo>
                    <a:pt x="222007" y="503406"/>
                  </a:lnTo>
                  <a:lnTo>
                    <a:pt x="223103" y="504401"/>
                  </a:lnTo>
                  <a:lnTo>
                    <a:pt x="225395" y="504799"/>
                  </a:lnTo>
                  <a:lnTo>
                    <a:pt x="231474" y="500919"/>
                  </a:lnTo>
                  <a:lnTo>
                    <a:pt x="232968" y="499228"/>
                  </a:lnTo>
                  <a:lnTo>
                    <a:pt x="234463" y="498034"/>
                  </a:lnTo>
                  <a:lnTo>
                    <a:pt x="236057" y="497338"/>
                  </a:lnTo>
                  <a:lnTo>
                    <a:pt x="237950" y="496840"/>
                  </a:lnTo>
                  <a:lnTo>
                    <a:pt x="237552" y="497437"/>
                  </a:lnTo>
                  <a:lnTo>
                    <a:pt x="237352" y="498034"/>
                  </a:lnTo>
                  <a:lnTo>
                    <a:pt x="237054" y="499128"/>
                  </a:lnTo>
                  <a:lnTo>
                    <a:pt x="240939" y="499725"/>
                  </a:lnTo>
                  <a:lnTo>
                    <a:pt x="251901" y="499128"/>
                  </a:lnTo>
                  <a:lnTo>
                    <a:pt x="253196" y="499327"/>
                  </a:lnTo>
                  <a:lnTo>
                    <a:pt x="255488" y="500123"/>
                  </a:lnTo>
                  <a:lnTo>
                    <a:pt x="256683" y="500322"/>
                  </a:lnTo>
                  <a:lnTo>
                    <a:pt x="257281" y="500123"/>
                  </a:lnTo>
                  <a:lnTo>
                    <a:pt x="258477" y="499327"/>
                  </a:lnTo>
                  <a:lnTo>
                    <a:pt x="260470" y="498631"/>
                  </a:lnTo>
                  <a:lnTo>
                    <a:pt x="261765" y="498034"/>
                  </a:lnTo>
                  <a:lnTo>
                    <a:pt x="262761" y="498034"/>
                  </a:lnTo>
                  <a:lnTo>
                    <a:pt x="263160" y="499725"/>
                  </a:lnTo>
                  <a:lnTo>
                    <a:pt x="262761" y="501019"/>
                  </a:lnTo>
                  <a:lnTo>
                    <a:pt x="261965" y="502213"/>
                  </a:lnTo>
                  <a:lnTo>
                    <a:pt x="261665" y="503705"/>
                  </a:lnTo>
                  <a:lnTo>
                    <a:pt x="262363" y="505794"/>
                  </a:lnTo>
                  <a:lnTo>
                    <a:pt x="263658" y="507386"/>
                  </a:lnTo>
                  <a:lnTo>
                    <a:pt x="265054" y="507784"/>
                  </a:lnTo>
                  <a:lnTo>
                    <a:pt x="268341" y="507087"/>
                  </a:lnTo>
                  <a:lnTo>
                    <a:pt x="270932" y="505794"/>
                  </a:lnTo>
                  <a:lnTo>
                    <a:pt x="270932" y="1890"/>
                  </a:lnTo>
                  <a:lnTo>
                    <a:pt x="264556" y="0"/>
                  </a:lnTo>
                  <a:lnTo>
                    <a:pt x="259972" y="179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3" name="Freeform: Shape 1382">
              <a:extLst>
                <a:ext uri="{FF2B5EF4-FFF2-40B4-BE49-F238E27FC236}">
                  <a16:creationId xmlns:a16="http://schemas.microsoft.com/office/drawing/2014/main" id="{9D1474DE-6EA2-467A-866D-9BC014E5A975}"/>
                </a:ext>
              </a:extLst>
            </p:cNvPr>
            <p:cNvSpPr/>
            <p:nvPr/>
          </p:nvSpPr>
          <p:spPr>
            <a:xfrm>
              <a:off x="3464755" y="-84528"/>
              <a:ext cx="9366" cy="7959"/>
            </a:xfrm>
            <a:custGeom>
              <a:avLst/>
              <a:gdLst>
                <a:gd name="connsiteX0" fmla="*/ 7274 w 9366"/>
                <a:gd name="connsiteY0" fmla="*/ 6666 h 7959"/>
                <a:gd name="connsiteX1" fmla="*/ 8470 w 9366"/>
                <a:gd name="connsiteY1" fmla="*/ 6268 h 7959"/>
                <a:gd name="connsiteX2" fmla="*/ 9367 w 9366"/>
                <a:gd name="connsiteY2" fmla="*/ 5671 h 7959"/>
                <a:gd name="connsiteX3" fmla="*/ 8470 w 9366"/>
                <a:gd name="connsiteY3" fmla="*/ 5273 h 7959"/>
                <a:gd name="connsiteX4" fmla="*/ 6875 w 9366"/>
                <a:gd name="connsiteY4" fmla="*/ 4079 h 7959"/>
                <a:gd name="connsiteX5" fmla="*/ 6377 w 9366"/>
                <a:gd name="connsiteY5" fmla="*/ 2487 h 7959"/>
                <a:gd name="connsiteX6" fmla="*/ 6377 w 9366"/>
                <a:gd name="connsiteY6" fmla="*/ 1194 h 7959"/>
                <a:gd name="connsiteX7" fmla="*/ 6078 w 9366"/>
                <a:gd name="connsiteY7" fmla="*/ 298 h 7959"/>
                <a:gd name="connsiteX8" fmla="*/ 4783 w 9366"/>
                <a:gd name="connsiteY8" fmla="*/ 0 h 7959"/>
                <a:gd name="connsiteX9" fmla="*/ 3388 w 9366"/>
                <a:gd name="connsiteY9" fmla="*/ 199 h 7959"/>
                <a:gd name="connsiteX10" fmla="*/ 2890 w 9366"/>
                <a:gd name="connsiteY10" fmla="*/ 995 h 7959"/>
                <a:gd name="connsiteX11" fmla="*/ 2192 w 9366"/>
                <a:gd name="connsiteY11" fmla="*/ 3880 h 7959"/>
                <a:gd name="connsiteX12" fmla="*/ 100 w 9366"/>
                <a:gd name="connsiteY12" fmla="*/ 7064 h 7959"/>
                <a:gd name="connsiteX13" fmla="*/ 0 w 9366"/>
                <a:gd name="connsiteY13" fmla="*/ 7959 h 7959"/>
                <a:gd name="connsiteX14" fmla="*/ 3787 w 9366"/>
                <a:gd name="connsiteY14" fmla="*/ 7462 h 7959"/>
                <a:gd name="connsiteX15" fmla="*/ 7274 w 9366"/>
                <a:gd name="connsiteY15" fmla="*/ 6666 h 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366" h="7959">
                  <a:moveTo>
                    <a:pt x="7274" y="6666"/>
                  </a:moveTo>
                  <a:lnTo>
                    <a:pt x="8470" y="6268"/>
                  </a:lnTo>
                  <a:lnTo>
                    <a:pt x="9367" y="5671"/>
                  </a:lnTo>
                  <a:lnTo>
                    <a:pt x="8470" y="5273"/>
                  </a:lnTo>
                  <a:lnTo>
                    <a:pt x="6875" y="4079"/>
                  </a:lnTo>
                  <a:lnTo>
                    <a:pt x="6377" y="2487"/>
                  </a:lnTo>
                  <a:lnTo>
                    <a:pt x="6377" y="1194"/>
                  </a:lnTo>
                  <a:lnTo>
                    <a:pt x="6078" y="298"/>
                  </a:lnTo>
                  <a:lnTo>
                    <a:pt x="4783" y="0"/>
                  </a:lnTo>
                  <a:lnTo>
                    <a:pt x="3388" y="199"/>
                  </a:lnTo>
                  <a:lnTo>
                    <a:pt x="2890" y="995"/>
                  </a:lnTo>
                  <a:lnTo>
                    <a:pt x="2192" y="3880"/>
                  </a:lnTo>
                  <a:lnTo>
                    <a:pt x="100" y="7064"/>
                  </a:lnTo>
                  <a:lnTo>
                    <a:pt x="0" y="7959"/>
                  </a:lnTo>
                  <a:lnTo>
                    <a:pt x="3787" y="7462"/>
                  </a:lnTo>
                  <a:lnTo>
                    <a:pt x="7274" y="666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4" name="Freeform: Shape 1383">
              <a:extLst>
                <a:ext uri="{FF2B5EF4-FFF2-40B4-BE49-F238E27FC236}">
                  <a16:creationId xmlns:a16="http://schemas.microsoft.com/office/drawing/2014/main" id="{45CC3164-73FA-4941-A757-35B0D316FECB}"/>
                </a:ext>
              </a:extLst>
            </p:cNvPr>
            <p:cNvSpPr/>
            <p:nvPr/>
          </p:nvSpPr>
          <p:spPr>
            <a:xfrm>
              <a:off x="3462563" y="-2252"/>
              <a:ext cx="51217" cy="32333"/>
            </a:xfrm>
            <a:custGeom>
              <a:avLst/>
              <a:gdLst>
                <a:gd name="connsiteX0" fmla="*/ 4683 w 51217"/>
                <a:gd name="connsiteY0" fmla="*/ 30145 h 32333"/>
                <a:gd name="connsiteX1" fmla="*/ 4484 w 51217"/>
                <a:gd name="connsiteY1" fmla="*/ 31239 h 32333"/>
                <a:gd name="connsiteX2" fmla="*/ 4583 w 51217"/>
                <a:gd name="connsiteY2" fmla="*/ 32035 h 32333"/>
                <a:gd name="connsiteX3" fmla="*/ 5779 w 51217"/>
                <a:gd name="connsiteY3" fmla="*/ 32333 h 32333"/>
                <a:gd name="connsiteX4" fmla="*/ 6576 w 51217"/>
                <a:gd name="connsiteY4" fmla="*/ 31935 h 32333"/>
                <a:gd name="connsiteX5" fmla="*/ 8270 w 51217"/>
                <a:gd name="connsiteY5" fmla="*/ 30244 h 32333"/>
                <a:gd name="connsiteX6" fmla="*/ 9167 w 51217"/>
                <a:gd name="connsiteY6" fmla="*/ 29846 h 32333"/>
                <a:gd name="connsiteX7" fmla="*/ 17836 w 51217"/>
                <a:gd name="connsiteY7" fmla="*/ 27558 h 32333"/>
                <a:gd name="connsiteX8" fmla="*/ 30690 w 51217"/>
                <a:gd name="connsiteY8" fmla="*/ 28951 h 32333"/>
                <a:gd name="connsiteX9" fmla="*/ 33381 w 51217"/>
                <a:gd name="connsiteY9" fmla="*/ 28553 h 32333"/>
                <a:gd name="connsiteX10" fmla="*/ 35872 w 51217"/>
                <a:gd name="connsiteY10" fmla="*/ 27757 h 32333"/>
                <a:gd name="connsiteX11" fmla="*/ 38263 w 51217"/>
                <a:gd name="connsiteY11" fmla="*/ 26364 h 32333"/>
                <a:gd name="connsiteX12" fmla="*/ 40555 w 51217"/>
                <a:gd name="connsiteY12" fmla="*/ 24573 h 32333"/>
                <a:gd name="connsiteX13" fmla="*/ 41551 w 51217"/>
                <a:gd name="connsiteY13" fmla="*/ 23181 h 32333"/>
                <a:gd name="connsiteX14" fmla="*/ 41751 w 51217"/>
                <a:gd name="connsiteY14" fmla="*/ 21390 h 32333"/>
                <a:gd name="connsiteX15" fmla="*/ 41751 w 51217"/>
                <a:gd name="connsiteY15" fmla="*/ 16614 h 32333"/>
                <a:gd name="connsiteX16" fmla="*/ 41950 w 51217"/>
                <a:gd name="connsiteY16" fmla="*/ 14625 h 32333"/>
                <a:gd name="connsiteX17" fmla="*/ 42548 w 51217"/>
                <a:gd name="connsiteY17" fmla="*/ 12436 h 32333"/>
                <a:gd name="connsiteX18" fmla="*/ 43943 w 51217"/>
                <a:gd name="connsiteY18" fmla="*/ 10347 h 32333"/>
                <a:gd name="connsiteX19" fmla="*/ 45736 w 51217"/>
                <a:gd name="connsiteY19" fmla="*/ 8655 h 32333"/>
                <a:gd name="connsiteX20" fmla="*/ 51217 w 51217"/>
                <a:gd name="connsiteY20" fmla="*/ 4974 h 32333"/>
                <a:gd name="connsiteX21" fmla="*/ 48626 w 51217"/>
                <a:gd name="connsiteY21" fmla="*/ 2388 h 32333"/>
                <a:gd name="connsiteX22" fmla="*/ 47231 w 51217"/>
                <a:gd name="connsiteY22" fmla="*/ 1492 h 32333"/>
                <a:gd name="connsiteX23" fmla="*/ 45238 w 51217"/>
                <a:gd name="connsiteY23" fmla="*/ 1393 h 32333"/>
                <a:gd name="connsiteX24" fmla="*/ 41452 w 51217"/>
                <a:gd name="connsiteY24" fmla="*/ 100 h 32333"/>
                <a:gd name="connsiteX25" fmla="*/ 38961 w 51217"/>
                <a:gd name="connsiteY25" fmla="*/ 0 h 32333"/>
                <a:gd name="connsiteX26" fmla="*/ 36569 w 51217"/>
                <a:gd name="connsiteY26" fmla="*/ 1293 h 32333"/>
                <a:gd name="connsiteX27" fmla="*/ 33082 w 51217"/>
                <a:gd name="connsiteY27" fmla="*/ 3781 h 32333"/>
                <a:gd name="connsiteX28" fmla="*/ 26904 w 51217"/>
                <a:gd name="connsiteY28" fmla="*/ 6765 h 32333"/>
                <a:gd name="connsiteX29" fmla="*/ 25309 w 51217"/>
                <a:gd name="connsiteY29" fmla="*/ 7263 h 32333"/>
                <a:gd name="connsiteX30" fmla="*/ 21822 w 51217"/>
                <a:gd name="connsiteY30" fmla="*/ 7163 h 32333"/>
                <a:gd name="connsiteX31" fmla="*/ 20527 w 51217"/>
                <a:gd name="connsiteY31" fmla="*/ 7959 h 32333"/>
                <a:gd name="connsiteX32" fmla="*/ 18135 w 51217"/>
                <a:gd name="connsiteY32" fmla="*/ 10645 h 32333"/>
                <a:gd name="connsiteX33" fmla="*/ 15544 w 51217"/>
                <a:gd name="connsiteY33" fmla="*/ 13132 h 32333"/>
                <a:gd name="connsiteX34" fmla="*/ 12555 w 51217"/>
                <a:gd name="connsiteY34" fmla="*/ 15023 h 32333"/>
                <a:gd name="connsiteX35" fmla="*/ 9167 w 51217"/>
                <a:gd name="connsiteY35" fmla="*/ 15719 h 32333"/>
                <a:gd name="connsiteX36" fmla="*/ 7174 w 51217"/>
                <a:gd name="connsiteY36" fmla="*/ 15222 h 32333"/>
                <a:gd name="connsiteX37" fmla="*/ 5779 w 51217"/>
                <a:gd name="connsiteY37" fmla="*/ 14227 h 32333"/>
                <a:gd name="connsiteX38" fmla="*/ 4484 w 51217"/>
                <a:gd name="connsiteY38" fmla="*/ 13829 h 32333"/>
                <a:gd name="connsiteX39" fmla="*/ 2591 w 51217"/>
                <a:gd name="connsiteY39" fmla="*/ 14525 h 32333"/>
                <a:gd name="connsiteX40" fmla="*/ 2092 w 51217"/>
                <a:gd name="connsiteY40" fmla="*/ 15421 h 32333"/>
                <a:gd name="connsiteX41" fmla="*/ 0 w 51217"/>
                <a:gd name="connsiteY41" fmla="*/ 20395 h 32333"/>
                <a:gd name="connsiteX42" fmla="*/ 4384 w 51217"/>
                <a:gd name="connsiteY42" fmla="*/ 28851 h 32333"/>
                <a:gd name="connsiteX43" fmla="*/ 4683 w 51217"/>
                <a:gd name="connsiteY43" fmla="*/ 30145 h 32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1217" h="32333">
                  <a:moveTo>
                    <a:pt x="4683" y="30145"/>
                  </a:moveTo>
                  <a:lnTo>
                    <a:pt x="4484" y="31239"/>
                  </a:lnTo>
                  <a:lnTo>
                    <a:pt x="4583" y="32035"/>
                  </a:lnTo>
                  <a:lnTo>
                    <a:pt x="5779" y="32333"/>
                  </a:lnTo>
                  <a:lnTo>
                    <a:pt x="6576" y="31935"/>
                  </a:lnTo>
                  <a:lnTo>
                    <a:pt x="8270" y="30244"/>
                  </a:lnTo>
                  <a:lnTo>
                    <a:pt x="9167" y="29846"/>
                  </a:lnTo>
                  <a:lnTo>
                    <a:pt x="17836" y="27558"/>
                  </a:lnTo>
                  <a:lnTo>
                    <a:pt x="30690" y="28951"/>
                  </a:lnTo>
                  <a:lnTo>
                    <a:pt x="33381" y="28553"/>
                  </a:lnTo>
                  <a:lnTo>
                    <a:pt x="35872" y="27757"/>
                  </a:lnTo>
                  <a:lnTo>
                    <a:pt x="38263" y="26364"/>
                  </a:lnTo>
                  <a:lnTo>
                    <a:pt x="40555" y="24573"/>
                  </a:lnTo>
                  <a:lnTo>
                    <a:pt x="41551" y="23181"/>
                  </a:lnTo>
                  <a:lnTo>
                    <a:pt x="41751" y="21390"/>
                  </a:lnTo>
                  <a:lnTo>
                    <a:pt x="41751" y="16614"/>
                  </a:lnTo>
                  <a:lnTo>
                    <a:pt x="41950" y="14625"/>
                  </a:lnTo>
                  <a:lnTo>
                    <a:pt x="42548" y="12436"/>
                  </a:lnTo>
                  <a:lnTo>
                    <a:pt x="43943" y="10347"/>
                  </a:lnTo>
                  <a:lnTo>
                    <a:pt x="45736" y="8655"/>
                  </a:lnTo>
                  <a:lnTo>
                    <a:pt x="51217" y="4974"/>
                  </a:lnTo>
                  <a:lnTo>
                    <a:pt x="48626" y="2388"/>
                  </a:lnTo>
                  <a:lnTo>
                    <a:pt x="47231" y="1492"/>
                  </a:lnTo>
                  <a:lnTo>
                    <a:pt x="45238" y="1393"/>
                  </a:lnTo>
                  <a:lnTo>
                    <a:pt x="41452" y="100"/>
                  </a:lnTo>
                  <a:lnTo>
                    <a:pt x="38961" y="0"/>
                  </a:lnTo>
                  <a:lnTo>
                    <a:pt x="36569" y="1293"/>
                  </a:lnTo>
                  <a:lnTo>
                    <a:pt x="33082" y="3781"/>
                  </a:lnTo>
                  <a:lnTo>
                    <a:pt x="26904" y="6765"/>
                  </a:lnTo>
                  <a:lnTo>
                    <a:pt x="25309" y="7263"/>
                  </a:lnTo>
                  <a:lnTo>
                    <a:pt x="21822" y="7163"/>
                  </a:lnTo>
                  <a:lnTo>
                    <a:pt x="20527" y="7959"/>
                  </a:lnTo>
                  <a:lnTo>
                    <a:pt x="18135" y="10645"/>
                  </a:lnTo>
                  <a:lnTo>
                    <a:pt x="15544" y="13132"/>
                  </a:lnTo>
                  <a:lnTo>
                    <a:pt x="12555" y="15023"/>
                  </a:lnTo>
                  <a:lnTo>
                    <a:pt x="9167" y="15719"/>
                  </a:lnTo>
                  <a:lnTo>
                    <a:pt x="7174" y="15222"/>
                  </a:lnTo>
                  <a:lnTo>
                    <a:pt x="5779" y="14227"/>
                  </a:lnTo>
                  <a:lnTo>
                    <a:pt x="4484" y="13829"/>
                  </a:lnTo>
                  <a:lnTo>
                    <a:pt x="2591" y="14525"/>
                  </a:lnTo>
                  <a:lnTo>
                    <a:pt x="2092" y="15421"/>
                  </a:lnTo>
                  <a:lnTo>
                    <a:pt x="0" y="20395"/>
                  </a:lnTo>
                  <a:lnTo>
                    <a:pt x="4384" y="28851"/>
                  </a:lnTo>
                  <a:lnTo>
                    <a:pt x="4683" y="3014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5" name="Freeform: Shape 1384">
              <a:extLst>
                <a:ext uri="{FF2B5EF4-FFF2-40B4-BE49-F238E27FC236}">
                  <a16:creationId xmlns:a16="http://schemas.microsoft.com/office/drawing/2014/main" id="{60297293-AA8A-4A42-9BB6-E38AA76359B4}"/>
                </a:ext>
              </a:extLst>
            </p:cNvPr>
            <p:cNvSpPr/>
            <p:nvPr/>
          </p:nvSpPr>
          <p:spPr>
            <a:xfrm>
              <a:off x="3482193" y="-29512"/>
              <a:ext cx="15444" cy="5073"/>
            </a:xfrm>
            <a:custGeom>
              <a:avLst/>
              <a:gdLst>
                <a:gd name="connsiteX0" fmla="*/ 3388 w 15444"/>
                <a:gd name="connsiteY0" fmla="*/ 4278 h 5073"/>
                <a:gd name="connsiteX1" fmla="*/ 12755 w 15444"/>
                <a:gd name="connsiteY1" fmla="*/ 3780 h 5073"/>
                <a:gd name="connsiteX2" fmla="*/ 15246 w 15444"/>
                <a:gd name="connsiteY2" fmla="*/ 2985 h 5073"/>
                <a:gd name="connsiteX3" fmla="*/ 15445 w 15444"/>
                <a:gd name="connsiteY3" fmla="*/ 1791 h 5073"/>
                <a:gd name="connsiteX4" fmla="*/ 14748 w 15444"/>
                <a:gd name="connsiteY4" fmla="*/ 1194 h 5073"/>
                <a:gd name="connsiteX5" fmla="*/ 12157 w 15444"/>
                <a:gd name="connsiteY5" fmla="*/ 199 h 5073"/>
                <a:gd name="connsiteX6" fmla="*/ 7075 w 15444"/>
                <a:gd name="connsiteY6" fmla="*/ 0 h 5073"/>
                <a:gd name="connsiteX7" fmla="*/ 2093 w 15444"/>
                <a:gd name="connsiteY7" fmla="*/ 1492 h 5073"/>
                <a:gd name="connsiteX8" fmla="*/ 897 w 15444"/>
                <a:gd name="connsiteY8" fmla="*/ 2885 h 5073"/>
                <a:gd name="connsiteX9" fmla="*/ 0 w 15444"/>
                <a:gd name="connsiteY9" fmla="*/ 4477 h 5073"/>
                <a:gd name="connsiteX10" fmla="*/ 0 w 15444"/>
                <a:gd name="connsiteY10" fmla="*/ 5074 h 5073"/>
                <a:gd name="connsiteX11" fmla="*/ 3388 w 15444"/>
                <a:gd name="connsiteY11" fmla="*/ 4278 h 5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44" h="5073">
                  <a:moveTo>
                    <a:pt x="3388" y="4278"/>
                  </a:moveTo>
                  <a:lnTo>
                    <a:pt x="12755" y="3780"/>
                  </a:lnTo>
                  <a:lnTo>
                    <a:pt x="15246" y="2985"/>
                  </a:lnTo>
                  <a:lnTo>
                    <a:pt x="15445" y="1791"/>
                  </a:lnTo>
                  <a:lnTo>
                    <a:pt x="14748" y="1194"/>
                  </a:lnTo>
                  <a:lnTo>
                    <a:pt x="12157" y="199"/>
                  </a:lnTo>
                  <a:lnTo>
                    <a:pt x="7075" y="0"/>
                  </a:lnTo>
                  <a:lnTo>
                    <a:pt x="2093" y="1492"/>
                  </a:lnTo>
                  <a:lnTo>
                    <a:pt x="897" y="2885"/>
                  </a:lnTo>
                  <a:lnTo>
                    <a:pt x="0" y="4477"/>
                  </a:lnTo>
                  <a:lnTo>
                    <a:pt x="0" y="5074"/>
                  </a:lnTo>
                  <a:lnTo>
                    <a:pt x="3388" y="427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6" name="Freeform: Shape 1385">
              <a:extLst>
                <a:ext uri="{FF2B5EF4-FFF2-40B4-BE49-F238E27FC236}">
                  <a16:creationId xmlns:a16="http://schemas.microsoft.com/office/drawing/2014/main" id="{D588090D-E2A3-45A6-BA90-0E51F2A59357}"/>
                </a:ext>
              </a:extLst>
            </p:cNvPr>
            <p:cNvSpPr/>
            <p:nvPr/>
          </p:nvSpPr>
          <p:spPr>
            <a:xfrm>
              <a:off x="3567588" y="-61845"/>
              <a:ext cx="15245" cy="7362"/>
            </a:xfrm>
            <a:custGeom>
              <a:avLst/>
              <a:gdLst>
                <a:gd name="connsiteX0" fmla="*/ 2491 w 15245"/>
                <a:gd name="connsiteY0" fmla="*/ 3283 h 7362"/>
                <a:gd name="connsiteX1" fmla="*/ 3288 w 15245"/>
                <a:gd name="connsiteY1" fmla="*/ 2487 h 7362"/>
                <a:gd name="connsiteX2" fmla="*/ 3587 w 15245"/>
                <a:gd name="connsiteY2" fmla="*/ 3283 h 7362"/>
                <a:gd name="connsiteX3" fmla="*/ 3288 w 15245"/>
                <a:gd name="connsiteY3" fmla="*/ 5273 h 7362"/>
                <a:gd name="connsiteX4" fmla="*/ 3488 w 15245"/>
                <a:gd name="connsiteY4" fmla="*/ 6168 h 7362"/>
                <a:gd name="connsiteX5" fmla="*/ 3886 w 15245"/>
                <a:gd name="connsiteY5" fmla="*/ 6069 h 7362"/>
                <a:gd name="connsiteX6" fmla="*/ 4185 w 15245"/>
                <a:gd name="connsiteY6" fmla="*/ 5969 h 7362"/>
                <a:gd name="connsiteX7" fmla="*/ 4384 w 15245"/>
                <a:gd name="connsiteY7" fmla="*/ 6069 h 7362"/>
                <a:gd name="connsiteX8" fmla="*/ 4185 w 15245"/>
                <a:gd name="connsiteY8" fmla="*/ 6268 h 7362"/>
                <a:gd name="connsiteX9" fmla="*/ 4384 w 15245"/>
                <a:gd name="connsiteY9" fmla="*/ 6367 h 7362"/>
                <a:gd name="connsiteX10" fmla="*/ 5182 w 15245"/>
                <a:gd name="connsiteY10" fmla="*/ 6168 h 7362"/>
                <a:gd name="connsiteX11" fmla="*/ 5580 w 15245"/>
                <a:gd name="connsiteY11" fmla="*/ 5969 h 7362"/>
                <a:gd name="connsiteX12" fmla="*/ 5780 w 15245"/>
                <a:gd name="connsiteY12" fmla="*/ 5969 h 7362"/>
                <a:gd name="connsiteX13" fmla="*/ 6776 w 15245"/>
                <a:gd name="connsiteY13" fmla="*/ 6367 h 7362"/>
                <a:gd name="connsiteX14" fmla="*/ 7773 w 15245"/>
                <a:gd name="connsiteY14" fmla="*/ 6268 h 7362"/>
                <a:gd name="connsiteX15" fmla="*/ 8271 w 15245"/>
                <a:gd name="connsiteY15" fmla="*/ 5969 h 7362"/>
                <a:gd name="connsiteX16" fmla="*/ 8470 w 15245"/>
                <a:gd name="connsiteY16" fmla="*/ 6367 h 7362"/>
                <a:gd name="connsiteX17" fmla="*/ 8470 w 15245"/>
                <a:gd name="connsiteY17" fmla="*/ 7263 h 7362"/>
                <a:gd name="connsiteX18" fmla="*/ 9865 w 15245"/>
                <a:gd name="connsiteY18" fmla="*/ 7362 h 7362"/>
                <a:gd name="connsiteX19" fmla="*/ 12755 w 15245"/>
                <a:gd name="connsiteY19" fmla="*/ 6268 h 7362"/>
                <a:gd name="connsiteX20" fmla="*/ 12655 w 15245"/>
                <a:gd name="connsiteY20" fmla="*/ 5372 h 7362"/>
                <a:gd name="connsiteX21" fmla="*/ 9666 w 15245"/>
                <a:gd name="connsiteY21" fmla="*/ 5074 h 7362"/>
                <a:gd name="connsiteX22" fmla="*/ 9167 w 15245"/>
                <a:gd name="connsiteY22" fmla="*/ 4576 h 7362"/>
                <a:gd name="connsiteX23" fmla="*/ 11060 w 15245"/>
                <a:gd name="connsiteY23" fmla="*/ 3582 h 7362"/>
                <a:gd name="connsiteX24" fmla="*/ 13153 w 15245"/>
                <a:gd name="connsiteY24" fmla="*/ 2288 h 7362"/>
                <a:gd name="connsiteX25" fmla="*/ 15146 w 15245"/>
                <a:gd name="connsiteY25" fmla="*/ 696 h 7362"/>
                <a:gd name="connsiteX26" fmla="*/ 15246 w 15245"/>
                <a:gd name="connsiteY26" fmla="*/ 99 h 7362"/>
                <a:gd name="connsiteX27" fmla="*/ 13751 w 15245"/>
                <a:gd name="connsiteY27" fmla="*/ 398 h 7362"/>
                <a:gd name="connsiteX28" fmla="*/ 11858 w 15245"/>
                <a:gd name="connsiteY28" fmla="*/ 497 h 7362"/>
                <a:gd name="connsiteX29" fmla="*/ 9466 w 15245"/>
                <a:gd name="connsiteY29" fmla="*/ 0 h 7362"/>
                <a:gd name="connsiteX30" fmla="*/ 7473 w 15245"/>
                <a:gd name="connsiteY30" fmla="*/ 99 h 7362"/>
                <a:gd name="connsiteX31" fmla="*/ 3986 w 15245"/>
                <a:gd name="connsiteY31" fmla="*/ 1592 h 7362"/>
                <a:gd name="connsiteX32" fmla="*/ 1694 w 15245"/>
                <a:gd name="connsiteY32" fmla="*/ 2189 h 7362"/>
                <a:gd name="connsiteX33" fmla="*/ 0 w 15245"/>
                <a:gd name="connsiteY33" fmla="*/ 3582 h 7362"/>
                <a:gd name="connsiteX34" fmla="*/ 897 w 15245"/>
                <a:gd name="connsiteY34" fmla="*/ 4278 h 7362"/>
                <a:gd name="connsiteX35" fmla="*/ 2491 w 15245"/>
                <a:gd name="connsiteY35" fmla="*/ 3283 h 7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245" h="7362">
                  <a:moveTo>
                    <a:pt x="2491" y="3283"/>
                  </a:moveTo>
                  <a:lnTo>
                    <a:pt x="3288" y="2487"/>
                  </a:lnTo>
                  <a:lnTo>
                    <a:pt x="3587" y="3283"/>
                  </a:lnTo>
                  <a:lnTo>
                    <a:pt x="3288" y="5273"/>
                  </a:lnTo>
                  <a:lnTo>
                    <a:pt x="3488" y="6168"/>
                  </a:lnTo>
                  <a:lnTo>
                    <a:pt x="3886" y="6069"/>
                  </a:lnTo>
                  <a:lnTo>
                    <a:pt x="4185" y="5969"/>
                  </a:lnTo>
                  <a:lnTo>
                    <a:pt x="4384" y="6069"/>
                  </a:lnTo>
                  <a:lnTo>
                    <a:pt x="4185" y="6268"/>
                  </a:lnTo>
                  <a:lnTo>
                    <a:pt x="4384" y="6367"/>
                  </a:lnTo>
                  <a:lnTo>
                    <a:pt x="5182" y="6168"/>
                  </a:lnTo>
                  <a:lnTo>
                    <a:pt x="5580" y="5969"/>
                  </a:lnTo>
                  <a:lnTo>
                    <a:pt x="5780" y="5969"/>
                  </a:lnTo>
                  <a:lnTo>
                    <a:pt x="6776" y="6367"/>
                  </a:lnTo>
                  <a:lnTo>
                    <a:pt x="7773" y="6268"/>
                  </a:lnTo>
                  <a:lnTo>
                    <a:pt x="8271" y="5969"/>
                  </a:lnTo>
                  <a:lnTo>
                    <a:pt x="8470" y="6367"/>
                  </a:lnTo>
                  <a:lnTo>
                    <a:pt x="8470" y="7263"/>
                  </a:lnTo>
                  <a:lnTo>
                    <a:pt x="9865" y="7362"/>
                  </a:lnTo>
                  <a:lnTo>
                    <a:pt x="12755" y="6268"/>
                  </a:lnTo>
                  <a:lnTo>
                    <a:pt x="12655" y="5372"/>
                  </a:lnTo>
                  <a:lnTo>
                    <a:pt x="9666" y="5074"/>
                  </a:lnTo>
                  <a:lnTo>
                    <a:pt x="9167" y="4576"/>
                  </a:lnTo>
                  <a:lnTo>
                    <a:pt x="11060" y="3582"/>
                  </a:lnTo>
                  <a:lnTo>
                    <a:pt x="13153" y="2288"/>
                  </a:lnTo>
                  <a:lnTo>
                    <a:pt x="15146" y="696"/>
                  </a:lnTo>
                  <a:lnTo>
                    <a:pt x="15246" y="99"/>
                  </a:lnTo>
                  <a:lnTo>
                    <a:pt x="13751" y="398"/>
                  </a:lnTo>
                  <a:lnTo>
                    <a:pt x="11858" y="497"/>
                  </a:lnTo>
                  <a:lnTo>
                    <a:pt x="9466" y="0"/>
                  </a:lnTo>
                  <a:lnTo>
                    <a:pt x="7473" y="99"/>
                  </a:lnTo>
                  <a:lnTo>
                    <a:pt x="3986" y="1592"/>
                  </a:lnTo>
                  <a:lnTo>
                    <a:pt x="1694" y="2189"/>
                  </a:lnTo>
                  <a:lnTo>
                    <a:pt x="0" y="3582"/>
                  </a:lnTo>
                  <a:lnTo>
                    <a:pt x="897" y="4278"/>
                  </a:lnTo>
                  <a:lnTo>
                    <a:pt x="2491" y="328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7" name="Freeform: Shape 1386">
              <a:extLst>
                <a:ext uri="{FF2B5EF4-FFF2-40B4-BE49-F238E27FC236}">
                  <a16:creationId xmlns:a16="http://schemas.microsoft.com/office/drawing/2014/main" id="{366FCB1D-5C2D-41F7-BE1B-2199DC3E6942}"/>
                </a:ext>
              </a:extLst>
            </p:cNvPr>
            <p:cNvSpPr/>
            <p:nvPr/>
          </p:nvSpPr>
          <p:spPr>
            <a:xfrm>
              <a:off x="3534805" y="-3744"/>
              <a:ext cx="10761" cy="3581"/>
            </a:xfrm>
            <a:custGeom>
              <a:avLst/>
              <a:gdLst>
                <a:gd name="connsiteX0" fmla="*/ 10064 w 10761"/>
                <a:gd name="connsiteY0" fmla="*/ 2786 h 3581"/>
                <a:gd name="connsiteX1" fmla="*/ 10761 w 10761"/>
                <a:gd name="connsiteY1" fmla="*/ 1094 h 3581"/>
                <a:gd name="connsiteX2" fmla="*/ 8669 w 10761"/>
                <a:gd name="connsiteY2" fmla="*/ 298 h 3581"/>
                <a:gd name="connsiteX3" fmla="*/ 7473 w 10761"/>
                <a:gd name="connsiteY3" fmla="*/ 0 h 3581"/>
                <a:gd name="connsiteX4" fmla="*/ 5181 w 10761"/>
                <a:gd name="connsiteY4" fmla="*/ 199 h 3581"/>
                <a:gd name="connsiteX5" fmla="*/ 797 w 10761"/>
                <a:gd name="connsiteY5" fmla="*/ 1293 h 3581"/>
                <a:gd name="connsiteX6" fmla="*/ 0 w 10761"/>
                <a:gd name="connsiteY6" fmla="*/ 2885 h 3581"/>
                <a:gd name="connsiteX7" fmla="*/ 6975 w 10761"/>
                <a:gd name="connsiteY7" fmla="*/ 3582 h 3581"/>
                <a:gd name="connsiteX8" fmla="*/ 10064 w 10761"/>
                <a:gd name="connsiteY8" fmla="*/ 2786 h 3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761" h="3581">
                  <a:moveTo>
                    <a:pt x="10064" y="2786"/>
                  </a:moveTo>
                  <a:lnTo>
                    <a:pt x="10761" y="1094"/>
                  </a:lnTo>
                  <a:lnTo>
                    <a:pt x="8669" y="298"/>
                  </a:lnTo>
                  <a:lnTo>
                    <a:pt x="7473" y="0"/>
                  </a:lnTo>
                  <a:lnTo>
                    <a:pt x="5181" y="199"/>
                  </a:lnTo>
                  <a:lnTo>
                    <a:pt x="797" y="1293"/>
                  </a:lnTo>
                  <a:lnTo>
                    <a:pt x="0" y="2885"/>
                  </a:lnTo>
                  <a:lnTo>
                    <a:pt x="6975" y="3582"/>
                  </a:lnTo>
                  <a:lnTo>
                    <a:pt x="10064" y="278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8" name="Freeform: Shape 1387">
              <a:extLst>
                <a:ext uri="{FF2B5EF4-FFF2-40B4-BE49-F238E27FC236}">
                  <a16:creationId xmlns:a16="http://schemas.microsoft.com/office/drawing/2014/main" id="{114549F4-F71F-4BDF-A0CB-2A1D8DCF7BE2}"/>
                </a:ext>
              </a:extLst>
            </p:cNvPr>
            <p:cNvSpPr/>
            <p:nvPr/>
          </p:nvSpPr>
          <p:spPr>
            <a:xfrm>
              <a:off x="-2260992" y="306755"/>
              <a:ext cx="20526" cy="24075"/>
            </a:xfrm>
            <a:custGeom>
              <a:avLst/>
              <a:gdLst>
                <a:gd name="connsiteX0" fmla="*/ 20527 w 20526"/>
                <a:gd name="connsiteY0" fmla="*/ 13530 h 24075"/>
                <a:gd name="connsiteX1" fmla="*/ 19132 w 20526"/>
                <a:gd name="connsiteY1" fmla="*/ 7064 h 24075"/>
                <a:gd name="connsiteX2" fmla="*/ 15544 w 20526"/>
                <a:gd name="connsiteY2" fmla="*/ 2288 h 24075"/>
                <a:gd name="connsiteX3" fmla="*/ 11060 w 20526"/>
                <a:gd name="connsiteY3" fmla="*/ 0 h 24075"/>
                <a:gd name="connsiteX4" fmla="*/ 8071 w 20526"/>
                <a:gd name="connsiteY4" fmla="*/ 100 h 24075"/>
                <a:gd name="connsiteX5" fmla="*/ 6776 w 20526"/>
                <a:gd name="connsiteY5" fmla="*/ 1293 h 24075"/>
                <a:gd name="connsiteX6" fmla="*/ 4883 w 20526"/>
                <a:gd name="connsiteY6" fmla="*/ 2487 h 24075"/>
                <a:gd name="connsiteX7" fmla="*/ 3189 w 20526"/>
                <a:gd name="connsiteY7" fmla="*/ 4576 h 24075"/>
                <a:gd name="connsiteX8" fmla="*/ 2192 w 20526"/>
                <a:gd name="connsiteY8" fmla="*/ 7163 h 24075"/>
                <a:gd name="connsiteX9" fmla="*/ 0 w 20526"/>
                <a:gd name="connsiteY9" fmla="*/ 10944 h 24075"/>
                <a:gd name="connsiteX10" fmla="*/ 498 w 20526"/>
                <a:gd name="connsiteY10" fmla="*/ 12336 h 24075"/>
                <a:gd name="connsiteX11" fmla="*/ 1196 w 20526"/>
                <a:gd name="connsiteY11" fmla="*/ 12834 h 24075"/>
                <a:gd name="connsiteX12" fmla="*/ 3786 w 20526"/>
                <a:gd name="connsiteY12" fmla="*/ 14426 h 24075"/>
                <a:gd name="connsiteX13" fmla="*/ 5580 w 20526"/>
                <a:gd name="connsiteY13" fmla="*/ 15321 h 24075"/>
                <a:gd name="connsiteX14" fmla="*/ 7075 w 20526"/>
                <a:gd name="connsiteY14" fmla="*/ 14426 h 24075"/>
                <a:gd name="connsiteX15" fmla="*/ 9964 w 20526"/>
                <a:gd name="connsiteY15" fmla="*/ 8556 h 24075"/>
                <a:gd name="connsiteX16" fmla="*/ 10861 w 20526"/>
                <a:gd name="connsiteY16" fmla="*/ 6467 h 24075"/>
                <a:gd name="connsiteX17" fmla="*/ 11060 w 20526"/>
                <a:gd name="connsiteY17" fmla="*/ 5273 h 24075"/>
                <a:gd name="connsiteX18" fmla="*/ 11060 w 20526"/>
                <a:gd name="connsiteY18" fmla="*/ 3880 h 24075"/>
                <a:gd name="connsiteX19" fmla="*/ 10762 w 20526"/>
                <a:gd name="connsiteY19" fmla="*/ 2189 h 24075"/>
                <a:gd name="connsiteX20" fmla="*/ 11260 w 20526"/>
                <a:gd name="connsiteY20" fmla="*/ 1990 h 24075"/>
                <a:gd name="connsiteX21" fmla="*/ 12655 w 20526"/>
                <a:gd name="connsiteY21" fmla="*/ 3184 h 24075"/>
                <a:gd name="connsiteX22" fmla="*/ 13552 w 20526"/>
                <a:gd name="connsiteY22" fmla="*/ 5074 h 24075"/>
                <a:gd name="connsiteX23" fmla="*/ 13153 w 20526"/>
                <a:gd name="connsiteY23" fmla="*/ 7462 h 24075"/>
                <a:gd name="connsiteX24" fmla="*/ 10861 w 20526"/>
                <a:gd name="connsiteY24" fmla="*/ 10347 h 24075"/>
                <a:gd name="connsiteX25" fmla="*/ 9267 w 20526"/>
                <a:gd name="connsiteY25" fmla="*/ 14326 h 24075"/>
                <a:gd name="connsiteX26" fmla="*/ 8769 w 20526"/>
                <a:gd name="connsiteY26" fmla="*/ 17012 h 24075"/>
                <a:gd name="connsiteX27" fmla="*/ 9566 w 20526"/>
                <a:gd name="connsiteY27" fmla="*/ 19997 h 24075"/>
                <a:gd name="connsiteX28" fmla="*/ 10363 w 20526"/>
                <a:gd name="connsiteY28" fmla="*/ 21987 h 24075"/>
                <a:gd name="connsiteX29" fmla="*/ 10363 w 20526"/>
                <a:gd name="connsiteY29" fmla="*/ 23081 h 24075"/>
                <a:gd name="connsiteX30" fmla="*/ 10961 w 20526"/>
                <a:gd name="connsiteY30" fmla="*/ 23877 h 24075"/>
                <a:gd name="connsiteX31" fmla="*/ 12256 w 20526"/>
                <a:gd name="connsiteY31" fmla="*/ 24076 h 24075"/>
                <a:gd name="connsiteX32" fmla="*/ 14947 w 20526"/>
                <a:gd name="connsiteY32" fmla="*/ 22584 h 24075"/>
                <a:gd name="connsiteX33" fmla="*/ 18733 w 20526"/>
                <a:gd name="connsiteY33" fmla="*/ 19201 h 24075"/>
                <a:gd name="connsiteX34" fmla="*/ 20527 w 20526"/>
                <a:gd name="connsiteY34" fmla="*/ 13530 h 24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0526" h="24075">
                  <a:moveTo>
                    <a:pt x="20527" y="13530"/>
                  </a:moveTo>
                  <a:lnTo>
                    <a:pt x="19132" y="7064"/>
                  </a:lnTo>
                  <a:lnTo>
                    <a:pt x="15544" y="2288"/>
                  </a:lnTo>
                  <a:lnTo>
                    <a:pt x="11060" y="0"/>
                  </a:lnTo>
                  <a:lnTo>
                    <a:pt x="8071" y="100"/>
                  </a:lnTo>
                  <a:lnTo>
                    <a:pt x="6776" y="1293"/>
                  </a:lnTo>
                  <a:lnTo>
                    <a:pt x="4883" y="2487"/>
                  </a:lnTo>
                  <a:lnTo>
                    <a:pt x="3189" y="4576"/>
                  </a:lnTo>
                  <a:lnTo>
                    <a:pt x="2192" y="7163"/>
                  </a:lnTo>
                  <a:lnTo>
                    <a:pt x="0" y="10944"/>
                  </a:lnTo>
                  <a:lnTo>
                    <a:pt x="498" y="12336"/>
                  </a:lnTo>
                  <a:lnTo>
                    <a:pt x="1196" y="12834"/>
                  </a:lnTo>
                  <a:lnTo>
                    <a:pt x="3786" y="14426"/>
                  </a:lnTo>
                  <a:lnTo>
                    <a:pt x="5580" y="15321"/>
                  </a:lnTo>
                  <a:lnTo>
                    <a:pt x="7075" y="14426"/>
                  </a:lnTo>
                  <a:lnTo>
                    <a:pt x="9964" y="8556"/>
                  </a:lnTo>
                  <a:lnTo>
                    <a:pt x="10861" y="6467"/>
                  </a:lnTo>
                  <a:lnTo>
                    <a:pt x="11060" y="5273"/>
                  </a:lnTo>
                  <a:lnTo>
                    <a:pt x="11060" y="3880"/>
                  </a:lnTo>
                  <a:lnTo>
                    <a:pt x="10762" y="2189"/>
                  </a:lnTo>
                  <a:lnTo>
                    <a:pt x="11260" y="1990"/>
                  </a:lnTo>
                  <a:lnTo>
                    <a:pt x="12655" y="3184"/>
                  </a:lnTo>
                  <a:lnTo>
                    <a:pt x="13552" y="5074"/>
                  </a:lnTo>
                  <a:lnTo>
                    <a:pt x="13153" y="7462"/>
                  </a:lnTo>
                  <a:lnTo>
                    <a:pt x="10861" y="10347"/>
                  </a:lnTo>
                  <a:lnTo>
                    <a:pt x="9267" y="14326"/>
                  </a:lnTo>
                  <a:lnTo>
                    <a:pt x="8769" y="17012"/>
                  </a:lnTo>
                  <a:lnTo>
                    <a:pt x="9566" y="19997"/>
                  </a:lnTo>
                  <a:lnTo>
                    <a:pt x="10363" y="21987"/>
                  </a:lnTo>
                  <a:lnTo>
                    <a:pt x="10363" y="23081"/>
                  </a:lnTo>
                  <a:lnTo>
                    <a:pt x="10961" y="23877"/>
                  </a:lnTo>
                  <a:lnTo>
                    <a:pt x="12256" y="24076"/>
                  </a:lnTo>
                  <a:lnTo>
                    <a:pt x="14947" y="22584"/>
                  </a:lnTo>
                  <a:lnTo>
                    <a:pt x="18733" y="19201"/>
                  </a:lnTo>
                  <a:lnTo>
                    <a:pt x="20527" y="1353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89" name="Freeform: Shape 1388">
              <a:extLst>
                <a:ext uri="{FF2B5EF4-FFF2-40B4-BE49-F238E27FC236}">
                  <a16:creationId xmlns:a16="http://schemas.microsoft.com/office/drawing/2014/main" id="{AA82E36E-4C56-40E2-8052-3F19206B29B6}"/>
                </a:ext>
              </a:extLst>
            </p:cNvPr>
            <p:cNvSpPr/>
            <p:nvPr/>
          </p:nvSpPr>
          <p:spPr>
            <a:xfrm>
              <a:off x="-2615824" y="172845"/>
              <a:ext cx="10761" cy="6765"/>
            </a:xfrm>
            <a:custGeom>
              <a:avLst/>
              <a:gdLst>
                <a:gd name="connsiteX0" fmla="*/ 2591 w 10761"/>
                <a:gd name="connsiteY0" fmla="*/ 6467 h 6765"/>
                <a:gd name="connsiteX1" fmla="*/ 4584 w 10761"/>
                <a:gd name="connsiteY1" fmla="*/ 6765 h 6765"/>
                <a:gd name="connsiteX2" fmla="*/ 6078 w 10761"/>
                <a:gd name="connsiteY2" fmla="*/ 6566 h 6765"/>
                <a:gd name="connsiteX3" fmla="*/ 6975 w 10761"/>
                <a:gd name="connsiteY3" fmla="*/ 6765 h 6765"/>
                <a:gd name="connsiteX4" fmla="*/ 8868 w 10761"/>
                <a:gd name="connsiteY4" fmla="*/ 6367 h 6765"/>
                <a:gd name="connsiteX5" fmla="*/ 10762 w 10761"/>
                <a:gd name="connsiteY5" fmla="*/ 3979 h 6765"/>
                <a:gd name="connsiteX6" fmla="*/ 10762 w 10761"/>
                <a:gd name="connsiteY6" fmla="*/ 995 h 6765"/>
                <a:gd name="connsiteX7" fmla="*/ 8370 w 10761"/>
                <a:gd name="connsiteY7" fmla="*/ 0 h 6765"/>
                <a:gd name="connsiteX8" fmla="*/ 6776 w 10761"/>
                <a:gd name="connsiteY8" fmla="*/ 99 h 6765"/>
                <a:gd name="connsiteX9" fmla="*/ 1495 w 10761"/>
                <a:gd name="connsiteY9" fmla="*/ 1592 h 6765"/>
                <a:gd name="connsiteX10" fmla="*/ 0 w 10761"/>
                <a:gd name="connsiteY10" fmla="*/ 2487 h 6765"/>
                <a:gd name="connsiteX11" fmla="*/ 199 w 10761"/>
                <a:gd name="connsiteY11" fmla="*/ 3283 h 6765"/>
                <a:gd name="connsiteX12" fmla="*/ 1495 w 10761"/>
                <a:gd name="connsiteY12" fmla="*/ 5173 h 6765"/>
                <a:gd name="connsiteX13" fmla="*/ 2591 w 10761"/>
                <a:gd name="connsiteY13" fmla="*/ 6467 h 6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61" h="6765">
                  <a:moveTo>
                    <a:pt x="2591" y="6467"/>
                  </a:moveTo>
                  <a:lnTo>
                    <a:pt x="4584" y="6765"/>
                  </a:lnTo>
                  <a:lnTo>
                    <a:pt x="6078" y="6566"/>
                  </a:lnTo>
                  <a:lnTo>
                    <a:pt x="6975" y="6765"/>
                  </a:lnTo>
                  <a:lnTo>
                    <a:pt x="8868" y="6367"/>
                  </a:lnTo>
                  <a:lnTo>
                    <a:pt x="10762" y="3979"/>
                  </a:lnTo>
                  <a:lnTo>
                    <a:pt x="10762" y="995"/>
                  </a:lnTo>
                  <a:lnTo>
                    <a:pt x="8370" y="0"/>
                  </a:lnTo>
                  <a:lnTo>
                    <a:pt x="6776" y="99"/>
                  </a:lnTo>
                  <a:lnTo>
                    <a:pt x="1495" y="1592"/>
                  </a:lnTo>
                  <a:lnTo>
                    <a:pt x="0" y="2487"/>
                  </a:lnTo>
                  <a:lnTo>
                    <a:pt x="199" y="3283"/>
                  </a:lnTo>
                  <a:lnTo>
                    <a:pt x="1495" y="5173"/>
                  </a:lnTo>
                  <a:lnTo>
                    <a:pt x="2591" y="646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0" name="Freeform: Shape 1389">
              <a:extLst>
                <a:ext uri="{FF2B5EF4-FFF2-40B4-BE49-F238E27FC236}">
                  <a16:creationId xmlns:a16="http://schemas.microsoft.com/office/drawing/2014/main" id="{11FB6BDF-442F-45CC-A58D-ACDDC99FA5DD}"/>
                </a:ext>
              </a:extLst>
            </p:cNvPr>
            <p:cNvSpPr/>
            <p:nvPr/>
          </p:nvSpPr>
          <p:spPr>
            <a:xfrm>
              <a:off x="-2702614" y="-18667"/>
              <a:ext cx="19131" cy="31736"/>
            </a:xfrm>
            <a:custGeom>
              <a:avLst/>
              <a:gdLst>
                <a:gd name="connsiteX0" fmla="*/ 12057 w 19131"/>
                <a:gd name="connsiteY0" fmla="*/ 398 h 31736"/>
                <a:gd name="connsiteX1" fmla="*/ 9665 w 19131"/>
                <a:gd name="connsiteY1" fmla="*/ 1094 h 31736"/>
                <a:gd name="connsiteX2" fmla="*/ 7573 w 19131"/>
                <a:gd name="connsiteY2" fmla="*/ 2189 h 31736"/>
                <a:gd name="connsiteX3" fmla="*/ 6875 w 19131"/>
                <a:gd name="connsiteY3" fmla="*/ 2786 h 31736"/>
                <a:gd name="connsiteX4" fmla="*/ 6078 w 19131"/>
                <a:gd name="connsiteY4" fmla="*/ 3582 h 31736"/>
                <a:gd name="connsiteX5" fmla="*/ 5480 w 19131"/>
                <a:gd name="connsiteY5" fmla="*/ 4576 h 31736"/>
                <a:gd name="connsiteX6" fmla="*/ 4085 w 19131"/>
                <a:gd name="connsiteY6" fmla="*/ 7661 h 31736"/>
                <a:gd name="connsiteX7" fmla="*/ 3886 w 19131"/>
                <a:gd name="connsiteY7" fmla="*/ 8357 h 31736"/>
                <a:gd name="connsiteX8" fmla="*/ 2391 w 19131"/>
                <a:gd name="connsiteY8" fmla="*/ 9750 h 31736"/>
                <a:gd name="connsiteX9" fmla="*/ 698 w 19131"/>
                <a:gd name="connsiteY9" fmla="*/ 13033 h 31736"/>
                <a:gd name="connsiteX10" fmla="*/ 0 w 19131"/>
                <a:gd name="connsiteY10" fmla="*/ 16316 h 31736"/>
                <a:gd name="connsiteX11" fmla="*/ 2192 w 19131"/>
                <a:gd name="connsiteY11" fmla="*/ 18903 h 31736"/>
                <a:gd name="connsiteX12" fmla="*/ 5281 w 19131"/>
                <a:gd name="connsiteY12" fmla="*/ 26165 h 31736"/>
                <a:gd name="connsiteX13" fmla="*/ 5480 w 19131"/>
                <a:gd name="connsiteY13" fmla="*/ 27757 h 31736"/>
                <a:gd name="connsiteX14" fmla="*/ 5480 w 19131"/>
                <a:gd name="connsiteY14" fmla="*/ 28851 h 31736"/>
                <a:gd name="connsiteX15" fmla="*/ 5580 w 19131"/>
                <a:gd name="connsiteY15" fmla="*/ 29846 h 31736"/>
                <a:gd name="connsiteX16" fmla="*/ 6078 w 19131"/>
                <a:gd name="connsiteY16" fmla="*/ 30941 h 31736"/>
                <a:gd name="connsiteX17" fmla="*/ 7174 w 19131"/>
                <a:gd name="connsiteY17" fmla="*/ 31537 h 31736"/>
                <a:gd name="connsiteX18" fmla="*/ 8669 w 19131"/>
                <a:gd name="connsiteY18" fmla="*/ 31736 h 31736"/>
                <a:gd name="connsiteX19" fmla="*/ 10164 w 19131"/>
                <a:gd name="connsiteY19" fmla="*/ 31637 h 31736"/>
                <a:gd name="connsiteX20" fmla="*/ 11260 w 19131"/>
                <a:gd name="connsiteY20" fmla="*/ 30941 h 31736"/>
                <a:gd name="connsiteX21" fmla="*/ 11858 w 19131"/>
                <a:gd name="connsiteY21" fmla="*/ 29647 h 31736"/>
                <a:gd name="connsiteX22" fmla="*/ 12456 w 19131"/>
                <a:gd name="connsiteY22" fmla="*/ 26364 h 31736"/>
                <a:gd name="connsiteX23" fmla="*/ 13053 w 19131"/>
                <a:gd name="connsiteY23" fmla="*/ 24872 h 31736"/>
                <a:gd name="connsiteX24" fmla="*/ 13950 w 19131"/>
                <a:gd name="connsiteY24" fmla="*/ 23976 h 31736"/>
                <a:gd name="connsiteX25" fmla="*/ 16142 w 19131"/>
                <a:gd name="connsiteY25" fmla="*/ 22882 h 31736"/>
                <a:gd name="connsiteX26" fmla="*/ 16940 w 19131"/>
                <a:gd name="connsiteY26" fmla="*/ 21987 h 31736"/>
                <a:gd name="connsiteX27" fmla="*/ 17836 w 19131"/>
                <a:gd name="connsiteY27" fmla="*/ 18306 h 31736"/>
                <a:gd name="connsiteX28" fmla="*/ 18235 w 19131"/>
                <a:gd name="connsiteY28" fmla="*/ 2388 h 31736"/>
                <a:gd name="connsiteX29" fmla="*/ 19132 w 19131"/>
                <a:gd name="connsiteY29" fmla="*/ 1094 h 31736"/>
                <a:gd name="connsiteX30" fmla="*/ 17238 w 19131"/>
                <a:gd name="connsiteY30" fmla="*/ 199 h 31736"/>
                <a:gd name="connsiteX31" fmla="*/ 14648 w 19131"/>
                <a:gd name="connsiteY31" fmla="*/ 0 h 31736"/>
                <a:gd name="connsiteX32" fmla="*/ 12057 w 19131"/>
                <a:gd name="connsiteY32" fmla="*/ 398 h 3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131" h="31736">
                  <a:moveTo>
                    <a:pt x="12057" y="398"/>
                  </a:moveTo>
                  <a:lnTo>
                    <a:pt x="9665" y="1094"/>
                  </a:lnTo>
                  <a:lnTo>
                    <a:pt x="7573" y="2189"/>
                  </a:lnTo>
                  <a:lnTo>
                    <a:pt x="6875" y="2786"/>
                  </a:lnTo>
                  <a:lnTo>
                    <a:pt x="6078" y="3582"/>
                  </a:lnTo>
                  <a:lnTo>
                    <a:pt x="5480" y="4576"/>
                  </a:lnTo>
                  <a:lnTo>
                    <a:pt x="4085" y="7661"/>
                  </a:lnTo>
                  <a:lnTo>
                    <a:pt x="3886" y="8357"/>
                  </a:lnTo>
                  <a:lnTo>
                    <a:pt x="2391" y="9750"/>
                  </a:lnTo>
                  <a:lnTo>
                    <a:pt x="698" y="13033"/>
                  </a:lnTo>
                  <a:lnTo>
                    <a:pt x="0" y="16316"/>
                  </a:lnTo>
                  <a:lnTo>
                    <a:pt x="2192" y="18903"/>
                  </a:lnTo>
                  <a:lnTo>
                    <a:pt x="5281" y="26165"/>
                  </a:lnTo>
                  <a:lnTo>
                    <a:pt x="5480" y="27757"/>
                  </a:lnTo>
                  <a:lnTo>
                    <a:pt x="5480" y="28851"/>
                  </a:lnTo>
                  <a:lnTo>
                    <a:pt x="5580" y="29846"/>
                  </a:lnTo>
                  <a:lnTo>
                    <a:pt x="6078" y="30941"/>
                  </a:lnTo>
                  <a:lnTo>
                    <a:pt x="7174" y="31537"/>
                  </a:lnTo>
                  <a:lnTo>
                    <a:pt x="8669" y="31736"/>
                  </a:lnTo>
                  <a:lnTo>
                    <a:pt x="10164" y="31637"/>
                  </a:lnTo>
                  <a:lnTo>
                    <a:pt x="11260" y="30941"/>
                  </a:lnTo>
                  <a:lnTo>
                    <a:pt x="11858" y="29647"/>
                  </a:lnTo>
                  <a:lnTo>
                    <a:pt x="12456" y="26364"/>
                  </a:lnTo>
                  <a:lnTo>
                    <a:pt x="13053" y="24872"/>
                  </a:lnTo>
                  <a:lnTo>
                    <a:pt x="13950" y="23976"/>
                  </a:lnTo>
                  <a:lnTo>
                    <a:pt x="16142" y="22882"/>
                  </a:lnTo>
                  <a:lnTo>
                    <a:pt x="16940" y="21987"/>
                  </a:lnTo>
                  <a:lnTo>
                    <a:pt x="17836" y="18306"/>
                  </a:lnTo>
                  <a:lnTo>
                    <a:pt x="18235" y="2388"/>
                  </a:lnTo>
                  <a:lnTo>
                    <a:pt x="19132" y="1094"/>
                  </a:lnTo>
                  <a:lnTo>
                    <a:pt x="17238" y="199"/>
                  </a:lnTo>
                  <a:lnTo>
                    <a:pt x="14648" y="0"/>
                  </a:lnTo>
                  <a:lnTo>
                    <a:pt x="12057" y="3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18DF5FC8-AA25-4F29-8805-3B235BB1F95B}"/>
                </a:ext>
              </a:extLst>
            </p:cNvPr>
            <p:cNvSpPr/>
            <p:nvPr/>
          </p:nvSpPr>
          <p:spPr>
            <a:xfrm>
              <a:off x="-2396807" y="496875"/>
              <a:ext cx="10861" cy="7163"/>
            </a:xfrm>
            <a:custGeom>
              <a:avLst/>
              <a:gdLst>
                <a:gd name="connsiteX0" fmla="*/ 5979 w 10861"/>
                <a:gd name="connsiteY0" fmla="*/ 895 h 7163"/>
                <a:gd name="connsiteX1" fmla="*/ 3687 w 10861"/>
                <a:gd name="connsiteY1" fmla="*/ 0 h 7163"/>
                <a:gd name="connsiteX2" fmla="*/ 598 w 10861"/>
                <a:gd name="connsiteY2" fmla="*/ 995 h 7163"/>
                <a:gd name="connsiteX3" fmla="*/ 0 w 10861"/>
                <a:gd name="connsiteY3" fmla="*/ 1592 h 7163"/>
                <a:gd name="connsiteX4" fmla="*/ 399 w 10861"/>
                <a:gd name="connsiteY4" fmla="*/ 2587 h 7163"/>
                <a:gd name="connsiteX5" fmla="*/ 498 w 10861"/>
                <a:gd name="connsiteY5" fmla="*/ 5173 h 7163"/>
                <a:gd name="connsiteX6" fmla="*/ 5281 w 10861"/>
                <a:gd name="connsiteY6" fmla="*/ 7163 h 7163"/>
                <a:gd name="connsiteX7" fmla="*/ 10463 w 10861"/>
                <a:gd name="connsiteY7" fmla="*/ 5472 h 7163"/>
                <a:gd name="connsiteX8" fmla="*/ 10861 w 10861"/>
                <a:gd name="connsiteY8" fmla="*/ 3084 h 7163"/>
                <a:gd name="connsiteX9" fmla="*/ 8270 w 10861"/>
                <a:gd name="connsiteY9" fmla="*/ 2388 h 7163"/>
                <a:gd name="connsiteX10" fmla="*/ 5979 w 10861"/>
                <a:gd name="connsiteY10" fmla="*/ 895 h 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861" h="7163">
                  <a:moveTo>
                    <a:pt x="5979" y="895"/>
                  </a:moveTo>
                  <a:lnTo>
                    <a:pt x="3687" y="0"/>
                  </a:lnTo>
                  <a:lnTo>
                    <a:pt x="598" y="995"/>
                  </a:lnTo>
                  <a:lnTo>
                    <a:pt x="0" y="1592"/>
                  </a:lnTo>
                  <a:lnTo>
                    <a:pt x="399" y="2587"/>
                  </a:lnTo>
                  <a:lnTo>
                    <a:pt x="498" y="5173"/>
                  </a:lnTo>
                  <a:lnTo>
                    <a:pt x="5281" y="7163"/>
                  </a:lnTo>
                  <a:lnTo>
                    <a:pt x="10463" y="5472"/>
                  </a:lnTo>
                  <a:lnTo>
                    <a:pt x="10861" y="3084"/>
                  </a:lnTo>
                  <a:lnTo>
                    <a:pt x="8270" y="2388"/>
                  </a:lnTo>
                  <a:lnTo>
                    <a:pt x="5979" y="8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C63AF9A2-7CEF-4B2A-B88F-2559D4A17FDD}"/>
                </a:ext>
              </a:extLst>
            </p:cNvPr>
            <p:cNvSpPr/>
            <p:nvPr/>
          </p:nvSpPr>
          <p:spPr>
            <a:xfrm>
              <a:off x="-2727525" y="15456"/>
              <a:ext cx="10064" cy="18206"/>
            </a:xfrm>
            <a:custGeom>
              <a:avLst/>
              <a:gdLst>
                <a:gd name="connsiteX0" fmla="*/ 6975 w 10064"/>
                <a:gd name="connsiteY0" fmla="*/ 3880 h 18206"/>
                <a:gd name="connsiteX1" fmla="*/ 797 w 10064"/>
                <a:gd name="connsiteY1" fmla="*/ 8556 h 18206"/>
                <a:gd name="connsiteX2" fmla="*/ 0 w 10064"/>
                <a:gd name="connsiteY2" fmla="*/ 13331 h 18206"/>
                <a:gd name="connsiteX3" fmla="*/ 1794 w 10064"/>
                <a:gd name="connsiteY3" fmla="*/ 16714 h 18206"/>
                <a:gd name="connsiteX4" fmla="*/ 4883 w 10064"/>
                <a:gd name="connsiteY4" fmla="*/ 14824 h 18206"/>
                <a:gd name="connsiteX5" fmla="*/ 5979 w 10064"/>
                <a:gd name="connsiteY5" fmla="*/ 18206 h 18206"/>
                <a:gd name="connsiteX6" fmla="*/ 7673 w 10064"/>
                <a:gd name="connsiteY6" fmla="*/ 17510 h 18206"/>
                <a:gd name="connsiteX7" fmla="*/ 8868 w 10064"/>
                <a:gd name="connsiteY7" fmla="*/ 13331 h 18206"/>
                <a:gd name="connsiteX8" fmla="*/ 9167 w 10064"/>
                <a:gd name="connsiteY8" fmla="*/ 8755 h 18206"/>
                <a:gd name="connsiteX9" fmla="*/ 10064 w 10064"/>
                <a:gd name="connsiteY9" fmla="*/ 3482 h 18206"/>
                <a:gd name="connsiteX10" fmla="*/ 9566 w 10064"/>
                <a:gd name="connsiteY10" fmla="*/ 0 h 18206"/>
                <a:gd name="connsiteX11" fmla="*/ 7673 w 10064"/>
                <a:gd name="connsiteY11" fmla="*/ 1393 h 18206"/>
                <a:gd name="connsiteX12" fmla="*/ 6975 w 10064"/>
                <a:gd name="connsiteY12" fmla="*/ 3880 h 18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64" h="18206">
                  <a:moveTo>
                    <a:pt x="6975" y="3880"/>
                  </a:moveTo>
                  <a:lnTo>
                    <a:pt x="797" y="8556"/>
                  </a:lnTo>
                  <a:lnTo>
                    <a:pt x="0" y="13331"/>
                  </a:lnTo>
                  <a:lnTo>
                    <a:pt x="1794" y="16714"/>
                  </a:lnTo>
                  <a:lnTo>
                    <a:pt x="4883" y="14824"/>
                  </a:lnTo>
                  <a:lnTo>
                    <a:pt x="5979" y="18206"/>
                  </a:lnTo>
                  <a:lnTo>
                    <a:pt x="7673" y="17510"/>
                  </a:lnTo>
                  <a:lnTo>
                    <a:pt x="8868" y="13331"/>
                  </a:lnTo>
                  <a:lnTo>
                    <a:pt x="9167" y="8755"/>
                  </a:lnTo>
                  <a:lnTo>
                    <a:pt x="10064" y="3482"/>
                  </a:lnTo>
                  <a:lnTo>
                    <a:pt x="9566" y="0"/>
                  </a:lnTo>
                  <a:lnTo>
                    <a:pt x="7673" y="1393"/>
                  </a:lnTo>
                  <a:lnTo>
                    <a:pt x="6975" y="388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C81B0C92-1A85-48D1-8A3F-02F66BF1B2DF}"/>
                </a:ext>
              </a:extLst>
            </p:cNvPr>
            <p:cNvSpPr/>
            <p:nvPr/>
          </p:nvSpPr>
          <p:spPr>
            <a:xfrm>
              <a:off x="-2536607" y="381569"/>
              <a:ext cx="24014" cy="7959"/>
            </a:xfrm>
            <a:custGeom>
              <a:avLst/>
              <a:gdLst>
                <a:gd name="connsiteX0" fmla="*/ 10463 w 24014"/>
                <a:gd name="connsiteY0" fmla="*/ 5173 h 7959"/>
                <a:gd name="connsiteX1" fmla="*/ 11858 w 24014"/>
                <a:gd name="connsiteY1" fmla="*/ 4676 h 7959"/>
                <a:gd name="connsiteX2" fmla="*/ 13552 w 24014"/>
                <a:gd name="connsiteY2" fmla="*/ 4676 h 7959"/>
                <a:gd name="connsiteX3" fmla="*/ 16541 w 24014"/>
                <a:gd name="connsiteY3" fmla="*/ 5671 h 7959"/>
                <a:gd name="connsiteX4" fmla="*/ 17936 w 24014"/>
                <a:gd name="connsiteY4" fmla="*/ 5969 h 7959"/>
                <a:gd name="connsiteX5" fmla="*/ 24014 w 24014"/>
                <a:gd name="connsiteY5" fmla="*/ 4079 h 7959"/>
                <a:gd name="connsiteX6" fmla="*/ 23715 w 24014"/>
                <a:gd name="connsiteY6" fmla="*/ 2587 h 7959"/>
                <a:gd name="connsiteX7" fmla="*/ 22918 w 24014"/>
                <a:gd name="connsiteY7" fmla="*/ 1293 h 7959"/>
                <a:gd name="connsiteX8" fmla="*/ 21722 w 24014"/>
                <a:gd name="connsiteY8" fmla="*/ 299 h 7959"/>
                <a:gd name="connsiteX9" fmla="*/ 20527 w 24014"/>
                <a:gd name="connsiteY9" fmla="*/ 0 h 7959"/>
                <a:gd name="connsiteX10" fmla="*/ 17238 w 24014"/>
                <a:gd name="connsiteY10" fmla="*/ 199 h 7959"/>
                <a:gd name="connsiteX11" fmla="*/ 15544 w 24014"/>
                <a:gd name="connsiteY11" fmla="*/ 1094 h 7959"/>
                <a:gd name="connsiteX12" fmla="*/ 5082 w 24014"/>
                <a:gd name="connsiteY12" fmla="*/ 4377 h 7959"/>
                <a:gd name="connsiteX13" fmla="*/ 2192 w 24014"/>
                <a:gd name="connsiteY13" fmla="*/ 4875 h 7959"/>
                <a:gd name="connsiteX14" fmla="*/ 1096 w 24014"/>
                <a:gd name="connsiteY14" fmla="*/ 5671 h 7959"/>
                <a:gd name="connsiteX15" fmla="*/ 0 w 24014"/>
                <a:gd name="connsiteY15" fmla="*/ 7959 h 7959"/>
                <a:gd name="connsiteX16" fmla="*/ 0 w 24014"/>
                <a:gd name="connsiteY16" fmla="*/ 7959 h 7959"/>
                <a:gd name="connsiteX17" fmla="*/ 7673 w 24014"/>
                <a:gd name="connsiteY17" fmla="*/ 6666 h 7959"/>
                <a:gd name="connsiteX18" fmla="*/ 10463 w 24014"/>
                <a:gd name="connsiteY18" fmla="*/ 5173 h 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4014" h="7959">
                  <a:moveTo>
                    <a:pt x="10463" y="5173"/>
                  </a:moveTo>
                  <a:lnTo>
                    <a:pt x="11858" y="4676"/>
                  </a:lnTo>
                  <a:lnTo>
                    <a:pt x="13552" y="4676"/>
                  </a:lnTo>
                  <a:lnTo>
                    <a:pt x="16541" y="5671"/>
                  </a:lnTo>
                  <a:lnTo>
                    <a:pt x="17936" y="5969"/>
                  </a:lnTo>
                  <a:lnTo>
                    <a:pt x="24014" y="4079"/>
                  </a:lnTo>
                  <a:lnTo>
                    <a:pt x="23715" y="2587"/>
                  </a:lnTo>
                  <a:lnTo>
                    <a:pt x="22918" y="1293"/>
                  </a:lnTo>
                  <a:lnTo>
                    <a:pt x="21722" y="299"/>
                  </a:lnTo>
                  <a:lnTo>
                    <a:pt x="20527" y="0"/>
                  </a:lnTo>
                  <a:lnTo>
                    <a:pt x="17238" y="199"/>
                  </a:lnTo>
                  <a:lnTo>
                    <a:pt x="15544" y="1094"/>
                  </a:lnTo>
                  <a:lnTo>
                    <a:pt x="5082" y="4377"/>
                  </a:lnTo>
                  <a:lnTo>
                    <a:pt x="2192" y="4875"/>
                  </a:lnTo>
                  <a:lnTo>
                    <a:pt x="1096" y="5671"/>
                  </a:lnTo>
                  <a:lnTo>
                    <a:pt x="0" y="7959"/>
                  </a:lnTo>
                  <a:lnTo>
                    <a:pt x="0" y="7959"/>
                  </a:lnTo>
                  <a:lnTo>
                    <a:pt x="7673" y="6666"/>
                  </a:lnTo>
                  <a:lnTo>
                    <a:pt x="10463" y="517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63F8D2DA-EECB-41D9-97B1-88514969DEB1}"/>
                </a:ext>
              </a:extLst>
            </p:cNvPr>
            <p:cNvSpPr/>
            <p:nvPr/>
          </p:nvSpPr>
          <p:spPr>
            <a:xfrm>
              <a:off x="-2510202" y="421961"/>
              <a:ext cx="2092" cy="1293"/>
            </a:xfrm>
            <a:custGeom>
              <a:avLst/>
              <a:gdLst>
                <a:gd name="connsiteX0" fmla="*/ 1993 w 2092"/>
                <a:gd name="connsiteY0" fmla="*/ 0 h 1293"/>
                <a:gd name="connsiteX1" fmla="*/ 996 w 2092"/>
                <a:gd name="connsiteY1" fmla="*/ 199 h 1293"/>
                <a:gd name="connsiteX2" fmla="*/ 0 w 2092"/>
                <a:gd name="connsiteY2" fmla="*/ 497 h 1293"/>
                <a:gd name="connsiteX3" fmla="*/ 2093 w 2092"/>
                <a:gd name="connsiteY3" fmla="*/ 1293 h 1293"/>
                <a:gd name="connsiteX4" fmla="*/ 2093 w 2092"/>
                <a:gd name="connsiteY4" fmla="*/ 1194 h 1293"/>
                <a:gd name="connsiteX5" fmla="*/ 1993 w 2092"/>
                <a:gd name="connsiteY5" fmla="*/ 0 h 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2" h="1293">
                  <a:moveTo>
                    <a:pt x="1993" y="0"/>
                  </a:moveTo>
                  <a:lnTo>
                    <a:pt x="996" y="199"/>
                  </a:lnTo>
                  <a:lnTo>
                    <a:pt x="0" y="497"/>
                  </a:lnTo>
                  <a:lnTo>
                    <a:pt x="2093" y="1293"/>
                  </a:lnTo>
                  <a:lnTo>
                    <a:pt x="2093" y="1194"/>
                  </a:lnTo>
                  <a:lnTo>
                    <a:pt x="1993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5E065099-7EBA-435F-BED4-16B168A2B542}"/>
                </a:ext>
              </a:extLst>
            </p:cNvPr>
            <p:cNvSpPr/>
            <p:nvPr/>
          </p:nvSpPr>
          <p:spPr>
            <a:xfrm>
              <a:off x="-2652693" y="-58065"/>
              <a:ext cx="88185" cy="82176"/>
            </a:xfrm>
            <a:custGeom>
              <a:avLst/>
              <a:gdLst>
                <a:gd name="connsiteX0" fmla="*/ 74633 w 88185"/>
                <a:gd name="connsiteY0" fmla="*/ 6566 h 82176"/>
                <a:gd name="connsiteX1" fmla="*/ 71943 w 88185"/>
                <a:gd name="connsiteY1" fmla="*/ 11839 h 82176"/>
                <a:gd name="connsiteX2" fmla="*/ 65964 w 88185"/>
                <a:gd name="connsiteY2" fmla="*/ 14724 h 82176"/>
                <a:gd name="connsiteX3" fmla="*/ 59986 w 88185"/>
                <a:gd name="connsiteY3" fmla="*/ 16614 h 82176"/>
                <a:gd name="connsiteX4" fmla="*/ 57295 w 88185"/>
                <a:gd name="connsiteY4" fmla="*/ 18604 h 82176"/>
                <a:gd name="connsiteX5" fmla="*/ 56598 w 88185"/>
                <a:gd name="connsiteY5" fmla="*/ 22285 h 82176"/>
                <a:gd name="connsiteX6" fmla="*/ 54705 w 88185"/>
                <a:gd name="connsiteY6" fmla="*/ 22683 h 82176"/>
                <a:gd name="connsiteX7" fmla="*/ 52114 w 88185"/>
                <a:gd name="connsiteY7" fmla="*/ 21788 h 82176"/>
                <a:gd name="connsiteX8" fmla="*/ 49324 w 88185"/>
                <a:gd name="connsiteY8" fmla="*/ 21390 h 82176"/>
                <a:gd name="connsiteX9" fmla="*/ 47032 w 88185"/>
                <a:gd name="connsiteY9" fmla="*/ 22783 h 82176"/>
                <a:gd name="connsiteX10" fmla="*/ 44740 w 88185"/>
                <a:gd name="connsiteY10" fmla="*/ 24872 h 82176"/>
                <a:gd name="connsiteX11" fmla="*/ 42149 w 88185"/>
                <a:gd name="connsiteY11" fmla="*/ 26165 h 82176"/>
                <a:gd name="connsiteX12" fmla="*/ 38961 w 88185"/>
                <a:gd name="connsiteY12" fmla="*/ 25170 h 82176"/>
                <a:gd name="connsiteX13" fmla="*/ 39260 w 88185"/>
                <a:gd name="connsiteY13" fmla="*/ 24374 h 82176"/>
                <a:gd name="connsiteX14" fmla="*/ 35972 w 88185"/>
                <a:gd name="connsiteY14" fmla="*/ 25369 h 82176"/>
                <a:gd name="connsiteX15" fmla="*/ 33979 w 88185"/>
                <a:gd name="connsiteY15" fmla="*/ 26663 h 82176"/>
                <a:gd name="connsiteX16" fmla="*/ 33779 w 88185"/>
                <a:gd name="connsiteY16" fmla="*/ 28155 h 82176"/>
                <a:gd name="connsiteX17" fmla="*/ 33281 w 88185"/>
                <a:gd name="connsiteY17" fmla="*/ 29548 h 82176"/>
                <a:gd name="connsiteX18" fmla="*/ 31986 w 88185"/>
                <a:gd name="connsiteY18" fmla="*/ 30642 h 82176"/>
                <a:gd name="connsiteX19" fmla="*/ 30591 w 88185"/>
                <a:gd name="connsiteY19" fmla="*/ 31438 h 82176"/>
                <a:gd name="connsiteX20" fmla="*/ 29495 w 88185"/>
                <a:gd name="connsiteY20" fmla="*/ 32333 h 82176"/>
                <a:gd name="connsiteX21" fmla="*/ 27302 w 88185"/>
                <a:gd name="connsiteY21" fmla="*/ 35119 h 82176"/>
                <a:gd name="connsiteX22" fmla="*/ 25609 w 88185"/>
                <a:gd name="connsiteY22" fmla="*/ 36611 h 82176"/>
                <a:gd name="connsiteX23" fmla="*/ 24214 w 88185"/>
                <a:gd name="connsiteY23" fmla="*/ 36014 h 82176"/>
                <a:gd name="connsiteX24" fmla="*/ 22619 w 88185"/>
                <a:gd name="connsiteY24" fmla="*/ 32333 h 82176"/>
                <a:gd name="connsiteX25" fmla="*/ 22420 w 88185"/>
                <a:gd name="connsiteY25" fmla="*/ 30244 h 82176"/>
                <a:gd name="connsiteX26" fmla="*/ 22420 w 88185"/>
                <a:gd name="connsiteY26" fmla="*/ 30145 h 82176"/>
                <a:gd name="connsiteX27" fmla="*/ 19231 w 88185"/>
                <a:gd name="connsiteY27" fmla="*/ 30642 h 82176"/>
                <a:gd name="connsiteX28" fmla="*/ 16142 w 88185"/>
                <a:gd name="connsiteY28" fmla="*/ 35815 h 82176"/>
                <a:gd name="connsiteX29" fmla="*/ 13651 w 88185"/>
                <a:gd name="connsiteY29" fmla="*/ 36313 h 82176"/>
                <a:gd name="connsiteX30" fmla="*/ 10463 w 88185"/>
                <a:gd name="connsiteY30" fmla="*/ 40093 h 82176"/>
                <a:gd name="connsiteX31" fmla="*/ 7673 w 88185"/>
                <a:gd name="connsiteY31" fmla="*/ 44869 h 82176"/>
                <a:gd name="connsiteX32" fmla="*/ 6577 w 88185"/>
                <a:gd name="connsiteY32" fmla="*/ 48251 h 82176"/>
                <a:gd name="connsiteX33" fmla="*/ 7075 w 88185"/>
                <a:gd name="connsiteY33" fmla="*/ 53524 h 82176"/>
                <a:gd name="connsiteX34" fmla="*/ 7473 w 88185"/>
                <a:gd name="connsiteY34" fmla="*/ 53624 h 82176"/>
                <a:gd name="connsiteX35" fmla="*/ 6875 w 88185"/>
                <a:gd name="connsiteY35" fmla="*/ 54718 h 82176"/>
                <a:gd name="connsiteX36" fmla="*/ 6278 w 88185"/>
                <a:gd name="connsiteY36" fmla="*/ 55116 h 82176"/>
                <a:gd name="connsiteX37" fmla="*/ 5480 w 88185"/>
                <a:gd name="connsiteY37" fmla="*/ 55315 h 82176"/>
                <a:gd name="connsiteX38" fmla="*/ 4783 w 88185"/>
                <a:gd name="connsiteY38" fmla="*/ 56011 h 82176"/>
                <a:gd name="connsiteX39" fmla="*/ 3687 w 88185"/>
                <a:gd name="connsiteY39" fmla="*/ 58001 h 82176"/>
                <a:gd name="connsiteX40" fmla="*/ 3089 w 88185"/>
                <a:gd name="connsiteY40" fmla="*/ 59593 h 82176"/>
                <a:gd name="connsiteX41" fmla="*/ 299 w 88185"/>
                <a:gd name="connsiteY41" fmla="*/ 73820 h 82176"/>
                <a:gd name="connsiteX42" fmla="*/ 0 w 88185"/>
                <a:gd name="connsiteY42" fmla="*/ 79590 h 82176"/>
                <a:gd name="connsiteX43" fmla="*/ 1794 w 88185"/>
                <a:gd name="connsiteY43" fmla="*/ 82177 h 82176"/>
                <a:gd name="connsiteX44" fmla="*/ 3786 w 88185"/>
                <a:gd name="connsiteY44" fmla="*/ 81878 h 82176"/>
                <a:gd name="connsiteX45" fmla="*/ 8270 w 88185"/>
                <a:gd name="connsiteY45" fmla="*/ 79789 h 82176"/>
                <a:gd name="connsiteX46" fmla="*/ 10463 w 88185"/>
                <a:gd name="connsiteY46" fmla="*/ 79093 h 82176"/>
                <a:gd name="connsiteX47" fmla="*/ 16939 w 88185"/>
                <a:gd name="connsiteY47" fmla="*/ 78595 h 82176"/>
                <a:gd name="connsiteX48" fmla="*/ 19730 w 88185"/>
                <a:gd name="connsiteY48" fmla="*/ 77899 h 82176"/>
                <a:gd name="connsiteX49" fmla="*/ 23317 w 88185"/>
                <a:gd name="connsiteY49" fmla="*/ 76108 h 82176"/>
                <a:gd name="connsiteX50" fmla="*/ 25907 w 88185"/>
                <a:gd name="connsiteY50" fmla="*/ 73322 h 82176"/>
                <a:gd name="connsiteX51" fmla="*/ 25210 w 88185"/>
                <a:gd name="connsiteY51" fmla="*/ 69741 h 82176"/>
                <a:gd name="connsiteX52" fmla="*/ 24911 w 88185"/>
                <a:gd name="connsiteY52" fmla="*/ 66557 h 82176"/>
                <a:gd name="connsiteX53" fmla="*/ 26505 w 88185"/>
                <a:gd name="connsiteY53" fmla="*/ 62379 h 82176"/>
                <a:gd name="connsiteX54" fmla="*/ 32982 w 88185"/>
                <a:gd name="connsiteY54" fmla="*/ 50142 h 82176"/>
                <a:gd name="connsiteX55" fmla="*/ 35174 w 88185"/>
                <a:gd name="connsiteY55" fmla="*/ 48351 h 82176"/>
                <a:gd name="connsiteX56" fmla="*/ 38263 w 88185"/>
                <a:gd name="connsiteY56" fmla="*/ 47754 h 82176"/>
                <a:gd name="connsiteX57" fmla="*/ 39060 w 88185"/>
                <a:gd name="connsiteY57" fmla="*/ 46958 h 82176"/>
                <a:gd name="connsiteX58" fmla="*/ 40256 w 88185"/>
                <a:gd name="connsiteY58" fmla="*/ 43377 h 82176"/>
                <a:gd name="connsiteX59" fmla="*/ 41253 w 88185"/>
                <a:gd name="connsiteY59" fmla="*/ 41785 h 82176"/>
                <a:gd name="connsiteX60" fmla="*/ 42548 w 88185"/>
                <a:gd name="connsiteY60" fmla="*/ 41188 h 82176"/>
                <a:gd name="connsiteX61" fmla="*/ 45936 w 88185"/>
                <a:gd name="connsiteY61" fmla="*/ 40889 h 82176"/>
                <a:gd name="connsiteX62" fmla="*/ 47331 w 88185"/>
                <a:gd name="connsiteY62" fmla="*/ 40491 h 82176"/>
                <a:gd name="connsiteX63" fmla="*/ 53011 w 88185"/>
                <a:gd name="connsiteY63" fmla="*/ 37606 h 82176"/>
                <a:gd name="connsiteX64" fmla="*/ 55701 w 88185"/>
                <a:gd name="connsiteY64" fmla="*/ 35418 h 82176"/>
                <a:gd name="connsiteX65" fmla="*/ 56897 w 88185"/>
                <a:gd name="connsiteY65" fmla="*/ 32831 h 82176"/>
                <a:gd name="connsiteX66" fmla="*/ 62078 w 88185"/>
                <a:gd name="connsiteY66" fmla="*/ 29846 h 82176"/>
                <a:gd name="connsiteX67" fmla="*/ 63075 w 88185"/>
                <a:gd name="connsiteY67" fmla="*/ 29946 h 82176"/>
                <a:gd name="connsiteX68" fmla="*/ 65267 w 88185"/>
                <a:gd name="connsiteY68" fmla="*/ 30941 h 82176"/>
                <a:gd name="connsiteX69" fmla="*/ 66463 w 88185"/>
                <a:gd name="connsiteY69" fmla="*/ 31040 h 82176"/>
                <a:gd name="connsiteX70" fmla="*/ 66961 w 88185"/>
                <a:gd name="connsiteY70" fmla="*/ 30642 h 82176"/>
                <a:gd name="connsiteX71" fmla="*/ 67658 w 88185"/>
                <a:gd name="connsiteY71" fmla="*/ 29249 h 82176"/>
                <a:gd name="connsiteX72" fmla="*/ 68256 w 88185"/>
                <a:gd name="connsiteY72" fmla="*/ 28752 h 82176"/>
                <a:gd name="connsiteX73" fmla="*/ 79317 w 88185"/>
                <a:gd name="connsiteY73" fmla="*/ 23877 h 82176"/>
                <a:gd name="connsiteX74" fmla="*/ 84199 w 88185"/>
                <a:gd name="connsiteY74" fmla="*/ 19699 h 82176"/>
                <a:gd name="connsiteX75" fmla="*/ 88185 w 88185"/>
                <a:gd name="connsiteY75" fmla="*/ 13232 h 82176"/>
                <a:gd name="connsiteX76" fmla="*/ 84299 w 88185"/>
                <a:gd name="connsiteY76" fmla="*/ 10546 h 82176"/>
                <a:gd name="connsiteX77" fmla="*/ 83900 w 88185"/>
                <a:gd name="connsiteY77" fmla="*/ 7462 h 82176"/>
                <a:gd name="connsiteX78" fmla="*/ 84498 w 88185"/>
                <a:gd name="connsiteY78" fmla="*/ 3880 h 82176"/>
                <a:gd name="connsiteX79" fmla="*/ 83900 w 88185"/>
                <a:gd name="connsiteY79" fmla="*/ 0 h 82176"/>
                <a:gd name="connsiteX80" fmla="*/ 77324 w 88185"/>
                <a:gd name="connsiteY80" fmla="*/ 2587 h 82176"/>
                <a:gd name="connsiteX81" fmla="*/ 74633 w 88185"/>
                <a:gd name="connsiteY81" fmla="*/ 6566 h 82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88185" h="82176">
                  <a:moveTo>
                    <a:pt x="74633" y="6566"/>
                  </a:moveTo>
                  <a:lnTo>
                    <a:pt x="71943" y="11839"/>
                  </a:lnTo>
                  <a:lnTo>
                    <a:pt x="65964" y="14724"/>
                  </a:lnTo>
                  <a:lnTo>
                    <a:pt x="59986" y="16614"/>
                  </a:lnTo>
                  <a:lnTo>
                    <a:pt x="57295" y="18604"/>
                  </a:lnTo>
                  <a:lnTo>
                    <a:pt x="56598" y="22285"/>
                  </a:lnTo>
                  <a:lnTo>
                    <a:pt x="54705" y="22683"/>
                  </a:lnTo>
                  <a:lnTo>
                    <a:pt x="52114" y="21788"/>
                  </a:lnTo>
                  <a:lnTo>
                    <a:pt x="49324" y="21390"/>
                  </a:lnTo>
                  <a:lnTo>
                    <a:pt x="47032" y="22783"/>
                  </a:lnTo>
                  <a:lnTo>
                    <a:pt x="44740" y="24872"/>
                  </a:lnTo>
                  <a:lnTo>
                    <a:pt x="42149" y="26165"/>
                  </a:lnTo>
                  <a:lnTo>
                    <a:pt x="38961" y="25170"/>
                  </a:lnTo>
                  <a:lnTo>
                    <a:pt x="39260" y="24374"/>
                  </a:lnTo>
                  <a:lnTo>
                    <a:pt x="35972" y="25369"/>
                  </a:lnTo>
                  <a:lnTo>
                    <a:pt x="33979" y="26663"/>
                  </a:lnTo>
                  <a:lnTo>
                    <a:pt x="33779" y="28155"/>
                  </a:lnTo>
                  <a:lnTo>
                    <a:pt x="33281" y="29548"/>
                  </a:lnTo>
                  <a:lnTo>
                    <a:pt x="31986" y="30642"/>
                  </a:lnTo>
                  <a:lnTo>
                    <a:pt x="30591" y="31438"/>
                  </a:lnTo>
                  <a:lnTo>
                    <a:pt x="29495" y="32333"/>
                  </a:lnTo>
                  <a:lnTo>
                    <a:pt x="27302" y="35119"/>
                  </a:lnTo>
                  <a:lnTo>
                    <a:pt x="25609" y="36611"/>
                  </a:lnTo>
                  <a:lnTo>
                    <a:pt x="24214" y="36014"/>
                  </a:lnTo>
                  <a:lnTo>
                    <a:pt x="22619" y="32333"/>
                  </a:lnTo>
                  <a:lnTo>
                    <a:pt x="22420" y="30244"/>
                  </a:lnTo>
                  <a:lnTo>
                    <a:pt x="22420" y="30145"/>
                  </a:lnTo>
                  <a:lnTo>
                    <a:pt x="19231" y="30642"/>
                  </a:lnTo>
                  <a:lnTo>
                    <a:pt x="16142" y="35815"/>
                  </a:lnTo>
                  <a:lnTo>
                    <a:pt x="13651" y="36313"/>
                  </a:lnTo>
                  <a:lnTo>
                    <a:pt x="10463" y="40093"/>
                  </a:lnTo>
                  <a:lnTo>
                    <a:pt x="7673" y="44869"/>
                  </a:lnTo>
                  <a:lnTo>
                    <a:pt x="6577" y="48251"/>
                  </a:lnTo>
                  <a:lnTo>
                    <a:pt x="7075" y="53524"/>
                  </a:lnTo>
                  <a:lnTo>
                    <a:pt x="7473" y="53624"/>
                  </a:lnTo>
                  <a:lnTo>
                    <a:pt x="6875" y="54718"/>
                  </a:lnTo>
                  <a:lnTo>
                    <a:pt x="6278" y="55116"/>
                  </a:lnTo>
                  <a:lnTo>
                    <a:pt x="5480" y="55315"/>
                  </a:lnTo>
                  <a:lnTo>
                    <a:pt x="4783" y="56011"/>
                  </a:lnTo>
                  <a:lnTo>
                    <a:pt x="3687" y="58001"/>
                  </a:lnTo>
                  <a:lnTo>
                    <a:pt x="3089" y="59593"/>
                  </a:lnTo>
                  <a:lnTo>
                    <a:pt x="299" y="73820"/>
                  </a:lnTo>
                  <a:lnTo>
                    <a:pt x="0" y="79590"/>
                  </a:lnTo>
                  <a:lnTo>
                    <a:pt x="1794" y="82177"/>
                  </a:lnTo>
                  <a:lnTo>
                    <a:pt x="3786" y="81878"/>
                  </a:lnTo>
                  <a:lnTo>
                    <a:pt x="8270" y="79789"/>
                  </a:lnTo>
                  <a:lnTo>
                    <a:pt x="10463" y="79093"/>
                  </a:lnTo>
                  <a:lnTo>
                    <a:pt x="16939" y="78595"/>
                  </a:lnTo>
                  <a:lnTo>
                    <a:pt x="19730" y="77899"/>
                  </a:lnTo>
                  <a:lnTo>
                    <a:pt x="23317" y="76108"/>
                  </a:lnTo>
                  <a:lnTo>
                    <a:pt x="25907" y="73322"/>
                  </a:lnTo>
                  <a:lnTo>
                    <a:pt x="25210" y="69741"/>
                  </a:lnTo>
                  <a:lnTo>
                    <a:pt x="24911" y="66557"/>
                  </a:lnTo>
                  <a:lnTo>
                    <a:pt x="26505" y="62379"/>
                  </a:lnTo>
                  <a:lnTo>
                    <a:pt x="32982" y="50142"/>
                  </a:lnTo>
                  <a:lnTo>
                    <a:pt x="35174" y="48351"/>
                  </a:lnTo>
                  <a:lnTo>
                    <a:pt x="38263" y="47754"/>
                  </a:lnTo>
                  <a:lnTo>
                    <a:pt x="39060" y="46958"/>
                  </a:lnTo>
                  <a:lnTo>
                    <a:pt x="40256" y="43377"/>
                  </a:lnTo>
                  <a:lnTo>
                    <a:pt x="41253" y="41785"/>
                  </a:lnTo>
                  <a:lnTo>
                    <a:pt x="42548" y="41188"/>
                  </a:lnTo>
                  <a:lnTo>
                    <a:pt x="45936" y="40889"/>
                  </a:lnTo>
                  <a:lnTo>
                    <a:pt x="47331" y="40491"/>
                  </a:lnTo>
                  <a:lnTo>
                    <a:pt x="53011" y="37606"/>
                  </a:lnTo>
                  <a:lnTo>
                    <a:pt x="55701" y="35418"/>
                  </a:lnTo>
                  <a:lnTo>
                    <a:pt x="56897" y="32831"/>
                  </a:lnTo>
                  <a:lnTo>
                    <a:pt x="62078" y="29846"/>
                  </a:lnTo>
                  <a:lnTo>
                    <a:pt x="63075" y="29946"/>
                  </a:lnTo>
                  <a:lnTo>
                    <a:pt x="65267" y="30941"/>
                  </a:lnTo>
                  <a:lnTo>
                    <a:pt x="66463" y="31040"/>
                  </a:lnTo>
                  <a:lnTo>
                    <a:pt x="66961" y="30642"/>
                  </a:lnTo>
                  <a:lnTo>
                    <a:pt x="67658" y="29249"/>
                  </a:lnTo>
                  <a:lnTo>
                    <a:pt x="68256" y="28752"/>
                  </a:lnTo>
                  <a:lnTo>
                    <a:pt x="79317" y="23877"/>
                  </a:lnTo>
                  <a:lnTo>
                    <a:pt x="84199" y="19699"/>
                  </a:lnTo>
                  <a:lnTo>
                    <a:pt x="88185" y="13232"/>
                  </a:lnTo>
                  <a:lnTo>
                    <a:pt x="84299" y="10546"/>
                  </a:lnTo>
                  <a:lnTo>
                    <a:pt x="83900" y="7462"/>
                  </a:lnTo>
                  <a:lnTo>
                    <a:pt x="84498" y="3880"/>
                  </a:lnTo>
                  <a:lnTo>
                    <a:pt x="83900" y="0"/>
                  </a:lnTo>
                  <a:lnTo>
                    <a:pt x="77324" y="2587"/>
                  </a:lnTo>
                  <a:lnTo>
                    <a:pt x="74633" y="656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53499149-938B-4C64-A9DF-BE6BA00840FD}"/>
                </a:ext>
              </a:extLst>
            </p:cNvPr>
            <p:cNvSpPr/>
            <p:nvPr/>
          </p:nvSpPr>
          <p:spPr>
            <a:xfrm>
              <a:off x="-2613732" y="-59656"/>
              <a:ext cx="44939" cy="27757"/>
            </a:xfrm>
            <a:custGeom>
              <a:avLst/>
              <a:gdLst>
                <a:gd name="connsiteX0" fmla="*/ 42648 w 44939"/>
                <a:gd name="connsiteY0" fmla="*/ 0 h 27757"/>
                <a:gd name="connsiteX1" fmla="*/ 41153 w 44939"/>
                <a:gd name="connsiteY1" fmla="*/ 0 h 27757"/>
                <a:gd name="connsiteX2" fmla="*/ 37964 w 44939"/>
                <a:gd name="connsiteY2" fmla="*/ 2786 h 27757"/>
                <a:gd name="connsiteX3" fmla="*/ 35972 w 44939"/>
                <a:gd name="connsiteY3" fmla="*/ 3880 h 27757"/>
                <a:gd name="connsiteX4" fmla="*/ 22918 w 44939"/>
                <a:gd name="connsiteY4" fmla="*/ 7462 h 27757"/>
                <a:gd name="connsiteX5" fmla="*/ 20726 w 44939"/>
                <a:gd name="connsiteY5" fmla="*/ 8456 h 27757"/>
                <a:gd name="connsiteX6" fmla="*/ 18833 w 44939"/>
                <a:gd name="connsiteY6" fmla="*/ 10048 h 27757"/>
                <a:gd name="connsiteX7" fmla="*/ 17737 w 44939"/>
                <a:gd name="connsiteY7" fmla="*/ 12038 h 27757"/>
                <a:gd name="connsiteX8" fmla="*/ 16541 w 44939"/>
                <a:gd name="connsiteY8" fmla="*/ 14824 h 27757"/>
                <a:gd name="connsiteX9" fmla="*/ 15146 w 44939"/>
                <a:gd name="connsiteY9" fmla="*/ 17311 h 27757"/>
                <a:gd name="connsiteX10" fmla="*/ 12157 w 44939"/>
                <a:gd name="connsiteY10" fmla="*/ 18903 h 27757"/>
                <a:gd name="connsiteX11" fmla="*/ 10562 w 44939"/>
                <a:gd name="connsiteY11" fmla="*/ 21290 h 27757"/>
                <a:gd name="connsiteX12" fmla="*/ 9267 w 44939"/>
                <a:gd name="connsiteY12" fmla="*/ 21887 h 27757"/>
                <a:gd name="connsiteX13" fmla="*/ 6676 w 44939"/>
                <a:gd name="connsiteY13" fmla="*/ 22186 h 27757"/>
                <a:gd name="connsiteX14" fmla="*/ 5480 w 44939"/>
                <a:gd name="connsiteY14" fmla="*/ 22683 h 27757"/>
                <a:gd name="connsiteX15" fmla="*/ 2192 w 44939"/>
                <a:gd name="connsiteY15" fmla="*/ 25369 h 27757"/>
                <a:gd name="connsiteX16" fmla="*/ 299 w 44939"/>
                <a:gd name="connsiteY16" fmla="*/ 25966 h 27757"/>
                <a:gd name="connsiteX17" fmla="*/ 0 w 44939"/>
                <a:gd name="connsiteY17" fmla="*/ 26762 h 27757"/>
                <a:gd name="connsiteX18" fmla="*/ 3189 w 44939"/>
                <a:gd name="connsiteY18" fmla="*/ 27757 h 27757"/>
                <a:gd name="connsiteX19" fmla="*/ 5779 w 44939"/>
                <a:gd name="connsiteY19" fmla="*/ 26464 h 27757"/>
                <a:gd name="connsiteX20" fmla="*/ 8071 w 44939"/>
                <a:gd name="connsiteY20" fmla="*/ 24374 h 27757"/>
                <a:gd name="connsiteX21" fmla="*/ 10363 w 44939"/>
                <a:gd name="connsiteY21" fmla="*/ 22982 h 27757"/>
                <a:gd name="connsiteX22" fmla="*/ 13153 w 44939"/>
                <a:gd name="connsiteY22" fmla="*/ 23380 h 27757"/>
                <a:gd name="connsiteX23" fmla="*/ 15744 w 44939"/>
                <a:gd name="connsiteY23" fmla="*/ 24275 h 27757"/>
                <a:gd name="connsiteX24" fmla="*/ 17637 w 44939"/>
                <a:gd name="connsiteY24" fmla="*/ 23877 h 27757"/>
                <a:gd name="connsiteX25" fmla="*/ 18335 w 44939"/>
                <a:gd name="connsiteY25" fmla="*/ 20196 h 27757"/>
                <a:gd name="connsiteX26" fmla="*/ 21025 w 44939"/>
                <a:gd name="connsiteY26" fmla="*/ 18206 h 27757"/>
                <a:gd name="connsiteX27" fmla="*/ 27004 w 44939"/>
                <a:gd name="connsiteY27" fmla="*/ 16316 h 27757"/>
                <a:gd name="connsiteX28" fmla="*/ 32982 w 44939"/>
                <a:gd name="connsiteY28" fmla="*/ 13431 h 27757"/>
                <a:gd name="connsiteX29" fmla="*/ 35673 w 44939"/>
                <a:gd name="connsiteY29" fmla="*/ 8158 h 27757"/>
                <a:gd name="connsiteX30" fmla="*/ 38363 w 44939"/>
                <a:gd name="connsiteY30" fmla="*/ 4178 h 27757"/>
                <a:gd name="connsiteX31" fmla="*/ 44939 w 44939"/>
                <a:gd name="connsiteY31" fmla="*/ 1592 h 27757"/>
                <a:gd name="connsiteX32" fmla="*/ 44939 w 44939"/>
                <a:gd name="connsiteY32" fmla="*/ 1592 h 27757"/>
                <a:gd name="connsiteX33" fmla="*/ 42648 w 44939"/>
                <a:gd name="connsiteY33" fmla="*/ 0 h 27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4939" h="27757">
                  <a:moveTo>
                    <a:pt x="42648" y="0"/>
                  </a:moveTo>
                  <a:lnTo>
                    <a:pt x="41153" y="0"/>
                  </a:lnTo>
                  <a:lnTo>
                    <a:pt x="37964" y="2786"/>
                  </a:lnTo>
                  <a:lnTo>
                    <a:pt x="35972" y="3880"/>
                  </a:lnTo>
                  <a:lnTo>
                    <a:pt x="22918" y="7462"/>
                  </a:lnTo>
                  <a:lnTo>
                    <a:pt x="20726" y="8456"/>
                  </a:lnTo>
                  <a:lnTo>
                    <a:pt x="18833" y="10048"/>
                  </a:lnTo>
                  <a:lnTo>
                    <a:pt x="17737" y="12038"/>
                  </a:lnTo>
                  <a:lnTo>
                    <a:pt x="16541" y="14824"/>
                  </a:lnTo>
                  <a:lnTo>
                    <a:pt x="15146" y="17311"/>
                  </a:lnTo>
                  <a:lnTo>
                    <a:pt x="12157" y="18903"/>
                  </a:lnTo>
                  <a:lnTo>
                    <a:pt x="10562" y="21290"/>
                  </a:lnTo>
                  <a:lnTo>
                    <a:pt x="9267" y="21887"/>
                  </a:lnTo>
                  <a:lnTo>
                    <a:pt x="6676" y="22186"/>
                  </a:lnTo>
                  <a:lnTo>
                    <a:pt x="5480" y="22683"/>
                  </a:lnTo>
                  <a:lnTo>
                    <a:pt x="2192" y="25369"/>
                  </a:lnTo>
                  <a:lnTo>
                    <a:pt x="299" y="25966"/>
                  </a:lnTo>
                  <a:lnTo>
                    <a:pt x="0" y="26762"/>
                  </a:lnTo>
                  <a:lnTo>
                    <a:pt x="3189" y="27757"/>
                  </a:lnTo>
                  <a:lnTo>
                    <a:pt x="5779" y="26464"/>
                  </a:lnTo>
                  <a:lnTo>
                    <a:pt x="8071" y="24374"/>
                  </a:lnTo>
                  <a:lnTo>
                    <a:pt x="10363" y="22982"/>
                  </a:lnTo>
                  <a:lnTo>
                    <a:pt x="13153" y="23380"/>
                  </a:lnTo>
                  <a:lnTo>
                    <a:pt x="15744" y="24275"/>
                  </a:lnTo>
                  <a:lnTo>
                    <a:pt x="17637" y="23877"/>
                  </a:lnTo>
                  <a:lnTo>
                    <a:pt x="18335" y="20196"/>
                  </a:lnTo>
                  <a:lnTo>
                    <a:pt x="21025" y="18206"/>
                  </a:lnTo>
                  <a:lnTo>
                    <a:pt x="27004" y="16316"/>
                  </a:lnTo>
                  <a:lnTo>
                    <a:pt x="32982" y="13431"/>
                  </a:lnTo>
                  <a:lnTo>
                    <a:pt x="35673" y="8158"/>
                  </a:lnTo>
                  <a:lnTo>
                    <a:pt x="38363" y="4178"/>
                  </a:lnTo>
                  <a:lnTo>
                    <a:pt x="44939" y="1592"/>
                  </a:lnTo>
                  <a:lnTo>
                    <a:pt x="44939" y="1592"/>
                  </a:lnTo>
                  <a:lnTo>
                    <a:pt x="42648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7" name="Freeform: Shape 1396">
              <a:extLst>
                <a:ext uri="{FF2B5EF4-FFF2-40B4-BE49-F238E27FC236}">
                  <a16:creationId xmlns:a16="http://schemas.microsoft.com/office/drawing/2014/main" id="{FB537DEC-CBE6-466E-8AC2-7387E3FE488E}"/>
                </a:ext>
              </a:extLst>
            </p:cNvPr>
            <p:cNvSpPr/>
            <p:nvPr/>
          </p:nvSpPr>
          <p:spPr>
            <a:xfrm>
              <a:off x="-2630273" y="-31402"/>
              <a:ext cx="11558" cy="9948"/>
            </a:xfrm>
            <a:custGeom>
              <a:avLst/>
              <a:gdLst>
                <a:gd name="connsiteX0" fmla="*/ 199 w 11558"/>
                <a:gd name="connsiteY0" fmla="*/ 5671 h 9948"/>
                <a:gd name="connsiteX1" fmla="*/ 1794 w 11558"/>
                <a:gd name="connsiteY1" fmla="*/ 9352 h 9948"/>
                <a:gd name="connsiteX2" fmla="*/ 3189 w 11558"/>
                <a:gd name="connsiteY2" fmla="*/ 9949 h 9948"/>
                <a:gd name="connsiteX3" fmla="*/ 4883 w 11558"/>
                <a:gd name="connsiteY3" fmla="*/ 8456 h 9948"/>
                <a:gd name="connsiteX4" fmla="*/ 7075 w 11558"/>
                <a:gd name="connsiteY4" fmla="*/ 5671 h 9948"/>
                <a:gd name="connsiteX5" fmla="*/ 8171 w 11558"/>
                <a:gd name="connsiteY5" fmla="*/ 4775 h 9948"/>
                <a:gd name="connsiteX6" fmla="*/ 9566 w 11558"/>
                <a:gd name="connsiteY6" fmla="*/ 3980 h 9948"/>
                <a:gd name="connsiteX7" fmla="*/ 10861 w 11558"/>
                <a:gd name="connsiteY7" fmla="*/ 2885 h 9948"/>
                <a:gd name="connsiteX8" fmla="*/ 11359 w 11558"/>
                <a:gd name="connsiteY8" fmla="*/ 1492 h 9948"/>
                <a:gd name="connsiteX9" fmla="*/ 11559 w 11558"/>
                <a:gd name="connsiteY9" fmla="*/ 0 h 9948"/>
                <a:gd name="connsiteX10" fmla="*/ 6975 w 11558"/>
                <a:gd name="connsiteY10" fmla="*/ 3184 h 9948"/>
                <a:gd name="connsiteX11" fmla="*/ 1594 w 11558"/>
                <a:gd name="connsiteY11" fmla="*/ 3184 h 9948"/>
                <a:gd name="connsiteX12" fmla="*/ 0 w 11558"/>
                <a:gd name="connsiteY12" fmla="*/ 3482 h 9948"/>
                <a:gd name="connsiteX13" fmla="*/ 0 w 11558"/>
                <a:gd name="connsiteY13" fmla="*/ 3582 h 9948"/>
                <a:gd name="connsiteX14" fmla="*/ 199 w 11558"/>
                <a:gd name="connsiteY14" fmla="*/ 5671 h 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558" h="9948">
                  <a:moveTo>
                    <a:pt x="199" y="5671"/>
                  </a:moveTo>
                  <a:lnTo>
                    <a:pt x="1794" y="9352"/>
                  </a:lnTo>
                  <a:lnTo>
                    <a:pt x="3189" y="9949"/>
                  </a:lnTo>
                  <a:lnTo>
                    <a:pt x="4883" y="8456"/>
                  </a:lnTo>
                  <a:lnTo>
                    <a:pt x="7075" y="5671"/>
                  </a:lnTo>
                  <a:lnTo>
                    <a:pt x="8171" y="4775"/>
                  </a:lnTo>
                  <a:lnTo>
                    <a:pt x="9566" y="3980"/>
                  </a:lnTo>
                  <a:lnTo>
                    <a:pt x="10861" y="2885"/>
                  </a:lnTo>
                  <a:lnTo>
                    <a:pt x="11359" y="1492"/>
                  </a:lnTo>
                  <a:lnTo>
                    <a:pt x="11559" y="0"/>
                  </a:lnTo>
                  <a:lnTo>
                    <a:pt x="6975" y="3184"/>
                  </a:lnTo>
                  <a:lnTo>
                    <a:pt x="1594" y="3184"/>
                  </a:lnTo>
                  <a:lnTo>
                    <a:pt x="0" y="3482"/>
                  </a:lnTo>
                  <a:lnTo>
                    <a:pt x="0" y="3582"/>
                  </a:lnTo>
                  <a:lnTo>
                    <a:pt x="199" y="567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CACB797B-7996-463C-BBB1-A331E9D61F42}"/>
                </a:ext>
              </a:extLst>
            </p:cNvPr>
            <p:cNvSpPr/>
            <p:nvPr/>
          </p:nvSpPr>
          <p:spPr>
            <a:xfrm>
              <a:off x="-2684878" y="63807"/>
              <a:ext cx="36071" cy="52429"/>
            </a:xfrm>
            <a:custGeom>
              <a:avLst/>
              <a:gdLst>
                <a:gd name="connsiteX0" fmla="*/ 33979 w 36071"/>
                <a:gd name="connsiteY0" fmla="*/ 39198 h 52429"/>
                <a:gd name="connsiteX1" fmla="*/ 31986 w 36071"/>
                <a:gd name="connsiteY1" fmla="*/ 36114 h 52429"/>
                <a:gd name="connsiteX2" fmla="*/ 30192 w 36071"/>
                <a:gd name="connsiteY2" fmla="*/ 34721 h 52429"/>
                <a:gd name="connsiteX3" fmla="*/ 31886 w 36071"/>
                <a:gd name="connsiteY3" fmla="*/ 28453 h 52429"/>
                <a:gd name="connsiteX4" fmla="*/ 29893 w 36071"/>
                <a:gd name="connsiteY4" fmla="*/ 21987 h 52429"/>
                <a:gd name="connsiteX5" fmla="*/ 26107 w 36071"/>
                <a:gd name="connsiteY5" fmla="*/ 16316 h 52429"/>
                <a:gd name="connsiteX6" fmla="*/ 22221 w 36071"/>
                <a:gd name="connsiteY6" fmla="*/ 12436 h 52429"/>
                <a:gd name="connsiteX7" fmla="*/ 23416 w 36071"/>
                <a:gd name="connsiteY7" fmla="*/ 10247 h 52429"/>
                <a:gd name="connsiteX8" fmla="*/ 22818 w 36071"/>
                <a:gd name="connsiteY8" fmla="*/ 7163 h 52429"/>
                <a:gd name="connsiteX9" fmla="*/ 21125 w 36071"/>
                <a:gd name="connsiteY9" fmla="*/ 3980 h 52429"/>
                <a:gd name="connsiteX10" fmla="*/ 18534 w 36071"/>
                <a:gd name="connsiteY10" fmla="*/ 0 h 52429"/>
                <a:gd name="connsiteX11" fmla="*/ 16541 w 36071"/>
                <a:gd name="connsiteY11" fmla="*/ 696 h 52429"/>
                <a:gd name="connsiteX12" fmla="*/ 6577 w 36071"/>
                <a:gd name="connsiteY12" fmla="*/ 7163 h 52429"/>
                <a:gd name="connsiteX13" fmla="*/ 2192 w 36071"/>
                <a:gd name="connsiteY13" fmla="*/ 11342 h 52429"/>
                <a:gd name="connsiteX14" fmla="*/ 0 w 36071"/>
                <a:gd name="connsiteY14" fmla="*/ 16515 h 52429"/>
                <a:gd name="connsiteX15" fmla="*/ 1395 w 36071"/>
                <a:gd name="connsiteY15" fmla="*/ 22982 h 52429"/>
                <a:gd name="connsiteX16" fmla="*/ 5979 w 36071"/>
                <a:gd name="connsiteY16" fmla="*/ 30742 h 52429"/>
                <a:gd name="connsiteX17" fmla="*/ 6577 w 36071"/>
                <a:gd name="connsiteY17" fmla="*/ 33030 h 52429"/>
                <a:gd name="connsiteX18" fmla="*/ 7274 w 36071"/>
                <a:gd name="connsiteY18" fmla="*/ 37009 h 52429"/>
                <a:gd name="connsiteX19" fmla="*/ 8968 w 36071"/>
                <a:gd name="connsiteY19" fmla="*/ 40790 h 52429"/>
                <a:gd name="connsiteX20" fmla="*/ 11160 w 36071"/>
                <a:gd name="connsiteY20" fmla="*/ 43774 h 52429"/>
                <a:gd name="connsiteX21" fmla="*/ 13452 w 36071"/>
                <a:gd name="connsiteY21" fmla="*/ 45466 h 52429"/>
                <a:gd name="connsiteX22" fmla="*/ 16441 w 36071"/>
                <a:gd name="connsiteY22" fmla="*/ 45665 h 52429"/>
                <a:gd name="connsiteX23" fmla="*/ 17737 w 36071"/>
                <a:gd name="connsiteY23" fmla="*/ 44570 h 52429"/>
                <a:gd name="connsiteX24" fmla="*/ 18833 w 36071"/>
                <a:gd name="connsiteY24" fmla="*/ 44172 h 52429"/>
                <a:gd name="connsiteX25" fmla="*/ 21922 w 36071"/>
                <a:gd name="connsiteY25" fmla="*/ 46958 h 52429"/>
                <a:gd name="connsiteX26" fmla="*/ 24811 w 36071"/>
                <a:gd name="connsiteY26" fmla="*/ 48948 h 52429"/>
                <a:gd name="connsiteX27" fmla="*/ 25609 w 36071"/>
                <a:gd name="connsiteY27" fmla="*/ 49943 h 52429"/>
                <a:gd name="connsiteX28" fmla="*/ 26206 w 36071"/>
                <a:gd name="connsiteY28" fmla="*/ 51037 h 52429"/>
                <a:gd name="connsiteX29" fmla="*/ 27004 w 36071"/>
                <a:gd name="connsiteY29" fmla="*/ 51932 h 52429"/>
                <a:gd name="connsiteX30" fmla="*/ 28299 w 36071"/>
                <a:gd name="connsiteY30" fmla="*/ 52430 h 52429"/>
                <a:gd name="connsiteX31" fmla="*/ 30192 w 36071"/>
                <a:gd name="connsiteY31" fmla="*/ 52131 h 52429"/>
                <a:gd name="connsiteX32" fmla="*/ 32783 w 36071"/>
                <a:gd name="connsiteY32" fmla="*/ 50639 h 52429"/>
                <a:gd name="connsiteX33" fmla="*/ 35174 w 36071"/>
                <a:gd name="connsiteY33" fmla="*/ 48450 h 52429"/>
                <a:gd name="connsiteX34" fmla="*/ 36071 w 36071"/>
                <a:gd name="connsiteY34" fmla="*/ 46063 h 52429"/>
                <a:gd name="connsiteX35" fmla="*/ 35573 w 36071"/>
                <a:gd name="connsiteY35" fmla="*/ 42979 h 52429"/>
                <a:gd name="connsiteX36" fmla="*/ 33979 w 36071"/>
                <a:gd name="connsiteY36" fmla="*/ 39198 h 52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6071" h="52429">
                  <a:moveTo>
                    <a:pt x="33979" y="39198"/>
                  </a:moveTo>
                  <a:lnTo>
                    <a:pt x="31986" y="36114"/>
                  </a:lnTo>
                  <a:lnTo>
                    <a:pt x="30192" y="34721"/>
                  </a:lnTo>
                  <a:lnTo>
                    <a:pt x="31886" y="28453"/>
                  </a:lnTo>
                  <a:lnTo>
                    <a:pt x="29893" y="21987"/>
                  </a:lnTo>
                  <a:lnTo>
                    <a:pt x="26107" y="16316"/>
                  </a:lnTo>
                  <a:lnTo>
                    <a:pt x="22221" y="12436"/>
                  </a:lnTo>
                  <a:lnTo>
                    <a:pt x="23416" y="10247"/>
                  </a:lnTo>
                  <a:lnTo>
                    <a:pt x="22818" y="7163"/>
                  </a:lnTo>
                  <a:lnTo>
                    <a:pt x="21125" y="3980"/>
                  </a:lnTo>
                  <a:lnTo>
                    <a:pt x="18534" y="0"/>
                  </a:lnTo>
                  <a:lnTo>
                    <a:pt x="16541" y="696"/>
                  </a:lnTo>
                  <a:lnTo>
                    <a:pt x="6577" y="7163"/>
                  </a:lnTo>
                  <a:lnTo>
                    <a:pt x="2192" y="11342"/>
                  </a:lnTo>
                  <a:lnTo>
                    <a:pt x="0" y="16515"/>
                  </a:lnTo>
                  <a:lnTo>
                    <a:pt x="1395" y="22982"/>
                  </a:lnTo>
                  <a:lnTo>
                    <a:pt x="5979" y="30742"/>
                  </a:lnTo>
                  <a:lnTo>
                    <a:pt x="6577" y="33030"/>
                  </a:lnTo>
                  <a:lnTo>
                    <a:pt x="7274" y="37009"/>
                  </a:lnTo>
                  <a:lnTo>
                    <a:pt x="8968" y="40790"/>
                  </a:lnTo>
                  <a:lnTo>
                    <a:pt x="11160" y="43774"/>
                  </a:lnTo>
                  <a:lnTo>
                    <a:pt x="13452" y="45466"/>
                  </a:lnTo>
                  <a:lnTo>
                    <a:pt x="16441" y="45665"/>
                  </a:lnTo>
                  <a:lnTo>
                    <a:pt x="17737" y="44570"/>
                  </a:lnTo>
                  <a:lnTo>
                    <a:pt x="18833" y="44172"/>
                  </a:lnTo>
                  <a:lnTo>
                    <a:pt x="21922" y="46958"/>
                  </a:lnTo>
                  <a:lnTo>
                    <a:pt x="24811" y="48948"/>
                  </a:lnTo>
                  <a:lnTo>
                    <a:pt x="25609" y="49943"/>
                  </a:lnTo>
                  <a:lnTo>
                    <a:pt x="26206" y="51037"/>
                  </a:lnTo>
                  <a:lnTo>
                    <a:pt x="27004" y="51932"/>
                  </a:lnTo>
                  <a:lnTo>
                    <a:pt x="28299" y="52430"/>
                  </a:lnTo>
                  <a:lnTo>
                    <a:pt x="30192" y="52131"/>
                  </a:lnTo>
                  <a:lnTo>
                    <a:pt x="32783" y="50639"/>
                  </a:lnTo>
                  <a:lnTo>
                    <a:pt x="35174" y="48450"/>
                  </a:lnTo>
                  <a:lnTo>
                    <a:pt x="36071" y="46063"/>
                  </a:lnTo>
                  <a:lnTo>
                    <a:pt x="35573" y="42979"/>
                  </a:lnTo>
                  <a:lnTo>
                    <a:pt x="33979" y="391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46B89656-D209-4A09-BAE4-6D42850BC5ED}"/>
                </a:ext>
              </a:extLst>
            </p:cNvPr>
            <p:cNvSpPr/>
            <p:nvPr/>
          </p:nvSpPr>
          <p:spPr>
            <a:xfrm>
              <a:off x="-2662856" y="198513"/>
              <a:ext cx="18234" cy="8456"/>
            </a:xfrm>
            <a:custGeom>
              <a:avLst/>
              <a:gdLst>
                <a:gd name="connsiteX0" fmla="*/ 7573 w 18234"/>
                <a:gd name="connsiteY0" fmla="*/ 497 h 8456"/>
                <a:gd name="connsiteX1" fmla="*/ 6676 w 18234"/>
                <a:gd name="connsiteY1" fmla="*/ 1691 h 8456"/>
                <a:gd name="connsiteX2" fmla="*/ 5381 w 18234"/>
                <a:gd name="connsiteY2" fmla="*/ 2487 h 8456"/>
                <a:gd name="connsiteX3" fmla="*/ 0 w 18234"/>
                <a:gd name="connsiteY3" fmla="*/ 3880 h 8456"/>
                <a:gd name="connsiteX4" fmla="*/ 199 w 18234"/>
                <a:gd name="connsiteY4" fmla="*/ 5571 h 8456"/>
                <a:gd name="connsiteX5" fmla="*/ 3587 w 18234"/>
                <a:gd name="connsiteY5" fmla="*/ 6367 h 8456"/>
                <a:gd name="connsiteX6" fmla="*/ 5779 w 18234"/>
                <a:gd name="connsiteY6" fmla="*/ 5870 h 8456"/>
                <a:gd name="connsiteX7" fmla="*/ 7573 w 18234"/>
                <a:gd name="connsiteY7" fmla="*/ 7362 h 8456"/>
                <a:gd name="connsiteX8" fmla="*/ 11060 w 18234"/>
                <a:gd name="connsiteY8" fmla="*/ 7263 h 8456"/>
                <a:gd name="connsiteX9" fmla="*/ 12356 w 18234"/>
                <a:gd name="connsiteY9" fmla="*/ 8058 h 8456"/>
                <a:gd name="connsiteX10" fmla="*/ 13651 w 18234"/>
                <a:gd name="connsiteY10" fmla="*/ 8456 h 8456"/>
                <a:gd name="connsiteX11" fmla="*/ 15046 w 18234"/>
                <a:gd name="connsiteY11" fmla="*/ 8058 h 8456"/>
                <a:gd name="connsiteX12" fmla="*/ 16641 w 18234"/>
                <a:gd name="connsiteY12" fmla="*/ 7362 h 8456"/>
                <a:gd name="connsiteX13" fmla="*/ 18036 w 18234"/>
                <a:gd name="connsiteY13" fmla="*/ 6268 h 8456"/>
                <a:gd name="connsiteX14" fmla="*/ 18235 w 18234"/>
                <a:gd name="connsiteY14" fmla="*/ 4775 h 8456"/>
                <a:gd name="connsiteX15" fmla="*/ 17637 w 18234"/>
                <a:gd name="connsiteY15" fmla="*/ 3482 h 8456"/>
                <a:gd name="connsiteX16" fmla="*/ 17438 w 18234"/>
                <a:gd name="connsiteY16" fmla="*/ 2885 h 8456"/>
                <a:gd name="connsiteX17" fmla="*/ 17139 w 18234"/>
                <a:gd name="connsiteY17" fmla="*/ 1791 h 8456"/>
                <a:gd name="connsiteX18" fmla="*/ 15445 w 18234"/>
                <a:gd name="connsiteY18" fmla="*/ 696 h 8456"/>
                <a:gd name="connsiteX19" fmla="*/ 8569 w 18234"/>
                <a:gd name="connsiteY19" fmla="*/ 0 h 8456"/>
                <a:gd name="connsiteX20" fmla="*/ 7573 w 18234"/>
                <a:gd name="connsiteY20" fmla="*/ 497 h 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234" h="8456">
                  <a:moveTo>
                    <a:pt x="7573" y="497"/>
                  </a:moveTo>
                  <a:lnTo>
                    <a:pt x="6676" y="1691"/>
                  </a:lnTo>
                  <a:lnTo>
                    <a:pt x="5381" y="2487"/>
                  </a:lnTo>
                  <a:lnTo>
                    <a:pt x="0" y="3880"/>
                  </a:lnTo>
                  <a:lnTo>
                    <a:pt x="199" y="5571"/>
                  </a:lnTo>
                  <a:lnTo>
                    <a:pt x="3587" y="6367"/>
                  </a:lnTo>
                  <a:lnTo>
                    <a:pt x="5779" y="5870"/>
                  </a:lnTo>
                  <a:lnTo>
                    <a:pt x="7573" y="7362"/>
                  </a:lnTo>
                  <a:lnTo>
                    <a:pt x="11060" y="7263"/>
                  </a:lnTo>
                  <a:lnTo>
                    <a:pt x="12356" y="8058"/>
                  </a:lnTo>
                  <a:lnTo>
                    <a:pt x="13651" y="8456"/>
                  </a:lnTo>
                  <a:lnTo>
                    <a:pt x="15046" y="8058"/>
                  </a:lnTo>
                  <a:lnTo>
                    <a:pt x="16641" y="7362"/>
                  </a:lnTo>
                  <a:lnTo>
                    <a:pt x="18036" y="6268"/>
                  </a:lnTo>
                  <a:lnTo>
                    <a:pt x="18235" y="4775"/>
                  </a:lnTo>
                  <a:lnTo>
                    <a:pt x="17637" y="3482"/>
                  </a:lnTo>
                  <a:lnTo>
                    <a:pt x="17438" y="2885"/>
                  </a:lnTo>
                  <a:lnTo>
                    <a:pt x="17139" y="1791"/>
                  </a:lnTo>
                  <a:lnTo>
                    <a:pt x="15445" y="696"/>
                  </a:lnTo>
                  <a:lnTo>
                    <a:pt x="8569" y="0"/>
                  </a:lnTo>
                  <a:lnTo>
                    <a:pt x="7573" y="4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16ED76DA-4FF5-405C-AAF2-0130EB8C4A92}"/>
                </a:ext>
              </a:extLst>
            </p:cNvPr>
            <p:cNvSpPr/>
            <p:nvPr/>
          </p:nvSpPr>
          <p:spPr>
            <a:xfrm>
              <a:off x="-2686970" y="-36973"/>
              <a:ext cx="33580" cy="22384"/>
            </a:xfrm>
            <a:custGeom>
              <a:avLst/>
              <a:gdLst>
                <a:gd name="connsiteX0" fmla="*/ 31189 w 33580"/>
                <a:gd name="connsiteY0" fmla="*/ 13630 h 22384"/>
                <a:gd name="connsiteX1" fmla="*/ 30391 w 33580"/>
                <a:gd name="connsiteY1" fmla="*/ 11740 h 22384"/>
                <a:gd name="connsiteX2" fmla="*/ 29993 w 33580"/>
                <a:gd name="connsiteY2" fmla="*/ 9451 h 22384"/>
                <a:gd name="connsiteX3" fmla="*/ 26904 w 33580"/>
                <a:gd name="connsiteY3" fmla="*/ 1592 h 22384"/>
                <a:gd name="connsiteX4" fmla="*/ 23815 w 33580"/>
                <a:gd name="connsiteY4" fmla="*/ 597 h 22384"/>
                <a:gd name="connsiteX5" fmla="*/ 19331 w 33580"/>
                <a:gd name="connsiteY5" fmla="*/ 0 h 22384"/>
                <a:gd name="connsiteX6" fmla="*/ 14847 w 33580"/>
                <a:gd name="connsiteY6" fmla="*/ 298 h 22384"/>
                <a:gd name="connsiteX7" fmla="*/ 11758 w 33580"/>
                <a:gd name="connsiteY7" fmla="*/ 2189 h 22384"/>
                <a:gd name="connsiteX8" fmla="*/ 9167 w 33580"/>
                <a:gd name="connsiteY8" fmla="*/ 4576 h 22384"/>
                <a:gd name="connsiteX9" fmla="*/ 0 w 33580"/>
                <a:gd name="connsiteY9" fmla="*/ 8755 h 22384"/>
                <a:gd name="connsiteX10" fmla="*/ 2192 w 33580"/>
                <a:gd name="connsiteY10" fmla="*/ 10148 h 22384"/>
                <a:gd name="connsiteX11" fmla="*/ 4484 w 33580"/>
                <a:gd name="connsiteY11" fmla="*/ 11043 h 22384"/>
                <a:gd name="connsiteX12" fmla="*/ 6975 w 33580"/>
                <a:gd name="connsiteY12" fmla="*/ 11441 h 22384"/>
                <a:gd name="connsiteX13" fmla="*/ 9566 w 33580"/>
                <a:gd name="connsiteY13" fmla="*/ 11242 h 22384"/>
                <a:gd name="connsiteX14" fmla="*/ 12057 w 33580"/>
                <a:gd name="connsiteY14" fmla="*/ 10446 h 22384"/>
                <a:gd name="connsiteX15" fmla="*/ 15046 w 33580"/>
                <a:gd name="connsiteY15" fmla="*/ 8954 h 22384"/>
                <a:gd name="connsiteX16" fmla="*/ 16940 w 33580"/>
                <a:gd name="connsiteY16" fmla="*/ 8755 h 22384"/>
                <a:gd name="connsiteX17" fmla="*/ 19132 w 33580"/>
                <a:gd name="connsiteY17" fmla="*/ 9451 h 22384"/>
                <a:gd name="connsiteX18" fmla="*/ 19331 w 33580"/>
                <a:gd name="connsiteY18" fmla="*/ 11143 h 22384"/>
                <a:gd name="connsiteX19" fmla="*/ 17737 w 33580"/>
                <a:gd name="connsiteY19" fmla="*/ 12834 h 22384"/>
                <a:gd name="connsiteX20" fmla="*/ 12655 w 33580"/>
                <a:gd name="connsiteY20" fmla="*/ 14127 h 22384"/>
                <a:gd name="connsiteX21" fmla="*/ 10961 w 33580"/>
                <a:gd name="connsiteY21" fmla="*/ 15520 h 22384"/>
                <a:gd name="connsiteX22" fmla="*/ 9964 w 33580"/>
                <a:gd name="connsiteY22" fmla="*/ 17410 h 22384"/>
                <a:gd name="connsiteX23" fmla="*/ 10363 w 33580"/>
                <a:gd name="connsiteY23" fmla="*/ 19400 h 22384"/>
                <a:gd name="connsiteX24" fmla="*/ 12854 w 33580"/>
                <a:gd name="connsiteY24" fmla="*/ 21390 h 22384"/>
                <a:gd name="connsiteX25" fmla="*/ 16242 w 33580"/>
                <a:gd name="connsiteY25" fmla="*/ 21589 h 22384"/>
                <a:gd name="connsiteX26" fmla="*/ 22520 w 33580"/>
                <a:gd name="connsiteY26" fmla="*/ 20693 h 22384"/>
                <a:gd name="connsiteX27" fmla="*/ 27701 w 33580"/>
                <a:gd name="connsiteY27" fmla="*/ 22086 h 22384"/>
                <a:gd name="connsiteX28" fmla="*/ 30491 w 33580"/>
                <a:gd name="connsiteY28" fmla="*/ 22385 h 22384"/>
                <a:gd name="connsiteX29" fmla="*/ 32683 w 33580"/>
                <a:gd name="connsiteY29" fmla="*/ 21290 h 22384"/>
                <a:gd name="connsiteX30" fmla="*/ 33580 w 33580"/>
                <a:gd name="connsiteY30" fmla="*/ 18107 h 22384"/>
                <a:gd name="connsiteX31" fmla="*/ 32683 w 33580"/>
                <a:gd name="connsiteY31" fmla="*/ 15719 h 22384"/>
                <a:gd name="connsiteX32" fmla="*/ 31189 w 33580"/>
                <a:gd name="connsiteY32" fmla="*/ 13630 h 2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3580" h="22384">
                  <a:moveTo>
                    <a:pt x="31189" y="13630"/>
                  </a:moveTo>
                  <a:lnTo>
                    <a:pt x="30391" y="11740"/>
                  </a:lnTo>
                  <a:lnTo>
                    <a:pt x="29993" y="9451"/>
                  </a:lnTo>
                  <a:lnTo>
                    <a:pt x="26904" y="1592"/>
                  </a:lnTo>
                  <a:lnTo>
                    <a:pt x="23815" y="597"/>
                  </a:lnTo>
                  <a:lnTo>
                    <a:pt x="19331" y="0"/>
                  </a:lnTo>
                  <a:lnTo>
                    <a:pt x="14847" y="298"/>
                  </a:lnTo>
                  <a:lnTo>
                    <a:pt x="11758" y="2189"/>
                  </a:lnTo>
                  <a:lnTo>
                    <a:pt x="9167" y="4576"/>
                  </a:lnTo>
                  <a:lnTo>
                    <a:pt x="0" y="8755"/>
                  </a:lnTo>
                  <a:lnTo>
                    <a:pt x="2192" y="10148"/>
                  </a:lnTo>
                  <a:lnTo>
                    <a:pt x="4484" y="11043"/>
                  </a:lnTo>
                  <a:lnTo>
                    <a:pt x="6975" y="11441"/>
                  </a:lnTo>
                  <a:lnTo>
                    <a:pt x="9566" y="11242"/>
                  </a:lnTo>
                  <a:lnTo>
                    <a:pt x="12057" y="10446"/>
                  </a:lnTo>
                  <a:lnTo>
                    <a:pt x="15046" y="8954"/>
                  </a:lnTo>
                  <a:lnTo>
                    <a:pt x="16940" y="8755"/>
                  </a:lnTo>
                  <a:lnTo>
                    <a:pt x="19132" y="9451"/>
                  </a:lnTo>
                  <a:lnTo>
                    <a:pt x="19331" y="11143"/>
                  </a:lnTo>
                  <a:lnTo>
                    <a:pt x="17737" y="12834"/>
                  </a:lnTo>
                  <a:lnTo>
                    <a:pt x="12655" y="14127"/>
                  </a:lnTo>
                  <a:lnTo>
                    <a:pt x="10961" y="15520"/>
                  </a:lnTo>
                  <a:lnTo>
                    <a:pt x="9964" y="17410"/>
                  </a:lnTo>
                  <a:lnTo>
                    <a:pt x="10363" y="19400"/>
                  </a:lnTo>
                  <a:lnTo>
                    <a:pt x="12854" y="21390"/>
                  </a:lnTo>
                  <a:lnTo>
                    <a:pt x="16242" y="21589"/>
                  </a:lnTo>
                  <a:lnTo>
                    <a:pt x="22520" y="20693"/>
                  </a:lnTo>
                  <a:lnTo>
                    <a:pt x="27701" y="22086"/>
                  </a:lnTo>
                  <a:lnTo>
                    <a:pt x="30491" y="22385"/>
                  </a:lnTo>
                  <a:lnTo>
                    <a:pt x="32683" y="21290"/>
                  </a:lnTo>
                  <a:lnTo>
                    <a:pt x="33580" y="18107"/>
                  </a:lnTo>
                  <a:lnTo>
                    <a:pt x="32683" y="15719"/>
                  </a:lnTo>
                  <a:lnTo>
                    <a:pt x="31189" y="1363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2EBDC0E4-D9F2-4CA2-9FA4-B626BA4B6FBC}"/>
                </a:ext>
              </a:extLst>
            </p:cNvPr>
            <p:cNvSpPr/>
            <p:nvPr/>
          </p:nvSpPr>
          <p:spPr>
            <a:xfrm>
              <a:off x="-2680593" y="-13793"/>
              <a:ext cx="31088" cy="16614"/>
            </a:xfrm>
            <a:custGeom>
              <a:avLst/>
              <a:gdLst>
                <a:gd name="connsiteX0" fmla="*/ 29594 w 31088"/>
                <a:gd name="connsiteY0" fmla="*/ 4477 h 16614"/>
                <a:gd name="connsiteX1" fmla="*/ 31089 w 31088"/>
                <a:gd name="connsiteY1" fmla="*/ 0 h 16614"/>
                <a:gd name="connsiteX2" fmla="*/ 29594 w 31088"/>
                <a:gd name="connsiteY2" fmla="*/ 199 h 16614"/>
                <a:gd name="connsiteX3" fmla="*/ 28698 w 31088"/>
                <a:gd name="connsiteY3" fmla="*/ 895 h 16614"/>
                <a:gd name="connsiteX4" fmla="*/ 28000 w 31088"/>
                <a:gd name="connsiteY4" fmla="*/ 1890 h 16614"/>
                <a:gd name="connsiteX5" fmla="*/ 27004 w 31088"/>
                <a:gd name="connsiteY5" fmla="*/ 2189 h 16614"/>
                <a:gd name="connsiteX6" fmla="*/ 25708 w 31088"/>
                <a:gd name="connsiteY6" fmla="*/ 2089 h 16614"/>
                <a:gd name="connsiteX7" fmla="*/ 23416 w 31088"/>
                <a:gd name="connsiteY7" fmla="*/ 1293 h 16614"/>
                <a:gd name="connsiteX8" fmla="*/ 22320 w 31088"/>
                <a:gd name="connsiteY8" fmla="*/ 1094 h 16614"/>
                <a:gd name="connsiteX9" fmla="*/ 10961 w 31088"/>
                <a:gd name="connsiteY9" fmla="*/ 1094 h 16614"/>
                <a:gd name="connsiteX10" fmla="*/ 9466 w 31088"/>
                <a:gd name="connsiteY10" fmla="*/ 1691 h 16614"/>
                <a:gd name="connsiteX11" fmla="*/ 7075 w 31088"/>
                <a:gd name="connsiteY11" fmla="*/ 4079 h 16614"/>
                <a:gd name="connsiteX12" fmla="*/ 5779 w 31088"/>
                <a:gd name="connsiteY12" fmla="*/ 4676 h 16614"/>
                <a:gd name="connsiteX13" fmla="*/ 1993 w 31088"/>
                <a:gd name="connsiteY13" fmla="*/ 3482 h 16614"/>
                <a:gd name="connsiteX14" fmla="*/ 0 w 31088"/>
                <a:gd name="connsiteY14" fmla="*/ 3482 h 16614"/>
                <a:gd name="connsiteX15" fmla="*/ 100 w 31088"/>
                <a:gd name="connsiteY15" fmla="*/ 5273 h 16614"/>
                <a:gd name="connsiteX16" fmla="*/ 1495 w 31088"/>
                <a:gd name="connsiteY16" fmla="*/ 7661 h 16614"/>
                <a:gd name="connsiteX17" fmla="*/ 2093 w 31088"/>
                <a:gd name="connsiteY17" fmla="*/ 10546 h 16614"/>
                <a:gd name="connsiteX18" fmla="*/ 3189 w 31088"/>
                <a:gd name="connsiteY18" fmla="*/ 12933 h 16614"/>
                <a:gd name="connsiteX19" fmla="*/ 4584 w 31088"/>
                <a:gd name="connsiteY19" fmla="*/ 14426 h 16614"/>
                <a:gd name="connsiteX20" fmla="*/ 6676 w 31088"/>
                <a:gd name="connsiteY20" fmla="*/ 15918 h 16614"/>
                <a:gd name="connsiteX21" fmla="*/ 8868 w 31088"/>
                <a:gd name="connsiteY21" fmla="*/ 16614 h 16614"/>
                <a:gd name="connsiteX22" fmla="*/ 10562 w 31088"/>
                <a:gd name="connsiteY22" fmla="*/ 15819 h 16614"/>
                <a:gd name="connsiteX23" fmla="*/ 13751 w 31088"/>
                <a:gd name="connsiteY23" fmla="*/ 13928 h 16614"/>
                <a:gd name="connsiteX24" fmla="*/ 20427 w 31088"/>
                <a:gd name="connsiteY24" fmla="*/ 15421 h 16614"/>
                <a:gd name="connsiteX25" fmla="*/ 23117 w 31088"/>
                <a:gd name="connsiteY25" fmla="*/ 14227 h 16614"/>
                <a:gd name="connsiteX26" fmla="*/ 24114 w 31088"/>
                <a:gd name="connsiteY26" fmla="*/ 12635 h 16614"/>
                <a:gd name="connsiteX27" fmla="*/ 24712 w 31088"/>
                <a:gd name="connsiteY27" fmla="*/ 10844 h 16614"/>
                <a:gd name="connsiteX28" fmla="*/ 25708 w 31088"/>
                <a:gd name="connsiteY28" fmla="*/ 9252 h 16614"/>
                <a:gd name="connsiteX29" fmla="*/ 28797 w 31088"/>
                <a:gd name="connsiteY29" fmla="*/ 6268 h 16614"/>
                <a:gd name="connsiteX30" fmla="*/ 29594 w 31088"/>
                <a:gd name="connsiteY30" fmla="*/ 4477 h 16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1088" h="16614">
                  <a:moveTo>
                    <a:pt x="29594" y="4477"/>
                  </a:moveTo>
                  <a:lnTo>
                    <a:pt x="31089" y="0"/>
                  </a:lnTo>
                  <a:lnTo>
                    <a:pt x="29594" y="199"/>
                  </a:lnTo>
                  <a:lnTo>
                    <a:pt x="28698" y="895"/>
                  </a:lnTo>
                  <a:lnTo>
                    <a:pt x="28000" y="1890"/>
                  </a:lnTo>
                  <a:lnTo>
                    <a:pt x="27004" y="2189"/>
                  </a:lnTo>
                  <a:lnTo>
                    <a:pt x="25708" y="2089"/>
                  </a:lnTo>
                  <a:lnTo>
                    <a:pt x="23416" y="1293"/>
                  </a:lnTo>
                  <a:lnTo>
                    <a:pt x="22320" y="1094"/>
                  </a:lnTo>
                  <a:lnTo>
                    <a:pt x="10961" y="1094"/>
                  </a:lnTo>
                  <a:lnTo>
                    <a:pt x="9466" y="1691"/>
                  </a:lnTo>
                  <a:lnTo>
                    <a:pt x="7075" y="4079"/>
                  </a:lnTo>
                  <a:lnTo>
                    <a:pt x="5779" y="4676"/>
                  </a:lnTo>
                  <a:lnTo>
                    <a:pt x="1993" y="3482"/>
                  </a:lnTo>
                  <a:lnTo>
                    <a:pt x="0" y="3482"/>
                  </a:lnTo>
                  <a:lnTo>
                    <a:pt x="100" y="5273"/>
                  </a:lnTo>
                  <a:lnTo>
                    <a:pt x="1495" y="7661"/>
                  </a:lnTo>
                  <a:lnTo>
                    <a:pt x="2093" y="10546"/>
                  </a:lnTo>
                  <a:lnTo>
                    <a:pt x="3189" y="12933"/>
                  </a:lnTo>
                  <a:lnTo>
                    <a:pt x="4584" y="14426"/>
                  </a:lnTo>
                  <a:lnTo>
                    <a:pt x="6676" y="15918"/>
                  </a:lnTo>
                  <a:lnTo>
                    <a:pt x="8868" y="16614"/>
                  </a:lnTo>
                  <a:lnTo>
                    <a:pt x="10562" y="15819"/>
                  </a:lnTo>
                  <a:lnTo>
                    <a:pt x="13751" y="13928"/>
                  </a:lnTo>
                  <a:lnTo>
                    <a:pt x="20427" y="15421"/>
                  </a:lnTo>
                  <a:lnTo>
                    <a:pt x="23117" y="14227"/>
                  </a:lnTo>
                  <a:lnTo>
                    <a:pt x="24114" y="12635"/>
                  </a:lnTo>
                  <a:lnTo>
                    <a:pt x="24712" y="10844"/>
                  </a:lnTo>
                  <a:lnTo>
                    <a:pt x="25708" y="9252"/>
                  </a:lnTo>
                  <a:lnTo>
                    <a:pt x="28797" y="6268"/>
                  </a:lnTo>
                  <a:lnTo>
                    <a:pt x="29594" y="447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9ED030A7-ACD9-41CB-952A-9DA9E1B47F18}"/>
                </a:ext>
              </a:extLst>
            </p:cNvPr>
            <p:cNvSpPr/>
            <p:nvPr/>
          </p:nvSpPr>
          <p:spPr>
            <a:xfrm>
              <a:off x="-2696935" y="4612"/>
              <a:ext cx="37765" cy="55116"/>
            </a:xfrm>
            <a:custGeom>
              <a:avLst/>
              <a:gdLst>
                <a:gd name="connsiteX0" fmla="*/ 897 w 37765"/>
                <a:gd name="connsiteY0" fmla="*/ 30145 h 55116"/>
                <a:gd name="connsiteX1" fmla="*/ 0 w 37765"/>
                <a:gd name="connsiteY1" fmla="*/ 32930 h 55116"/>
                <a:gd name="connsiteX2" fmla="*/ 399 w 37765"/>
                <a:gd name="connsiteY2" fmla="*/ 34920 h 55116"/>
                <a:gd name="connsiteX3" fmla="*/ 2690 w 37765"/>
                <a:gd name="connsiteY3" fmla="*/ 36313 h 55116"/>
                <a:gd name="connsiteX4" fmla="*/ 5779 w 37765"/>
                <a:gd name="connsiteY4" fmla="*/ 36611 h 55116"/>
                <a:gd name="connsiteX5" fmla="*/ 11260 w 37765"/>
                <a:gd name="connsiteY5" fmla="*/ 36114 h 55116"/>
                <a:gd name="connsiteX6" fmla="*/ 12057 w 37765"/>
                <a:gd name="connsiteY6" fmla="*/ 35815 h 55116"/>
                <a:gd name="connsiteX7" fmla="*/ 13751 w 37765"/>
                <a:gd name="connsiteY7" fmla="*/ 34920 h 55116"/>
                <a:gd name="connsiteX8" fmla="*/ 14349 w 37765"/>
                <a:gd name="connsiteY8" fmla="*/ 34920 h 55116"/>
                <a:gd name="connsiteX9" fmla="*/ 14847 w 37765"/>
                <a:gd name="connsiteY9" fmla="*/ 36114 h 55116"/>
                <a:gd name="connsiteX10" fmla="*/ 14747 w 37765"/>
                <a:gd name="connsiteY10" fmla="*/ 37109 h 55116"/>
                <a:gd name="connsiteX11" fmla="*/ 14448 w 37765"/>
                <a:gd name="connsiteY11" fmla="*/ 37905 h 55116"/>
                <a:gd name="connsiteX12" fmla="*/ 14349 w 37765"/>
                <a:gd name="connsiteY12" fmla="*/ 38402 h 55116"/>
                <a:gd name="connsiteX13" fmla="*/ 16342 w 37765"/>
                <a:gd name="connsiteY13" fmla="*/ 41884 h 55116"/>
                <a:gd name="connsiteX14" fmla="*/ 16840 w 37765"/>
                <a:gd name="connsiteY14" fmla="*/ 43178 h 55116"/>
                <a:gd name="connsiteX15" fmla="*/ 17039 w 37765"/>
                <a:gd name="connsiteY15" fmla="*/ 45764 h 55116"/>
                <a:gd name="connsiteX16" fmla="*/ 16342 w 37765"/>
                <a:gd name="connsiteY16" fmla="*/ 47157 h 55116"/>
                <a:gd name="connsiteX17" fmla="*/ 15544 w 37765"/>
                <a:gd name="connsiteY17" fmla="*/ 48251 h 55116"/>
                <a:gd name="connsiteX18" fmla="*/ 15146 w 37765"/>
                <a:gd name="connsiteY18" fmla="*/ 49644 h 55116"/>
                <a:gd name="connsiteX19" fmla="*/ 14847 w 37765"/>
                <a:gd name="connsiteY19" fmla="*/ 50341 h 55116"/>
                <a:gd name="connsiteX20" fmla="*/ 14349 w 37765"/>
                <a:gd name="connsiteY20" fmla="*/ 52231 h 55116"/>
                <a:gd name="connsiteX21" fmla="*/ 14149 w 37765"/>
                <a:gd name="connsiteY21" fmla="*/ 54221 h 55116"/>
                <a:gd name="connsiteX22" fmla="*/ 14747 w 37765"/>
                <a:gd name="connsiteY22" fmla="*/ 55116 h 55116"/>
                <a:gd name="connsiteX23" fmla="*/ 17537 w 37765"/>
                <a:gd name="connsiteY23" fmla="*/ 54221 h 55116"/>
                <a:gd name="connsiteX24" fmla="*/ 20228 w 37765"/>
                <a:gd name="connsiteY24" fmla="*/ 52629 h 55116"/>
                <a:gd name="connsiteX25" fmla="*/ 22320 w 37765"/>
                <a:gd name="connsiteY25" fmla="*/ 52032 h 55116"/>
                <a:gd name="connsiteX26" fmla="*/ 23815 w 37765"/>
                <a:gd name="connsiteY26" fmla="*/ 53823 h 55116"/>
                <a:gd name="connsiteX27" fmla="*/ 27801 w 37765"/>
                <a:gd name="connsiteY27" fmla="*/ 52131 h 55116"/>
                <a:gd name="connsiteX28" fmla="*/ 29594 w 37765"/>
                <a:gd name="connsiteY28" fmla="*/ 50838 h 55116"/>
                <a:gd name="connsiteX29" fmla="*/ 30690 w 37765"/>
                <a:gd name="connsiteY29" fmla="*/ 49147 h 55116"/>
                <a:gd name="connsiteX30" fmla="*/ 30690 w 37765"/>
                <a:gd name="connsiteY30" fmla="*/ 46759 h 55116"/>
                <a:gd name="connsiteX31" fmla="*/ 29694 w 37765"/>
                <a:gd name="connsiteY31" fmla="*/ 44769 h 55116"/>
                <a:gd name="connsiteX32" fmla="*/ 28399 w 37765"/>
                <a:gd name="connsiteY32" fmla="*/ 42879 h 55116"/>
                <a:gd name="connsiteX33" fmla="*/ 27302 w 37765"/>
                <a:gd name="connsiteY33" fmla="*/ 40790 h 55116"/>
                <a:gd name="connsiteX34" fmla="*/ 28299 w 37765"/>
                <a:gd name="connsiteY34" fmla="*/ 39695 h 55116"/>
                <a:gd name="connsiteX35" fmla="*/ 27302 w 37765"/>
                <a:gd name="connsiteY35" fmla="*/ 38402 h 55116"/>
                <a:gd name="connsiteX36" fmla="*/ 33480 w 37765"/>
                <a:gd name="connsiteY36" fmla="*/ 26663 h 55116"/>
                <a:gd name="connsiteX37" fmla="*/ 34676 w 37765"/>
                <a:gd name="connsiteY37" fmla="*/ 23479 h 55116"/>
                <a:gd name="connsiteX38" fmla="*/ 36569 w 37765"/>
                <a:gd name="connsiteY38" fmla="*/ 16714 h 55116"/>
                <a:gd name="connsiteX39" fmla="*/ 37765 w 37765"/>
                <a:gd name="connsiteY39" fmla="*/ 13530 h 55116"/>
                <a:gd name="connsiteX40" fmla="*/ 36868 w 37765"/>
                <a:gd name="connsiteY40" fmla="*/ 10944 h 55116"/>
                <a:gd name="connsiteX41" fmla="*/ 36968 w 37765"/>
                <a:gd name="connsiteY41" fmla="*/ 8456 h 55116"/>
                <a:gd name="connsiteX42" fmla="*/ 37765 w 37765"/>
                <a:gd name="connsiteY42" fmla="*/ 2885 h 55116"/>
                <a:gd name="connsiteX43" fmla="*/ 35673 w 37765"/>
                <a:gd name="connsiteY43" fmla="*/ 398 h 55116"/>
                <a:gd name="connsiteX44" fmla="*/ 31986 w 37765"/>
                <a:gd name="connsiteY44" fmla="*/ 0 h 55116"/>
                <a:gd name="connsiteX45" fmla="*/ 23516 w 37765"/>
                <a:gd name="connsiteY45" fmla="*/ 1791 h 55116"/>
                <a:gd name="connsiteX46" fmla="*/ 19929 w 37765"/>
                <a:gd name="connsiteY46" fmla="*/ 1592 h 55116"/>
                <a:gd name="connsiteX47" fmla="*/ 18335 w 37765"/>
                <a:gd name="connsiteY47" fmla="*/ 1990 h 55116"/>
                <a:gd name="connsiteX48" fmla="*/ 15345 w 37765"/>
                <a:gd name="connsiteY48" fmla="*/ 3582 h 55116"/>
                <a:gd name="connsiteX49" fmla="*/ 13950 w 37765"/>
                <a:gd name="connsiteY49" fmla="*/ 3979 h 55116"/>
                <a:gd name="connsiteX50" fmla="*/ 11658 w 37765"/>
                <a:gd name="connsiteY50" fmla="*/ 5372 h 55116"/>
                <a:gd name="connsiteX51" fmla="*/ 9367 w 37765"/>
                <a:gd name="connsiteY51" fmla="*/ 8655 h 55116"/>
                <a:gd name="connsiteX52" fmla="*/ 5580 w 37765"/>
                <a:gd name="connsiteY52" fmla="*/ 15918 h 55116"/>
                <a:gd name="connsiteX53" fmla="*/ 4085 w 37765"/>
                <a:gd name="connsiteY53" fmla="*/ 17908 h 55116"/>
                <a:gd name="connsiteX54" fmla="*/ 3687 w 37765"/>
                <a:gd name="connsiteY54" fmla="*/ 19301 h 55116"/>
                <a:gd name="connsiteX55" fmla="*/ 4384 w 37765"/>
                <a:gd name="connsiteY55" fmla="*/ 21290 h 55116"/>
                <a:gd name="connsiteX56" fmla="*/ 6676 w 37765"/>
                <a:gd name="connsiteY56" fmla="*/ 24275 h 55116"/>
                <a:gd name="connsiteX57" fmla="*/ 7075 w 37765"/>
                <a:gd name="connsiteY57" fmla="*/ 25966 h 55116"/>
                <a:gd name="connsiteX58" fmla="*/ 2690 w 37765"/>
                <a:gd name="connsiteY58" fmla="*/ 27657 h 55116"/>
                <a:gd name="connsiteX59" fmla="*/ 897 w 37765"/>
                <a:gd name="connsiteY59" fmla="*/ 30145 h 5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7765" h="55116">
                  <a:moveTo>
                    <a:pt x="897" y="30145"/>
                  </a:moveTo>
                  <a:lnTo>
                    <a:pt x="0" y="32930"/>
                  </a:lnTo>
                  <a:lnTo>
                    <a:pt x="399" y="34920"/>
                  </a:lnTo>
                  <a:lnTo>
                    <a:pt x="2690" y="36313"/>
                  </a:lnTo>
                  <a:lnTo>
                    <a:pt x="5779" y="36611"/>
                  </a:lnTo>
                  <a:lnTo>
                    <a:pt x="11260" y="36114"/>
                  </a:lnTo>
                  <a:lnTo>
                    <a:pt x="12057" y="35815"/>
                  </a:lnTo>
                  <a:lnTo>
                    <a:pt x="13751" y="34920"/>
                  </a:lnTo>
                  <a:lnTo>
                    <a:pt x="14349" y="34920"/>
                  </a:lnTo>
                  <a:lnTo>
                    <a:pt x="14847" y="36114"/>
                  </a:lnTo>
                  <a:lnTo>
                    <a:pt x="14747" y="37109"/>
                  </a:lnTo>
                  <a:lnTo>
                    <a:pt x="14448" y="37905"/>
                  </a:lnTo>
                  <a:lnTo>
                    <a:pt x="14349" y="38402"/>
                  </a:lnTo>
                  <a:lnTo>
                    <a:pt x="16342" y="41884"/>
                  </a:lnTo>
                  <a:lnTo>
                    <a:pt x="16840" y="43178"/>
                  </a:lnTo>
                  <a:lnTo>
                    <a:pt x="17039" y="45764"/>
                  </a:lnTo>
                  <a:lnTo>
                    <a:pt x="16342" y="47157"/>
                  </a:lnTo>
                  <a:lnTo>
                    <a:pt x="15544" y="48251"/>
                  </a:lnTo>
                  <a:lnTo>
                    <a:pt x="15146" y="49644"/>
                  </a:lnTo>
                  <a:lnTo>
                    <a:pt x="14847" y="50341"/>
                  </a:lnTo>
                  <a:lnTo>
                    <a:pt x="14349" y="52231"/>
                  </a:lnTo>
                  <a:lnTo>
                    <a:pt x="14149" y="54221"/>
                  </a:lnTo>
                  <a:lnTo>
                    <a:pt x="14747" y="55116"/>
                  </a:lnTo>
                  <a:lnTo>
                    <a:pt x="17537" y="54221"/>
                  </a:lnTo>
                  <a:lnTo>
                    <a:pt x="20228" y="52629"/>
                  </a:lnTo>
                  <a:lnTo>
                    <a:pt x="22320" y="52032"/>
                  </a:lnTo>
                  <a:lnTo>
                    <a:pt x="23815" y="53823"/>
                  </a:lnTo>
                  <a:lnTo>
                    <a:pt x="27801" y="52131"/>
                  </a:lnTo>
                  <a:lnTo>
                    <a:pt x="29594" y="50838"/>
                  </a:lnTo>
                  <a:lnTo>
                    <a:pt x="30690" y="49147"/>
                  </a:lnTo>
                  <a:lnTo>
                    <a:pt x="30690" y="46759"/>
                  </a:lnTo>
                  <a:lnTo>
                    <a:pt x="29694" y="44769"/>
                  </a:lnTo>
                  <a:lnTo>
                    <a:pt x="28399" y="42879"/>
                  </a:lnTo>
                  <a:lnTo>
                    <a:pt x="27302" y="40790"/>
                  </a:lnTo>
                  <a:lnTo>
                    <a:pt x="28299" y="39695"/>
                  </a:lnTo>
                  <a:lnTo>
                    <a:pt x="27302" y="38402"/>
                  </a:lnTo>
                  <a:lnTo>
                    <a:pt x="33480" y="26663"/>
                  </a:lnTo>
                  <a:lnTo>
                    <a:pt x="34676" y="23479"/>
                  </a:lnTo>
                  <a:lnTo>
                    <a:pt x="36569" y="16714"/>
                  </a:lnTo>
                  <a:lnTo>
                    <a:pt x="37765" y="13530"/>
                  </a:lnTo>
                  <a:lnTo>
                    <a:pt x="36868" y="10944"/>
                  </a:lnTo>
                  <a:lnTo>
                    <a:pt x="36968" y="8456"/>
                  </a:lnTo>
                  <a:lnTo>
                    <a:pt x="37765" y="2885"/>
                  </a:lnTo>
                  <a:lnTo>
                    <a:pt x="35673" y="398"/>
                  </a:lnTo>
                  <a:lnTo>
                    <a:pt x="31986" y="0"/>
                  </a:lnTo>
                  <a:lnTo>
                    <a:pt x="23516" y="1791"/>
                  </a:lnTo>
                  <a:lnTo>
                    <a:pt x="19929" y="1592"/>
                  </a:lnTo>
                  <a:lnTo>
                    <a:pt x="18335" y="1990"/>
                  </a:lnTo>
                  <a:lnTo>
                    <a:pt x="15345" y="3582"/>
                  </a:lnTo>
                  <a:lnTo>
                    <a:pt x="13950" y="3979"/>
                  </a:lnTo>
                  <a:lnTo>
                    <a:pt x="11658" y="5372"/>
                  </a:lnTo>
                  <a:lnTo>
                    <a:pt x="9367" y="8655"/>
                  </a:lnTo>
                  <a:lnTo>
                    <a:pt x="5580" y="15918"/>
                  </a:lnTo>
                  <a:lnTo>
                    <a:pt x="4085" y="17908"/>
                  </a:lnTo>
                  <a:lnTo>
                    <a:pt x="3687" y="19301"/>
                  </a:lnTo>
                  <a:lnTo>
                    <a:pt x="4384" y="21290"/>
                  </a:lnTo>
                  <a:lnTo>
                    <a:pt x="6676" y="24275"/>
                  </a:lnTo>
                  <a:lnTo>
                    <a:pt x="7075" y="25966"/>
                  </a:lnTo>
                  <a:lnTo>
                    <a:pt x="2690" y="27657"/>
                  </a:lnTo>
                  <a:lnTo>
                    <a:pt x="897" y="3014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7A29C6B2-24B5-48A1-9CE1-8DC3650B1CA0}"/>
                </a:ext>
              </a:extLst>
            </p:cNvPr>
            <p:cNvSpPr/>
            <p:nvPr/>
          </p:nvSpPr>
          <p:spPr>
            <a:xfrm>
              <a:off x="-2415938" y="491205"/>
              <a:ext cx="8370" cy="5969"/>
            </a:xfrm>
            <a:custGeom>
              <a:avLst/>
              <a:gdLst>
                <a:gd name="connsiteX0" fmla="*/ 5580 w 8370"/>
                <a:gd name="connsiteY0" fmla="*/ 2786 h 5969"/>
                <a:gd name="connsiteX1" fmla="*/ 8370 w 8370"/>
                <a:gd name="connsiteY1" fmla="*/ 1890 h 5969"/>
                <a:gd name="connsiteX2" fmla="*/ 8370 w 8370"/>
                <a:gd name="connsiteY2" fmla="*/ 796 h 5969"/>
                <a:gd name="connsiteX3" fmla="*/ 3786 w 8370"/>
                <a:gd name="connsiteY3" fmla="*/ 995 h 5969"/>
                <a:gd name="connsiteX4" fmla="*/ 2292 w 8370"/>
                <a:gd name="connsiteY4" fmla="*/ 796 h 5969"/>
                <a:gd name="connsiteX5" fmla="*/ 1295 w 8370"/>
                <a:gd name="connsiteY5" fmla="*/ 100 h 5969"/>
                <a:gd name="connsiteX6" fmla="*/ 1096 w 8370"/>
                <a:gd name="connsiteY6" fmla="*/ 0 h 5969"/>
                <a:gd name="connsiteX7" fmla="*/ 0 w 8370"/>
                <a:gd name="connsiteY7" fmla="*/ 1492 h 5969"/>
                <a:gd name="connsiteX8" fmla="*/ 498 w 8370"/>
                <a:gd name="connsiteY8" fmla="*/ 3383 h 5969"/>
                <a:gd name="connsiteX9" fmla="*/ 2093 w 8370"/>
                <a:gd name="connsiteY9" fmla="*/ 4875 h 5969"/>
                <a:gd name="connsiteX10" fmla="*/ 2192 w 8370"/>
                <a:gd name="connsiteY10" fmla="*/ 5969 h 5969"/>
                <a:gd name="connsiteX11" fmla="*/ 3089 w 8370"/>
                <a:gd name="connsiteY11" fmla="*/ 4875 h 5969"/>
                <a:gd name="connsiteX12" fmla="*/ 5580 w 8370"/>
                <a:gd name="connsiteY12" fmla="*/ 2786 h 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370" h="5969">
                  <a:moveTo>
                    <a:pt x="5580" y="2786"/>
                  </a:moveTo>
                  <a:lnTo>
                    <a:pt x="8370" y="1890"/>
                  </a:lnTo>
                  <a:lnTo>
                    <a:pt x="8370" y="796"/>
                  </a:lnTo>
                  <a:lnTo>
                    <a:pt x="3786" y="995"/>
                  </a:lnTo>
                  <a:lnTo>
                    <a:pt x="2292" y="796"/>
                  </a:lnTo>
                  <a:lnTo>
                    <a:pt x="1295" y="100"/>
                  </a:lnTo>
                  <a:lnTo>
                    <a:pt x="1096" y="0"/>
                  </a:lnTo>
                  <a:lnTo>
                    <a:pt x="0" y="1492"/>
                  </a:lnTo>
                  <a:lnTo>
                    <a:pt x="498" y="3383"/>
                  </a:lnTo>
                  <a:lnTo>
                    <a:pt x="2093" y="4875"/>
                  </a:lnTo>
                  <a:lnTo>
                    <a:pt x="2192" y="5969"/>
                  </a:lnTo>
                  <a:lnTo>
                    <a:pt x="3089" y="4875"/>
                  </a:lnTo>
                  <a:lnTo>
                    <a:pt x="5580" y="278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99502A38-F6D0-4C62-82A0-942C71A4A320}"/>
                </a:ext>
              </a:extLst>
            </p:cNvPr>
            <p:cNvSpPr/>
            <p:nvPr/>
          </p:nvSpPr>
          <p:spPr>
            <a:xfrm>
              <a:off x="-2353860" y="280789"/>
              <a:ext cx="27501" cy="17609"/>
            </a:xfrm>
            <a:custGeom>
              <a:avLst/>
              <a:gdLst>
                <a:gd name="connsiteX0" fmla="*/ 20427 w 27501"/>
                <a:gd name="connsiteY0" fmla="*/ 298 h 17609"/>
                <a:gd name="connsiteX1" fmla="*/ 19530 w 27501"/>
                <a:gd name="connsiteY1" fmla="*/ 0 h 17609"/>
                <a:gd name="connsiteX2" fmla="*/ 18633 w 27501"/>
                <a:gd name="connsiteY2" fmla="*/ 895 h 17609"/>
                <a:gd name="connsiteX3" fmla="*/ 17238 w 27501"/>
                <a:gd name="connsiteY3" fmla="*/ 1592 h 17609"/>
                <a:gd name="connsiteX4" fmla="*/ 8470 w 27501"/>
                <a:gd name="connsiteY4" fmla="*/ 4676 h 17609"/>
                <a:gd name="connsiteX5" fmla="*/ 6776 w 27501"/>
                <a:gd name="connsiteY5" fmla="*/ 5969 h 17609"/>
                <a:gd name="connsiteX6" fmla="*/ 6975 w 27501"/>
                <a:gd name="connsiteY6" fmla="*/ 7462 h 17609"/>
                <a:gd name="connsiteX7" fmla="*/ 5779 w 27501"/>
                <a:gd name="connsiteY7" fmla="*/ 9551 h 17609"/>
                <a:gd name="connsiteX8" fmla="*/ 3189 w 27501"/>
                <a:gd name="connsiteY8" fmla="*/ 11242 h 17609"/>
                <a:gd name="connsiteX9" fmla="*/ 598 w 27501"/>
                <a:gd name="connsiteY9" fmla="*/ 12336 h 17609"/>
                <a:gd name="connsiteX10" fmla="*/ 0 w 27501"/>
                <a:gd name="connsiteY10" fmla="*/ 13431 h 17609"/>
                <a:gd name="connsiteX11" fmla="*/ 1594 w 27501"/>
                <a:gd name="connsiteY11" fmla="*/ 14326 h 17609"/>
                <a:gd name="connsiteX12" fmla="*/ 3886 w 27501"/>
                <a:gd name="connsiteY12" fmla="*/ 15122 h 17609"/>
                <a:gd name="connsiteX13" fmla="*/ 7374 w 27501"/>
                <a:gd name="connsiteY13" fmla="*/ 16913 h 17609"/>
                <a:gd name="connsiteX14" fmla="*/ 12356 w 27501"/>
                <a:gd name="connsiteY14" fmla="*/ 17609 h 17609"/>
                <a:gd name="connsiteX15" fmla="*/ 16342 w 27501"/>
                <a:gd name="connsiteY15" fmla="*/ 16614 h 17609"/>
                <a:gd name="connsiteX16" fmla="*/ 19331 w 27501"/>
                <a:gd name="connsiteY16" fmla="*/ 15222 h 17609"/>
                <a:gd name="connsiteX17" fmla="*/ 21125 w 27501"/>
                <a:gd name="connsiteY17" fmla="*/ 13829 h 17609"/>
                <a:gd name="connsiteX18" fmla="*/ 21324 w 27501"/>
                <a:gd name="connsiteY18" fmla="*/ 12635 h 17609"/>
                <a:gd name="connsiteX19" fmla="*/ 21125 w 27501"/>
                <a:gd name="connsiteY19" fmla="*/ 11541 h 17609"/>
                <a:gd name="connsiteX20" fmla="*/ 20626 w 27501"/>
                <a:gd name="connsiteY20" fmla="*/ 10844 h 17609"/>
                <a:gd name="connsiteX21" fmla="*/ 24014 w 27501"/>
                <a:gd name="connsiteY21" fmla="*/ 10048 h 17609"/>
                <a:gd name="connsiteX22" fmla="*/ 25210 w 27501"/>
                <a:gd name="connsiteY22" fmla="*/ 9352 h 17609"/>
                <a:gd name="connsiteX23" fmla="*/ 26206 w 27501"/>
                <a:gd name="connsiteY23" fmla="*/ 7660 h 17609"/>
                <a:gd name="connsiteX24" fmla="*/ 27502 w 27501"/>
                <a:gd name="connsiteY24" fmla="*/ 3980 h 17609"/>
                <a:gd name="connsiteX25" fmla="*/ 26007 w 27501"/>
                <a:gd name="connsiteY25" fmla="*/ 796 h 17609"/>
                <a:gd name="connsiteX26" fmla="*/ 24512 w 27501"/>
                <a:gd name="connsiteY26" fmla="*/ 100 h 17609"/>
                <a:gd name="connsiteX27" fmla="*/ 23715 w 27501"/>
                <a:gd name="connsiteY27" fmla="*/ 298 h 17609"/>
                <a:gd name="connsiteX28" fmla="*/ 20427 w 27501"/>
                <a:gd name="connsiteY28" fmla="*/ 298 h 17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7501" h="17609">
                  <a:moveTo>
                    <a:pt x="20427" y="298"/>
                  </a:moveTo>
                  <a:lnTo>
                    <a:pt x="19530" y="0"/>
                  </a:lnTo>
                  <a:lnTo>
                    <a:pt x="18633" y="895"/>
                  </a:lnTo>
                  <a:lnTo>
                    <a:pt x="17238" y="1592"/>
                  </a:lnTo>
                  <a:lnTo>
                    <a:pt x="8470" y="4676"/>
                  </a:lnTo>
                  <a:lnTo>
                    <a:pt x="6776" y="5969"/>
                  </a:lnTo>
                  <a:lnTo>
                    <a:pt x="6975" y="7462"/>
                  </a:lnTo>
                  <a:lnTo>
                    <a:pt x="5779" y="9551"/>
                  </a:lnTo>
                  <a:lnTo>
                    <a:pt x="3189" y="11242"/>
                  </a:lnTo>
                  <a:lnTo>
                    <a:pt x="598" y="12336"/>
                  </a:lnTo>
                  <a:lnTo>
                    <a:pt x="0" y="13431"/>
                  </a:lnTo>
                  <a:lnTo>
                    <a:pt x="1594" y="14326"/>
                  </a:lnTo>
                  <a:lnTo>
                    <a:pt x="3886" y="15122"/>
                  </a:lnTo>
                  <a:lnTo>
                    <a:pt x="7374" y="16913"/>
                  </a:lnTo>
                  <a:lnTo>
                    <a:pt x="12356" y="17609"/>
                  </a:lnTo>
                  <a:lnTo>
                    <a:pt x="16342" y="16614"/>
                  </a:lnTo>
                  <a:lnTo>
                    <a:pt x="19331" y="15222"/>
                  </a:lnTo>
                  <a:lnTo>
                    <a:pt x="21125" y="13829"/>
                  </a:lnTo>
                  <a:lnTo>
                    <a:pt x="21324" y="12635"/>
                  </a:lnTo>
                  <a:lnTo>
                    <a:pt x="21125" y="11541"/>
                  </a:lnTo>
                  <a:lnTo>
                    <a:pt x="20626" y="10844"/>
                  </a:lnTo>
                  <a:lnTo>
                    <a:pt x="24014" y="10048"/>
                  </a:lnTo>
                  <a:lnTo>
                    <a:pt x="25210" y="9352"/>
                  </a:lnTo>
                  <a:lnTo>
                    <a:pt x="26206" y="7660"/>
                  </a:lnTo>
                  <a:lnTo>
                    <a:pt x="27502" y="3980"/>
                  </a:lnTo>
                  <a:lnTo>
                    <a:pt x="26007" y="796"/>
                  </a:lnTo>
                  <a:lnTo>
                    <a:pt x="24512" y="100"/>
                  </a:lnTo>
                  <a:lnTo>
                    <a:pt x="23715" y="298"/>
                  </a:lnTo>
                  <a:lnTo>
                    <a:pt x="20427" y="2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AA74CC9A-CB20-45A8-8CFE-9E4D0BECF6AF}"/>
                </a:ext>
              </a:extLst>
            </p:cNvPr>
            <p:cNvSpPr/>
            <p:nvPr/>
          </p:nvSpPr>
          <p:spPr>
            <a:xfrm>
              <a:off x="-2334330" y="280092"/>
              <a:ext cx="4982" cy="994"/>
            </a:xfrm>
            <a:custGeom>
              <a:avLst/>
              <a:gdLst>
                <a:gd name="connsiteX0" fmla="*/ 299 w 4982"/>
                <a:gd name="connsiteY0" fmla="*/ 398 h 994"/>
                <a:gd name="connsiteX1" fmla="*/ 0 w 4982"/>
                <a:gd name="connsiteY1" fmla="*/ 696 h 994"/>
                <a:gd name="connsiteX2" fmla="*/ 897 w 4982"/>
                <a:gd name="connsiteY2" fmla="*/ 995 h 994"/>
                <a:gd name="connsiteX3" fmla="*/ 4185 w 4982"/>
                <a:gd name="connsiteY3" fmla="*/ 995 h 994"/>
                <a:gd name="connsiteX4" fmla="*/ 4982 w 4982"/>
                <a:gd name="connsiteY4" fmla="*/ 796 h 994"/>
                <a:gd name="connsiteX5" fmla="*/ 2890 w 4982"/>
                <a:gd name="connsiteY5" fmla="*/ 0 h 994"/>
                <a:gd name="connsiteX6" fmla="*/ 299 w 4982"/>
                <a:gd name="connsiteY6" fmla="*/ 398 h 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82" h="994">
                  <a:moveTo>
                    <a:pt x="299" y="398"/>
                  </a:moveTo>
                  <a:lnTo>
                    <a:pt x="0" y="696"/>
                  </a:lnTo>
                  <a:lnTo>
                    <a:pt x="897" y="995"/>
                  </a:lnTo>
                  <a:lnTo>
                    <a:pt x="4185" y="995"/>
                  </a:lnTo>
                  <a:lnTo>
                    <a:pt x="4982" y="796"/>
                  </a:lnTo>
                  <a:lnTo>
                    <a:pt x="2890" y="0"/>
                  </a:lnTo>
                  <a:lnTo>
                    <a:pt x="299" y="3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CA98A5A2-E7AA-44A2-BF25-3846F196E5CA}"/>
                </a:ext>
              </a:extLst>
            </p:cNvPr>
            <p:cNvSpPr/>
            <p:nvPr/>
          </p:nvSpPr>
          <p:spPr>
            <a:xfrm>
              <a:off x="-2574372" y="389429"/>
              <a:ext cx="64170" cy="46460"/>
            </a:xfrm>
            <a:custGeom>
              <a:avLst/>
              <a:gdLst>
                <a:gd name="connsiteX0" fmla="*/ 58591 w 64170"/>
                <a:gd name="connsiteY0" fmla="*/ 30244 h 46460"/>
                <a:gd name="connsiteX1" fmla="*/ 56299 w 64170"/>
                <a:gd name="connsiteY1" fmla="*/ 27260 h 46460"/>
                <a:gd name="connsiteX2" fmla="*/ 54306 w 64170"/>
                <a:gd name="connsiteY2" fmla="*/ 25270 h 46460"/>
                <a:gd name="connsiteX3" fmla="*/ 47132 w 64170"/>
                <a:gd name="connsiteY3" fmla="*/ 20892 h 46460"/>
                <a:gd name="connsiteX4" fmla="*/ 39359 w 64170"/>
                <a:gd name="connsiteY4" fmla="*/ 13431 h 46460"/>
                <a:gd name="connsiteX5" fmla="*/ 39758 w 64170"/>
                <a:gd name="connsiteY5" fmla="*/ 10247 h 46460"/>
                <a:gd name="connsiteX6" fmla="*/ 40954 w 64170"/>
                <a:gd name="connsiteY6" fmla="*/ 9650 h 46460"/>
                <a:gd name="connsiteX7" fmla="*/ 42648 w 64170"/>
                <a:gd name="connsiteY7" fmla="*/ 10745 h 46460"/>
                <a:gd name="connsiteX8" fmla="*/ 44541 w 64170"/>
                <a:gd name="connsiteY8" fmla="*/ 12834 h 46460"/>
                <a:gd name="connsiteX9" fmla="*/ 45238 w 64170"/>
                <a:gd name="connsiteY9" fmla="*/ 11143 h 46460"/>
                <a:gd name="connsiteX10" fmla="*/ 46334 w 64170"/>
                <a:gd name="connsiteY10" fmla="*/ 9551 h 46460"/>
                <a:gd name="connsiteX11" fmla="*/ 47630 w 64170"/>
                <a:gd name="connsiteY11" fmla="*/ 8556 h 46460"/>
                <a:gd name="connsiteX12" fmla="*/ 51217 w 64170"/>
                <a:gd name="connsiteY12" fmla="*/ 7860 h 46460"/>
                <a:gd name="connsiteX13" fmla="*/ 53310 w 64170"/>
                <a:gd name="connsiteY13" fmla="*/ 7163 h 46460"/>
                <a:gd name="connsiteX14" fmla="*/ 54306 w 64170"/>
                <a:gd name="connsiteY14" fmla="*/ 6069 h 46460"/>
                <a:gd name="connsiteX15" fmla="*/ 53310 w 64170"/>
                <a:gd name="connsiteY15" fmla="*/ 4676 h 46460"/>
                <a:gd name="connsiteX16" fmla="*/ 52014 w 64170"/>
                <a:gd name="connsiteY16" fmla="*/ 4477 h 46460"/>
                <a:gd name="connsiteX17" fmla="*/ 50818 w 64170"/>
                <a:gd name="connsiteY17" fmla="*/ 4974 h 46460"/>
                <a:gd name="connsiteX18" fmla="*/ 49722 w 64170"/>
                <a:gd name="connsiteY18" fmla="*/ 5671 h 46460"/>
                <a:gd name="connsiteX19" fmla="*/ 49025 w 64170"/>
                <a:gd name="connsiteY19" fmla="*/ 5870 h 46460"/>
                <a:gd name="connsiteX20" fmla="*/ 48028 w 64170"/>
                <a:gd name="connsiteY20" fmla="*/ 5372 h 46460"/>
                <a:gd name="connsiteX21" fmla="*/ 46334 w 64170"/>
                <a:gd name="connsiteY21" fmla="*/ 3880 h 46460"/>
                <a:gd name="connsiteX22" fmla="*/ 45936 w 64170"/>
                <a:gd name="connsiteY22" fmla="*/ 3582 h 46460"/>
                <a:gd name="connsiteX23" fmla="*/ 44939 w 64170"/>
                <a:gd name="connsiteY23" fmla="*/ 3184 h 46460"/>
                <a:gd name="connsiteX24" fmla="*/ 43246 w 64170"/>
                <a:gd name="connsiteY24" fmla="*/ 1592 h 46460"/>
                <a:gd name="connsiteX25" fmla="*/ 41950 w 64170"/>
                <a:gd name="connsiteY25" fmla="*/ 1293 h 46460"/>
                <a:gd name="connsiteX26" fmla="*/ 40854 w 64170"/>
                <a:gd name="connsiteY26" fmla="*/ 1094 h 46460"/>
                <a:gd name="connsiteX27" fmla="*/ 37765 w 64170"/>
                <a:gd name="connsiteY27" fmla="*/ 100 h 46460"/>
                <a:gd name="connsiteX28" fmla="*/ 30491 w 64170"/>
                <a:gd name="connsiteY28" fmla="*/ 1293 h 46460"/>
                <a:gd name="connsiteX29" fmla="*/ 20327 w 64170"/>
                <a:gd name="connsiteY29" fmla="*/ 0 h 46460"/>
                <a:gd name="connsiteX30" fmla="*/ 15744 w 64170"/>
                <a:gd name="connsiteY30" fmla="*/ 398 h 46460"/>
                <a:gd name="connsiteX31" fmla="*/ 9865 w 64170"/>
                <a:gd name="connsiteY31" fmla="*/ 4775 h 46460"/>
                <a:gd name="connsiteX32" fmla="*/ 5580 w 64170"/>
                <a:gd name="connsiteY32" fmla="*/ 6069 h 46460"/>
                <a:gd name="connsiteX33" fmla="*/ 3587 w 64170"/>
                <a:gd name="connsiteY33" fmla="*/ 7163 h 46460"/>
                <a:gd name="connsiteX34" fmla="*/ 1794 w 64170"/>
                <a:gd name="connsiteY34" fmla="*/ 8655 h 46460"/>
                <a:gd name="connsiteX35" fmla="*/ 1495 w 64170"/>
                <a:gd name="connsiteY35" fmla="*/ 9252 h 46460"/>
                <a:gd name="connsiteX36" fmla="*/ 996 w 64170"/>
                <a:gd name="connsiteY36" fmla="*/ 10645 h 46460"/>
                <a:gd name="connsiteX37" fmla="*/ 698 w 64170"/>
                <a:gd name="connsiteY37" fmla="*/ 12137 h 46460"/>
                <a:gd name="connsiteX38" fmla="*/ 797 w 64170"/>
                <a:gd name="connsiteY38" fmla="*/ 13232 h 46460"/>
                <a:gd name="connsiteX39" fmla="*/ 797 w 64170"/>
                <a:gd name="connsiteY39" fmla="*/ 14227 h 46460"/>
                <a:gd name="connsiteX40" fmla="*/ 0 w 64170"/>
                <a:gd name="connsiteY40" fmla="*/ 15222 h 46460"/>
                <a:gd name="connsiteX41" fmla="*/ 1196 w 64170"/>
                <a:gd name="connsiteY41" fmla="*/ 17311 h 46460"/>
                <a:gd name="connsiteX42" fmla="*/ 1794 w 64170"/>
                <a:gd name="connsiteY42" fmla="*/ 18107 h 46460"/>
                <a:gd name="connsiteX43" fmla="*/ 2591 w 64170"/>
                <a:gd name="connsiteY43" fmla="*/ 18704 h 46460"/>
                <a:gd name="connsiteX44" fmla="*/ 2591 w 64170"/>
                <a:gd name="connsiteY44" fmla="*/ 19798 h 46460"/>
                <a:gd name="connsiteX45" fmla="*/ 1893 w 64170"/>
                <a:gd name="connsiteY45" fmla="*/ 19798 h 46460"/>
                <a:gd name="connsiteX46" fmla="*/ 2491 w 64170"/>
                <a:gd name="connsiteY46" fmla="*/ 21589 h 46460"/>
                <a:gd name="connsiteX47" fmla="*/ 2391 w 64170"/>
                <a:gd name="connsiteY47" fmla="*/ 22783 h 46460"/>
                <a:gd name="connsiteX48" fmla="*/ 2093 w 64170"/>
                <a:gd name="connsiteY48" fmla="*/ 23977 h 46460"/>
                <a:gd name="connsiteX49" fmla="*/ 1893 w 64170"/>
                <a:gd name="connsiteY49" fmla="*/ 25668 h 46460"/>
                <a:gd name="connsiteX50" fmla="*/ 1794 w 64170"/>
                <a:gd name="connsiteY50" fmla="*/ 29946 h 46460"/>
                <a:gd name="connsiteX51" fmla="*/ 1893 w 64170"/>
                <a:gd name="connsiteY51" fmla="*/ 30244 h 46460"/>
                <a:gd name="connsiteX52" fmla="*/ 1096 w 64170"/>
                <a:gd name="connsiteY52" fmla="*/ 33726 h 46460"/>
                <a:gd name="connsiteX53" fmla="*/ 299 w 64170"/>
                <a:gd name="connsiteY53" fmla="*/ 35815 h 46460"/>
                <a:gd name="connsiteX54" fmla="*/ 598 w 64170"/>
                <a:gd name="connsiteY54" fmla="*/ 37706 h 46460"/>
                <a:gd name="connsiteX55" fmla="*/ 2591 w 64170"/>
                <a:gd name="connsiteY55" fmla="*/ 40690 h 46460"/>
                <a:gd name="connsiteX56" fmla="*/ 4384 w 64170"/>
                <a:gd name="connsiteY56" fmla="*/ 42581 h 46460"/>
                <a:gd name="connsiteX57" fmla="*/ 6278 w 64170"/>
                <a:gd name="connsiteY57" fmla="*/ 43675 h 46460"/>
                <a:gd name="connsiteX58" fmla="*/ 8470 w 64170"/>
                <a:gd name="connsiteY58" fmla="*/ 43874 h 46460"/>
                <a:gd name="connsiteX59" fmla="*/ 11359 w 64170"/>
                <a:gd name="connsiteY59" fmla="*/ 42879 h 46460"/>
                <a:gd name="connsiteX60" fmla="*/ 14249 w 64170"/>
                <a:gd name="connsiteY60" fmla="*/ 40889 h 46460"/>
                <a:gd name="connsiteX61" fmla="*/ 14349 w 64170"/>
                <a:gd name="connsiteY61" fmla="*/ 39198 h 46460"/>
                <a:gd name="connsiteX62" fmla="*/ 12954 w 64170"/>
                <a:gd name="connsiteY62" fmla="*/ 37009 h 46460"/>
                <a:gd name="connsiteX63" fmla="*/ 11359 w 64170"/>
                <a:gd name="connsiteY63" fmla="*/ 33726 h 46460"/>
                <a:gd name="connsiteX64" fmla="*/ 12356 w 64170"/>
                <a:gd name="connsiteY64" fmla="*/ 32134 h 46460"/>
                <a:gd name="connsiteX65" fmla="*/ 14149 w 64170"/>
                <a:gd name="connsiteY65" fmla="*/ 30045 h 46460"/>
                <a:gd name="connsiteX66" fmla="*/ 16342 w 64170"/>
                <a:gd name="connsiteY66" fmla="*/ 28254 h 46460"/>
                <a:gd name="connsiteX67" fmla="*/ 18334 w 64170"/>
                <a:gd name="connsiteY67" fmla="*/ 27956 h 46460"/>
                <a:gd name="connsiteX68" fmla="*/ 19730 w 64170"/>
                <a:gd name="connsiteY68" fmla="*/ 29150 h 46460"/>
                <a:gd name="connsiteX69" fmla="*/ 21722 w 64170"/>
                <a:gd name="connsiteY69" fmla="*/ 33030 h 46460"/>
                <a:gd name="connsiteX70" fmla="*/ 23616 w 64170"/>
                <a:gd name="connsiteY70" fmla="*/ 34920 h 46460"/>
                <a:gd name="connsiteX71" fmla="*/ 21822 w 64170"/>
                <a:gd name="connsiteY71" fmla="*/ 36611 h 46460"/>
                <a:gd name="connsiteX72" fmla="*/ 23117 w 64170"/>
                <a:gd name="connsiteY72" fmla="*/ 37805 h 46460"/>
                <a:gd name="connsiteX73" fmla="*/ 25509 w 64170"/>
                <a:gd name="connsiteY73" fmla="*/ 38900 h 46460"/>
                <a:gd name="connsiteX74" fmla="*/ 27402 w 64170"/>
                <a:gd name="connsiteY74" fmla="*/ 40093 h 46460"/>
                <a:gd name="connsiteX75" fmla="*/ 28797 w 64170"/>
                <a:gd name="connsiteY75" fmla="*/ 41486 h 46460"/>
                <a:gd name="connsiteX76" fmla="*/ 30292 w 64170"/>
                <a:gd name="connsiteY76" fmla="*/ 42481 h 46460"/>
                <a:gd name="connsiteX77" fmla="*/ 33979 w 64170"/>
                <a:gd name="connsiteY77" fmla="*/ 44073 h 46460"/>
                <a:gd name="connsiteX78" fmla="*/ 34377 w 64170"/>
                <a:gd name="connsiteY78" fmla="*/ 44769 h 46460"/>
                <a:gd name="connsiteX79" fmla="*/ 34776 w 64170"/>
                <a:gd name="connsiteY79" fmla="*/ 45665 h 46460"/>
                <a:gd name="connsiteX80" fmla="*/ 35473 w 64170"/>
                <a:gd name="connsiteY80" fmla="*/ 46461 h 46460"/>
                <a:gd name="connsiteX81" fmla="*/ 36669 w 64170"/>
                <a:gd name="connsiteY81" fmla="*/ 46461 h 46460"/>
                <a:gd name="connsiteX82" fmla="*/ 37068 w 64170"/>
                <a:gd name="connsiteY82" fmla="*/ 45764 h 46460"/>
                <a:gd name="connsiteX83" fmla="*/ 38263 w 64170"/>
                <a:gd name="connsiteY83" fmla="*/ 43178 h 46460"/>
                <a:gd name="connsiteX84" fmla="*/ 40057 w 64170"/>
                <a:gd name="connsiteY84" fmla="*/ 40093 h 46460"/>
                <a:gd name="connsiteX85" fmla="*/ 40655 w 64170"/>
                <a:gd name="connsiteY85" fmla="*/ 37507 h 46460"/>
                <a:gd name="connsiteX86" fmla="*/ 40356 w 64170"/>
                <a:gd name="connsiteY86" fmla="*/ 34821 h 46460"/>
                <a:gd name="connsiteX87" fmla="*/ 39160 w 64170"/>
                <a:gd name="connsiteY87" fmla="*/ 32532 h 46460"/>
                <a:gd name="connsiteX88" fmla="*/ 40854 w 64170"/>
                <a:gd name="connsiteY88" fmla="*/ 31637 h 46460"/>
                <a:gd name="connsiteX89" fmla="*/ 42249 w 64170"/>
                <a:gd name="connsiteY89" fmla="*/ 32333 h 46460"/>
                <a:gd name="connsiteX90" fmla="*/ 43246 w 64170"/>
                <a:gd name="connsiteY90" fmla="*/ 34124 h 46460"/>
                <a:gd name="connsiteX91" fmla="*/ 43644 w 64170"/>
                <a:gd name="connsiteY91" fmla="*/ 36611 h 46460"/>
                <a:gd name="connsiteX92" fmla="*/ 44342 w 64170"/>
                <a:gd name="connsiteY92" fmla="*/ 38004 h 46460"/>
                <a:gd name="connsiteX93" fmla="*/ 46036 w 64170"/>
                <a:gd name="connsiteY93" fmla="*/ 38900 h 46460"/>
                <a:gd name="connsiteX94" fmla="*/ 48028 w 64170"/>
                <a:gd name="connsiteY94" fmla="*/ 39397 h 46460"/>
                <a:gd name="connsiteX95" fmla="*/ 49623 w 64170"/>
                <a:gd name="connsiteY95" fmla="*/ 39397 h 46460"/>
                <a:gd name="connsiteX96" fmla="*/ 50320 w 64170"/>
                <a:gd name="connsiteY96" fmla="*/ 38999 h 46460"/>
                <a:gd name="connsiteX97" fmla="*/ 50619 w 64170"/>
                <a:gd name="connsiteY97" fmla="*/ 38203 h 46460"/>
                <a:gd name="connsiteX98" fmla="*/ 51117 w 64170"/>
                <a:gd name="connsiteY98" fmla="*/ 37606 h 46460"/>
                <a:gd name="connsiteX99" fmla="*/ 53310 w 64170"/>
                <a:gd name="connsiteY99" fmla="*/ 37009 h 46460"/>
                <a:gd name="connsiteX100" fmla="*/ 55203 w 64170"/>
                <a:gd name="connsiteY100" fmla="*/ 36213 h 46460"/>
                <a:gd name="connsiteX101" fmla="*/ 57694 w 64170"/>
                <a:gd name="connsiteY101" fmla="*/ 35716 h 46460"/>
                <a:gd name="connsiteX102" fmla="*/ 64171 w 64170"/>
                <a:gd name="connsiteY102" fmla="*/ 33030 h 46460"/>
                <a:gd name="connsiteX103" fmla="*/ 60584 w 64170"/>
                <a:gd name="connsiteY103" fmla="*/ 31737 h 46460"/>
                <a:gd name="connsiteX104" fmla="*/ 58591 w 64170"/>
                <a:gd name="connsiteY104" fmla="*/ 30244 h 46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64170" h="46460">
                  <a:moveTo>
                    <a:pt x="58591" y="30244"/>
                  </a:moveTo>
                  <a:lnTo>
                    <a:pt x="56299" y="27260"/>
                  </a:lnTo>
                  <a:lnTo>
                    <a:pt x="54306" y="25270"/>
                  </a:lnTo>
                  <a:lnTo>
                    <a:pt x="47132" y="20892"/>
                  </a:lnTo>
                  <a:lnTo>
                    <a:pt x="39359" y="13431"/>
                  </a:lnTo>
                  <a:lnTo>
                    <a:pt x="39758" y="10247"/>
                  </a:lnTo>
                  <a:lnTo>
                    <a:pt x="40954" y="9650"/>
                  </a:lnTo>
                  <a:lnTo>
                    <a:pt x="42648" y="10745"/>
                  </a:lnTo>
                  <a:lnTo>
                    <a:pt x="44541" y="12834"/>
                  </a:lnTo>
                  <a:lnTo>
                    <a:pt x="45238" y="11143"/>
                  </a:lnTo>
                  <a:lnTo>
                    <a:pt x="46334" y="9551"/>
                  </a:lnTo>
                  <a:lnTo>
                    <a:pt x="47630" y="8556"/>
                  </a:lnTo>
                  <a:lnTo>
                    <a:pt x="51217" y="7860"/>
                  </a:lnTo>
                  <a:lnTo>
                    <a:pt x="53310" y="7163"/>
                  </a:lnTo>
                  <a:lnTo>
                    <a:pt x="54306" y="6069"/>
                  </a:lnTo>
                  <a:lnTo>
                    <a:pt x="53310" y="4676"/>
                  </a:lnTo>
                  <a:lnTo>
                    <a:pt x="52014" y="4477"/>
                  </a:lnTo>
                  <a:lnTo>
                    <a:pt x="50818" y="4974"/>
                  </a:lnTo>
                  <a:lnTo>
                    <a:pt x="49722" y="5671"/>
                  </a:lnTo>
                  <a:lnTo>
                    <a:pt x="49025" y="5870"/>
                  </a:lnTo>
                  <a:lnTo>
                    <a:pt x="48028" y="5372"/>
                  </a:lnTo>
                  <a:lnTo>
                    <a:pt x="46334" y="3880"/>
                  </a:lnTo>
                  <a:lnTo>
                    <a:pt x="45936" y="3582"/>
                  </a:lnTo>
                  <a:lnTo>
                    <a:pt x="44939" y="3184"/>
                  </a:lnTo>
                  <a:lnTo>
                    <a:pt x="43246" y="1592"/>
                  </a:lnTo>
                  <a:lnTo>
                    <a:pt x="41950" y="1293"/>
                  </a:lnTo>
                  <a:lnTo>
                    <a:pt x="40854" y="1094"/>
                  </a:lnTo>
                  <a:lnTo>
                    <a:pt x="37765" y="100"/>
                  </a:lnTo>
                  <a:lnTo>
                    <a:pt x="30491" y="1293"/>
                  </a:lnTo>
                  <a:lnTo>
                    <a:pt x="20327" y="0"/>
                  </a:lnTo>
                  <a:lnTo>
                    <a:pt x="15744" y="398"/>
                  </a:lnTo>
                  <a:lnTo>
                    <a:pt x="9865" y="4775"/>
                  </a:lnTo>
                  <a:lnTo>
                    <a:pt x="5580" y="6069"/>
                  </a:lnTo>
                  <a:lnTo>
                    <a:pt x="3587" y="7163"/>
                  </a:lnTo>
                  <a:lnTo>
                    <a:pt x="1794" y="8655"/>
                  </a:lnTo>
                  <a:lnTo>
                    <a:pt x="1495" y="9252"/>
                  </a:lnTo>
                  <a:lnTo>
                    <a:pt x="996" y="10645"/>
                  </a:lnTo>
                  <a:lnTo>
                    <a:pt x="698" y="12137"/>
                  </a:lnTo>
                  <a:lnTo>
                    <a:pt x="797" y="13232"/>
                  </a:lnTo>
                  <a:lnTo>
                    <a:pt x="797" y="14227"/>
                  </a:lnTo>
                  <a:lnTo>
                    <a:pt x="0" y="15222"/>
                  </a:lnTo>
                  <a:lnTo>
                    <a:pt x="1196" y="17311"/>
                  </a:lnTo>
                  <a:lnTo>
                    <a:pt x="1794" y="18107"/>
                  </a:lnTo>
                  <a:lnTo>
                    <a:pt x="2591" y="18704"/>
                  </a:lnTo>
                  <a:lnTo>
                    <a:pt x="2591" y="19798"/>
                  </a:lnTo>
                  <a:lnTo>
                    <a:pt x="1893" y="19798"/>
                  </a:lnTo>
                  <a:lnTo>
                    <a:pt x="2491" y="21589"/>
                  </a:lnTo>
                  <a:lnTo>
                    <a:pt x="2391" y="22783"/>
                  </a:lnTo>
                  <a:lnTo>
                    <a:pt x="2093" y="23977"/>
                  </a:lnTo>
                  <a:lnTo>
                    <a:pt x="1893" y="25668"/>
                  </a:lnTo>
                  <a:lnTo>
                    <a:pt x="1794" y="29946"/>
                  </a:lnTo>
                  <a:lnTo>
                    <a:pt x="1893" y="30244"/>
                  </a:lnTo>
                  <a:lnTo>
                    <a:pt x="1096" y="33726"/>
                  </a:lnTo>
                  <a:lnTo>
                    <a:pt x="299" y="35815"/>
                  </a:lnTo>
                  <a:lnTo>
                    <a:pt x="598" y="37706"/>
                  </a:lnTo>
                  <a:lnTo>
                    <a:pt x="2591" y="40690"/>
                  </a:lnTo>
                  <a:lnTo>
                    <a:pt x="4384" y="42581"/>
                  </a:lnTo>
                  <a:lnTo>
                    <a:pt x="6278" y="43675"/>
                  </a:lnTo>
                  <a:lnTo>
                    <a:pt x="8470" y="43874"/>
                  </a:lnTo>
                  <a:lnTo>
                    <a:pt x="11359" y="42879"/>
                  </a:lnTo>
                  <a:lnTo>
                    <a:pt x="14249" y="40889"/>
                  </a:lnTo>
                  <a:lnTo>
                    <a:pt x="14349" y="39198"/>
                  </a:lnTo>
                  <a:lnTo>
                    <a:pt x="12954" y="37009"/>
                  </a:lnTo>
                  <a:lnTo>
                    <a:pt x="11359" y="33726"/>
                  </a:lnTo>
                  <a:lnTo>
                    <a:pt x="12356" y="32134"/>
                  </a:lnTo>
                  <a:lnTo>
                    <a:pt x="14149" y="30045"/>
                  </a:lnTo>
                  <a:lnTo>
                    <a:pt x="16342" y="28254"/>
                  </a:lnTo>
                  <a:lnTo>
                    <a:pt x="18334" y="27956"/>
                  </a:lnTo>
                  <a:lnTo>
                    <a:pt x="19730" y="29150"/>
                  </a:lnTo>
                  <a:lnTo>
                    <a:pt x="21722" y="33030"/>
                  </a:lnTo>
                  <a:lnTo>
                    <a:pt x="23616" y="34920"/>
                  </a:lnTo>
                  <a:lnTo>
                    <a:pt x="21822" y="36611"/>
                  </a:lnTo>
                  <a:lnTo>
                    <a:pt x="23117" y="37805"/>
                  </a:lnTo>
                  <a:lnTo>
                    <a:pt x="25509" y="38900"/>
                  </a:lnTo>
                  <a:lnTo>
                    <a:pt x="27402" y="40093"/>
                  </a:lnTo>
                  <a:lnTo>
                    <a:pt x="28797" y="41486"/>
                  </a:lnTo>
                  <a:lnTo>
                    <a:pt x="30292" y="42481"/>
                  </a:lnTo>
                  <a:lnTo>
                    <a:pt x="33979" y="44073"/>
                  </a:lnTo>
                  <a:lnTo>
                    <a:pt x="34377" y="44769"/>
                  </a:lnTo>
                  <a:lnTo>
                    <a:pt x="34776" y="45665"/>
                  </a:lnTo>
                  <a:lnTo>
                    <a:pt x="35473" y="46461"/>
                  </a:lnTo>
                  <a:lnTo>
                    <a:pt x="36669" y="46461"/>
                  </a:lnTo>
                  <a:lnTo>
                    <a:pt x="37068" y="45764"/>
                  </a:lnTo>
                  <a:lnTo>
                    <a:pt x="38263" y="43178"/>
                  </a:lnTo>
                  <a:lnTo>
                    <a:pt x="40057" y="40093"/>
                  </a:lnTo>
                  <a:lnTo>
                    <a:pt x="40655" y="37507"/>
                  </a:lnTo>
                  <a:lnTo>
                    <a:pt x="40356" y="34821"/>
                  </a:lnTo>
                  <a:lnTo>
                    <a:pt x="39160" y="32532"/>
                  </a:lnTo>
                  <a:lnTo>
                    <a:pt x="40854" y="31637"/>
                  </a:lnTo>
                  <a:lnTo>
                    <a:pt x="42249" y="32333"/>
                  </a:lnTo>
                  <a:lnTo>
                    <a:pt x="43246" y="34124"/>
                  </a:lnTo>
                  <a:lnTo>
                    <a:pt x="43644" y="36611"/>
                  </a:lnTo>
                  <a:lnTo>
                    <a:pt x="44342" y="38004"/>
                  </a:lnTo>
                  <a:lnTo>
                    <a:pt x="46036" y="38900"/>
                  </a:lnTo>
                  <a:lnTo>
                    <a:pt x="48028" y="39397"/>
                  </a:lnTo>
                  <a:lnTo>
                    <a:pt x="49623" y="39397"/>
                  </a:lnTo>
                  <a:lnTo>
                    <a:pt x="50320" y="38999"/>
                  </a:lnTo>
                  <a:lnTo>
                    <a:pt x="50619" y="38203"/>
                  </a:lnTo>
                  <a:lnTo>
                    <a:pt x="51117" y="37606"/>
                  </a:lnTo>
                  <a:lnTo>
                    <a:pt x="53310" y="37009"/>
                  </a:lnTo>
                  <a:lnTo>
                    <a:pt x="55203" y="36213"/>
                  </a:lnTo>
                  <a:lnTo>
                    <a:pt x="57694" y="35716"/>
                  </a:lnTo>
                  <a:lnTo>
                    <a:pt x="64171" y="33030"/>
                  </a:lnTo>
                  <a:lnTo>
                    <a:pt x="60584" y="31737"/>
                  </a:lnTo>
                  <a:lnTo>
                    <a:pt x="58591" y="3024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4F32EB82-535D-499F-A610-73922D705996}"/>
                </a:ext>
              </a:extLst>
            </p:cNvPr>
            <p:cNvSpPr/>
            <p:nvPr/>
          </p:nvSpPr>
          <p:spPr>
            <a:xfrm>
              <a:off x="-2807540" y="180406"/>
              <a:ext cx="650177" cy="432571"/>
            </a:xfrm>
            <a:custGeom>
              <a:avLst/>
              <a:gdLst>
                <a:gd name="connsiteX0" fmla="*/ 648284 w 650177"/>
                <a:gd name="connsiteY0" fmla="*/ 402128 h 432571"/>
                <a:gd name="connsiteX1" fmla="*/ 645893 w 650177"/>
                <a:gd name="connsiteY1" fmla="*/ 400238 h 432571"/>
                <a:gd name="connsiteX2" fmla="*/ 643800 w 650177"/>
                <a:gd name="connsiteY2" fmla="*/ 398149 h 432571"/>
                <a:gd name="connsiteX3" fmla="*/ 642704 w 650177"/>
                <a:gd name="connsiteY3" fmla="*/ 395662 h 432571"/>
                <a:gd name="connsiteX4" fmla="*/ 641509 w 650177"/>
                <a:gd name="connsiteY4" fmla="*/ 389394 h 432571"/>
                <a:gd name="connsiteX5" fmla="*/ 637124 w 650177"/>
                <a:gd name="connsiteY5" fmla="*/ 379445 h 432571"/>
                <a:gd name="connsiteX6" fmla="*/ 637124 w 650177"/>
                <a:gd name="connsiteY6" fmla="*/ 377853 h 432571"/>
                <a:gd name="connsiteX7" fmla="*/ 637722 w 650177"/>
                <a:gd name="connsiteY7" fmla="*/ 376958 h 432571"/>
                <a:gd name="connsiteX8" fmla="*/ 637722 w 650177"/>
                <a:gd name="connsiteY8" fmla="*/ 375167 h 432571"/>
                <a:gd name="connsiteX9" fmla="*/ 637722 w 650177"/>
                <a:gd name="connsiteY9" fmla="*/ 373277 h 432571"/>
                <a:gd name="connsiteX10" fmla="*/ 637722 w 650177"/>
                <a:gd name="connsiteY10" fmla="*/ 372580 h 432571"/>
                <a:gd name="connsiteX11" fmla="*/ 637722 w 650177"/>
                <a:gd name="connsiteY11" fmla="*/ 370790 h 432571"/>
                <a:gd name="connsiteX12" fmla="*/ 637722 w 650177"/>
                <a:gd name="connsiteY12" fmla="*/ 369496 h 432571"/>
                <a:gd name="connsiteX13" fmla="*/ 637025 w 650177"/>
                <a:gd name="connsiteY13" fmla="*/ 368700 h 432571"/>
                <a:gd name="connsiteX14" fmla="*/ 635530 w 650177"/>
                <a:gd name="connsiteY14" fmla="*/ 367905 h 432571"/>
                <a:gd name="connsiteX15" fmla="*/ 634035 w 650177"/>
                <a:gd name="connsiteY15" fmla="*/ 367905 h 432571"/>
                <a:gd name="connsiteX16" fmla="*/ 631843 w 650177"/>
                <a:gd name="connsiteY16" fmla="*/ 367905 h 432571"/>
                <a:gd name="connsiteX17" fmla="*/ 629651 w 650177"/>
                <a:gd name="connsiteY17" fmla="*/ 367905 h 432571"/>
                <a:gd name="connsiteX18" fmla="*/ 628555 w 650177"/>
                <a:gd name="connsiteY18" fmla="*/ 368700 h 432571"/>
                <a:gd name="connsiteX19" fmla="*/ 628555 w 650177"/>
                <a:gd name="connsiteY19" fmla="*/ 370790 h 432571"/>
                <a:gd name="connsiteX20" fmla="*/ 629850 w 650177"/>
                <a:gd name="connsiteY20" fmla="*/ 372282 h 432571"/>
                <a:gd name="connsiteX21" fmla="*/ 632939 w 650177"/>
                <a:gd name="connsiteY21" fmla="*/ 374471 h 432571"/>
                <a:gd name="connsiteX22" fmla="*/ 627658 w 650177"/>
                <a:gd name="connsiteY22" fmla="*/ 376759 h 432571"/>
                <a:gd name="connsiteX23" fmla="*/ 627658 w 650177"/>
                <a:gd name="connsiteY23" fmla="*/ 379246 h 432571"/>
                <a:gd name="connsiteX24" fmla="*/ 627658 w 650177"/>
                <a:gd name="connsiteY24" fmla="*/ 384320 h 432571"/>
                <a:gd name="connsiteX25" fmla="*/ 628455 w 650177"/>
                <a:gd name="connsiteY25" fmla="*/ 387006 h 432571"/>
                <a:gd name="connsiteX26" fmla="*/ 623174 w 650177"/>
                <a:gd name="connsiteY26" fmla="*/ 391483 h 432571"/>
                <a:gd name="connsiteX27" fmla="*/ 620384 w 650177"/>
                <a:gd name="connsiteY27" fmla="*/ 392776 h 432571"/>
                <a:gd name="connsiteX28" fmla="*/ 619687 w 650177"/>
                <a:gd name="connsiteY28" fmla="*/ 390389 h 432571"/>
                <a:gd name="connsiteX29" fmla="*/ 620484 w 650177"/>
                <a:gd name="connsiteY29" fmla="*/ 388598 h 432571"/>
                <a:gd name="connsiteX30" fmla="*/ 621580 w 650177"/>
                <a:gd name="connsiteY30" fmla="*/ 387504 h 432571"/>
                <a:gd name="connsiteX31" fmla="*/ 622676 w 650177"/>
                <a:gd name="connsiteY31" fmla="*/ 386011 h 432571"/>
                <a:gd name="connsiteX32" fmla="*/ 623174 w 650177"/>
                <a:gd name="connsiteY32" fmla="*/ 383524 h 432571"/>
                <a:gd name="connsiteX33" fmla="*/ 623174 w 650177"/>
                <a:gd name="connsiteY33" fmla="*/ 381037 h 432571"/>
                <a:gd name="connsiteX34" fmla="*/ 622078 w 650177"/>
                <a:gd name="connsiteY34" fmla="*/ 379346 h 432571"/>
                <a:gd name="connsiteX35" fmla="*/ 620882 w 650177"/>
                <a:gd name="connsiteY35" fmla="*/ 378152 h 432571"/>
                <a:gd name="connsiteX36" fmla="*/ 620085 w 650177"/>
                <a:gd name="connsiteY36" fmla="*/ 376759 h 432571"/>
                <a:gd name="connsiteX37" fmla="*/ 620085 w 650177"/>
                <a:gd name="connsiteY37" fmla="*/ 374471 h 432571"/>
                <a:gd name="connsiteX38" fmla="*/ 620783 w 650177"/>
                <a:gd name="connsiteY38" fmla="*/ 373177 h 432571"/>
                <a:gd name="connsiteX39" fmla="*/ 621679 w 650177"/>
                <a:gd name="connsiteY39" fmla="*/ 371984 h 432571"/>
                <a:gd name="connsiteX40" fmla="*/ 621679 w 650177"/>
                <a:gd name="connsiteY40" fmla="*/ 369795 h 432571"/>
                <a:gd name="connsiteX41" fmla="*/ 621679 w 650177"/>
                <a:gd name="connsiteY41" fmla="*/ 368700 h 432571"/>
                <a:gd name="connsiteX42" fmla="*/ 618989 w 650177"/>
                <a:gd name="connsiteY42" fmla="*/ 365218 h 432571"/>
                <a:gd name="connsiteX43" fmla="*/ 617893 w 650177"/>
                <a:gd name="connsiteY43" fmla="*/ 364124 h 432571"/>
                <a:gd name="connsiteX44" fmla="*/ 608925 w 650177"/>
                <a:gd name="connsiteY44" fmla="*/ 359150 h 432571"/>
                <a:gd name="connsiteX45" fmla="*/ 606434 w 650177"/>
                <a:gd name="connsiteY45" fmla="*/ 357259 h 432571"/>
                <a:gd name="connsiteX46" fmla="*/ 606434 w 650177"/>
                <a:gd name="connsiteY46" fmla="*/ 356165 h 432571"/>
                <a:gd name="connsiteX47" fmla="*/ 608228 w 650177"/>
                <a:gd name="connsiteY47" fmla="*/ 355469 h 432571"/>
                <a:gd name="connsiteX48" fmla="*/ 610619 w 650177"/>
                <a:gd name="connsiteY48" fmla="*/ 355469 h 432571"/>
                <a:gd name="connsiteX49" fmla="*/ 613010 w 650177"/>
                <a:gd name="connsiteY49" fmla="*/ 356364 h 432571"/>
                <a:gd name="connsiteX50" fmla="*/ 614804 w 650177"/>
                <a:gd name="connsiteY50" fmla="*/ 357757 h 432571"/>
                <a:gd name="connsiteX51" fmla="*/ 616299 w 650177"/>
                <a:gd name="connsiteY51" fmla="*/ 358354 h 432571"/>
                <a:gd name="connsiteX52" fmla="*/ 617195 w 650177"/>
                <a:gd name="connsiteY52" fmla="*/ 355966 h 432571"/>
                <a:gd name="connsiteX53" fmla="*/ 617195 w 650177"/>
                <a:gd name="connsiteY53" fmla="*/ 352583 h 432571"/>
                <a:gd name="connsiteX54" fmla="*/ 617195 w 650177"/>
                <a:gd name="connsiteY54" fmla="*/ 350395 h 432571"/>
                <a:gd name="connsiteX55" fmla="*/ 616398 w 650177"/>
                <a:gd name="connsiteY55" fmla="*/ 349698 h 432571"/>
                <a:gd name="connsiteX56" fmla="*/ 615402 w 650177"/>
                <a:gd name="connsiteY56" fmla="*/ 349698 h 432571"/>
                <a:gd name="connsiteX57" fmla="*/ 614405 w 650177"/>
                <a:gd name="connsiteY57" fmla="*/ 349698 h 432571"/>
                <a:gd name="connsiteX58" fmla="*/ 613309 w 650177"/>
                <a:gd name="connsiteY58" fmla="*/ 349698 h 432571"/>
                <a:gd name="connsiteX59" fmla="*/ 613309 w 650177"/>
                <a:gd name="connsiteY59" fmla="*/ 349101 h 432571"/>
                <a:gd name="connsiteX60" fmla="*/ 613309 w 650177"/>
                <a:gd name="connsiteY60" fmla="*/ 348007 h 432571"/>
                <a:gd name="connsiteX61" fmla="*/ 613907 w 650177"/>
                <a:gd name="connsiteY61" fmla="*/ 346813 h 432571"/>
                <a:gd name="connsiteX62" fmla="*/ 614405 w 650177"/>
                <a:gd name="connsiteY62" fmla="*/ 346216 h 432571"/>
                <a:gd name="connsiteX63" fmla="*/ 615900 w 650177"/>
                <a:gd name="connsiteY63" fmla="*/ 345122 h 432571"/>
                <a:gd name="connsiteX64" fmla="*/ 611416 w 650177"/>
                <a:gd name="connsiteY64" fmla="*/ 343431 h 432571"/>
                <a:gd name="connsiteX65" fmla="*/ 595672 w 650177"/>
                <a:gd name="connsiteY65" fmla="*/ 329303 h 432571"/>
                <a:gd name="connsiteX66" fmla="*/ 593779 w 650177"/>
                <a:gd name="connsiteY66" fmla="*/ 327115 h 432571"/>
                <a:gd name="connsiteX67" fmla="*/ 592882 w 650177"/>
                <a:gd name="connsiteY67" fmla="*/ 325722 h 432571"/>
                <a:gd name="connsiteX68" fmla="*/ 586904 w 650177"/>
                <a:gd name="connsiteY68" fmla="*/ 321941 h 432571"/>
                <a:gd name="connsiteX69" fmla="*/ 580825 w 650177"/>
                <a:gd name="connsiteY69" fmla="*/ 316171 h 432571"/>
                <a:gd name="connsiteX70" fmla="*/ 580825 w 650177"/>
                <a:gd name="connsiteY70" fmla="*/ 315077 h 432571"/>
                <a:gd name="connsiteX71" fmla="*/ 583217 w 650177"/>
                <a:gd name="connsiteY71" fmla="*/ 314082 h 432571"/>
                <a:gd name="connsiteX72" fmla="*/ 584711 w 650177"/>
                <a:gd name="connsiteY72" fmla="*/ 315276 h 432571"/>
                <a:gd name="connsiteX73" fmla="*/ 586007 w 650177"/>
                <a:gd name="connsiteY73" fmla="*/ 317265 h 432571"/>
                <a:gd name="connsiteX74" fmla="*/ 587800 w 650177"/>
                <a:gd name="connsiteY74" fmla="*/ 318559 h 432571"/>
                <a:gd name="connsiteX75" fmla="*/ 589694 w 650177"/>
                <a:gd name="connsiteY75" fmla="*/ 318559 h 432571"/>
                <a:gd name="connsiteX76" fmla="*/ 589694 w 650177"/>
                <a:gd name="connsiteY76" fmla="*/ 317166 h 432571"/>
                <a:gd name="connsiteX77" fmla="*/ 589694 w 650177"/>
                <a:gd name="connsiteY77" fmla="*/ 315176 h 432571"/>
                <a:gd name="connsiteX78" fmla="*/ 588598 w 650177"/>
                <a:gd name="connsiteY78" fmla="*/ 312987 h 432571"/>
                <a:gd name="connsiteX79" fmla="*/ 591487 w 650177"/>
                <a:gd name="connsiteY79" fmla="*/ 311097 h 432571"/>
                <a:gd name="connsiteX80" fmla="*/ 590790 w 650177"/>
                <a:gd name="connsiteY80" fmla="*/ 308710 h 432571"/>
                <a:gd name="connsiteX81" fmla="*/ 587003 w 650177"/>
                <a:gd name="connsiteY81" fmla="*/ 304233 h 432571"/>
                <a:gd name="connsiteX82" fmla="*/ 585608 w 650177"/>
                <a:gd name="connsiteY82" fmla="*/ 301248 h 432571"/>
                <a:gd name="connsiteX83" fmla="*/ 584711 w 650177"/>
                <a:gd name="connsiteY83" fmla="*/ 298363 h 432571"/>
                <a:gd name="connsiteX84" fmla="*/ 583715 w 650177"/>
                <a:gd name="connsiteY84" fmla="*/ 295975 h 432571"/>
                <a:gd name="connsiteX85" fmla="*/ 581523 w 650177"/>
                <a:gd name="connsiteY85" fmla="*/ 294483 h 432571"/>
                <a:gd name="connsiteX86" fmla="*/ 579829 w 650177"/>
                <a:gd name="connsiteY86" fmla="*/ 294483 h 432571"/>
                <a:gd name="connsiteX87" fmla="*/ 574448 w 650177"/>
                <a:gd name="connsiteY87" fmla="*/ 292891 h 432571"/>
                <a:gd name="connsiteX88" fmla="*/ 571857 w 650177"/>
                <a:gd name="connsiteY88" fmla="*/ 293488 h 432571"/>
                <a:gd name="connsiteX89" fmla="*/ 570263 w 650177"/>
                <a:gd name="connsiteY89" fmla="*/ 293488 h 432571"/>
                <a:gd name="connsiteX90" fmla="*/ 568469 w 650177"/>
                <a:gd name="connsiteY90" fmla="*/ 292095 h 432571"/>
                <a:gd name="connsiteX91" fmla="*/ 565879 w 650177"/>
                <a:gd name="connsiteY91" fmla="*/ 285230 h 432571"/>
                <a:gd name="connsiteX92" fmla="*/ 564484 w 650177"/>
                <a:gd name="connsiteY92" fmla="*/ 283141 h 432571"/>
                <a:gd name="connsiteX93" fmla="*/ 564484 w 650177"/>
                <a:gd name="connsiteY93" fmla="*/ 282146 h 432571"/>
                <a:gd name="connsiteX94" fmla="*/ 566776 w 650177"/>
                <a:gd name="connsiteY94" fmla="*/ 281151 h 432571"/>
                <a:gd name="connsiteX95" fmla="*/ 566776 w 650177"/>
                <a:gd name="connsiteY95" fmla="*/ 280057 h 432571"/>
                <a:gd name="connsiteX96" fmla="*/ 566776 w 650177"/>
                <a:gd name="connsiteY96" fmla="*/ 278764 h 432571"/>
                <a:gd name="connsiteX97" fmla="*/ 566078 w 650177"/>
                <a:gd name="connsiteY97" fmla="*/ 277769 h 432571"/>
                <a:gd name="connsiteX98" fmla="*/ 563288 w 650177"/>
                <a:gd name="connsiteY98" fmla="*/ 275779 h 432571"/>
                <a:gd name="connsiteX99" fmla="*/ 559203 w 650177"/>
                <a:gd name="connsiteY99" fmla="*/ 274884 h 432571"/>
                <a:gd name="connsiteX100" fmla="*/ 551331 w 650177"/>
                <a:gd name="connsiteY100" fmla="*/ 274884 h 432571"/>
                <a:gd name="connsiteX101" fmla="*/ 549736 w 650177"/>
                <a:gd name="connsiteY101" fmla="*/ 274884 h 432571"/>
                <a:gd name="connsiteX102" fmla="*/ 546647 w 650177"/>
                <a:gd name="connsiteY102" fmla="*/ 273292 h 432571"/>
                <a:gd name="connsiteX103" fmla="*/ 544854 w 650177"/>
                <a:gd name="connsiteY103" fmla="*/ 273292 h 432571"/>
                <a:gd name="connsiteX104" fmla="*/ 541167 w 650177"/>
                <a:gd name="connsiteY104" fmla="*/ 274088 h 432571"/>
                <a:gd name="connsiteX105" fmla="*/ 539473 w 650177"/>
                <a:gd name="connsiteY105" fmla="*/ 274088 h 432571"/>
                <a:gd name="connsiteX106" fmla="*/ 537779 w 650177"/>
                <a:gd name="connsiteY106" fmla="*/ 273193 h 432571"/>
                <a:gd name="connsiteX107" fmla="*/ 539772 w 650177"/>
                <a:gd name="connsiteY107" fmla="*/ 271302 h 432571"/>
                <a:gd name="connsiteX108" fmla="*/ 544356 w 650177"/>
                <a:gd name="connsiteY108" fmla="*/ 271302 h 432571"/>
                <a:gd name="connsiteX109" fmla="*/ 546548 w 650177"/>
                <a:gd name="connsiteY109" fmla="*/ 270307 h 432571"/>
                <a:gd name="connsiteX110" fmla="*/ 540270 w 650177"/>
                <a:gd name="connsiteY110" fmla="*/ 265233 h 432571"/>
                <a:gd name="connsiteX111" fmla="*/ 538277 w 650177"/>
                <a:gd name="connsiteY111" fmla="*/ 264438 h 432571"/>
                <a:gd name="connsiteX112" fmla="*/ 536882 w 650177"/>
                <a:gd name="connsiteY112" fmla="*/ 264438 h 432571"/>
                <a:gd name="connsiteX113" fmla="*/ 535288 w 650177"/>
                <a:gd name="connsiteY113" fmla="*/ 265233 h 432571"/>
                <a:gd name="connsiteX114" fmla="*/ 533993 w 650177"/>
                <a:gd name="connsiteY114" fmla="*/ 265233 h 432571"/>
                <a:gd name="connsiteX115" fmla="*/ 519943 w 650177"/>
                <a:gd name="connsiteY115" fmla="*/ 260757 h 432571"/>
                <a:gd name="connsiteX116" fmla="*/ 518747 w 650177"/>
                <a:gd name="connsiteY116" fmla="*/ 260160 h 432571"/>
                <a:gd name="connsiteX117" fmla="*/ 517452 w 650177"/>
                <a:gd name="connsiteY117" fmla="*/ 258966 h 432571"/>
                <a:gd name="connsiteX118" fmla="*/ 514761 w 650177"/>
                <a:gd name="connsiteY118" fmla="*/ 257175 h 432571"/>
                <a:gd name="connsiteX119" fmla="*/ 511373 w 650177"/>
                <a:gd name="connsiteY119" fmla="*/ 256479 h 432571"/>
                <a:gd name="connsiteX120" fmla="*/ 504000 w 650177"/>
                <a:gd name="connsiteY120" fmla="*/ 256479 h 432571"/>
                <a:gd name="connsiteX121" fmla="*/ 491345 w 650177"/>
                <a:gd name="connsiteY121" fmla="*/ 253991 h 432571"/>
                <a:gd name="connsiteX122" fmla="*/ 484868 w 650177"/>
                <a:gd name="connsiteY122" fmla="*/ 251604 h 432571"/>
                <a:gd name="connsiteX123" fmla="*/ 479587 w 650177"/>
                <a:gd name="connsiteY123" fmla="*/ 248321 h 432571"/>
                <a:gd name="connsiteX124" fmla="*/ 478989 w 650177"/>
                <a:gd name="connsiteY124" fmla="*/ 247326 h 432571"/>
                <a:gd name="connsiteX125" fmla="*/ 477096 w 650177"/>
                <a:gd name="connsiteY125" fmla="*/ 243744 h 432571"/>
                <a:gd name="connsiteX126" fmla="*/ 475701 w 650177"/>
                <a:gd name="connsiteY126" fmla="*/ 242948 h 432571"/>
                <a:gd name="connsiteX127" fmla="*/ 471914 w 650177"/>
                <a:gd name="connsiteY127" fmla="*/ 241456 h 432571"/>
                <a:gd name="connsiteX128" fmla="*/ 470619 w 650177"/>
                <a:gd name="connsiteY128" fmla="*/ 240362 h 432571"/>
                <a:gd name="connsiteX129" fmla="*/ 467929 w 650177"/>
                <a:gd name="connsiteY129" fmla="*/ 238770 h 432571"/>
                <a:gd name="connsiteX130" fmla="*/ 461651 w 650177"/>
                <a:gd name="connsiteY130" fmla="*/ 239367 h 432571"/>
                <a:gd name="connsiteX131" fmla="*/ 458861 w 650177"/>
                <a:gd name="connsiteY131" fmla="*/ 237476 h 432571"/>
                <a:gd name="connsiteX132" fmla="*/ 458263 w 650177"/>
                <a:gd name="connsiteY132" fmla="*/ 236084 h 432571"/>
                <a:gd name="connsiteX133" fmla="*/ 457665 w 650177"/>
                <a:gd name="connsiteY133" fmla="*/ 232900 h 432571"/>
                <a:gd name="connsiteX134" fmla="*/ 457366 w 650177"/>
                <a:gd name="connsiteY134" fmla="*/ 231507 h 432571"/>
                <a:gd name="connsiteX135" fmla="*/ 456171 w 650177"/>
                <a:gd name="connsiteY135" fmla="*/ 230711 h 432571"/>
                <a:gd name="connsiteX136" fmla="*/ 453580 w 650177"/>
                <a:gd name="connsiteY136" fmla="*/ 229816 h 432571"/>
                <a:gd name="connsiteX137" fmla="*/ 444512 w 650177"/>
                <a:gd name="connsiteY137" fmla="*/ 211610 h 432571"/>
                <a:gd name="connsiteX138" fmla="*/ 443416 w 650177"/>
                <a:gd name="connsiteY138" fmla="*/ 210018 h 432571"/>
                <a:gd name="connsiteX139" fmla="*/ 440526 w 650177"/>
                <a:gd name="connsiteY139" fmla="*/ 207332 h 432571"/>
                <a:gd name="connsiteX140" fmla="*/ 439530 w 650177"/>
                <a:gd name="connsiteY140" fmla="*/ 206138 h 432571"/>
                <a:gd name="connsiteX141" fmla="*/ 438434 w 650177"/>
                <a:gd name="connsiteY141" fmla="*/ 205243 h 432571"/>
                <a:gd name="connsiteX142" fmla="*/ 437139 w 650177"/>
                <a:gd name="connsiteY142" fmla="*/ 204646 h 432571"/>
                <a:gd name="connsiteX143" fmla="*/ 436043 w 650177"/>
                <a:gd name="connsiteY143" fmla="*/ 203750 h 432571"/>
                <a:gd name="connsiteX144" fmla="*/ 436043 w 650177"/>
                <a:gd name="connsiteY144" fmla="*/ 201462 h 432571"/>
                <a:gd name="connsiteX145" fmla="*/ 436840 w 650177"/>
                <a:gd name="connsiteY145" fmla="*/ 200865 h 432571"/>
                <a:gd name="connsiteX146" fmla="*/ 447302 w 650177"/>
                <a:gd name="connsiteY146" fmla="*/ 203054 h 432571"/>
                <a:gd name="connsiteX147" fmla="*/ 449196 w 650177"/>
                <a:gd name="connsiteY147" fmla="*/ 202158 h 432571"/>
                <a:gd name="connsiteX148" fmla="*/ 449893 w 650177"/>
                <a:gd name="connsiteY148" fmla="*/ 199273 h 432571"/>
                <a:gd name="connsiteX149" fmla="*/ 449893 w 650177"/>
                <a:gd name="connsiteY149" fmla="*/ 196289 h 432571"/>
                <a:gd name="connsiteX150" fmla="*/ 448697 w 650177"/>
                <a:gd name="connsiteY150" fmla="*/ 194199 h 432571"/>
                <a:gd name="connsiteX151" fmla="*/ 411132 w 650177"/>
                <a:gd name="connsiteY151" fmla="*/ 160473 h 432571"/>
                <a:gd name="connsiteX152" fmla="*/ 409936 w 650177"/>
                <a:gd name="connsiteY152" fmla="*/ 158285 h 432571"/>
                <a:gd name="connsiteX153" fmla="*/ 407744 w 650177"/>
                <a:gd name="connsiteY153" fmla="*/ 152912 h 432571"/>
                <a:gd name="connsiteX154" fmla="*/ 406349 w 650177"/>
                <a:gd name="connsiteY154" fmla="*/ 150624 h 432571"/>
                <a:gd name="connsiteX155" fmla="*/ 406349 w 650177"/>
                <a:gd name="connsiteY155" fmla="*/ 149231 h 432571"/>
                <a:gd name="connsiteX156" fmla="*/ 406349 w 650177"/>
                <a:gd name="connsiteY156" fmla="*/ 146048 h 432571"/>
                <a:gd name="connsiteX157" fmla="*/ 405850 w 650177"/>
                <a:gd name="connsiteY157" fmla="*/ 144754 h 432571"/>
                <a:gd name="connsiteX158" fmla="*/ 401067 w 650177"/>
                <a:gd name="connsiteY158" fmla="*/ 139581 h 432571"/>
                <a:gd name="connsiteX159" fmla="*/ 401067 w 650177"/>
                <a:gd name="connsiteY159" fmla="*/ 136795 h 432571"/>
                <a:gd name="connsiteX160" fmla="*/ 396882 w 650177"/>
                <a:gd name="connsiteY160" fmla="*/ 132418 h 432571"/>
                <a:gd name="connsiteX161" fmla="*/ 395687 w 650177"/>
                <a:gd name="connsiteY161" fmla="*/ 129732 h 432571"/>
                <a:gd name="connsiteX162" fmla="*/ 393594 w 650177"/>
                <a:gd name="connsiteY162" fmla="*/ 128836 h 432571"/>
                <a:gd name="connsiteX163" fmla="*/ 389608 w 650177"/>
                <a:gd name="connsiteY163" fmla="*/ 126548 h 432571"/>
                <a:gd name="connsiteX164" fmla="*/ 387117 w 650177"/>
                <a:gd name="connsiteY164" fmla="*/ 124260 h 432571"/>
                <a:gd name="connsiteX165" fmla="*/ 389608 w 650177"/>
                <a:gd name="connsiteY165" fmla="*/ 123364 h 432571"/>
                <a:gd name="connsiteX166" fmla="*/ 384825 w 650177"/>
                <a:gd name="connsiteY166" fmla="*/ 114112 h 432571"/>
                <a:gd name="connsiteX167" fmla="*/ 381936 w 650177"/>
                <a:gd name="connsiteY167" fmla="*/ 104163 h 432571"/>
                <a:gd name="connsiteX168" fmla="*/ 379843 w 650177"/>
                <a:gd name="connsiteY168" fmla="*/ 102174 h 432571"/>
                <a:gd name="connsiteX169" fmla="*/ 378249 w 650177"/>
                <a:gd name="connsiteY169" fmla="*/ 99686 h 432571"/>
                <a:gd name="connsiteX170" fmla="*/ 379245 w 650177"/>
                <a:gd name="connsiteY170" fmla="*/ 98393 h 432571"/>
                <a:gd name="connsiteX171" fmla="*/ 377751 w 650177"/>
                <a:gd name="connsiteY171" fmla="*/ 95210 h 432571"/>
                <a:gd name="connsiteX172" fmla="*/ 375459 w 650177"/>
                <a:gd name="connsiteY172" fmla="*/ 92225 h 432571"/>
                <a:gd name="connsiteX173" fmla="*/ 372270 w 650177"/>
                <a:gd name="connsiteY173" fmla="*/ 90633 h 432571"/>
                <a:gd name="connsiteX174" fmla="*/ 366192 w 650177"/>
                <a:gd name="connsiteY174" fmla="*/ 89240 h 432571"/>
                <a:gd name="connsiteX175" fmla="*/ 361110 w 650177"/>
                <a:gd name="connsiteY175" fmla="*/ 85957 h 432571"/>
                <a:gd name="connsiteX176" fmla="*/ 359018 w 650177"/>
                <a:gd name="connsiteY176" fmla="*/ 85460 h 432571"/>
                <a:gd name="connsiteX177" fmla="*/ 357523 w 650177"/>
                <a:gd name="connsiteY177" fmla="*/ 86753 h 432571"/>
                <a:gd name="connsiteX178" fmla="*/ 356825 w 650177"/>
                <a:gd name="connsiteY178" fmla="*/ 86753 h 432571"/>
                <a:gd name="connsiteX179" fmla="*/ 343274 w 650177"/>
                <a:gd name="connsiteY179" fmla="*/ 87947 h 432571"/>
                <a:gd name="connsiteX180" fmla="*/ 342477 w 650177"/>
                <a:gd name="connsiteY180" fmla="*/ 88544 h 432571"/>
                <a:gd name="connsiteX181" fmla="*/ 338790 w 650177"/>
                <a:gd name="connsiteY181" fmla="*/ 89340 h 432571"/>
                <a:gd name="connsiteX182" fmla="*/ 316470 w 650177"/>
                <a:gd name="connsiteY182" fmla="*/ 86753 h 432571"/>
                <a:gd name="connsiteX183" fmla="*/ 321551 w 650177"/>
                <a:gd name="connsiteY183" fmla="*/ 84365 h 432571"/>
                <a:gd name="connsiteX184" fmla="*/ 329324 w 650177"/>
                <a:gd name="connsiteY184" fmla="*/ 82674 h 432571"/>
                <a:gd name="connsiteX185" fmla="*/ 327032 w 650177"/>
                <a:gd name="connsiteY185" fmla="*/ 82276 h 432571"/>
                <a:gd name="connsiteX186" fmla="*/ 322349 w 650177"/>
                <a:gd name="connsiteY186" fmla="*/ 83271 h 432571"/>
                <a:gd name="connsiteX187" fmla="*/ 318064 w 650177"/>
                <a:gd name="connsiteY187" fmla="*/ 83868 h 432571"/>
                <a:gd name="connsiteX188" fmla="*/ 313580 w 650177"/>
                <a:gd name="connsiteY188" fmla="*/ 82873 h 432571"/>
                <a:gd name="connsiteX189" fmla="*/ 312484 w 650177"/>
                <a:gd name="connsiteY189" fmla="*/ 82276 h 432571"/>
                <a:gd name="connsiteX190" fmla="*/ 313281 w 650177"/>
                <a:gd name="connsiteY190" fmla="*/ 81580 h 432571"/>
                <a:gd name="connsiteX191" fmla="*/ 311587 w 650177"/>
                <a:gd name="connsiteY191" fmla="*/ 81580 h 432571"/>
                <a:gd name="connsiteX192" fmla="*/ 303217 w 650177"/>
                <a:gd name="connsiteY192" fmla="*/ 76406 h 432571"/>
                <a:gd name="connsiteX193" fmla="*/ 291359 w 650177"/>
                <a:gd name="connsiteY193" fmla="*/ 71333 h 432571"/>
                <a:gd name="connsiteX194" fmla="*/ 289466 w 650177"/>
                <a:gd name="connsiteY194" fmla="*/ 71333 h 432571"/>
                <a:gd name="connsiteX195" fmla="*/ 290263 w 650177"/>
                <a:gd name="connsiteY195" fmla="*/ 72725 h 432571"/>
                <a:gd name="connsiteX196" fmla="*/ 289665 w 650177"/>
                <a:gd name="connsiteY196" fmla="*/ 73322 h 432571"/>
                <a:gd name="connsiteX197" fmla="*/ 288569 w 650177"/>
                <a:gd name="connsiteY197" fmla="*/ 73322 h 432571"/>
                <a:gd name="connsiteX198" fmla="*/ 287672 w 650177"/>
                <a:gd name="connsiteY198" fmla="*/ 72626 h 432571"/>
                <a:gd name="connsiteX199" fmla="*/ 286576 w 650177"/>
                <a:gd name="connsiteY199" fmla="*/ 72626 h 432571"/>
                <a:gd name="connsiteX200" fmla="*/ 285281 w 650177"/>
                <a:gd name="connsiteY200" fmla="*/ 73223 h 432571"/>
                <a:gd name="connsiteX201" fmla="*/ 282591 w 650177"/>
                <a:gd name="connsiteY201" fmla="*/ 72327 h 432571"/>
                <a:gd name="connsiteX202" fmla="*/ 269139 w 650177"/>
                <a:gd name="connsiteY202" fmla="*/ 71333 h 432571"/>
                <a:gd name="connsiteX203" fmla="*/ 264754 w 650177"/>
                <a:gd name="connsiteY203" fmla="*/ 69044 h 432571"/>
                <a:gd name="connsiteX204" fmla="*/ 260669 w 650177"/>
                <a:gd name="connsiteY204" fmla="*/ 70139 h 432571"/>
                <a:gd name="connsiteX205" fmla="*/ 254092 w 650177"/>
                <a:gd name="connsiteY205" fmla="*/ 70736 h 432571"/>
                <a:gd name="connsiteX206" fmla="*/ 250505 w 650177"/>
                <a:gd name="connsiteY206" fmla="*/ 69044 h 432571"/>
                <a:gd name="connsiteX207" fmla="*/ 251502 w 650177"/>
                <a:gd name="connsiteY207" fmla="*/ 66756 h 432571"/>
                <a:gd name="connsiteX208" fmla="*/ 248313 w 650177"/>
                <a:gd name="connsiteY208" fmla="*/ 67353 h 432571"/>
                <a:gd name="connsiteX209" fmla="*/ 245324 w 650177"/>
                <a:gd name="connsiteY209" fmla="*/ 65960 h 432571"/>
                <a:gd name="connsiteX210" fmla="*/ 244128 w 650177"/>
                <a:gd name="connsiteY210" fmla="*/ 65164 h 432571"/>
                <a:gd name="connsiteX211" fmla="*/ 240541 w 650177"/>
                <a:gd name="connsiteY211" fmla="*/ 64269 h 432571"/>
                <a:gd name="connsiteX212" fmla="*/ 239245 w 650177"/>
                <a:gd name="connsiteY212" fmla="*/ 64269 h 432571"/>
                <a:gd name="connsiteX213" fmla="*/ 238548 w 650177"/>
                <a:gd name="connsiteY213" fmla="*/ 64269 h 432571"/>
                <a:gd name="connsiteX214" fmla="*/ 237053 w 650177"/>
                <a:gd name="connsiteY214" fmla="*/ 63373 h 432571"/>
                <a:gd name="connsiteX215" fmla="*/ 236156 w 650177"/>
                <a:gd name="connsiteY215" fmla="*/ 63373 h 432571"/>
                <a:gd name="connsiteX216" fmla="*/ 235359 w 650177"/>
                <a:gd name="connsiteY216" fmla="*/ 63871 h 432571"/>
                <a:gd name="connsiteX217" fmla="*/ 235359 w 650177"/>
                <a:gd name="connsiteY217" fmla="*/ 66259 h 432571"/>
                <a:gd name="connsiteX218" fmla="*/ 234562 w 650177"/>
                <a:gd name="connsiteY218" fmla="*/ 67055 h 432571"/>
                <a:gd name="connsiteX219" fmla="*/ 231274 w 650177"/>
                <a:gd name="connsiteY219" fmla="*/ 67055 h 432571"/>
                <a:gd name="connsiteX220" fmla="*/ 226292 w 650177"/>
                <a:gd name="connsiteY220" fmla="*/ 62379 h 432571"/>
                <a:gd name="connsiteX221" fmla="*/ 223302 w 650177"/>
                <a:gd name="connsiteY221" fmla="*/ 61185 h 432571"/>
                <a:gd name="connsiteX222" fmla="*/ 220213 w 650177"/>
                <a:gd name="connsiteY222" fmla="*/ 60588 h 432571"/>
                <a:gd name="connsiteX223" fmla="*/ 209253 w 650177"/>
                <a:gd name="connsiteY223" fmla="*/ 56011 h 432571"/>
                <a:gd name="connsiteX224" fmla="*/ 206263 w 650177"/>
                <a:gd name="connsiteY224" fmla="*/ 55315 h 432571"/>
                <a:gd name="connsiteX225" fmla="*/ 201181 w 650177"/>
                <a:gd name="connsiteY225" fmla="*/ 55315 h 432571"/>
                <a:gd name="connsiteX226" fmla="*/ 200285 w 650177"/>
                <a:gd name="connsiteY226" fmla="*/ 56210 h 432571"/>
                <a:gd name="connsiteX227" fmla="*/ 199288 w 650177"/>
                <a:gd name="connsiteY227" fmla="*/ 58399 h 432571"/>
                <a:gd name="connsiteX228" fmla="*/ 198491 w 650177"/>
                <a:gd name="connsiteY228" fmla="*/ 58399 h 432571"/>
                <a:gd name="connsiteX229" fmla="*/ 196797 w 650177"/>
                <a:gd name="connsiteY229" fmla="*/ 58399 h 432571"/>
                <a:gd name="connsiteX230" fmla="*/ 196797 w 650177"/>
                <a:gd name="connsiteY230" fmla="*/ 57404 h 432571"/>
                <a:gd name="connsiteX231" fmla="*/ 197694 w 650177"/>
                <a:gd name="connsiteY231" fmla="*/ 56111 h 432571"/>
                <a:gd name="connsiteX232" fmla="*/ 198292 w 650177"/>
                <a:gd name="connsiteY232" fmla="*/ 54818 h 432571"/>
                <a:gd name="connsiteX233" fmla="*/ 197395 w 650177"/>
                <a:gd name="connsiteY233" fmla="*/ 53425 h 432571"/>
                <a:gd name="connsiteX234" fmla="*/ 195402 w 650177"/>
                <a:gd name="connsiteY234" fmla="*/ 53425 h 432571"/>
                <a:gd name="connsiteX235" fmla="*/ 182947 w 650177"/>
                <a:gd name="connsiteY235" fmla="*/ 53425 h 432571"/>
                <a:gd name="connsiteX236" fmla="*/ 180754 w 650177"/>
                <a:gd name="connsiteY236" fmla="*/ 52330 h 432571"/>
                <a:gd name="connsiteX237" fmla="*/ 181452 w 650177"/>
                <a:gd name="connsiteY237" fmla="*/ 52330 h 432571"/>
                <a:gd name="connsiteX238" fmla="*/ 182747 w 650177"/>
                <a:gd name="connsiteY238" fmla="*/ 50938 h 432571"/>
                <a:gd name="connsiteX239" fmla="*/ 183345 w 650177"/>
                <a:gd name="connsiteY239" fmla="*/ 50938 h 432571"/>
                <a:gd name="connsiteX240" fmla="*/ 182548 w 650177"/>
                <a:gd name="connsiteY240" fmla="*/ 50938 h 432571"/>
                <a:gd name="connsiteX241" fmla="*/ 181751 w 650177"/>
                <a:gd name="connsiteY241" fmla="*/ 50938 h 432571"/>
                <a:gd name="connsiteX242" fmla="*/ 180854 w 650177"/>
                <a:gd name="connsiteY242" fmla="*/ 50938 h 432571"/>
                <a:gd name="connsiteX243" fmla="*/ 178562 w 650177"/>
                <a:gd name="connsiteY243" fmla="*/ 50938 h 432571"/>
                <a:gd name="connsiteX244" fmla="*/ 172085 w 650177"/>
                <a:gd name="connsiteY244" fmla="*/ 49744 h 432571"/>
                <a:gd name="connsiteX245" fmla="*/ 170790 w 650177"/>
                <a:gd name="connsiteY245" fmla="*/ 49744 h 432571"/>
                <a:gd name="connsiteX246" fmla="*/ 169794 w 650177"/>
                <a:gd name="connsiteY246" fmla="*/ 49744 h 432571"/>
                <a:gd name="connsiteX247" fmla="*/ 168996 w 650177"/>
                <a:gd name="connsiteY247" fmla="*/ 49744 h 432571"/>
                <a:gd name="connsiteX248" fmla="*/ 167801 w 650177"/>
                <a:gd name="connsiteY248" fmla="*/ 49744 h 432571"/>
                <a:gd name="connsiteX249" fmla="*/ 167801 w 650177"/>
                <a:gd name="connsiteY249" fmla="*/ 49744 h 432571"/>
                <a:gd name="connsiteX250" fmla="*/ 167801 w 650177"/>
                <a:gd name="connsiteY250" fmla="*/ 48649 h 432571"/>
                <a:gd name="connsiteX251" fmla="*/ 167203 w 650177"/>
                <a:gd name="connsiteY251" fmla="*/ 47456 h 432571"/>
                <a:gd name="connsiteX252" fmla="*/ 166505 w 650177"/>
                <a:gd name="connsiteY252" fmla="*/ 46660 h 432571"/>
                <a:gd name="connsiteX253" fmla="*/ 164512 w 650177"/>
                <a:gd name="connsiteY253" fmla="*/ 46660 h 432571"/>
                <a:gd name="connsiteX254" fmla="*/ 157836 w 650177"/>
                <a:gd name="connsiteY254" fmla="*/ 46660 h 432571"/>
                <a:gd name="connsiteX255" fmla="*/ 154349 w 650177"/>
                <a:gd name="connsiteY255" fmla="*/ 42481 h 432571"/>
                <a:gd name="connsiteX256" fmla="*/ 153053 w 650177"/>
                <a:gd name="connsiteY256" fmla="*/ 41486 h 432571"/>
                <a:gd name="connsiteX257" fmla="*/ 151758 w 650177"/>
                <a:gd name="connsiteY257" fmla="*/ 40193 h 432571"/>
                <a:gd name="connsiteX258" fmla="*/ 149865 w 650177"/>
                <a:gd name="connsiteY258" fmla="*/ 38502 h 432571"/>
                <a:gd name="connsiteX259" fmla="*/ 146178 w 650177"/>
                <a:gd name="connsiteY259" fmla="*/ 36611 h 432571"/>
                <a:gd name="connsiteX260" fmla="*/ 135217 w 650177"/>
                <a:gd name="connsiteY260" fmla="*/ 32532 h 432571"/>
                <a:gd name="connsiteX261" fmla="*/ 132327 w 650177"/>
                <a:gd name="connsiteY261" fmla="*/ 30742 h 432571"/>
                <a:gd name="connsiteX262" fmla="*/ 128441 w 650177"/>
                <a:gd name="connsiteY262" fmla="*/ 27558 h 432571"/>
                <a:gd name="connsiteX263" fmla="*/ 126149 w 650177"/>
                <a:gd name="connsiteY263" fmla="*/ 23976 h 432571"/>
                <a:gd name="connsiteX264" fmla="*/ 128142 w 650177"/>
                <a:gd name="connsiteY264" fmla="*/ 20793 h 432571"/>
                <a:gd name="connsiteX265" fmla="*/ 125153 w 650177"/>
                <a:gd name="connsiteY265" fmla="*/ 19997 h 432571"/>
                <a:gd name="connsiteX266" fmla="*/ 123160 w 650177"/>
                <a:gd name="connsiteY266" fmla="*/ 22584 h 432571"/>
                <a:gd name="connsiteX267" fmla="*/ 121466 w 650177"/>
                <a:gd name="connsiteY267" fmla="*/ 26265 h 432571"/>
                <a:gd name="connsiteX268" fmla="*/ 119473 w 650177"/>
                <a:gd name="connsiteY268" fmla="*/ 29249 h 432571"/>
                <a:gd name="connsiteX269" fmla="*/ 119473 w 650177"/>
                <a:gd name="connsiteY269" fmla="*/ 27856 h 432571"/>
                <a:gd name="connsiteX270" fmla="*/ 118975 w 650177"/>
                <a:gd name="connsiteY270" fmla="*/ 26762 h 432571"/>
                <a:gd name="connsiteX271" fmla="*/ 117680 w 650177"/>
                <a:gd name="connsiteY271" fmla="*/ 25071 h 432571"/>
                <a:gd name="connsiteX272" fmla="*/ 117680 w 650177"/>
                <a:gd name="connsiteY272" fmla="*/ 23778 h 432571"/>
                <a:gd name="connsiteX273" fmla="*/ 117680 w 650177"/>
                <a:gd name="connsiteY273" fmla="*/ 22584 h 432571"/>
                <a:gd name="connsiteX274" fmla="*/ 117680 w 650177"/>
                <a:gd name="connsiteY274" fmla="*/ 21489 h 432571"/>
                <a:gd name="connsiteX275" fmla="*/ 117680 w 650177"/>
                <a:gd name="connsiteY275" fmla="*/ 21489 h 432571"/>
                <a:gd name="connsiteX276" fmla="*/ 116783 w 650177"/>
                <a:gd name="connsiteY276" fmla="*/ 18903 h 432571"/>
                <a:gd name="connsiteX277" fmla="*/ 115487 w 650177"/>
                <a:gd name="connsiteY277" fmla="*/ 17112 h 432571"/>
                <a:gd name="connsiteX278" fmla="*/ 113893 w 650177"/>
                <a:gd name="connsiteY278" fmla="*/ 15918 h 432571"/>
                <a:gd name="connsiteX279" fmla="*/ 111601 w 650177"/>
                <a:gd name="connsiteY279" fmla="*/ 15918 h 432571"/>
                <a:gd name="connsiteX280" fmla="*/ 107317 w 650177"/>
                <a:gd name="connsiteY280" fmla="*/ 12635 h 432571"/>
                <a:gd name="connsiteX281" fmla="*/ 67459 w 650177"/>
                <a:gd name="connsiteY281" fmla="*/ 398 h 432571"/>
                <a:gd name="connsiteX282" fmla="*/ 63374 w 650177"/>
                <a:gd name="connsiteY282" fmla="*/ 0 h 432571"/>
                <a:gd name="connsiteX283" fmla="*/ 50719 w 650177"/>
                <a:gd name="connsiteY283" fmla="*/ 1492 h 432571"/>
                <a:gd name="connsiteX284" fmla="*/ 45836 w 650177"/>
                <a:gd name="connsiteY284" fmla="*/ 398 h 432571"/>
                <a:gd name="connsiteX285" fmla="*/ 43246 w 650177"/>
                <a:gd name="connsiteY285" fmla="*/ 398 h 432571"/>
                <a:gd name="connsiteX286" fmla="*/ 40555 w 650177"/>
                <a:gd name="connsiteY286" fmla="*/ 1194 h 432571"/>
                <a:gd name="connsiteX287" fmla="*/ 33480 w 650177"/>
                <a:gd name="connsiteY287" fmla="*/ 5969 h 432571"/>
                <a:gd name="connsiteX288" fmla="*/ 29096 w 650177"/>
                <a:gd name="connsiteY288" fmla="*/ 4477 h 432571"/>
                <a:gd name="connsiteX289" fmla="*/ 24114 w 650177"/>
                <a:gd name="connsiteY289" fmla="*/ 6666 h 432571"/>
                <a:gd name="connsiteX290" fmla="*/ 18932 w 650177"/>
                <a:gd name="connsiteY290" fmla="*/ 10048 h 432571"/>
                <a:gd name="connsiteX291" fmla="*/ 14349 w 650177"/>
                <a:gd name="connsiteY291" fmla="*/ 11740 h 432571"/>
                <a:gd name="connsiteX292" fmla="*/ 9765 w 650177"/>
                <a:gd name="connsiteY292" fmla="*/ 10944 h 432571"/>
                <a:gd name="connsiteX293" fmla="*/ 8669 w 650177"/>
                <a:gd name="connsiteY293" fmla="*/ 10944 h 432571"/>
                <a:gd name="connsiteX294" fmla="*/ 6178 w 650177"/>
                <a:gd name="connsiteY294" fmla="*/ 13331 h 432571"/>
                <a:gd name="connsiteX295" fmla="*/ 6178 w 650177"/>
                <a:gd name="connsiteY295" fmla="*/ 13829 h 432571"/>
                <a:gd name="connsiteX296" fmla="*/ 3886 w 650177"/>
                <a:gd name="connsiteY296" fmla="*/ 13829 h 432571"/>
                <a:gd name="connsiteX297" fmla="*/ 1295 w 650177"/>
                <a:gd name="connsiteY297" fmla="*/ 14824 h 432571"/>
                <a:gd name="connsiteX298" fmla="*/ 0 w 650177"/>
                <a:gd name="connsiteY298" fmla="*/ 16316 h 432571"/>
                <a:gd name="connsiteX299" fmla="*/ 1495 w 650177"/>
                <a:gd name="connsiteY299" fmla="*/ 18206 h 432571"/>
                <a:gd name="connsiteX300" fmla="*/ 1495 w 650177"/>
                <a:gd name="connsiteY300" fmla="*/ 21091 h 432571"/>
                <a:gd name="connsiteX301" fmla="*/ 4185 w 650177"/>
                <a:gd name="connsiteY301" fmla="*/ 27061 h 432571"/>
                <a:gd name="connsiteX302" fmla="*/ 4883 w 650177"/>
                <a:gd name="connsiteY302" fmla="*/ 30443 h 432571"/>
                <a:gd name="connsiteX303" fmla="*/ 5580 w 650177"/>
                <a:gd name="connsiteY303" fmla="*/ 31538 h 432571"/>
                <a:gd name="connsiteX304" fmla="*/ 7075 w 650177"/>
                <a:gd name="connsiteY304" fmla="*/ 32930 h 432571"/>
                <a:gd name="connsiteX305" fmla="*/ 8669 w 650177"/>
                <a:gd name="connsiteY305" fmla="*/ 34124 h 432571"/>
                <a:gd name="connsiteX306" fmla="*/ 9665 w 650177"/>
                <a:gd name="connsiteY306" fmla="*/ 34124 h 432571"/>
                <a:gd name="connsiteX307" fmla="*/ 11260 w 650177"/>
                <a:gd name="connsiteY307" fmla="*/ 34124 h 432571"/>
                <a:gd name="connsiteX308" fmla="*/ 13552 w 650177"/>
                <a:gd name="connsiteY308" fmla="*/ 34124 h 432571"/>
                <a:gd name="connsiteX309" fmla="*/ 14947 w 650177"/>
                <a:gd name="connsiteY309" fmla="*/ 34124 h 432571"/>
                <a:gd name="connsiteX310" fmla="*/ 17438 w 650177"/>
                <a:gd name="connsiteY310" fmla="*/ 34124 h 432571"/>
                <a:gd name="connsiteX311" fmla="*/ 16541 w 650177"/>
                <a:gd name="connsiteY311" fmla="*/ 35318 h 432571"/>
                <a:gd name="connsiteX312" fmla="*/ 13950 w 650177"/>
                <a:gd name="connsiteY312" fmla="*/ 36611 h 432571"/>
                <a:gd name="connsiteX313" fmla="*/ 11160 w 650177"/>
                <a:gd name="connsiteY313" fmla="*/ 36611 h 432571"/>
                <a:gd name="connsiteX314" fmla="*/ 9665 w 650177"/>
                <a:gd name="connsiteY314" fmla="*/ 37407 h 432571"/>
                <a:gd name="connsiteX315" fmla="*/ 9665 w 650177"/>
                <a:gd name="connsiteY315" fmla="*/ 39198 h 432571"/>
                <a:gd name="connsiteX316" fmla="*/ 11260 w 650177"/>
                <a:gd name="connsiteY316" fmla="*/ 41984 h 432571"/>
                <a:gd name="connsiteX317" fmla="*/ 11260 w 650177"/>
                <a:gd name="connsiteY317" fmla="*/ 43774 h 432571"/>
                <a:gd name="connsiteX318" fmla="*/ 12555 w 650177"/>
                <a:gd name="connsiteY318" fmla="*/ 43774 h 432571"/>
                <a:gd name="connsiteX319" fmla="*/ 15146 w 650177"/>
                <a:gd name="connsiteY319" fmla="*/ 43774 h 432571"/>
                <a:gd name="connsiteX320" fmla="*/ 20327 w 650177"/>
                <a:gd name="connsiteY320" fmla="*/ 46162 h 432571"/>
                <a:gd name="connsiteX321" fmla="*/ 21125 w 650177"/>
                <a:gd name="connsiteY321" fmla="*/ 47853 h 432571"/>
                <a:gd name="connsiteX322" fmla="*/ 21125 w 650177"/>
                <a:gd name="connsiteY322" fmla="*/ 51833 h 432571"/>
                <a:gd name="connsiteX323" fmla="*/ 22619 w 650177"/>
                <a:gd name="connsiteY323" fmla="*/ 55017 h 432571"/>
                <a:gd name="connsiteX324" fmla="*/ 23117 w 650177"/>
                <a:gd name="connsiteY324" fmla="*/ 56310 h 432571"/>
                <a:gd name="connsiteX325" fmla="*/ 23715 w 650177"/>
                <a:gd name="connsiteY325" fmla="*/ 57404 h 432571"/>
                <a:gd name="connsiteX326" fmla="*/ 24612 w 650177"/>
                <a:gd name="connsiteY326" fmla="*/ 57404 h 432571"/>
                <a:gd name="connsiteX327" fmla="*/ 25907 w 650177"/>
                <a:gd name="connsiteY327" fmla="*/ 57404 h 432571"/>
                <a:gd name="connsiteX328" fmla="*/ 27302 w 650177"/>
                <a:gd name="connsiteY328" fmla="*/ 58001 h 432571"/>
                <a:gd name="connsiteX329" fmla="*/ 29395 w 650177"/>
                <a:gd name="connsiteY329" fmla="*/ 59493 h 432571"/>
                <a:gd name="connsiteX330" fmla="*/ 30391 w 650177"/>
                <a:gd name="connsiteY330" fmla="*/ 60687 h 432571"/>
                <a:gd name="connsiteX331" fmla="*/ 31886 w 650177"/>
                <a:gd name="connsiteY331" fmla="*/ 63075 h 432571"/>
                <a:gd name="connsiteX332" fmla="*/ 32883 w 650177"/>
                <a:gd name="connsiteY332" fmla="*/ 64070 h 432571"/>
                <a:gd name="connsiteX333" fmla="*/ 34576 w 650177"/>
                <a:gd name="connsiteY333" fmla="*/ 64866 h 432571"/>
                <a:gd name="connsiteX334" fmla="*/ 38064 w 650177"/>
                <a:gd name="connsiteY334" fmla="*/ 65861 h 432571"/>
                <a:gd name="connsiteX335" fmla="*/ 40256 w 650177"/>
                <a:gd name="connsiteY335" fmla="*/ 67950 h 432571"/>
                <a:gd name="connsiteX336" fmla="*/ 41452 w 650177"/>
                <a:gd name="connsiteY336" fmla="*/ 68945 h 432571"/>
                <a:gd name="connsiteX337" fmla="*/ 42747 w 650177"/>
                <a:gd name="connsiteY337" fmla="*/ 69641 h 432571"/>
                <a:gd name="connsiteX338" fmla="*/ 43644 w 650177"/>
                <a:gd name="connsiteY338" fmla="*/ 69641 h 432571"/>
                <a:gd name="connsiteX339" fmla="*/ 45836 w 650177"/>
                <a:gd name="connsiteY339" fmla="*/ 69641 h 432571"/>
                <a:gd name="connsiteX340" fmla="*/ 45836 w 650177"/>
                <a:gd name="connsiteY340" fmla="*/ 68746 h 432571"/>
                <a:gd name="connsiteX341" fmla="*/ 45139 w 650177"/>
                <a:gd name="connsiteY341" fmla="*/ 67552 h 432571"/>
                <a:gd name="connsiteX342" fmla="*/ 44541 w 650177"/>
                <a:gd name="connsiteY342" fmla="*/ 65861 h 432571"/>
                <a:gd name="connsiteX343" fmla="*/ 44541 w 650177"/>
                <a:gd name="connsiteY343" fmla="*/ 65861 h 432571"/>
                <a:gd name="connsiteX344" fmla="*/ 43544 w 650177"/>
                <a:gd name="connsiteY344" fmla="*/ 65861 h 432571"/>
                <a:gd name="connsiteX345" fmla="*/ 45238 w 650177"/>
                <a:gd name="connsiteY345" fmla="*/ 63075 h 432571"/>
                <a:gd name="connsiteX346" fmla="*/ 47530 w 650177"/>
                <a:gd name="connsiteY346" fmla="*/ 63672 h 432571"/>
                <a:gd name="connsiteX347" fmla="*/ 49822 w 650177"/>
                <a:gd name="connsiteY347" fmla="*/ 65562 h 432571"/>
                <a:gd name="connsiteX348" fmla="*/ 52014 w 650177"/>
                <a:gd name="connsiteY348" fmla="*/ 66756 h 432571"/>
                <a:gd name="connsiteX349" fmla="*/ 57893 w 650177"/>
                <a:gd name="connsiteY349" fmla="*/ 66159 h 432571"/>
                <a:gd name="connsiteX350" fmla="*/ 63473 w 650177"/>
                <a:gd name="connsiteY350" fmla="*/ 64567 h 432571"/>
                <a:gd name="connsiteX351" fmla="*/ 68655 w 650177"/>
                <a:gd name="connsiteY351" fmla="*/ 61583 h 432571"/>
                <a:gd name="connsiteX352" fmla="*/ 71146 w 650177"/>
                <a:gd name="connsiteY352" fmla="*/ 61583 h 432571"/>
                <a:gd name="connsiteX353" fmla="*/ 72242 w 650177"/>
                <a:gd name="connsiteY353" fmla="*/ 64269 h 432571"/>
                <a:gd name="connsiteX354" fmla="*/ 94363 w 650177"/>
                <a:gd name="connsiteY354" fmla="*/ 56807 h 432571"/>
                <a:gd name="connsiteX355" fmla="*/ 100441 w 650177"/>
                <a:gd name="connsiteY355" fmla="*/ 56807 h 432571"/>
                <a:gd name="connsiteX356" fmla="*/ 103231 w 650177"/>
                <a:gd name="connsiteY356" fmla="*/ 55613 h 432571"/>
                <a:gd name="connsiteX357" fmla="*/ 103231 w 650177"/>
                <a:gd name="connsiteY357" fmla="*/ 53027 h 432571"/>
                <a:gd name="connsiteX358" fmla="*/ 101039 w 650177"/>
                <a:gd name="connsiteY358" fmla="*/ 51037 h 432571"/>
                <a:gd name="connsiteX359" fmla="*/ 97950 w 650177"/>
                <a:gd name="connsiteY359" fmla="*/ 49545 h 432571"/>
                <a:gd name="connsiteX360" fmla="*/ 91473 w 650177"/>
                <a:gd name="connsiteY360" fmla="*/ 47853 h 432571"/>
                <a:gd name="connsiteX361" fmla="*/ 78221 w 650177"/>
                <a:gd name="connsiteY361" fmla="*/ 47853 h 432571"/>
                <a:gd name="connsiteX362" fmla="*/ 75829 w 650177"/>
                <a:gd name="connsiteY362" fmla="*/ 47157 h 432571"/>
                <a:gd name="connsiteX363" fmla="*/ 72641 w 650177"/>
                <a:gd name="connsiteY363" fmla="*/ 45366 h 432571"/>
                <a:gd name="connsiteX364" fmla="*/ 69751 w 650177"/>
                <a:gd name="connsiteY364" fmla="*/ 43078 h 432571"/>
                <a:gd name="connsiteX365" fmla="*/ 69751 w 650177"/>
                <a:gd name="connsiteY365" fmla="*/ 43078 h 432571"/>
                <a:gd name="connsiteX366" fmla="*/ 68157 w 650177"/>
                <a:gd name="connsiteY366" fmla="*/ 43078 h 432571"/>
                <a:gd name="connsiteX367" fmla="*/ 66562 w 650177"/>
                <a:gd name="connsiteY367" fmla="*/ 43078 h 432571"/>
                <a:gd name="connsiteX368" fmla="*/ 66562 w 650177"/>
                <a:gd name="connsiteY368" fmla="*/ 44371 h 432571"/>
                <a:gd name="connsiteX369" fmla="*/ 64968 w 650177"/>
                <a:gd name="connsiteY369" fmla="*/ 44371 h 432571"/>
                <a:gd name="connsiteX370" fmla="*/ 62576 w 650177"/>
                <a:gd name="connsiteY370" fmla="*/ 43178 h 432571"/>
                <a:gd name="connsiteX371" fmla="*/ 62576 w 650177"/>
                <a:gd name="connsiteY371" fmla="*/ 41586 h 432571"/>
                <a:gd name="connsiteX372" fmla="*/ 62576 w 650177"/>
                <a:gd name="connsiteY372" fmla="*/ 40591 h 432571"/>
                <a:gd name="connsiteX373" fmla="*/ 64071 w 650177"/>
                <a:gd name="connsiteY373" fmla="*/ 39397 h 432571"/>
                <a:gd name="connsiteX374" fmla="*/ 66662 w 650177"/>
                <a:gd name="connsiteY374" fmla="*/ 39397 h 432571"/>
                <a:gd name="connsiteX375" fmla="*/ 66662 w 650177"/>
                <a:gd name="connsiteY375" fmla="*/ 38104 h 432571"/>
                <a:gd name="connsiteX376" fmla="*/ 68256 w 650177"/>
                <a:gd name="connsiteY376" fmla="*/ 39298 h 432571"/>
                <a:gd name="connsiteX377" fmla="*/ 70448 w 650177"/>
                <a:gd name="connsiteY377" fmla="*/ 39994 h 432571"/>
                <a:gd name="connsiteX378" fmla="*/ 70448 w 650177"/>
                <a:gd name="connsiteY378" fmla="*/ 40989 h 432571"/>
                <a:gd name="connsiteX379" fmla="*/ 70448 w 650177"/>
                <a:gd name="connsiteY379" fmla="*/ 40989 h 432571"/>
                <a:gd name="connsiteX380" fmla="*/ 76128 w 650177"/>
                <a:gd name="connsiteY380" fmla="*/ 43576 h 432571"/>
                <a:gd name="connsiteX381" fmla="*/ 102135 w 650177"/>
                <a:gd name="connsiteY381" fmla="*/ 44869 h 432571"/>
                <a:gd name="connsiteX382" fmla="*/ 104028 w 650177"/>
                <a:gd name="connsiteY382" fmla="*/ 45366 h 432571"/>
                <a:gd name="connsiteX383" fmla="*/ 105623 w 650177"/>
                <a:gd name="connsiteY383" fmla="*/ 46560 h 432571"/>
                <a:gd name="connsiteX384" fmla="*/ 107416 w 650177"/>
                <a:gd name="connsiteY384" fmla="*/ 48351 h 432571"/>
                <a:gd name="connsiteX385" fmla="*/ 108413 w 650177"/>
                <a:gd name="connsiteY385" fmla="*/ 48948 h 432571"/>
                <a:gd name="connsiteX386" fmla="*/ 109509 w 650177"/>
                <a:gd name="connsiteY386" fmla="*/ 50142 h 432571"/>
                <a:gd name="connsiteX387" fmla="*/ 110904 w 650177"/>
                <a:gd name="connsiteY387" fmla="*/ 50142 h 432571"/>
                <a:gd name="connsiteX388" fmla="*/ 112598 w 650177"/>
                <a:gd name="connsiteY388" fmla="*/ 48550 h 432571"/>
                <a:gd name="connsiteX389" fmla="*/ 115189 w 650177"/>
                <a:gd name="connsiteY389" fmla="*/ 46859 h 432571"/>
                <a:gd name="connsiteX390" fmla="*/ 126947 w 650177"/>
                <a:gd name="connsiteY390" fmla="*/ 44471 h 432571"/>
                <a:gd name="connsiteX391" fmla="*/ 126349 w 650177"/>
                <a:gd name="connsiteY391" fmla="*/ 48251 h 432571"/>
                <a:gd name="connsiteX392" fmla="*/ 116384 w 650177"/>
                <a:gd name="connsiteY392" fmla="*/ 50639 h 432571"/>
                <a:gd name="connsiteX393" fmla="*/ 113594 w 650177"/>
                <a:gd name="connsiteY393" fmla="*/ 54917 h 432571"/>
                <a:gd name="connsiteX394" fmla="*/ 110206 w 650177"/>
                <a:gd name="connsiteY394" fmla="*/ 54917 h 432571"/>
                <a:gd name="connsiteX395" fmla="*/ 108512 w 650177"/>
                <a:gd name="connsiteY395" fmla="*/ 58698 h 432571"/>
                <a:gd name="connsiteX396" fmla="*/ 109110 w 650177"/>
                <a:gd name="connsiteY396" fmla="*/ 63572 h 432571"/>
                <a:gd name="connsiteX397" fmla="*/ 115487 w 650177"/>
                <a:gd name="connsiteY397" fmla="*/ 68149 h 432571"/>
                <a:gd name="connsiteX398" fmla="*/ 118776 w 650177"/>
                <a:gd name="connsiteY398" fmla="*/ 73322 h 432571"/>
                <a:gd name="connsiteX399" fmla="*/ 123160 w 650177"/>
                <a:gd name="connsiteY399" fmla="*/ 83271 h 432571"/>
                <a:gd name="connsiteX400" fmla="*/ 119573 w 650177"/>
                <a:gd name="connsiteY400" fmla="*/ 82177 h 432571"/>
                <a:gd name="connsiteX401" fmla="*/ 116783 w 650177"/>
                <a:gd name="connsiteY401" fmla="*/ 79192 h 432571"/>
                <a:gd name="connsiteX402" fmla="*/ 109808 w 650177"/>
                <a:gd name="connsiteY402" fmla="*/ 68447 h 432571"/>
                <a:gd name="connsiteX403" fmla="*/ 107616 w 650177"/>
                <a:gd name="connsiteY403" fmla="*/ 66060 h 432571"/>
                <a:gd name="connsiteX404" fmla="*/ 104925 w 650177"/>
                <a:gd name="connsiteY404" fmla="*/ 64766 h 432571"/>
                <a:gd name="connsiteX405" fmla="*/ 84996 w 650177"/>
                <a:gd name="connsiteY405" fmla="*/ 64766 h 432571"/>
                <a:gd name="connsiteX406" fmla="*/ 81210 w 650177"/>
                <a:gd name="connsiteY406" fmla="*/ 65662 h 432571"/>
                <a:gd name="connsiteX407" fmla="*/ 78121 w 650177"/>
                <a:gd name="connsiteY407" fmla="*/ 67353 h 432571"/>
                <a:gd name="connsiteX408" fmla="*/ 74932 w 650177"/>
                <a:gd name="connsiteY408" fmla="*/ 68248 h 432571"/>
                <a:gd name="connsiteX409" fmla="*/ 70648 w 650177"/>
                <a:gd name="connsiteY409" fmla="*/ 67055 h 432571"/>
                <a:gd name="connsiteX410" fmla="*/ 69851 w 650177"/>
                <a:gd name="connsiteY410" fmla="*/ 69442 h 432571"/>
                <a:gd name="connsiteX411" fmla="*/ 67758 w 650177"/>
                <a:gd name="connsiteY411" fmla="*/ 69442 h 432571"/>
                <a:gd name="connsiteX412" fmla="*/ 63374 w 650177"/>
                <a:gd name="connsiteY412" fmla="*/ 68945 h 432571"/>
                <a:gd name="connsiteX413" fmla="*/ 61979 w 650177"/>
                <a:gd name="connsiteY413" fmla="*/ 69741 h 432571"/>
                <a:gd name="connsiteX414" fmla="*/ 61281 w 650177"/>
                <a:gd name="connsiteY414" fmla="*/ 71333 h 432571"/>
                <a:gd name="connsiteX415" fmla="*/ 61281 w 650177"/>
                <a:gd name="connsiteY415" fmla="*/ 73223 h 432571"/>
                <a:gd name="connsiteX416" fmla="*/ 61979 w 650177"/>
                <a:gd name="connsiteY416" fmla="*/ 74815 h 432571"/>
                <a:gd name="connsiteX417" fmla="*/ 61979 w 650177"/>
                <a:gd name="connsiteY417" fmla="*/ 75909 h 432571"/>
                <a:gd name="connsiteX418" fmla="*/ 59986 w 650177"/>
                <a:gd name="connsiteY418" fmla="*/ 77799 h 432571"/>
                <a:gd name="connsiteX419" fmla="*/ 58391 w 650177"/>
                <a:gd name="connsiteY419" fmla="*/ 81381 h 432571"/>
                <a:gd name="connsiteX420" fmla="*/ 57096 w 650177"/>
                <a:gd name="connsiteY420" fmla="*/ 86355 h 432571"/>
                <a:gd name="connsiteX421" fmla="*/ 55302 w 650177"/>
                <a:gd name="connsiteY421" fmla="*/ 87549 h 432571"/>
                <a:gd name="connsiteX422" fmla="*/ 56697 w 650177"/>
                <a:gd name="connsiteY422" fmla="*/ 90036 h 432571"/>
                <a:gd name="connsiteX423" fmla="*/ 59687 w 650177"/>
                <a:gd name="connsiteY423" fmla="*/ 92523 h 432571"/>
                <a:gd name="connsiteX424" fmla="*/ 62875 w 650177"/>
                <a:gd name="connsiteY424" fmla="*/ 93419 h 432571"/>
                <a:gd name="connsiteX425" fmla="*/ 64370 w 650177"/>
                <a:gd name="connsiteY425" fmla="*/ 92822 h 432571"/>
                <a:gd name="connsiteX426" fmla="*/ 67060 w 650177"/>
                <a:gd name="connsiteY426" fmla="*/ 90534 h 432571"/>
                <a:gd name="connsiteX427" fmla="*/ 68057 w 650177"/>
                <a:gd name="connsiteY427" fmla="*/ 89937 h 432571"/>
                <a:gd name="connsiteX428" fmla="*/ 69552 w 650177"/>
                <a:gd name="connsiteY428" fmla="*/ 90832 h 432571"/>
                <a:gd name="connsiteX429" fmla="*/ 72541 w 650177"/>
                <a:gd name="connsiteY429" fmla="*/ 94016 h 432571"/>
                <a:gd name="connsiteX430" fmla="*/ 73737 w 650177"/>
                <a:gd name="connsiteY430" fmla="*/ 94016 h 432571"/>
                <a:gd name="connsiteX431" fmla="*/ 75132 w 650177"/>
                <a:gd name="connsiteY431" fmla="*/ 93220 h 432571"/>
                <a:gd name="connsiteX432" fmla="*/ 76826 w 650177"/>
                <a:gd name="connsiteY432" fmla="*/ 93220 h 432571"/>
                <a:gd name="connsiteX433" fmla="*/ 77922 w 650177"/>
                <a:gd name="connsiteY433" fmla="*/ 94513 h 432571"/>
                <a:gd name="connsiteX434" fmla="*/ 77922 w 650177"/>
                <a:gd name="connsiteY434" fmla="*/ 96602 h 432571"/>
                <a:gd name="connsiteX435" fmla="*/ 76527 w 650177"/>
                <a:gd name="connsiteY435" fmla="*/ 97896 h 432571"/>
                <a:gd name="connsiteX436" fmla="*/ 73039 w 650177"/>
                <a:gd name="connsiteY436" fmla="*/ 97896 h 432571"/>
                <a:gd name="connsiteX437" fmla="*/ 71843 w 650177"/>
                <a:gd name="connsiteY437" fmla="*/ 99686 h 432571"/>
                <a:gd name="connsiteX438" fmla="*/ 74036 w 650177"/>
                <a:gd name="connsiteY438" fmla="*/ 100880 h 432571"/>
                <a:gd name="connsiteX439" fmla="*/ 74932 w 650177"/>
                <a:gd name="connsiteY439" fmla="*/ 101577 h 432571"/>
                <a:gd name="connsiteX440" fmla="*/ 76826 w 650177"/>
                <a:gd name="connsiteY440" fmla="*/ 104064 h 432571"/>
                <a:gd name="connsiteX441" fmla="*/ 77722 w 650177"/>
                <a:gd name="connsiteY441" fmla="*/ 104064 h 432571"/>
                <a:gd name="connsiteX442" fmla="*/ 80014 w 650177"/>
                <a:gd name="connsiteY442" fmla="*/ 104064 h 432571"/>
                <a:gd name="connsiteX443" fmla="*/ 82705 w 650177"/>
                <a:gd name="connsiteY443" fmla="*/ 103168 h 432571"/>
                <a:gd name="connsiteX444" fmla="*/ 84000 w 650177"/>
                <a:gd name="connsiteY444" fmla="*/ 103168 h 432571"/>
                <a:gd name="connsiteX445" fmla="*/ 84897 w 650177"/>
                <a:gd name="connsiteY445" fmla="*/ 104064 h 432571"/>
                <a:gd name="connsiteX446" fmla="*/ 84897 w 650177"/>
                <a:gd name="connsiteY446" fmla="*/ 105855 h 432571"/>
                <a:gd name="connsiteX447" fmla="*/ 83801 w 650177"/>
                <a:gd name="connsiteY447" fmla="*/ 106750 h 432571"/>
                <a:gd name="connsiteX448" fmla="*/ 81310 w 650177"/>
                <a:gd name="connsiteY448" fmla="*/ 107645 h 432571"/>
                <a:gd name="connsiteX449" fmla="*/ 73039 w 650177"/>
                <a:gd name="connsiteY449" fmla="*/ 117594 h 432571"/>
                <a:gd name="connsiteX450" fmla="*/ 65865 w 650177"/>
                <a:gd name="connsiteY450" fmla="*/ 123165 h 432571"/>
                <a:gd name="connsiteX451" fmla="*/ 64669 w 650177"/>
                <a:gd name="connsiteY451" fmla="*/ 125255 h 432571"/>
                <a:gd name="connsiteX452" fmla="*/ 65765 w 650177"/>
                <a:gd name="connsiteY452" fmla="*/ 128040 h 432571"/>
                <a:gd name="connsiteX453" fmla="*/ 68555 w 650177"/>
                <a:gd name="connsiteY453" fmla="*/ 129433 h 432571"/>
                <a:gd name="connsiteX454" fmla="*/ 74833 w 650177"/>
                <a:gd name="connsiteY454" fmla="*/ 129433 h 432571"/>
                <a:gd name="connsiteX455" fmla="*/ 75431 w 650177"/>
                <a:gd name="connsiteY455" fmla="*/ 129433 h 432571"/>
                <a:gd name="connsiteX456" fmla="*/ 77623 w 650177"/>
                <a:gd name="connsiteY456" fmla="*/ 131821 h 432571"/>
                <a:gd name="connsiteX457" fmla="*/ 78619 w 650177"/>
                <a:gd name="connsiteY457" fmla="*/ 132418 h 432571"/>
                <a:gd name="connsiteX458" fmla="*/ 80114 w 650177"/>
                <a:gd name="connsiteY458" fmla="*/ 132418 h 432571"/>
                <a:gd name="connsiteX459" fmla="*/ 81409 w 650177"/>
                <a:gd name="connsiteY459" fmla="*/ 131224 h 432571"/>
                <a:gd name="connsiteX460" fmla="*/ 87687 w 650177"/>
                <a:gd name="connsiteY460" fmla="*/ 123762 h 432571"/>
                <a:gd name="connsiteX461" fmla="*/ 92270 w 650177"/>
                <a:gd name="connsiteY461" fmla="*/ 119683 h 432571"/>
                <a:gd name="connsiteX462" fmla="*/ 97153 w 650177"/>
                <a:gd name="connsiteY462" fmla="*/ 116599 h 432571"/>
                <a:gd name="connsiteX463" fmla="*/ 102135 w 650177"/>
                <a:gd name="connsiteY463" fmla="*/ 115405 h 432571"/>
                <a:gd name="connsiteX464" fmla="*/ 100840 w 650177"/>
                <a:gd name="connsiteY464" fmla="*/ 117395 h 432571"/>
                <a:gd name="connsiteX465" fmla="*/ 99644 w 650177"/>
                <a:gd name="connsiteY465" fmla="*/ 119683 h 432571"/>
                <a:gd name="connsiteX466" fmla="*/ 98947 w 650177"/>
                <a:gd name="connsiteY466" fmla="*/ 122071 h 432571"/>
                <a:gd name="connsiteX467" fmla="*/ 99544 w 650177"/>
                <a:gd name="connsiteY467" fmla="*/ 124658 h 432571"/>
                <a:gd name="connsiteX468" fmla="*/ 101737 w 650177"/>
                <a:gd name="connsiteY468" fmla="*/ 126647 h 432571"/>
                <a:gd name="connsiteX469" fmla="*/ 104327 w 650177"/>
                <a:gd name="connsiteY469" fmla="*/ 126647 h 432571"/>
                <a:gd name="connsiteX470" fmla="*/ 109509 w 650177"/>
                <a:gd name="connsiteY470" fmla="*/ 124857 h 432571"/>
                <a:gd name="connsiteX471" fmla="*/ 113096 w 650177"/>
                <a:gd name="connsiteY471" fmla="*/ 122668 h 432571"/>
                <a:gd name="connsiteX472" fmla="*/ 116783 w 650177"/>
                <a:gd name="connsiteY472" fmla="*/ 118390 h 432571"/>
                <a:gd name="connsiteX473" fmla="*/ 120868 w 650177"/>
                <a:gd name="connsiteY473" fmla="*/ 115306 h 432571"/>
                <a:gd name="connsiteX474" fmla="*/ 125452 w 650177"/>
                <a:gd name="connsiteY474" fmla="*/ 116699 h 432571"/>
                <a:gd name="connsiteX475" fmla="*/ 120868 w 650177"/>
                <a:gd name="connsiteY475" fmla="*/ 120479 h 432571"/>
                <a:gd name="connsiteX476" fmla="*/ 118875 w 650177"/>
                <a:gd name="connsiteY476" fmla="*/ 122668 h 432571"/>
                <a:gd name="connsiteX477" fmla="*/ 117680 w 650177"/>
                <a:gd name="connsiteY477" fmla="*/ 124857 h 432571"/>
                <a:gd name="connsiteX478" fmla="*/ 126448 w 650177"/>
                <a:gd name="connsiteY478" fmla="*/ 124857 h 432571"/>
                <a:gd name="connsiteX479" fmla="*/ 121366 w 650177"/>
                <a:gd name="connsiteY479" fmla="*/ 127244 h 432571"/>
                <a:gd name="connsiteX480" fmla="*/ 120071 w 650177"/>
                <a:gd name="connsiteY480" fmla="*/ 128737 h 432571"/>
                <a:gd name="connsiteX481" fmla="*/ 120071 w 650177"/>
                <a:gd name="connsiteY481" fmla="*/ 131821 h 432571"/>
                <a:gd name="connsiteX482" fmla="*/ 121466 w 650177"/>
                <a:gd name="connsiteY482" fmla="*/ 134408 h 432571"/>
                <a:gd name="connsiteX483" fmla="*/ 123459 w 650177"/>
                <a:gd name="connsiteY483" fmla="*/ 136696 h 432571"/>
                <a:gd name="connsiteX484" fmla="*/ 127943 w 650177"/>
                <a:gd name="connsiteY484" fmla="*/ 139979 h 432571"/>
                <a:gd name="connsiteX485" fmla="*/ 130633 w 650177"/>
                <a:gd name="connsiteY485" fmla="*/ 141173 h 432571"/>
                <a:gd name="connsiteX486" fmla="*/ 133423 w 650177"/>
                <a:gd name="connsiteY486" fmla="*/ 141173 h 432571"/>
                <a:gd name="connsiteX487" fmla="*/ 136313 w 650177"/>
                <a:gd name="connsiteY487" fmla="*/ 141173 h 432571"/>
                <a:gd name="connsiteX488" fmla="*/ 139203 w 650177"/>
                <a:gd name="connsiteY488" fmla="*/ 140078 h 432571"/>
                <a:gd name="connsiteX489" fmla="*/ 141893 w 650177"/>
                <a:gd name="connsiteY489" fmla="*/ 138387 h 432571"/>
                <a:gd name="connsiteX490" fmla="*/ 143487 w 650177"/>
                <a:gd name="connsiteY490" fmla="*/ 136497 h 432571"/>
                <a:gd name="connsiteX491" fmla="*/ 144185 w 650177"/>
                <a:gd name="connsiteY491" fmla="*/ 134109 h 432571"/>
                <a:gd name="connsiteX492" fmla="*/ 144185 w 650177"/>
                <a:gd name="connsiteY492" fmla="*/ 131323 h 432571"/>
                <a:gd name="connsiteX493" fmla="*/ 144185 w 650177"/>
                <a:gd name="connsiteY493" fmla="*/ 128538 h 432571"/>
                <a:gd name="connsiteX494" fmla="*/ 143189 w 650177"/>
                <a:gd name="connsiteY494" fmla="*/ 125354 h 432571"/>
                <a:gd name="connsiteX495" fmla="*/ 142591 w 650177"/>
                <a:gd name="connsiteY495" fmla="*/ 122668 h 432571"/>
                <a:gd name="connsiteX496" fmla="*/ 143089 w 650177"/>
                <a:gd name="connsiteY496" fmla="*/ 122071 h 432571"/>
                <a:gd name="connsiteX497" fmla="*/ 144982 w 650177"/>
                <a:gd name="connsiteY497" fmla="*/ 123066 h 432571"/>
                <a:gd name="connsiteX498" fmla="*/ 147374 w 650177"/>
                <a:gd name="connsiteY498" fmla="*/ 125354 h 432571"/>
                <a:gd name="connsiteX499" fmla="*/ 149566 w 650177"/>
                <a:gd name="connsiteY499" fmla="*/ 127841 h 432571"/>
                <a:gd name="connsiteX500" fmla="*/ 150463 w 650177"/>
                <a:gd name="connsiteY500" fmla="*/ 129632 h 432571"/>
                <a:gd name="connsiteX501" fmla="*/ 151957 w 650177"/>
                <a:gd name="connsiteY501" fmla="*/ 130826 h 432571"/>
                <a:gd name="connsiteX502" fmla="*/ 155245 w 650177"/>
                <a:gd name="connsiteY502" fmla="*/ 131522 h 432571"/>
                <a:gd name="connsiteX503" fmla="*/ 158534 w 650177"/>
                <a:gd name="connsiteY503" fmla="*/ 131522 h 432571"/>
                <a:gd name="connsiteX504" fmla="*/ 160527 w 650177"/>
                <a:gd name="connsiteY504" fmla="*/ 129334 h 432571"/>
                <a:gd name="connsiteX505" fmla="*/ 163416 w 650177"/>
                <a:gd name="connsiteY505" fmla="*/ 128637 h 432571"/>
                <a:gd name="connsiteX506" fmla="*/ 164413 w 650177"/>
                <a:gd name="connsiteY506" fmla="*/ 128637 h 432571"/>
                <a:gd name="connsiteX507" fmla="*/ 165210 w 650177"/>
                <a:gd name="connsiteY507" fmla="*/ 127145 h 432571"/>
                <a:gd name="connsiteX508" fmla="*/ 165210 w 650177"/>
                <a:gd name="connsiteY508" fmla="*/ 125752 h 432571"/>
                <a:gd name="connsiteX509" fmla="*/ 165210 w 650177"/>
                <a:gd name="connsiteY509" fmla="*/ 124260 h 432571"/>
                <a:gd name="connsiteX510" fmla="*/ 166406 w 650177"/>
                <a:gd name="connsiteY510" fmla="*/ 122966 h 432571"/>
                <a:gd name="connsiteX511" fmla="*/ 168100 w 650177"/>
                <a:gd name="connsiteY511" fmla="*/ 126449 h 432571"/>
                <a:gd name="connsiteX512" fmla="*/ 167402 w 650177"/>
                <a:gd name="connsiteY512" fmla="*/ 129831 h 432571"/>
                <a:gd name="connsiteX513" fmla="*/ 165210 w 650177"/>
                <a:gd name="connsiteY513" fmla="*/ 132418 h 432571"/>
                <a:gd name="connsiteX514" fmla="*/ 159929 w 650177"/>
                <a:gd name="connsiteY514" fmla="*/ 134209 h 432571"/>
                <a:gd name="connsiteX515" fmla="*/ 157836 w 650177"/>
                <a:gd name="connsiteY515" fmla="*/ 136497 h 432571"/>
                <a:gd name="connsiteX516" fmla="*/ 156142 w 650177"/>
                <a:gd name="connsiteY516" fmla="*/ 139581 h 432571"/>
                <a:gd name="connsiteX517" fmla="*/ 155046 w 650177"/>
                <a:gd name="connsiteY517" fmla="*/ 142764 h 432571"/>
                <a:gd name="connsiteX518" fmla="*/ 155046 w 650177"/>
                <a:gd name="connsiteY518" fmla="*/ 143660 h 432571"/>
                <a:gd name="connsiteX519" fmla="*/ 155943 w 650177"/>
                <a:gd name="connsiteY519" fmla="*/ 143660 h 432571"/>
                <a:gd name="connsiteX520" fmla="*/ 155943 w 650177"/>
                <a:gd name="connsiteY520" fmla="*/ 144555 h 432571"/>
                <a:gd name="connsiteX521" fmla="*/ 155445 w 650177"/>
                <a:gd name="connsiteY521" fmla="*/ 145849 h 432571"/>
                <a:gd name="connsiteX522" fmla="*/ 154847 w 650177"/>
                <a:gd name="connsiteY522" fmla="*/ 145849 h 432571"/>
                <a:gd name="connsiteX523" fmla="*/ 154050 w 650177"/>
                <a:gd name="connsiteY523" fmla="*/ 145849 h 432571"/>
                <a:gd name="connsiteX524" fmla="*/ 153352 w 650177"/>
                <a:gd name="connsiteY524" fmla="*/ 146545 h 432571"/>
                <a:gd name="connsiteX525" fmla="*/ 149366 w 650177"/>
                <a:gd name="connsiteY525" fmla="*/ 151718 h 432571"/>
                <a:gd name="connsiteX526" fmla="*/ 148569 w 650177"/>
                <a:gd name="connsiteY526" fmla="*/ 154206 h 432571"/>
                <a:gd name="connsiteX527" fmla="*/ 149665 w 650177"/>
                <a:gd name="connsiteY527" fmla="*/ 156792 h 432571"/>
                <a:gd name="connsiteX528" fmla="*/ 160626 w 650177"/>
                <a:gd name="connsiteY528" fmla="*/ 170322 h 432571"/>
                <a:gd name="connsiteX529" fmla="*/ 163217 w 650177"/>
                <a:gd name="connsiteY529" fmla="*/ 171815 h 432571"/>
                <a:gd name="connsiteX530" fmla="*/ 166206 w 650177"/>
                <a:gd name="connsiteY530" fmla="*/ 171815 h 432571"/>
                <a:gd name="connsiteX531" fmla="*/ 169395 w 650177"/>
                <a:gd name="connsiteY531" fmla="*/ 171118 h 432571"/>
                <a:gd name="connsiteX532" fmla="*/ 185637 w 650177"/>
                <a:gd name="connsiteY532" fmla="*/ 171118 h 432571"/>
                <a:gd name="connsiteX533" fmla="*/ 186733 w 650177"/>
                <a:gd name="connsiteY533" fmla="*/ 170621 h 432571"/>
                <a:gd name="connsiteX534" fmla="*/ 187530 w 650177"/>
                <a:gd name="connsiteY534" fmla="*/ 167736 h 432571"/>
                <a:gd name="connsiteX535" fmla="*/ 187530 w 650177"/>
                <a:gd name="connsiteY535" fmla="*/ 159379 h 432571"/>
                <a:gd name="connsiteX536" fmla="*/ 187530 w 650177"/>
                <a:gd name="connsiteY536" fmla="*/ 156096 h 432571"/>
                <a:gd name="connsiteX537" fmla="*/ 187530 w 650177"/>
                <a:gd name="connsiteY537" fmla="*/ 155001 h 432571"/>
                <a:gd name="connsiteX538" fmla="*/ 187530 w 650177"/>
                <a:gd name="connsiteY538" fmla="*/ 153410 h 432571"/>
                <a:gd name="connsiteX539" fmla="*/ 187530 w 650177"/>
                <a:gd name="connsiteY539" fmla="*/ 152514 h 432571"/>
                <a:gd name="connsiteX540" fmla="*/ 188626 w 650177"/>
                <a:gd name="connsiteY540" fmla="*/ 155300 h 432571"/>
                <a:gd name="connsiteX541" fmla="*/ 192911 w 650177"/>
                <a:gd name="connsiteY541" fmla="*/ 166442 h 432571"/>
                <a:gd name="connsiteX542" fmla="*/ 193907 w 650177"/>
                <a:gd name="connsiteY542" fmla="*/ 167736 h 432571"/>
                <a:gd name="connsiteX543" fmla="*/ 195402 w 650177"/>
                <a:gd name="connsiteY543" fmla="*/ 167736 h 432571"/>
                <a:gd name="connsiteX544" fmla="*/ 197694 w 650177"/>
                <a:gd name="connsiteY544" fmla="*/ 167736 h 432571"/>
                <a:gd name="connsiteX545" fmla="*/ 199487 w 650177"/>
                <a:gd name="connsiteY545" fmla="*/ 166940 h 432571"/>
                <a:gd name="connsiteX546" fmla="*/ 201680 w 650177"/>
                <a:gd name="connsiteY546" fmla="*/ 165050 h 432571"/>
                <a:gd name="connsiteX547" fmla="*/ 203473 w 650177"/>
                <a:gd name="connsiteY547" fmla="*/ 162463 h 432571"/>
                <a:gd name="connsiteX548" fmla="*/ 204171 w 650177"/>
                <a:gd name="connsiteY548" fmla="*/ 160175 h 432571"/>
                <a:gd name="connsiteX549" fmla="*/ 203174 w 650177"/>
                <a:gd name="connsiteY549" fmla="*/ 157588 h 432571"/>
                <a:gd name="connsiteX550" fmla="*/ 199089 w 650177"/>
                <a:gd name="connsiteY550" fmla="*/ 154703 h 432571"/>
                <a:gd name="connsiteX551" fmla="*/ 199089 w 650177"/>
                <a:gd name="connsiteY551" fmla="*/ 152514 h 432571"/>
                <a:gd name="connsiteX552" fmla="*/ 204370 w 650177"/>
                <a:gd name="connsiteY552" fmla="*/ 155698 h 432571"/>
                <a:gd name="connsiteX553" fmla="*/ 206761 w 650177"/>
                <a:gd name="connsiteY553" fmla="*/ 157787 h 432571"/>
                <a:gd name="connsiteX554" fmla="*/ 208754 w 650177"/>
                <a:gd name="connsiteY554" fmla="*/ 162861 h 432571"/>
                <a:gd name="connsiteX555" fmla="*/ 211046 w 650177"/>
                <a:gd name="connsiteY555" fmla="*/ 165746 h 432571"/>
                <a:gd name="connsiteX556" fmla="*/ 213936 w 650177"/>
                <a:gd name="connsiteY556" fmla="*/ 167935 h 432571"/>
                <a:gd name="connsiteX557" fmla="*/ 216527 w 650177"/>
                <a:gd name="connsiteY557" fmla="*/ 168830 h 432571"/>
                <a:gd name="connsiteX558" fmla="*/ 219416 w 650177"/>
                <a:gd name="connsiteY558" fmla="*/ 167537 h 432571"/>
                <a:gd name="connsiteX559" fmla="*/ 221907 w 650177"/>
                <a:gd name="connsiteY559" fmla="*/ 165448 h 432571"/>
                <a:gd name="connsiteX560" fmla="*/ 223701 w 650177"/>
                <a:gd name="connsiteY560" fmla="*/ 165448 h 432571"/>
                <a:gd name="connsiteX561" fmla="*/ 224299 w 650177"/>
                <a:gd name="connsiteY561" fmla="*/ 169626 h 432571"/>
                <a:gd name="connsiteX562" fmla="*/ 224299 w 650177"/>
                <a:gd name="connsiteY562" fmla="*/ 176391 h 432571"/>
                <a:gd name="connsiteX563" fmla="*/ 224797 w 650177"/>
                <a:gd name="connsiteY563" fmla="*/ 179177 h 432571"/>
                <a:gd name="connsiteX564" fmla="*/ 228882 w 650177"/>
                <a:gd name="connsiteY564" fmla="*/ 193503 h 432571"/>
                <a:gd name="connsiteX565" fmla="*/ 230377 w 650177"/>
                <a:gd name="connsiteY565" fmla="*/ 196189 h 432571"/>
                <a:gd name="connsiteX566" fmla="*/ 232968 w 650177"/>
                <a:gd name="connsiteY566" fmla="*/ 197682 h 432571"/>
                <a:gd name="connsiteX567" fmla="*/ 236455 w 650177"/>
                <a:gd name="connsiteY567" fmla="*/ 197682 h 432571"/>
                <a:gd name="connsiteX568" fmla="*/ 240142 w 650177"/>
                <a:gd name="connsiteY568" fmla="*/ 197085 h 432571"/>
                <a:gd name="connsiteX569" fmla="*/ 243032 w 650177"/>
                <a:gd name="connsiteY569" fmla="*/ 195294 h 432571"/>
                <a:gd name="connsiteX570" fmla="*/ 245025 w 650177"/>
                <a:gd name="connsiteY570" fmla="*/ 192608 h 432571"/>
                <a:gd name="connsiteX571" fmla="*/ 245722 w 650177"/>
                <a:gd name="connsiteY571" fmla="*/ 190120 h 432571"/>
                <a:gd name="connsiteX572" fmla="*/ 245722 w 650177"/>
                <a:gd name="connsiteY572" fmla="*/ 184251 h 432571"/>
                <a:gd name="connsiteX573" fmla="*/ 246619 w 650177"/>
                <a:gd name="connsiteY573" fmla="*/ 182957 h 432571"/>
                <a:gd name="connsiteX574" fmla="*/ 248413 w 650177"/>
                <a:gd name="connsiteY574" fmla="*/ 182957 h 432571"/>
                <a:gd name="connsiteX575" fmla="*/ 251900 w 650177"/>
                <a:gd name="connsiteY575" fmla="*/ 184549 h 432571"/>
                <a:gd name="connsiteX576" fmla="*/ 253694 w 650177"/>
                <a:gd name="connsiteY576" fmla="*/ 184549 h 432571"/>
                <a:gd name="connsiteX577" fmla="*/ 253694 w 650177"/>
                <a:gd name="connsiteY577" fmla="*/ 185644 h 432571"/>
                <a:gd name="connsiteX578" fmla="*/ 245124 w 650177"/>
                <a:gd name="connsiteY578" fmla="*/ 195592 h 432571"/>
                <a:gd name="connsiteX579" fmla="*/ 244128 w 650177"/>
                <a:gd name="connsiteY579" fmla="*/ 198477 h 432571"/>
                <a:gd name="connsiteX580" fmla="*/ 245423 w 650177"/>
                <a:gd name="connsiteY580" fmla="*/ 200268 h 432571"/>
                <a:gd name="connsiteX581" fmla="*/ 248413 w 650177"/>
                <a:gd name="connsiteY581" fmla="*/ 201959 h 432571"/>
                <a:gd name="connsiteX582" fmla="*/ 262961 w 650177"/>
                <a:gd name="connsiteY582" fmla="*/ 206038 h 432571"/>
                <a:gd name="connsiteX583" fmla="*/ 264754 w 650177"/>
                <a:gd name="connsiteY583" fmla="*/ 206038 h 432571"/>
                <a:gd name="connsiteX584" fmla="*/ 268342 w 650177"/>
                <a:gd name="connsiteY584" fmla="*/ 203850 h 432571"/>
                <a:gd name="connsiteX585" fmla="*/ 281594 w 650177"/>
                <a:gd name="connsiteY585" fmla="*/ 201661 h 432571"/>
                <a:gd name="connsiteX586" fmla="*/ 288171 w 650177"/>
                <a:gd name="connsiteY586" fmla="*/ 201661 h 432571"/>
                <a:gd name="connsiteX587" fmla="*/ 294448 w 650177"/>
                <a:gd name="connsiteY587" fmla="*/ 198378 h 432571"/>
                <a:gd name="connsiteX588" fmla="*/ 298534 w 650177"/>
                <a:gd name="connsiteY588" fmla="*/ 198378 h 432571"/>
                <a:gd name="connsiteX589" fmla="*/ 299829 w 650177"/>
                <a:gd name="connsiteY589" fmla="*/ 200567 h 432571"/>
                <a:gd name="connsiteX590" fmla="*/ 301922 w 650177"/>
                <a:gd name="connsiteY590" fmla="*/ 202954 h 432571"/>
                <a:gd name="connsiteX591" fmla="*/ 304413 w 650177"/>
                <a:gd name="connsiteY591" fmla="*/ 204049 h 432571"/>
                <a:gd name="connsiteX592" fmla="*/ 306904 w 650177"/>
                <a:gd name="connsiteY592" fmla="*/ 202357 h 432571"/>
                <a:gd name="connsiteX593" fmla="*/ 308498 w 650177"/>
                <a:gd name="connsiteY593" fmla="*/ 202855 h 432571"/>
                <a:gd name="connsiteX594" fmla="*/ 310092 w 650177"/>
                <a:gd name="connsiteY594" fmla="*/ 206735 h 432571"/>
                <a:gd name="connsiteX595" fmla="*/ 312484 w 650177"/>
                <a:gd name="connsiteY595" fmla="*/ 214495 h 432571"/>
                <a:gd name="connsiteX596" fmla="*/ 313680 w 650177"/>
                <a:gd name="connsiteY596" fmla="*/ 216982 h 432571"/>
                <a:gd name="connsiteX597" fmla="*/ 314477 w 650177"/>
                <a:gd name="connsiteY597" fmla="*/ 219469 h 432571"/>
                <a:gd name="connsiteX598" fmla="*/ 314477 w 650177"/>
                <a:gd name="connsiteY598" fmla="*/ 222454 h 432571"/>
                <a:gd name="connsiteX599" fmla="*/ 315174 w 650177"/>
                <a:gd name="connsiteY599" fmla="*/ 230612 h 432571"/>
                <a:gd name="connsiteX600" fmla="*/ 317067 w 650177"/>
                <a:gd name="connsiteY600" fmla="*/ 237278 h 432571"/>
                <a:gd name="connsiteX601" fmla="*/ 317067 w 650177"/>
                <a:gd name="connsiteY601" fmla="*/ 240959 h 432571"/>
                <a:gd name="connsiteX602" fmla="*/ 314377 w 650177"/>
                <a:gd name="connsiteY602" fmla="*/ 247027 h 432571"/>
                <a:gd name="connsiteX603" fmla="*/ 309295 w 650177"/>
                <a:gd name="connsiteY603" fmla="*/ 247027 h 432571"/>
                <a:gd name="connsiteX604" fmla="*/ 298833 w 650177"/>
                <a:gd name="connsiteY604" fmla="*/ 243147 h 432571"/>
                <a:gd name="connsiteX605" fmla="*/ 298833 w 650177"/>
                <a:gd name="connsiteY605" fmla="*/ 245933 h 432571"/>
                <a:gd name="connsiteX606" fmla="*/ 298833 w 650177"/>
                <a:gd name="connsiteY606" fmla="*/ 247425 h 432571"/>
                <a:gd name="connsiteX607" fmla="*/ 297139 w 650177"/>
                <a:gd name="connsiteY607" fmla="*/ 250111 h 432571"/>
                <a:gd name="connsiteX608" fmla="*/ 296541 w 650177"/>
                <a:gd name="connsiteY608" fmla="*/ 252201 h 432571"/>
                <a:gd name="connsiteX609" fmla="*/ 298733 w 650177"/>
                <a:gd name="connsiteY609" fmla="*/ 258568 h 432571"/>
                <a:gd name="connsiteX610" fmla="*/ 300327 w 650177"/>
                <a:gd name="connsiteY610" fmla="*/ 259861 h 432571"/>
                <a:gd name="connsiteX611" fmla="*/ 303217 w 650177"/>
                <a:gd name="connsiteY611" fmla="*/ 261453 h 432571"/>
                <a:gd name="connsiteX612" fmla="*/ 304413 w 650177"/>
                <a:gd name="connsiteY612" fmla="*/ 262448 h 432571"/>
                <a:gd name="connsiteX613" fmla="*/ 307003 w 650177"/>
                <a:gd name="connsiteY613" fmla="*/ 261155 h 432571"/>
                <a:gd name="connsiteX614" fmla="*/ 308897 w 650177"/>
                <a:gd name="connsiteY614" fmla="*/ 259264 h 432571"/>
                <a:gd name="connsiteX615" fmla="*/ 309993 w 650177"/>
                <a:gd name="connsiteY615" fmla="*/ 256578 h 432571"/>
                <a:gd name="connsiteX616" fmla="*/ 309993 w 650177"/>
                <a:gd name="connsiteY616" fmla="*/ 252798 h 432571"/>
                <a:gd name="connsiteX617" fmla="*/ 311089 w 650177"/>
                <a:gd name="connsiteY617" fmla="*/ 250609 h 432571"/>
                <a:gd name="connsiteX618" fmla="*/ 315772 w 650177"/>
                <a:gd name="connsiteY618" fmla="*/ 246132 h 432571"/>
                <a:gd name="connsiteX619" fmla="*/ 316968 w 650177"/>
                <a:gd name="connsiteY619" fmla="*/ 243048 h 432571"/>
                <a:gd name="connsiteX620" fmla="*/ 318662 w 650177"/>
                <a:gd name="connsiteY620" fmla="*/ 245734 h 432571"/>
                <a:gd name="connsiteX621" fmla="*/ 317267 w 650177"/>
                <a:gd name="connsiteY621" fmla="*/ 249713 h 432571"/>
                <a:gd name="connsiteX622" fmla="*/ 314776 w 650177"/>
                <a:gd name="connsiteY622" fmla="*/ 253991 h 432571"/>
                <a:gd name="connsiteX623" fmla="*/ 312085 w 650177"/>
                <a:gd name="connsiteY623" fmla="*/ 262846 h 432571"/>
                <a:gd name="connsiteX624" fmla="*/ 308498 w 650177"/>
                <a:gd name="connsiteY624" fmla="*/ 265631 h 432571"/>
                <a:gd name="connsiteX625" fmla="*/ 304712 w 650177"/>
                <a:gd name="connsiteY625" fmla="*/ 267522 h 432571"/>
                <a:gd name="connsiteX626" fmla="*/ 302519 w 650177"/>
                <a:gd name="connsiteY626" fmla="*/ 270307 h 432571"/>
                <a:gd name="connsiteX627" fmla="*/ 304811 w 650177"/>
                <a:gd name="connsiteY627" fmla="*/ 273491 h 432571"/>
                <a:gd name="connsiteX628" fmla="*/ 306804 w 650177"/>
                <a:gd name="connsiteY628" fmla="*/ 275580 h 432571"/>
                <a:gd name="connsiteX629" fmla="*/ 308996 w 650177"/>
                <a:gd name="connsiteY629" fmla="*/ 276774 h 432571"/>
                <a:gd name="connsiteX630" fmla="*/ 311687 w 650177"/>
                <a:gd name="connsiteY630" fmla="*/ 276774 h 432571"/>
                <a:gd name="connsiteX631" fmla="*/ 313779 w 650177"/>
                <a:gd name="connsiteY631" fmla="*/ 275481 h 432571"/>
                <a:gd name="connsiteX632" fmla="*/ 318662 w 650177"/>
                <a:gd name="connsiteY632" fmla="*/ 269810 h 432571"/>
                <a:gd name="connsiteX633" fmla="*/ 321651 w 650177"/>
                <a:gd name="connsiteY633" fmla="*/ 268915 h 432571"/>
                <a:gd name="connsiteX634" fmla="*/ 323245 w 650177"/>
                <a:gd name="connsiteY634" fmla="*/ 269511 h 432571"/>
                <a:gd name="connsiteX635" fmla="*/ 324939 w 650177"/>
                <a:gd name="connsiteY635" fmla="*/ 271203 h 432571"/>
                <a:gd name="connsiteX636" fmla="*/ 325936 w 650177"/>
                <a:gd name="connsiteY636" fmla="*/ 271203 h 432571"/>
                <a:gd name="connsiteX637" fmla="*/ 326733 w 650177"/>
                <a:gd name="connsiteY637" fmla="*/ 270108 h 432571"/>
                <a:gd name="connsiteX638" fmla="*/ 327630 w 650177"/>
                <a:gd name="connsiteY638" fmla="*/ 268318 h 432571"/>
                <a:gd name="connsiteX639" fmla="*/ 328327 w 650177"/>
                <a:gd name="connsiteY639" fmla="*/ 266427 h 432571"/>
                <a:gd name="connsiteX640" fmla="*/ 329224 w 650177"/>
                <a:gd name="connsiteY640" fmla="*/ 261552 h 432571"/>
                <a:gd name="connsiteX641" fmla="*/ 330719 w 650177"/>
                <a:gd name="connsiteY641" fmla="*/ 258369 h 432571"/>
                <a:gd name="connsiteX642" fmla="*/ 332413 w 650177"/>
                <a:gd name="connsiteY642" fmla="*/ 255583 h 432571"/>
                <a:gd name="connsiteX643" fmla="*/ 333808 w 650177"/>
                <a:gd name="connsiteY643" fmla="*/ 253892 h 432571"/>
                <a:gd name="connsiteX644" fmla="*/ 334704 w 650177"/>
                <a:gd name="connsiteY644" fmla="*/ 253892 h 432571"/>
                <a:gd name="connsiteX645" fmla="*/ 334704 w 650177"/>
                <a:gd name="connsiteY645" fmla="*/ 256280 h 432571"/>
                <a:gd name="connsiteX646" fmla="*/ 334007 w 650177"/>
                <a:gd name="connsiteY646" fmla="*/ 259165 h 432571"/>
                <a:gd name="connsiteX647" fmla="*/ 332911 w 650177"/>
                <a:gd name="connsiteY647" fmla="*/ 261851 h 432571"/>
                <a:gd name="connsiteX648" fmla="*/ 331815 w 650177"/>
                <a:gd name="connsiteY648" fmla="*/ 263741 h 432571"/>
                <a:gd name="connsiteX649" fmla="*/ 331815 w 650177"/>
                <a:gd name="connsiteY649" fmla="*/ 265631 h 432571"/>
                <a:gd name="connsiteX650" fmla="*/ 331815 w 650177"/>
                <a:gd name="connsiteY650" fmla="*/ 271899 h 432571"/>
                <a:gd name="connsiteX651" fmla="*/ 331815 w 650177"/>
                <a:gd name="connsiteY651" fmla="*/ 273491 h 432571"/>
                <a:gd name="connsiteX652" fmla="*/ 333210 w 650177"/>
                <a:gd name="connsiteY652" fmla="*/ 274585 h 432571"/>
                <a:gd name="connsiteX653" fmla="*/ 334904 w 650177"/>
                <a:gd name="connsiteY653" fmla="*/ 274585 h 432571"/>
                <a:gd name="connsiteX654" fmla="*/ 336697 w 650177"/>
                <a:gd name="connsiteY654" fmla="*/ 273590 h 432571"/>
                <a:gd name="connsiteX655" fmla="*/ 338391 w 650177"/>
                <a:gd name="connsiteY655" fmla="*/ 271899 h 432571"/>
                <a:gd name="connsiteX656" fmla="*/ 339587 w 650177"/>
                <a:gd name="connsiteY656" fmla="*/ 271302 h 432571"/>
                <a:gd name="connsiteX657" fmla="*/ 339587 w 650177"/>
                <a:gd name="connsiteY657" fmla="*/ 273988 h 432571"/>
                <a:gd name="connsiteX658" fmla="*/ 338192 w 650177"/>
                <a:gd name="connsiteY658" fmla="*/ 278863 h 432571"/>
                <a:gd name="connsiteX659" fmla="*/ 338192 w 650177"/>
                <a:gd name="connsiteY659" fmla="*/ 287817 h 432571"/>
                <a:gd name="connsiteX660" fmla="*/ 339288 w 650177"/>
                <a:gd name="connsiteY660" fmla="*/ 291299 h 432571"/>
                <a:gd name="connsiteX661" fmla="*/ 342277 w 650177"/>
                <a:gd name="connsiteY661" fmla="*/ 289210 h 432571"/>
                <a:gd name="connsiteX662" fmla="*/ 345366 w 650177"/>
                <a:gd name="connsiteY662" fmla="*/ 285728 h 432571"/>
                <a:gd name="connsiteX663" fmla="*/ 356527 w 650177"/>
                <a:gd name="connsiteY663" fmla="*/ 278366 h 432571"/>
                <a:gd name="connsiteX664" fmla="*/ 356527 w 650177"/>
                <a:gd name="connsiteY664" fmla="*/ 281549 h 432571"/>
                <a:gd name="connsiteX665" fmla="*/ 355331 w 650177"/>
                <a:gd name="connsiteY665" fmla="*/ 283241 h 432571"/>
                <a:gd name="connsiteX666" fmla="*/ 354135 w 650177"/>
                <a:gd name="connsiteY666" fmla="*/ 284634 h 432571"/>
                <a:gd name="connsiteX667" fmla="*/ 353537 w 650177"/>
                <a:gd name="connsiteY667" fmla="*/ 286822 h 432571"/>
                <a:gd name="connsiteX668" fmla="*/ 352441 w 650177"/>
                <a:gd name="connsiteY668" fmla="*/ 288613 h 432571"/>
                <a:gd name="connsiteX669" fmla="*/ 347658 w 650177"/>
                <a:gd name="connsiteY669" fmla="*/ 291200 h 432571"/>
                <a:gd name="connsiteX670" fmla="*/ 346462 w 650177"/>
                <a:gd name="connsiteY670" fmla="*/ 293786 h 432571"/>
                <a:gd name="connsiteX671" fmla="*/ 345366 w 650177"/>
                <a:gd name="connsiteY671" fmla="*/ 293786 h 432571"/>
                <a:gd name="connsiteX672" fmla="*/ 340484 w 650177"/>
                <a:gd name="connsiteY672" fmla="*/ 297169 h 432571"/>
                <a:gd name="connsiteX673" fmla="*/ 339587 w 650177"/>
                <a:gd name="connsiteY673" fmla="*/ 297965 h 432571"/>
                <a:gd name="connsiteX674" fmla="*/ 336996 w 650177"/>
                <a:gd name="connsiteY674" fmla="*/ 298960 h 432571"/>
                <a:gd name="connsiteX675" fmla="*/ 334804 w 650177"/>
                <a:gd name="connsiteY675" fmla="*/ 298960 h 432571"/>
                <a:gd name="connsiteX676" fmla="*/ 332811 w 650177"/>
                <a:gd name="connsiteY676" fmla="*/ 297766 h 432571"/>
                <a:gd name="connsiteX677" fmla="*/ 330818 w 650177"/>
                <a:gd name="connsiteY677" fmla="*/ 295876 h 432571"/>
                <a:gd name="connsiteX678" fmla="*/ 328925 w 650177"/>
                <a:gd name="connsiteY678" fmla="*/ 297368 h 432571"/>
                <a:gd name="connsiteX679" fmla="*/ 325039 w 650177"/>
                <a:gd name="connsiteY679" fmla="*/ 298064 h 432571"/>
                <a:gd name="connsiteX680" fmla="*/ 323843 w 650177"/>
                <a:gd name="connsiteY680" fmla="*/ 299358 h 432571"/>
                <a:gd name="connsiteX681" fmla="*/ 323843 w 650177"/>
                <a:gd name="connsiteY681" fmla="*/ 301148 h 432571"/>
                <a:gd name="connsiteX682" fmla="*/ 324939 w 650177"/>
                <a:gd name="connsiteY682" fmla="*/ 302641 h 432571"/>
                <a:gd name="connsiteX683" fmla="*/ 326733 w 650177"/>
                <a:gd name="connsiteY683" fmla="*/ 303835 h 432571"/>
                <a:gd name="connsiteX684" fmla="*/ 328327 w 650177"/>
                <a:gd name="connsiteY684" fmla="*/ 304631 h 432571"/>
                <a:gd name="connsiteX685" fmla="*/ 341082 w 650177"/>
                <a:gd name="connsiteY685" fmla="*/ 307317 h 432571"/>
                <a:gd name="connsiteX686" fmla="*/ 344470 w 650177"/>
                <a:gd name="connsiteY686" fmla="*/ 309903 h 432571"/>
                <a:gd name="connsiteX687" fmla="*/ 345865 w 650177"/>
                <a:gd name="connsiteY687" fmla="*/ 311296 h 432571"/>
                <a:gd name="connsiteX688" fmla="*/ 349153 w 650177"/>
                <a:gd name="connsiteY688" fmla="*/ 313186 h 432571"/>
                <a:gd name="connsiteX689" fmla="*/ 353637 w 650177"/>
                <a:gd name="connsiteY689" fmla="*/ 317464 h 432571"/>
                <a:gd name="connsiteX690" fmla="*/ 353637 w 650177"/>
                <a:gd name="connsiteY690" fmla="*/ 318161 h 432571"/>
                <a:gd name="connsiteX691" fmla="*/ 354633 w 650177"/>
                <a:gd name="connsiteY691" fmla="*/ 320250 h 432571"/>
                <a:gd name="connsiteX692" fmla="*/ 355331 w 650177"/>
                <a:gd name="connsiteY692" fmla="*/ 321444 h 432571"/>
                <a:gd name="connsiteX693" fmla="*/ 357124 w 650177"/>
                <a:gd name="connsiteY693" fmla="*/ 322538 h 432571"/>
                <a:gd name="connsiteX694" fmla="*/ 361309 w 650177"/>
                <a:gd name="connsiteY694" fmla="*/ 323533 h 432571"/>
                <a:gd name="connsiteX695" fmla="*/ 363103 w 650177"/>
                <a:gd name="connsiteY695" fmla="*/ 324826 h 432571"/>
                <a:gd name="connsiteX696" fmla="*/ 364598 w 650177"/>
                <a:gd name="connsiteY696" fmla="*/ 326219 h 432571"/>
                <a:gd name="connsiteX697" fmla="*/ 366690 w 650177"/>
                <a:gd name="connsiteY697" fmla="*/ 327413 h 432571"/>
                <a:gd name="connsiteX698" fmla="*/ 368783 w 650177"/>
                <a:gd name="connsiteY698" fmla="*/ 328508 h 432571"/>
                <a:gd name="connsiteX699" fmla="*/ 370477 w 650177"/>
                <a:gd name="connsiteY699" fmla="*/ 328508 h 432571"/>
                <a:gd name="connsiteX700" fmla="*/ 370477 w 650177"/>
                <a:gd name="connsiteY700" fmla="*/ 328508 h 432571"/>
                <a:gd name="connsiteX701" fmla="*/ 371672 w 650177"/>
                <a:gd name="connsiteY701" fmla="*/ 328508 h 432571"/>
                <a:gd name="connsiteX702" fmla="*/ 374164 w 650177"/>
                <a:gd name="connsiteY702" fmla="*/ 328508 h 432571"/>
                <a:gd name="connsiteX703" fmla="*/ 375260 w 650177"/>
                <a:gd name="connsiteY703" fmla="*/ 328508 h 432571"/>
                <a:gd name="connsiteX704" fmla="*/ 375957 w 650177"/>
                <a:gd name="connsiteY704" fmla="*/ 327413 h 432571"/>
                <a:gd name="connsiteX705" fmla="*/ 375957 w 650177"/>
                <a:gd name="connsiteY705" fmla="*/ 326219 h 432571"/>
                <a:gd name="connsiteX706" fmla="*/ 375957 w 650177"/>
                <a:gd name="connsiteY706" fmla="*/ 326219 h 432571"/>
                <a:gd name="connsiteX707" fmla="*/ 378349 w 650177"/>
                <a:gd name="connsiteY707" fmla="*/ 325125 h 432571"/>
                <a:gd name="connsiteX708" fmla="*/ 382235 w 650177"/>
                <a:gd name="connsiteY708" fmla="*/ 321046 h 432571"/>
                <a:gd name="connsiteX709" fmla="*/ 386519 w 650177"/>
                <a:gd name="connsiteY709" fmla="*/ 318559 h 432571"/>
                <a:gd name="connsiteX710" fmla="*/ 387416 w 650177"/>
                <a:gd name="connsiteY710" fmla="*/ 315375 h 432571"/>
                <a:gd name="connsiteX711" fmla="*/ 388114 w 650177"/>
                <a:gd name="connsiteY711" fmla="*/ 311893 h 432571"/>
                <a:gd name="connsiteX712" fmla="*/ 389509 w 650177"/>
                <a:gd name="connsiteY712" fmla="*/ 309605 h 432571"/>
                <a:gd name="connsiteX713" fmla="*/ 390704 w 650177"/>
                <a:gd name="connsiteY713" fmla="*/ 309605 h 432571"/>
                <a:gd name="connsiteX714" fmla="*/ 391701 w 650177"/>
                <a:gd name="connsiteY714" fmla="*/ 310401 h 432571"/>
                <a:gd name="connsiteX715" fmla="*/ 392598 w 650177"/>
                <a:gd name="connsiteY715" fmla="*/ 311197 h 432571"/>
                <a:gd name="connsiteX716" fmla="*/ 392598 w 650177"/>
                <a:gd name="connsiteY716" fmla="*/ 311197 h 432571"/>
                <a:gd name="connsiteX717" fmla="*/ 394890 w 650177"/>
                <a:gd name="connsiteY717" fmla="*/ 311197 h 432571"/>
                <a:gd name="connsiteX718" fmla="*/ 397580 w 650177"/>
                <a:gd name="connsiteY718" fmla="*/ 311197 h 432571"/>
                <a:gd name="connsiteX719" fmla="*/ 400569 w 650177"/>
                <a:gd name="connsiteY719" fmla="*/ 312192 h 432571"/>
                <a:gd name="connsiteX720" fmla="*/ 402064 w 650177"/>
                <a:gd name="connsiteY720" fmla="*/ 312888 h 432571"/>
                <a:gd name="connsiteX721" fmla="*/ 402662 w 650177"/>
                <a:gd name="connsiteY721" fmla="*/ 313485 h 432571"/>
                <a:gd name="connsiteX722" fmla="*/ 403658 w 650177"/>
                <a:gd name="connsiteY722" fmla="*/ 314579 h 432571"/>
                <a:gd name="connsiteX723" fmla="*/ 403658 w 650177"/>
                <a:gd name="connsiteY723" fmla="*/ 315574 h 432571"/>
                <a:gd name="connsiteX724" fmla="*/ 402662 w 650177"/>
                <a:gd name="connsiteY724" fmla="*/ 315574 h 432571"/>
                <a:gd name="connsiteX725" fmla="*/ 401566 w 650177"/>
                <a:gd name="connsiteY725" fmla="*/ 315574 h 432571"/>
                <a:gd name="connsiteX726" fmla="*/ 400868 w 650177"/>
                <a:gd name="connsiteY726" fmla="*/ 317066 h 432571"/>
                <a:gd name="connsiteX727" fmla="*/ 400868 w 650177"/>
                <a:gd name="connsiteY727" fmla="*/ 320350 h 432571"/>
                <a:gd name="connsiteX728" fmla="*/ 400071 w 650177"/>
                <a:gd name="connsiteY728" fmla="*/ 321046 h 432571"/>
                <a:gd name="connsiteX729" fmla="*/ 398676 w 650177"/>
                <a:gd name="connsiteY729" fmla="*/ 321046 h 432571"/>
                <a:gd name="connsiteX730" fmla="*/ 394591 w 650177"/>
                <a:gd name="connsiteY730" fmla="*/ 319454 h 432571"/>
                <a:gd name="connsiteX731" fmla="*/ 393993 w 650177"/>
                <a:gd name="connsiteY731" fmla="*/ 317763 h 432571"/>
                <a:gd name="connsiteX732" fmla="*/ 393993 w 650177"/>
                <a:gd name="connsiteY732" fmla="*/ 316867 h 432571"/>
                <a:gd name="connsiteX733" fmla="*/ 390704 w 650177"/>
                <a:gd name="connsiteY733" fmla="*/ 320946 h 432571"/>
                <a:gd name="connsiteX734" fmla="*/ 393295 w 650177"/>
                <a:gd name="connsiteY734" fmla="*/ 322041 h 432571"/>
                <a:gd name="connsiteX735" fmla="*/ 399672 w 650177"/>
                <a:gd name="connsiteY735" fmla="*/ 322041 h 432571"/>
                <a:gd name="connsiteX736" fmla="*/ 402761 w 650177"/>
                <a:gd name="connsiteY736" fmla="*/ 323334 h 432571"/>
                <a:gd name="connsiteX737" fmla="*/ 405253 w 650177"/>
                <a:gd name="connsiteY737" fmla="*/ 323334 h 432571"/>
                <a:gd name="connsiteX738" fmla="*/ 407644 w 650177"/>
                <a:gd name="connsiteY738" fmla="*/ 321344 h 432571"/>
                <a:gd name="connsiteX739" fmla="*/ 410932 w 650177"/>
                <a:gd name="connsiteY739" fmla="*/ 317663 h 432571"/>
                <a:gd name="connsiteX740" fmla="*/ 410932 w 650177"/>
                <a:gd name="connsiteY740" fmla="*/ 316668 h 432571"/>
                <a:gd name="connsiteX741" fmla="*/ 407445 w 650177"/>
                <a:gd name="connsiteY741" fmla="*/ 316072 h 432571"/>
                <a:gd name="connsiteX742" fmla="*/ 406448 w 650177"/>
                <a:gd name="connsiteY742" fmla="*/ 312689 h 432571"/>
                <a:gd name="connsiteX743" fmla="*/ 407445 w 650177"/>
                <a:gd name="connsiteY743" fmla="*/ 309903 h 432571"/>
                <a:gd name="connsiteX744" fmla="*/ 409238 w 650177"/>
                <a:gd name="connsiteY744" fmla="*/ 307814 h 432571"/>
                <a:gd name="connsiteX745" fmla="*/ 414220 w 650177"/>
                <a:gd name="connsiteY745" fmla="*/ 305924 h 432571"/>
                <a:gd name="connsiteX746" fmla="*/ 418107 w 650177"/>
                <a:gd name="connsiteY746" fmla="*/ 305924 h 432571"/>
                <a:gd name="connsiteX747" fmla="*/ 422391 w 650177"/>
                <a:gd name="connsiteY747" fmla="*/ 307615 h 432571"/>
                <a:gd name="connsiteX748" fmla="*/ 423786 w 650177"/>
                <a:gd name="connsiteY748" fmla="*/ 310600 h 432571"/>
                <a:gd name="connsiteX749" fmla="*/ 422989 w 650177"/>
                <a:gd name="connsiteY749" fmla="*/ 315375 h 432571"/>
                <a:gd name="connsiteX750" fmla="*/ 422292 w 650177"/>
                <a:gd name="connsiteY750" fmla="*/ 319156 h 432571"/>
                <a:gd name="connsiteX751" fmla="*/ 422092 w 650177"/>
                <a:gd name="connsiteY751" fmla="*/ 319156 h 432571"/>
                <a:gd name="connsiteX752" fmla="*/ 423288 w 650177"/>
                <a:gd name="connsiteY752" fmla="*/ 319156 h 432571"/>
                <a:gd name="connsiteX753" fmla="*/ 425779 w 650177"/>
                <a:gd name="connsiteY753" fmla="*/ 317564 h 432571"/>
                <a:gd name="connsiteX754" fmla="*/ 427274 w 650177"/>
                <a:gd name="connsiteY754" fmla="*/ 317564 h 432571"/>
                <a:gd name="connsiteX755" fmla="*/ 433850 w 650177"/>
                <a:gd name="connsiteY755" fmla="*/ 318658 h 432571"/>
                <a:gd name="connsiteX756" fmla="*/ 437039 w 650177"/>
                <a:gd name="connsiteY756" fmla="*/ 318658 h 432571"/>
                <a:gd name="connsiteX757" fmla="*/ 442519 w 650177"/>
                <a:gd name="connsiteY757" fmla="*/ 316171 h 432571"/>
                <a:gd name="connsiteX758" fmla="*/ 444612 w 650177"/>
                <a:gd name="connsiteY758" fmla="*/ 315574 h 432571"/>
                <a:gd name="connsiteX759" fmla="*/ 447103 w 650177"/>
                <a:gd name="connsiteY759" fmla="*/ 314281 h 432571"/>
                <a:gd name="connsiteX760" fmla="*/ 448299 w 650177"/>
                <a:gd name="connsiteY760" fmla="*/ 311296 h 432571"/>
                <a:gd name="connsiteX761" fmla="*/ 449395 w 650177"/>
                <a:gd name="connsiteY761" fmla="*/ 304233 h 432571"/>
                <a:gd name="connsiteX762" fmla="*/ 450989 w 650177"/>
                <a:gd name="connsiteY762" fmla="*/ 301646 h 432571"/>
                <a:gd name="connsiteX763" fmla="*/ 452982 w 650177"/>
                <a:gd name="connsiteY763" fmla="*/ 299258 h 432571"/>
                <a:gd name="connsiteX764" fmla="*/ 454776 w 650177"/>
                <a:gd name="connsiteY764" fmla="*/ 296672 h 432571"/>
                <a:gd name="connsiteX765" fmla="*/ 455473 w 650177"/>
                <a:gd name="connsiteY765" fmla="*/ 293189 h 432571"/>
                <a:gd name="connsiteX766" fmla="*/ 455473 w 650177"/>
                <a:gd name="connsiteY766" fmla="*/ 286325 h 432571"/>
                <a:gd name="connsiteX767" fmla="*/ 454676 w 650177"/>
                <a:gd name="connsiteY767" fmla="*/ 280256 h 432571"/>
                <a:gd name="connsiteX768" fmla="*/ 454676 w 650177"/>
                <a:gd name="connsiteY768" fmla="*/ 278963 h 432571"/>
                <a:gd name="connsiteX769" fmla="*/ 454676 w 650177"/>
                <a:gd name="connsiteY769" fmla="*/ 277769 h 432571"/>
                <a:gd name="connsiteX770" fmla="*/ 455274 w 650177"/>
                <a:gd name="connsiteY770" fmla="*/ 276874 h 432571"/>
                <a:gd name="connsiteX771" fmla="*/ 456071 w 650177"/>
                <a:gd name="connsiteY771" fmla="*/ 276078 h 432571"/>
                <a:gd name="connsiteX772" fmla="*/ 456868 w 650177"/>
                <a:gd name="connsiteY772" fmla="*/ 275381 h 432571"/>
                <a:gd name="connsiteX773" fmla="*/ 458064 w 650177"/>
                <a:gd name="connsiteY773" fmla="*/ 285330 h 432571"/>
                <a:gd name="connsiteX774" fmla="*/ 460555 w 650177"/>
                <a:gd name="connsiteY774" fmla="*/ 291399 h 432571"/>
                <a:gd name="connsiteX775" fmla="*/ 459558 w 650177"/>
                <a:gd name="connsiteY775" fmla="*/ 294582 h 432571"/>
                <a:gd name="connsiteX776" fmla="*/ 457765 w 650177"/>
                <a:gd name="connsiteY776" fmla="*/ 297368 h 432571"/>
                <a:gd name="connsiteX777" fmla="*/ 456868 w 650177"/>
                <a:gd name="connsiteY777" fmla="*/ 300253 h 432571"/>
                <a:gd name="connsiteX778" fmla="*/ 455473 w 650177"/>
                <a:gd name="connsiteY778" fmla="*/ 307217 h 432571"/>
                <a:gd name="connsiteX779" fmla="*/ 451986 w 650177"/>
                <a:gd name="connsiteY779" fmla="*/ 313485 h 432571"/>
                <a:gd name="connsiteX780" fmla="*/ 447402 w 650177"/>
                <a:gd name="connsiteY780" fmla="*/ 318459 h 432571"/>
                <a:gd name="connsiteX781" fmla="*/ 442918 w 650177"/>
                <a:gd name="connsiteY781" fmla="*/ 321543 h 432571"/>
                <a:gd name="connsiteX782" fmla="*/ 437238 w 650177"/>
                <a:gd name="connsiteY782" fmla="*/ 323036 h 432571"/>
                <a:gd name="connsiteX783" fmla="*/ 434548 w 650177"/>
                <a:gd name="connsiteY783" fmla="*/ 324230 h 432571"/>
                <a:gd name="connsiteX784" fmla="*/ 432156 w 650177"/>
                <a:gd name="connsiteY784" fmla="*/ 326717 h 432571"/>
                <a:gd name="connsiteX785" fmla="*/ 430861 w 650177"/>
                <a:gd name="connsiteY785" fmla="*/ 328905 h 432571"/>
                <a:gd name="connsiteX786" fmla="*/ 430861 w 650177"/>
                <a:gd name="connsiteY786" fmla="*/ 330000 h 432571"/>
                <a:gd name="connsiteX787" fmla="*/ 432057 w 650177"/>
                <a:gd name="connsiteY787" fmla="*/ 330995 h 432571"/>
                <a:gd name="connsiteX788" fmla="*/ 432057 w 650177"/>
                <a:gd name="connsiteY788" fmla="*/ 333382 h 432571"/>
                <a:gd name="connsiteX789" fmla="*/ 431459 w 650177"/>
                <a:gd name="connsiteY789" fmla="*/ 334676 h 432571"/>
                <a:gd name="connsiteX790" fmla="*/ 430164 w 650177"/>
                <a:gd name="connsiteY790" fmla="*/ 335571 h 432571"/>
                <a:gd name="connsiteX791" fmla="*/ 428569 w 650177"/>
                <a:gd name="connsiteY791" fmla="*/ 335571 h 432571"/>
                <a:gd name="connsiteX792" fmla="*/ 425580 w 650177"/>
                <a:gd name="connsiteY792" fmla="*/ 335571 h 432571"/>
                <a:gd name="connsiteX793" fmla="*/ 424285 w 650177"/>
                <a:gd name="connsiteY793" fmla="*/ 335571 h 432571"/>
                <a:gd name="connsiteX794" fmla="*/ 422989 w 650177"/>
                <a:gd name="connsiteY794" fmla="*/ 336268 h 432571"/>
                <a:gd name="connsiteX795" fmla="*/ 422092 w 650177"/>
                <a:gd name="connsiteY795" fmla="*/ 337959 h 432571"/>
                <a:gd name="connsiteX796" fmla="*/ 421295 w 650177"/>
                <a:gd name="connsiteY796" fmla="*/ 338954 h 432571"/>
                <a:gd name="connsiteX797" fmla="*/ 420000 w 650177"/>
                <a:gd name="connsiteY797" fmla="*/ 341640 h 432571"/>
                <a:gd name="connsiteX798" fmla="*/ 419402 w 650177"/>
                <a:gd name="connsiteY798" fmla="*/ 342535 h 432571"/>
                <a:gd name="connsiteX799" fmla="*/ 411630 w 650177"/>
                <a:gd name="connsiteY799" fmla="*/ 346913 h 432571"/>
                <a:gd name="connsiteX800" fmla="*/ 409936 w 650177"/>
                <a:gd name="connsiteY800" fmla="*/ 349400 h 432571"/>
                <a:gd name="connsiteX801" fmla="*/ 413124 w 650177"/>
                <a:gd name="connsiteY801" fmla="*/ 351788 h 432571"/>
                <a:gd name="connsiteX802" fmla="*/ 415117 w 650177"/>
                <a:gd name="connsiteY802" fmla="*/ 353877 h 432571"/>
                <a:gd name="connsiteX803" fmla="*/ 419601 w 650177"/>
                <a:gd name="connsiteY803" fmla="*/ 359846 h 432571"/>
                <a:gd name="connsiteX804" fmla="*/ 421494 w 650177"/>
                <a:gd name="connsiteY804" fmla="*/ 361239 h 432571"/>
                <a:gd name="connsiteX805" fmla="*/ 456669 w 650177"/>
                <a:gd name="connsiteY805" fmla="*/ 375068 h 432571"/>
                <a:gd name="connsiteX806" fmla="*/ 458761 w 650177"/>
                <a:gd name="connsiteY806" fmla="*/ 376361 h 432571"/>
                <a:gd name="connsiteX807" fmla="*/ 462647 w 650177"/>
                <a:gd name="connsiteY807" fmla="*/ 380340 h 432571"/>
                <a:gd name="connsiteX808" fmla="*/ 467430 w 650177"/>
                <a:gd name="connsiteY808" fmla="*/ 383524 h 432571"/>
                <a:gd name="connsiteX809" fmla="*/ 475800 w 650177"/>
                <a:gd name="connsiteY809" fmla="*/ 387404 h 432571"/>
                <a:gd name="connsiteX810" fmla="*/ 495032 w 650177"/>
                <a:gd name="connsiteY810" fmla="*/ 391682 h 432571"/>
                <a:gd name="connsiteX811" fmla="*/ 497523 w 650177"/>
                <a:gd name="connsiteY811" fmla="*/ 392478 h 432571"/>
                <a:gd name="connsiteX812" fmla="*/ 498519 w 650177"/>
                <a:gd name="connsiteY812" fmla="*/ 392478 h 432571"/>
                <a:gd name="connsiteX813" fmla="*/ 500811 w 650177"/>
                <a:gd name="connsiteY813" fmla="*/ 389792 h 432571"/>
                <a:gd name="connsiteX814" fmla="*/ 502206 w 650177"/>
                <a:gd name="connsiteY814" fmla="*/ 388697 h 432571"/>
                <a:gd name="connsiteX815" fmla="*/ 503701 w 650177"/>
                <a:gd name="connsiteY815" fmla="*/ 387802 h 432571"/>
                <a:gd name="connsiteX816" fmla="*/ 504996 w 650177"/>
                <a:gd name="connsiteY816" fmla="*/ 387802 h 432571"/>
                <a:gd name="connsiteX817" fmla="*/ 509181 w 650177"/>
                <a:gd name="connsiteY817" fmla="*/ 388498 h 432571"/>
                <a:gd name="connsiteX818" fmla="*/ 510576 w 650177"/>
                <a:gd name="connsiteY818" fmla="*/ 389195 h 432571"/>
                <a:gd name="connsiteX819" fmla="*/ 508384 w 650177"/>
                <a:gd name="connsiteY819" fmla="*/ 390687 h 432571"/>
                <a:gd name="connsiteX820" fmla="*/ 505594 w 650177"/>
                <a:gd name="connsiteY820" fmla="*/ 392975 h 432571"/>
                <a:gd name="connsiteX821" fmla="*/ 504598 w 650177"/>
                <a:gd name="connsiteY821" fmla="*/ 395065 h 432571"/>
                <a:gd name="connsiteX822" fmla="*/ 507587 w 650177"/>
                <a:gd name="connsiteY822" fmla="*/ 396059 h 432571"/>
                <a:gd name="connsiteX823" fmla="*/ 510776 w 650177"/>
                <a:gd name="connsiteY823" fmla="*/ 396059 h 432571"/>
                <a:gd name="connsiteX824" fmla="*/ 543160 w 650177"/>
                <a:gd name="connsiteY824" fmla="*/ 410585 h 432571"/>
                <a:gd name="connsiteX825" fmla="*/ 573651 w 650177"/>
                <a:gd name="connsiteY825" fmla="*/ 421628 h 432571"/>
                <a:gd name="connsiteX826" fmla="*/ 579929 w 650177"/>
                <a:gd name="connsiteY826" fmla="*/ 422523 h 432571"/>
                <a:gd name="connsiteX827" fmla="*/ 587601 w 650177"/>
                <a:gd name="connsiteY827" fmla="*/ 422523 h 432571"/>
                <a:gd name="connsiteX828" fmla="*/ 593580 w 650177"/>
                <a:gd name="connsiteY828" fmla="*/ 424513 h 432571"/>
                <a:gd name="connsiteX829" fmla="*/ 597167 w 650177"/>
                <a:gd name="connsiteY829" fmla="*/ 426602 h 432571"/>
                <a:gd name="connsiteX830" fmla="*/ 599758 w 650177"/>
                <a:gd name="connsiteY830" fmla="*/ 427597 h 432571"/>
                <a:gd name="connsiteX831" fmla="*/ 601950 w 650177"/>
                <a:gd name="connsiteY831" fmla="*/ 429985 h 432571"/>
                <a:gd name="connsiteX832" fmla="*/ 603644 w 650177"/>
                <a:gd name="connsiteY832" fmla="*/ 430582 h 432571"/>
                <a:gd name="connsiteX833" fmla="*/ 605437 w 650177"/>
                <a:gd name="connsiteY833" fmla="*/ 430582 h 432571"/>
                <a:gd name="connsiteX834" fmla="*/ 608925 w 650177"/>
                <a:gd name="connsiteY834" fmla="*/ 428890 h 432571"/>
                <a:gd name="connsiteX835" fmla="*/ 611117 w 650177"/>
                <a:gd name="connsiteY835" fmla="*/ 428890 h 432571"/>
                <a:gd name="connsiteX836" fmla="*/ 611117 w 650177"/>
                <a:gd name="connsiteY836" fmla="*/ 431875 h 432571"/>
                <a:gd name="connsiteX837" fmla="*/ 614007 w 650177"/>
                <a:gd name="connsiteY837" fmla="*/ 432571 h 432571"/>
                <a:gd name="connsiteX838" fmla="*/ 616797 w 650177"/>
                <a:gd name="connsiteY838" fmla="*/ 431377 h 432571"/>
                <a:gd name="connsiteX839" fmla="*/ 616299 w 650177"/>
                <a:gd name="connsiteY839" fmla="*/ 428890 h 432571"/>
                <a:gd name="connsiteX840" fmla="*/ 617395 w 650177"/>
                <a:gd name="connsiteY840" fmla="*/ 427497 h 432571"/>
                <a:gd name="connsiteX841" fmla="*/ 619687 w 650177"/>
                <a:gd name="connsiteY841" fmla="*/ 425508 h 432571"/>
                <a:gd name="connsiteX842" fmla="*/ 620683 w 650177"/>
                <a:gd name="connsiteY842" fmla="*/ 424314 h 432571"/>
                <a:gd name="connsiteX843" fmla="*/ 620683 w 650177"/>
                <a:gd name="connsiteY843" fmla="*/ 422822 h 432571"/>
                <a:gd name="connsiteX844" fmla="*/ 620683 w 650177"/>
                <a:gd name="connsiteY844" fmla="*/ 420533 h 432571"/>
                <a:gd name="connsiteX845" fmla="*/ 621181 w 650177"/>
                <a:gd name="connsiteY845" fmla="*/ 419439 h 432571"/>
                <a:gd name="connsiteX846" fmla="*/ 623074 w 650177"/>
                <a:gd name="connsiteY846" fmla="*/ 419439 h 432571"/>
                <a:gd name="connsiteX847" fmla="*/ 625067 w 650177"/>
                <a:gd name="connsiteY847" fmla="*/ 417947 h 432571"/>
                <a:gd name="connsiteX848" fmla="*/ 628455 w 650177"/>
                <a:gd name="connsiteY848" fmla="*/ 411082 h 432571"/>
                <a:gd name="connsiteX849" fmla="*/ 630548 w 650177"/>
                <a:gd name="connsiteY849" fmla="*/ 409192 h 432571"/>
                <a:gd name="connsiteX850" fmla="*/ 640512 w 650177"/>
                <a:gd name="connsiteY850" fmla="*/ 416554 h 432571"/>
                <a:gd name="connsiteX851" fmla="*/ 643900 w 650177"/>
                <a:gd name="connsiteY851" fmla="*/ 415857 h 432571"/>
                <a:gd name="connsiteX852" fmla="*/ 647388 w 650177"/>
                <a:gd name="connsiteY852" fmla="*/ 414266 h 432571"/>
                <a:gd name="connsiteX853" fmla="*/ 649380 w 650177"/>
                <a:gd name="connsiteY853" fmla="*/ 412674 h 432571"/>
                <a:gd name="connsiteX854" fmla="*/ 650178 w 650177"/>
                <a:gd name="connsiteY854" fmla="*/ 408595 h 432571"/>
                <a:gd name="connsiteX855" fmla="*/ 649380 w 650177"/>
                <a:gd name="connsiteY855" fmla="*/ 405312 h 432571"/>
                <a:gd name="connsiteX856" fmla="*/ 58391 w 650177"/>
                <a:gd name="connsiteY856" fmla="*/ 41188 h 432571"/>
                <a:gd name="connsiteX857" fmla="*/ 56000 w 650177"/>
                <a:gd name="connsiteY857" fmla="*/ 41188 h 432571"/>
                <a:gd name="connsiteX858" fmla="*/ 54804 w 650177"/>
                <a:gd name="connsiteY858" fmla="*/ 41188 h 432571"/>
                <a:gd name="connsiteX859" fmla="*/ 53210 w 650177"/>
                <a:gd name="connsiteY859" fmla="*/ 40193 h 432571"/>
                <a:gd name="connsiteX860" fmla="*/ 51815 w 650177"/>
                <a:gd name="connsiteY860" fmla="*/ 38999 h 432571"/>
                <a:gd name="connsiteX861" fmla="*/ 51815 w 650177"/>
                <a:gd name="connsiteY861" fmla="*/ 37407 h 432571"/>
                <a:gd name="connsiteX862" fmla="*/ 52512 w 650177"/>
                <a:gd name="connsiteY862" fmla="*/ 36114 h 432571"/>
                <a:gd name="connsiteX863" fmla="*/ 53409 w 650177"/>
                <a:gd name="connsiteY863" fmla="*/ 35219 h 432571"/>
                <a:gd name="connsiteX864" fmla="*/ 53907 w 650177"/>
                <a:gd name="connsiteY864" fmla="*/ 36114 h 432571"/>
                <a:gd name="connsiteX865" fmla="*/ 55801 w 650177"/>
                <a:gd name="connsiteY865" fmla="*/ 36114 h 432571"/>
                <a:gd name="connsiteX866" fmla="*/ 56996 w 650177"/>
                <a:gd name="connsiteY866" fmla="*/ 36114 h 432571"/>
                <a:gd name="connsiteX867" fmla="*/ 58491 w 650177"/>
                <a:gd name="connsiteY867" fmla="*/ 36711 h 432571"/>
                <a:gd name="connsiteX868" fmla="*/ 57395 w 650177"/>
                <a:gd name="connsiteY868" fmla="*/ 37805 h 432571"/>
                <a:gd name="connsiteX869" fmla="*/ 57893 w 650177"/>
                <a:gd name="connsiteY869" fmla="*/ 38701 h 432571"/>
                <a:gd name="connsiteX870" fmla="*/ 59388 w 650177"/>
                <a:gd name="connsiteY870" fmla="*/ 39496 h 432571"/>
                <a:gd name="connsiteX871" fmla="*/ 239544 w 650177"/>
                <a:gd name="connsiteY871" fmla="*/ 176988 h 432571"/>
                <a:gd name="connsiteX872" fmla="*/ 238548 w 650177"/>
                <a:gd name="connsiteY872" fmla="*/ 176988 h 432571"/>
                <a:gd name="connsiteX873" fmla="*/ 237452 w 650177"/>
                <a:gd name="connsiteY873" fmla="*/ 177585 h 432571"/>
                <a:gd name="connsiteX874" fmla="*/ 234662 w 650177"/>
                <a:gd name="connsiteY874" fmla="*/ 181266 h 432571"/>
                <a:gd name="connsiteX875" fmla="*/ 232769 w 650177"/>
                <a:gd name="connsiteY875" fmla="*/ 181266 h 432571"/>
                <a:gd name="connsiteX876" fmla="*/ 231374 w 650177"/>
                <a:gd name="connsiteY876" fmla="*/ 179774 h 432571"/>
                <a:gd name="connsiteX877" fmla="*/ 229879 w 650177"/>
                <a:gd name="connsiteY877" fmla="*/ 178978 h 432571"/>
                <a:gd name="connsiteX878" fmla="*/ 228584 w 650177"/>
                <a:gd name="connsiteY878" fmla="*/ 177685 h 432571"/>
                <a:gd name="connsiteX879" fmla="*/ 228584 w 650177"/>
                <a:gd name="connsiteY879" fmla="*/ 176192 h 432571"/>
                <a:gd name="connsiteX880" fmla="*/ 229181 w 650177"/>
                <a:gd name="connsiteY880" fmla="*/ 175297 h 432571"/>
                <a:gd name="connsiteX881" fmla="*/ 229181 w 650177"/>
                <a:gd name="connsiteY881" fmla="*/ 174202 h 432571"/>
                <a:gd name="connsiteX882" fmla="*/ 229181 w 650177"/>
                <a:gd name="connsiteY882" fmla="*/ 173108 h 432571"/>
                <a:gd name="connsiteX883" fmla="*/ 230377 w 650177"/>
                <a:gd name="connsiteY883" fmla="*/ 172113 h 432571"/>
                <a:gd name="connsiteX884" fmla="*/ 232769 w 650177"/>
                <a:gd name="connsiteY884" fmla="*/ 171815 h 432571"/>
                <a:gd name="connsiteX885" fmla="*/ 235658 w 650177"/>
                <a:gd name="connsiteY885" fmla="*/ 171815 h 432571"/>
                <a:gd name="connsiteX886" fmla="*/ 238548 w 650177"/>
                <a:gd name="connsiteY886" fmla="*/ 173904 h 432571"/>
                <a:gd name="connsiteX887" fmla="*/ 239544 w 650177"/>
                <a:gd name="connsiteY887" fmla="*/ 175297 h 432571"/>
                <a:gd name="connsiteX888" fmla="*/ 239544 w 650177"/>
                <a:gd name="connsiteY888" fmla="*/ 175894 h 432571"/>
                <a:gd name="connsiteX889" fmla="*/ 387217 w 650177"/>
                <a:gd name="connsiteY889" fmla="*/ 303238 h 432571"/>
                <a:gd name="connsiteX890" fmla="*/ 384626 w 650177"/>
                <a:gd name="connsiteY890" fmla="*/ 303238 h 432571"/>
                <a:gd name="connsiteX891" fmla="*/ 378747 w 650177"/>
                <a:gd name="connsiteY891" fmla="*/ 301546 h 432571"/>
                <a:gd name="connsiteX892" fmla="*/ 375957 w 650177"/>
                <a:gd name="connsiteY892" fmla="*/ 300054 h 432571"/>
                <a:gd name="connsiteX893" fmla="*/ 371573 w 650177"/>
                <a:gd name="connsiteY893" fmla="*/ 300054 h 432571"/>
                <a:gd name="connsiteX894" fmla="*/ 367687 w 650177"/>
                <a:gd name="connsiteY894" fmla="*/ 299258 h 432571"/>
                <a:gd name="connsiteX895" fmla="*/ 365495 w 650177"/>
                <a:gd name="connsiteY895" fmla="*/ 295080 h 432571"/>
                <a:gd name="connsiteX896" fmla="*/ 367188 w 650177"/>
                <a:gd name="connsiteY896" fmla="*/ 294085 h 432571"/>
                <a:gd name="connsiteX897" fmla="*/ 367188 w 650177"/>
                <a:gd name="connsiteY897" fmla="*/ 291996 h 432571"/>
                <a:gd name="connsiteX898" fmla="*/ 366591 w 650177"/>
                <a:gd name="connsiteY898" fmla="*/ 290006 h 432571"/>
                <a:gd name="connsiteX899" fmla="*/ 365793 w 650177"/>
                <a:gd name="connsiteY899" fmla="*/ 288215 h 432571"/>
                <a:gd name="connsiteX900" fmla="*/ 366989 w 650177"/>
                <a:gd name="connsiteY900" fmla="*/ 285728 h 432571"/>
                <a:gd name="connsiteX901" fmla="*/ 366989 w 650177"/>
                <a:gd name="connsiteY901" fmla="*/ 284236 h 432571"/>
                <a:gd name="connsiteX902" fmla="*/ 366989 w 650177"/>
                <a:gd name="connsiteY902" fmla="*/ 282246 h 432571"/>
                <a:gd name="connsiteX903" fmla="*/ 367487 w 650177"/>
                <a:gd name="connsiteY903" fmla="*/ 281549 h 432571"/>
                <a:gd name="connsiteX904" fmla="*/ 370178 w 650177"/>
                <a:gd name="connsiteY904" fmla="*/ 281549 h 432571"/>
                <a:gd name="connsiteX905" fmla="*/ 377253 w 650177"/>
                <a:gd name="connsiteY905" fmla="*/ 279460 h 432571"/>
                <a:gd name="connsiteX906" fmla="*/ 379644 w 650177"/>
                <a:gd name="connsiteY906" fmla="*/ 279460 h 432571"/>
                <a:gd name="connsiteX907" fmla="*/ 382235 w 650177"/>
                <a:gd name="connsiteY907" fmla="*/ 281251 h 432571"/>
                <a:gd name="connsiteX908" fmla="*/ 384925 w 650177"/>
                <a:gd name="connsiteY908" fmla="*/ 284833 h 432571"/>
                <a:gd name="connsiteX909" fmla="*/ 386420 w 650177"/>
                <a:gd name="connsiteY909" fmla="*/ 288911 h 432571"/>
                <a:gd name="connsiteX910" fmla="*/ 385324 w 650177"/>
                <a:gd name="connsiteY910" fmla="*/ 292891 h 432571"/>
                <a:gd name="connsiteX911" fmla="*/ 386220 w 650177"/>
                <a:gd name="connsiteY911" fmla="*/ 294781 h 432571"/>
                <a:gd name="connsiteX912" fmla="*/ 386818 w 650177"/>
                <a:gd name="connsiteY912" fmla="*/ 296970 h 432571"/>
                <a:gd name="connsiteX913" fmla="*/ 387815 w 650177"/>
                <a:gd name="connsiteY913" fmla="*/ 299159 h 432571"/>
                <a:gd name="connsiteX914" fmla="*/ 389708 w 650177"/>
                <a:gd name="connsiteY914" fmla="*/ 300950 h 43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</a:cxnLst>
              <a:rect l="l" t="t" r="r" b="b"/>
              <a:pathLst>
                <a:path w="650177" h="432571">
                  <a:moveTo>
                    <a:pt x="648284" y="402128"/>
                  </a:moveTo>
                  <a:lnTo>
                    <a:pt x="645893" y="400238"/>
                  </a:lnTo>
                  <a:lnTo>
                    <a:pt x="643800" y="398149"/>
                  </a:lnTo>
                  <a:lnTo>
                    <a:pt x="642704" y="395662"/>
                  </a:lnTo>
                  <a:lnTo>
                    <a:pt x="641509" y="389394"/>
                  </a:lnTo>
                  <a:lnTo>
                    <a:pt x="637124" y="379445"/>
                  </a:lnTo>
                  <a:lnTo>
                    <a:pt x="637124" y="377853"/>
                  </a:lnTo>
                  <a:lnTo>
                    <a:pt x="637722" y="376958"/>
                  </a:lnTo>
                  <a:lnTo>
                    <a:pt x="637722" y="375167"/>
                  </a:lnTo>
                  <a:lnTo>
                    <a:pt x="637722" y="373277"/>
                  </a:lnTo>
                  <a:lnTo>
                    <a:pt x="637722" y="372580"/>
                  </a:lnTo>
                  <a:lnTo>
                    <a:pt x="637722" y="370790"/>
                  </a:lnTo>
                  <a:lnTo>
                    <a:pt x="637722" y="369496"/>
                  </a:lnTo>
                  <a:lnTo>
                    <a:pt x="637025" y="368700"/>
                  </a:lnTo>
                  <a:lnTo>
                    <a:pt x="635530" y="367905"/>
                  </a:lnTo>
                  <a:lnTo>
                    <a:pt x="634035" y="367905"/>
                  </a:lnTo>
                  <a:lnTo>
                    <a:pt x="631843" y="367905"/>
                  </a:lnTo>
                  <a:lnTo>
                    <a:pt x="629651" y="367905"/>
                  </a:lnTo>
                  <a:lnTo>
                    <a:pt x="628555" y="368700"/>
                  </a:lnTo>
                  <a:lnTo>
                    <a:pt x="628555" y="370790"/>
                  </a:lnTo>
                  <a:lnTo>
                    <a:pt x="629850" y="372282"/>
                  </a:lnTo>
                  <a:lnTo>
                    <a:pt x="632939" y="374471"/>
                  </a:lnTo>
                  <a:lnTo>
                    <a:pt x="627658" y="376759"/>
                  </a:lnTo>
                  <a:lnTo>
                    <a:pt x="627658" y="379246"/>
                  </a:lnTo>
                  <a:lnTo>
                    <a:pt x="627658" y="384320"/>
                  </a:lnTo>
                  <a:lnTo>
                    <a:pt x="628455" y="387006"/>
                  </a:lnTo>
                  <a:lnTo>
                    <a:pt x="623174" y="391483"/>
                  </a:lnTo>
                  <a:lnTo>
                    <a:pt x="620384" y="392776"/>
                  </a:lnTo>
                  <a:lnTo>
                    <a:pt x="619687" y="390389"/>
                  </a:lnTo>
                  <a:lnTo>
                    <a:pt x="620484" y="388598"/>
                  </a:lnTo>
                  <a:lnTo>
                    <a:pt x="621580" y="387504"/>
                  </a:lnTo>
                  <a:lnTo>
                    <a:pt x="622676" y="386011"/>
                  </a:lnTo>
                  <a:lnTo>
                    <a:pt x="623174" y="383524"/>
                  </a:lnTo>
                  <a:lnTo>
                    <a:pt x="623174" y="381037"/>
                  </a:lnTo>
                  <a:lnTo>
                    <a:pt x="622078" y="379346"/>
                  </a:lnTo>
                  <a:lnTo>
                    <a:pt x="620882" y="378152"/>
                  </a:lnTo>
                  <a:lnTo>
                    <a:pt x="620085" y="376759"/>
                  </a:lnTo>
                  <a:lnTo>
                    <a:pt x="620085" y="374471"/>
                  </a:lnTo>
                  <a:lnTo>
                    <a:pt x="620783" y="373177"/>
                  </a:lnTo>
                  <a:lnTo>
                    <a:pt x="621679" y="371984"/>
                  </a:lnTo>
                  <a:lnTo>
                    <a:pt x="621679" y="369795"/>
                  </a:lnTo>
                  <a:lnTo>
                    <a:pt x="621679" y="368700"/>
                  </a:lnTo>
                  <a:lnTo>
                    <a:pt x="618989" y="365218"/>
                  </a:lnTo>
                  <a:lnTo>
                    <a:pt x="617893" y="364124"/>
                  </a:lnTo>
                  <a:lnTo>
                    <a:pt x="608925" y="359150"/>
                  </a:lnTo>
                  <a:lnTo>
                    <a:pt x="606434" y="357259"/>
                  </a:lnTo>
                  <a:lnTo>
                    <a:pt x="606434" y="356165"/>
                  </a:lnTo>
                  <a:lnTo>
                    <a:pt x="608228" y="355469"/>
                  </a:lnTo>
                  <a:lnTo>
                    <a:pt x="610619" y="355469"/>
                  </a:lnTo>
                  <a:lnTo>
                    <a:pt x="613010" y="356364"/>
                  </a:lnTo>
                  <a:lnTo>
                    <a:pt x="614804" y="357757"/>
                  </a:lnTo>
                  <a:lnTo>
                    <a:pt x="616299" y="358354"/>
                  </a:lnTo>
                  <a:lnTo>
                    <a:pt x="617195" y="355966"/>
                  </a:lnTo>
                  <a:lnTo>
                    <a:pt x="617195" y="352583"/>
                  </a:lnTo>
                  <a:lnTo>
                    <a:pt x="617195" y="350395"/>
                  </a:lnTo>
                  <a:lnTo>
                    <a:pt x="616398" y="349698"/>
                  </a:lnTo>
                  <a:lnTo>
                    <a:pt x="615402" y="349698"/>
                  </a:lnTo>
                  <a:lnTo>
                    <a:pt x="614405" y="349698"/>
                  </a:lnTo>
                  <a:lnTo>
                    <a:pt x="613309" y="349698"/>
                  </a:lnTo>
                  <a:lnTo>
                    <a:pt x="613309" y="349101"/>
                  </a:lnTo>
                  <a:lnTo>
                    <a:pt x="613309" y="348007"/>
                  </a:lnTo>
                  <a:lnTo>
                    <a:pt x="613907" y="346813"/>
                  </a:lnTo>
                  <a:lnTo>
                    <a:pt x="614405" y="346216"/>
                  </a:lnTo>
                  <a:lnTo>
                    <a:pt x="615900" y="345122"/>
                  </a:lnTo>
                  <a:lnTo>
                    <a:pt x="611416" y="343431"/>
                  </a:lnTo>
                  <a:lnTo>
                    <a:pt x="595672" y="329303"/>
                  </a:lnTo>
                  <a:lnTo>
                    <a:pt x="593779" y="327115"/>
                  </a:lnTo>
                  <a:lnTo>
                    <a:pt x="592882" y="325722"/>
                  </a:lnTo>
                  <a:lnTo>
                    <a:pt x="586904" y="321941"/>
                  </a:lnTo>
                  <a:lnTo>
                    <a:pt x="580825" y="316171"/>
                  </a:lnTo>
                  <a:lnTo>
                    <a:pt x="580825" y="315077"/>
                  </a:lnTo>
                  <a:lnTo>
                    <a:pt x="583217" y="314082"/>
                  </a:lnTo>
                  <a:lnTo>
                    <a:pt x="584711" y="315276"/>
                  </a:lnTo>
                  <a:lnTo>
                    <a:pt x="586007" y="317265"/>
                  </a:lnTo>
                  <a:lnTo>
                    <a:pt x="587800" y="318559"/>
                  </a:lnTo>
                  <a:lnTo>
                    <a:pt x="589694" y="318559"/>
                  </a:lnTo>
                  <a:lnTo>
                    <a:pt x="589694" y="317166"/>
                  </a:lnTo>
                  <a:lnTo>
                    <a:pt x="589694" y="315176"/>
                  </a:lnTo>
                  <a:lnTo>
                    <a:pt x="588598" y="312987"/>
                  </a:lnTo>
                  <a:lnTo>
                    <a:pt x="591487" y="311097"/>
                  </a:lnTo>
                  <a:lnTo>
                    <a:pt x="590790" y="308710"/>
                  </a:lnTo>
                  <a:lnTo>
                    <a:pt x="587003" y="304233"/>
                  </a:lnTo>
                  <a:lnTo>
                    <a:pt x="585608" y="301248"/>
                  </a:lnTo>
                  <a:lnTo>
                    <a:pt x="584711" y="298363"/>
                  </a:lnTo>
                  <a:lnTo>
                    <a:pt x="583715" y="295975"/>
                  </a:lnTo>
                  <a:lnTo>
                    <a:pt x="581523" y="294483"/>
                  </a:lnTo>
                  <a:lnTo>
                    <a:pt x="579829" y="294483"/>
                  </a:lnTo>
                  <a:lnTo>
                    <a:pt x="574448" y="292891"/>
                  </a:lnTo>
                  <a:lnTo>
                    <a:pt x="571857" y="293488"/>
                  </a:lnTo>
                  <a:lnTo>
                    <a:pt x="570263" y="293488"/>
                  </a:lnTo>
                  <a:lnTo>
                    <a:pt x="568469" y="292095"/>
                  </a:lnTo>
                  <a:lnTo>
                    <a:pt x="565879" y="285230"/>
                  </a:lnTo>
                  <a:lnTo>
                    <a:pt x="564484" y="283141"/>
                  </a:lnTo>
                  <a:lnTo>
                    <a:pt x="564484" y="282146"/>
                  </a:lnTo>
                  <a:lnTo>
                    <a:pt x="566776" y="281151"/>
                  </a:lnTo>
                  <a:lnTo>
                    <a:pt x="566776" y="280057"/>
                  </a:lnTo>
                  <a:lnTo>
                    <a:pt x="566776" y="278764"/>
                  </a:lnTo>
                  <a:lnTo>
                    <a:pt x="566078" y="277769"/>
                  </a:lnTo>
                  <a:lnTo>
                    <a:pt x="563288" y="275779"/>
                  </a:lnTo>
                  <a:lnTo>
                    <a:pt x="559203" y="274884"/>
                  </a:lnTo>
                  <a:lnTo>
                    <a:pt x="551331" y="274884"/>
                  </a:lnTo>
                  <a:lnTo>
                    <a:pt x="549736" y="274884"/>
                  </a:lnTo>
                  <a:lnTo>
                    <a:pt x="546647" y="273292"/>
                  </a:lnTo>
                  <a:lnTo>
                    <a:pt x="544854" y="273292"/>
                  </a:lnTo>
                  <a:lnTo>
                    <a:pt x="541167" y="274088"/>
                  </a:lnTo>
                  <a:lnTo>
                    <a:pt x="539473" y="274088"/>
                  </a:lnTo>
                  <a:lnTo>
                    <a:pt x="537779" y="273193"/>
                  </a:lnTo>
                  <a:lnTo>
                    <a:pt x="539772" y="271302"/>
                  </a:lnTo>
                  <a:lnTo>
                    <a:pt x="544356" y="271302"/>
                  </a:lnTo>
                  <a:lnTo>
                    <a:pt x="546548" y="270307"/>
                  </a:lnTo>
                  <a:lnTo>
                    <a:pt x="540270" y="265233"/>
                  </a:lnTo>
                  <a:lnTo>
                    <a:pt x="538277" y="264438"/>
                  </a:lnTo>
                  <a:lnTo>
                    <a:pt x="536882" y="264438"/>
                  </a:lnTo>
                  <a:lnTo>
                    <a:pt x="535288" y="265233"/>
                  </a:lnTo>
                  <a:lnTo>
                    <a:pt x="533993" y="265233"/>
                  </a:lnTo>
                  <a:lnTo>
                    <a:pt x="519943" y="260757"/>
                  </a:lnTo>
                  <a:lnTo>
                    <a:pt x="518747" y="260160"/>
                  </a:lnTo>
                  <a:lnTo>
                    <a:pt x="517452" y="258966"/>
                  </a:lnTo>
                  <a:lnTo>
                    <a:pt x="514761" y="257175"/>
                  </a:lnTo>
                  <a:lnTo>
                    <a:pt x="511373" y="256479"/>
                  </a:lnTo>
                  <a:lnTo>
                    <a:pt x="504000" y="256479"/>
                  </a:lnTo>
                  <a:lnTo>
                    <a:pt x="491345" y="253991"/>
                  </a:lnTo>
                  <a:lnTo>
                    <a:pt x="484868" y="251604"/>
                  </a:lnTo>
                  <a:lnTo>
                    <a:pt x="479587" y="248321"/>
                  </a:lnTo>
                  <a:lnTo>
                    <a:pt x="478989" y="247326"/>
                  </a:lnTo>
                  <a:lnTo>
                    <a:pt x="477096" y="243744"/>
                  </a:lnTo>
                  <a:lnTo>
                    <a:pt x="475701" y="242948"/>
                  </a:lnTo>
                  <a:lnTo>
                    <a:pt x="471914" y="241456"/>
                  </a:lnTo>
                  <a:lnTo>
                    <a:pt x="470619" y="240362"/>
                  </a:lnTo>
                  <a:lnTo>
                    <a:pt x="467929" y="238770"/>
                  </a:lnTo>
                  <a:lnTo>
                    <a:pt x="461651" y="239367"/>
                  </a:lnTo>
                  <a:lnTo>
                    <a:pt x="458861" y="237476"/>
                  </a:lnTo>
                  <a:lnTo>
                    <a:pt x="458263" y="236084"/>
                  </a:lnTo>
                  <a:lnTo>
                    <a:pt x="457665" y="232900"/>
                  </a:lnTo>
                  <a:lnTo>
                    <a:pt x="457366" y="231507"/>
                  </a:lnTo>
                  <a:lnTo>
                    <a:pt x="456171" y="230711"/>
                  </a:lnTo>
                  <a:lnTo>
                    <a:pt x="453580" y="229816"/>
                  </a:lnTo>
                  <a:lnTo>
                    <a:pt x="444512" y="211610"/>
                  </a:lnTo>
                  <a:lnTo>
                    <a:pt x="443416" y="210018"/>
                  </a:lnTo>
                  <a:lnTo>
                    <a:pt x="440526" y="207332"/>
                  </a:lnTo>
                  <a:lnTo>
                    <a:pt x="439530" y="206138"/>
                  </a:lnTo>
                  <a:lnTo>
                    <a:pt x="438434" y="205243"/>
                  </a:lnTo>
                  <a:lnTo>
                    <a:pt x="437139" y="204646"/>
                  </a:lnTo>
                  <a:lnTo>
                    <a:pt x="436043" y="203750"/>
                  </a:lnTo>
                  <a:lnTo>
                    <a:pt x="436043" y="201462"/>
                  </a:lnTo>
                  <a:lnTo>
                    <a:pt x="436840" y="200865"/>
                  </a:lnTo>
                  <a:lnTo>
                    <a:pt x="447302" y="203054"/>
                  </a:lnTo>
                  <a:lnTo>
                    <a:pt x="449196" y="202158"/>
                  </a:lnTo>
                  <a:lnTo>
                    <a:pt x="449893" y="199273"/>
                  </a:lnTo>
                  <a:lnTo>
                    <a:pt x="449893" y="196289"/>
                  </a:lnTo>
                  <a:lnTo>
                    <a:pt x="448697" y="194199"/>
                  </a:lnTo>
                  <a:lnTo>
                    <a:pt x="411132" y="160473"/>
                  </a:lnTo>
                  <a:lnTo>
                    <a:pt x="409936" y="158285"/>
                  </a:lnTo>
                  <a:lnTo>
                    <a:pt x="407744" y="152912"/>
                  </a:lnTo>
                  <a:lnTo>
                    <a:pt x="406349" y="150624"/>
                  </a:lnTo>
                  <a:lnTo>
                    <a:pt x="406349" y="149231"/>
                  </a:lnTo>
                  <a:lnTo>
                    <a:pt x="406349" y="146048"/>
                  </a:lnTo>
                  <a:lnTo>
                    <a:pt x="405850" y="144754"/>
                  </a:lnTo>
                  <a:lnTo>
                    <a:pt x="401067" y="139581"/>
                  </a:lnTo>
                  <a:lnTo>
                    <a:pt x="401067" y="136795"/>
                  </a:lnTo>
                  <a:lnTo>
                    <a:pt x="396882" y="132418"/>
                  </a:lnTo>
                  <a:lnTo>
                    <a:pt x="395687" y="129732"/>
                  </a:lnTo>
                  <a:lnTo>
                    <a:pt x="393594" y="128836"/>
                  </a:lnTo>
                  <a:lnTo>
                    <a:pt x="389608" y="126548"/>
                  </a:lnTo>
                  <a:lnTo>
                    <a:pt x="387117" y="124260"/>
                  </a:lnTo>
                  <a:lnTo>
                    <a:pt x="389608" y="123364"/>
                  </a:lnTo>
                  <a:lnTo>
                    <a:pt x="384825" y="114112"/>
                  </a:lnTo>
                  <a:lnTo>
                    <a:pt x="381936" y="104163"/>
                  </a:lnTo>
                  <a:lnTo>
                    <a:pt x="379843" y="102174"/>
                  </a:lnTo>
                  <a:lnTo>
                    <a:pt x="378249" y="99686"/>
                  </a:lnTo>
                  <a:lnTo>
                    <a:pt x="379245" y="98393"/>
                  </a:lnTo>
                  <a:lnTo>
                    <a:pt x="377751" y="95210"/>
                  </a:lnTo>
                  <a:lnTo>
                    <a:pt x="375459" y="92225"/>
                  </a:lnTo>
                  <a:lnTo>
                    <a:pt x="372270" y="90633"/>
                  </a:lnTo>
                  <a:lnTo>
                    <a:pt x="366192" y="89240"/>
                  </a:lnTo>
                  <a:lnTo>
                    <a:pt x="361110" y="85957"/>
                  </a:lnTo>
                  <a:lnTo>
                    <a:pt x="359018" y="85460"/>
                  </a:lnTo>
                  <a:lnTo>
                    <a:pt x="357523" y="86753"/>
                  </a:lnTo>
                  <a:lnTo>
                    <a:pt x="356825" y="86753"/>
                  </a:lnTo>
                  <a:lnTo>
                    <a:pt x="343274" y="87947"/>
                  </a:lnTo>
                  <a:lnTo>
                    <a:pt x="342477" y="88544"/>
                  </a:lnTo>
                  <a:lnTo>
                    <a:pt x="338790" y="89340"/>
                  </a:lnTo>
                  <a:lnTo>
                    <a:pt x="316470" y="86753"/>
                  </a:lnTo>
                  <a:lnTo>
                    <a:pt x="321551" y="84365"/>
                  </a:lnTo>
                  <a:lnTo>
                    <a:pt x="329324" y="82674"/>
                  </a:lnTo>
                  <a:lnTo>
                    <a:pt x="327032" y="82276"/>
                  </a:lnTo>
                  <a:lnTo>
                    <a:pt x="322349" y="83271"/>
                  </a:lnTo>
                  <a:lnTo>
                    <a:pt x="318064" y="83868"/>
                  </a:lnTo>
                  <a:lnTo>
                    <a:pt x="313580" y="82873"/>
                  </a:lnTo>
                  <a:lnTo>
                    <a:pt x="312484" y="82276"/>
                  </a:lnTo>
                  <a:lnTo>
                    <a:pt x="313281" y="81580"/>
                  </a:lnTo>
                  <a:lnTo>
                    <a:pt x="311587" y="81580"/>
                  </a:lnTo>
                  <a:lnTo>
                    <a:pt x="303217" y="76406"/>
                  </a:lnTo>
                  <a:lnTo>
                    <a:pt x="291359" y="71333"/>
                  </a:lnTo>
                  <a:lnTo>
                    <a:pt x="289466" y="71333"/>
                  </a:lnTo>
                  <a:lnTo>
                    <a:pt x="290263" y="72725"/>
                  </a:lnTo>
                  <a:lnTo>
                    <a:pt x="289665" y="73322"/>
                  </a:lnTo>
                  <a:lnTo>
                    <a:pt x="288569" y="73322"/>
                  </a:lnTo>
                  <a:lnTo>
                    <a:pt x="287672" y="72626"/>
                  </a:lnTo>
                  <a:lnTo>
                    <a:pt x="286576" y="72626"/>
                  </a:lnTo>
                  <a:lnTo>
                    <a:pt x="285281" y="73223"/>
                  </a:lnTo>
                  <a:lnTo>
                    <a:pt x="282591" y="72327"/>
                  </a:lnTo>
                  <a:lnTo>
                    <a:pt x="269139" y="71333"/>
                  </a:lnTo>
                  <a:lnTo>
                    <a:pt x="264754" y="69044"/>
                  </a:lnTo>
                  <a:lnTo>
                    <a:pt x="260669" y="70139"/>
                  </a:lnTo>
                  <a:lnTo>
                    <a:pt x="254092" y="70736"/>
                  </a:lnTo>
                  <a:lnTo>
                    <a:pt x="250505" y="69044"/>
                  </a:lnTo>
                  <a:lnTo>
                    <a:pt x="251502" y="66756"/>
                  </a:lnTo>
                  <a:lnTo>
                    <a:pt x="248313" y="67353"/>
                  </a:lnTo>
                  <a:lnTo>
                    <a:pt x="245324" y="65960"/>
                  </a:lnTo>
                  <a:lnTo>
                    <a:pt x="244128" y="65164"/>
                  </a:lnTo>
                  <a:lnTo>
                    <a:pt x="240541" y="64269"/>
                  </a:lnTo>
                  <a:lnTo>
                    <a:pt x="239245" y="64269"/>
                  </a:lnTo>
                  <a:lnTo>
                    <a:pt x="238548" y="64269"/>
                  </a:lnTo>
                  <a:lnTo>
                    <a:pt x="237053" y="63373"/>
                  </a:lnTo>
                  <a:lnTo>
                    <a:pt x="236156" y="63373"/>
                  </a:lnTo>
                  <a:lnTo>
                    <a:pt x="235359" y="63871"/>
                  </a:lnTo>
                  <a:lnTo>
                    <a:pt x="235359" y="66259"/>
                  </a:lnTo>
                  <a:lnTo>
                    <a:pt x="234562" y="67055"/>
                  </a:lnTo>
                  <a:lnTo>
                    <a:pt x="231274" y="67055"/>
                  </a:lnTo>
                  <a:lnTo>
                    <a:pt x="226292" y="62379"/>
                  </a:lnTo>
                  <a:lnTo>
                    <a:pt x="223302" y="61185"/>
                  </a:lnTo>
                  <a:lnTo>
                    <a:pt x="220213" y="60588"/>
                  </a:lnTo>
                  <a:lnTo>
                    <a:pt x="209253" y="56011"/>
                  </a:lnTo>
                  <a:lnTo>
                    <a:pt x="206263" y="55315"/>
                  </a:lnTo>
                  <a:lnTo>
                    <a:pt x="201181" y="55315"/>
                  </a:lnTo>
                  <a:lnTo>
                    <a:pt x="200285" y="56210"/>
                  </a:lnTo>
                  <a:lnTo>
                    <a:pt x="199288" y="58399"/>
                  </a:lnTo>
                  <a:lnTo>
                    <a:pt x="198491" y="58399"/>
                  </a:lnTo>
                  <a:lnTo>
                    <a:pt x="196797" y="58399"/>
                  </a:lnTo>
                  <a:lnTo>
                    <a:pt x="196797" y="57404"/>
                  </a:lnTo>
                  <a:lnTo>
                    <a:pt x="197694" y="56111"/>
                  </a:lnTo>
                  <a:lnTo>
                    <a:pt x="198292" y="54818"/>
                  </a:lnTo>
                  <a:lnTo>
                    <a:pt x="197395" y="53425"/>
                  </a:lnTo>
                  <a:lnTo>
                    <a:pt x="195402" y="53425"/>
                  </a:lnTo>
                  <a:lnTo>
                    <a:pt x="182947" y="53425"/>
                  </a:lnTo>
                  <a:lnTo>
                    <a:pt x="180754" y="52330"/>
                  </a:lnTo>
                  <a:lnTo>
                    <a:pt x="181452" y="52330"/>
                  </a:lnTo>
                  <a:lnTo>
                    <a:pt x="182747" y="50938"/>
                  </a:lnTo>
                  <a:lnTo>
                    <a:pt x="183345" y="50938"/>
                  </a:lnTo>
                  <a:lnTo>
                    <a:pt x="182548" y="50938"/>
                  </a:lnTo>
                  <a:lnTo>
                    <a:pt x="181751" y="50938"/>
                  </a:lnTo>
                  <a:lnTo>
                    <a:pt x="180854" y="50938"/>
                  </a:lnTo>
                  <a:lnTo>
                    <a:pt x="178562" y="50938"/>
                  </a:lnTo>
                  <a:lnTo>
                    <a:pt x="172085" y="49744"/>
                  </a:lnTo>
                  <a:lnTo>
                    <a:pt x="170790" y="49744"/>
                  </a:lnTo>
                  <a:lnTo>
                    <a:pt x="169794" y="49744"/>
                  </a:lnTo>
                  <a:lnTo>
                    <a:pt x="168996" y="49744"/>
                  </a:lnTo>
                  <a:lnTo>
                    <a:pt x="167801" y="49744"/>
                  </a:lnTo>
                  <a:lnTo>
                    <a:pt x="167801" y="49744"/>
                  </a:lnTo>
                  <a:lnTo>
                    <a:pt x="167801" y="48649"/>
                  </a:lnTo>
                  <a:lnTo>
                    <a:pt x="167203" y="47456"/>
                  </a:lnTo>
                  <a:lnTo>
                    <a:pt x="166505" y="46660"/>
                  </a:lnTo>
                  <a:lnTo>
                    <a:pt x="164512" y="46660"/>
                  </a:lnTo>
                  <a:lnTo>
                    <a:pt x="157836" y="46660"/>
                  </a:lnTo>
                  <a:lnTo>
                    <a:pt x="154349" y="42481"/>
                  </a:lnTo>
                  <a:lnTo>
                    <a:pt x="153053" y="41486"/>
                  </a:lnTo>
                  <a:lnTo>
                    <a:pt x="151758" y="40193"/>
                  </a:lnTo>
                  <a:lnTo>
                    <a:pt x="149865" y="38502"/>
                  </a:lnTo>
                  <a:lnTo>
                    <a:pt x="146178" y="36611"/>
                  </a:lnTo>
                  <a:lnTo>
                    <a:pt x="135217" y="32532"/>
                  </a:lnTo>
                  <a:lnTo>
                    <a:pt x="132327" y="30742"/>
                  </a:lnTo>
                  <a:lnTo>
                    <a:pt x="128441" y="27558"/>
                  </a:lnTo>
                  <a:lnTo>
                    <a:pt x="126149" y="23976"/>
                  </a:lnTo>
                  <a:lnTo>
                    <a:pt x="128142" y="20793"/>
                  </a:lnTo>
                  <a:lnTo>
                    <a:pt x="125153" y="19997"/>
                  </a:lnTo>
                  <a:lnTo>
                    <a:pt x="123160" y="22584"/>
                  </a:lnTo>
                  <a:lnTo>
                    <a:pt x="121466" y="26265"/>
                  </a:lnTo>
                  <a:lnTo>
                    <a:pt x="119473" y="29249"/>
                  </a:lnTo>
                  <a:lnTo>
                    <a:pt x="119473" y="27856"/>
                  </a:lnTo>
                  <a:lnTo>
                    <a:pt x="118975" y="26762"/>
                  </a:lnTo>
                  <a:lnTo>
                    <a:pt x="117680" y="25071"/>
                  </a:lnTo>
                  <a:lnTo>
                    <a:pt x="117680" y="23778"/>
                  </a:lnTo>
                  <a:lnTo>
                    <a:pt x="117680" y="22584"/>
                  </a:lnTo>
                  <a:lnTo>
                    <a:pt x="117680" y="21489"/>
                  </a:lnTo>
                  <a:lnTo>
                    <a:pt x="117680" y="21489"/>
                  </a:lnTo>
                  <a:lnTo>
                    <a:pt x="116783" y="18903"/>
                  </a:lnTo>
                  <a:lnTo>
                    <a:pt x="115487" y="17112"/>
                  </a:lnTo>
                  <a:lnTo>
                    <a:pt x="113893" y="15918"/>
                  </a:lnTo>
                  <a:lnTo>
                    <a:pt x="111601" y="15918"/>
                  </a:lnTo>
                  <a:lnTo>
                    <a:pt x="107317" y="12635"/>
                  </a:lnTo>
                  <a:lnTo>
                    <a:pt x="67459" y="398"/>
                  </a:lnTo>
                  <a:lnTo>
                    <a:pt x="63374" y="0"/>
                  </a:lnTo>
                  <a:lnTo>
                    <a:pt x="50719" y="1492"/>
                  </a:lnTo>
                  <a:lnTo>
                    <a:pt x="45836" y="398"/>
                  </a:lnTo>
                  <a:lnTo>
                    <a:pt x="43246" y="398"/>
                  </a:lnTo>
                  <a:lnTo>
                    <a:pt x="40555" y="1194"/>
                  </a:lnTo>
                  <a:lnTo>
                    <a:pt x="33480" y="5969"/>
                  </a:lnTo>
                  <a:lnTo>
                    <a:pt x="29096" y="4477"/>
                  </a:lnTo>
                  <a:lnTo>
                    <a:pt x="24114" y="6666"/>
                  </a:lnTo>
                  <a:lnTo>
                    <a:pt x="18932" y="10048"/>
                  </a:lnTo>
                  <a:lnTo>
                    <a:pt x="14349" y="11740"/>
                  </a:lnTo>
                  <a:lnTo>
                    <a:pt x="9765" y="10944"/>
                  </a:lnTo>
                  <a:lnTo>
                    <a:pt x="8669" y="10944"/>
                  </a:lnTo>
                  <a:lnTo>
                    <a:pt x="6178" y="13331"/>
                  </a:lnTo>
                  <a:lnTo>
                    <a:pt x="6178" y="13829"/>
                  </a:lnTo>
                  <a:lnTo>
                    <a:pt x="3886" y="13829"/>
                  </a:lnTo>
                  <a:lnTo>
                    <a:pt x="1295" y="14824"/>
                  </a:lnTo>
                  <a:lnTo>
                    <a:pt x="0" y="16316"/>
                  </a:lnTo>
                  <a:lnTo>
                    <a:pt x="1495" y="18206"/>
                  </a:lnTo>
                  <a:lnTo>
                    <a:pt x="1495" y="21091"/>
                  </a:lnTo>
                  <a:lnTo>
                    <a:pt x="4185" y="27061"/>
                  </a:lnTo>
                  <a:lnTo>
                    <a:pt x="4883" y="30443"/>
                  </a:lnTo>
                  <a:lnTo>
                    <a:pt x="5580" y="31538"/>
                  </a:lnTo>
                  <a:lnTo>
                    <a:pt x="7075" y="32930"/>
                  </a:lnTo>
                  <a:lnTo>
                    <a:pt x="8669" y="34124"/>
                  </a:lnTo>
                  <a:lnTo>
                    <a:pt x="9665" y="34124"/>
                  </a:lnTo>
                  <a:lnTo>
                    <a:pt x="11260" y="34124"/>
                  </a:lnTo>
                  <a:lnTo>
                    <a:pt x="13552" y="34124"/>
                  </a:lnTo>
                  <a:lnTo>
                    <a:pt x="14947" y="34124"/>
                  </a:lnTo>
                  <a:lnTo>
                    <a:pt x="17438" y="34124"/>
                  </a:lnTo>
                  <a:lnTo>
                    <a:pt x="16541" y="35318"/>
                  </a:lnTo>
                  <a:lnTo>
                    <a:pt x="13950" y="36611"/>
                  </a:lnTo>
                  <a:lnTo>
                    <a:pt x="11160" y="36611"/>
                  </a:lnTo>
                  <a:lnTo>
                    <a:pt x="9665" y="37407"/>
                  </a:lnTo>
                  <a:lnTo>
                    <a:pt x="9665" y="39198"/>
                  </a:lnTo>
                  <a:lnTo>
                    <a:pt x="11260" y="41984"/>
                  </a:lnTo>
                  <a:lnTo>
                    <a:pt x="11260" y="43774"/>
                  </a:lnTo>
                  <a:lnTo>
                    <a:pt x="12555" y="43774"/>
                  </a:lnTo>
                  <a:lnTo>
                    <a:pt x="15146" y="43774"/>
                  </a:lnTo>
                  <a:lnTo>
                    <a:pt x="20327" y="46162"/>
                  </a:lnTo>
                  <a:lnTo>
                    <a:pt x="21125" y="47853"/>
                  </a:lnTo>
                  <a:lnTo>
                    <a:pt x="21125" y="51833"/>
                  </a:lnTo>
                  <a:lnTo>
                    <a:pt x="22619" y="55017"/>
                  </a:lnTo>
                  <a:lnTo>
                    <a:pt x="23117" y="56310"/>
                  </a:lnTo>
                  <a:lnTo>
                    <a:pt x="23715" y="57404"/>
                  </a:lnTo>
                  <a:lnTo>
                    <a:pt x="24612" y="57404"/>
                  </a:lnTo>
                  <a:lnTo>
                    <a:pt x="25907" y="57404"/>
                  </a:lnTo>
                  <a:lnTo>
                    <a:pt x="27302" y="58001"/>
                  </a:lnTo>
                  <a:lnTo>
                    <a:pt x="29395" y="59493"/>
                  </a:lnTo>
                  <a:lnTo>
                    <a:pt x="30391" y="60687"/>
                  </a:lnTo>
                  <a:lnTo>
                    <a:pt x="31886" y="63075"/>
                  </a:lnTo>
                  <a:lnTo>
                    <a:pt x="32883" y="64070"/>
                  </a:lnTo>
                  <a:lnTo>
                    <a:pt x="34576" y="64866"/>
                  </a:lnTo>
                  <a:lnTo>
                    <a:pt x="38064" y="65861"/>
                  </a:lnTo>
                  <a:lnTo>
                    <a:pt x="40256" y="67950"/>
                  </a:lnTo>
                  <a:lnTo>
                    <a:pt x="41452" y="68945"/>
                  </a:lnTo>
                  <a:lnTo>
                    <a:pt x="42747" y="69641"/>
                  </a:lnTo>
                  <a:lnTo>
                    <a:pt x="43644" y="69641"/>
                  </a:lnTo>
                  <a:lnTo>
                    <a:pt x="45836" y="69641"/>
                  </a:lnTo>
                  <a:lnTo>
                    <a:pt x="45836" y="68746"/>
                  </a:lnTo>
                  <a:lnTo>
                    <a:pt x="45139" y="67552"/>
                  </a:lnTo>
                  <a:lnTo>
                    <a:pt x="44541" y="65861"/>
                  </a:lnTo>
                  <a:lnTo>
                    <a:pt x="44541" y="65861"/>
                  </a:lnTo>
                  <a:lnTo>
                    <a:pt x="43544" y="65861"/>
                  </a:lnTo>
                  <a:lnTo>
                    <a:pt x="45238" y="63075"/>
                  </a:lnTo>
                  <a:lnTo>
                    <a:pt x="47530" y="63672"/>
                  </a:lnTo>
                  <a:lnTo>
                    <a:pt x="49822" y="65562"/>
                  </a:lnTo>
                  <a:lnTo>
                    <a:pt x="52014" y="66756"/>
                  </a:lnTo>
                  <a:lnTo>
                    <a:pt x="57893" y="66159"/>
                  </a:lnTo>
                  <a:lnTo>
                    <a:pt x="63473" y="64567"/>
                  </a:lnTo>
                  <a:lnTo>
                    <a:pt x="68655" y="61583"/>
                  </a:lnTo>
                  <a:lnTo>
                    <a:pt x="71146" y="61583"/>
                  </a:lnTo>
                  <a:lnTo>
                    <a:pt x="72242" y="64269"/>
                  </a:lnTo>
                  <a:lnTo>
                    <a:pt x="94363" y="56807"/>
                  </a:lnTo>
                  <a:lnTo>
                    <a:pt x="100441" y="56807"/>
                  </a:lnTo>
                  <a:lnTo>
                    <a:pt x="103231" y="55613"/>
                  </a:lnTo>
                  <a:lnTo>
                    <a:pt x="103231" y="53027"/>
                  </a:lnTo>
                  <a:lnTo>
                    <a:pt x="101039" y="51037"/>
                  </a:lnTo>
                  <a:lnTo>
                    <a:pt x="97950" y="49545"/>
                  </a:lnTo>
                  <a:lnTo>
                    <a:pt x="91473" y="47853"/>
                  </a:lnTo>
                  <a:lnTo>
                    <a:pt x="78221" y="47853"/>
                  </a:lnTo>
                  <a:lnTo>
                    <a:pt x="75829" y="47157"/>
                  </a:lnTo>
                  <a:lnTo>
                    <a:pt x="72641" y="45366"/>
                  </a:lnTo>
                  <a:lnTo>
                    <a:pt x="69751" y="43078"/>
                  </a:lnTo>
                  <a:lnTo>
                    <a:pt x="69751" y="43078"/>
                  </a:lnTo>
                  <a:lnTo>
                    <a:pt x="68157" y="43078"/>
                  </a:lnTo>
                  <a:lnTo>
                    <a:pt x="66562" y="43078"/>
                  </a:lnTo>
                  <a:lnTo>
                    <a:pt x="66562" y="44371"/>
                  </a:lnTo>
                  <a:lnTo>
                    <a:pt x="64968" y="44371"/>
                  </a:lnTo>
                  <a:lnTo>
                    <a:pt x="62576" y="43178"/>
                  </a:lnTo>
                  <a:lnTo>
                    <a:pt x="62576" y="41586"/>
                  </a:lnTo>
                  <a:lnTo>
                    <a:pt x="62576" y="40591"/>
                  </a:lnTo>
                  <a:lnTo>
                    <a:pt x="64071" y="39397"/>
                  </a:lnTo>
                  <a:lnTo>
                    <a:pt x="66662" y="39397"/>
                  </a:lnTo>
                  <a:lnTo>
                    <a:pt x="66662" y="38104"/>
                  </a:lnTo>
                  <a:lnTo>
                    <a:pt x="68256" y="39298"/>
                  </a:lnTo>
                  <a:lnTo>
                    <a:pt x="70448" y="39994"/>
                  </a:lnTo>
                  <a:lnTo>
                    <a:pt x="70448" y="40989"/>
                  </a:lnTo>
                  <a:lnTo>
                    <a:pt x="70448" y="40989"/>
                  </a:lnTo>
                  <a:lnTo>
                    <a:pt x="76128" y="43576"/>
                  </a:lnTo>
                  <a:lnTo>
                    <a:pt x="102135" y="44869"/>
                  </a:lnTo>
                  <a:lnTo>
                    <a:pt x="104028" y="45366"/>
                  </a:lnTo>
                  <a:lnTo>
                    <a:pt x="105623" y="46560"/>
                  </a:lnTo>
                  <a:lnTo>
                    <a:pt x="107416" y="48351"/>
                  </a:lnTo>
                  <a:lnTo>
                    <a:pt x="108413" y="48948"/>
                  </a:lnTo>
                  <a:lnTo>
                    <a:pt x="109509" y="50142"/>
                  </a:lnTo>
                  <a:lnTo>
                    <a:pt x="110904" y="50142"/>
                  </a:lnTo>
                  <a:lnTo>
                    <a:pt x="112598" y="48550"/>
                  </a:lnTo>
                  <a:lnTo>
                    <a:pt x="115189" y="46859"/>
                  </a:lnTo>
                  <a:lnTo>
                    <a:pt x="126947" y="44471"/>
                  </a:lnTo>
                  <a:lnTo>
                    <a:pt x="126349" y="48251"/>
                  </a:lnTo>
                  <a:lnTo>
                    <a:pt x="116384" y="50639"/>
                  </a:lnTo>
                  <a:lnTo>
                    <a:pt x="113594" y="54917"/>
                  </a:lnTo>
                  <a:lnTo>
                    <a:pt x="110206" y="54917"/>
                  </a:lnTo>
                  <a:lnTo>
                    <a:pt x="108512" y="58698"/>
                  </a:lnTo>
                  <a:lnTo>
                    <a:pt x="109110" y="63572"/>
                  </a:lnTo>
                  <a:lnTo>
                    <a:pt x="115487" y="68149"/>
                  </a:lnTo>
                  <a:lnTo>
                    <a:pt x="118776" y="73322"/>
                  </a:lnTo>
                  <a:lnTo>
                    <a:pt x="123160" y="83271"/>
                  </a:lnTo>
                  <a:lnTo>
                    <a:pt x="119573" y="82177"/>
                  </a:lnTo>
                  <a:lnTo>
                    <a:pt x="116783" y="79192"/>
                  </a:lnTo>
                  <a:lnTo>
                    <a:pt x="109808" y="68447"/>
                  </a:lnTo>
                  <a:lnTo>
                    <a:pt x="107616" y="66060"/>
                  </a:lnTo>
                  <a:lnTo>
                    <a:pt x="104925" y="64766"/>
                  </a:lnTo>
                  <a:lnTo>
                    <a:pt x="84996" y="64766"/>
                  </a:lnTo>
                  <a:lnTo>
                    <a:pt x="81210" y="65662"/>
                  </a:lnTo>
                  <a:lnTo>
                    <a:pt x="78121" y="67353"/>
                  </a:lnTo>
                  <a:lnTo>
                    <a:pt x="74932" y="68248"/>
                  </a:lnTo>
                  <a:lnTo>
                    <a:pt x="70648" y="67055"/>
                  </a:lnTo>
                  <a:lnTo>
                    <a:pt x="69851" y="69442"/>
                  </a:lnTo>
                  <a:lnTo>
                    <a:pt x="67758" y="69442"/>
                  </a:lnTo>
                  <a:lnTo>
                    <a:pt x="63374" y="68945"/>
                  </a:lnTo>
                  <a:lnTo>
                    <a:pt x="61979" y="69741"/>
                  </a:lnTo>
                  <a:lnTo>
                    <a:pt x="61281" y="71333"/>
                  </a:lnTo>
                  <a:lnTo>
                    <a:pt x="61281" y="73223"/>
                  </a:lnTo>
                  <a:lnTo>
                    <a:pt x="61979" y="74815"/>
                  </a:lnTo>
                  <a:lnTo>
                    <a:pt x="61979" y="75909"/>
                  </a:lnTo>
                  <a:lnTo>
                    <a:pt x="59986" y="77799"/>
                  </a:lnTo>
                  <a:lnTo>
                    <a:pt x="58391" y="81381"/>
                  </a:lnTo>
                  <a:lnTo>
                    <a:pt x="57096" y="86355"/>
                  </a:lnTo>
                  <a:lnTo>
                    <a:pt x="55302" y="87549"/>
                  </a:lnTo>
                  <a:lnTo>
                    <a:pt x="56697" y="90036"/>
                  </a:lnTo>
                  <a:lnTo>
                    <a:pt x="59687" y="92523"/>
                  </a:lnTo>
                  <a:lnTo>
                    <a:pt x="62875" y="93419"/>
                  </a:lnTo>
                  <a:lnTo>
                    <a:pt x="64370" y="92822"/>
                  </a:lnTo>
                  <a:lnTo>
                    <a:pt x="67060" y="90534"/>
                  </a:lnTo>
                  <a:lnTo>
                    <a:pt x="68057" y="89937"/>
                  </a:lnTo>
                  <a:lnTo>
                    <a:pt x="69552" y="90832"/>
                  </a:lnTo>
                  <a:lnTo>
                    <a:pt x="72541" y="94016"/>
                  </a:lnTo>
                  <a:lnTo>
                    <a:pt x="73737" y="94016"/>
                  </a:lnTo>
                  <a:lnTo>
                    <a:pt x="75132" y="93220"/>
                  </a:lnTo>
                  <a:lnTo>
                    <a:pt x="76826" y="93220"/>
                  </a:lnTo>
                  <a:lnTo>
                    <a:pt x="77922" y="94513"/>
                  </a:lnTo>
                  <a:lnTo>
                    <a:pt x="77922" y="96602"/>
                  </a:lnTo>
                  <a:lnTo>
                    <a:pt x="76527" y="97896"/>
                  </a:lnTo>
                  <a:lnTo>
                    <a:pt x="73039" y="97896"/>
                  </a:lnTo>
                  <a:lnTo>
                    <a:pt x="71843" y="99686"/>
                  </a:lnTo>
                  <a:lnTo>
                    <a:pt x="74036" y="100880"/>
                  </a:lnTo>
                  <a:lnTo>
                    <a:pt x="74932" y="101577"/>
                  </a:lnTo>
                  <a:lnTo>
                    <a:pt x="76826" y="104064"/>
                  </a:lnTo>
                  <a:lnTo>
                    <a:pt x="77722" y="104064"/>
                  </a:lnTo>
                  <a:lnTo>
                    <a:pt x="80014" y="104064"/>
                  </a:lnTo>
                  <a:lnTo>
                    <a:pt x="82705" y="103168"/>
                  </a:lnTo>
                  <a:lnTo>
                    <a:pt x="84000" y="103168"/>
                  </a:lnTo>
                  <a:lnTo>
                    <a:pt x="84897" y="104064"/>
                  </a:lnTo>
                  <a:lnTo>
                    <a:pt x="84897" y="105855"/>
                  </a:lnTo>
                  <a:lnTo>
                    <a:pt x="83801" y="106750"/>
                  </a:lnTo>
                  <a:lnTo>
                    <a:pt x="81310" y="107645"/>
                  </a:lnTo>
                  <a:lnTo>
                    <a:pt x="73039" y="117594"/>
                  </a:lnTo>
                  <a:lnTo>
                    <a:pt x="65865" y="123165"/>
                  </a:lnTo>
                  <a:lnTo>
                    <a:pt x="64669" y="125255"/>
                  </a:lnTo>
                  <a:lnTo>
                    <a:pt x="65765" y="128040"/>
                  </a:lnTo>
                  <a:lnTo>
                    <a:pt x="68555" y="129433"/>
                  </a:lnTo>
                  <a:lnTo>
                    <a:pt x="74833" y="129433"/>
                  </a:lnTo>
                  <a:lnTo>
                    <a:pt x="75431" y="129433"/>
                  </a:lnTo>
                  <a:lnTo>
                    <a:pt x="77623" y="131821"/>
                  </a:lnTo>
                  <a:lnTo>
                    <a:pt x="78619" y="132418"/>
                  </a:lnTo>
                  <a:lnTo>
                    <a:pt x="80114" y="132418"/>
                  </a:lnTo>
                  <a:lnTo>
                    <a:pt x="81409" y="131224"/>
                  </a:lnTo>
                  <a:lnTo>
                    <a:pt x="87687" y="123762"/>
                  </a:lnTo>
                  <a:lnTo>
                    <a:pt x="92270" y="119683"/>
                  </a:lnTo>
                  <a:lnTo>
                    <a:pt x="97153" y="116599"/>
                  </a:lnTo>
                  <a:lnTo>
                    <a:pt x="102135" y="115405"/>
                  </a:lnTo>
                  <a:lnTo>
                    <a:pt x="100840" y="117395"/>
                  </a:lnTo>
                  <a:lnTo>
                    <a:pt x="99644" y="119683"/>
                  </a:lnTo>
                  <a:lnTo>
                    <a:pt x="98947" y="122071"/>
                  </a:lnTo>
                  <a:lnTo>
                    <a:pt x="99544" y="124658"/>
                  </a:lnTo>
                  <a:lnTo>
                    <a:pt x="101737" y="126647"/>
                  </a:lnTo>
                  <a:lnTo>
                    <a:pt x="104327" y="126647"/>
                  </a:lnTo>
                  <a:lnTo>
                    <a:pt x="109509" y="124857"/>
                  </a:lnTo>
                  <a:lnTo>
                    <a:pt x="113096" y="122668"/>
                  </a:lnTo>
                  <a:lnTo>
                    <a:pt x="116783" y="118390"/>
                  </a:lnTo>
                  <a:lnTo>
                    <a:pt x="120868" y="115306"/>
                  </a:lnTo>
                  <a:lnTo>
                    <a:pt x="125452" y="116699"/>
                  </a:lnTo>
                  <a:lnTo>
                    <a:pt x="120868" y="120479"/>
                  </a:lnTo>
                  <a:lnTo>
                    <a:pt x="118875" y="122668"/>
                  </a:lnTo>
                  <a:lnTo>
                    <a:pt x="117680" y="124857"/>
                  </a:lnTo>
                  <a:lnTo>
                    <a:pt x="126448" y="124857"/>
                  </a:lnTo>
                  <a:lnTo>
                    <a:pt x="121366" y="127244"/>
                  </a:lnTo>
                  <a:lnTo>
                    <a:pt x="120071" y="128737"/>
                  </a:lnTo>
                  <a:lnTo>
                    <a:pt x="120071" y="131821"/>
                  </a:lnTo>
                  <a:lnTo>
                    <a:pt x="121466" y="134408"/>
                  </a:lnTo>
                  <a:lnTo>
                    <a:pt x="123459" y="136696"/>
                  </a:lnTo>
                  <a:lnTo>
                    <a:pt x="127943" y="139979"/>
                  </a:lnTo>
                  <a:lnTo>
                    <a:pt x="130633" y="141173"/>
                  </a:lnTo>
                  <a:lnTo>
                    <a:pt x="133423" y="141173"/>
                  </a:lnTo>
                  <a:lnTo>
                    <a:pt x="136313" y="141173"/>
                  </a:lnTo>
                  <a:lnTo>
                    <a:pt x="139203" y="140078"/>
                  </a:lnTo>
                  <a:lnTo>
                    <a:pt x="141893" y="138387"/>
                  </a:lnTo>
                  <a:lnTo>
                    <a:pt x="143487" y="136497"/>
                  </a:lnTo>
                  <a:lnTo>
                    <a:pt x="144185" y="134109"/>
                  </a:lnTo>
                  <a:lnTo>
                    <a:pt x="144185" y="131323"/>
                  </a:lnTo>
                  <a:lnTo>
                    <a:pt x="144185" y="128538"/>
                  </a:lnTo>
                  <a:lnTo>
                    <a:pt x="143189" y="125354"/>
                  </a:lnTo>
                  <a:lnTo>
                    <a:pt x="142591" y="122668"/>
                  </a:lnTo>
                  <a:lnTo>
                    <a:pt x="143089" y="122071"/>
                  </a:lnTo>
                  <a:lnTo>
                    <a:pt x="144982" y="123066"/>
                  </a:lnTo>
                  <a:lnTo>
                    <a:pt x="147374" y="125354"/>
                  </a:lnTo>
                  <a:lnTo>
                    <a:pt x="149566" y="127841"/>
                  </a:lnTo>
                  <a:lnTo>
                    <a:pt x="150463" y="129632"/>
                  </a:lnTo>
                  <a:lnTo>
                    <a:pt x="151957" y="130826"/>
                  </a:lnTo>
                  <a:lnTo>
                    <a:pt x="155245" y="131522"/>
                  </a:lnTo>
                  <a:lnTo>
                    <a:pt x="158534" y="131522"/>
                  </a:lnTo>
                  <a:lnTo>
                    <a:pt x="160527" y="129334"/>
                  </a:lnTo>
                  <a:lnTo>
                    <a:pt x="163416" y="128637"/>
                  </a:lnTo>
                  <a:lnTo>
                    <a:pt x="164413" y="128637"/>
                  </a:lnTo>
                  <a:lnTo>
                    <a:pt x="165210" y="127145"/>
                  </a:lnTo>
                  <a:lnTo>
                    <a:pt x="165210" y="125752"/>
                  </a:lnTo>
                  <a:lnTo>
                    <a:pt x="165210" y="124260"/>
                  </a:lnTo>
                  <a:lnTo>
                    <a:pt x="166406" y="122966"/>
                  </a:lnTo>
                  <a:lnTo>
                    <a:pt x="168100" y="126449"/>
                  </a:lnTo>
                  <a:lnTo>
                    <a:pt x="167402" y="129831"/>
                  </a:lnTo>
                  <a:lnTo>
                    <a:pt x="165210" y="132418"/>
                  </a:lnTo>
                  <a:lnTo>
                    <a:pt x="159929" y="134209"/>
                  </a:lnTo>
                  <a:lnTo>
                    <a:pt x="157836" y="136497"/>
                  </a:lnTo>
                  <a:lnTo>
                    <a:pt x="156142" y="139581"/>
                  </a:lnTo>
                  <a:lnTo>
                    <a:pt x="155046" y="142764"/>
                  </a:lnTo>
                  <a:lnTo>
                    <a:pt x="155046" y="143660"/>
                  </a:lnTo>
                  <a:lnTo>
                    <a:pt x="155943" y="143660"/>
                  </a:lnTo>
                  <a:lnTo>
                    <a:pt x="155943" y="144555"/>
                  </a:lnTo>
                  <a:lnTo>
                    <a:pt x="155445" y="145849"/>
                  </a:lnTo>
                  <a:lnTo>
                    <a:pt x="154847" y="145849"/>
                  </a:lnTo>
                  <a:lnTo>
                    <a:pt x="154050" y="145849"/>
                  </a:lnTo>
                  <a:lnTo>
                    <a:pt x="153352" y="146545"/>
                  </a:lnTo>
                  <a:lnTo>
                    <a:pt x="149366" y="151718"/>
                  </a:lnTo>
                  <a:lnTo>
                    <a:pt x="148569" y="154206"/>
                  </a:lnTo>
                  <a:lnTo>
                    <a:pt x="149665" y="156792"/>
                  </a:lnTo>
                  <a:lnTo>
                    <a:pt x="160626" y="170322"/>
                  </a:lnTo>
                  <a:lnTo>
                    <a:pt x="163217" y="171815"/>
                  </a:lnTo>
                  <a:lnTo>
                    <a:pt x="166206" y="171815"/>
                  </a:lnTo>
                  <a:lnTo>
                    <a:pt x="169395" y="171118"/>
                  </a:lnTo>
                  <a:lnTo>
                    <a:pt x="185637" y="171118"/>
                  </a:lnTo>
                  <a:lnTo>
                    <a:pt x="186733" y="170621"/>
                  </a:lnTo>
                  <a:lnTo>
                    <a:pt x="187530" y="167736"/>
                  </a:lnTo>
                  <a:lnTo>
                    <a:pt x="187530" y="159379"/>
                  </a:lnTo>
                  <a:lnTo>
                    <a:pt x="187530" y="156096"/>
                  </a:lnTo>
                  <a:lnTo>
                    <a:pt x="187530" y="155001"/>
                  </a:lnTo>
                  <a:lnTo>
                    <a:pt x="187530" y="153410"/>
                  </a:lnTo>
                  <a:lnTo>
                    <a:pt x="187530" y="152514"/>
                  </a:lnTo>
                  <a:lnTo>
                    <a:pt x="188626" y="155300"/>
                  </a:lnTo>
                  <a:lnTo>
                    <a:pt x="192911" y="166442"/>
                  </a:lnTo>
                  <a:lnTo>
                    <a:pt x="193907" y="167736"/>
                  </a:lnTo>
                  <a:lnTo>
                    <a:pt x="195402" y="167736"/>
                  </a:lnTo>
                  <a:lnTo>
                    <a:pt x="197694" y="167736"/>
                  </a:lnTo>
                  <a:lnTo>
                    <a:pt x="199487" y="166940"/>
                  </a:lnTo>
                  <a:lnTo>
                    <a:pt x="201680" y="165050"/>
                  </a:lnTo>
                  <a:lnTo>
                    <a:pt x="203473" y="162463"/>
                  </a:lnTo>
                  <a:lnTo>
                    <a:pt x="204171" y="160175"/>
                  </a:lnTo>
                  <a:lnTo>
                    <a:pt x="203174" y="157588"/>
                  </a:lnTo>
                  <a:lnTo>
                    <a:pt x="199089" y="154703"/>
                  </a:lnTo>
                  <a:lnTo>
                    <a:pt x="199089" y="152514"/>
                  </a:lnTo>
                  <a:lnTo>
                    <a:pt x="204370" y="155698"/>
                  </a:lnTo>
                  <a:lnTo>
                    <a:pt x="206761" y="157787"/>
                  </a:lnTo>
                  <a:lnTo>
                    <a:pt x="208754" y="162861"/>
                  </a:lnTo>
                  <a:lnTo>
                    <a:pt x="211046" y="165746"/>
                  </a:lnTo>
                  <a:lnTo>
                    <a:pt x="213936" y="167935"/>
                  </a:lnTo>
                  <a:lnTo>
                    <a:pt x="216527" y="168830"/>
                  </a:lnTo>
                  <a:lnTo>
                    <a:pt x="219416" y="167537"/>
                  </a:lnTo>
                  <a:lnTo>
                    <a:pt x="221907" y="165448"/>
                  </a:lnTo>
                  <a:lnTo>
                    <a:pt x="223701" y="165448"/>
                  </a:lnTo>
                  <a:lnTo>
                    <a:pt x="224299" y="169626"/>
                  </a:lnTo>
                  <a:lnTo>
                    <a:pt x="224299" y="176391"/>
                  </a:lnTo>
                  <a:lnTo>
                    <a:pt x="224797" y="179177"/>
                  </a:lnTo>
                  <a:lnTo>
                    <a:pt x="228882" y="193503"/>
                  </a:lnTo>
                  <a:lnTo>
                    <a:pt x="230377" y="196189"/>
                  </a:lnTo>
                  <a:lnTo>
                    <a:pt x="232968" y="197682"/>
                  </a:lnTo>
                  <a:lnTo>
                    <a:pt x="236455" y="197682"/>
                  </a:lnTo>
                  <a:lnTo>
                    <a:pt x="240142" y="197085"/>
                  </a:lnTo>
                  <a:lnTo>
                    <a:pt x="243032" y="195294"/>
                  </a:lnTo>
                  <a:lnTo>
                    <a:pt x="245025" y="192608"/>
                  </a:lnTo>
                  <a:lnTo>
                    <a:pt x="245722" y="190120"/>
                  </a:lnTo>
                  <a:lnTo>
                    <a:pt x="245722" y="184251"/>
                  </a:lnTo>
                  <a:lnTo>
                    <a:pt x="246619" y="182957"/>
                  </a:lnTo>
                  <a:lnTo>
                    <a:pt x="248413" y="182957"/>
                  </a:lnTo>
                  <a:lnTo>
                    <a:pt x="251900" y="184549"/>
                  </a:lnTo>
                  <a:lnTo>
                    <a:pt x="253694" y="184549"/>
                  </a:lnTo>
                  <a:lnTo>
                    <a:pt x="253694" y="185644"/>
                  </a:lnTo>
                  <a:lnTo>
                    <a:pt x="245124" y="195592"/>
                  </a:lnTo>
                  <a:lnTo>
                    <a:pt x="244128" y="198477"/>
                  </a:lnTo>
                  <a:lnTo>
                    <a:pt x="245423" y="200268"/>
                  </a:lnTo>
                  <a:lnTo>
                    <a:pt x="248413" y="201959"/>
                  </a:lnTo>
                  <a:lnTo>
                    <a:pt x="262961" y="206038"/>
                  </a:lnTo>
                  <a:lnTo>
                    <a:pt x="264754" y="206038"/>
                  </a:lnTo>
                  <a:lnTo>
                    <a:pt x="268342" y="203850"/>
                  </a:lnTo>
                  <a:lnTo>
                    <a:pt x="281594" y="201661"/>
                  </a:lnTo>
                  <a:lnTo>
                    <a:pt x="288171" y="201661"/>
                  </a:lnTo>
                  <a:lnTo>
                    <a:pt x="294448" y="198378"/>
                  </a:lnTo>
                  <a:lnTo>
                    <a:pt x="298534" y="198378"/>
                  </a:lnTo>
                  <a:lnTo>
                    <a:pt x="299829" y="200567"/>
                  </a:lnTo>
                  <a:lnTo>
                    <a:pt x="301922" y="202954"/>
                  </a:lnTo>
                  <a:lnTo>
                    <a:pt x="304413" y="204049"/>
                  </a:lnTo>
                  <a:lnTo>
                    <a:pt x="306904" y="202357"/>
                  </a:lnTo>
                  <a:lnTo>
                    <a:pt x="308498" y="202855"/>
                  </a:lnTo>
                  <a:lnTo>
                    <a:pt x="310092" y="206735"/>
                  </a:lnTo>
                  <a:lnTo>
                    <a:pt x="312484" y="214495"/>
                  </a:lnTo>
                  <a:lnTo>
                    <a:pt x="313680" y="216982"/>
                  </a:lnTo>
                  <a:lnTo>
                    <a:pt x="314477" y="219469"/>
                  </a:lnTo>
                  <a:lnTo>
                    <a:pt x="314477" y="222454"/>
                  </a:lnTo>
                  <a:lnTo>
                    <a:pt x="315174" y="230612"/>
                  </a:lnTo>
                  <a:lnTo>
                    <a:pt x="317067" y="237278"/>
                  </a:lnTo>
                  <a:lnTo>
                    <a:pt x="317067" y="240959"/>
                  </a:lnTo>
                  <a:lnTo>
                    <a:pt x="314377" y="247027"/>
                  </a:lnTo>
                  <a:lnTo>
                    <a:pt x="309295" y="247027"/>
                  </a:lnTo>
                  <a:lnTo>
                    <a:pt x="298833" y="243147"/>
                  </a:lnTo>
                  <a:lnTo>
                    <a:pt x="298833" y="245933"/>
                  </a:lnTo>
                  <a:lnTo>
                    <a:pt x="298833" y="247425"/>
                  </a:lnTo>
                  <a:lnTo>
                    <a:pt x="297139" y="250111"/>
                  </a:lnTo>
                  <a:lnTo>
                    <a:pt x="296541" y="252201"/>
                  </a:lnTo>
                  <a:lnTo>
                    <a:pt x="298733" y="258568"/>
                  </a:lnTo>
                  <a:lnTo>
                    <a:pt x="300327" y="259861"/>
                  </a:lnTo>
                  <a:lnTo>
                    <a:pt x="303217" y="261453"/>
                  </a:lnTo>
                  <a:lnTo>
                    <a:pt x="304413" y="262448"/>
                  </a:lnTo>
                  <a:lnTo>
                    <a:pt x="307003" y="261155"/>
                  </a:lnTo>
                  <a:lnTo>
                    <a:pt x="308897" y="259264"/>
                  </a:lnTo>
                  <a:lnTo>
                    <a:pt x="309993" y="256578"/>
                  </a:lnTo>
                  <a:lnTo>
                    <a:pt x="309993" y="252798"/>
                  </a:lnTo>
                  <a:lnTo>
                    <a:pt x="311089" y="250609"/>
                  </a:lnTo>
                  <a:lnTo>
                    <a:pt x="315772" y="246132"/>
                  </a:lnTo>
                  <a:lnTo>
                    <a:pt x="316968" y="243048"/>
                  </a:lnTo>
                  <a:lnTo>
                    <a:pt x="318662" y="245734"/>
                  </a:lnTo>
                  <a:lnTo>
                    <a:pt x="317267" y="249713"/>
                  </a:lnTo>
                  <a:lnTo>
                    <a:pt x="314776" y="253991"/>
                  </a:lnTo>
                  <a:lnTo>
                    <a:pt x="312085" y="262846"/>
                  </a:lnTo>
                  <a:lnTo>
                    <a:pt x="308498" y="265631"/>
                  </a:lnTo>
                  <a:lnTo>
                    <a:pt x="304712" y="267522"/>
                  </a:lnTo>
                  <a:lnTo>
                    <a:pt x="302519" y="270307"/>
                  </a:lnTo>
                  <a:lnTo>
                    <a:pt x="304811" y="273491"/>
                  </a:lnTo>
                  <a:lnTo>
                    <a:pt x="306804" y="275580"/>
                  </a:lnTo>
                  <a:lnTo>
                    <a:pt x="308996" y="276774"/>
                  </a:lnTo>
                  <a:lnTo>
                    <a:pt x="311687" y="276774"/>
                  </a:lnTo>
                  <a:lnTo>
                    <a:pt x="313779" y="275481"/>
                  </a:lnTo>
                  <a:lnTo>
                    <a:pt x="318662" y="269810"/>
                  </a:lnTo>
                  <a:lnTo>
                    <a:pt x="321651" y="268915"/>
                  </a:lnTo>
                  <a:lnTo>
                    <a:pt x="323245" y="269511"/>
                  </a:lnTo>
                  <a:lnTo>
                    <a:pt x="324939" y="271203"/>
                  </a:lnTo>
                  <a:lnTo>
                    <a:pt x="325936" y="271203"/>
                  </a:lnTo>
                  <a:lnTo>
                    <a:pt x="326733" y="270108"/>
                  </a:lnTo>
                  <a:lnTo>
                    <a:pt x="327630" y="268318"/>
                  </a:lnTo>
                  <a:lnTo>
                    <a:pt x="328327" y="266427"/>
                  </a:lnTo>
                  <a:lnTo>
                    <a:pt x="329224" y="261552"/>
                  </a:lnTo>
                  <a:lnTo>
                    <a:pt x="330719" y="258369"/>
                  </a:lnTo>
                  <a:lnTo>
                    <a:pt x="332413" y="255583"/>
                  </a:lnTo>
                  <a:lnTo>
                    <a:pt x="333808" y="253892"/>
                  </a:lnTo>
                  <a:lnTo>
                    <a:pt x="334704" y="253892"/>
                  </a:lnTo>
                  <a:lnTo>
                    <a:pt x="334704" y="256280"/>
                  </a:lnTo>
                  <a:lnTo>
                    <a:pt x="334007" y="259165"/>
                  </a:lnTo>
                  <a:lnTo>
                    <a:pt x="332911" y="261851"/>
                  </a:lnTo>
                  <a:lnTo>
                    <a:pt x="331815" y="263741"/>
                  </a:lnTo>
                  <a:lnTo>
                    <a:pt x="331815" y="265631"/>
                  </a:lnTo>
                  <a:lnTo>
                    <a:pt x="331815" y="271899"/>
                  </a:lnTo>
                  <a:lnTo>
                    <a:pt x="331815" y="273491"/>
                  </a:lnTo>
                  <a:lnTo>
                    <a:pt x="333210" y="274585"/>
                  </a:lnTo>
                  <a:lnTo>
                    <a:pt x="334904" y="274585"/>
                  </a:lnTo>
                  <a:lnTo>
                    <a:pt x="336697" y="273590"/>
                  </a:lnTo>
                  <a:lnTo>
                    <a:pt x="338391" y="271899"/>
                  </a:lnTo>
                  <a:lnTo>
                    <a:pt x="339587" y="271302"/>
                  </a:lnTo>
                  <a:lnTo>
                    <a:pt x="339587" y="273988"/>
                  </a:lnTo>
                  <a:lnTo>
                    <a:pt x="338192" y="278863"/>
                  </a:lnTo>
                  <a:lnTo>
                    <a:pt x="338192" y="287817"/>
                  </a:lnTo>
                  <a:lnTo>
                    <a:pt x="339288" y="291299"/>
                  </a:lnTo>
                  <a:lnTo>
                    <a:pt x="342277" y="289210"/>
                  </a:lnTo>
                  <a:lnTo>
                    <a:pt x="345366" y="285728"/>
                  </a:lnTo>
                  <a:lnTo>
                    <a:pt x="356527" y="278366"/>
                  </a:lnTo>
                  <a:lnTo>
                    <a:pt x="356527" y="281549"/>
                  </a:lnTo>
                  <a:lnTo>
                    <a:pt x="355331" y="283241"/>
                  </a:lnTo>
                  <a:lnTo>
                    <a:pt x="354135" y="284634"/>
                  </a:lnTo>
                  <a:lnTo>
                    <a:pt x="353537" y="286822"/>
                  </a:lnTo>
                  <a:lnTo>
                    <a:pt x="352441" y="288613"/>
                  </a:lnTo>
                  <a:lnTo>
                    <a:pt x="347658" y="291200"/>
                  </a:lnTo>
                  <a:lnTo>
                    <a:pt x="346462" y="293786"/>
                  </a:lnTo>
                  <a:lnTo>
                    <a:pt x="345366" y="293786"/>
                  </a:lnTo>
                  <a:lnTo>
                    <a:pt x="340484" y="297169"/>
                  </a:lnTo>
                  <a:lnTo>
                    <a:pt x="339587" y="297965"/>
                  </a:lnTo>
                  <a:lnTo>
                    <a:pt x="336996" y="298960"/>
                  </a:lnTo>
                  <a:lnTo>
                    <a:pt x="334804" y="298960"/>
                  </a:lnTo>
                  <a:lnTo>
                    <a:pt x="332811" y="297766"/>
                  </a:lnTo>
                  <a:lnTo>
                    <a:pt x="330818" y="295876"/>
                  </a:lnTo>
                  <a:lnTo>
                    <a:pt x="328925" y="297368"/>
                  </a:lnTo>
                  <a:lnTo>
                    <a:pt x="325039" y="298064"/>
                  </a:lnTo>
                  <a:lnTo>
                    <a:pt x="323843" y="299358"/>
                  </a:lnTo>
                  <a:lnTo>
                    <a:pt x="323843" y="301148"/>
                  </a:lnTo>
                  <a:lnTo>
                    <a:pt x="324939" y="302641"/>
                  </a:lnTo>
                  <a:lnTo>
                    <a:pt x="326733" y="303835"/>
                  </a:lnTo>
                  <a:lnTo>
                    <a:pt x="328327" y="304631"/>
                  </a:lnTo>
                  <a:lnTo>
                    <a:pt x="341082" y="307317"/>
                  </a:lnTo>
                  <a:lnTo>
                    <a:pt x="344470" y="309903"/>
                  </a:lnTo>
                  <a:lnTo>
                    <a:pt x="345865" y="311296"/>
                  </a:lnTo>
                  <a:lnTo>
                    <a:pt x="349153" y="313186"/>
                  </a:lnTo>
                  <a:lnTo>
                    <a:pt x="353637" y="317464"/>
                  </a:lnTo>
                  <a:lnTo>
                    <a:pt x="353637" y="318161"/>
                  </a:lnTo>
                  <a:lnTo>
                    <a:pt x="354633" y="320250"/>
                  </a:lnTo>
                  <a:lnTo>
                    <a:pt x="355331" y="321444"/>
                  </a:lnTo>
                  <a:lnTo>
                    <a:pt x="357124" y="322538"/>
                  </a:lnTo>
                  <a:lnTo>
                    <a:pt x="361309" y="323533"/>
                  </a:lnTo>
                  <a:lnTo>
                    <a:pt x="363103" y="324826"/>
                  </a:lnTo>
                  <a:lnTo>
                    <a:pt x="364598" y="326219"/>
                  </a:lnTo>
                  <a:lnTo>
                    <a:pt x="366690" y="327413"/>
                  </a:lnTo>
                  <a:lnTo>
                    <a:pt x="368783" y="328508"/>
                  </a:lnTo>
                  <a:lnTo>
                    <a:pt x="370477" y="328508"/>
                  </a:lnTo>
                  <a:lnTo>
                    <a:pt x="370477" y="328508"/>
                  </a:lnTo>
                  <a:lnTo>
                    <a:pt x="371672" y="328508"/>
                  </a:lnTo>
                  <a:lnTo>
                    <a:pt x="374164" y="328508"/>
                  </a:lnTo>
                  <a:lnTo>
                    <a:pt x="375260" y="328508"/>
                  </a:lnTo>
                  <a:lnTo>
                    <a:pt x="375957" y="327413"/>
                  </a:lnTo>
                  <a:lnTo>
                    <a:pt x="375957" y="326219"/>
                  </a:lnTo>
                  <a:lnTo>
                    <a:pt x="375957" y="326219"/>
                  </a:lnTo>
                  <a:lnTo>
                    <a:pt x="378349" y="325125"/>
                  </a:lnTo>
                  <a:lnTo>
                    <a:pt x="382235" y="321046"/>
                  </a:lnTo>
                  <a:lnTo>
                    <a:pt x="386519" y="318559"/>
                  </a:lnTo>
                  <a:lnTo>
                    <a:pt x="387416" y="315375"/>
                  </a:lnTo>
                  <a:lnTo>
                    <a:pt x="388114" y="311893"/>
                  </a:lnTo>
                  <a:lnTo>
                    <a:pt x="389509" y="309605"/>
                  </a:lnTo>
                  <a:lnTo>
                    <a:pt x="390704" y="309605"/>
                  </a:lnTo>
                  <a:lnTo>
                    <a:pt x="391701" y="310401"/>
                  </a:lnTo>
                  <a:lnTo>
                    <a:pt x="392598" y="311197"/>
                  </a:lnTo>
                  <a:lnTo>
                    <a:pt x="392598" y="311197"/>
                  </a:lnTo>
                  <a:lnTo>
                    <a:pt x="394890" y="311197"/>
                  </a:lnTo>
                  <a:lnTo>
                    <a:pt x="397580" y="311197"/>
                  </a:lnTo>
                  <a:lnTo>
                    <a:pt x="400569" y="312192"/>
                  </a:lnTo>
                  <a:lnTo>
                    <a:pt x="402064" y="312888"/>
                  </a:lnTo>
                  <a:lnTo>
                    <a:pt x="402662" y="313485"/>
                  </a:lnTo>
                  <a:lnTo>
                    <a:pt x="403658" y="314579"/>
                  </a:lnTo>
                  <a:lnTo>
                    <a:pt x="403658" y="315574"/>
                  </a:lnTo>
                  <a:lnTo>
                    <a:pt x="402662" y="315574"/>
                  </a:lnTo>
                  <a:lnTo>
                    <a:pt x="401566" y="315574"/>
                  </a:lnTo>
                  <a:lnTo>
                    <a:pt x="400868" y="317066"/>
                  </a:lnTo>
                  <a:lnTo>
                    <a:pt x="400868" y="320350"/>
                  </a:lnTo>
                  <a:lnTo>
                    <a:pt x="400071" y="321046"/>
                  </a:lnTo>
                  <a:lnTo>
                    <a:pt x="398676" y="321046"/>
                  </a:lnTo>
                  <a:lnTo>
                    <a:pt x="394591" y="319454"/>
                  </a:lnTo>
                  <a:lnTo>
                    <a:pt x="393993" y="317763"/>
                  </a:lnTo>
                  <a:lnTo>
                    <a:pt x="393993" y="316867"/>
                  </a:lnTo>
                  <a:lnTo>
                    <a:pt x="390704" y="320946"/>
                  </a:lnTo>
                  <a:lnTo>
                    <a:pt x="393295" y="322041"/>
                  </a:lnTo>
                  <a:lnTo>
                    <a:pt x="399672" y="322041"/>
                  </a:lnTo>
                  <a:lnTo>
                    <a:pt x="402761" y="323334"/>
                  </a:lnTo>
                  <a:lnTo>
                    <a:pt x="405253" y="323334"/>
                  </a:lnTo>
                  <a:lnTo>
                    <a:pt x="407644" y="321344"/>
                  </a:lnTo>
                  <a:lnTo>
                    <a:pt x="410932" y="317663"/>
                  </a:lnTo>
                  <a:lnTo>
                    <a:pt x="410932" y="316668"/>
                  </a:lnTo>
                  <a:lnTo>
                    <a:pt x="407445" y="316072"/>
                  </a:lnTo>
                  <a:lnTo>
                    <a:pt x="406448" y="312689"/>
                  </a:lnTo>
                  <a:lnTo>
                    <a:pt x="407445" y="309903"/>
                  </a:lnTo>
                  <a:lnTo>
                    <a:pt x="409238" y="307814"/>
                  </a:lnTo>
                  <a:lnTo>
                    <a:pt x="414220" y="305924"/>
                  </a:lnTo>
                  <a:lnTo>
                    <a:pt x="418107" y="305924"/>
                  </a:lnTo>
                  <a:lnTo>
                    <a:pt x="422391" y="307615"/>
                  </a:lnTo>
                  <a:lnTo>
                    <a:pt x="423786" y="310600"/>
                  </a:lnTo>
                  <a:lnTo>
                    <a:pt x="422989" y="315375"/>
                  </a:lnTo>
                  <a:lnTo>
                    <a:pt x="422292" y="319156"/>
                  </a:lnTo>
                  <a:lnTo>
                    <a:pt x="422092" y="319156"/>
                  </a:lnTo>
                  <a:lnTo>
                    <a:pt x="423288" y="319156"/>
                  </a:lnTo>
                  <a:lnTo>
                    <a:pt x="425779" y="317564"/>
                  </a:lnTo>
                  <a:lnTo>
                    <a:pt x="427274" y="317564"/>
                  </a:lnTo>
                  <a:lnTo>
                    <a:pt x="433850" y="318658"/>
                  </a:lnTo>
                  <a:lnTo>
                    <a:pt x="437039" y="318658"/>
                  </a:lnTo>
                  <a:lnTo>
                    <a:pt x="442519" y="316171"/>
                  </a:lnTo>
                  <a:lnTo>
                    <a:pt x="444612" y="315574"/>
                  </a:lnTo>
                  <a:lnTo>
                    <a:pt x="447103" y="314281"/>
                  </a:lnTo>
                  <a:lnTo>
                    <a:pt x="448299" y="311296"/>
                  </a:lnTo>
                  <a:lnTo>
                    <a:pt x="449395" y="304233"/>
                  </a:lnTo>
                  <a:lnTo>
                    <a:pt x="450989" y="301646"/>
                  </a:lnTo>
                  <a:lnTo>
                    <a:pt x="452982" y="299258"/>
                  </a:lnTo>
                  <a:lnTo>
                    <a:pt x="454776" y="296672"/>
                  </a:lnTo>
                  <a:lnTo>
                    <a:pt x="455473" y="293189"/>
                  </a:lnTo>
                  <a:lnTo>
                    <a:pt x="455473" y="286325"/>
                  </a:lnTo>
                  <a:lnTo>
                    <a:pt x="454676" y="280256"/>
                  </a:lnTo>
                  <a:lnTo>
                    <a:pt x="454676" y="278963"/>
                  </a:lnTo>
                  <a:lnTo>
                    <a:pt x="454676" y="277769"/>
                  </a:lnTo>
                  <a:lnTo>
                    <a:pt x="455274" y="276874"/>
                  </a:lnTo>
                  <a:lnTo>
                    <a:pt x="456071" y="276078"/>
                  </a:lnTo>
                  <a:lnTo>
                    <a:pt x="456868" y="275381"/>
                  </a:lnTo>
                  <a:lnTo>
                    <a:pt x="458064" y="285330"/>
                  </a:lnTo>
                  <a:lnTo>
                    <a:pt x="460555" y="291399"/>
                  </a:lnTo>
                  <a:lnTo>
                    <a:pt x="459558" y="294582"/>
                  </a:lnTo>
                  <a:lnTo>
                    <a:pt x="457765" y="297368"/>
                  </a:lnTo>
                  <a:lnTo>
                    <a:pt x="456868" y="300253"/>
                  </a:lnTo>
                  <a:lnTo>
                    <a:pt x="455473" y="307217"/>
                  </a:lnTo>
                  <a:lnTo>
                    <a:pt x="451986" y="313485"/>
                  </a:lnTo>
                  <a:lnTo>
                    <a:pt x="447402" y="318459"/>
                  </a:lnTo>
                  <a:lnTo>
                    <a:pt x="442918" y="321543"/>
                  </a:lnTo>
                  <a:lnTo>
                    <a:pt x="437238" y="323036"/>
                  </a:lnTo>
                  <a:lnTo>
                    <a:pt x="434548" y="324230"/>
                  </a:lnTo>
                  <a:lnTo>
                    <a:pt x="432156" y="326717"/>
                  </a:lnTo>
                  <a:lnTo>
                    <a:pt x="430861" y="328905"/>
                  </a:lnTo>
                  <a:lnTo>
                    <a:pt x="430861" y="330000"/>
                  </a:lnTo>
                  <a:lnTo>
                    <a:pt x="432057" y="330995"/>
                  </a:lnTo>
                  <a:lnTo>
                    <a:pt x="432057" y="333382"/>
                  </a:lnTo>
                  <a:lnTo>
                    <a:pt x="431459" y="334676"/>
                  </a:lnTo>
                  <a:lnTo>
                    <a:pt x="430164" y="335571"/>
                  </a:lnTo>
                  <a:lnTo>
                    <a:pt x="428569" y="335571"/>
                  </a:lnTo>
                  <a:lnTo>
                    <a:pt x="425580" y="335571"/>
                  </a:lnTo>
                  <a:lnTo>
                    <a:pt x="424285" y="335571"/>
                  </a:lnTo>
                  <a:lnTo>
                    <a:pt x="422989" y="336268"/>
                  </a:lnTo>
                  <a:lnTo>
                    <a:pt x="422092" y="337959"/>
                  </a:lnTo>
                  <a:lnTo>
                    <a:pt x="421295" y="338954"/>
                  </a:lnTo>
                  <a:lnTo>
                    <a:pt x="420000" y="341640"/>
                  </a:lnTo>
                  <a:lnTo>
                    <a:pt x="419402" y="342535"/>
                  </a:lnTo>
                  <a:lnTo>
                    <a:pt x="411630" y="346913"/>
                  </a:lnTo>
                  <a:lnTo>
                    <a:pt x="409936" y="349400"/>
                  </a:lnTo>
                  <a:lnTo>
                    <a:pt x="413124" y="351788"/>
                  </a:lnTo>
                  <a:lnTo>
                    <a:pt x="415117" y="353877"/>
                  </a:lnTo>
                  <a:lnTo>
                    <a:pt x="419601" y="359846"/>
                  </a:lnTo>
                  <a:lnTo>
                    <a:pt x="421494" y="361239"/>
                  </a:lnTo>
                  <a:lnTo>
                    <a:pt x="456669" y="375068"/>
                  </a:lnTo>
                  <a:lnTo>
                    <a:pt x="458761" y="376361"/>
                  </a:lnTo>
                  <a:lnTo>
                    <a:pt x="462647" y="380340"/>
                  </a:lnTo>
                  <a:lnTo>
                    <a:pt x="467430" y="383524"/>
                  </a:lnTo>
                  <a:lnTo>
                    <a:pt x="475800" y="387404"/>
                  </a:lnTo>
                  <a:lnTo>
                    <a:pt x="495032" y="391682"/>
                  </a:lnTo>
                  <a:lnTo>
                    <a:pt x="497523" y="392478"/>
                  </a:lnTo>
                  <a:lnTo>
                    <a:pt x="498519" y="392478"/>
                  </a:lnTo>
                  <a:lnTo>
                    <a:pt x="500811" y="389792"/>
                  </a:lnTo>
                  <a:lnTo>
                    <a:pt x="502206" y="388697"/>
                  </a:lnTo>
                  <a:lnTo>
                    <a:pt x="503701" y="387802"/>
                  </a:lnTo>
                  <a:lnTo>
                    <a:pt x="504996" y="387802"/>
                  </a:lnTo>
                  <a:lnTo>
                    <a:pt x="509181" y="388498"/>
                  </a:lnTo>
                  <a:lnTo>
                    <a:pt x="510576" y="389195"/>
                  </a:lnTo>
                  <a:lnTo>
                    <a:pt x="508384" y="390687"/>
                  </a:lnTo>
                  <a:lnTo>
                    <a:pt x="505594" y="392975"/>
                  </a:lnTo>
                  <a:lnTo>
                    <a:pt x="504598" y="395065"/>
                  </a:lnTo>
                  <a:lnTo>
                    <a:pt x="507587" y="396059"/>
                  </a:lnTo>
                  <a:lnTo>
                    <a:pt x="510776" y="396059"/>
                  </a:lnTo>
                  <a:lnTo>
                    <a:pt x="543160" y="410585"/>
                  </a:lnTo>
                  <a:lnTo>
                    <a:pt x="573651" y="421628"/>
                  </a:lnTo>
                  <a:lnTo>
                    <a:pt x="579929" y="422523"/>
                  </a:lnTo>
                  <a:lnTo>
                    <a:pt x="587601" y="422523"/>
                  </a:lnTo>
                  <a:lnTo>
                    <a:pt x="593580" y="424513"/>
                  </a:lnTo>
                  <a:lnTo>
                    <a:pt x="597167" y="426602"/>
                  </a:lnTo>
                  <a:lnTo>
                    <a:pt x="599758" y="427597"/>
                  </a:lnTo>
                  <a:lnTo>
                    <a:pt x="601950" y="429985"/>
                  </a:lnTo>
                  <a:lnTo>
                    <a:pt x="603644" y="430582"/>
                  </a:lnTo>
                  <a:lnTo>
                    <a:pt x="605437" y="430582"/>
                  </a:lnTo>
                  <a:lnTo>
                    <a:pt x="608925" y="428890"/>
                  </a:lnTo>
                  <a:lnTo>
                    <a:pt x="611117" y="428890"/>
                  </a:lnTo>
                  <a:lnTo>
                    <a:pt x="611117" y="431875"/>
                  </a:lnTo>
                  <a:lnTo>
                    <a:pt x="614007" y="432571"/>
                  </a:lnTo>
                  <a:lnTo>
                    <a:pt x="616797" y="431377"/>
                  </a:lnTo>
                  <a:lnTo>
                    <a:pt x="616299" y="428890"/>
                  </a:lnTo>
                  <a:lnTo>
                    <a:pt x="617395" y="427497"/>
                  </a:lnTo>
                  <a:lnTo>
                    <a:pt x="619687" y="425508"/>
                  </a:lnTo>
                  <a:lnTo>
                    <a:pt x="620683" y="424314"/>
                  </a:lnTo>
                  <a:lnTo>
                    <a:pt x="620683" y="422822"/>
                  </a:lnTo>
                  <a:lnTo>
                    <a:pt x="620683" y="420533"/>
                  </a:lnTo>
                  <a:lnTo>
                    <a:pt x="621181" y="419439"/>
                  </a:lnTo>
                  <a:lnTo>
                    <a:pt x="623074" y="419439"/>
                  </a:lnTo>
                  <a:lnTo>
                    <a:pt x="625067" y="417947"/>
                  </a:lnTo>
                  <a:lnTo>
                    <a:pt x="628455" y="411082"/>
                  </a:lnTo>
                  <a:lnTo>
                    <a:pt x="630548" y="409192"/>
                  </a:lnTo>
                  <a:lnTo>
                    <a:pt x="640512" y="416554"/>
                  </a:lnTo>
                  <a:lnTo>
                    <a:pt x="643900" y="415857"/>
                  </a:lnTo>
                  <a:lnTo>
                    <a:pt x="647388" y="414266"/>
                  </a:lnTo>
                  <a:lnTo>
                    <a:pt x="649380" y="412674"/>
                  </a:lnTo>
                  <a:lnTo>
                    <a:pt x="650178" y="408595"/>
                  </a:lnTo>
                  <a:lnTo>
                    <a:pt x="649380" y="405312"/>
                  </a:lnTo>
                  <a:close/>
                  <a:moveTo>
                    <a:pt x="58391" y="41188"/>
                  </a:moveTo>
                  <a:lnTo>
                    <a:pt x="56000" y="41188"/>
                  </a:lnTo>
                  <a:lnTo>
                    <a:pt x="54804" y="41188"/>
                  </a:lnTo>
                  <a:lnTo>
                    <a:pt x="53210" y="40193"/>
                  </a:lnTo>
                  <a:lnTo>
                    <a:pt x="51815" y="38999"/>
                  </a:lnTo>
                  <a:lnTo>
                    <a:pt x="51815" y="37407"/>
                  </a:lnTo>
                  <a:lnTo>
                    <a:pt x="52512" y="36114"/>
                  </a:lnTo>
                  <a:lnTo>
                    <a:pt x="53409" y="35219"/>
                  </a:lnTo>
                  <a:lnTo>
                    <a:pt x="53907" y="36114"/>
                  </a:lnTo>
                  <a:lnTo>
                    <a:pt x="55801" y="36114"/>
                  </a:lnTo>
                  <a:lnTo>
                    <a:pt x="56996" y="36114"/>
                  </a:lnTo>
                  <a:lnTo>
                    <a:pt x="58491" y="36711"/>
                  </a:lnTo>
                  <a:lnTo>
                    <a:pt x="57395" y="37805"/>
                  </a:lnTo>
                  <a:lnTo>
                    <a:pt x="57893" y="38701"/>
                  </a:lnTo>
                  <a:lnTo>
                    <a:pt x="59388" y="39496"/>
                  </a:lnTo>
                  <a:close/>
                  <a:moveTo>
                    <a:pt x="239544" y="176988"/>
                  </a:moveTo>
                  <a:lnTo>
                    <a:pt x="238548" y="176988"/>
                  </a:lnTo>
                  <a:lnTo>
                    <a:pt x="237452" y="177585"/>
                  </a:lnTo>
                  <a:lnTo>
                    <a:pt x="234662" y="181266"/>
                  </a:lnTo>
                  <a:lnTo>
                    <a:pt x="232769" y="181266"/>
                  </a:lnTo>
                  <a:lnTo>
                    <a:pt x="231374" y="179774"/>
                  </a:lnTo>
                  <a:lnTo>
                    <a:pt x="229879" y="178978"/>
                  </a:lnTo>
                  <a:lnTo>
                    <a:pt x="228584" y="177685"/>
                  </a:lnTo>
                  <a:lnTo>
                    <a:pt x="228584" y="176192"/>
                  </a:lnTo>
                  <a:lnTo>
                    <a:pt x="229181" y="175297"/>
                  </a:lnTo>
                  <a:lnTo>
                    <a:pt x="229181" y="174202"/>
                  </a:lnTo>
                  <a:lnTo>
                    <a:pt x="229181" y="173108"/>
                  </a:lnTo>
                  <a:lnTo>
                    <a:pt x="230377" y="172113"/>
                  </a:lnTo>
                  <a:lnTo>
                    <a:pt x="232769" y="171815"/>
                  </a:lnTo>
                  <a:lnTo>
                    <a:pt x="235658" y="171815"/>
                  </a:lnTo>
                  <a:lnTo>
                    <a:pt x="238548" y="173904"/>
                  </a:lnTo>
                  <a:lnTo>
                    <a:pt x="239544" y="175297"/>
                  </a:lnTo>
                  <a:lnTo>
                    <a:pt x="239544" y="175894"/>
                  </a:lnTo>
                  <a:close/>
                  <a:moveTo>
                    <a:pt x="387217" y="303238"/>
                  </a:moveTo>
                  <a:lnTo>
                    <a:pt x="384626" y="303238"/>
                  </a:lnTo>
                  <a:lnTo>
                    <a:pt x="378747" y="301546"/>
                  </a:lnTo>
                  <a:lnTo>
                    <a:pt x="375957" y="300054"/>
                  </a:lnTo>
                  <a:lnTo>
                    <a:pt x="371573" y="300054"/>
                  </a:lnTo>
                  <a:lnTo>
                    <a:pt x="367687" y="299258"/>
                  </a:lnTo>
                  <a:lnTo>
                    <a:pt x="365495" y="295080"/>
                  </a:lnTo>
                  <a:lnTo>
                    <a:pt x="367188" y="294085"/>
                  </a:lnTo>
                  <a:lnTo>
                    <a:pt x="367188" y="291996"/>
                  </a:lnTo>
                  <a:lnTo>
                    <a:pt x="366591" y="290006"/>
                  </a:lnTo>
                  <a:lnTo>
                    <a:pt x="365793" y="288215"/>
                  </a:lnTo>
                  <a:lnTo>
                    <a:pt x="366989" y="285728"/>
                  </a:lnTo>
                  <a:lnTo>
                    <a:pt x="366989" y="284236"/>
                  </a:lnTo>
                  <a:lnTo>
                    <a:pt x="366989" y="282246"/>
                  </a:lnTo>
                  <a:lnTo>
                    <a:pt x="367487" y="281549"/>
                  </a:lnTo>
                  <a:lnTo>
                    <a:pt x="370178" y="281549"/>
                  </a:lnTo>
                  <a:lnTo>
                    <a:pt x="377253" y="279460"/>
                  </a:lnTo>
                  <a:lnTo>
                    <a:pt x="379644" y="279460"/>
                  </a:lnTo>
                  <a:lnTo>
                    <a:pt x="382235" y="281251"/>
                  </a:lnTo>
                  <a:lnTo>
                    <a:pt x="384925" y="284833"/>
                  </a:lnTo>
                  <a:lnTo>
                    <a:pt x="386420" y="288911"/>
                  </a:lnTo>
                  <a:lnTo>
                    <a:pt x="385324" y="292891"/>
                  </a:lnTo>
                  <a:lnTo>
                    <a:pt x="386220" y="294781"/>
                  </a:lnTo>
                  <a:lnTo>
                    <a:pt x="386818" y="296970"/>
                  </a:lnTo>
                  <a:lnTo>
                    <a:pt x="387815" y="299159"/>
                  </a:lnTo>
                  <a:lnTo>
                    <a:pt x="389708" y="30095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8" name="Freeform: Shape 1407">
              <a:extLst>
                <a:ext uri="{FF2B5EF4-FFF2-40B4-BE49-F238E27FC236}">
                  <a16:creationId xmlns:a16="http://schemas.microsoft.com/office/drawing/2014/main" id="{DA59C624-16EB-454F-B62A-81324FC54203}"/>
                </a:ext>
              </a:extLst>
            </p:cNvPr>
            <p:cNvSpPr/>
            <p:nvPr/>
          </p:nvSpPr>
          <p:spPr>
            <a:xfrm>
              <a:off x="-2401789" y="486728"/>
              <a:ext cx="17338" cy="13231"/>
            </a:xfrm>
            <a:custGeom>
              <a:avLst/>
              <a:gdLst>
                <a:gd name="connsiteX0" fmla="*/ 17338 w 17338"/>
                <a:gd name="connsiteY0" fmla="*/ 4676 h 13231"/>
                <a:gd name="connsiteX1" fmla="*/ 15943 w 17338"/>
                <a:gd name="connsiteY1" fmla="*/ 1691 h 13231"/>
                <a:gd name="connsiteX2" fmla="*/ 11658 w 17338"/>
                <a:gd name="connsiteY2" fmla="*/ 0 h 13231"/>
                <a:gd name="connsiteX3" fmla="*/ 7772 w 17338"/>
                <a:gd name="connsiteY3" fmla="*/ 0 h 13231"/>
                <a:gd name="connsiteX4" fmla="*/ 2790 w 17338"/>
                <a:gd name="connsiteY4" fmla="*/ 1990 h 13231"/>
                <a:gd name="connsiteX5" fmla="*/ 996 w 17338"/>
                <a:gd name="connsiteY5" fmla="*/ 3980 h 13231"/>
                <a:gd name="connsiteX6" fmla="*/ 0 w 17338"/>
                <a:gd name="connsiteY6" fmla="*/ 6765 h 13231"/>
                <a:gd name="connsiteX7" fmla="*/ 996 w 17338"/>
                <a:gd name="connsiteY7" fmla="*/ 10148 h 13231"/>
                <a:gd name="connsiteX8" fmla="*/ 4484 w 17338"/>
                <a:gd name="connsiteY8" fmla="*/ 10745 h 13231"/>
                <a:gd name="connsiteX9" fmla="*/ 4982 w 17338"/>
                <a:gd name="connsiteY9" fmla="*/ 11740 h 13231"/>
                <a:gd name="connsiteX10" fmla="*/ 5580 w 17338"/>
                <a:gd name="connsiteY10" fmla="*/ 11143 h 13231"/>
                <a:gd name="connsiteX11" fmla="*/ 8669 w 17338"/>
                <a:gd name="connsiteY11" fmla="*/ 10148 h 13231"/>
                <a:gd name="connsiteX12" fmla="*/ 10961 w 17338"/>
                <a:gd name="connsiteY12" fmla="*/ 11043 h 13231"/>
                <a:gd name="connsiteX13" fmla="*/ 13253 w 17338"/>
                <a:gd name="connsiteY13" fmla="*/ 12535 h 13231"/>
                <a:gd name="connsiteX14" fmla="*/ 15843 w 17338"/>
                <a:gd name="connsiteY14" fmla="*/ 13232 h 13231"/>
                <a:gd name="connsiteX15" fmla="*/ 16541 w 17338"/>
                <a:gd name="connsiteY15" fmla="*/ 9451 h 13231"/>
                <a:gd name="connsiteX16" fmla="*/ 17338 w 17338"/>
                <a:gd name="connsiteY16" fmla="*/ 4676 h 1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338" h="13231">
                  <a:moveTo>
                    <a:pt x="17338" y="4676"/>
                  </a:moveTo>
                  <a:lnTo>
                    <a:pt x="15943" y="1691"/>
                  </a:lnTo>
                  <a:lnTo>
                    <a:pt x="11658" y="0"/>
                  </a:lnTo>
                  <a:lnTo>
                    <a:pt x="7772" y="0"/>
                  </a:lnTo>
                  <a:lnTo>
                    <a:pt x="2790" y="1990"/>
                  </a:lnTo>
                  <a:lnTo>
                    <a:pt x="996" y="3980"/>
                  </a:lnTo>
                  <a:lnTo>
                    <a:pt x="0" y="6765"/>
                  </a:lnTo>
                  <a:lnTo>
                    <a:pt x="996" y="10148"/>
                  </a:lnTo>
                  <a:lnTo>
                    <a:pt x="4484" y="10745"/>
                  </a:lnTo>
                  <a:lnTo>
                    <a:pt x="4982" y="11740"/>
                  </a:lnTo>
                  <a:lnTo>
                    <a:pt x="5580" y="11143"/>
                  </a:lnTo>
                  <a:lnTo>
                    <a:pt x="8669" y="10148"/>
                  </a:lnTo>
                  <a:lnTo>
                    <a:pt x="10961" y="11043"/>
                  </a:lnTo>
                  <a:lnTo>
                    <a:pt x="13253" y="12535"/>
                  </a:lnTo>
                  <a:lnTo>
                    <a:pt x="15843" y="13232"/>
                  </a:lnTo>
                  <a:lnTo>
                    <a:pt x="16541" y="9451"/>
                  </a:lnTo>
                  <a:lnTo>
                    <a:pt x="17338" y="467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09" name="Freeform: Shape 1408">
              <a:extLst>
                <a:ext uri="{FF2B5EF4-FFF2-40B4-BE49-F238E27FC236}">
                  <a16:creationId xmlns:a16="http://schemas.microsoft.com/office/drawing/2014/main" id="{DD0FD11A-B008-429C-8F36-1E4A51DC2915}"/>
                </a:ext>
              </a:extLst>
            </p:cNvPr>
            <p:cNvSpPr/>
            <p:nvPr/>
          </p:nvSpPr>
          <p:spPr>
            <a:xfrm>
              <a:off x="-2536607" y="377988"/>
              <a:ext cx="46733" cy="49146"/>
            </a:xfrm>
            <a:custGeom>
              <a:avLst/>
              <a:gdLst>
                <a:gd name="connsiteX0" fmla="*/ 44142 w 46733"/>
                <a:gd name="connsiteY0" fmla="*/ 48649 h 49146"/>
                <a:gd name="connsiteX1" fmla="*/ 46733 w 46733"/>
                <a:gd name="connsiteY1" fmla="*/ 42581 h 49146"/>
                <a:gd name="connsiteX2" fmla="*/ 46633 w 46733"/>
                <a:gd name="connsiteY2" fmla="*/ 38900 h 49146"/>
                <a:gd name="connsiteX3" fmla="*/ 44641 w 46733"/>
                <a:gd name="connsiteY3" fmla="*/ 32234 h 49146"/>
                <a:gd name="connsiteX4" fmla="*/ 44142 w 46733"/>
                <a:gd name="connsiteY4" fmla="*/ 24076 h 49146"/>
                <a:gd name="connsiteX5" fmla="*/ 43544 w 46733"/>
                <a:gd name="connsiteY5" fmla="*/ 20992 h 49146"/>
                <a:gd name="connsiteX6" fmla="*/ 42747 w 46733"/>
                <a:gd name="connsiteY6" fmla="*/ 18604 h 49146"/>
                <a:gd name="connsiteX7" fmla="*/ 41552 w 46733"/>
                <a:gd name="connsiteY7" fmla="*/ 16117 h 49146"/>
                <a:gd name="connsiteX8" fmla="*/ 39160 w 46733"/>
                <a:gd name="connsiteY8" fmla="*/ 8357 h 49146"/>
                <a:gd name="connsiteX9" fmla="*/ 37566 w 46733"/>
                <a:gd name="connsiteY9" fmla="*/ 4477 h 49146"/>
                <a:gd name="connsiteX10" fmla="*/ 35972 w 46733"/>
                <a:gd name="connsiteY10" fmla="*/ 3980 h 49146"/>
                <a:gd name="connsiteX11" fmla="*/ 33480 w 46733"/>
                <a:gd name="connsiteY11" fmla="*/ 5671 h 49146"/>
                <a:gd name="connsiteX12" fmla="*/ 30989 w 46733"/>
                <a:gd name="connsiteY12" fmla="*/ 4576 h 49146"/>
                <a:gd name="connsiteX13" fmla="*/ 28897 w 46733"/>
                <a:gd name="connsiteY13" fmla="*/ 2189 h 49146"/>
                <a:gd name="connsiteX14" fmla="*/ 27601 w 46733"/>
                <a:gd name="connsiteY14" fmla="*/ 0 h 49146"/>
                <a:gd name="connsiteX15" fmla="*/ 23516 w 46733"/>
                <a:gd name="connsiteY15" fmla="*/ 497 h 49146"/>
                <a:gd name="connsiteX16" fmla="*/ 17238 w 46733"/>
                <a:gd name="connsiteY16" fmla="*/ 3781 h 49146"/>
                <a:gd name="connsiteX17" fmla="*/ 20527 w 46733"/>
                <a:gd name="connsiteY17" fmla="*/ 3582 h 49146"/>
                <a:gd name="connsiteX18" fmla="*/ 21722 w 46733"/>
                <a:gd name="connsiteY18" fmla="*/ 3880 h 49146"/>
                <a:gd name="connsiteX19" fmla="*/ 22918 w 46733"/>
                <a:gd name="connsiteY19" fmla="*/ 4875 h 49146"/>
                <a:gd name="connsiteX20" fmla="*/ 23715 w 46733"/>
                <a:gd name="connsiteY20" fmla="*/ 6168 h 49146"/>
                <a:gd name="connsiteX21" fmla="*/ 24014 w 46733"/>
                <a:gd name="connsiteY21" fmla="*/ 7661 h 49146"/>
                <a:gd name="connsiteX22" fmla="*/ 17936 w 46733"/>
                <a:gd name="connsiteY22" fmla="*/ 9551 h 49146"/>
                <a:gd name="connsiteX23" fmla="*/ 16541 w 46733"/>
                <a:gd name="connsiteY23" fmla="*/ 9252 h 49146"/>
                <a:gd name="connsiteX24" fmla="*/ 13552 w 46733"/>
                <a:gd name="connsiteY24" fmla="*/ 8257 h 49146"/>
                <a:gd name="connsiteX25" fmla="*/ 11858 w 46733"/>
                <a:gd name="connsiteY25" fmla="*/ 8257 h 49146"/>
                <a:gd name="connsiteX26" fmla="*/ 10463 w 46733"/>
                <a:gd name="connsiteY26" fmla="*/ 8755 h 49146"/>
                <a:gd name="connsiteX27" fmla="*/ 7673 w 46733"/>
                <a:gd name="connsiteY27" fmla="*/ 10247 h 49146"/>
                <a:gd name="connsiteX28" fmla="*/ 0 w 46733"/>
                <a:gd name="connsiteY28" fmla="*/ 11541 h 49146"/>
                <a:gd name="connsiteX29" fmla="*/ 3089 w 46733"/>
                <a:gd name="connsiteY29" fmla="*/ 12535 h 49146"/>
                <a:gd name="connsiteX30" fmla="*/ 4185 w 46733"/>
                <a:gd name="connsiteY30" fmla="*/ 12734 h 49146"/>
                <a:gd name="connsiteX31" fmla="*/ 5480 w 46733"/>
                <a:gd name="connsiteY31" fmla="*/ 13033 h 49146"/>
                <a:gd name="connsiteX32" fmla="*/ 7174 w 46733"/>
                <a:gd name="connsiteY32" fmla="*/ 14625 h 49146"/>
                <a:gd name="connsiteX33" fmla="*/ 8171 w 46733"/>
                <a:gd name="connsiteY33" fmla="*/ 15023 h 49146"/>
                <a:gd name="connsiteX34" fmla="*/ 8569 w 46733"/>
                <a:gd name="connsiteY34" fmla="*/ 15321 h 49146"/>
                <a:gd name="connsiteX35" fmla="*/ 10263 w 46733"/>
                <a:gd name="connsiteY35" fmla="*/ 16813 h 49146"/>
                <a:gd name="connsiteX36" fmla="*/ 11260 w 46733"/>
                <a:gd name="connsiteY36" fmla="*/ 17311 h 49146"/>
                <a:gd name="connsiteX37" fmla="*/ 11957 w 46733"/>
                <a:gd name="connsiteY37" fmla="*/ 17112 h 49146"/>
                <a:gd name="connsiteX38" fmla="*/ 13053 w 46733"/>
                <a:gd name="connsiteY38" fmla="*/ 16415 h 49146"/>
                <a:gd name="connsiteX39" fmla="*/ 14249 w 46733"/>
                <a:gd name="connsiteY39" fmla="*/ 15918 h 49146"/>
                <a:gd name="connsiteX40" fmla="*/ 15544 w 46733"/>
                <a:gd name="connsiteY40" fmla="*/ 16117 h 49146"/>
                <a:gd name="connsiteX41" fmla="*/ 16541 w 46733"/>
                <a:gd name="connsiteY41" fmla="*/ 17510 h 49146"/>
                <a:gd name="connsiteX42" fmla="*/ 15544 w 46733"/>
                <a:gd name="connsiteY42" fmla="*/ 18604 h 49146"/>
                <a:gd name="connsiteX43" fmla="*/ 13452 w 46733"/>
                <a:gd name="connsiteY43" fmla="*/ 19301 h 49146"/>
                <a:gd name="connsiteX44" fmla="*/ 9865 w 46733"/>
                <a:gd name="connsiteY44" fmla="*/ 19997 h 49146"/>
                <a:gd name="connsiteX45" fmla="*/ 8569 w 46733"/>
                <a:gd name="connsiteY45" fmla="*/ 20992 h 49146"/>
                <a:gd name="connsiteX46" fmla="*/ 7473 w 46733"/>
                <a:gd name="connsiteY46" fmla="*/ 22584 h 49146"/>
                <a:gd name="connsiteX47" fmla="*/ 6776 w 46733"/>
                <a:gd name="connsiteY47" fmla="*/ 24275 h 49146"/>
                <a:gd name="connsiteX48" fmla="*/ 4883 w 46733"/>
                <a:gd name="connsiteY48" fmla="*/ 22186 h 49146"/>
                <a:gd name="connsiteX49" fmla="*/ 3189 w 46733"/>
                <a:gd name="connsiteY49" fmla="*/ 21091 h 49146"/>
                <a:gd name="connsiteX50" fmla="*/ 1993 w 46733"/>
                <a:gd name="connsiteY50" fmla="*/ 21688 h 49146"/>
                <a:gd name="connsiteX51" fmla="*/ 1594 w 46733"/>
                <a:gd name="connsiteY51" fmla="*/ 24872 h 49146"/>
                <a:gd name="connsiteX52" fmla="*/ 9367 w 46733"/>
                <a:gd name="connsiteY52" fmla="*/ 32333 h 49146"/>
                <a:gd name="connsiteX53" fmla="*/ 16541 w 46733"/>
                <a:gd name="connsiteY53" fmla="*/ 36711 h 49146"/>
                <a:gd name="connsiteX54" fmla="*/ 18534 w 46733"/>
                <a:gd name="connsiteY54" fmla="*/ 38701 h 49146"/>
                <a:gd name="connsiteX55" fmla="*/ 20826 w 46733"/>
                <a:gd name="connsiteY55" fmla="*/ 41685 h 49146"/>
                <a:gd name="connsiteX56" fmla="*/ 22818 w 46733"/>
                <a:gd name="connsiteY56" fmla="*/ 43178 h 49146"/>
                <a:gd name="connsiteX57" fmla="*/ 26406 w 46733"/>
                <a:gd name="connsiteY57" fmla="*/ 44471 h 49146"/>
                <a:gd name="connsiteX58" fmla="*/ 27402 w 46733"/>
                <a:gd name="connsiteY58" fmla="*/ 44172 h 49146"/>
                <a:gd name="connsiteX59" fmla="*/ 28399 w 46733"/>
                <a:gd name="connsiteY59" fmla="*/ 43974 h 49146"/>
                <a:gd name="connsiteX60" fmla="*/ 28498 w 46733"/>
                <a:gd name="connsiteY60" fmla="*/ 45167 h 49146"/>
                <a:gd name="connsiteX61" fmla="*/ 28498 w 46733"/>
                <a:gd name="connsiteY61" fmla="*/ 45267 h 49146"/>
                <a:gd name="connsiteX62" fmla="*/ 38961 w 46733"/>
                <a:gd name="connsiteY62" fmla="*/ 49147 h 49146"/>
                <a:gd name="connsiteX63" fmla="*/ 44142 w 46733"/>
                <a:gd name="connsiteY63" fmla="*/ 48649 h 49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6733" h="49146">
                  <a:moveTo>
                    <a:pt x="44142" y="48649"/>
                  </a:moveTo>
                  <a:lnTo>
                    <a:pt x="46733" y="42581"/>
                  </a:lnTo>
                  <a:lnTo>
                    <a:pt x="46633" y="38900"/>
                  </a:lnTo>
                  <a:lnTo>
                    <a:pt x="44641" y="32234"/>
                  </a:lnTo>
                  <a:lnTo>
                    <a:pt x="44142" y="24076"/>
                  </a:lnTo>
                  <a:lnTo>
                    <a:pt x="43544" y="20992"/>
                  </a:lnTo>
                  <a:lnTo>
                    <a:pt x="42747" y="18604"/>
                  </a:lnTo>
                  <a:lnTo>
                    <a:pt x="41552" y="16117"/>
                  </a:lnTo>
                  <a:lnTo>
                    <a:pt x="39160" y="8357"/>
                  </a:lnTo>
                  <a:lnTo>
                    <a:pt x="37566" y="4477"/>
                  </a:lnTo>
                  <a:lnTo>
                    <a:pt x="35972" y="3980"/>
                  </a:lnTo>
                  <a:lnTo>
                    <a:pt x="33480" y="5671"/>
                  </a:lnTo>
                  <a:lnTo>
                    <a:pt x="30989" y="4576"/>
                  </a:lnTo>
                  <a:lnTo>
                    <a:pt x="28897" y="2189"/>
                  </a:lnTo>
                  <a:lnTo>
                    <a:pt x="27601" y="0"/>
                  </a:lnTo>
                  <a:lnTo>
                    <a:pt x="23516" y="497"/>
                  </a:lnTo>
                  <a:lnTo>
                    <a:pt x="17238" y="3781"/>
                  </a:lnTo>
                  <a:lnTo>
                    <a:pt x="20527" y="3582"/>
                  </a:lnTo>
                  <a:lnTo>
                    <a:pt x="21722" y="3880"/>
                  </a:lnTo>
                  <a:lnTo>
                    <a:pt x="22918" y="4875"/>
                  </a:lnTo>
                  <a:lnTo>
                    <a:pt x="23715" y="6168"/>
                  </a:lnTo>
                  <a:lnTo>
                    <a:pt x="24014" y="7661"/>
                  </a:lnTo>
                  <a:lnTo>
                    <a:pt x="17936" y="9551"/>
                  </a:lnTo>
                  <a:lnTo>
                    <a:pt x="16541" y="9252"/>
                  </a:lnTo>
                  <a:lnTo>
                    <a:pt x="13552" y="8257"/>
                  </a:lnTo>
                  <a:lnTo>
                    <a:pt x="11858" y="8257"/>
                  </a:lnTo>
                  <a:lnTo>
                    <a:pt x="10463" y="8755"/>
                  </a:lnTo>
                  <a:lnTo>
                    <a:pt x="7673" y="10247"/>
                  </a:lnTo>
                  <a:lnTo>
                    <a:pt x="0" y="11541"/>
                  </a:lnTo>
                  <a:lnTo>
                    <a:pt x="3089" y="12535"/>
                  </a:lnTo>
                  <a:lnTo>
                    <a:pt x="4185" y="12734"/>
                  </a:lnTo>
                  <a:lnTo>
                    <a:pt x="5480" y="13033"/>
                  </a:lnTo>
                  <a:lnTo>
                    <a:pt x="7174" y="14625"/>
                  </a:lnTo>
                  <a:lnTo>
                    <a:pt x="8171" y="15023"/>
                  </a:lnTo>
                  <a:lnTo>
                    <a:pt x="8569" y="15321"/>
                  </a:lnTo>
                  <a:lnTo>
                    <a:pt x="10263" y="16813"/>
                  </a:lnTo>
                  <a:lnTo>
                    <a:pt x="11260" y="17311"/>
                  </a:lnTo>
                  <a:lnTo>
                    <a:pt x="11957" y="17112"/>
                  </a:lnTo>
                  <a:lnTo>
                    <a:pt x="13053" y="16415"/>
                  </a:lnTo>
                  <a:lnTo>
                    <a:pt x="14249" y="15918"/>
                  </a:lnTo>
                  <a:lnTo>
                    <a:pt x="15544" y="16117"/>
                  </a:lnTo>
                  <a:lnTo>
                    <a:pt x="16541" y="17510"/>
                  </a:lnTo>
                  <a:lnTo>
                    <a:pt x="15544" y="18604"/>
                  </a:lnTo>
                  <a:lnTo>
                    <a:pt x="13452" y="19301"/>
                  </a:lnTo>
                  <a:lnTo>
                    <a:pt x="9865" y="19997"/>
                  </a:lnTo>
                  <a:lnTo>
                    <a:pt x="8569" y="20992"/>
                  </a:lnTo>
                  <a:lnTo>
                    <a:pt x="7473" y="22584"/>
                  </a:lnTo>
                  <a:lnTo>
                    <a:pt x="6776" y="24275"/>
                  </a:lnTo>
                  <a:lnTo>
                    <a:pt x="4883" y="22186"/>
                  </a:lnTo>
                  <a:lnTo>
                    <a:pt x="3189" y="21091"/>
                  </a:lnTo>
                  <a:lnTo>
                    <a:pt x="1993" y="21688"/>
                  </a:lnTo>
                  <a:lnTo>
                    <a:pt x="1594" y="24872"/>
                  </a:lnTo>
                  <a:lnTo>
                    <a:pt x="9367" y="32333"/>
                  </a:lnTo>
                  <a:lnTo>
                    <a:pt x="16541" y="36711"/>
                  </a:lnTo>
                  <a:lnTo>
                    <a:pt x="18534" y="38701"/>
                  </a:lnTo>
                  <a:lnTo>
                    <a:pt x="20826" y="41685"/>
                  </a:lnTo>
                  <a:lnTo>
                    <a:pt x="22818" y="43178"/>
                  </a:lnTo>
                  <a:lnTo>
                    <a:pt x="26406" y="44471"/>
                  </a:lnTo>
                  <a:lnTo>
                    <a:pt x="27402" y="44172"/>
                  </a:lnTo>
                  <a:lnTo>
                    <a:pt x="28399" y="43974"/>
                  </a:lnTo>
                  <a:lnTo>
                    <a:pt x="28498" y="45167"/>
                  </a:lnTo>
                  <a:lnTo>
                    <a:pt x="28498" y="45267"/>
                  </a:lnTo>
                  <a:lnTo>
                    <a:pt x="38961" y="49147"/>
                  </a:lnTo>
                  <a:lnTo>
                    <a:pt x="44142" y="4864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0" name="Freeform: Shape 1409">
              <a:extLst>
                <a:ext uri="{FF2B5EF4-FFF2-40B4-BE49-F238E27FC236}">
                  <a16:creationId xmlns:a16="http://schemas.microsoft.com/office/drawing/2014/main" id="{F96F22B0-2039-4F94-8314-34AEC2ECB848}"/>
                </a:ext>
              </a:extLst>
            </p:cNvPr>
            <p:cNvSpPr/>
            <p:nvPr/>
          </p:nvSpPr>
          <p:spPr>
            <a:xfrm>
              <a:off x="-2442045" y="459966"/>
              <a:ext cx="24313" cy="23876"/>
            </a:xfrm>
            <a:custGeom>
              <a:avLst/>
              <a:gdLst>
                <a:gd name="connsiteX0" fmla="*/ 21423 w 24313"/>
                <a:gd name="connsiteY0" fmla="*/ 17808 h 23876"/>
                <a:gd name="connsiteX1" fmla="*/ 20826 w 24313"/>
                <a:gd name="connsiteY1" fmla="*/ 15620 h 23876"/>
                <a:gd name="connsiteX2" fmla="*/ 19929 w 24313"/>
                <a:gd name="connsiteY2" fmla="*/ 13729 h 23876"/>
                <a:gd name="connsiteX3" fmla="*/ 21025 w 24313"/>
                <a:gd name="connsiteY3" fmla="*/ 9750 h 23876"/>
                <a:gd name="connsiteX4" fmla="*/ 19530 w 24313"/>
                <a:gd name="connsiteY4" fmla="*/ 5671 h 23876"/>
                <a:gd name="connsiteX5" fmla="*/ 16840 w 24313"/>
                <a:gd name="connsiteY5" fmla="*/ 2089 h 23876"/>
                <a:gd name="connsiteX6" fmla="*/ 13851 w 24313"/>
                <a:gd name="connsiteY6" fmla="*/ 0 h 23876"/>
                <a:gd name="connsiteX7" fmla="*/ 11459 w 24313"/>
                <a:gd name="connsiteY7" fmla="*/ 99 h 23876"/>
                <a:gd name="connsiteX8" fmla="*/ 4384 w 24313"/>
                <a:gd name="connsiteY8" fmla="*/ 2189 h 23876"/>
                <a:gd name="connsiteX9" fmla="*/ 1694 w 24313"/>
                <a:gd name="connsiteY9" fmla="*/ 2388 h 23876"/>
                <a:gd name="connsiteX10" fmla="*/ 1196 w 24313"/>
                <a:gd name="connsiteY10" fmla="*/ 3084 h 23876"/>
                <a:gd name="connsiteX11" fmla="*/ 996 w 24313"/>
                <a:gd name="connsiteY11" fmla="*/ 5074 h 23876"/>
                <a:gd name="connsiteX12" fmla="*/ 1196 w 24313"/>
                <a:gd name="connsiteY12" fmla="*/ 6566 h 23876"/>
                <a:gd name="connsiteX13" fmla="*/ 0 w 24313"/>
                <a:gd name="connsiteY13" fmla="*/ 9053 h 23876"/>
                <a:gd name="connsiteX14" fmla="*/ 797 w 24313"/>
                <a:gd name="connsiteY14" fmla="*/ 10844 h 23876"/>
                <a:gd name="connsiteX15" fmla="*/ 1395 w 24313"/>
                <a:gd name="connsiteY15" fmla="*/ 12834 h 23876"/>
                <a:gd name="connsiteX16" fmla="*/ 1694 w 24313"/>
                <a:gd name="connsiteY16" fmla="*/ 14923 h 23876"/>
                <a:gd name="connsiteX17" fmla="*/ 0 w 24313"/>
                <a:gd name="connsiteY17" fmla="*/ 15918 h 23876"/>
                <a:gd name="connsiteX18" fmla="*/ 2192 w 24313"/>
                <a:gd name="connsiteY18" fmla="*/ 20096 h 23876"/>
                <a:gd name="connsiteX19" fmla="*/ 6078 w 24313"/>
                <a:gd name="connsiteY19" fmla="*/ 20892 h 23876"/>
                <a:gd name="connsiteX20" fmla="*/ 10463 w 24313"/>
                <a:gd name="connsiteY20" fmla="*/ 20693 h 23876"/>
                <a:gd name="connsiteX21" fmla="*/ 13253 w 24313"/>
                <a:gd name="connsiteY21" fmla="*/ 22186 h 23876"/>
                <a:gd name="connsiteX22" fmla="*/ 19132 w 24313"/>
                <a:gd name="connsiteY22" fmla="*/ 23877 h 23876"/>
                <a:gd name="connsiteX23" fmla="*/ 21722 w 24313"/>
                <a:gd name="connsiteY23" fmla="*/ 23678 h 23876"/>
                <a:gd name="connsiteX24" fmla="*/ 24313 w 24313"/>
                <a:gd name="connsiteY24" fmla="*/ 21788 h 23876"/>
                <a:gd name="connsiteX25" fmla="*/ 22420 w 24313"/>
                <a:gd name="connsiteY25" fmla="*/ 19997 h 23876"/>
                <a:gd name="connsiteX26" fmla="*/ 21423 w 24313"/>
                <a:gd name="connsiteY26" fmla="*/ 17808 h 23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4313" h="23876">
                  <a:moveTo>
                    <a:pt x="21423" y="17808"/>
                  </a:moveTo>
                  <a:lnTo>
                    <a:pt x="20826" y="15620"/>
                  </a:lnTo>
                  <a:lnTo>
                    <a:pt x="19929" y="13729"/>
                  </a:lnTo>
                  <a:lnTo>
                    <a:pt x="21025" y="9750"/>
                  </a:lnTo>
                  <a:lnTo>
                    <a:pt x="19530" y="5671"/>
                  </a:lnTo>
                  <a:lnTo>
                    <a:pt x="16840" y="2089"/>
                  </a:lnTo>
                  <a:lnTo>
                    <a:pt x="13851" y="0"/>
                  </a:lnTo>
                  <a:lnTo>
                    <a:pt x="11459" y="99"/>
                  </a:lnTo>
                  <a:lnTo>
                    <a:pt x="4384" y="2189"/>
                  </a:lnTo>
                  <a:lnTo>
                    <a:pt x="1694" y="2388"/>
                  </a:lnTo>
                  <a:lnTo>
                    <a:pt x="1196" y="3084"/>
                  </a:lnTo>
                  <a:lnTo>
                    <a:pt x="996" y="5074"/>
                  </a:lnTo>
                  <a:lnTo>
                    <a:pt x="1196" y="6566"/>
                  </a:lnTo>
                  <a:lnTo>
                    <a:pt x="0" y="9053"/>
                  </a:lnTo>
                  <a:lnTo>
                    <a:pt x="797" y="10844"/>
                  </a:lnTo>
                  <a:lnTo>
                    <a:pt x="1395" y="12834"/>
                  </a:lnTo>
                  <a:lnTo>
                    <a:pt x="1694" y="14923"/>
                  </a:lnTo>
                  <a:lnTo>
                    <a:pt x="0" y="15918"/>
                  </a:lnTo>
                  <a:lnTo>
                    <a:pt x="2192" y="20096"/>
                  </a:lnTo>
                  <a:lnTo>
                    <a:pt x="6078" y="20892"/>
                  </a:lnTo>
                  <a:lnTo>
                    <a:pt x="10463" y="20693"/>
                  </a:lnTo>
                  <a:lnTo>
                    <a:pt x="13253" y="22186"/>
                  </a:lnTo>
                  <a:lnTo>
                    <a:pt x="19132" y="23877"/>
                  </a:lnTo>
                  <a:lnTo>
                    <a:pt x="21722" y="23678"/>
                  </a:lnTo>
                  <a:lnTo>
                    <a:pt x="24313" y="21788"/>
                  </a:lnTo>
                  <a:lnTo>
                    <a:pt x="22420" y="19997"/>
                  </a:lnTo>
                  <a:lnTo>
                    <a:pt x="21423" y="1780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1" name="Freeform: Shape 1410">
              <a:extLst>
                <a:ext uri="{FF2B5EF4-FFF2-40B4-BE49-F238E27FC236}">
                  <a16:creationId xmlns:a16="http://schemas.microsoft.com/office/drawing/2014/main" id="{3B34BEF6-6859-4C54-8C25-17016353AC93}"/>
                </a:ext>
              </a:extLst>
            </p:cNvPr>
            <p:cNvSpPr/>
            <p:nvPr/>
          </p:nvSpPr>
          <p:spPr>
            <a:xfrm>
              <a:off x="-2578757" y="352022"/>
              <a:ext cx="11060" cy="10048"/>
            </a:xfrm>
            <a:custGeom>
              <a:avLst/>
              <a:gdLst>
                <a:gd name="connsiteX0" fmla="*/ 9964 w 11060"/>
                <a:gd name="connsiteY0" fmla="*/ 2587 h 10048"/>
                <a:gd name="connsiteX1" fmla="*/ 7075 w 11060"/>
                <a:gd name="connsiteY1" fmla="*/ 497 h 10048"/>
                <a:gd name="connsiteX2" fmla="*/ 4185 w 11060"/>
                <a:gd name="connsiteY2" fmla="*/ 0 h 10048"/>
                <a:gd name="connsiteX3" fmla="*/ 2192 w 11060"/>
                <a:gd name="connsiteY3" fmla="*/ 796 h 10048"/>
                <a:gd name="connsiteX4" fmla="*/ 996 w 11060"/>
                <a:gd name="connsiteY4" fmla="*/ 1890 h 10048"/>
                <a:gd name="connsiteX5" fmla="*/ 698 w 11060"/>
                <a:gd name="connsiteY5" fmla="*/ 2885 h 10048"/>
                <a:gd name="connsiteX6" fmla="*/ 598 w 11060"/>
                <a:gd name="connsiteY6" fmla="*/ 3979 h 10048"/>
                <a:gd name="connsiteX7" fmla="*/ 0 w 11060"/>
                <a:gd name="connsiteY7" fmla="*/ 4875 h 10048"/>
                <a:gd name="connsiteX8" fmla="*/ 100 w 11060"/>
                <a:gd name="connsiteY8" fmla="*/ 6367 h 10048"/>
                <a:gd name="connsiteX9" fmla="*/ 1395 w 11060"/>
                <a:gd name="connsiteY9" fmla="*/ 7660 h 10048"/>
                <a:gd name="connsiteX10" fmla="*/ 2890 w 11060"/>
                <a:gd name="connsiteY10" fmla="*/ 8456 h 10048"/>
                <a:gd name="connsiteX11" fmla="*/ 4285 w 11060"/>
                <a:gd name="connsiteY11" fmla="*/ 9949 h 10048"/>
                <a:gd name="connsiteX12" fmla="*/ 5879 w 11060"/>
                <a:gd name="connsiteY12" fmla="*/ 10048 h 10048"/>
                <a:gd name="connsiteX13" fmla="*/ 8669 w 11060"/>
                <a:gd name="connsiteY13" fmla="*/ 6367 h 10048"/>
                <a:gd name="connsiteX14" fmla="*/ 9765 w 11060"/>
                <a:gd name="connsiteY14" fmla="*/ 5770 h 10048"/>
                <a:gd name="connsiteX15" fmla="*/ 10762 w 11060"/>
                <a:gd name="connsiteY15" fmla="*/ 5372 h 10048"/>
                <a:gd name="connsiteX16" fmla="*/ 11060 w 11060"/>
                <a:gd name="connsiteY16" fmla="*/ 4576 h 10048"/>
                <a:gd name="connsiteX17" fmla="*/ 10961 w 11060"/>
                <a:gd name="connsiteY17" fmla="*/ 3979 h 10048"/>
                <a:gd name="connsiteX18" fmla="*/ 9964 w 11060"/>
                <a:gd name="connsiteY18" fmla="*/ 2587 h 10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060" h="10048">
                  <a:moveTo>
                    <a:pt x="9964" y="2587"/>
                  </a:moveTo>
                  <a:lnTo>
                    <a:pt x="7075" y="497"/>
                  </a:lnTo>
                  <a:lnTo>
                    <a:pt x="4185" y="0"/>
                  </a:lnTo>
                  <a:lnTo>
                    <a:pt x="2192" y="796"/>
                  </a:lnTo>
                  <a:lnTo>
                    <a:pt x="996" y="1890"/>
                  </a:lnTo>
                  <a:lnTo>
                    <a:pt x="698" y="2885"/>
                  </a:lnTo>
                  <a:lnTo>
                    <a:pt x="598" y="3979"/>
                  </a:lnTo>
                  <a:lnTo>
                    <a:pt x="0" y="4875"/>
                  </a:lnTo>
                  <a:lnTo>
                    <a:pt x="100" y="6367"/>
                  </a:lnTo>
                  <a:lnTo>
                    <a:pt x="1395" y="7660"/>
                  </a:lnTo>
                  <a:lnTo>
                    <a:pt x="2890" y="8456"/>
                  </a:lnTo>
                  <a:lnTo>
                    <a:pt x="4285" y="9949"/>
                  </a:lnTo>
                  <a:lnTo>
                    <a:pt x="5879" y="10048"/>
                  </a:lnTo>
                  <a:lnTo>
                    <a:pt x="8669" y="6367"/>
                  </a:lnTo>
                  <a:lnTo>
                    <a:pt x="9765" y="5770"/>
                  </a:lnTo>
                  <a:lnTo>
                    <a:pt x="10762" y="5372"/>
                  </a:lnTo>
                  <a:lnTo>
                    <a:pt x="11060" y="4576"/>
                  </a:lnTo>
                  <a:lnTo>
                    <a:pt x="10961" y="3979"/>
                  </a:lnTo>
                  <a:lnTo>
                    <a:pt x="9964" y="258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2" name="Freeform: Shape 1411">
              <a:extLst>
                <a:ext uri="{FF2B5EF4-FFF2-40B4-BE49-F238E27FC236}">
                  <a16:creationId xmlns:a16="http://schemas.microsoft.com/office/drawing/2014/main" id="{9D42055D-D66E-4C49-8CB9-5FC01B94F426}"/>
                </a:ext>
              </a:extLst>
            </p:cNvPr>
            <p:cNvSpPr/>
            <p:nvPr/>
          </p:nvSpPr>
          <p:spPr>
            <a:xfrm>
              <a:off x="-2414842" y="490608"/>
              <a:ext cx="11259" cy="10943"/>
            </a:xfrm>
            <a:custGeom>
              <a:avLst/>
              <a:gdLst>
                <a:gd name="connsiteX0" fmla="*/ 1794 w 11259"/>
                <a:gd name="connsiteY0" fmla="*/ 9153 h 10943"/>
                <a:gd name="connsiteX1" fmla="*/ 5879 w 11259"/>
                <a:gd name="connsiteY1" fmla="*/ 10745 h 10943"/>
                <a:gd name="connsiteX2" fmla="*/ 7274 w 11259"/>
                <a:gd name="connsiteY2" fmla="*/ 10944 h 10943"/>
                <a:gd name="connsiteX3" fmla="*/ 8171 w 11259"/>
                <a:gd name="connsiteY3" fmla="*/ 10247 h 10943"/>
                <a:gd name="connsiteX4" fmla="*/ 8270 w 11259"/>
                <a:gd name="connsiteY4" fmla="*/ 6964 h 10943"/>
                <a:gd name="connsiteX5" fmla="*/ 9167 w 11259"/>
                <a:gd name="connsiteY5" fmla="*/ 5472 h 10943"/>
                <a:gd name="connsiteX6" fmla="*/ 10164 w 11259"/>
                <a:gd name="connsiteY6" fmla="*/ 5074 h 10943"/>
                <a:gd name="connsiteX7" fmla="*/ 11160 w 11259"/>
                <a:gd name="connsiteY7" fmla="*/ 4875 h 10943"/>
                <a:gd name="connsiteX8" fmla="*/ 11260 w 11259"/>
                <a:gd name="connsiteY8" fmla="*/ 3880 h 10943"/>
                <a:gd name="connsiteX9" fmla="*/ 10263 w 11259"/>
                <a:gd name="connsiteY9" fmla="*/ 2786 h 10943"/>
                <a:gd name="connsiteX10" fmla="*/ 9665 w 11259"/>
                <a:gd name="connsiteY10" fmla="*/ 2288 h 10943"/>
                <a:gd name="connsiteX11" fmla="*/ 8171 w 11259"/>
                <a:gd name="connsiteY11" fmla="*/ 1492 h 10943"/>
                <a:gd name="connsiteX12" fmla="*/ 5181 w 11259"/>
                <a:gd name="connsiteY12" fmla="*/ 497 h 10943"/>
                <a:gd name="connsiteX13" fmla="*/ 2491 w 11259"/>
                <a:gd name="connsiteY13" fmla="*/ 0 h 10943"/>
                <a:gd name="connsiteX14" fmla="*/ 199 w 11259"/>
                <a:gd name="connsiteY14" fmla="*/ 398 h 10943"/>
                <a:gd name="connsiteX15" fmla="*/ 0 w 11259"/>
                <a:gd name="connsiteY15" fmla="*/ 597 h 10943"/>
                <a:gd name="connsiteX16" fmla="*/ 199 w 11259"/>
                <a:gd name="connsiteY16" fmla="*/ 696 h 10943"/>
                <a:gd name="connsiteX17" fmla="*/ 1196 w 11259"/>
                <a:gd name="connsiteY17" fmla="*/ 1393 h 10943"/>
                <a:gd name="connsiteX18" fmla="*/ 2690 w 11259"/>
                <a:gd name="connsiteY18" fmla="*/ 1592 h 10943"/>
                <a:gd name="connsiteX19" fmla="*/ 7274 w 11259"/>
                <a:gd name="connsiteY19" fmla="*/ 1393 h 10943"/>
                <a:gd name="connsiteX20" fmla="*/ 7274 w 11259"/>
                <a:gd name="connsiteY20" fmla="*/ 2487 h 10943"/>
                <a:gd name="connsiteX21" fmla="*/ 4484 w 11259"/>
                <a:gd name="connsiteY21" fmla="*/ 3383 h 10943"/>
                <a:gd name="connsiteX22" fmla="*/ 1993 w 11259"/>
                <a:gd name="connsiteY22" fmla="*/ 5472 h 10943"/>
                <a:gd name="connsiteX23" fmla="*/ 1096 w 11259"/>
                <a:gd name="connsiteY23" fmla="*/ 6566 h 10943"/>
                <a:gd name="connsiteX24" fmla="*/ 1196 w 11259"/>
                <a:gd name="connsiteY24" fmla="*/ 7561 h 10943"/>
                <a:gd name="connsiteX25" fmla="*/ 1794 w 11259"/>
                <a:gd name="connsiteY25" fmla="*/ 9153 h 10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259" h="10943">
                  <a:moveTo>
                    <a:pt x="1794" y="9153"/>
                  </a:moveTo>
                  <a:lnTo>
                    <a:pt x="5879" y="10745"/>
                  </a:lnTo>
                  <a:lnTo>
                    <a:pt x="7274" y="10944"/>
                  </a:lnTo>
                  <a:lnTo>
                    <a:pt x="8171" y="10247"/>
                  </a:lnTo>
                  <a:lnTo>
                    <a:pt x="8270" y="6964"/>
                  </a:lnTo>
                  <a:lnTo>
                    <a:pt x="9167" y="5472"/>
                  </a:lnTo>
                  <a:lnTo>
                    <a:pt x="10164" y="5074"/>
                  </a:lnTo>
                  <a:lnTo>
                    <a:pt x="11160" y="4875"/>
                  </a:lnTo>
                  <a:lnTo>
                    <a:pt x="11260" y="3880"/>
                  </a:lnTo>
                  <a:lnTo>
                    <a:pt x="10263" y="2786"/>
                  </a:lnTo>
                  <a:lnTo>
                    <a:pt x="9665" y="2288"/>
                  </a:lnTo>
                  <a:lnTo>
                    <a:pt x="8171" y="1492"/>
                  </a:lnTo>
                  <a:lnTo>
                    <a:pt x="5181" y="497"/>
                  </a:lnTo>
                  <a:lnTo>
                    <a:pt x="2491" y="0"/>
                  </a:lnTo>
                  <a:lnTo>
                    <a:pt x="199" y="398"/>
                  </a:lnTo>
                  <a:lnTo>
                    <a:pt x="0" y="597"/>
                  </a:lnTo>
                  <a:lnTo>
                    <a:pt x="199" y="696"/>
                  </a:lnTo>
                  <a:lnTo>
                    <a:pt x="1196" y="1393"/>
                  </a:lnTo>
                  <a:lnTo>
                    <a:pt x="2690" y="1592"/>
                  </a:lnTo>
                  <a:lnTo>
                    <a:pt x="7274" y="1393"/>
                  </a:lnTo>
                  <a:lnTo>
                    <a:pt x="7274" y="2487"/>
                  </a:lnTo>
                  <a:lnTo>
                    <a:pt x="4484" y="3383"/>
                  </a:lnTo>
                  <a:lnTo>
                    <a:pt x="1993" y="5472"/>
                  </a:lnTo>
                  <a:lnTo>
                    <a:pt x="1096" y="6566"/>
                  </a:lnTo>
                  <a:lnTo>
                    <a:pt x="1196" y="7561"/>
                  </a:lnTo>
                  <a:lnTo>
                    <a:pt x="1794" y="915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3" name="Freeform: Shape 1412">
              <a:extLst>
                <a:ext uri="{FF2B5EF4-FFF2-40B4-BE49-F238E27FC236}">
                  <a16:creationId xmlns:a16="http://schemas.microsoft.com/office/drawing/2014/main" id="{11C3151E-EF33-4EE1-8BD8-20BD860DE579}"/>
                </a:ext>
              </a:extLst>
            </p:cNvPr>
            <p:cNvSpPr/>
            <p:nvPr/>
          </p:nvSpPr>
          <p:spPr>
            <a:xfrm>
              <a:off x="-2477817" y="255618"/>
              <a:ext cx="37466" cy="12435"/>
            </a:xfrm>
            <a:custGeom>
              <a:avLst/>
              <a:gdLst>
                <a:gd name="connsiteX0" fmla="*/ 7872 w 37466"/>
                <a:gd name="connsiteY0" fmla="*/ 12038 h 12435"/>
                <a:gd name="connsiteX1" fmla="*/ 9466 w 37466"/>
                <a:gd name="connsiteY1" fmla="*/ 12436 h 12435"/>
                <a:gd name="connsiteX2" fmla="*/ 28598 w 37466"/>
                <a:gd name="connsiteY2" fmla="*/ 10048 h 12435"/>
                <a:gd name="connsiteX3" fmla="*/ 29694 w 37466"/>
                <a:gd name="connsiteY3" fmla="*/ 10247 h 12435"/>
                <a:gd name="connsiteX4" fmla="*/ 30790 w 37466"/>
                <a:gd name="connsiteY4" fmla="*/ 9252 h 12435"/>
                <a:gd name="connsiteX5" fmla="*/ 32285 w 37466"/>
                <a:gd name="connsiteY5" fmla="*/ 8456 h 12435"/>
                <a:gd name="connsiteX6" fmla="*/ 33879 w 37466"/>
                <a:gd name="connsiteY6" fmla="*/ 8456 h 12435"/>
                <a:gd name="connsiteX7" fmla="*/ 35274 w 37466"/>
                <a:gd name="connsiteY7" fmla="*/ 8655 h 12435"/>
                <a:gd name="connsiteX8" fmla="*/ 36470 w 37466"/>
                <a:gd name="connsiteY8" fmla="*/ 8158 h 12435"/>
                <a:gd name="connsiteX9" fmla="*/ 37466 w 37466"/>
                <a:gd name="connsiteY9" fmla="*/ 6069 h 12435"/>
                <a:gd name="connsiteX10" fmla="*/ 35274 w 37466"/>
                <a:gd name="connsiteY10" fmla="*/ 5671 h 12435"/>
                <a:gd name="connsiteX11" fmla="*/ 33082 w 37466"/>
                <a:gd name="connsiteY11" fmla="*/ 4079 h 12435"/>
                <a:gd name="connsiteX12" fmla="*/ 29794 w 37466"/>
                <a:gd name="connsiteY12" fmla="*/ 298 h 12435"/>
                <a:gd name="connsiteX13" fmla="*/ 25110 w 37466"/>
                <a:gd name="connsiteY13" fmla="*/ 0 h 12435"/>
                <a:gd name="connsiteX14" fmla="*/ 23616 w 37466"/>
                <a:gd name="connsiteY14" fmla="*/ 298 h 12435"/>
                <a:gd name="connsiteX15" fmla="*/ 22320 w 37466"/>
                <a:gd name="connsiteY15" fmla="*/ 1094 h 12435"/>
                <a:gd name="connsiteX16" fmla="*/ 20327 w 37466"/>
                <a:gd name="connsiteY16" fmla="*/ 3283 h 12435"/>
                <a:gd name="connsiteX17" fmla="*/ 19630 w 37466"/>
                <a:gd name="connsiteY17" fmla="*/ 3780 h 12435"/>
                <a:gd name="connsiteX18" fmla="*/ 0 w 37466"/>
                <a:gd name="connsiteY18" fmla="*/ 7959 h 12435"/>
                <a:gd name="connsiteX19" fmla="*/ 3288 w 37466"/>
                <a:gd name="connsiteY19" fmla="*/ 8954 h 12435"/>
                <a:gd name="connsiteX20" fmla="*/ 7872 w 37466"/>
                <a:gd name="connsiteY20" fmla="*/ 12038 h 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7466" h="12435">
                  <a:moveTo>
                    <a:pt x="7872" y="12038"/>
                  </a:moveTo>
                  <a:lnTo>
                    <a:pt x="9466" y="12436"/>
                  </a:lnTo>
                  <a:lnTo>
                    <a:pt x="28598" y="10048"/>
                  </a:lnTo>
                  <a:lnTo>
                    <a:pt x="29694" y="10247"/>
                  </a:lnTo>
                  <a:lnTo>
                    <a:pt x="30790" y="9252"/>
                  </a:lnTo>
                  <a:lnTo>
                    <a:pt x="32285" y="8456"/>
                  </a:lnTo>
                  <a:lnTo>
                    <a:pt x="33879" y="8456"/>
                  </a:lnTo>
                  <a:lnTo>
                    <a:pt x="35274" y="8655"/>
                  </a:lnTo>
                  <a:lnTo>
                    <a:pt x="36470" y="8158"/>
                  </a:lnTo>
                  <a:lnTo>
                    <a:pt x="37466" y="6069"/>
                  </a:lnTo>
                  <a:lnTo>
                    <a:pt x="35274" y="5671"/>
                  </a:lnTo>
                  <a:lnTo>
                    <a:pt x="33082" y="4079"/>
                  </a:lnTo>
                  <a:lnTo>
                    <a:pt x="29794" y="298"/>
                  </a:lnTo>
                  <a:lnTo>
                    <a:pt x="25110" y="0"/>
                  </a:lnTo>
                  <a:lnTo>
                    <a:pt x="23616" y="298"/>
                  </a:lnTo>
                  <a:lnTo>
                    <a:pt x="22320" y="1094"/>
                  </a:lnTo>
                  <a:lnTo>
                    <a:pt x="20327" y="3283"/>
                  </a:lnTo>
                  <a:lnTo>
                    <a:pt x="19630" y="3780"/>
                  </a:lnTo>
                  <a:lnTo>
                    <a:pt x="0" y="7959"/>
                  </a:lnTo>
                  <a:lnTo>
                    <a:pt x="3288" y="8954"/>
                  </a:lnTo>
                  <a:lnTo>
                    <a:pt x="7872" y="1203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4" name="Freeform: Shape 1413">
              <a:extLst>
                <a:ext uri="{FF2B5EF4-FFF2-40B4-BE49-F238E27FC236}">
                  <a16:creationId xmlns:a16="http://schemas.microsoft.com/office/drawing/2014/main" id="{2BC4713A-8412-4F51-9BE8-34E973531986}"/>
                </a:ext>
              </a:extLst>
            </p:cNvPr>
            <p:cNvSpPr/>
            <p:nvPr/>
          </p:nvSpPr>
          <p:spPr>
            <a:xfrm>
              <a:off x="-2490671" y="263577"/>
              <a:ext cx="42548" cy="6665"/>
            </a:xfrm>
            <a:custGeom>
              <a:avLst/>
              <a:gdLst>
                <a:gd name="connsiteX0" fmla="*/ 0 w 42548"/>
                <a:gd name="connsiteY0" fmla="*/ 4079 h 6665"/>
                <a:gd name="connsiteX1" fmla="*/ 22320 w 42548"/>
                <a:gd name="connsiteY1" fmla="*/ 6666 h 6665"/>
                <a:gd name="connsiteX2" fmla="*/ 26007 w 42548"/>
                <a:gd name="connsiteY2" fmla="*/ 5870 h 6665"/>
                <a:gd name="connsiteX3" fmla="*/ 26804 w 42548"/>
                <a:gd name="connsiteY3" fmla="*/ 5273 h 6665"/>
                <a:gd name="connsiteX4" fmla="*/ 40356 w 42548"/>
                <a:gd name="connsiteY4" fmla="*/ 4079 h 6665"/>
                <a:gd name="connsiteX5" fmla="*/ 41053 w 42548"/>
                <a:gd name="connsiteY5" fmla="*/ 3582 h 6665"/>
                <a:gd name="connsiteX6" fmla="*/ 42548 w 42548"/>
                <a:gd name="connsiteY6" fmla="*/ 2288 h 6665"/>
                <a:gd name="connsiteX7" fmla="*/ 41452 w 42548"/>
                <a:gd name="connsiteY7" fmla="*/ 2089 h 6665"/>
                <a:gd name="connsiteX8" fmla="*/ 22320 w 42548"/>
                <a:gd name="connsiteY8" fmla="*/ 4477 h 6665"/>
                <a:gd name="connsiteX9" fmla="*/ 20726 w 42548"/>
                <a:gd name="connsiteY9" fmla="*/ 4079 h 6665"/>
                <a:gd name="connsiteX10" fmla="*/ 16142 w 42548"/>
                <a:gd name="connsiteY10" fmla="*/ 995 h 6665"/>
                <a:gd name="connsiteX11" fmla="*/ 12854 w 42548"/>
                <a:gd name="connsiteY11" fmla="*/ 0 h 6665"/>
                <a:gd name="connsiteX12" fmla="*/ 5082 w 42548"/>
                <a:gd name="connsiteY12" fmla="*/ 1691 h 6665"/>
                <a:gd name="connsiteX13" fmla="*/ 0 w 42548"/>
                <a:gd name="connsiteY13" fmla="*/ 4079 h 6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548" h="6665">
                  <a:moveTo>
                    <a:pt x="0" y="4079"/>
                  </a:moveTo>
                  <a:lnTo>
                    <a:pt x="22320" y="6666"/>
                  </a:lnTo>
                  <a:lnTo>
                    <a:pt x="26007" y="5870"/>
                  </a:lnTo>
                  <a:lnTo>
                    <a:pt x="26804" y="5273"/>
                  </a:lnTo>
                  <a:lnTo>
                    <a:pt x="40356" y="4079"/>
                  </a:lnTo>
                  <a:lnTo>
                    <a:pt x="41053" y="3582"/>
                  </a:lnTo>
                  <a:lnTo>
                    <a:pt x="42548" y="2288"/>
                  </a:lnTo>
                  <a:lnTo>
                    <a:pt x="41452" y="2089"/>
                  </a:lnTo>
                  <a:lnTo>
                    <a:pt x="22320" y="4477"/>
                  </a:lnTo>
                  <a:lnTo>
                    <a:pt x="20726" y="4079"/>
                  </a:lnTo>
                  <a:lnTo>
                    <a:pt x="16142" y="995"/>
                  </a:lnTo>
                  <a:lnTo>
                    <a:pt x="12854" y="0"/>
                  </a:lnTo>
                  <a:lnTo>
                    <a:pt x="5082" y="1691"/>
                  </a:lnTo>
                  <a:lnTo>
                    <a:pt x="0" y="407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5" name="Freeform: Shape 1414">
              <a:extLst>
                <a:ext uri="{FF2B5EF4-FFF2-40B4-BE49-F238E27FC236}">
                  <a16:creationId xmlns:a16="http://schemas.microsoft.com/office/drawing/2014/main" id="{8961671D-8557-43A4-AF0C-4C39D235482B}"/>
                </a:ext>
              </a:extLst>
            </p:cNvPr>
            <p:cNvSpPr/>
            <p:nvPr/>
          </p:nvSpPr>
          <p:spPr>
            <a:xfrm>
              <a:off x="-2292380" y="318793"/>
              <a:ext cx="21423" cy="37108"/>
            </a:xfrm>
            <a:custGeom>
              <a:avLst/>
              <a:gdLst>
                <a:gd name="connsiteX0" fmla="*/ 4085 w 21423"/>
                <a:gd name="connsiteY0" fmla="*/ 15122 h 37108"/>
                <a:gd name="connsiteX1" fmla="*/ 1196 w 21423"/>
                <a:gd name="connsiteY1" fmla="*/ 18107 h 37108"/>
                <a:gd name="connsiteX2" fmla="*/ 0 w 21423"/>
                <a:gd name="connsiteY2" fmla="*/ 19897 h 37108"/>
                <a:gd name="connsiteX3" fmla="*/ 897 w 21423"/>
                <a:gd name="connsiteY3" fmla="*/ 21788 h 37108"/>
                <a:gd name="connsiteX4" fmla="*/ 5879 w 21423"/>
                <a:gd name="connsiteY4" fmla="*/ 25966 h 37108"/>
                <a:gd name="connsiteX5" fmla="*/ 6676 w 21423"/>
                <a:gd name="connsiteY5" fmla="*/ 27260 h 37108"/>
                <a:gd name="connsiteX6" fmla="*/ 6776 w 21423"/>
                <a:gd name="connsiteY6" fmla="*/ 28752 h 37108"/>
                <a:gd name="connsiteX7" fmla="*/ 6676 w 21423"/>
                <a:gd name="connsiteY7" fmla="*/ 30742 h 37108"/>
                <a:gd name="connsiteX8" fmla="*/ 6377 w 21423"/>
                <a:gd name="connsiteY8" fmla="*/ 32234 h 37108"/>
                <a:gd name="connsiteX9" fmla="*/ 6278 w 21423"/>
                <a:gd name="connsiteY9" fmla="*/ 34522 h 37108"/>
                <a:gd name="connsiteX10" fmla="*/ 6875 w 21423"/>
                <a:gd name="connsiteY10" fmla="*/ 36512 h 37108"/>
                <a:gd name="connsiteX11" fmla="*/ 9267 w 21423"/>
                <a:gd name="connsiteY11" fmla="*/ 37109 h 37108"/>
                <a:gd name="connsiteX12" fmla="*/ 10562 w 21423"/>
                <a:gd name="connsiteY12" fmla="*/ 35815 h 37108"/>
                <a:gd name="connsiteX13" fmla="*/ 12256 w 21423"/>
                <a:gd name="connsiteY13" fmla="*/ 31239 h 37108"/>
                <a:gd name="connsiteX14" fmla="*/ 14050 w 21423"/>
                <a:gd name="connsiteY14" fmla="*/ 30244 h 37108"/>
                <a:gd name="connsiteX15" fmla="*/ 17836 w 21423"/>
                <a:gd name="connsiteY15" fmla="*/ 29448 h 37108"/>
                <a:gd name="connsiteX16" fmla="*/ 21423 w 21423"/>
                <a:gd name="connsiteY16" fmla="*/ 27857 h 37108"/>
                <a:gd name="connsiteX17" fmla="*/ 20228 w 21423"/>
                <a:gd name="connsiteY17" fmla="*/ 26165 h 37108"/>
                <a:gd name="connsiteX18" fmla="*/ 19530 w 21423"/>
                <a:gd name="connsiteY18" fmla="*/ 24673 h 37108"/>
                <a:gd name="connsiteX19" fmla="*/ 19032 w 21423"/>
                <a:gd name="connsiteY19" fmla="*/ 22882 h 37108"/>
                <a:gd name="connsiteX20" fmla="*/ 18932 w 21423"/>
                <a:gd name="connsiteY20" fmla="*/ 20295 h 37108"/>
                <a:gd name="connsiteX21" fmla="*/ 18434 w 21423"/>
                <a:gd name="connsiteY21" fmla="*/ 19897 h 37108"/>
                <a:gd name="connsiteX22" fmla="*/ 17537 w 21423"/>
                <a:gd name="connsiteY22" fmla="*/ 18903 h 37108"/>
                <a:gd name="connsiteX23" fmla="*/ 17039 w 21423"/>
                <a:gd name="connsiteY23" fmla="*/ 17908 h 37108"/>
                <a:gd name="connsiteX24" fmla="*/ 17537 w 21423"/>
                <a:gd name="connsiteY24" fmla="*/ 17410 h 37108"/>
                <a:gd name="connsiteX25" fmla="*/ 17836 w 21423"/>
                <a:gd name="connsiteY25" fmla="*/ 17012 h 37108"/>
                <a:gd name="connsiteX26" fmla="*/ 18036 w 21423"/>
                <a:gd name="connsiteY26" fmla="*/ 16017 h 37108"/>
                <a:gd name="connsiteX27" fmla="*/ 18036 w 21423"/>
                <a:gd name="connsiteY27" fmla="*/ 14923 h 37108"/>
                <a:gd name="connsiteX28" fmla="*/ 17936 w 21423"/>
                <a:gd name="connsiteY28" fmla="*/ 13928 h 37108"/>
                <a:gd name="connsiteX29" fmla="*/ 16541 w 21423"/>
                <a:gd name="connsiteY29" fmla="*/ 10844 h 37108"/>
                <a:gd name="connsiteX30" fmla="*/ 9267 w 21423"/>
                <a:gd name="connsiteY30" fmla="*/ 1293 h 37108"/>
                <a:gd name="connsiteX31" fmla="*/ 8171 w 21423"/>
                <a:gd name="connsiteY31" fmla="*/ 199 h 37108"/>
                <a:gd name="connsiteX32" fmla="*/ 7473 w 21423"/>
                <a:gd name="connsiteY32" fmla="*/ 0 h 37108"/>
                <a:gd name="connsiteX33" fmla="*/ 6676 w 21423"/>
                <a:gd name="connsiteY33" fmla="*/ 100 h 37108"/>
                <a:gd name="connsiteX34" fmla="*/ 7473 w 21423"/>
                <a:gd name="connsiteY34" fmla="*/ 1890 h 37108"/>
                <a:gd name="connsiteX35" fmla="*/ 9665 w 21423"/>
                <a:gd name="connsiteY35" fmla="*/ 5671 h 37108"/>
                <a:gd name="connsiteX36" fmla="*/ 10164 w 21423"/>
                <a:gd name="connsiteY36" fmla="*/ 7561 h 37108"/>
                <a:gd name="connsiteX37" fmla="*/ 9367 w 21423"/>
                <a:gd name="connsiteY37" fmla="*/ 9252 h 37108"/>
                <a:gd name="connsiteX38" fmla="*/ 4085 w 21423"/>
                <a:gd name="connsiteY38" fmla="*/ 15122 h 37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1423" h="37108">
                  <a:moveTo>
                    <a:pt x="4085" y="15122"/>
                  </a:moveTo>
                  <a:lnTo>
                    <a:pt x="1196" y="18107"/>
                  </a:lnTo>
                  <a:lnTo>
                    <a:pt x="0" y="19897"/>
                  </a:lnTo>
                  <a:lnTo>
                    <a:pt x="897" y="21788"/>
                  </a:lnTo>
                  <a:lnTo>
                    <a:pt x="5879" y="25966"/>
                  </a:lnTo>
                  <a:lnTo>
                    <a:pt x="6676" y="27260"/>
                  </a:lnTo>
                  <a:lnTo>
                    <a:pt x="6776" y="28752"/>
                  </a:lnTo>
                  <a:lnTo>
                    <a:pt x="6676" y="30742"/>
                  </a:lnTo>
                  <a:lnTo>
                    <a:pt x="6377" y="32234"/>
                  </a:lnTo>
                  <a:lnTo>
                    <a:pt x="6278" y="34522"/>
                  </a:lnTo>
                  <a:lnTo>
                    <a:pt x="6875" y="36512"/>
                  </a:lnTo>
                  <a:lnTo>
                    <a:pt x="9267" y="37109"/>
                  </a:lnTo>
                  <a:lnTo>
                    <a:pt x="10562" y="35815"/>
                  </a:lnTo>
                  <a:lnTo>
                    <a:pt x="12256" y="31239"/>
                  </a:lnTo>
                  <a:lnTo>
                    <a:pt x="14050" y="30244"/>
                  </a:lnTo>
                  <a:lnTo>
                    <a:pt x="17836" y="29448"/>
                  </a:lnTo>
                  <a:lnTo>
                    <a:pt x="21423" y="27857"/>
                  </a:lnTo>
                  <a:lnTo>
                    <a:pt x="20228" y="26165"/>
                  </a:lnTo>
                  <a:lnTo>
                    <a:pt x="19530" y="24673"/>
                  </a:lnTo>
                  <a:lnTo>
                    <a:pt x="19032" y="22882"/>
                  </a:lnTo>
                  <a:lnTo>
                    <a:pt x="18932" y="20295"/>
                  </a:lnTo>
                  <a:lnTo>
                    <a:pt x="18434" y="19897"/>
                  </a:lnTo>
                  <a:lnTo>
                    <a:pt x="17537" y="18903"/>
                  </a:lnTo>
                  <a:lnTo>
                    <a:pt x="17039" y="17908"/>
                  </a:lnTo>
                  <a:lnTo>
                    <a:pt x="17537" y="17410"/>
                  </a:lnTo>
                  <a:lnTo>
                    <a:pt x="17836" y="17012"/>
                  </a:lnTo>
                  <a:lnTo>
                    <a:pt x="18036" y="16017"/>
                  </a:lnTo>
                  <a:lnTo>
                    <a:pt x="18036" y="14923"/>
                  </a:lnTo>
                  <a:lnTo>
                    <a:pt x="17936" y="13928"/>
                  </a:lnTo>
                  <a:lnTo>
                    <a:pt x="16541" y="10844"/>
                  </a:lnTo>
                  <a:lnTo>
                    <a:pt x="9267" y="1293"/>
                  </a:lnTo>
                  <a:lnTo>
                    <a:pt x="8171" y="199"/>
                  </a:lnTo>
                  <a:lnTo>
                    <a:pt x="7473" y="0"/>
                  </a:lnTo>
                  <a:lnTo>
                    <a:pt x="6676" y="100"/>
                  </a:lnTo>
                  <a:lnTo>
                    <a:pt x="7473" y="1890"/>
                  </a:lnTo>
                  <a:lnTo>
                    <a:pt x="9665" y="5671"/>
                  </a:lnTo>
                  <a:lnTo>
                    <a:pt x="10164" y="7561"/>
                  </a:lnTo>
                  <a:lnTo>
                    <a:pt x="9367" y="9252"/>
                  </a:lnTo>
                  <a:lnTo>
                    <a:pt x="4085" y="1512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6" name="Freeform: Shape 1415">
              <a:extLst>
                <a:ext uri="{FF2B5EF4-FFF2-40B4-BE49-F238E27FC236}">
                  <a16:creationId xmlns:a16="http://schemas.microsoft.com/office/drawing/2014/main" id="{DE3765AC-57EB-4129-A0E4-9EF2B0C4FC4C}"/>
                </a:ext>
              </a:extLst>
            </p:cNvPr>
            <p:cNvSpPr/>
            <p:nvPr/>
          </p:nvSpPr>
          <p:spPr>
            <a:xfrm>
              <a:off x="-2336024" y="284171"/>
              <a:ext cx="45138" cy="52827"/>
            </a:xfrm>
            <a:custGeom>
              <a:avLst/>
              <a:gdLst>
                <a:gd name="connsiteX0" fmla="*/ 9466 w 45138"/>
                <a:gd name="connsiteY0" fmla="*/ 16117 h 52827"/>
                <a:gd name="connsiteX1" fmla="*/ 4185 w 45138"/>
                <a:gd name="connsiteY1" fmla="*/ 14625 h 52827"/>
                <a:gd name="connsiteX2" fmla="*/ 1196 w 45138"/>
                <a:gd name="connsiteY2" fmla="*/ 14923 h 52827"/>
                <a:gd name="connsiteX3" fmla="*/ 0 w 45138"/>
                <a:gd name="connsiteY3" fmla="*/ 17808 h 52827"/>
                <a:gd name="connsiteX4" fmla="*/ 797 w 45138"/>
                <a:gd name="connsiteY4" fmla="*/ 21987 h 52827"/>
                <a:gd name="connsiteX5" fmla="*/ 2790 w 45138"/>
                <a:gd name="connsiteY5" fmla="*/ 23877 h 52827"/>
                <a:gd name="connsiteX6" fmla="*/ 5580 w 45138"/>
                <a:gd name="connsiteY6" fmla="*/ 24175 h 52827"/>
                <a:gd name="connsiteX7" fmla="*/ 8669 w 45138"/>
                <a:gd name="connsiteY7" fmla="*/ 22982 h 52827"/>
                <a:gd name="connsiteX8" fmla="*/ 9665 w 45138"/>
                <a:gd name="connsiteY8" fmla="*/ 22086 h 52827"/>
                <a:gd name="connsiteX9" fmla="*/ 10562 w 45138"/>
                <a:gd name="connsiteY9" fmla="*/ 20892 h 52827"/>
                <a:gd name="connsiteX10" fmla="*/ 11559 w 45138"/>
                <a:gd name="connsiteY10" fmla="*/ 19897 h 52827"/>
                <a:gd name="connsiteX11" fmla="*/ 14947 w 45138"/>
                <a:gd name="connsiteY11" fmla="*/ 19201 h 52827"/>
                <a:gd name="connsiteX12" fmla="*/ 16142 w 45138"/>
                <a:gd name="connsiteY12" fmla="*/ 18803 h 52827"/>
                <a:gd name="connsiteX13" fmla="*/ 17238 w 45138"/>
                <a:gd name="connsiteY13" fmla="*/ 18803 h 52827"/>
                <a:gd name="connsiteX14" fmla="*/ 18633 w 45138"/>
                <a:gd name="connsiteY14" fmla="*/ 20096 h 52827"/>
                <a:gd name="connsiteX15" fmla="*/ 20028 w 45138"/>
                <a:gd name="connsiteY15" fmla="*/ 20892 h 52827"/>
                <a:gd name="connsiteX16" fmla="*/ 21523 w 45138"/>
                <a:gd name="connsiteY16" fmla="*/ 20295 h 52827"/>
                <a:gd name="connsiteX17" fmla="*/ 22918 w 45138"/>
                <a:gd name="connsiteY17" fmla="*/ 19500 h 52827"/>
                <a:gd name="connsiteX18" fmla="*/ 24313 w 45138"/>
                <a:gd name="connsiteY18" fmla="*/ 19500 h 52827"/>
                <a:gd name="connsiteX19" fmla="*/ 24413 w 45138"/>
                <a:gd name="connsiteY19" fmla="*/ 20196 h 52827"/>
                <a:gd name="connsiteX20" fmla="*/ 28399 w 45138"/>
                <a:gd name="connsiteY20" fmla="*/ 29548 h 52827"/>
                <a:gd name="connsiteX21" fmla="*/ 30093 w 45138"/>
                <a:gd name="connsiteY21" fmla="*/ 32234 h 52827"/>
                <a:gd name="connsiteX22" fmla="*/ 33979 w 45138"/>
                <a:gd name="connsiteY22" fmla="*/ 34821 h 52827"/>
                <a:gd name="connsiteX23" fmla="*/ 34776 w 45138"/>
                <a:gd name="connsiteY23" fmla="*/ 38004 h 52827"/>
                <a:gd name="connsiteX24" fmla="*/ 34477 w 45138"/>
                <a:gd name="connsiteY24" fmla="*/ 41785 h 52827"/>
                <a:gd name="connsiteX25" fmla="*/ 33779 w 45138"/>
                <a:gd name="connsiteY25" fmla="*/ 44968 h 52827"/>
                <a:gd name="connsiteX26" fmla="*/ 31886 w 45138"/>
                <a:gd name="connsiteY26" fmla="*/ 50341 h 52827"/>
                <a:gd name="connsiteX27" fmla="*/ 31687 w 45138"/>
                <a:gd name="connsiteY27" fmla="*/ 51435 h 52827"/>
                <a:gd name="connsiteX28" fmla="*/ 33181 w 45138"/>
                <a:gd name="connsiteY28" fmla="*/ 52828 h 52827"/>
                <a:gd name="connsiteX29" fmla="*/ 34178 w 45138"/>
                <a:gd name="connsiteY29" fmla="*/ 52529 h 52827"/>
                <a:gd name="connsiteX30" fmla="*/ 34975 w 45138"/>
                <a:gd name="connsiteY30" fmla="*/ 51435 h 52827"/>
                <a:gd name="connsiteX31" fmla="*/ 37765 w 45138"/>
                <a:gd name="connsiteY31" fmla="*/ 49545 h 52827"/>
                <a:gd name="connsiteX32" fmla="*/ 39061 w 45138"/>
                <a:gd name="connsiteY32" fmla="*/ 46361 h 52827"/>
                <a:gd name="connsiteX33" fmla="*/ 40754 w 45138"/>
                <a:gd name="connsiteY33" fmla="*/ 39298 h 52827"/>
                <a:gd name="connsiteX34" fmla="*/ 41651 w 45138"/>
                <a:gd name="connsiteY34" fmla="*/ 40491 h 52827"/>
                <a:gd name="connsiteX35" fmla="*/ 42947 w 45138"/>
                <a:gd name="connsiteY35" fmla="*/ 41287 h 52827"/>
                <a:gd name="connsiteX36" fmla="*/ 44242 w 45138"/>
                <a:gd name="connsiteY36" fmla="*/ 41188 h 52827"/>
                <a:gd name="connsiteX37" fmla="*/ 45139 w 45138"/>
                <a:gd name="connsiteY37" fmla="*/ 39298 h 52827"/>
                <a:gd name="connsiteX38" fmla="*/ 45039 w 45138"/>
                <a:gd name="connsiteY38" fmla="*/ 37009 h 52827"/>
                <a:gd name="connsiteX39" fmla="*/ 44043 w 45138"/>
                <a:gd name="connsiteY39" fmla="*/ 34920 h 52827"/>
                <a:gd name="connsiteX40" fmla="*/ 43046 w 45138"/>
                <a:gd name="connsiteY40" fmla="*/ 33129 h 52827"/>
                <a:gd name="connsiteX41" fmla="*/ 42548 w 45138"/>
                <a:gd name="connsiteY41" fmla="*/ 31736 h 52827"/>
                <a:gd name="connsiteX42" fmla="*/ 41452 w 45138"/>
                <a:gd name="connsiteY42" fmla="*/ 29747 h 52827"/>
                <a:gd name="connsiteX43" fmla="*/ 36669 w 45138"/>
                <a:gd name="connsiteY43" fmla="*/ 23777 h 52827"/>
                <a:gd name="connsiteX44" fmla="*/ 34875 w 45138"/>
                <a:gd name="connsiteY44" fmla="*/ 19698 h 52827"/>
                <a:gd name="connsiteX45" fmla="*/ 31886 w 45138"/>
                <a:gd name="connsiteY45" fmla="*/ 15719 h 52827"/>
                <a:gd name="connsiteX46" fmla="*/ 31189 w 45138"/>
                <a:gd name="connsiteY46" fmla="*/ 14227 h 52827"/>
                <a:gd name="connsiteX47" fmla="*/ 30989 w 45138"/>
                <a:gd name="connsiteY47" fmla="*/ 12834 h 52827"/>
                <a:gd name="connsiteX48" fmla="*/ 29993 w 45138"/>
                <a:gd name="connsiteY48" fmla="*/ 8954 h 52827"/>
                <a:gd name="connsiteX49" fmla="*/ 29495 w 45138"/>
                <a:gd name="connsiteY49" fmla="*/ 7859 h 52827"/>
                <a:gd name="connsiteX50" fmla="*/ 28698 w 45138"/>
                <a:gd name="connsiteY50" fmla="*/ 7561 h 52827"/>
                <a:gd name="connsiteX51" fmla="*/ 26804 w 45138"/>
                <a:gd name="connsiteY51" fmla="*/ 7959 h 52827"/>
                <a:gd name="connsiteX52" fmla="*/ 26007 w 45138"/>
                <a:gd name="connsiteY52" fmla="*/ 7859 h 52827"/>
                <a:gd name="connsiteX53" fmla="*/ 25210 w 45138"/>
                <a:gd name="connsiteY53" fmla="*/ 6964 h 52827"/>
                <a:gd name="connsiteX54" fmla="*/ 23815 w 45138"/>
                <a:gd name="connsiteY54" fmla="*/ 4775 h 52827"/>
                <a:gd name="connsiteX55" fmla="*/ 22918 w 45138"/>
                <a:gd name="connsiteY55" fmla="*/ 4377 h 52827"/>
                <a:gd name="connsiteX56" fmla="*/ 21523 w 45138"/>
                <a:gd name="connsiteY56" fmla="*/ 3880 h 52827"/>
                <a:gd name="connsiteX57" fmla="*/ 14747 w 45138"/>
                <a:gd name="connsiteY57" fmla="*/ 0 h 52827"/>
                <a:gd name="connsiteX58" fmla="*/ 13153 w 45138"/>
                <a:gd name="connsiteY58" fmla="*/ 1691 h 52827"/>
                <a:gd name="connsiteX59" fmla="*/ 11858 w 45138"/>
                <a:gd name="connsiteY59" fmla="*/ 4377 h 52827"/>
                <a:gd name="connsiteX60" fmla="*/ 11359 w 45138"/>
                <a:gd name="connsiteY60" fmla="*/ 6765 h 52827"/>
                <a:gd name="connsiteX61" fmla="*/ 11459 w 45138"/>
                <a:gd name="connsiteY61" fmla="*/ 9650 h 52827"/>
                <a:gd name="connsiteX62" fmla="*/ 11758 w 45138"/>
                <a:gd name="connsiteY62" fmla="*/ 12535 h 52827"/>
                <a:gd name="connsiteX63" fmla="*/ 11459 w 45138"/>
                <a:gd name="connsiteY63" fmla="*/ 14824 h 52827"/>
                <a:gd name="connsiteX64" fmla="*/ 9466 w 45138"/>
                <a:gd name="connsiteY64" fmla="*/ 16117 h 52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5138" h="52827">
                  <a:moveTo>
                    <a:pt x="9466" y="16117"/>
                  </a:moveTo>
                  <a:lnTo>
                    <a:pt x="4185" y="14625"/>
                  </a:lnTo>
                  <a:lnTo>
                    <a:pt x="1196" y="14923"/>
                  </a:lnTo>
                  <a:lnTo>
                    <a:pt x="0" y="17808"/>
                  </a:lnTo>
                  <a:lnTo>
                    <a:pt x="797" y="21987"/>
                  </a:lnTo>
                  <a:lnTo>
                    <a:pt x="2790" y="23877"/>
                  </a:lnTo>
                  <a:lnTo>
                    <a:pt x="5580" y="24175"/>
                  </a:lnTo>
                  <a:lnTo>
                    <a:pt x="8669" y="22982"/>
                  </a:lnTo>
                  <a:lnTo>
                    <a:pt x="9665" y="22086"/>
                  </a:lnTo>
                  <a:lnTo>
                    <a:pt x="10562" y="20892"/>
                  </a:lnTo>
                  <a:lnTo>
                    <a:pt x="11559" y="19897"/>
                  </a:lnTo>
                  <a:lnTo>
                    <a:pt x="14947" y="19201"/>
                  </a:lnTo>
                  <a:lnTo>
                    <a:pt x="16142" y="18803"/>
                  </a:lnTo>
                  <a:lnTo>
                    <a:pt x="17238" y="18803"/>
                  </a:lnTo>
                  <a:lnTo>
                    <a:pt x="18633" y="20096"/>
                  </a:lnTo>
                  <a:lnTo>
                    <a:pt x="20028" y="20892"/>
                  </a:lnTo>
                  <a:lnTo>
                    <a:pt x="21523" y="20295"/>
                  </a:lnTo>
                  <a:lnTo>
                    <a:pt x="22918" y="19500"/>
                  </a:lnTo>
                  <a:lnTo>
                    <a:pt x="24313" y="19500"/>
                  </a:lnTo>
                  <a:lnTo>
                    <a:pt x="24413" y="20196"/>
                  </a:lnTo>
                  <a:lnTo>
                    <a:pt x="28399" y="29548"/>
                  </a:lnTo>
                  <a:lnTo>
                    <a:pt x="30093" y="32234"/>
                  </a:lnTo>
                  <a:lnTo>
                    <a:pt x="33979" y="34821"/>
                  </a:lnTo>
                  <a:lnTo>
                    <a:pt x="34776" y="38004"/>
                  </a:lnTo>
                  <a:lnTo>
                    <a:pt x="34477" y="41785"/>
                  </a:lnTo>
                  <a:lnTo>
                    <a:pt x="33779" y="44968"/>
                  </a:lnTo>
                  <a:lnTo>
                    <a:pt x="31886" y="50341"/>
                  </a:lnTo>
                  <a:lnTo>
                    <a:pt x="31687" y="51435"/>
                  </a:lnTo>
                  <a:lnTo>
                    <a:pt x="33181" y="52828"/>
                  </a:lnTo>
                  <a:lnTo>
                    <a:pt x="34178" y="52529"/>
                  </a:lnTo>
                  <a:lnTo>
                    <a:pt x="34975" y="51435"/>
                  </a:lnTo>
                  <a:lnTo>
                    <a:pt x="37765" y="49545"/>
                  </a:lnTo>
                  <a:lnTo>
                    <a:pt x="39061" y="46361"/>
                  </a:lnTo>
                  <a:lnTo>
                    <a:pt x="40754" y="39298"/>
                  </a:lnTo>
                  <a:lnTo>
                    <a:pt x="41651" y="40491"/>
                  </a:lnTo>
                  <a:lnTo>
                    <a:pt x="42947" y="41287"/>
                  </a:lnTo>
                  <a:lnTo>
                    <a:pt x="44242" y="41188"/>
                  </a:lnTo>
                  <a:lnTo>
                    <a:pt x="45139" y="39298"/>
                  </a:lnTo>
                  <a:lnTo>
                    <a:pt x="45039" y="37009"/>
                  </a:lnTo>
                  <a:lnTo>
                    <a:pt x="44043" y="34920"/>
                  </a:lnTo>
                  <a:lnTo>
                    <a:pt x="43046" y="33129"/>
                  </a:lnTo>
                  <a:lnTo>
                    <a:pt x="42548" y="31736"/>
                  </a:lnTo>
                  <a:lnTo>
                    <a:pt x="41452" y="29747"/>
                  </a:lnTo>
                  <a:lnTo>
                    <a:pt x="36669" y="23777"/>
                  </a:lnTo>
                  <a:lnTo>
                    <a:pt x="34875" y="19698"/>
                  </a:lnTo>
                  <a:lnTo>
                    <a:pt x="31886" y="15719"/>
                  </a:lnTo>
                  <a:lnTo>
                    <a:pt x="31189" y="14227"/>
                  </a:lnTo>
                  <a:lnTo>
                    <a:pt x="30989" y="12834"/>
                  </a:lnTo>
                  <a:lnTo>
                    <a:pt x="29993" y="8954"/>
                  </a:lnTo>
                  <a:lnTo>
                    <a:pt x="29495" y="7859"/>
                  </a:lnTo>
                  <a:lnTo>
                    <a:pt x="28698" y="7561"/>
                  </a:lnTo>
                  <a:lnTo>
                    <a:pt x="26804" y="7959"/>
                  </a:lnTo>
                  <a:lnTo>
                    <a:pt x="26007" y="7859"/>
                  </a:lnTo>
                  <a:lnTo>
                    <a:pt x="25210" y="6964"/>
                  </a:lnTo>
                  <a:lnTo>
                    <a:pt x="23815" y="4775"/>
                  </a:lnTo>
                  <a:lnTo>
                    <a:pt x="22918" y="4377"/>
                  </a:lnTo>
                  <a:lnTo>
                    <a:pt x="21523" y="3880"/>
                  </a:lnTo>
                  <a:lnTo>
                    <a:pt x="14747" y="0"/>
                  </a:lnTo>
                  <a:lnTo>
                    <a:pt x="13153" y="1691"/>
                  </a:lnTo>
                  <a:lnTo>
                    <a:pt x="11858" y="4377"/>
                  </a:lnTo>
                  <a:lnTo>
                    <a:pt x="11359" y="6765"/>
                  </a:lnTo>
                  <a:lnTo>
                    <a:pt x="11459" y="9650"/>
                  </a:lnTo>
                  <a:lnTo>
                    <a:pt x="11758" y="12535"/>
                  </a:lnTo>
                  <a:lnTo>
                    <a:pt x="11459" y="14824"/>
                  </a:lnTo>
                  <a:lnTo>
                    <a:pt x="9466" y="1611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51C3B62A-DBAE-4492-B7EE-289F2E427088}"/>
                </a:ext>
              </a:extLst>
            </p:cNvPr>
            <p:cNvSpPr/>
            <p:nvPr/>
          </p:nvSpPr>
          <p:spPr>
            <a:xfrm>
              <a:off x="-2482401" y="251340"/>
              <a:ext cx="24711" cy="8754"/>
            </a:xfrm>
            <a:custGeom>
              <a:avLst/>
              <a:gdLst>
                <a:gd name="connsiteX0" fmla="*/ 6078 w 24711"/>
                <a:gd name="connsiteY0" fmla="*/ 8257 h 8754"/>
                <a:gd name="connsiteX1" fmla="*/ 7473 w 24711"/>
                <a:gd name="connsiteY1" fmla="*/ 8755 h 8754"/>
                <a:gd name="connsiteX2" fmla="*/ 9267 w 24711"/>
                <a:gd name="connsiteY2" fmla="*/ 8755 h 8754"/>
                <a:gd name="connsiteX3" fmla="*/ 13452 w 24711"/>
                <a:gd name="connsiteY3" fmla="*/ 7163 h 8754"/>
                <a:gd name="connsiteX4" fmla="*/ 15345 w 24711"/>
                <a:gd name="connsiteY4" fmla="*/ 7263 h 8754"/>
                <a:gd name="connsiteX5" fmla="*/ 16940 w 24711"/>
                <a:gd name="connsiteY5" fmla="*/ 7064 h 8754"/>
                <a:gd name="connsiteX6" fmla="*/ 23416 w 24711"/>
                <a:gd name="connsiteY6" fmla="*/ 4278 h 8754"/>
                <a:gd name="connsiteX7" fmla="*/ 24712 w 24711"/>
                <a:gd name="connsiteY7" fmla="*/ 1990 h 8754"/>
                <a:gd name="connsiteX8" fmla="*/ 22121 w 24711"/>
                <a:gd name="connsiteY8" fmla="*/ 298 h 8754"/>
                <a:gd name="connsiteX9" fmla="*/ 19630 w 24711"/>
                <a:gd name="connsiteY9" fmla="*/ 0 h 8754"/>
                <a:gd name="connsiteX10" fmla="*/ 11160 w 24711"/>
                <a:gd name="connsiteY10" fmla="*/ 298 h 8754"/>
                <a:gd name="connsiteX11" fmla="*/ 1495 w 24711"/>
                <a:gd name="connsiteY11" fmla="*/ 2786 h 8754"/>
                <a:gd name="connsiteX12" fmla="*/ 0 w 24711"/>
                <a:gd name="connsiteY12" fmla="*/ 4576 h 8754"/>
                <a:gd name="connsiteX13" fmla="*/ 1694 w 24711"/>
                <a:gd name="connsiteY13" fmla="*/ 5472 h 8754"/>
                <a:gd name="connsiteX14" fmla="*/ 2890 w 24711"/>
                <a:gd name="connsiteY14" fmla="*/ 5372 h 8754"/>
                <a:gd name="connsiteX15" fmla="*/ 2690 w 24711"/>
                <a:gd name="connsiteY15" fmla="*/ 5770 h 8754"/>
                <a:gd name="connsiteX16" fmla="*/ 3786 w 24711"/>
                <a:gd name="connsiteY16" fmla="*/ 6467 h 8754"/>
                <a:gd name="connsiteX17" fmla="*/ 5979 w 24711"/>
                <a:gd name="connsiteY17" fmla="*/ 7163 h 8754"/>
                <a:gd name="connsiteX18" fmla="*/ 6577 w 24711"/>
                <a:gd name="connsiteY18" fmla="*/ 7561 h 8754"/>
                <a:gd name="connsiteX19" fmla="*/ 5779 w 24711"/>
                <a:gd name="connsiteY19" fmla="*/ 7760 h 8754"/>
                <a:gd name="connsiteX20" fmla="*/ 6078 w 24711"/>
                <a:gd name="connsiteY20" fmla="*/ 8257 h 8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711" h="8754">
                  <a:moveTo>
                    <a:pt x="6078" y="8257"/>
                  </a:moveTo>
                  <a:lnTo>
                    <a:pt x="7473" y="8755"/>
                  </a:lnTo>
                  <a:lnTo>
                    <a:pt x="9267" y="8755"/>
                  </a:lnTo>
                  <a:lnTo>
                    <a:pt x="13452" y="7163"/>
                  </a:lnTo>
                  <a:lnTo>
                    <a:pt x="15345" y="7263"/>
                  </a:lnTo>
                  <a:lnTo>
                    <a:pt x="16940" y="7064"/>
                  </a:lnTo>
                  <a:lnTo>
                    <a:pt x="23416" y="4278"/>
                  </a:lnTo>
                  <a:lnTo>
                    <a:pt x="24712" y="1990"/>
                  </a:lnTo>
                  <a:lnTo>
                    <a:pt x="22121" y="298"/>
                  </a:lnTo>
                  <a:lnTo>
                    <a:pt x="19630" y="0"/>
                  </a:lnTo>
                  <a:lnTo>
                    <a:pt x="11160" y="298"/>
                  </a:lnTo>
                  <a:lnTo>
                    <a:pt x="1495" y="2786"/>
                  </a:lnTo>
                  <a:lnTo>
                    <a:pt x="0" y="4576"/>
                  </a:lnTo>
                  <a:lnTo>
                    <a:pt x="1694" y="5472"/>
                  </a:lnTo>
                  <a:lnTo>
                    <a:pt x="2890" y="5372"/>
                  </a:lnTo>
                  <a:lnTo>
                    <a:pt x="2690" y="5770"/>
                  </a:lnTo>
                  <a:lnTo>
                    <a:pt x="3786" y="6467"/>
                  </a:lnTo>
                  <a:lnTo>
                    <a:pt x="5979" y="7163"/>
                  </a:lnTo>
                  <a:lnTo>
                    <a:pt x="6577" y="7561"/>
                  </a:lnTo>
                  <a:lnTo>
                    <a:pt x="5779" y="7760"/>
                  </a:lnTo>
                  <a:lnTo>
                    <a:pt x="6078" y="825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18BB2E40-26A6-4DE6-9177-8BBAF3FB75E2}"/>
                </a:ext>
              </a:extLst>
            </p:cNvPr>
            <p:cNvSpPr/>
            <p:nvPr/>
          </p:nvSpPr>
          <p:spPr>
            <a:xfrm>
              <a:off x="-2556337" y="244376"/>
              <a:ext cx="38362" cy="6367"/>
            </a:xfrm>
            <a:custGeom>
              <a:avLst/>
              <a:gdLst>
                <a:gd name="connsiteX0" fmla="*/ 12057 w 38362"/>
                <a:gd name="connsiteY0" fmla="*/ 2089 h 6367"/>
                <a:gd name="connsiteX1" fmla="*/ 17836 w 38362"/>
                <a:gd name="connsiteY1" fmla="*/ 4477 h 6367"/>
                <a:gd name="connsiteX2" fmla="*/ 20726 w 38362"/>
                <a:gd name="connsiteY2" fmla="*/ 4974 h 6367"/>
                <a:gd name="connsiteX3" fmla="*/ 30591 w 38362"/>
                <a:gd name="connsiteY3" fmla="*/ 4377 h 6367"/>
                <a:gd name="connsiteX4" fmla="*/ 38363 w 38362"/>
                <a:gd name="connsiteY4" fmla="*/ 6367 h 6367"/>
                <a:gd name="connsiteX5" fmla="*/ 38363 w 38362"/>
                <a:gd name="connsiteY5" fmla="*/ 6367 h 6367"/>
                <a:gd name="connsiteX6" fmla="*/ 35872 w 38362"/>
                <a:gd name="connsiteY6" fmla="*/ 4278 h 6367"/>
                <a:gd name="connsiteX7" fmla="*/ 33082 w 38362"/>
                <a:gd name="connsiteY7" fmla="*/ 1890 h 6367"/>
                <a:gd name="connsiteX8" fmla="*/ 31388 w 38362"/>
                <a:gd name="connsiteY8" fmla="*/ 895 h 6367"/>
                <a:gd name="connsiteX9" fmla="*/ 26306 w 38362"/>
                <a:gd name="connsiteY9" fmla="*/ 1791 h 6367"/>
                <a:gd name="connsiteX10" fmla="*/ 13352 w 38362"/>
                <a:gd name="connsiteY10" fmla="*/ 1492 h 6367"/>
                <a:gd name="connsiteX11" fmla="*/ 8769 w 38362"/>
                <a:gd name="connsiteY11" fmla="*/ 398 h 6367"/>
                <a:gd name="connsiteX12" fmla="*/ 4384 w 38362"/>
                <a:gd name="connsiteY12" fmla="*/ 0 h 6367"/>
                <a:gd name="connsiteX13" fmla="*/ 2391 w 38362"/>
                <a:gd name="connsiteY13" fmla="*/ 796 h 6367"/>
                <a:gd name="connsiteX14" fmla="*/ 100 w 38362"/>
                <a:gd name="connsiteY14" fmla="*/ 2786 h 6367"/>
                <a:gd name="connsiteX15" fmla="*/ 0 w 38362"/>
                <a:gd name="connsiteY15" fmla="*/ 2985 h 6367"/>
                <a:gd name="connsiteX16" fmla="*/ 8968 w 38362"/>
                <a:gd name="connsiteY16" fmla="*/ 1492 h 6367"/>
                <a:gd name="connsiteX17" fmla="*/ 12057 w 38362"/>
                <a:gd name="connsiteY17" fmla="*/ 2089 h 6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362" h="6367">
                  <a:moveTo>
                    <a:pt x="12057" y="2089"/>
                  </a:moveTo>
                  <a:lnTo>
                    <a:pt x="17836" y="4477"/>
                  </a:lnTo>
                  <a:lnTo>
                    <a:pt x="20726" y="4974"/>
                  </a:lnTo>
                  <a:lnTo>
                    <a:pt x="30591" y="4377"/>
                  </a:lnTo>
                  <a:lnTo>
                    <a:pt x="38363" y="6367"/>
                  </a:lnTo>
                  <a:lnTo>
                    <a:pt x="38363" y="6367"/>
                  </a:lnTo>
                  <a:lnTo>
                    <a:pt x="35872" y="4278"/>
                  </a:lnTo>
                  <a:lnTo>
                    <a:pt x="33082" y="1890"/>
                  </a:lnTo>
                  <a:lnTo>
                    <a:pt x="31388" y="895"/>
                  </a:lnTo>
                  <a:lnTo>
                    <a:pt x="26306" y="1791"/>
                  </a:lnTo>
                  <a:lnTo>
                    <a:pt x="13352" y="1492"/>
                  </a:lnTo>
                  <a:lnTo>
                    <a:pt x="8769" y="398"/>
                  </a:lnTo>
                  <a:lnTo>
                    <a:pt x="4384" y="0"/>
                  </a:lnTo>
                  <a:lnTo>
                    <a:pt x="2391" y="796"/>
                  </a:lnTo>
                  <a:lnTo>
                    <a:pt x="100" y="2786"/>
                  </a:lnTo>
                  <a:lnTo>
                    <a:pt x="0" y="2985"/>
                  </a:lnTo>
                  <a:lnTo>
                    <a:pt x="8968" y="1492"/>
                  </a:lnTo>
                  <a:lnTo>
                    <a:pt x="12057" y="208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19" name="Freeform: Shape 1418">
              <a:extLst>
                <a:ext uri="{FF2B5EF4-FFF2-40B4-BE49-F238E27FC236}">
                  <a16:creationId xmlns:a16="http://schemas.microsoft.com/office/drawing/2014/main" id="{68C95FAB-66F3-4BE7-B84E-0B1392DB657D}"/>
                </a:ext>
              </a:extLst>
            </p:cNvPr>
            <p:cNvSpPr/>
            <p:nvPr/>
          </p:nvSpPr>
          <p:spPr>
            <a:xfrm>
              <a:off x="-2557333" y="245869"/>
              <a:ext cx="40156" cy="7063"/>
            </a:xfrm>
            <a:custGeom>
              <a:avLst/>
              <a:gdLst>
                <a:gd name="connsiteX0" fmla="*/ 3587 w 40156"/>
                <a:gd name="connsiteY0" fmla="*/ 5472 h 7063"/>
                <a:gd name="connsiteX1" fmla="*/ 10164 w 40156"/>
                <a:gd name="connsiteY1" fmla="*/ 4875 h 7063"/>
                <a:gd name="connsiteX2" fmla="*/ 14249 w 40156"/>
                <a:gd name="connsiteY2" fmla="*/ 3781 h 7063"/>
                <a:gd name="connsiteX3" fmla="*/ 18633 w 40156"/>
                <a:gd name="connsiteY3" fmla="*/ 6069 h 7063"/>
                <a:gd name="connsiteX4" fmla="*/ 32085 w 40156"/>
                <a:gd name="connsiteY4" fmla="*/ 7064 h 7063"/>
                <a:gd name="connsiteX5" fmla="*/ 35174 w 40156"/>
                <a:gd name="connsiteY5" fmla="*/ 6367 h 7063"/>
                <a:gd name="connsiteX6" fmla="*/ 36470 w 40156"/>
                <a:gd name="connsiteY6" fmla="*/ 5770 h 7063"/>
                <a:gd name="connsiteX7" fmla="*/ 37566 w 40156"/>
                <a:gd name="connsiteY7" fmla="*/ 5671 h 7063"/>
                <a:gd name="connsiteX8" fmla="*/ 38463 w 40156"/>
                <a:gd name="connsiteY8" fmla="*/ 6367 h 7063"/>
                <a:gd name="connsiteX9" fmla="*/ 39559 w 40156"/>
                <a:gd name="connsiteY9" fmla="*/ 6865 h 7063"/>
                <a:gd name="connsiteX10" fmla="*/ 40157 w 40156"/>
                <a:gd name="connsiteY10" fmla="*/ 6268 h 7063"/>
                <a:gd name="connsiteX11" fmla="*/ 39359 w 40156"/>
                <a:gd name="connsiteY11" fmla="*/ 4875 h 7063"/>
                <a:gd name="connsiteX12" fmla="*/ 31587 w 40156"/>
                <a:gd name="connsiteY12" fmla="*/ 2885 h 7063"/>
                <a:gd name="connsiteX13" fmla="*/ 21722 w 40156"/>
                <a:gd name="connsiteY13" fmla="*/ 3482 h 7063"/>
                <a:gd name="connsiteX14" fmla="*/ 18833 w 40156"/>
                <a:gd name="connsiteY14" fmla="*/ 2985 h 7063"/>
                <a:gd name="connsiteX15" fmla="*/ 13053 w 40156"/>
                <a:gd name="connsiteY15" fmla="*/ 597 h 7063"/>
                <a:gd name="connsiteX16" fmla="*/ 9964 w 40156"/>
                <a:gd name="connsiteY16" fmla="*/ 0 h 7063"/>
                <a:gd name="connsiteX17" fmla="*/ 996 w 40156"/>
                <a:gd name="connsiteY17" fmla="*/ 1492 h 7063"/>
                <a:gd name="connsiteX18" fmla="*/ 0 w 40156"/>
                <a:gd name="connsiteY18" fmla="*/ 3781 h 7063"/>
                <a:gd name="connsiteX19" fmla="*/ 3587 w 40156"/>
                <a:gd name="connsiteY19" fmla="*/ 5472 h 7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156" h="7063">
                  <a:moveTo>
                    <a:pt x="3587" y="5472"/>
                  </a:moveTo>
                  <a:lnTo>
                    <a:pt x="10164" y="4875"/>
                  </a:lnTo>
                  <a:lnTo>
                    <a:pt x="14249" y="3781"/>
                  </a:lnTo>
                  <a:lnTo>
                    <a:pt x="18633" y="6069"/>
                  </a:lnTo>
                  <a:lnTo>
                    <a:pt x="32085" y="7064"/>
                  </a:lnTo>
                  <a:lnTo>
                    <a:pt x="35174" y="6367"/>
                  </a:lnTo>
                  <a:lnTo>
                    <a:pt x="36470" y="5770"/>
                  </a:lnTo>
                  <a:lnTo>
                    <a:pt x="37566" y="5671"/>
                  </a:lnTo>
                  <a:lnTo>
                    <a:pt x="38463" y="6367"/>
                  </a:lnTo>
                  <a:lnTo>
                    <a:pt x="39559" y="6865"/>
                  </a:lnTo>
                  <a:lnTo>
                    <a:pt x="40157" y="6268"/>
                  </a:lnTo>
                  <a:lnTo>
                    <a:pt x="39359" y="4875"/>
                  </a:lnTo>
                  <a:lnTo>
                    <a:pt x="31587" y="2885"/>
                  </a:lnTo>
                  <a:lnTo>
                    <a:pt x="21722" y="3482"/>
                  </a:lnTo>
                  <a:lnTo>
                    <a:pt x="18833" y="2985"/>
                  </a:lnTo>
                  <a:lnTo>
                    <a:pt x="13053" y="597"/>
                  </a:lnTo>
                  <a:lnTo>
                    <a:pt x="9964" y="0"/>
                  </a:lnTo>
                  <a:lnTo>
                    <a:pt x="996" y="1492"/>
                  </a:lnTo>
                  <a:lnTo>
                    <a:pt x="0" y="3781"/>
                  </a:lnTo>
                  <a:lnTo>
                    <a:pt x="3587" y="547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0" name="Freeform: Shape 1419">
              <a:extLst>
                <a:ext uri="{FF2B5EF4-FFF2-40B4-BE49-F238E27FC236}">
                  <a16:creationId xmlns:a16="http://schemas.microsoft.com/office/drawing/2014/main" id="{2C328EBC-8351-4013-AEF3-27E5EEC279FA}"/>
                </a:ext>
              </a:extLst>
            </p:cNvPr>
            <p:cNvSpPr/>
            <p:nvPr/>
          </p:nvSpPr>
          <p:spPr>
            <a:xfrm>
              <a:off x="-2496550" y="257310"/>
              <a:ext cx="19330" cy="5571"/>
            </a:xfrm>
            <a:custGeom>
              <a:avLst/>
              <a:gdLst>
                <a:gd name="connsiteX0" fmla="*/ 15943 w 19330"/>
                <a:gd name="connsiteY0" fmla="*/ 5472 h 5571"/>
                <a:gd name="connsiteX1" fmla="*/ 16043 w 19330"/>
                <a:gd name="connsiteY1" fmla="*/ 5571 h 5571"/>
                <a:gd name="connsiteX2" fmla="*/ 16142 w 19330"/>
                <a:gd name="connsiteY2" fmla="*/ 5571 h 5571"/>
                <a:gd name="connsiteX3" fmla="*/ 17836 w 19330"/>
                <a:gd name="connsiteY3" fmla="*/ 5074 h 5571"/>
                <a:gd name="connsiteX4" fmla="*/ 19231 w 19330"/>
                <a:gd name="connsiteY4" fmla="*/ 4278 h 5571"/>
                <a:gd name="connsiteX5" fmla="*/ 19331 w 19330"/>
                <a:gd name="connsiteY5" fmla="*/ 3283 h 5571"/>
                <a:gd name="connsiteX6" fmla="*/ 18534 w 19330"/>
                <a:gd name="connsiteY6" fmla="*/ 2686 h 5571"/>
                <a:gd name="connsiteX7" fmla="*/ 16840 w 19330"/>
                <a:gd name="connsiteY7" fmla="*/ 1890 h 5571"/>
                <a:gd name="connsiteX8" fmla="*/ 11957 w 19330"/>
                <a:gd name="connsiteY8" fmla="*/ 1094 h 5571"/>
                <a:gd name="connsiteX9" fmla="*/ 11260 w 19330"/>
                <a:gd name="connsiteY9" fmla="*/ 696 h 5571"/>
                <a:gd name="connsiteX10" fmla="*/ 10662 w 19330"/>
                <a:gd name="connsiteY10" fmla="*/ 0 h 5571"/>
                <a:gd name="connsiteX11" fmla="*/ 9367 w 19330"/>
                <a:gd name="connsiteY11" fmla="*/ 100 h 5571"/>
                <a:gd name="connsiteX12" fmla="*/ 7673 w 19330"/>
                <a:gd name="connsiteY12" fmla="*/ 597 h 5571"/>
                <a:gd name="connsiteX13" fmla="*/ 5480 w 19330"/>
                <a:gd name="connsiteY13" fmla="*/ 895 h 5571"/>
                <a:gd name="connsiteX14" fmla="*/ 1196 w 19330"/>
                <a:gd name="connsiteY14" fmla="*/ 696 h 5571"/>
                <a:gd name="connsiteX15" fmla="*/ 0 w 19330"/>
                <a:gd name="connsiteY15" fmla="*/ 995 h 5571"/>
                <a:gd name="connsiteX16" fmla="*/ 299 w 19330"/>
                <a:gd name="connsiteY16" fmla="*/ 1791 h 5571"/>
                <a:gd name="connsiteX17" fmla="*/ 2093 w 19330"/>
                <a:gd name="connsiteY17" fmla="*/ 2786 h 5571"/>
                <a:gd name="connsiteX18" fmla="*/ 2790 w 19330"/>
                <a:gd name="connsiteY18" fmla="*/ 4278 h 5571"/>
                <a:gd name="connsiteX19" fmla="*/ 2391 w 19330"/>
                <a:gd name="connsiteY19" fmla="*/ 4576 h 5571"/>
                <a:gd name="connsiteX20" fmla="*/ 3488 w 19330"/>
                <a:gd name="connsiteY20" fmla="*/ 4875 h 5571"/>
                <a:gd name="connsiteX21" fmla="*/ 15943 w 19330"/>
                <a:gd name="connsiteY21" fmla="*/ 5472 h 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330" h="5571">
                  <a:moveTo>
                    <a:pt x="15943" y="5472"/>
                  </a:moveTo>
                  <a:lnTo>
                    <a:pt x="16043" y="5571"/>
                  </a:lnTo>
                  <a:lnTo>
                    <a:pt x="16142" y="5571"/>
                  </a:lnTo>
                  <a:lnTo>
                    <a:pt x="17836" y="5074"/>
                  </a:lnTo>
                  <a:lnTo>
                    <a:pt x="19231" y="4278"/>
                  </a:lnTo>
                  <a:lnTo>
                    <a:pt x="19331" y="3283"/>
                  </a:lnTo>
                  <a:lnTo>
                    <a:pt x="18534" y="2686"/>
                  </a:lnTo>
                  <a:lnTo>
                    <a:pt x="16840" y="1890"/>
                  </a:lnTo>
                  <a:lnTo>
                    <a:pt x="11957" y="1094"/>
                  </a:lnTo>
                  <a:lnTo>
                    <a:pt x="11260" y="696"/>
                  </a:lnTo>
                  <a:lnTo>
                    <a:pt x="10662" y="0"/>
                  </a:lnTo>
                  <a:lnTo>
                    <a:pt x="9367" y="100"/>
                  </a:lnTo>
                  <a:lnTo>
                    <a:pt x="7673" y="597"/>
                  </a:lnTo>
                  <a:lnTo>
                    <a:pt x="5480" y="895"/>
                  </a:lnTo>
                  <a:lnTo>
                    <a:pt x="1196" y="696"/>
                  </a:lnTo>
                  <a:lnTo>
                    <a:pt x="0" y="995"/>
                  </a:lnTo>
                  <a:lnTo>
                    <a:pt x="299" y="1791"/>
                  </a:lnTo>
                  <a:lnTo>
                    <a:pt x="2093" y="2786"/>
                  </a:lnTo>
                  <a:lnTo>
                    <a:pt x="2790" y="4278"/>
                  </a:lnTo>
                  <a:lnTo>
                    <a:pt x="2391" y="4576"/>
                  </a:lnTo>
                  <a:lnTo>
                    <a:pt x="3488" y="4875"/>
                  </a:lnTo>
                  <a:lnTo>
                    <a:pt x="15943" y="547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1" name="Freeform: Shape 1420">
              <a:extLst>
                <a:ext uri="{FF2B5EF4-FFF2-40B4-BE49-F238E27FC236}">
                  <a16:creationId xmlns:a16="http://schemas.microsoft.com/office/drawing/2014/main" id="{6DF67DAE-B444-488B-9601-8868D5F5AF74}"/>
                </a:ext>
              </a:extLst>
            </p:cNvPr>
            <p:cNvSpPr/>
            <p:nvPr/>
          </p:nvSpPr>
          <p:spPr>
            <a:xfrm>
              <a:off x="-2494956" y="261886"/>
              <a:ext cx="14448" cy="2586"/>
            </a:xfrm>
            <a:custGeom>
              <a:avLst/>
              <a:gdLst>
                <a:gd name="connsiteX0" fmla="*/ 996 w 14448"/>
                <a:gd name="connsiteY0" fmla="*/ 1592 h 2586"/>
                <a:gd name="connsiteX1" fmla="*/ 5480 w 14448"/>
                <a:gd name="connsiteY1" fmla="*/ 2587 h 2586"/>
                <a:gd name="connsiteX2" fmla="*/ 9765 w 14448"/>
                <a:gd name="connsiteY2" fmla="*/ 1990 h 2586"/>
                <a:gd name="connsiteX3" fmla="*/ 14448 w 14448"/>
                <a:gd name="connsiteY3" fmla="*/ 995 h 2586"/>
                <a:gd name="connsiteX4" fmla="*/ 14349 w 14448"/>
                <a:gd name="connsiteY4" fmla="*/ 895 h 2586"/>
                <a:gd name="connsiteX5" fmla="*/ 1893 w 14448"/>
                <a:gd name="connsiteY5" fmla="*/ 298 h 2586"/>
                <a:gd name="connsiteX6" fmla="*/ 797 w 14448"/>
                <a:gd name="connsiteY6" fmla="*/ 0 h 2586"/>
                <a:gd name="connsiteX7" fmla="*/ 0 w 14448"/>
                <a:gd name="connsiteY7" fmla="*/ 696 h 2586"/>
                <a:gd name="connsiteX8" fmla="*/ 996 w 14448"/>
                <a:gd name="connsiteY8" fmla="*/ 1592 h 2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448" h="2586">
                  <a:moveTo>
                    <a:pt x="996" y="1592"/>
                  </a:moveTo>
                  <a:lnTo>
                    <a:pt x="5480" y="2587"/>
                  </a:lnTo>
                  <a:lnTo>
                    <a:pt x="9765" y="1990"/>
                  </a:lnTo>
                  <a:lnTo>
                    <a:pt x="14448" y="995"/>
                  </a:lnTo>
                  <a:lnTo>
                    <a:pt x="14349" y="895"/>
                  </a:lnTo>
                  <a:lnTo>
                    <a:pt x="1893" y="298"/>
                  </a:lnTo>
                  <a:lnTo>
                    <a:pt x="797" y="0"/>
                  </a:lnTo>
                  <a:lnTo>
                    <a:pt x="0" y="696"/>
                  </a:lnTo>
                  <a:lnTo>
                    <a:pt x="996" y="15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2" name="Freeform: Shape 1421">
              <a:extLst>
                <a:ext uri="{FF2B5EF4-FFF2-40B4-BE49-F238E27FC236}">
                  <a16:creationId xmlns:a16="http://schemas.microsoft.com/office/drawing/2014/main" id="{03BF646E-E58F-4E06-BFE4-CE0ED6153F01}"/>
                </a:ext>
              </a:extLst>
            </p:cNvPr>
            <p:cNvSpPr/>
            <p:nvPr/>
          </p:nvSpPr>
          <p:spPr>
            <a:xfrm>
              <a:off x="-2644123" y="203089"/>
              <a:ext cx="22718" cy="12833"/>
            </a:xfrm>
            <a:custGeom>
              <a:avLst/>
              <a:gdLst>
                <a:gd name="connsiteX0" fmla="*/ 6676 w 22718"/>
                <a:gd name="connsiteY0" fmla="*/ 8556 h 12833"/>
                <a:gd name="connsiteX1" fmla="*/ 10463 w 22718"/>
                <a:gd name="connsiteY1" fmla="*/ 9153 h 12833"/>
                <a:gd name="connsiteX2" fmla="*/ 13452 w 22718"/>
                <a:gd name="connsiteY2" fmla="*/ 11441 h 12833"/>
                <a:gd name="connsiteX3" fmla="*/ 20327 w 22718"/>
                <a:gd name="connsiteY3" fmla="*/ 12834 h 12833"/>
                <a:gd name="connsiteX4" fmla="*/ 22719 w 22718"/>
                <a:gd name="connsiteY4" fmla="*/ 12834 h 12833"/>
                <a:gd name="connsiteX5" fmla="*/ 21722 w 22718"/>
                <a:gd name="connsiteY5" fmla="*/ 8954 h 12833"/>
                <a:gd name="connsiteX6" fmla="*/ 21025 w 22718"/>
                <a:gd name="connsiteY6" fmla="*/ 5571 h 12833"/>
                <a:gd name="connsiteX7" fmla="*/ 18633 w 22718"/>
                <a:gd name="connsiteY7" fmla="*/ 2089 h 12833"/>
                <a:gd name="connsiteX8" fmla="*/ 15345 w 22718"/>
                <a:gd name="connsiteY8" fmla="*/ 0 h 12833"/>
                <a:gd name="connsiteX9" fmla="*/ 11359 w 22718"/>
                <a:gd name="connsiteY9" fmla="*/ 99 h 12833"/>
                <a:gd name="connsiteX10" fmla="*/ 7075 w 22718"/>
                <a:gd name="connsiteY10" fmla="*/ 1890 h 12833"/>
                <a:gd name="connsiteX11" fmla="*/ 0 w 22718"/>
                <a:gd name="connsiteY11" fmla="*/ 4079 h 12833"/>
                <a:gd name="connsiteX12" fmla="*/ 100 w 22718"/>
                <a:gd name="connsiteY12" fmla="*/ 5870 h 12833"/>
                <a:gd name="connsiteX13" fmla="*/ 2192 w 22718"/>
                <a:gd name="connsiteY13" fmla="*/ 7561 h 12833"/>
                <a:gd name="connsiteX14" fmla="*/ 6676 w 22718"/>
                <a:gd name="connsiteY14" fmla="*/ 8556 h 1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718" h="12833">
                  <a:moveTo>
                    <a:pt x="6676" y="8556"/>
                  </a:moveTo>
                  <a:lnTo>
                    <a:pt x="10463" y="9153"/>
                  </a:lnTo>
                  <a:lnTo>
                    <a:pt x="13452" y="11441"/>
                  </a:lnTo>
                  <a:lnTo>
                    <a:pt x="20327" y="12834"/>
                  </a:lnTo>
                  <a:lnTo>
                    <a:pt x="22719" y="12834"/>
                  </a:lnTo>
                  <a:lnTo>
                    <a:pt x="21722" y="8954"/>
                  </a:lnTo>
                  <a:lnTo>
                    <a:pt x="21025" y="5571"/>
                  </a:lnTo>
                  <a:lnTo>
                    <a:pt x="18633" y="2089"/>
                  </a:lnTo>
                  <a:lnTo>
                    <a:pt x="15345" y="0"/>
                  </a:lnTo>
                  <a:lnTo>
                    <a:pt x="11359" y="99"/>
                  </a:lnTo>
                  <a:lnTo>
                    <a:pt x="7075" y="1890"/>
                  </a:lnTo>
                  <a:lnTo>
                    <a:pt x="0" y="4079"/>
                  </a:lnTo>
                  <a:lnTo>
                    <a:pt x="100" y="5870"/>
                  </a:lnTo>
                  <a:lnTo>
                    <a:pt x="2192" y="7561"/>
                  </a:lnTo>
                  <a:lnTo>
                    <a:pt x="6676" y="855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3" name="Freeform: Shape 1422">
              <a:extLst>
                <a:ext uri="{FF2B5EF4-FFF2-40B4-BE49-F238E27FC236}">
                  <a16:creationId xmlns:a16="http://schemas.microsoft.com/office/drawing/2014/main" id="{1DC8C235-F024-46ED-9B03-FEF868A67A02}"/>
                </a:ext>
              </a:extLst>
            </p:cNvPr>
            <p:cNvSpPr/>
            <p:nvPr/>
          </p:nvSpPr>
          <p:spPr>
            <a:xfrm>
              <a:off x="-2526244" y="213834"/>
              <a:ext cx="43444" cy="12833"/>
            </a:xfrm>
            <a:custGeom>
              <a:avLst/>
              <a:gdLst>
                <a:gd name="connsiteX0" fmla="*/ 5480 w 43444"/>
                <a:gd name="connsiteY0" fmla="*/ 4775 h 12833"/>
                <a:gd name="connsiteX1" fmla="*/ 2890 w 43444"/>
                <a:gd name="connsiteY1" fmla="*/ 4576 h 12833"/>
                <a:gd name="connsiteX2" fmla="*/ 299 w 43444"/>
                <a:gd name="connsiteY2" fmla="*/ 3482 h 12833"/>
                <a:gd name="connsiteX3" fmla="*/ 0 w 43444"/>
                <a:gd name="connsiteY3" fmla="*/ 3482 h 12833"/>
                <a:gd name="connsiteX4" fmla="*/ 0 w 43444"/>
                <a:gd name="connsiteY4" fmla="*/ 4775 h 12833"/>
                <a:gd name="connsiteX5" fmla="*/ 2391 w 43444"/>
                <a:gd name="connsiteY5" fmla="*/ 6566 h 12833"/>
                <a:gd name="connsiteX6" fmla="*/ 6377 w 43444"/>
                <a:gd name="connsiteY6" fmla="*/ 10944 h 12833"/>
                <a:gd name="connsiteX7" fmla="*/ 13751 w 43444"/>
                <a:gd name="connsiteY7" fmla="*/ 12834 h 12833"/>
                <a:gd name="connsiteX8" fmla="*/ 15544 w 43444"/>
                <a:gd name="connsiteY8" fmla="*/ 12834 h 12833"/>
                <a:gd name="connsiteX9" fmla="*/ 16043 w 43444"/>
                <a:gd name="connsiteY9" fmla="*/ 12436 h 12833"/>
                <a:gd name="connsiteX10" fmla="*/ 16740 w 43444"/>
                <a:gd name="connsiteY10" fmla="*/ 11640 h 12833"/>
                <a:gd name="connsiteX11" fmla="*/ 17238 w 43444"/>
                <a:gd name="connsiteY11" fmla="*/ 10844 h 12833"/>
                <a:gd name="connsiteX12" fmla="*/ 17238 w 43444"/>
                <a:gd name="connsiteY12" fmla="*/ 10546 h 12833"/>
                <a:gd name="connsiteX13" fmla="*/ 18235 w 43444"/>
                <a:gd name="connsiteY13" fmla="*/ 10944 h 12833"/>
                <a:gd name="connsiteX14" fmla="*/ 20128 w 43444"/>
                <a:gd name="connsiteY14" fmla="*/ 12535 h 12833"/>
                <a:gd name="connsiteX15" fmla="*/ 20726 w 43444"/>
                <a:gd name="connsiteY15" fmla="*/ 12834 h 12833"/>
                <a:gd name="connsiteX16" fmla="*/ 29395 w 43444"/>
                <a:gd name="connsiteY16" fmla="*/ 9750 h 12833"/>
                <a:gd name="connsiteX17" fmla="*/ 33879 w 43444"/>
                <a:gd name="connsiteY17" fmla="*/ 8954 h 12833"/>
                <a:gd name="connsiteX18" fmla="*/ 36669 w 43444"/>
                <a:gd name="connsiteY18" fmla="*/ 7462 h 12833"/>
                <a:gd name="connsiteX19" fmla="*/ 38164 w 43444"/>
                <a:gd name="connsiteY19" fmla="*/ 7163 h 12833"/>
                <a:gd name="connsiteX20" fmla="*/ 39459 w 43444"/>
                <a:gd name="connsiteY20" fmla="*/ 7362 h 12833"/>
                <a:gd name="connsiteX21" fmla="*/ 41950 w 43444"/>
                <a:gd name="connsiteY21" fmla="*/ 8158 h 12833"/>
                <a:gd name="connsiteX22" fmla="*/ 43445 w 43444"/>
                <a:gd name="connsiteY22" fmla="*/ 8158 h 12833"/>
                <a:gd name="connsiteX23" fmla="*/ 41751 w 43444"/>
                <a:gd name="connsiteY23" fmla="*/ 6168 h 12833"/>
                <a:gd name="connsiteX24" fmla="*/ 40157 w 43444"/>
                <a:gd name="connsiteY24" fmla="*/ 4676 h 12833"/>
                <a:gd name="connsiteX25" fmla="*/ 36370 w 43444"/>
                <a:gd name="connsiteY25" fmla="*/ 2388 h 12833"/>
                <a:gd name="connsiteX26" fmla="*/ 35772 w 43444"/>
                <a:gd name="connsiteY26" fmla="*/ 1791 h 12833"/>
                <a:gd name="connsiteX27" fmla="*/ 35174 w 43444"/>
                <a:gd name="connsiteY27" fmla="*/ 995 h 12833"/>
                <a:gd name="connsiteX28" fmla="*/ 34377 w 43444"/>
                <a:gd name="connsiteY28" fmla="*/ 299 h 12833"/>
                <a:gd name="connsiteX29" fmla="*/ 33480 w 43444"/>
                <a:gd name="connsiteY29" fmla="*/ 0 h 12833"/>
                <a:gd name="connsiteX30" fmla="*/ 32285 w 43444"/>
                <a:gd name="connsiteY30" fmla="*/ 398 h 12833"/>
                <a:gd name="connsiteX31" fmla="*/ 31388 w 43444"/>
                <a:gd name="connsiteY31" fmla="*/ 1094 h 12833"/>
                <a:gd name="connsiteX32" fmla="*/ 30292 w 43444"/>
                <a:gd name="connsiteY32" fmla="*/ 2388 h 12833"/>
                <a:gd name="connsiteX33" fmla="*/ 28199 w 43444"/>
                <a:gd name="connsiteY33" fmla="*/ 2686 h 12833"/>
                <a:gd name="connsiteX34" fmla="*/ 17039 w 43444"/>
                <a:gd name="connsiteY34" fmla="*/ 2288 h 12833"/>
                <a:gd name="connsiteX35" fmla="*/ 15246 w 43444"/>
                <a:gd name="connsiteY35" fmla="*/ 2985 h 12833"/>
                <a:gd name="connsiteX36" fmla="*/ 15544 w 43444"/>
                <a:gd name="connsiteY36" fmla="*/ 4775 h 12833"/>
                <a:gd name="connsiteX37" fmla="*/ 14149 w 43444"/>
                <a:gd name="connsiteY37" fmla="*/ 7263 h 12833"/>
                <a:gd name="connsiteX38" fmla="*/ 12754 w 43444"/>
                <a:gd name="connsiteY38" fmla="*/ 6168 h 12833"/>
                <a:gd name="connsiteX39" fmla="*/ 11359 w 43444"/>
                <a:gd name="connsiteY39" fmla="*/ 3681 h 12833"/>
                <a:gd name="connsiteX40" fmla="*/ 9964 w 43444"/>
                <a:gd name="connsiteY40" fmla="*/ 2388 h 12833"/>
                <a:gd name="connsiteX41" fmla="*/ 8868 w 43444"/>
                <a:gd name="connsiteY41" fmla="*/ 2388 h 12833"/>
                <a:gd name="connsiteX42" fmla="*/ 8171 w 43444"/>
                <a:gd name="connsiteY42" fmla="*/ 3084 h 12833"/>
                <a:gd name="connsiteX43" fmla="*/ 5480 w 43444"/>
                <a:gd name="connsiteY43" fmla="*/ 4775 h 1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3444" h="12833">
                  <a:moveTo>
                    <a:pt x="5480" y="4775"/>
                  </a:moveTo>
                  <a:lnTo>
                    <a:pt x="2890" y="4576"/>
                  </a:lnTo>
                  <a:lnTo>
                    <a:pt x="299" y="3482"/>
                  </a:lnTo>
                  <a:lnTo>
                    <a:pt x="0" y="3482"/>
                  </a:lnTo>
                  <a:lnTo>
                    <a:pt x="0" y="4775"/>
                  </a:lnTo>
                  <a:lnTo>
                    <a:pt x="2391" y="6566"/>
                  </a:lnTo>
                  <a:lnTo>
                    <a:pt x="6377" y="10944"/>
                  </a:lnTo>
                  <a:lnTo>
                    <a:pt x="13751" y="12834"/>
                  </a:lnTo>
                  <a:lnTo>
                    <a:pt x="15544" y="12834"/>
                  </a:lnTo>
                  <a:lnTo>
                    <a:pt x="16043" y="12436"/>
                  </a:lnTo>
                  <a:lnTo>
                    <a:pt x="16740" y="11640"/>
                  </a:lnTo>
                  <a:lnTo>
                    <a:pt x="17238" y="10844"/>
                  </a:lnTo>
                  <a:lnTo>
                    <a:pt x="17238" y="10546"/>
                  </a:lnTo>
                  <a:lnTo>
                    <a:pt x="18235" y="10944"/>
                  </a:lnTo>
                  <a:lnTo>
                    <a:pt x="20128" y="12535"/>
                  </a:lnTo>
                  <a:lnTo>
                    <a:pt x="20726" y="12834"/>
                  </a:lnTo>
                  <a:lnTo>
                    <a:pt x="29395" y="9750"/>
                  </a:lnTo>
                  <a:lnTo>
                    <a:pt x="33879" y="8954"/>
                  </a:lnTo>
                  <a:lnTo>
                    <a:pt x="36669" y="7462"/>
                  </a:lnTo>
                  <a:lnTo>
                    <a:pt x="38164" y="7163"/>
                  </a:lnTo>
                  <a:lnTo>
                    <a:pt x="39459" y="7362"/>
                  </a:lnTo>
                  <a:lnTo>
                    <a:pt x="41950" y="8158"/>
                  </a:lnTo>
                  <a:lnTo>
                    <a:pt x="43445" y="8158"/>
                  </a:lnTo>
                  <a:lnTo>
                    <a:pt x="41751" y="6168"/>
                  </a:lnTo>
                  <a:lnTo>
                    <a:pt x="40157" y="4676"/>
                  </a:lnTo>
                  <a:lnTo>
                    <a:pt x="36370" y="2388"/>
                  </a:lnTo>
                  <a:lnTo>
                    <a:pt x="35772" y="1791"/>
                  </a:lnTo>
                  <a:lnTo>
                    <a:pt x="35174" y="995"/>
                  </a:lnTo>
                  <a:lnTo>
                    <a:pt x="34377" y="299"/>
                  </a:lnTo>
                  <a:lnTo>
                    <a:pt x="33480" y="0"/>
                  </a:lnTo>
                  <a:lnTo>
                    <a:pt x="32285" y="398"/>
                  </a:lnTo>
                  <a:lnTo>
                    <a:pt x="31388" y="1094"/>
                  </a:lnTo>
                  <a:lnTo>
                    <a:pt x="30292" y="2388"/>
                  </a:lnTo>
                  <a:lnTo>
                    <a:pt x="28199" y="2686"/>
                  </a:lnTo>
                  <a:lnTo>
                    <a:pt x="17039" y="2288"/>
                  </a:lnTo>
                  <a:lnTo>
                    <a:pt x="15246" y="2985"/>
                  </a:lnTo>
                  <a:lnTo>
                    <a:pt x="15544" y="4775"/>
                  </a:lnTo>
                  <a:lnTo>
                    <a:pt x="14149" y="7263"/>
                  </a:lnTo>
                  <a:lnTo>
                    <a:pt x="12754" y="6168"/>
                  </a:lnTo>
                  <a:lnTo>
                    <a:pt x="11359" y="3681"/>
                  </a:lnTo>
                  <a:lnTo>
                    <a:pt x="9964" y="2388"/>
                  </a:lnTo>
                  <a:lnTo>
                    <a:pt x="8868" y="2388"/>
                  </a:lnTo>
                  <a:lnTo>
                    <a:pt x="8171" y="3084"/>
                  </a:lnTo>
                  <a:lnTo>
                    <a:pt x="5480" y="477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4" name="Freeform: Shape 1423">
              <a:extLst>
                <a:ext uri="{FF2B5EF4-FFF2-40B4-BE49-F238E27FC236}">
                  <a16:creationId xmlns:a16="http://schemas.microsoft.com/office/drawing/2014/main" id="{A8F25D99-FE10-49F2-89A2-AD3C4E5A7B15}"/>
                </a:ext>
              </a:extLst>
            </p:cNvPr>
            <p:cNvSpPr/>
            <p:nvPr/>
          </p:nvSpPr>
          <p:spPr>
            <a:xfrm>
              <a:off x="-2525945" y="216221"/>
              <a:ext cx="8569" cy="2387"/>
            </a:xfrm>
            <a:custGeom>
              <a:avLst/>
              <a:gdLst>
                <a:gd name="connsiteX0" fmla="*/ 2890 w 8569"/>
                <a:gd name="connsiteY0" fmla="*/ 298 h 2387"/>
                <a:gd name="connsiteX1" fmla="*/ 1295 w 8569"/>
                <a:gd name="connsiteY1" fmla="*/ 1094 h 2387"/>
                <a:gd name="connsiteX2" fmla="*/ 0 w 8569"/>
                <a:gd name="connsiteY2" fmla="*/ 1094 h 2387"/>
                <a:gd name="connsiteX3" fmla="*/ 2591 w 8569"/>
                <a:gd name="connsiteY3" fmla="*/ 2189 h 2387"/>
                <a:gd name="connsiteX4" fmla="*/ 5181 w 8569"/>
                <a:gd name="connsiteY4" fmla="*/ 2388 h 2387"/>
                <a:gd name="connsiteX5" fmla="*/ 7872 w 8569"/>
                <a:gd name="connsiteY5" fmla="*/ 696 h 2387"/>
                <a:gd name="connsiteX6" fmla="*/ 8569 w 8569"/>
                <a:gd name="connsiteY6" fmla="*/ 0 h 2387"/>
                <a:gd name="connsiteX7" fmla="*/ 5082 w 8569"/>
                <a:gd name="connsiteY7" fmla="*/ 0 h 2387"/>
                <a:gd name="connsiteX8" fmla="*/ 2890 w 8569"/>
                <a:gd name="connsiteY8" fmla="*/ 298 h 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69" h="2387">
                  <a:moveTo>
                    <a:pt x="2890" y="298"/>
                  </a:moveTo>
                  <a:lnTo>
                    <a:pt x="1295" y="1094"/>
                  </a:lnTo>
                  <a:lnTo>
                    <a:pt x="0" y="1094"/>
                  </a:lnTo>
                  <a:lnTo>
                    <a:pt x="2591" y="2189"/>
                  </a:lnTo>
                  <a:lnTo>
                    <a:pt x="5181" y="2388"/>
                  </a:lnTo>
                  <a:lnTo>
                    <a:pt x="7872" y="696"/>
                  </a:lnTo>
                  <a:lnTo>
                    <a:pt x="8569" y="0"/>
                  </a:lnTo>
                  <a:lnTo>
                    <a:pt x="5082" y="0"/>
                  </a:lnTo>
                  <a:lnTo>
                    <a:pt x="2890" y="2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5" name="Freeform: Shape 1424">
              <a:extLst>
                <a:ext uri="{FF2B5EF4-FFF2-40B4-BE49-F238E27FC236}">
                  <a16:creationId xmlns:a16="http://schemas.microsoft.com/office/drawing/2014/main" id="{0DD3FC3E-C57A-42B5-9264-26420428AF38}"/>
                </a:ext>
              </a:extLst>
            </p:cNvPr>
            <p:cNvSpPr/>
            <p:nvPr/>
          </p:nvSpPr>
          <p:spPr>
            <a:xfrm>
              <a:off x="-2489874" y="217216"/>
              <a:ext cx="55701" cy="31637"/>
            </a:xfrm>
            <a:custGeom>
              <a:avLst/>
              <a:gdLst>
                <a:gd name="connsiteX0" fmla="*/ 38463 w 55701"/>
                <a:gd name="connsiteY0" fmla="*/ 1890 h 31637"/>
                <a:gd name="connsiteX1" fmla="*/ 37267 w 55701"/>
                <a:gd name="connsiteY1" fmla="*/ 2487 h 31637"/>
                <a:gd name="connsiteX2" fmla="*/ 35075 w 55701"/>
                <a:gd name="connsiteY2" fmla="*/ 2985 h 31637"/>
                <a:gd name="connsiteX3" fmla="*/ 30192 w 55701"/>
                <a:gd name="connsiteY3" fmla="*/ 3184 h 31637"/>
                <a:gd name="connsiteX4" fmla="*/ 27900 w 55701"/>
                <a:gd name="connsiteY4" fmla="*/ 3780 h 31637"/>
                <a:gd name="connsiteX5" fmla="*/ 24014 w 55701"/>
                <a:gd name="connsiteY5" fmla="*/ 6069 h 31637"/>
                <a:gd name="connsiteX6" fmla="*/ 17637 w 55701"/>
                <a:gd name="connsiteY6" fmla="*/ 12535 h 31637"/>
                <a:gd name="connsiteX7" fmla="*/ 13950 w 55701"/>
                <a:gd name="connsiteY7" fmla="*/ 15321 h 31637"/>
                <a:gd name="connsiteX8" fmla="*/ 11559 w 55701"/>
                <a:gd name="connsiteY8" fmla="*/ 14724 h 31637"/>
                <a:gd name="connsiteX9" fmla="*/ 8569 w 55701"/>
                <a:gd name="connsiteY9" fmla="*/ 16614 h 31637"/>
                <a:gd name="connsiteX10" fmla="*/ 3786 w 55701"/>
                <a:gd name="connsiteY10" fmla="*/ 21987 h 31637"/>
                <a:gd name="connsiteX11" fmla="*/ 4185 w 55701"/>
                <a:gd name="connsiteY11" fmla="*/ 24275 h 31637"/>
                <a:gd name="connsiteX12" fmla="*/ 3488 w 55701"/>
                <a:gd name="connsiteY12" fmla="*/ 25767 h 31637"/>
                <a:gd name="connsiteX13" fmla="*/ 2093 w 55701"/>
                <a:gd name="connsiteY13" fmla="*/ 26563 h 31637"/>
                <a:gd name="connsiteX14" fmla="*/ 0 w 55701"/>
                <a:gd name="connsiteY14" fmla="*/ 26961 h 31637"/>
                <a:gd name="connsiteX15" fmla="*/ 1794 w 55701"/>
                <a:gd name="connsiteY15" fmla="*/ 29946 h 31637"/>
                <a:gd name="connsiteX16" fmla="*/ 5281 w 55701"/>
                <a:gd name="connsiteY16" fmla="*/ 30344 h 31637"/>
                <a:gd name="connsiteX17" fmla="*/ 12256 w 55701"/>
                <a:gd name="connsiteY17" fmla="*/ 29349 h 31637"/>
                <a:gd name="connsiteX18" fmla="*/ 13851 w 55701"/>
                <a:gd name="connsiteY18" fmla="*/ 29946 h 31637"/>
                <a:gd name="connsiteX19" fmla="*/ 16840 w 55701"/>
                <a:gd name="connsiteY19" fmla="*/ 31339 h 31637"/>
                <a:gd name="connsiteX20" fmla="*/ 18733 w 55701"/>
                <a:gd name="connsiteY20" fmla="*/ 31637 h 31637"/>
                <a:gd name="connsiteX21" fmla="*/ 20427 w 55701"/>
                <a:gd name="connsiteY21" fmla="*/ 31438 h 31637"/>
                <a:gd name="connsiteX22" fmla="*/ 21423 w 55701"/>
                <a:gd name="connsiteY22" fmla="*/ 30642 h 31637"/>
                <a:gd name="connsiteX23" fmla="*/ 21423 w 55701"/>
                <a:gd name="connsiteY23" fmla="*/ 29548 h 31637"/>
                <a:gd name="connsiteX24" fmla="*/ 20028 w 55701"/>
                <a:gd name="connsiteY24" fmla="*/ 28254 h 31637"/>
                <a:gd name="connsiteX25" fmla="*/ 23217 w 55701"/>
                <a:gd name="connsiteY25" fmla="*/ 27459 h 31637"/>
                <a:gd name="connsiteX26" fmla="*/ 33979 w 55701"/>
                <a:gd name="connsiteY26" fmla="*/ 30443 h 31637"/>
                <a:gd name="connsiteX27" fmla="*/ 41851 w 55701"/>
                <a:gd name="connsiteY27" fmla="*/ 29946 h 31637"/>
                <a:gd name="connsiteX28" fmla="*/ 44840 w 55701"/>
                <a:gd name="connsiteY28" fmla="*/ 28254 h 31637"/>
                <a:gd name="connsiteX29" fmla="*/ 44342 w 55701"/>
                <a:gd name="connsiteY29" fmla="*/ 24673 h 31637"/>
                <a:gd name="connsiteX30" fmla="*/ 47331 w 55701"/>
                <a:gd name="connsiteY30" fmla="*/ 19201 h 31637"/>
                <a:gd name="connsiteX31" fmla="*/ 48826 w 55701"/>
                <a:gd name="connsiteY31" fmla="*/ 17609 h 31637"/>
                <a:gd name="connsiteX32" fmla="*/ 54804 w 55701"/>
                <a:gd name="connsiteY32" fmla="*/ 15122 h 31637"/>
                <a:gd name="connsiteX33" fmla="*/ 55701 w 55701"/>
                <a:gd name="connsiteY33" fmla="*/ 13530 h 31637"/>
                <a:gd name="connsiteX34" fmla="*/ 54804 w 55701"/>
                <a:gd name="connsiteY34" fmla="*/ 12038 h 31637"/>
                <a:gd name="connsiteX35" fmla="*/ 51317 w 55701"/>
                <a:gd name="connsiteY35" fmla="*/ 10048 h 31637"/>
                <a:gd name="connsiteX36" fmla="*/ 50420 w 55701"/>
                <a:gd name="connsiteY36" fmla="*/ 7760 h 31637"/>
                <a:gd name="connsiteX37" fmla="*/ 50021 w 55701"/>
                <a:gd name="connsiteY37" fmla="*/ 5969 h 31637"/>
                <a:gd name="connsiteX38" fmla="*/ 48826 w 55701"/>
                <a:gd name="connsiteY38" fmla="*/ 4079 h 31637"/>
                <a:gd name="connsiteX39" fmla="*/ 47331 w 55701"/>
                <a:gd name="connsiteY39" fmla="*/ 2388 h 31637"/>
                <a:gd name="connsiteX40" fmla="*/ 43843 w 55701"/>
                <a:gd name="connsiteY40" fmla="*/ 0 h 31637"/>
                <a:gd name="connsiteX41" fmla="*/ 42648 w 55701"/>
                <a:gd name="connsiteY41" fmla="*/ 100 h 31637"/>
                <a:gd name="connsiteX42" fmla="*/ 40356 w 55701"/>
                <a:gd name="connsiteY42" fmla="*/ 1393 h 31637"/>
                <a:gd name="connsiteX43" fmla="*/ 38463 w 55701"/>
                <a:gd name="connsiteY43" fmla="*/ 1890 h 31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5701" h="31637">
                  <a:moveTo>
                    <a:pt x="38463" y="1890"/>
                  </a:moveTo>
                  <a:lnTo>
                    <a:pt x="37267" y="2487"/>
                  </a:lnTo>
                  <a:lnTo>
                    <a:pt x="35075" y="2985"/>
                  </a:lnTo>
                  <a:lnTo>
                    <a:pt x="30192" y="3184"/>
                  </a:lnTo>
                  <a:lnTo>
                    <a:pt x="27900" y="3780"/>
                  </a:lnTo>
                  <a:lnTo>
                    <a:pt x="24014" y="6069"/>
                  </a:lnTo>
                  <a:lnTo>
                    <a:pt x="17637" y="12535"/>
                  </a:lnTo>
                  <a:lnTo>
                    <a:pt x="13950" y="15321"/>
                  </a:lnTo>
                  <a:lnTo>
                    <a:pt x="11559" y="14724"/>
                  </a:lnTo>
                  <a:lnTo>
                    <a:pt x="8569" y="16614"/>
                  </a:lnTo>
                  <a:lnTo>
                    <a:pt x="3786" y="21987"/>
                  </a:lnTo>
                  <a:lnTo>
                    <a:pt x="4185" y="24275"/>
                  </a:lnTo>
                  <a:lnTo>
                    <a:pt x="3488" y="25767"/>
                  </a:lnTo>
                  <a:lnTo>
                    <a:pt x="2093" y="26563"/>
                  </a:lnTo>
                  <a:lnTo>
                    <a:pt x="0" y="26961"/>
                  </a:lnTo>
                  <a:lnTo>
                    <a:pt x="1794" y="29946"/>
                  </a:lnTo>
                  <a:lnTo>
                    <a:pt x="5281" y="30344"/>
                  </a:lnTo>
                  <a:lnTo>
                    <a:pt x="12256" y="29349"/>
                  </a:lnTo>
                  <a:lnTo>
                    <a:pt x="13851" y="29946"/>
                  </a:lnTo>
                  <a:lnTo>
                    <a:pt x="16840" y="31339"/>
                  </a:lnTo>
                  <a:lnTo>
                    <a:pt x="18733" y="31637"/>
                  </a:lnTo>
                  <a:lnTo>
                    <a:pt x="20427" y="31438"/>
                  </a:lnTo>
                  <a:lnTo>
                    <a:pt x="21423" y="30642"/>
                  </a:lnTo>
                  <a:lnTo>
                    <a:pt x="21423" y="29548"/>
                  </a:lnTo>
                  <a:lnTo>
                    <a:pt x="20028" y="28254"/>
                  </a:lnTo>
                  <a:lnTo>
                    <a:pt x="23217" y="27459"/>
                  </a:lnTo>
                  <a:lnTo>
                    <a:pt x="33979" y="30443"/>
                  </a:lnTo>
                  <a:lnTo>
                    <a:pt x="41851" y="29946"/>
                  </a:lnTo>
                  <a:lnTo>
                    <a:pt x="44840" y="28254"/>
                  </a:lnTo>
                  <a:lnTo>
                    <a:pt x="44342" y="24673"/>
                  </a:lnTo>
                  <a:lnTo>
                    <a:pt x="47331" y="19201"/>
                  </a:lnTo>
                  <a:lnTo>
                    <a:pt x="48826" y="17609"/>
                  </a:lnTo>
                  <a:lnTo>
                    <a:pt x="54804" y="15122"/>
                  </a:lnTo>
                  <a:lnTo>
                    <a:pt x="55701" y="13530"/>
                  </a:lnTo>
                  <a:lnTo>
                    <a:pt x="54804" y="12038"/>
                  </a:lnTo>
                  <a:lnTo>
                    <a:pt x="51317" y="10048"/>
                  </a:lnTo>
                  <a:lnTo>
                    <a:pt x="50420" y="7760"/>
                  </a:lnTo>
                  <a:lnTo>
                    <a:pt x="50021" y="5969"/>
                  </a:lnTo>
                  <a:lnTo>
                    <a:pt x="48826" y="4079"/>
                  </a:lnTo>
                  <a:lnTo>
                    <a:pt x="47331" y="2388"/>
                  </a:lnTo>
                  <a:lnTo>
                    <a:pt x="43843" y="0"/>
                  </a:lnTo>
                  <a:lnTo>
                    <a:pt x="42648" y="100"/>
                  </a:lnTo>
                  <a:lnTo>
                    <a:pt x="40356" y="1393"/>
                  </a:lnTo>
                  <a:lnTo>
                    <a:pt x="38463" y="18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6" name="Freeform: Shape 1425">
              <a:extLst>
                <a:ext uri="{FF2B5EF4-FFF2-40B4-BE49-F238E27FC236}">
                  <a16:creationId xmlns:a16="http://schemas.microsoft.com/office/drawing/2014/main" id="{E80CB279-CCB6-425E-8D7C-F3980E73290F}"/>
                </a:ext>
              </a:extLst>
            </p:cNvPr>
            <p:cNvSpPr/>
            <p:nvPr/>
          </p:nvSpPr>
          <p:spPr>
            <a:xfrm>
              <a:off x="-2451412" y="217316"/>
              <a:ext cx="4185" cy="1790"/>
            </a:xfrm>
            <a:custGeom>
              <a:avLst/>
              <a:gdLst>
                <a:gd name="connsiteX0" fmla="*/ 0 w 4185"/>
                <a:gd name="connsiteY0" fmla="*/ 1791 h 1790"/>
                <a:gd name="connsiteX1" fmla="*/ 1893 w 4185"/>
                <a:gd name="connsiteY1" fmla="*/ 1293 h 1790"/>
                <a:gd name="connsiteX2" fmla="*/ 4185 w 4185"/>
                <a:gd name="connsiteY2" fmla="*/ 0 h 1790"/>
                <a:gd name="connsiteX3" fmla="*/ 3189 w 4185"/>
                <a:gd name="connsiteY3" fmla="*/ 199 h 1790"/>
                <a:gd name="connsiteX4" fmla="*/ 0 w 4185"/>
                <a:gd name="connsiteY4" fmla="*/ 1791 h 1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5" h="1790">
                  <a:moveTo>
                    <a:pt x="0" y="1791"/>
                  </a:moveTo>
                  <a:lnTo>
                    <a:pt x="1893" y="1293"/>
                  </a:lnTo>
                  <a:lnTo>
                    <a:pt x="4185" y="0"/>
                  </a:lnTo>
                  <a:lnTo>
                    <a:pt x="3189" y="199"/>
                  </a:lnTo>
                  <a:lnTo>
                    <a:pt x="0" y="179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7" name="Freeform: Shape 1426">
              <a:extLst>
                <a:ext uri="{FF2B5EF4-FFF2-40B4-BE49-F238E27FC236}">
                  <a16:creationId xmlns:a16="http://schemas.microsoft.com/office/drawing/2014/main" id="{8FFC2344-791F-467F-B0AE-85BDA2A18F5F}"/>
                </a:ext>
              </a:extLst>
            </p:cNvPr>
            <p:cNvSpPr/>
            <p:nvPr/>
          </p:nvSpPr>
          <p:spPr>
            <a:xfrm>
              <a:off x="-2813219" y="-227890"/>
              <a:ext cx="1096" cy="1790"/>
            </a:xfrm>
            <a:custGeom>
              <a:avLst/>
              <a:gdLst>
                <a:gd name="connsiteX0" fmla="*/ 399 w 1096"/>
                <a:gd name="connsiteY0" fmla="*/ 1791 h 1790"/>
                <a:gd name="connsiteX1" fmla="*/ 1096 w 1096"/>
                <a:gd name="connsiteY1" fmla="*/ 398 h 1790"/>
                <a:gd name="connsiteX2" fmla="*/ 0 w 1096"/>
                <a:gd name="connsiteY2" fmla="*/ 0 h 1790"/>
                <a:gd name="connsiteX3" fmla="*/ 399 w 1096"/>
                <a:gd name="connsiteY3" fmla="*/ 1791 h 1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6" h="1790">
                  <a:moveTo>
                    <a:pt x="399" y="1791"/>
                  </a:moveTo>
                  <a:lnTo>
                    <a:pt x="1096" y="398"/>
                  </a:lnTo>
                  <a:lnTo>
                    <a:pt x="0" y="0"/>
                  </a:lnTo>
                  <a:lnTo>
                    <a:pt x="399" y="179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8" name="Freeform: Shape 1427">
              <a:extLst>
                <a:ext uri="{FF2B5EF4-FFF2-40B4-BE49-F238E27FC236}">
                  <a16:creationId xmlns:a16="http://schemas.microsoft.com/office/drawing/2014/main" id="{7159AAD8-F5B8-45C6-9695-75F6B8703F6B}"/>
                </a:ext>
              </a:extLst>
            </p:cNvPr>
            <p:cNvSpPr/>
            <p:nvPr/>
          </p:nvSpPr>
          <p:spPr>
            <a:xfrm>
              <a:off x="-2804750" y="-284498"/>
              <a:ext cx="35274" cy="35914"/>
            </a:xfrm>
            <a:custGeom>
              <a:avLst/>
              <a:gdLst>
                <a:gd name="connsiteX0" fmla="*/ 14747 w 35274"/>
                <a:gd name="connsiteY0" fmla="*/ 6765 h 35914"/>
                <a:gd name="connsiteX1" fmla="*/ 13452 w 35274"/>
                <a:gd name="connsiteY1" fmla="*/ 7661 h 35914"/>
                <a:gd name="connsiteX2" fmla="*/ 12157 w 35274"/>
                <a:gd name="connsiteY2" fmla="*/ 7959 h 35914"/>
                <a:gd name="connsiteX3" fmla="*/ 10662 w 35274"/>
                <a:gd name="connsiteY3" fmla="*/ 8556 h 35914"/>
                <a:gd name="connsiteX4" fmla="*/ 9267 w 35274"/>
                <a:gd name="connsiteY4" fmla="*/ 9551 h 35914"/>
                <a:gd name="connsiteX5" fmla="*/ 4384 w 35274"/>
                <a:gd name="connsiteY5" fmla="*/ 14724 h 35914"/>
                <a:gd name="connsiteX6" fmla="*/ 3089 w 35274"/>
                <a:gd name="connsiteY6" fmla="*/ 17211 h 35914"/>
                <a:gd name="connsiteX7" fmla="*/ 2591 w 35274"/>
                <a:gd name="connsiteY7" fmla="*/ 21489 h 35914"/>
                <a:gd name="connsiteX8" fmla="*/ 2890 w 35274"/>
                <a:gd name="connsiteY8" fmla="*/ 29050 h 35914"/>
                <a:gd name="connsiteX9" fmla="*/ 2292 w 35274"/>
                <a:gd name="connsiteY9" fmla="*/ 32831 h 35914"/>
                <a:gd name="connsiteX10" fmla="*/ 0 w 35274"/>
                <a:gd name="connsiteY10" fmla="*/ 34224 h 35914"/>
                <a:gd name="connsiteX11" fmla="*/ 0 w 35274"/>
                <a:gd name="connsiteY11" fmla="*/ 35318 h 35914"/>
                <a:gd name="connsiteX12" fmla="*/ 1893 w 35274"/>
                <a:gd name="connsiteY12" fmla="*/ 35915 h 35914"/>
                <a:gd name="connsiteX13" fmla="*/ 2690 w 35274"/>
                <a:gd name="connsiteY13" fmla="*/ 35318 h 35914"/>
                <a:gd name="connsiteX14" fmla="*/ 4185 w 35274"/>
                <a:gd name="connsiteY14" fmla="*/ 34622 h 35914"/>
                <a:gd name="connsiteX15" fmla="*/ 15445 w 35274"/>
                <a:gd name="connsiteY15" fmla="*/ 23181 h 35914"/>
                <a:gd name="connsiteX16" fmla="*/ 18833 w 35274"/>
                <a:gd name="connsiteY16" fmla="*/ 21987 h 35914"/>
                <a:gd name="connsiteX17" fmla="*/ 27601 w 35274"/>
                <a:gd name="connsiteY17" fmla="*/ 24772 h 35914"/>
                <a:gd name="connsiteX18" fmla="*/ 28199 w 35274"/>
                <a:gd name="connsiteY18" fmla="*/ 21887 h 35914"/>
                <a:gd name="connsiteX19" fmla="*/ 27900 w 35274"/>
                <a:gd name="connsiteY19" fmla="*/ 16813 h 35914"/>
                <a:gd name="connsiteX20" fmla="*/ 30093 w 35274"/>
                <a:gd name="connsiteY20" fmla="*/ 11143 h 35914"/>
                <a:gd name="connsiteX21" fmla="*/ 29594 w 35274"/>
                <a:gd name="connsiteY21" fmla="*/ 8556 h 35914"/>
                <a:gd name="connsiteX22" fmla="*/ 30989 w 35274"/>
                <a:gd name="connsiteY22" fmla="*/ 5870 h 35914"/>
                <a:gd name="connsiteX23" fmla="*/ 35274 w 35274"/>
                <a:gd name="connsiteY23" fmla="*/ 1393 h 35914"/>
                <a:gd name="connsiteX24" fmla="*/ 32883 w 35274"/>
                <a:gd name="connsiteY24" fmla="*/ 0 h 35914"/>
                <a:gd name="connsiteX25" fmla="*/ 30292 w 35274"/>
                <a:gd name="connsiteY25" fmla="*/ 696 h 35914"/>
                <a:gd name="connsiteX26" fmla="*/ 27701 w 35274"/>
                <a:gd name="connsiteY26" fmla="*/ 1990 h 35914"/>
                <a:gd name="connsiteX27" fmla="*/ 25310 w 35274"/>
                <a:gd name="connsiteY27" fmla="*/ 2686 h 35914"/>
                <a:gd name="connsiteX28" fmla="*/ 16142 w 35274"/>
                <a:gd name="connsiteY28" fmla="*/ 2686 h 35914"/>
                <a:gd name="connsiteX29" fmla="*/ 15544 w 35274"/>
                <a:gd name="connsiteY29" fmla="*/ 4775 h 35914"/>
                <a:gd name="connsiteX30" fmla="*/ 14747 w 35274"/>
                <a:gd name="connsiteY30" fmla="*/ 6765 h 35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5274" h="35914">
                  <a:moveTo>
                    <a:pt x="14747" y="6765"/>
                  </a:moveTo>
                  <a:lnTo>
                    <a:pt x="13452" y="7661"/>
                  </a:lnTo>
                  <a:lnTo>
                    <a:pt x="12157" y="7959"/>
                  </a:lnTo>
                  <a:lnTo>
                    <a:pt x="10662" y="8556"/>
                  </a:lnTo>
                  <a:lnTo>
                    <a:pt x="9267" y="9551"/>
                  </a:lnTo>
                  <a:lnTo>
                    <a:pt x="4384" y="14724"/>
                  </a:lnTo>
                  <a:lnTo>
                    <a:pt x="3089" y="17211"/>
                  </a:lnTo>
                  <a:lnTo>
                    <a:pt x="2591" y="21489"/>
                  </a:lnTo>
                  <a:lnTo>
                    <a:pt x="2890" y="29050"/>
                  </a:lnTo>
                  <a:lnTo>
                    <a:pt x="2292" y="32831"/>
                  </a:lnTo>
                  <a:lnTo>
                    <a:pt x="0" y="34224"/>
                  </a:lnTo>
                  <a:lnTo>
                    <a:pt x="0" y="35318"/>
                  </a:lnTo>
                  <a:lnTo>
                    <a:pt x="1893" y="35915"/>
                  </a:lnTo>
                  <a:lnTo>
                    <a:pt x="2690" y="35318"/>
                  </a:lnTo>
                  <a:lnTo>
                    <a:pt x="4185" y="34622"/>
                  </a:lnTo>
                  <a:lnTo>
                    <a:pt x="15445" y="23181"/>
                  </a:lnTo>
                  <a:lnTo>
                    <a:pt x="18833" y="21987"/>
                  </a:lnTo>
                  <a:lnTo>
                    <a:pt x="27601" y="24772"/>
                  </a:lnTo>
                  <a:lnTo>
                    <a:pt x="28199" y="21887"/>
                  </a:lnTo>
                  <a:lnTo>
                    <a:pt x="27900" y="16813"/>
                  </a:lnTo>
                  <a:lnTo>
                    <a:pt x="30093" y="11143"/>
                  </a:lnTo>
                  <a:lnTo>
                    <a:pt x="29594" y="8556"/>
                  </a:lnTo>
                  <a:lnTo>
                    <a:pt x="30989" y="5870"/>
                  </a:lnTo>
                  <a:lnTo>
                    <a:pt x="35274" y="1393"/>
                  </a:lnTo>
                  <a:lnTo>
                    <a:pt x="32883" y="0"/>
                  </a:lnTo>
                  <a:lnTo>
                    <a:pt x="30292" y="696"/>
                  </a:lnTo>
                  <a:lnTo>
                    <a:pt x="27701" y="1990"/>
                  </a:lnTo>
                  <a:lnTo>
                    <a:pt x="25310" y="2686"/>
                  </a:lnTo>
                  <a:lnTo>
                    <a:pt x="16142" y="2686"/>
                  </a:lnTo>
                  <a:lnTo>
                    <a:pt x="15544" y="4775"/>
                  </a:lnTo>
                  <a:lnTo>
                    <a:pt x="14747" y="676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29" name="Freeform: Shape 1428">
              <a:extLst>
                <a:ext uri="{FF2B5EF4-FFF2-40B4-BE49-F238E27FC236}">
                  <a16:creationId xmlns:a16="http://schemas.microsoft.com/office/drawing/2014/main" id="{1BB19461-9D48-4A53-B67D-EDEEA1F596FC}"/>
                </a:ext>
              </a:extLst>
            </p:cNvPr>
            <p:cNvSpPr/>
            <p:nvPr/>
          </p:nvSpPr>
          <p:spPr>
            <a:xfrm>
              <a:off x="-2813917" y="-281812"/>
              <a:ext cx="25309" cy="54320"/>
            </a:xfrm>
            <a:custGeom>
              <a:avLst/>
              <a:gdLst>
                <a:gd name="connsiteX0" fmla="*/ 17338 w 25309"/>
                <a:gd name="connsiteY0" fmla="*/ 1592 h 54320"/>
                <a:gd name="connsiteX1" fmla="*/ 14448 w 25309"/>
                <a:gd name="connsiteY1" fmla="*/ 2985 h 54320"/>
                <a:gd name="connsiteX2" fmla="*/ 13153 w 25309"/>
                <a:gd name="connsiteY2" fmla="*/ 4278 h 54320"/>
                <a:gd name="connsiteX3" fmla="*/ 12057 w 25309"/>
                <a:gd name="connsiteY3" fmla="*/ 5969 h 54320"/>
                <a:gd name="connsiteX4" fmla="*/ 6676 w 25309"/>
                <a:gd name="connsiteY4" fmla="*/ 7959 h 54320"/>
                <a:gd name="connsiteX5" fmla="*/ 4883 w 25309"/>
                <a:gd name="connsiteY5" fmla="*/ 9053 h 54320"/>
                <a:gd name="connsiteX6" fmla="*/ 1794 w 25309"/>
                <a:gd name="connsiteY6" fmla="*/ 13033 h 54320"/>
                <a:gd name="connsiteX7" fmla="*/ 1196 w 25309"/>
                <a:gd name="connsiteY7" fmla="*/ 15421 h 54320"/>
                <a:gd name="connsiteX8" fmla="*/ 1096 w 25309"/>
                <a:gd name="connsiteY8" fmla="*/ 19500 h 54320"/>
                <a:gd name="connsiteX9" fmla="*/ 1993 w 25309"/>
                <a:gd name="connsiteY9" fmla="*/ 29747 h 54320"/>
                <a:gd name="connsiteX10" fmla="*/ 299 w 25309"/>
                <a:gd name="connsiteY10" fmla="*/ 36711 h 54320"/>
                <a:gd name="connsiteX11" fmla="*/ 0 w 25309"/>
                <a:gd name="connsiteY11" fmla="*/ 44272 h 54320"/>
                <a:gd name="connsiteX12" fmla="*/ 299 w 25309"/>
                <a:gd name="connsiteY12" fmla="*/ 51634 h 54320"/>
                <a:gd name="connsiteX13" fmla="*/ 698 w 25309"/>
                <a:gd name="connsiteY13" fmla="*/ 53922 h 54320"/>
                <a:gd name="connsiteX14" fmla="*/ 1794 w 25309"/>
                <a:gd name="connsiteY14" fmla="*/ 54320 h 54320"/>
                <a:gd name="connsiteX15" fmla="*/ 3189 w 25309"/>
                <a:gd name="connsiteY15" fmla="*/ 51534 h 54320"/>
                <a:gd name="connsiteX16" fmla="*/ 5779 w 25309"/>
                <a:gd name="connsiteY16" fmla="*/ 47754 h 54320"/>
                <a:gd name="connsiteX17" fmla="*/ 7573 w 25309"/>
                <a:gd name="connsiteY17" fmla="*/ 46262 h 54320"/>
                <a:gd name="connsiteX18" fmla="*/ 9167 w 25309"/>
                <a:gd name="connsiteY18" fmla="*/ 45565 h 54320"/>
                <a:gd name="connsiteX19" fmla="*/ 10562 w 25309"/>
                <a:gd name="connsiteY19" fmla="*/ 44272 h 54320"/>
                <a:gd name="connsiteX20" fmla="*/ 11459 w 25309"/>
                <a:gd name="connsiteY20" fmla="*/ 41188 h 54320"/>
                <a:gd name="connsiteX21" fmla="*/ 10263 w 25309"/>
                <a:gd name="connsiteY21" fmla="*/ 36810 h 54320"/>
                <a:gd name="connsiteX22" fmla="*/ 10263 w 25309"/>
                <a:gd name="connsiteY22" fmla="*/ 33925 h 54320"/>
                <a:gd name="connsiteX23" fmla="*/ 11060 w 25309"/>
                <a:gd name="connsiteY23" fmla="*/ 33229 h 54320"/>
                <a:gd name="connsiteX24" fmla="*/ 9167 w 25309"/>
                <a:gd name="connsiteY24" fmla="*/ 32632 h 54320"/>
                <a:gd name="connsiteX25" fmla="*/ 9167 w 25309"/>
                <a:gd name="connsiteY25" fmla="*/ 31538 h 54320"/>
                <a:gd name="connsiteX26" fmla="*/ 11459 w 25309"/>
                <a:gd name="connsiteY26" fmla="*/ 30145 h 54320"/>
                <a:gd name="connsiteX27" fmla="*/ 12057 w 25309"/>
                <a:gd name="connsiteY27" fmla="*/ 26364 h 54320"/>
                <a:gd name="connsiteX28" fmla="*/ 11758 w 25309"/>
                <a:gd name="connsiteY28" fmla="*/ 18803 h 54320"/>
                <a:gd name="connsiteX29" fmla="*/ 12256 w 25309"/>
                <a:gd name="connsiteY29" fmla="*/ 14525 h 54320"/>
                <a:gd name="connsiteX30" fmla="*/ 13552 w 25309"/>
                <a:gd name="connsiteY30" fmla="*/ 12038 h 54320"/>
                <a:gd name="connsiteX31" fmla="*/ 18434 w 25309"/>
                <a:gd name="connsiteY31" fmla="*/ 6865 h 54320"/>
                <a:gd name="connsiteX32" fmla="*/ 19829 w 25309"/>
                <a:gd name="connsiteY32" fmla="*/ 5870 h 54320"/>
                <a:gd name="connsiteX33" fmla="*/ 21324 w 25309"/>
                <a:gd name="connsiteY33" fmla="*/ 5273 h 54320"/>
                <a:gd name="connsiteX34" fmla="*/ 22619 w 25309"/>
                <a:gd name="connsiteY34" fmla="*/ 4974 h 54320"/>
                <a:gd name="connsiteX35" fmla="*/ 23915 w 25309"/>
                <a:gd name="connsiteY35" fmla="*/ 4079 h 54320"/>
                <a:gd name="connsiteX36" fmla="*/ 24712 w 25309"/>
                <a:gd name="connsiteY36" fmla="*/ 2089 h 54320"/>
                <a:gd name="connsiteX37" fmla="*/ 25310 w 25309"/>
                <a:gd name="connsiteY37" fmla="*/ 0 h 54320"/>
                <a:gd name="connsiteX38" fmla="*/ 22719 w 25309"/>
                <a:gd name="connsiteY38" fmla="*/ 0 h 54320"/>
                <a:gd name="connsiteX39" fmla="*/ 17338 w 25309"/>
                <a:gd name="connsiteY39" fmla="*/ 1592 h 5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5309" h="54320">
                  <a:moveTo>
                    <a:pt x="17338" y="1592"/>
                  </a:moveTo>
                  <a:lnTo>
                    <a:pt x="14448" y="2985"/>
                  </a:lnTo>
                  <a:lnTo>
                    <a:pt x="13153" y="4278"/>
                  </a:lnTo>
                  <a:lnTo>
                    <a:pt x="12057" y="5969"/>
                  </a:lnTo>
                  <a:lnTo>
                    <a:pt x="6676" y="7959"/>
                  </a:lnTo>
                  <a:lnTo>
                    <a:pt x="4883" y="9053"/>
                  </a:lnTo>
                  <a:lnTo>
                    <a:pt x="1794" y="13033"/>
                  </a:lnTo>
                  <a:lnTo>
                    <a:pt x="1196" y="15421"/>
                  </a:lnTo>
                  <a:lnTo>
                    <a:pt x="1096" y="19500"/>
                  </a:lnTo>
                  <a:lnTo>
                    <a:pt x="1993" y="29747"/>
                  </a:lnTo>
                  <a:lnTo>
                    <a:pt x="299" y="36711"/>
                  </a:lnTo>
                  <a:lnTo>
                    <a:pt x="0" y="44272"/>
                  </a:lnTo>
                  <a:lnTo>
                    <a:pt x="299" y="51634"/>
                  </a:lnTo>
                  <a:lnTo>
                    <a:pt x="698" y="53922"/>
                  </a:lnTo>
                  <a:lnTo>
                    <a:pt x="1794" y="54320"/>
                  </a:lnTo>
                  <a:lnTo>
                    <a:pt x="3189" y="51534"/>
                  </a:lnTo>
                  <a:lnTo>
                    <a:pt x="5779" y="47754"/>
                  </a:lnTo>
                  <a:lnTo>
                    <a:pt x="7573" y="46262"/>
                  </a:lnTo>
                  <a:lnTo>
                    <a:pt x="9167" y="45565"/>
                  </a:lnTo>
                  <a:lnTo>
                    <a:pt x="10562" y="44272"/>
                  </a:lnTo>
                  <a:lnTo>
                    <a:pt x="11459" y="41188"/>
                  </a:lnTo>
                  <a:lnTo>
                    <a:pt x="10263" y="36810"/>
                  </a:lnTo>
                  <a:lnTo>
                    <a:pt x="10263" y="33925"/>
                  </a:lnTo>
                  <a:lnTo>
                    <a:pt x="11060" y="33229"/>
                  </a:lnTo>
                  <a:lnTo>
                    <a:pt x="9167" y="32632"/>
                  </a:lnTo>
                  <a:lnTo>
                    <a:pt x="9167" y="31538"/>
                  </a:lnTo>
                  <a:lnTo>
                    <a:pt x="11459" y="30145"/>
                  </a:lnTo>
                  <a:lnTo>
                    <a:pt x="12057" y="26364"/>
                  </a:lnTo>
                  <a:lnTo>
                    <a:pt x="11758" y="18803"/>
                  </a:lnTo>
                  <a:lnTo>
                    <a:pt x="12256" y="14525"/>
                  </a:lnTo>
                  <a:lnTo>
                    <a:pt x="13552" y="12038"/>
                  </a:lnTo>
                  <a:lnTo>
                    <a:pt x="18434" y="6865"/>
                  </a:lnTo>
                  <a:lnTo>
                    <a:pt x="19829" y="5870"/>
                  </a:lnTo>
                  <a:lnTo>
                    <a:pt x="21324" y="5273"/>
                  </a:lnTo>
                  <a:lnTo>
                    <a:pt x="22619" y="4974"/>
                  </a:lnTo>
                  <a:lnTo>
                    <a:pt x="23915" y="4079"/>
                  </a:lnTo>
                  <a:lnTo>
                    <a:pt x="24712" y="2089"/>
                  </a:lnTo>
                  <a:lnTo>
                    <a:pt x="25310" y="0"/>
                  </a:lnTo>
                  <a:lnTo>
                    <a:pt x="22719" y="0"/>
                  </a:lnTo>
                  <a:lnTo>
                    <a:pt x="17338" y="15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0" name="Freeform: Shape 1429">
              <a:extLst>
                <a:ext uri="{FF2B5EF4-FFF2-40B4-BE49-F238E27FC236}">
                  <a16:creationId xmlns:a16="http://schemas.microsoft.com/office/drawing/2014/main" id="{5F45015E-E1B1-44D9-A915-EC9BBD6160C3}"/>
                </a:ext>
              </a:extLst>
            </p:cNvPr>
            <p:cNvSpPr/>
            <p:nvPr/>
          </p:nvSpPr>
          <p:spPr>
            <a:xfrm>
              <a:off x="-2848792" y="-103630"/>
              <a:ext cx="6277" cy="8754"/>
            </a:xfrm>
            <a:custGeom>
              <a:avLst/>
              <a:gdLst>
                <a:gd name="connsiteX0" fmla="*/ 4584 w 6277"/>
                <a:gd name="connsiteY0" fmla="*/ 0 h 8754"/>
                <a:gd name="connsiteX1" fmla="*/ 2093 w 6277"/>
                <a:gd name="connsiteY1" fmla="*/ 796 h 8754"/>
                <a:gd name="connsiteX2" fmla="*/ 2790 w 6277"/>
                <a:gd name="connsiteY2" fmla="*/ 2288 h 8754"/>
                <a:gd name="connsiteX3" fmla="*/ 1694 w 6277"/>
                <a:gd name="connsiteY3" fmla="*/ 4974 h 8754"/>
                <a:gd name="connsiteX4" fmla="*/ 0 w 6277"/>
                <a:gd name="connsiteY4" fmla="*/ 7661 h 8754"/>
                <a:gd name="connsiteX5" fmla="*/ 1794 w 6277"/>
                <a:gd name="connsiteY5" fmla="*/ 8755 h 8754"/>
                <a:gd name="connsiteX6" fmla="*/ 3986 w 6277"/>
                <a:gd name="connsiteY6" fmla="*/ 7462 h 8754"/>
                <a:gd name="connsiteX7" fmla="*/ 5979 w 6277"/>
                <a:gd name="connsiteY7" fmla="*/ 7163 h 8754"/>
                <a:gd name="connsiteX8" fmla="*/ 5879 w 6277"/>
                <a:gd name="connsiteY8" fmla="*/ 4278 h 8754"/>
                <a:gd name="connsiteX9" fmla="*/ 6278 w 6277"/>
                <a:gd name="connsiteY9" fmla="*/ 1393 h 8754"/>
                <a:gd name="connsiteX10" fmla="*/ 4584 w 6277"/>
                <a:gd name="connsiteY10" fmla="*/ 0 h 8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77" h="8754">
                  <a:moveTo>
                    <a:pt x="4584" y="0"/>
                  </a:moveTo>
                  <a:lnTo>
                    <a:pt x="2093" y="796"/>
                  </a:lnTo>
                  <a:lnTo>
                    <a:pt x="2790" y="2288"/>
                  </a:lnTo>
                  <a:lnTo>
                    <a:pt x="1694" y="4974"/>
                  </a:lnTo>
                  <a:lnTo>
                    <a:pt x="0" y="7661"/>
                  </a:lnTo>
                  <a:lnTo>
                    <a:pt x="1794" y="8755"/>
                  </a:lnTo>
                  <a:lnTo>
                    <a:pt x="3986" y="7462"/>
                  </a:lnTo>
                  <a:lnTo>
                    <a:pt x="5979" y="7163"/>
                  </a:lnTo>
                  <a:lnTo>
                    <a:pt x="5879" y="4278"/>
                  </a:lnTo>
                  <a:lnTo>
                    <a:pt x="6278" y="1393"/>
                  </a:lnTo>
                  <a:lnTo>
                    <a:pt x="4584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1" name="Freeform: Shape 1430">
              <a:extLst>
                <a:ext uri="{FF2B5EF4-FFF2-40B4-BE49-F238E27FC236}">
                  <a16:creationId xmlns:a16="http://schemas.microsoft.com/office/drawing/2014/main" id="{9CCE94A9-BE33-402C-BA5B-6E4EBA84097E}"/>
                </a:ext>
              </a:extLst>
            </p:cNvPr>
            <p:cNvSpPr/>
            <p:nvPr/>
          </p:nvSpPr>
          <p:spPr>
            <a:xfrm>
              <a:off x="-2838429" y="-134172"/>
              <a:ext cx="7074" cy="10943"/>
            </a:xfrm>
            <a:custGeom>
              <a:avLst/>
              <a:gdLst>
                <a:gd name="connsiteX0" fmla="*/ 1694 w 7074"/>
                <a:gd name="connsiteY0" fmla="*/ 0 h 10943"/>
                <a:gd name="connsiteX1" fmla="*/ 0 w 7074"/>
                <a:gd name="connsiteY1" fmla="*/ 2985 h 10943"/>
                <a:gd name="connsiteX2" fmla="*/ 199 w 7074"/>
                <a:gd name="connsiteY2" fmla="*/ 8357 h 10943"/>
                <a:gd name="connsiteX3" fmla="*/ 2491 w 7074"/>
                <a:gd name="connsiteY3" fmla="*/ 10944 h 10943"/>
                <a:gd name="connsiteX4" fmla="*/ 4883 w 7074"/>
                <a:gd name="connsiteY4" fmla="*/ 10944 h 10943"/>
                <a:gd name="connsiteX5" fmla="*/ 5580 w 7074"/>
                <a:gd name="connsiteY5" fmla="*/ 7263 h 10943"/>
                <a:gd name="connsiteX6" fmla="*/ 7075 w 7074"/>
                <a:gd name="connsiteY6" fmla="*/ 3979 h 10943"/>
                <a:gd name="connsiteX7" fmla="*/ 4783 w 7074"/>
                <a:gd name="connsiteY7" fmla="*/ 2288 h 10943"/>
                <a:gd name="connsiteX8" fmla="*/ 1694 w 7074"/>
                <a:gd name="connsiteY8" fmla="*/ 0 h 10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74" h="10943">
                  <a:moveTo>
                    <a:pt x="1694" y="0"/>
                  </a:moveTo>
                  <a:lnTo>
                    <a:pt x="0" y="2985"/>
                  </a:lnTo>
                  <a:lnTo>
                    <a:pt x="199" y="8357"/>
                  </a:lnTo>
                  <a:lnTo>
                    <a:pt x="2491" y="10944"/>
                  </a:lnTo>
                  <a:lnTo>
                    <a:pt x="4883" y="10944"/>
                  </a:lnTo>
                  <a:lnTo>
                    <a:pt x="5580" y="7263"/>
                  </a:lnTo>
                  <a:lnTo>
                    <a:pt x="7075" y="3979"/>
                  </a:lnTo>
                  <a:lnTo>
                    <a:pt x="4783" y="2288"/>
                  </a:lnTo>
                  <a:lnTo>
                    <a:pt x="1694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2" name="Freeform: Shape 1431">
              <a:extLst>
                <a:ext uri="{FF2B5EF4-FFF2-40B4-BE49-F238E27FC236}">
                  <a16:creationId xmlns:a16="http://schemas.microsoft.com/office/drawing/2014/main" id="{FE176233-0CD1-4CD5-B52C-D5C5ACD7F4FC}"/>
                </a:ext>
              </a:extLst>
            </p:cNvPr>
            <p:cNvSpPr/>
            <p:nvPr/>
          </p:nvSpPr>
          <p:spPr>
            <a:xfrm>
              <a:off x="-2854273" y="-203515"/>
              <a:ext cx="1395" cy="6765"/>
            </a:xfrm>
            <a:custGeom>
              <a:avLst/>
              <a:gdLst>
                <a:gd name="connsiteX0" fmla="*/ 1196 w 1395"/>
                <a:gd name="connsiteY0" fmla="*/ 5770 h 6765"/>
                <a:gd name="connsiteX1" fmla="*/ 1395 w 1395"/>
                <a:gd name="connsiteY1" fmla="*/ 2189 h 6765"/>
                <a:gd name="connsiteX2" fmla="*/ 0 w 1395"/>
                <a:gd name="connsiteY2" fmla="*/ 0 h 6765"/>
                <a:gd name="connsiteX3" fmla="*/ 0 w 1395"/>
                <a:gd name="connsiteY3" fmla="*/ 6765 h 6765"/>
                <a:gd name="connsiteX4" fmla="*/ 1196 w 1395"/>
                <a:gd name="connsiteY4" fmla="*/ 5770 h 6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" h="6765">
                  <a:moveTo>
                    <a:pt x="1196" y="5770"/>
                  </a:moveTo>
                  <a:lnTo>
                    <a:pt x="1395" y="2189"/>
                  </a:lnTo>
                  <a:lnTo>
                    <a:pt x="0" y="0"/>
                  </a:lnTo>
                  <a:lnTo>
                    <a:pt x="0" y="6765"/>
                  </a:lnTo>
                  <a:lnTo>
                    <a:pt x="1196" y="577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3" name="Freeform: Shape 1432">
              <a:extLst>
                <a:ext uri="{FF2B5EF4-FFF2-40B4-BE49-F238E27FC236}">
                  <a16:creationId xmlns:a16="http://schemas.microsoft.com/office/drawing/2014/main" id="{C050C33B-0CBB-446C-A2B3-5C4715A45ADF}"/>
                </a:ext>
              </a:extLst>
            </p:cNvPr>
            <p:cNvSpPr/>
            <p:nvPr/>
          </p:nvSpPr>
          <p:spPr>
            <a:xfrm>
              <a:off x="-2854273" y="-241519"/>
              <a:ext cx="21224" cy="39993"/>
            </a:xfrm>
            <a:custGeom>
              <a:avLst/>
              <a:gdLst>
                <a:gd name="connsiteX0" fmla="*/ 4285 w 21224"/>
                <a:gd name="connsiteY0" fmla="*/ 31339 h 39993"/>
                <a:gd name="connsiteX1" fmla="*/ 6577 w 21224"/>
                <a:gd name="connsiteY1" fmla="*/ 27757 h 39993"/>
                <a:gd name="connsiteX2" fmla="*/ 8071 w 21224"/>
                <a:gd name="connsiteY2" fmla="*/ 24175 h 39993"/>
                <a:gd name="connsiteX3" fmla="*/ 10961 w 21224"/>
                <a:gd name="connsiteY3" fmla="*/ 24772 h 39993"/>
                <a:gd name="connsiteX4" fmla="*/ 12954 w 21224"/>
                <a:gd name="connsiteY4" fmla="*/ 28951 h 39993"/>
                <a:gd name="connsiteX5" fmla="*/ 12256 w 21224"/>
                <a:gd name="connsiteY5" fmla="*/ 31836 h 39993"/>
                <a:gd name="connsiteX6" fmla="*/ 14349 w 21224"/>
                <a:gd name="connsiteY6" fmla="*/ 33925 h 39993"/>
                <a:gd name="connsiteX7" fmla="*/ 16641 w 21224"/>
                <a:gd name="connsiteY7" fmla="*/ 39994 h 39993"/>
                <a:gd name="connsiteX8" fmla="*/ 20826 w 21224"/>
                <a:gd name="connsiteY8" fmla="*/ 36910 h 39993"/>
                <a:gd name="connsiteX9" fmla="*/ 21224 w 21224"/>
                <a:gd name="connsiteY9" fmla="*/ 31239 h 39993"/>
                <a:gd name="connsiteX10" fmla="*/ 18633 w 21224"/>
                <a:gd name="connsiteY10" fmla="*/ 25469 h 39993"/>
                <a:gd name="connsiteX11" fmla="*/ 19829 w 21224"/>
                <a:gd name="connsiteY11" fmla="*/ 19798 h 39993"/>
                <a:gd name="connsiteX12" fmla="*/ 15744 w 21224"/>
                <a:gd name="connsiteY12" fmla="*/ 15719 h 39993"/>
                <a:gd name="connsiteX13" fmla="*/ 11359 w 21224"/>
                <a:gd name="connsiteY13" fmla="*/ 13132 h 39993"/>
                <a:gd name="connsiteX14" fmla="*/ 9964 w 21224"/>
                <a:gd name="connsiteY14" fmla="*/ 9451 h 39993"/>
                <a:gd name="connsiteX15" fmla="*/ 8370 w 21224"/>
                <a:gd name="connsiteY15" fmla="*/ 6666 h 39993"/>
                <a:gd name="connsiteX16" fmla="*/ 5281 w 21224"/>
                <a:gd name="connsiteY16" fmla="*/ 3482 h 39993"/>
                <a:gd name="connsiteX17" fmla="*/ 1893 w 21224"/>
                <a:gd name="connsiteY17" fmla="*/ 796 h 39993"/>
                <a:gd name="connsiteX18" fmla="*/ 0 w 21224"/>
                <a:gd name="connsiteY18" fmla="*/ 0 h 39993"/>
                <a:gd name="connsiteX19" fmla="*/ 0 w 21224"/>
                <a:gd name="connsiteY19" fmla="*/ 28752 h 39993"/>
                <a:gd name="connsiteX20" fmla="*/ 2292 w 21224"/>
                <a:gd name="connsiteY20" fmla="*/ 30941 h 39993"/>
                <a:gd name="connsiteX21" fmla="*/ 4285 w 21224"/>
                <a:gd name="connsiteY21" fmla="*/ 31339 h 39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1224" h="39993">
                  <a:moveTo>
                    <a:pt x="4285" y="31339"/>
                  </a:moveTo>
                  <a:lnTo>
                    <a:pt x="6577" y="27757"/>
                  </a:lnTo>
                  <a:lnTo>
                    <a:pt x="8071" y="24175"/>
                  </a:lnTo>
                  <a:lnTo>
                    <a:pt x="10961" y="24772"/>
                  </a:lnTo>
                  <a:lnTo>
                    <a:pt x="12954" y="28951"/>
                  </a:lnTo>
                  <a:lnTo>
                    <a:pt x="12256" y="31836"/>
                  </a:lnTo>
                  <a:lnTo>
                    <a:pt x="14349" y="33925"/>
                  </a:lnTo>
                  <a:lnTo>
                    <a:pt x="16641" y="39994"/>
                  </a:lnTo>
                  <a:lnTo>
                    <a:pt x="20826" y="36910"/>
                  </a:lnTo>
                  <a:lnTo>
                    <a:pt x="21224" y="31239"/>
                  </a:lnTo>
                  <a:lnTo>
                    <a:pt x="18633" y="25469"/>
                  </a:lnTo>
                  <a:lnTo>
                    <a:pt x="19829" y="19798"/>
                  </a:lnTo>
                  <a:lnTo>
                    <a:pt x="15744" y="15719"/>
                  </a:lnTo>
                  <a:lnTo>
                    <a:pt x="11359" y="13132"/>
                  </a:lnTo>
                  <a:lnTo>
                    <a:pt x="9964" y="9451"/>
                  </a:lnTo>
                  <a:lnTo>
                    <a:pt x="8370" y="6666"/>
                  </a:lnTo>
                  <a:lnTo>
                    <a:pt x="5281" y="3482"/>
                  </a:lnTo>
                  <a:lnTo>
                    <a:pt x="1893" y="796"/>
                  </a:lnTo>
                  <a:lnTo>
                    <a:pt x="0" y="0"/>
                  </a:lnTo>
                  <a:lnTo>
                    <a:pt x="0" y="28752"/>
                  </a:lnTo>
                  <a:lnTo>
                    <a:pt x="2292" y="30941"/>
                  </a:lnTo>
                  <a:lnTo>
                    <a:pt x="4285" y="3133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4" name="Freeform: Shape 1433">
              <a:extLst>
                <a:ext uri="{FF2B5EF4-FFF2-40B4-BE49-F238E27FC236}">
                  <a16:creationId xmlns:a16="http://schemas.microsoft.com/office/drawing/2014/main" id="{A28DB2EF-FCB1-4F7A-9CAE-503F034E0A7B}"/>
                </a:ext>
              </a:extLst>
            </p:cNvPr>
            <p:cNvSpPr/>
            <p:nvPr/>
          </p:nvSpPr>
          <p:spPr>
            <a:xfrm>
              <a:off x="-2834742" y="-217145"/>
              <a:ext cx="25907" cy="42680"/>
            </a:xfrm>
            <a:custGeom>
              <a:avLst/>
              <a:gdLst>
                <a:gd name="connsiteX0" fmla="*/ 9665 w 25907"/>
                <a:gd name="connsiteY0" fmla="*/ 12137 h 42680"/>
                <a:gd name="connsiteX1" fmla="*/ 1893 w 25907"/>
                <a:gd name="connsiteY1" fmla="*/ 19997 h 42680"/>
                <a:gd name="connsiteX2" fmla="*/ 698 w 25907"/>
                <a:gd name="connsiteY2" fmla="*/ 23380 h 42680"/>
                <a:gd name="connsiteX3" fmla="*/ 0 w 25907"/>
                <a:gd name="connsiteY3" fmla="*/ 27558 h 42680"/>
                <a:gd name="connsiteX4" fmla="*/ 100 w 25907"/>
                <a:gd name="connsiteY4" fmla="*/ 31836 h 42680"/>
                <a:gd name="connsiteX5" fmla="*/ 897 w 25907"/>
                <a:gd name="connsiteY5" fmla="*/ 35617 h 42680"/>
                <a:gd name="connsiteX6" fmla="*/ 1893 w 25907"/>
                <a:gd name="connsiteY6" fmla="*/ 37009 h 42680"/>
                <a:gd name="connsiteX7" fmla="*/ 4683 w 25907"/>
                <a:gd name="connsiteY7" fmla="*/ 38900 h 42680"/>
                <a:gd name="connsiteX8" fmla="*/ 5779 w 25907"/>
                <a:gd name="connsiteY8" fmla="*/ 39894 h 42680"/>
                <a:gd name="connsiteX9" fmla="*/ 6875 w 25907"/>
                <a:gd name="connsiteY9" fmla="*/ 41586 h 42680"/>
                <a:gd name="connsiteX10" fmla="*/ 7872 w 25907"/>
                <a:gd name="connsiteY10" fmla="*/ 42680 h 42680"/>
                <a:gd name="connsiteX11" fmla="*/ 8769 w 25907"/>
                <a:gd name="connsiteY11" fmla="*/ 42581 h 42680"/>
                <a:gd name="connsiteX12" fmla="*/ 9665 w 25907"/>
                <a:gd name="connsiteY12" fmla="*/ 40392 h 42680"/>
                <a:gd name="connsiteX13" fmla="*/ 12456 w 25907"/>
                <a:gd name="connsiteY13" fmla="*/ 41188 h 42680"/>
                <a:gd name="connsiteX14" fmla="*/ 22320 w 25907"/>
                <a:gd name="connsiteY14" fmla="*/ 41387 h 42680"/>
                <a:gd name="connsiteX15" fmla="*/ 25210 w 25907"/>
                <a:gd name="connsiteY15" fmla="*/ 40392 h 42680"/>
                <a:gd name="connsiteX16" fmla="*/ 25907 w 25907"/>
                <a:gd name="connsiteY16" fmla="*/ 37706 h 42680"/>
                <a:gd name="connsiteX17" fmla="*/ 23317 w 25907"/>
                <a:gd name="connsiteY17" fmla="*/ 30045 h 42680"/>
                <a:gd name="connsiteX18" fmla="*/ 22619 w 25907"/>
                <a:gd name="connsiteY18" fmla="*/ 26066 h 42680"/>
                <a:gd name="connsiteX19" fmla="*/ 22918 w 25907"/>
                <a:gd name="connsiteY19" fmla="*/ 23678 h 42680"/>
                <a:gd name="connsiteX20" fmla="*/ 23616 w 25907"/>
                <a:gd name="connsiteY20" fmla="*/ 20395 h 42680"/>
                <a:gd name="connsiteX21" fmla="*/ 23616 w 25907"/>
                <a:gd name="connsiteY21" fmla="*/ 18704 h 42680"/>
                <a:gd name="connsiteX22" fmla="*/ 23117 w 25907"/>
                <a:gd name="connsiteY22" fmla="*/ 16813 h 42680"/>
                <a:gd name="connsiteX23" fmla="*/ 21623 w 25907"/>
                <a:gd name="connsiteY23" fmla="*/ 14724 h 42680"/>
                <a:gd name="connsiteX24" fmla="*/ 20925 w 25907"/>
                <a:gd name="connsiteY24" fmla="*/ 12834 h 42680"/>
                <a:gd name="connsiteX25" fmla="*/ 20826 w 25907"/>
                <a:gd name="connsiteY25" fmla="*/ 10645 h 42680"/>
                <a:gd name="connsiteX26" fmla="*/ 21324 w 25907"/>
                <a:gd name="connsiteY26" fmla="*/ 7462 h 42680"/>
                <a:gd name="connsiteX27" fmla="*/ 20925 w 25907"/>
                <a:gd name="connsiteY27" fmla="*/ 5571 h 42680"/>
                <a:gd name="connsiteX28" fmla="*/ 19630 w 25907"/>
                <a:gd name="connsiteY28" fmla="*/ 3681 h 42680"/>
                <a:gd name="connsiteX29" fmla="*/ 17836 w 25907"/>
                <a:gd name="connsiteY29" fmla="*/ 2288 h 42680"/>
                <a:gd name="connsiteX30" fmla="*/ 15943 w 25907"/>
                <a:gd name="connsiteY30" fmla="*/ 1293 h 42680"/>
                <a:gd name="connsiteX31" fmla="*/ 12356 w 25907"/>
                <a:gd name="connsiteY31" fmla="*/ 199 h 42680"/>
                <a:gd name="connsiteX32" fmla="*/ 9765 w 25907"/>
                <a:gd name="connsiteY32" fmla="*/ 0 h 42680"/>
                <a:gd name="connsiteX33" fmla="*/ 7972 w 25907"/>
                <a:gd name="connsiteY33" fmla="*/ 597 h 42680"/>
                <a:gd name="connsiteX34" fmla="*/ 8370 w 25907"/>
                <a:gd name="connsiteY34" fmla="*/ 2487 h 42680"/>
                <a:gd name="connsiteX35" fmla="*/ 10762 w 25907"/>
                <a:gd name="connsiteY35" fmla="*/ 5273 h 42680"/>
                <a:gd name="connsiteX36" fmla="*/ 11359 w 25907"/>
                <a:gd name="connsiteY36" fmla="*/ 6964 h 42680"/>
                <a:gd name="connsiteX37" fmla="*/ 11359 w 25907"/>
                <a:gd name="connsiteY37" fmla="*/ 9053 h 42680"/>
                <a:gd name="connsiteX38" fmla="*/ 9665 w 25907"/>
                <a:gd name="connsiteY38" fmla="*/ 12137 h 42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5907" h="42680">
                  <a:moveTo>
                    <a:pt x="9665" y="12137"/>
                  </a:moveTo>
                  <a:lnTo>
                    <a:pt x="1893" y="19997"/>
                  </a:lnTo>
                  <a:lnTo>
                    <a:pt x="698" y="23380"/>
                  </a:lnTo>
                  <a:lnTo>
                    <a:pt x="0" y="27558"/>
                  </a:lnTo>
                  <a:lnTo>
                    <a:pt x="100" y="31836"/>
                  </a:lnTo>
                  <a:lnTo>
                    <a:pt x="897" y="35617"/>
                  </a:lnTo>
                  <a:lnTo>
                    <a:pt x="1893" y="37009"/>
                  </a:lnTo>
                  <a:lnTo>
                    <a:pt x="4683" y="38900"/>
                  </a:lnTo>
                  <a:lnTo>
                    <a:pt x="5779" y="39894"/>
                  </a:lnTo>
                  <a:lnTo>
                    <a:pt x="6875" y="41586"/>
                  </a:lnTo>
                  <a:lnTo>
                    <a:pt x="7872" y="42680"/>
                  </a:lnTo>
                  <a:lnTo>
                    <a:pt x="8769" y="42581"/>
                  </a:lnTo>
                  <a:lnTo>
                    <a:pt x="9665" y="40392"/>
                  </a:lnTo>
                  <a:lnTo>
                    <a:pt x="12456" y="41188"/>
                  </a:lnTo>
                  <a:lnTo>
                    <a:pt x="22320" y="41387"/>
                  </a:lnTo>
                  <a:lnTo>
                    <a:pt x="25210" y="40392"/>
                  </a:lnTo>
                  <a:lnTo>
                    <a:pt x="25907" y="37706"/>
                  </a:lnTo>
                  <a:lnTo>
                    <a:pt x="23317" y="30045"/>
                  </a:lnTo>
                  <a:lnTo>
                    <a:pt x="22619" y="26066"/>
                  </a:lnTo>
                  <a:lnTo>
                    <a:pt x="22918" y="23678"/>
                  </a:lnTo>
                  <a:lnTo>
                    <a:pt x="23616" y="20395"/>
                  </a:lnTo>
                  <a:lnTo>
                    <a:pt x="23616" y="18704"/>
                  </a:lnTo>
                  <a:lnTo>
                    <a:pt x="23117" y="16813"/>
                  </a:lnTo>
                  <a:lnTo>
                    <a:pt x="21623" y="14724"/>
                  </a:lnTo>
                  <a:lnTo>
                    <a:pt x="20925" y="12834"/>
                  </a:lnTo>
                  <a:lnTo>
                    <a:pt x="20826" y="10645"/>
                  </a:lnTo>
                  <a:lnTo>
                    <a:pt x="21324" y="7462"/>
                  </a:lnTo>
                  <a:lnTo>
                    <a:pt x="20925" y="5571"/>
                  </a:lnTo>
                  <a:lnTo>
                    <a:pt x="19630" y="3681"/>
                  </a:lnTo>
                  <a:lnTo>
                    <a:pt x="17836" y="2288"/>
                  </a:lnTo>
                  <a:lnTo>
                    <a:pt x="15943" y="1293"/>
                  </a:lnTo>
                  <a:lnTo>
                    <a:pt x="12356" y="199"/>
                  </a:lnTo>
                  <a:lnTo>
                    <a:pt x="9765" y="0"/>
                  </a:lnTo>
                  <a:lnTo>
                    <a:pt x="7972" y="597"/>
                  </a:lnTo>
                  <a:lnTo>
                    <a:pt x="8370" y="2487"/>
                  </a:lnTo>
                  <a:lnTo>
                    <a:pt x="10762" y="5273"/>
                  </a:lnTo>
                  <a:lnTo>
                    <a:pt x="11359" y="6964"/>
                  </a:lnTo>
                  <a:lnTo>
                    <a:pt x="11359" y="9053"/>
                  </a:lnTo>
                  <a:lnTo>
                    <a:pt x="9665" y="1213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5" name="Freeform: Shape 1434">
              <a:extLst>
                <a:ext uri="{FF2B5EF4-FFF2-40B4-BE49-F238E27FC236}">
                  <a16:creationId xmlns:a16="http://schemas.microsoft.com/office/drawing/2014/main" id="{C1210B23-4A5B-4F53-85D2-44DC38511CE2}"/>
                </a:ext>
              </a:extLst>
            </p:cNvPr>
            <p:cNvSpPr/>
            <p:nvPr/>
          </p:nvSpPr>
          <p:spPr>
            <a:xfrm>
              <a:off x="-2810629" y="-254055"/>
              <a:ext cx="30690" cy="39695"/>
            </a:xfrm>
            <a:custGeom>
              <a:avLst/>
              <a:gdLst>
                <a:gd name="connsiteX0" fmla="*/ 3886 w 30690"/>
                <a:gd name="connsiteY0" fmla="*/ 26663 h 39695"/>
                <a:gd name="connsiteX1" fmla="*/ 2391 w 30690"/>
                <a:gd name="connsiteY1" fmla="*/ 27956 h 39695"/>
                <a:gd name="connsiteX2" fmla="*/ 2192 w 30690"/>
                <a:gd name="connsiteY2" fmla="*/ 27856 h 39695"/>
                <a:gd name="connsiteX3" fmla="*/ 0 w 30690"/>
                <a:gd name="connsiteY3" fmla="*/ 31736 h 39695"/>
                <a:gd name="connsiteX4" fmla="*/ 3786 w 30690"/>
                <a:gd name="connsiteY4" fmla="*/ 39397 h 39695"/>
                <a:gd name="connsiteX5" fmla="*/ 5680 w 30690"/>
                <a:gd name="connsiteY5" fmla="*/ 39695 h 39695"/>
                <a:gd name="connsiteX6" fmla="*/ 9267 w 30690"/>
                <a:gd name="connsiteY6" fmla="*/ 37109 h 39695"/>
                <a:gd name="connsiteX7" fmla="*/ 11160 w 30690"/>
                <a:gd name="connsiteY7" fmla="*/ 36412 h 39695"/>
                <a:gd name="connsiteX8" fmla="*/ 17238 w 30690"/>
                <a:gd name="connsiteY8" fmla="*/ 35915 h 39695"/>
                <a:gd name="connsiteX9" fmla="*/ 19431 w 30690"/>
                <a:gd name="connsiteY9" fmla="*/ 36412 h 39695"/>
                <a:gd name="connsiteX10" fmla="*/ 24214 w 30690"/>
                <a:gd name="connsiteY10" fmla="*/ 38502 h 39695"/>
                <a:gd name="connsiteX11" fmla="*/ 26406 w 30690"/>
                <a:gd name="connsiteY11" fmla="*/ 38800 h 39695"/>
                <a:gd name="connsiteX12" fmla="*/ 28000 w 30690"/>
                <a:gd name="connsiteY12" fmla="*/ 38004 h 39695"/>
                <a:gd name="connsiteX13" fmla="*/ 28897 w 30690"/>
                <a:gd name="connsiteY13" fmla="*/ 36313 h 39695"/>
                <a:gd name="connsiteX14" fmla="*/ 28996 w 30690"/>
                <a:gd name="connsiteY14" fmla="*/ 34323 h 39695"/>
                <a:gd name="connsiteX15" fmla="*/ 28000 w 30690"/>
                <a:gd name="connsiteY15" fmla="*/ 32731 h 39695"/>
                <a:gd name="connsiteX16" fmla="*/ 29794 w 30690"/>
                <a:gd name="connsiteY16" fmla="*/ 30443 h 39695"/>
                <a:gd name="connsiteX17" fmla="*/ 30690 w 30690"/>
                <a:gd name="connsiteY17" fmla="*/ 28752 h 39695"/>
                <a:gd name="connsiteX18" fmla="*/ 30690 w 30690"/>
                <a:gd name="connsiteY18" fmla="*/ 26961 h 39695"/>
                <a:gd name="connsiteX19" fmla="*/ 29794 w 30690"/>
                <a:gd name="connsiteY19" fmla="*/ 24275 h 39695"/>
                <a:gd name="connsiteX20" fmla="*/ 21722 w 30690"/>
                <a:gd name="connsiteY20" fmla="*/ 11242 h 39695"/>
                <a:gd name="connsiteX21" fmla="*/ 20527 w 30690"/>
                <a:gd name="connsiteY21" fmla="*/ 7561 h 39695"/>
                <a:gd name="connsiteX22" fmla="*/ 20327 w 30690"/>
                <a:gd name="connsiteY22" fmla="*/ 2587 h 39695"/>
                <a:gd name="connsiteX23" fmla="*/ 19132 w 30690"/>
                <a:gd name="connsiteY23" fmla="*/ 0 h 39695"/>
                <a:gd name="connsiteX24" fmla="*/ 16043 w 30690"/>
                <a:gd name="connsiteY24" fmla="*/ 2089 h 39695"/>
                <a:gd name="connsiteX25" fmla="*/ 12655 w 30690"/>
                <a:gd name="connsiteY25" fmla="*/ 6168 h 39695"/>
                <a:gd name="connsiteX26" fmla="*/ 10762 w 30690"/>
                <a:gd name="connsiteY26" fmla="*/ 9750 h 39695"/>
                <a:gd name="connsiteX27" fmla="*/ 10463 w 30690"/>
                <a:gd name="connsiteY27" fmla="*/ 16117 h 39695"/>
                <a:gd name="connsiteX28" fmla="*/ 7274 w 30690"/>
                <a:gd name="connsiteY28" fmla="*/ 20295 h 39695"/>
                <a:gd name="connsiteX29" fmla="*/ 5779 w 30690"/>
                <a:gd name="connsiteY29" fmla="*/ 23479 h 39695"/>
                <a:gd name="connsiteX30" fmla="*/ 3886 w 30690"/>
                <a:gd name="connsiteY30" fmla="*/ 26663 h 39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0690" h="39695">
                  <a:moveTo>
                    <a:pt x="3886" y="26663"/>
                  </a:moveTo>
                  <a:lnTo>
                    <a:pt x="2391" y="27956"/>
                  </a:lnTo>
                  <a:lnTo>
                    <a:pt x="2192" y="27856"/>
                  </a:lnTo>
                  <a:lnTo>
                    <a:pt x="0" y="31736"/>
                  </a:lnTo>
                  <a:lnTo>
                    <a:pt x="3786" y="39397"/>
                  </a:lnTo>
                  <a:lnTo>
                    <a:pt x="5680" y="39695"/>
                  </a:lnTo>
                  <a:lnTo>
                    <a:pt x="9267" y="37109"/>
                  </a:lnTo>
                  <a:lnTo>
                    <a:pt x="11160" y="36412"/>
                  </a:lnTo>
                  <a:lnTo>
                    <a:pt x="17238" y="35915"/>
                  </a:lnTo>
                  <a:lnTo>
                    <a:pt x="19431" y="36412"/>
                  </a:lnTo>
                  <a:lnTo>
                    <a:pt x="24214" y="38502"/>
                  </a:lnTo>
                  <a:lnTo>
                    <a:pt x="26406" y="38800"/>
                  </a:lnTo>
                  <a:lnTo>
                    <a:pt x="28000" y="38004"/>
                  </a:lnTo>
                  <a:lnTo>
                    <a:pt x="28897" y="36313"/>
                  </a:lnTo>
                  <a:lnTo>
                    <a:pt x="28996" y="34323"/>
                  </a:lnTo>
                  <a:lnTo>
                    <a:pt x="28000" y="32731"/>
                  </a:lnTo>
                  <a:lnTo>
                    <a:pt x="29794" y="30443"/>
                  </a:lnTo>
                  <a:lnTo>
                    <a:pt x="30690" y="28752"/>
                  </a:lnTo>
                  <a:lnTo>
                    <a:pt x="30690" y="26961"/>
                  </a:lnTo>
                  <a:lnTo>
                    <a:pt x="29794" y="24275"/>
                  </a:lnTo>
                  <a:lnTo>
                    <a:pt x="21722" y="11242"/>
                  </a:lnTo>
                  <a:lnTo>
                    <a:pt x="20527" y="7561"/>
                  </a:lnTo>
                  <a:lnTo>
                    <a:pt x="20327" y="2587"/>
                  </a:lnTo>
                  <a:lnTo>
                    <a:pt x="19132" y="0"/>
                  </a:lnTo>
                  <a:lnTo>
                    <a:pt x="16043" y="2089"/>
                  </a:lnTo>
                  <a:lnTo>
                    <a:pt x="12655" y="6168"/>
                  </a:lnTo>
                  <a:lnTo>
                    <a:pt x="10762" y="9750"/>
                  </a:lnTo>
                  <a:lnTo>
                    <a:pt x="10463" y="16117"/>
                  </a:lnTo>
                  <a:lnTo>
                    <a:pt x="7274" y="20295"/>
                  </a:lnTo>
                  <a:lnTo>
                    <a:pt x="5779" y="23479"/>
                  </a:lnTo>
                  <a:lnTo>
                    <a:pt x="3886" y="2666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6" name="Freeform: Shape 1435">
              <a:extLst>
                <a:ext uri="{FF2B5EF4-FFF2-40B4-BE49-F238E27FC236}">
                  <a16:creationId xmlns:a16="http://schemas.microsoft.com/office/drawing/2014/main" id="{C076809A-D5AF-4F5E-A0A5-50DC0A8D0082}"/>
                </a:ext>
              </a:extLst>
            </p:cNvPr>
            <p:cNvSpPr/>
            <p:nvPr/>
          </p:nvSpPr>
          <p:spPr>
            <a:xfrm>
              <a:off x="-2808436" y="-233759"/>
              <a:ext cx="5081" cy="7660"/>
            </a:xfrm>
            <a:custGeom>
              <a:avLst/>
              <a:gdLst>
                <a:gd name="connsiteX0" fmla="*/ 0 w 5081"/>
                <a:gd name="connsiteY0" fmla="*/ 7561 h 7660"/>
                <a:gd name="connsiteX1" fmla="*/ 199 w 5081"/>
                <a:gd name="connsiteY1" fmla="*/ 7661 h 7660"/>
                <a:gd name="connsiteX2" fmla="*/ 1694 w 5081"/>
                <a:gd name="connsiteY2" fmla="*/ 6367 h 7660"/>
                <a:gd name="connsiteX3" fmla="*/ 3587 w 5081"/>
                <a:gd name="connsiteY3" fmla="*/ 3184 h 7660"/>
                <a:gd name="connsiteX4" fmla="*/ 5082 w 5081"/>
                <a:gd name="connsiteY4" fmla="*/ 0 h 7660"/>
                <a:gd name="connsiteX5" fmla="*/ 2391 w 5081"/>
                <a:gd name="connsiteY5" fmla="*/ 3383 h 7660"/>
                <a:gd name="connsiteX6" fmla="*/ 0 w 5081"/>
                <a:gd name="connsiteY6" fmla="*/ 7561 h 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81" h="7660">
                  <a:moveTo>
                    <a:pt x="0" y="7561"/>
                  </a:moveTo>
                  <a:lnTo>
                    <a:pt x="199" y="7661"/>
                  </a:lnTo>
                  <a:lnTo>
                    <a:pt x="1694" y="6367"/>
                  </a:lnTo>
                  <a:lnTo>
                    <a:pt x="3587" y="3184"/>
                  </a:lnTo>
                  <a:lnTo>
                    <a:pt x="5082" y="0"/>
                  </a:lnTo>
                  <a:lnTo>
                    <a:pt x="2391" y="3383"/>
                  </a:lnTo>
                  <a:lnTo>
                    <a:pt x="0" y="756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7" name="Freeform: Shape 1436">
              <a:extLst>
                <a:ext uri="{FF2B5EF4-FFF2-40B4-BE49-F238E27FC236}">
                  <a16:creationId xmlns:a16="http://schemas.microsoft.com/office/drawing/2014/main" id="{8346E046-3B4F-4364-A4B2-C647D0F34B3F}"/>
                </a:ext>
              </a:extLst>
            </p:cNvPr>
            <p:cNvSpPr/>
            <p:nvPr/>
          </p:nvSpPr>
          <p:spPr>
            <a:xfrm>
              <a:off x="-2731312" y="-25731"/>
              <a:ext cx="37366" cy="27955"/>
            </a:xfrm>
            <a:custGeom>
              <a:avLst/>
              <a:gdLst>
                <a:gd name="connsiteX0" fmla="*/ 30890 w 37366"/>
                <a:gd name="connsiteY0" fmla="*/ 597 h 27955"/>
                <a:gd name="connsiteX1" fmla="*/ 22619 w 37366"/>
                <a:gd name="connsiteY1" fmla="*/ 0 h 27955"/>
                <a:gd name="connsiteX2" fmla="*/ 19829 w 37366"/>
                <a:gd name="connsiteY2" fmla="*/ 995 h 27955"/>
                <a:gd name="connsiteX3" fmla="*/ 14448 w 37366"/>
                <a:gd name="connsiteY3" fmla="*/ 696 h 27955"/>
                <a:gd name="connsiteX4" fmla="*/ 9566 w 37366"/>
                <a:gd name="connsiteY4" fmla="*/ 398 h 27955"/>
                <a:gd name="connsiteX5" fmla="*/ 8569 w 37366"/>
                <a:gd name="connsiteY5" fmla="*/ 2686 h 27955"/>
                <a:gd name="connsiteX6" fmla="*/ 8370 w 37366"/>
                <a:gd name="connsiteY6" fmla="*/ 5173 h 27955"/>
                <a:gd name="connsiteX7" fmla="*/ 6477 w 37366"/>
                <a:gd name="connsiteY7" fmla="*/ 6566 h 27955"/>
                <a:gd name="connsiteX8" fmla="*/ 4982 w 37366"/>
                <a:gd name="connsiteY8" fmla="*/ 9352 h 27955"/>
                <a:gd name="connsiteX9" fmla="*/ 598 w 37366"/>
                <a:gd name="connsiteY9" fmla="*/ 11441 h 27955"/>
                <a:gd name="connsiteX10" fmla="*/ 0 w 37366"/>
                <a:gd name="connsiteY10" fmla="*/ 14426 h 27955"/>
                <a:gd name="connsiteX11" fmla="*/ 2192 w 37366"/>
                <a:gd name="connsiteY11" fmla="*/ 15222 h 27955"/>
                <a:gd name="connsiteX12" fmla="*/ 5779 w 37366"/>
                <a:gd name="connsiteY12" fmla="*/ 15520 h 27955"/>
                <a:gd name="connsiteX13" fmla="*/ 11758 w 37366"/>
                <a:gd name="connsiteY13" fmla="*/ 15023 h 27955"/>
                <a:gd name="connsiteX14" fmla="*/ 10562 w 37366"/>
                <a:gd name="connsiteY14" fmla="*/ 17012 h 27955"/>
                <a:gd name="connsiteX15" fmla="*/ 8669 w 37366"/>
                <a:gd name="connsiteY15" fmla="*/ 19002 h 27955"/>
                <a:gd name="connsiteX16" fmla="*/ 10263 w 37366"/>
                <a:gd name="connsiteY16" fmla="*/ 20494 h 27955"/>
                <a:gd name="connsiteX17" fmla="*/ 12754 w 37366"/>
                <a:gd name="connsiteY17" fmla="*/ 19599 h 27955"/>
                <a:gd name="connsiteX18" fmla="*/ 14947 w 37366"/>
                <a:gd name="connsiteY18" fmla="*/ 17112 h 27955"/>
                <a:gd name="connsiteX19" fmla="*/ 16242 w 37366"/>
                <a:gd name="connsiteY19" fmla="*/ 14724 h 27955"/>
                <a:gd name="connsiteX20" fmla="*/ 18932 w 37366"/>
                <a:gd name="connsiteY20" fmla="*/ 15819 h 27955"/>
                <a:gd name="connsiteX21" fmla="*/ 20925 w 37366"/>
                <a:gd name="connsiteY21" fmla="*/ 16714 h 27955"/>
                <a:gd name="connsiteX22" fmla="*/ 19630 w 37366"/>
                <a:gd name="connsiteY22" fmla="*/ 20693 h 27955"/>
                <a:gd name="connsiteX23" fmla="*/ 17537 w 37366"/>
                <a:gd name="connsiteY23" fmla="*/ 24772 h 27955"/>
                <a:gd name="connsiteX24" fmla="*/ 19829 w 37366"/>
                <a:gd name="connsiteY24" fmla="*/ 26464 h 27955"/>
                <a:gd name="connsiteX25" fmla="*/ 23217 w 37366"/>
                <a:gd name="connsiteY25" fmla="*/ 27956 h 27955"/>
                <a:gd name="connsiteX26" fmla="*/ 25509 w 37366"/>
                <a:gd name="connsiteY26" fmla="*/ 26066 h 27955"/>
                <a:gd name="connsiteX27" fmla="*/ 23516 w 37366"/>
                <a:gd name="connsiteY27" fmla="*/ 21589 h 27955"/>
                <a:gd name="connsiteX28" fmla="*/ 24413 w 37366"/>
                <a:gd name="connsiteY28" fmla="*/ 16117 h 27955"/>
                <a:gd name="connsiteX29" fmla="*/ 26505 w 37366"/>
                <a:gd name="connsiteY29" fmla="*/ 18903 h 27955"/>
                <a:gd name="connsiteX30" fmla="*/ 27801 w 37366"/>
                <a:gd name="connsiteY30" fmla="*/ 19002 h 27955"/>
                <a:gd name="connsiteX31" fmla="*/ 29993 w 37366"/>
                <a:gd name="connsiteY31" fmla="*/ 13232 h 27955"/>
                <a:gd name="connsiteX32" fmla="*/ 30391 w 37366"/>
                <a:gd name="connsiteY32" fmla="*/ 12436 h 27955"/>
                <a:gd name="connsiteX33" fmla="*/ 30989 w 37366"/>
                <a:gd name="connsiteY33" fmla="*/ 9750 h 27955"/>
                <a:gd name="connsiteX34" fmla="*/ 32584 w 37366"/>
                <a:gd name="connsiteY34" fmla="*/ 7462 h 27955"/>
                <a:gd name="connsiteX35" fmla="*/ 34776 w 37366"/>
                <a:gd name="connsiteY35" fmla="*/ 5770 h 27955"/>
                <a:gd name="connsiteX36" fmla="*/ 37367 w 37366"/>
                <a:gd name="connsiteY36" fmla="*/ 4875 h 27955"/>
                <a:gd name="connsiteX37" fmla="*/ 34975 w 37366"/>
                <a:gd name="connsiteY37" fmla="*/ 1990 h 27955"/>
                <a:gd name="connsiteX38" fmla="*/ 30890 w 37366"/>
                <a:gd name="connsiteY38" fmla="*/ 597 h 27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7366" h="27955">
                  <a:moveTo>
                    <a:pt x="30890" y="597"/>
                  </a:moveTo>
                  <a:lnTo>
                    <a:pt x="22619" y="0"/>
                  </a:lnTo>
                  <a:lnTo>
                    <a:pt x="19829" y="995"/>
                  </a:lnTo>
                  <a:lnTo>
                    <a:pt x="14448" y="696"/>
                  </a:lnTo>
                  <a:lnTo>
                    <a:pt x="9566" y="398"/>
                  </a:lnTo>
                  <a:lnTo>
                    <a:pt x="8569" y="2686"/>
                  </a:lnTo>
                  <a:lnTo>
                    <a:pt x="8370" y="5173"/>
                  </a:lnTo>
                  <a:lnTo>
                    <a:pt x="6477" y="6566"/>
                  </a:lnTo>
                  <a:lnTo>
                    <a:pt x="4982" y="9352"/>
                  </a:lnTo>
                  <a:lnTo>
                    <a:pt x="598" y="11441"/>
                  </a:lnTo>
                  <a:lnTo>
                    <a:pt x="0" y="14426"/>
                  </a:lnTo>
                  <a:lnTo>
                    <a:pt x="2192" y="15222"/>
                  </a:lnTo>
                  <a:lnTo>
                    <a:pt x="5779" y="15520"/>
                  </a:lnTo>
                  <a:lnTo>
                    <a:pt x="11758" y="15023"/>
                  </a:lnTo>
                  <a:lnTo>
                    <a:pt x="10562" y="17012"/>
                  </a:lnTo>
                  <a:lnTo>
                    <a:pt x="8669" y="19002"/>
                  </a:lnTo>
                  <a:lnTo>
                    <a:pt x="10263" y="20494"/>
                  </a:lnTo>
                  <a:lnTo>
                    <a:pt x="12754" y="19599"/>
                  </a:lnTo>
                  <a:lnTo>
                    <a:pt x="14947" y="17112"/>
                  </a:lnTo>
                  <a:lnTo>
                    <a:pt x="16242" y="14724"/>
                  </a:lnTo>
                  <a:lnTo>
                    <a:pt x="18932" y="15819"/>
                  </a:lnTo>
                  <a:lnTo>
                    <a:pt x="20925" y="16714"/>
                  </a:lnTo>
                  <a:lnTo>
                    <a:pt x="19630" y="20693"/>
                  </a:lnTo>
                  <a:lnTo>
                    <a:pt x="17537" y="24772"/>
                  </a:lnTo>
                  <a:lnTo>
                    <a:pt x="19829" y="26464"/>
                  </a:lnTo>
                  <a:lnTo>
                    <a:pt x="23217" y="27956"/>
                  </a:lnTo>
                  <a:lnTo>
                    <a:pt x="25509" y="26066"/>
                  </a:lnTo>
                  <a:lnTo>
                    <a:pt x="23516" y="21589"/>
                  </a:lnTo>
                  <a:lnTo>
                    <a:pt x="24413" y="16117"/>
                  </a:lnTo>
                  <a:lnTo>
                    <a:pt x="26505" y="18903"/>
                  </a:lnTo>
                  <a:lnTo>
                    <a:pt x="27801" y="19002"/>
                  </a:lnTo>
                  <a:lnTo>
                    <a:pt x="29993" y="13232"/>
                  </a:lnTo>
                  <a:lnTo>
                    <a:pt x="30391" y="12436"/>
                  </a:lnTo>
                  <a:lnTo>
                    <a:pt x="30989" y="9750"/>
                  </a:lnTo>
                  <a:lnTo>
                    <a:pt x="32584" y="7462"/>
                  </a:lnTo>
                  <a:lnTo>
                    <a:pt x="34776" y="5770"/>
                  </a:lnTo>
                  <a:lnTo>
                    <a:pt x="37367" y="4875"/>
                  </a:lnTo>
                  <a:lnTo>
                    <a:pt x="34975" y="1990"/>
                  </a:lnTo>
                  <a:lnTo>
                    <a:pt x="30890" y="59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8" name="Freeform: Shape 1437">
              <a:extLst>
                <a:ext uri="{FF2B5EF4-FFF2-40B4-BE49-F238E27FC236}">
                  <a16:creationId xmlns:a16="http://schemas.microsoft.com/office/drawing/2014/main" id="{4C3B1BEE-B982-4927-8CE8-8F66BACE6C32}"/>
                </a:ext>
              </a:extLst>
            </p:cNvPr>
            <p:cNvSpPr/>
            <p:nvPr/>
          </p:nvSpPr>
          <p:spPr>
            <a:xfrm>
              <a:off x="-2755725" y="216122"/>
              <a:ext cx="7672" cy="5969"/>
            </a:xfrm>
            <a:custGeom>
              <a:avLst/>
              <a:gdLst>
                <a:gd name="connsiteX0" fmla="*/ 5680 w 7672"/>
                <a:gd name="connsiteY0" fmla="*/ 3084 h 5969"/>
                <a:gd name="connsiteX1" fmla="*/ 6776 w 7672"/>
                <a:gd name="connsiteY1" fmla="*/ 1990 h 5969"/>
                <a:gd name="connsiteX2" fmla="*/ 5281 w 7672"/>
                <a:gd name="connsiteY2" fmla="*/ 1393 h 5969"/>
                <a:gd name="connsiteX3" fmla="*/ 4085 w 7672"/>
                <a:gd name="connsiteY3" fmla="*/ 1293 h 5969"/>
                <a:gd name="connsiteX4" fmla="*/ 2192 w 7672"/>
                <a:gd name="connsiteY4" fmla="*/ 895 h 5969"/>
                <a:gd name="connsiteX5" fmla="*/ 1694 w 7672"/>
                <a:gd name="connsiteY5" fmla="*/ 0 h 5969"/>
                <a:gd name="connsiteX6" fmla="*/ 797 w 7672"/>
                <a:gd name="connsiteY6" fmla="*/ 895 h 5969"/>
                <a:gd name="connsiteX7" fmla="*/ 100 w 7672"/>
                <a:gd name="connsiteY7" fmla="*/ 2189 h 5969"/>
                <a:gd name="connsiteX8" fmla="*/ 0 w 7672"/>
                <a:gd name="connsiteY8" fmla="*/ 3780 h 5969"/>
                <a:gd name="connsiteX9" fmla="*/ 1395 w 7672"/>
                <a:gd name="connsiteY9" fmla="*/ 4974 h 5969"/>
                <a:gd name="connsiteX10" fmla="*/ 2989 w 7672"/>
                <a:gd name="connsiteY10" fmla="*/ 5969 h 5969"/>
                <a:gd name="connsiteX11" fmla="*/ 4185 w 7672"/>
                <a:gd name="connsiteY11" fmla="*/ 5671 h 5969"/>
                <a:gd name="connsiteX12" fmla="*/ 6577 w 7672"/>
                <a:gd name="connsiteY12" fmla="*/ 5472 h 5969"/>
                <a:gd name="connsiteX13" fmla="*/ 7673 w 7672"/>
                <a:gd name="connsiteY13" fmla="*/ 4775 h 5969"/>
                <a:gd name="connsiteX14" fmla="*/ 6178 w 7672"/>
                <a:gd name="connsiteY14" fmla="*/ 3980 h 5969"/>
                <a:gd name="connsiteX15" fmla="*/ 5680 w 7672"/>
                <a:gd name="connsiteY15" fmla="*/ 3084 h 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672" h="5969">
                  <a:moveTo>
                    <a:pt x="5680" y="3084"/>
                  </a:moveTo>
                  <a:lnTo>
                    <a:pt x="6776" y="1990"/>
                  </a:lnTo>
                  <a:lnTo>
                    <a:pt x="5281" y="1393"/>
                  </a:lnTo>
                  <a:lnTo>
                    <a:pt x="4085" y="1293"/>
                  </a:lnTo>
                  <a:lnTo>
                    <a:pt x="2192" y="895"/>
                  </a:lnTo>
                  <a:lnTo>
                    <a:pt x="1694" y="0"/>
                  </a:lnTo>
                  <a:lnTo>
                    <a:pt x="797" y="895"/>
                  </a:lnTo>
                  <a:lnTo>
                    <a:pt x="100" y="2189"/>
                  </a:lnTo>
                  <a:lnTo>
                    <a:pt x="0" y="3780"/>
                  </a:lnTo>
                  <a:lnTo>
                    <a:pt x="1395" y="4974"/>
                  </a:lnTo>
                  <a:lnTo>
                    <a:pt x="2989" y="5969"/>
                  </a:lnTo>
                  <a:lnTo>
                    <a:pt x="4185" y="5671"/>
                  </a:lnTo>
                  <a:lnTo>
                    <a:pt x="6577" y="5472"/>
                  </a:lnTo>
                  <a:lnTo>
                    <a:pt x="7673" y="4775"/>
                  </a:lnTo>
                  <a:lnTo>
                    <a:pt x="6178" y="3980"/>
                  </a:lnTo>
                  <a:lnTo>
                    <a:pt x="5680" y="308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39" name="Freeform: Shape 1438">
              <a:extLst>
                <a:ext uri="{FF2B5EF4-FFF2-40B4-BE49-F238E27FC236}">
                  <a16:creationId xmlns:a16="http://schemas.microsoft.com/office/drawing/2014/main" id="{555FD475-C878-4A8C-A7C6-70679CBF4BDB}"/>
                </a:ext>
              </a:extLst>
            </p:cNvPr>
            <p:cNvSpPr/>
            <p:nvPr/>
          </p:nvSpPr>
          <p:spPr>
            <a:xfrm>
              <a:off x="-2854273" y="-191875"/>
              <a:ext cx="25508" cy="38501"/>
            </a:xfrm>
            <a:custGeom>
              <a:avLst/>
              <a:gdLst>
                <a:gd name="connsiteX0" fmla="*/ 25409 w 25508"/>
                <a:gd name="connsiteY0" fmla="*/ 33428 h 38501"/>
                <a:gd name="connsiteX1" fmla="*/ 23915 w 25508"/>
                <a:gd name="connsiteY1" fmla="*/ 27260 h 38501"/>
                <a:gd name="connsiteX2" fmla="*/ 22520 w 25508"/>
                <a:gd name="connsiteY2" fmla="*/ 24175 h 38501"/>
                <a:gd name="connsiteX3" fmla="*/ 20626 w 25508"/>
                <a:gd name="connsiteY3" fmla="*/ 22783 h 38501"/>
                <a:gd name="connsiteX4" fmla="*/ 18633 w 25508"/>
                <a:gd name="connsiteY4" fmla="*/ 21589 h 38501"/>
                <a:gd name="connsiteX5" fmla="*/ 16541 w 25508"/>
                <a:gd name="connsiteY5" fmla="*/ 19500 h 38501"/>
                <a:gd name="connsiteX6" fmla="*/ 9964 w 25508"/>
                <a:gd name="connsiteY6" fmla="*/ 9252 h 38501"/>
                <a:gd name="connsiteX7" fmla="*/ 6278 w 25508"/>
                <a:gd name="connsiteY7" fmla="*/ 5969 h 38501"/>
                <a:gd name="connsiteX8" fmla="*/ 4584 w 25508"/>
                <a:gd name="connsiteY8" fmla="*/ 3781 h 38501"/>
                <a:gd name="connsiteX9" fmla="*/ 3986 w 25508"/>
                <a:gd name="connsiteY9" fmla="*/ 796 h 38501"/>
                <a:gd name="connsiteX10" fmla="*/ 1196 w 25508"/>
                <a:gd name="connsiteY10" fmla="*/ 0 h 38501"/>
                <a:gd name="connsiteX11" fmla="*/ 0 w 25508"/>
                <a:gd name="connsiteY11" fmla="*/ 0 h 38501"/>
                <a:gd name="connsiteX12" fmla="*/ 0 w 25508"/>
                <a:gd name="connsiteY12" fmla="*/ 14724 h 38501"/>
                <a:gd name="connsiteX13" fmla="*/ 498 w 25508"/>
                <a:gd name="connsiteY13" fmla="*/ 14326 h 38501"/>
                <a:gd name="connsiteX14" fmla="*/ 1694 w 25508"/>
                <a:gd name="connsiteY14" fmla="*/ 13829 h 38501"/>
                <a:gd name="connsiteX15" fmla="*/ 2192 w 25508"/>
                <a:gd name="connsiteY15" fmla="*/ 15819 h 38501"/>
                <a:gd name="connsiteX16" fmla="*/ 2790 w 25508"/>
                <a:gd name="connsiteY16" fmla="*/ 19102 h 38501"/>
                <a:gd name="connsiteX17" fmla="*/ 4185 w 25508"/>
                <a:gd name="connsiteY17" fmla="*/ 21191 h 38501"/>
                <a:gd name="connsiteX18" fmla="*/ 6178 w 25508"/>
                <a:gd name="connsiteY18" fmla="*/ 23181 h 38501"/>
                <a:gd name="connsiteX19" fmla="*/ 8370 w 25508"/>
                <a:gd name="connsiteY19" fmla="*/ 26066 h 38501"/>
                <a:gd name="connsiteX20" fmla="*/ 10762 w 25508"/>
                <a:gd name="connsiteY20" fmla="*/ 31239 h 38501"/>
                <a:gd name="connsiteX21" fmla="*/ 12356 w 25508"/>
                <a:gd name="connsiteY21" fmla="*/ 33428 h 38501"/>
                <a:gd name="connsiteX22" fmla="*/ 14847 w 25508"/>
                <a:gd name="connsiteY22" fmla="*/ 34423 h 38501"/>
                <a:gd name="connsiteX23" fmla="*/ 15246 w 25508"/>
                <a:gd name="connsiteY23" fmla="*/ 34821 h 38501"/>
                <a:gd name="connsiteX24" fmla="*/ 19630 w 25508"/>
                <a:gd name="connsiteY24" fmla="*/ 38303 h 38501"/>
                <a:gd name="connsiteX25" fmla="*/ 21324 w 25508"/>
                <a:gd name="connsiteY25" fmla="*/ 38502 h 38501"/>
                <a:gd name="connsiteX26" fmla="*/ 24413 w 25508"/>
                <a:gd name="connsiteY26" fmla="*/ 38004 h 38501"/>
                <a:gd name="connsiteX27" fmla="*/ 25509 w 25508"/>
                <a:gd name="connsiteY27" fmla="*/ 36711 h 38501"/>
                <a:gd name="connsiteX28" fmla="*/ 25409 w 25508"/>
                <a:gd name="connsiteY28" fmla="*/ 33428 h 3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508" h="38501">
                  <a:moveTo>
                    <a:pt x="25409" y="33428"/>
                  </a:moveTo>
                  <a:lnTo>
                    <a:pt x="23915" y="27260"/>
                  </a:lnTo>
                  <a:lnTo>
                    <a:pt x="22520" y="24175"/>
                  </a:lnTo>
                  <a:lnTo>
                    <a:pt x="20626" y="22783"/>
                  </a:lnTo>
                  <a:lnTo>
                    <a:pt x="18633" y="21589"/>
                  </a:lnTo>
                  <a:lnTo>
                    <a:pt x="16541" y="19500"/>
                  </a:lnTo>
                  <a:lnTo>
                    <a:pt x="9964" y="9252"/>
                  </a:lnTo>
                  <a:lnTo>
                    <a:pt x="6278" y="5969"/>
                  </a:lnTo>
                  <a:lnTo>
                    <a:pt x="4584" y="3781"/>
                  </a:lnTo>
                  <a:lnTo>
                    <a:pt x="3986" y="796"/>
                  </a:lnTo>
                  <a:lnTo>
                    <a:pt x="1196" y="0"/>
                  </a:lnTo>
                  <a:lnTo>
                    <a:pt x="0" y="0"/>
                  </a:lnTo>
                  <a:lnTo>
                    <a:pt x="0" y="14724"/>
                  </a:lnTo>
                  <a:lnTo>
                    <a:pt x="498" y="14326"/>
                  </a:lnTo>
                  <a:lnTo>
                    <a:pt x="1694" y="13829"/>
                  </a:lnTo>
                  <a:lnTo>
                    <a:pt x="2192" y="15819"/>
                  </a:lnTo>
                  <a:lnTo>
                    <a:pt x="2790" y="19102"/>
                  </a:lnTo>
                  <a:lnTo>
                    <a:pt x="4185" y="21191"/>
                  </a:lnTo>
                  <a:lnTo>
                    <a:pt x="6178" y="23181"/>
                  </a:lnTo>
                  <a:lnTo>
                    <a:pt x="8370" y="26066"/>
                  </a:lnTo>
                  <a:lnTo>
                    <a:pt x="10762" y="31239"/>
                  </a:lnTo>
                  <a:lnTo>
                    <a:pt x="12356" y="33428"/>
                  </a:lnTo>
                  <a:lnTo>
                    <a:pt x="14847" y="34423"/>
                  </a:lnTo>
                  <a:lnTo>
                    <a:pt x="15246" y="34821"/>
                  </a:lnTo>
                  <a:lnTo>
                    <a:pt x="19630" y="38303"/>
                  </a:lnTo>
                  <a:lnTo>
                    <a:pt x="21324" y="38502"/>
                  </a:lnTo>
                  <a:lnTo>
                    <a:pt x="24413" y="38004"/>
                  </a:lnTo>
                  <a:lnTo>
                    <a:pt x="25509" y="36711"/>
                  </a:lnTo>
                  <a:lnTo>
                    <a:pt x="25409" y="3342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0" name="Freeform: Shape 1439">
              <a:extLst>
                <a:ext uri="{FF2B5EF4-FFF2-40B4-BE49-F238E27FC236}">
                  <a16:creationId xmlns:a16="http://schemas.microsoft.com/office/drawing/2014/main" id="{3394E498-18E2-486B-A017-8D4EE8FFEDF7}"/>
                </a:ext>
              </a:extLst>
            </p:cNvPr>
            <p:cNvSpPr/>
            <p:nvPr/>
          </p:nvSpPr>
          <p:spPr>
            <a:xfrm>
              <a:off x="-2733803" y="-135864"/>
              <a:ext cx="10960" cy="38103"/>
            </a:xfrm>
            <a:custGeom>
              <a:avLst/>
              <a:gdLst>
                <a:gd name="connsiteX0" fmla="*/ 9665 w 10960"/>
                <a:gd name="connsiteY0" fmla="*/ 5770 h 38103"/>
                <a:gd name="connsiteX1" fmla="*/ 8769 w 10960"/>
                <a:gd name="connsiteY1" fmla="*/ 3184 h 38103"/>
                <a:gd name="connsiteX2" fmla="*/ 7274 w 10960"/>
                <a:gd name="connsiteY2" fmla="*/ 1094 h 38103"/>
                <a:gd name="connsiteX3" fmla="*/ 5082 w 10960"/>
                <a:gd name="connsiteY3" fmla="*/ 0 h 38103"/>
                <a:gd name="connsiteX4" fmla="*/ 4085 w 10960"/>
                <a:gd name="connsiteY4" fmla="*/ 1592 h 38103"/>
                <a:gd name="connsiteX5" fmla="*/ 2391 w 10960"/>
                <a:gd name="connsiteY5" fmla="*/ 12237 h 38103"/>
                <a:gd name="connsiteX6" fmla="*/ 1196 w 10960"/>
                <a:gd name="connsiteY6" fmla="*/ 16216 h 38103"/>
                <a:gd name="connsiteX7" fmla="*/ 797 w 10960"/>
                <a:gd name="connsiteY7" fmla="*/ 18505 h 38103"/>
                <a:gd name="connsiteX8" fmla="*/ 1395 w 10960"/>
                <a:gd name="connsiteY8" fmla="*/ 24175 h 38103"/>
                <a:gd name="connsiteX9" fmla="*/ 1196 w 10960"/>
                <a:gd name="connsiteY9" fmla="*/ 25270 h 38103"/>
                <a:gd name="connsiteX10" fmla="*/ 0 w 10960"/>
                <a:gd name="connsiteY10" fmla="*/ 26265 h 38103"/>
                <a:gd name="connsiteX11" fmla="*/ 399 w 10960"/>
                <a:gd name="connsiteY11" fmla="*/ 28553 h 38103"/>
                <a:gd name="connsiteX12" fmla="*/ 1495 w 10960"/>
                <a:gd name="connsiteY12" fmla="*/ 30941 h 38103"/>
                <a:gd name="connsiteX13" fmla="*/ 2591 w 10960"/>
                <a:gd name="connsiteY13" fmla="*/ 32333 h 38103"/>
                <a:gd name="connsiteX14" fmla="*/ 1594 w 10960"/>
                <a:gd name="connsiteY14" fmla="*/ 33527 h 38103"/>
                <a:gd name="connsiteX15" fmla="*/ 3288 w 10960"/>
                <a:gd name="connsiteY15" fmla="*/ 38104 h 38103"/>
                <a:gd name="connsiteX16" fmla="*/ 4085 w 10960"/>
                <a:gd name="connsiteY16" fmla="*/ 38104 h 38103"/>
                <a:gd name="connsiteX17" fmla="*/ 5181 w 10960"/>
                <a:gd name="connsiteY17" fmla="*/ 35418 h 38103"/>
                <a:gd name="connsiteX18" fmla="*/ 7274 w 10960"/>
                <a:gd name="connsiteY18" fmla="*/ 31736 h 38103"/>
                <a:gd name="connsiteX19" fmla="*/ 8270 w 10960"/>
                <a:gd name="connsiteY19" fmla="*/ 28951 h 38103"/>
                <a:gd name="connsiteX20" fmla="*/ 7772 w 10960"/>
                <a:gd name="connsiteY20" fmla="*/ 15620 h 38103"/>
                <a:gd name="connsiteX21" fmla="*/ 10263 w 10960"/>
                <a:gd name="connsiteY21" fmla="*/ 16813 h 38103"/>
                <a:gd name="connsiteX22" fmla="*/ 10961 w 10960"/>
                <a:gd name="connsiteY22" fmla="*/ 14525 h 38103"/>
                <a:gd name="connsiteX23" fmla="*/ 10762 w 10960"/>
                <a:gd name="connsiteY23" fmla="*/ 10944 h 38103"/>
                <a:gd name="connsiteX24" fmla="*/ 9665 w 10960"/>
                <a:gd name="connsiteY24" fmla="*/ 5770 h 38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960" h="38103">
                  <a:moveTo>
                    <a:pt x="9665" y="5770"/>
                  </a:moveTo>
                  <a:lnTo>
                    <a:pt x="8769" y="3184"/>
                  </a:lnTo>
                  <a:lnTo>
                    <a:pt x="7274" y="1094"/>
                  </a:lnTo>
                  <a:lnTo>
                    <a:pt x="5082" y="0"/>
                  </a:lnTo>
                  <a:lnTo>
                    <a:pt x="4085" y="1592"/>
                  </a:lnTo>
                  <a:lnTo>
                    <a:pt x="2391" y="12237"/>
                  </a:lnTo>
                  <a:lnTo>
                    <a:pt x="1196" y="16216"/>
                  </a:lnTo>
                  <a:lnTo>
                    <a:pt x="797" y="18505"/>
                  </a:lnTo>
                  <a:lnTo>
                    <a:pt x="1395" y="24175"/>
                  </a:lnTo>
                  <a:lnTo>
                    <a:pt x="1196" y="25270"/>
                  </a:lnTo>
                  <a:lnTo>
                    <a:pt x="0" y="26265"/>
                  </a:lnTo>
                  <a:lnTo>
                    <a:pt x="399" y="28553"/>
                  </a:lnTo>
                  <a:lnTo>
                    <a:pt x="1495" y="30941"/>
                  </a:lnTo>
                  <a:lnTo>
                    <a:pt x="2591" y="32333"/>
                  </a:lnTo>
                  <a:lnTo>
                    <a:pt x="1594" y="33527"/>
                  </a:lnTo>
                  <a:lnTo>
                    <a:pt x="3288" y="38104"/>
                  </a:lnTo>
                  <a:lnTo>
                    <a:pt x="4085" y="38104"/>
                  </a:lnTo>
                  <a:lnTo>
                    <a:pt x="5181" y="35418"/>
                  </a:lnTo>
                  <a:lnTo>
                    <a:pt x="7274" y="31736"/>
                  </a:lnTo>
                  <a:lnTo>
                    <a:pt x="8270" y="28951"/>
                  </a:lnTo>
                  <a:lnTo>
                    <a:pt x="7772" y="15620"/>
                  </a:lnTo>
                  <a:lnTo>
                    <a:pt x="10263" y="16813"/>
                  </a:lnTo>
                  <a:lnTo>
                    <a:pt x="10961" y="14525"/>
                  </a:lnTo>
                  <a:lnTo>
                    <a:pt x="10762" y="10944"/>
                  </a:lnTo>
                  <a:lnTo>
                    <a:pt x="9665" y="577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1" name="Freeform: Shape 1440">
              <a:extLst>
                <a:ext uri="{FF2B5EF4-FFF2-40B4-BE49-F238E27FC236}">
                  <a16:creationId xmlns:a16="http://schemas.microsoft.com/office/drawing/2014/main" id="{B1B85D85-43CF-4413-91B6-92D6501C1C45}"/>
                </a:ext>
              </a:extLst>
            </p:cNvPr>
            <p:cNvSpPr/>
            <p:nvPr/>
          </p:nvSpPr>
          <p:spPr>
            <a:xfrm>
              <a:off x="-2706102" y="-126412"/>
              <a:ext cx="18932" cy="37606"/>
            </a:xfrm>
            <a:custGeom>
              <a:avLst/>
              <a:gdLst>
                <a:gd name="connsiteX0" fmla="*/ 14847 w 18932"/>
                <a:gd name="connsiteY0" fmla="*/ 1890 h 37606"/>
                <a:gd name="connsiteX1" fmla="*/ 13950 w 18932"/>
                <a:gd name="connsiteY1" fmla="*/ 3880 h 37606"/>
                <a:gd name="connsiteX2" fmla="*/ 11260 w 18932"/>
                <a:gd name="connsiteY2" fmla="*/ 5273 h 37606"/>
                <a:gd name="connsiteX3" fmla="*/ 5580 w 18932"/>
                <a:gd name="connsiteY3" fmla="*/ 5372 h 37606"/>
                <a:gd name="connsiteX4" fmla="*/ 797 w 18932"/>
                <a:gd name="connsiteY4" fmla="*/ 6765 h 37606"/>
                <a:gd name="connsiteX5" fmla="*/ 100 w 18932"/>
                <a:gd name="connsiteY5" fmla="*/ 6865 h 37606"/>
                <a:gd name="connsiteX6" fmla="*/ 0 w 18932"/>
                <a:gd name="connsiteY6" fmla="*/ 7462 h 37606"/>
                <a:gd name="connsiteX7" fmla="*/ 0 w 18932"/>
                <a:gd name="connsiteY7" fmla="*/ 11740 h 37606"/>
                <a:gd name="connsiteX8" fmla="*/ 399 w 18932"/>
                <a:gd name="connsiteY8" fmla="*/ 13033 h 37606"/>
                <a:gd name="connsiteX9" fmla="*/ 1694 w 18932"/>
                <a:gd name="connsiteY9" fmla="*/ 15819 h 37606"/>
                <a:gd name="connsiteX10" fmla="*/ 4085 w 18932"/>
                <a:gd name="connsiteY10" fmla="*/ 20693 h 37606"/>
                <a:gd name="connsiteX11" fmla="*/ 4484 w 18932"/>
                <a:gd name="connsiteY11" fmla="*/ 23479 h 37606"/>
                <a:gd name="connsiteX12" fmla="*/ 3388 w 18932"/>
                <a:gd name="connsiteY12" fmla="*/ 26563 h 37606"/>
                <a:gd name="connsiteX13" fmla="*/ 4683 w 18932"/>
                <a:gd name="connsiteY13" fmla="*/ 29448 h 37606"/>
                <a:gd name="connsiteX14" fmla="*/ 5181 w 18932"/>
                <a:gd name="connsiteY14" fmla="*/ 30145 h 37606"/>
                <a:gd name="connsiteX15" fmla="*/ 5181 w 18932"/>
                <a:gd name="connsiteY15" fmla="*/ 31239 h 37606"/>
                <a:gd name="connsiteX16" fmla="*/ 4085 w 18932"/>
                <a:gd name="connsiteY16" fmla="*/ 34124 h 37606"/>
                <a:gd name="connsiteX17" fmla="*/ 4584 w 18932"/>
                <a:gd name="connsiteY17" fmla="*/ 36810 h 37606"/>
                <a:gd name="connsiteX18" fmla="*/ 6178 w 18932"/>
                <a:gd name="connsiteY18" fmla="*/ 37606 h 37606"/>
                <a:gd name="connsiteX19" fmla="*/ 8769 w 18932"/>
                <a:gd name="connsiteY19" fmla="*/ 35020 h 37606"/>
                <a:gd name="connsiteX20" fmla="*/ 9167 w 18932"/>
                <a:gd name="connsiteY20" fmla="*/ 33826 h 37606"/>
                <a:gd name="connsiteX21" fmla="*/ 10762 w 18932"/>
                <a:gd name="connsiteY21" fmla="*/ 27558 h 37606"/>
                <a:gd name="connsiteX22" fmla="*/ 11957 w 18932"/>
                <a:gd name="connsiteY22" fmla="*/ 24374 h 37606"/>
                <a:gd name="connsiteX23" fmla="*/ 12157 w 18932"/>
                <a:gd name="connsiteY23" fmla="*/ 23479 h 37606"/>
                <a:gd name="connsiteX24" fmla="*/ 12555 w 18932"/>
                <a:gd name="connsiteY24" fmla="*/ 22484 h 37606"/>
                <a:gd name="connsiteX25" fmla="*/ 14349 w 18932"/>
                <a:gd name="connsiteY25" fmla="*/ 19400 h 37606"/>
                <a:gd name="connsiteX26" fmla="*/ 14747 w 18932"/>
                <a:gd name="connsiteY26" fmla="*/ 17609 h 37606"/>
                <a:gd name="connsiteX27" fmla="*/ 14947 w 18932"/>
                <a:gd name="connsiteY27" fmla="*/ 15819 h 37606"/>
                <a:gd name="connsiteX28" fmla="*/ 15644 w 18932"/>
                <a:gd name="connsiteY28" fmla="*/ 11541 h 37606"/>
                <a:gd name="connsiteX29" fmla="*/ 16043 w 18932"/>
                <a:gd name="connsiteY29" fmla="*/ 10247 h 37606"/>
                <a:gd name="connsiteX30" fmla="*/ 17936 w 18932"/>
                <a:gd name="connsiteY30" fmla="*/ 7462 h 37606"/>
                <a:gd name="connsiteX31" fmla="*/ 18335 w 18932"/>
                <a:gd name="connsiteY31" fmla="*/ 5571 h 37606"/>
                <a:gd name="connsiteX32" fmla="*/ 18434 w 18932"/>
                <a:gd name="connsiteY32" fmla="*/ 3880 h 37606"/>
                <a:gd name="connsiteX33" fmla="*/ 18932 w 18932"/>
                <a:gd name="connsiteY33" fmla="*/ 1293 h 37606"/>
                <a:gd name="connsiteX34" fmla="*/ 15544 w 18932"/>
                <a:gd name="connsiteY34" fmla="*/ 0 h 37606"/>
                <a:gd name="connsiteX35" fmla="*/ 14847 w 18932"/>
                <a:gd name="connsiteY35" fmla="*/ 1890 h 37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932" h="37606">
                  <a:moveTo>
                    <a:pt x="14847" y="1890"/>
                  </a:moveTo>
                  <a:lnTo>
                    <a:pt x="13950" y="3880"/>
                  </a:lnTo>
                  <a:lnTo>
                    <a:pt x="11260" y="5273"/>
                  </a:lnTo>
                  <a:lnTo>
                    <a:pt x="5580" y="5372"/>
                  </a:lnTo>
                  <a:lnTo>
                    <a:pt x="797" y="6765"/>
                  </a:lnTo>
                  <a:lnTo>
                    <a:pt x="100" y="6865"/>
                  </a:lnTo>
                  <a:lnTo>
                    <a:pt x="0" y="7462"/>
                  </a:lnTo>
                  <a:lnTo>
                    <a:pt x="0" y="11740"/>
                  </a:lnTo>
                  <a:lnTo>
                    <a:pt x="399" y="13033"/>
                  </a:lnTo>
                  <a:lnTo>
                    <a:pt x="1694" y="15819"/>
                  </a:lnTo>
                  <a:lnTo>
                    <a:pt x="4085" y="20693"/>
                  </a:lnTo>
                  <a:lnTo>
                    <a:pt x="4484" y="23479"/>
                  </a:lnTo>
                  <a:lnTo>
                    <a:pt x="3388" y="26563"/>
                  </a:lnTo>
                  <a:lnTo>
                    <a:pt x="4683" y="29448"/>
                  </a:lnTo>
                  <a:lnTo>
                    <a:pt x="5181" y="30145"/>
                  </a:lnTo>
                  <a:lnTo>
                    <a:pt x="5181" y="31239"/>
                  </a:lnTo>
                  <a:lnTo>
                    <a:pt x="4085" y="34124"/>
                  </a:lnTo>
                  <a:lnTo>
                    <a:pt x="4584" y="36810"/>
                  </a:lnTo>
                  <a:lnTo>
                    <a:pt x="6178" y="37606"/>
                  </a:lnTo>
                  <a:lnTo>
                    <a:pt x="8769" y="35020"/>
                  </a:lnTo>
                  <a:lnTo>
                    <a:pt x="9167" y="33826"/>
                  </a:lnTo>
                  <a:lnTo>
                    <a:pt x="10762" y="27558"/>
                  </a:lnTo>
                  <a:lnTo>
                    <a:pt x="11957" y="24374"/>
                  </a:lnTo>
                  <a:lnTo>
                    <a:pt x="12157" y="23479"/>
                  </a:lnTo>
                  <a:lnTo>
                    <a:pt x="12555" y="22484"/>
                  </a:lnTo>
                  <a:lnTo>
                    <a:pt x="14349" y="19400"/>
                  </a:lnTo>
                  <a:lnTo>
                    <a:pt x="14747" y="17609"/>
                  </a:lnTo>
                  <a:lnTo>
                    <a:pt x="14947" y="15819"/>
                  </a:lnTo>
                  <a:lnTo>
                    <a:pt x="15644" y="11541"/>
                  </a:lnTo>
                  <a:lnTo>
                    <a:pt x="16043" y="10247"/>
                  </a:lnTo>
                  <a:lnTo>
                    <a:pt x="17936" y="7462"/>
                  </a:lnTo>
                  <a:lnTo>
                    <a:pt x="18335" y="5571"/>
                  </a:lnTo>
                  <a:lnTo>
                    <a:pt x="18434" y="3880"/>
                  </a:lnTo>
                  <a:lnTo>
                    <a:pt x="18932" y="1293"/>
                  </a:lnTo>
                  <a:lnTo>
                    <a:pt x="15544" y="0"/>
                  </a:lnTo>
                  <a:lnTo>
                    <a:pt x="14847" y="18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2" name="Freeform: Shape 1441">
              <a:extLst>
                <a:ext uri="{FF2B5EF4-FFF2-40B4-BE49-F238E27FC236}">
                  <a16:creationId xmlns:a16="http://schemas.microsoft.com/office/drawing/2014/main" id="{5F4F9033-D016-42E8-B782-9634ED0A7D23}"/>
                </a:ext>
              </a:extLst>
            </p:cNvPr>
            <p:cNvSpPr/>
            <p:nvPr/>
          </p:nvSpPr>
          <p:spPr>
            <a:xfrm>
              <a:off x="-2690558" y="-128601"/>
              <a:ext cx="3587" cy="3482"/>
            </a:xfrm>
            <a:custGeom>
              <a:avLst/>
              <a:gdLst>
                <a:gd name="connsiteX0" fmla="*/ 3587 w 3587"/>
                <a:gd name="connsiteY0" fmla="*/ 1194 h 3482"/>
                <a:gd name="connsiteX1" fmla="*/ 1395 w 3587"/>
                <a:gd name="connsiteY1" fmla="*/ 0 h 3482"/>
                <a:gd name="connsiteX2" fmla="*/ 199 w 3587"/>
                <a:gd name="connsiteY2" fmla="*/ 1592 h 3482"/>
                <a:gd name="connsiteX3" fmla="*/ 0 w 3587"/>
                <a:gd name="connsiteY3" fmla="*/ 2189 h 3482"/>
                <a:gd name="connsiteX4" fmla="*/ 3388 w 3587"/>
                <a:gd name="connsiteY4" fmla="*/ 3482 h 3482"/>
                <a:gd name="connsiteX5" fmla="*/ 3488 w 3587"/>
                <a:gd name="connsiteY5" fmla="*/ 2985 h 3482"/>
                <a:gd name="connsiteX6" fmla="*/ 3587 w 3587"/>
                <a:gd name="connsiteY6" fmla="*/ 1194 h 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87" h="3482">
                  <a:moveTo>
                    <a:pt x="3587" y="1194"/>
                  </a:moveTo>
                  <a:lnTo>
                    <a:pt x="1395" y="0"/>
                  </a:lnTo>
                  <a:lnTo>
                    <a:pt x="199" y="1592"/>
                  </a:lnTo>
                  <a:lnTo>
                    <a:pt x="0" y="2189"/>
                  </a:lnTo>
                  <a:lnTo>
                    <a:pt x="3388" y="3482"/>
                  </a:lnTo>
                  <a:lnTo>
                    <a:pt x="3488" y="2985"/>
                  </a:lnTo>
                  <a:lnTo>
                    <a:pt x="3587" y="11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3" name="Freeform: Shape 1442">
              <a:extLst>
                <a:ext uri="{FF2B5EF4-FFF2-40B4-BE49-F238E27FC236}">
                  <a16:creationId xmlns:a16="http://schemas.microsoft.com/office/drawing/2014/main" id="{16F304AF-DE0D-471D-95A1-24C203A4F9A0}"/>
                </a:ext>
              </a:extLst>
            </p:cNvPr>
            <p:cNvSpPr/>
            <p:nvPr/>
          </p:nvSpPr>
          <p:spPr>
            <a:xfrm>
              <a:off x="-2739283" y="221494"/>
              <a:ext cx="1693" cy="1691"/>
            </a:xfrm>
            <a:custGeom>
              <a:avLst/>
              <a:gdLst>
                <a:gd name="connsiteX0" fmla="*/ 1196 w 1693"/>
                <a:gd name="connsiteY0" fmla="*/ 1691 h 1691"/>
                <a:gd name="connsiteX1" fmla="*/ 1694 w 1693"/>
                <a:gd name="connsiteY1" fmla="*/ 1691 h 1691"/>
                <a:gd name="connsiteX2" fmla="*/ 1694 w 1693"/>
                <a:gd name="connsiteY2" fmla="*/ 696 h 1691"/>
                <a:gd name="connsiteX3" fmla="*/ 0 w 1693"/>
                <a:gd name="connsiteY3" fmla="*/ 0 h 1691"/>
                <a:gd name="connsiteX4" fmla="*/ 1196 w 1693"/>
                <a:gd name="connsiteY4" fmla="*/ 1691 h 1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3" h="1691">
                  <a:moveTo>
                    <a:pt x="1196" y="1691"/>
                  </a:moveTo>
                  <a:lnTo>
                    <a:pt x="1694" y="1691"/>
                  </a:lnTo>
                  <a:lnTo>
                    <a:pt x="1694" y="696"/>
                  </a:lnTo>
                  <a:lnTo>
                    <a:pt x="0" y="0"/>
                  </a:lnTo>
                  <a:lnTo>
                    <a:pt x="1196" y="169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4" name="Freeform: Shape 1443">
              <a:extLst>
                <a:ext uri="{FF2B5EF4-FFF2-40B4-BE49-F238E27FC236}">
                  <a16:creationId xmlns:a16="http://schemas.microsoft.com/office/drawing/2014/main" id="{2AD397C2-9B4C-48BE-9A1F-6D088055E224}"/>
                </a:ext>
              </a:extLst>
            </p:cNvPr>
            <p:cNvSpPr/>
            <p:nvPr/>
          </p:nvSpPr>
          <p:spPr>
            <a:xfrm>
              <a:off x="-2746059" y="219007"/>
              <a:ext cx="8469" cy="6267"/>
            </a:xfrm>
            <a:custGeom>
              <a:avLst/>
              <a:gdLst>
                <a:gd name="connsiteX0" fmla="*/ 8270 w 8469"/>
                <a:gd name="connsiteY0" fmla="*/ 1890 h 6267"/>
                <a:gd name="connsiteX1" fmla="*/ 6078 w 8469"/>
                <a:gd name="connsiteY1" fmla="*/ 1194 h 6267"/>
                <a:gd name="connsiteX2" fmla="*/ 4484 w 8469"/>
                <a:gd name="connsiteY2" fmla="*/ 0 h 6267"/>
                <a:gd name="connsiteX3" fmla="*/ 4085 w 8469"/>
                <a:gd name="connsiteY3" fmla="*/ 1293 h 6267"/>
                <a:gd name="connsiteX4" fmla="*/ 1495 w 8469"/>
                <a:gd name="connsiteY4" fmla="*/ 1293 h 6267"/>
                <a:gd name="connsiteX5" fmla="*/ 0 w 8469"/>
                <a:gd name="connsiteY5" fmla="*/ 2487 h 6267"/>
                <a:gd name="connsiteX6" fmla="*/ 100 w 8469"/>
                <a:gd name="connsiteY6" fmla="*/ 3482 h 6267"/>
                <a:gd name="connsiteX7" fmla="*/ 498 w 8469"/>
                <a:gd name="connsiteY7" fmla="*/ 5074 h 6267"/>
                <a:gd name="connsiteX8" fmla="*/ 2989 w 8469"/>
                <a:gd name="connsiteY8" fmla="*/ 6268 h 6267"/>
                <a:gd name="connsiteX9" fmla="*/ 4484 w 8469"/>
                <a:gd name="connsiteY9" fmla="*/ 5870 h 6267"/>
                <a:gd name="connsiteX10" fmla="*/ 4783 w 8469"/>
                <a:gd name="connsiteY10" fmla="*/ 4576 h 6267"/>
                <a:gd name="connsiteX11" fmla="*/ 6377 w 8469"/>
                <a:gd name="connsiteY11" fmla="*/ 4377 h 6267"/>
                <a:gd name="connsiteX12" fmla="*/ 7972 w 8469"/>
                <a:gd name="connsiteY12" fmla="*/ 4178 h 6267"/>
                <a:gd name="connsiteX13" fmla="*/ 6776 w 8469"/>
                <a:gd name="connsiteY13" fmla="*/ 2487 h 6267"/>
                <a:gd name="connsiteX14" fmla="*/ 8470 w 8469"/>
                <a:gd name="connsiteY14" fmla="*/ 3184 h 6267"/>
                <a:gd name="connsiteX15" fmla="*/ 8470 w 8469"/>
                <a:gd name="connsiteY15" fmla="*/ 2885 h 6267"/>
                <a:gd name="connsiteX16" fmla="*/ 8270 w 8469"/>
                <a:gd name="connsiteY16" fmla="*/ 1890 h 6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469" h="6267">
                  <a:moveTo>
                    <a:pt x="8270" y="1890"/>
                  </a:moveTo>
                  <a:lnTo>
                    <a:pt x="6078" y="1194"/>
                  </a:lnTo>
                  <a:lnTo>
                    <a:pt x="4484" y="0"/>
                  </a:lnTo>
                  <a:lnTo>
                    <a:pt x="4085" y="1293"/>
                  </a:lnTo>
                  <a:lnTo>
                    <a:pt x="1495" y="1293"/>
                  </a:lnTo>
                  <a:lnTo>
                    <a:pt x="0" y="2487"/>
                  </a:lnTo>
                  <a:lnTo>
                    <a:pt x="100" y="3482"/>
                  </a:lnTo>
                  <a:lnTo>
                    <a:pt x="498" y="5074"/>
                  </a:lnTo>
                  <a:lnTo>
                    <a:pt x="2989" y="6268"/>
                  </a:lnTo>
                  <a:lnTo>
                    <a:pt x="4484" y="5870"/>
                  </a:lnTo>
                  <a:lnTo>
                    <a:pt x="4783" y="4576"/>
                  </a:lnTo>
                  <a:lnTo>
                    <a:pt x="6377" y="4377"/>
                  </a:lnTo>
                  <a:lnTo>
                    <a:pt x="7972" y="4178"/>
                  </a:lnTo>
                  <a:lnTo>
                    <a:pt x="6776" y="2487"/>
                  </a:lnTo>
                  <a:lnTo>
                    <a:pt x="8470" y="3184"/>
                  </a:lnTo>
                  <a:lnTo>
                    <a:pt x="8470" y="2885"/>
                  </a:lnTo>
                  <a:lnTo>
                    <a:pt x="8270" y="18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5" name="Freeform: Shape 1444">
              <a:extLst>
                <a:ext uri="{FF2B5EF4-FFF2-40B4-BE49-F238E27FC236}">
                  <a16:creationId xmlns:a16="http://schemas.microsoft.com/office/drawing/2014/main" id="{EAD1337E-67B2-49F0-9890-EDA680490880}"/>
                </a:ext>
              </a:extLst>
            </p:cNvPr>
            <p:cNvSpPr/>
            <p:nvPr/>
          </p:nvSpPr>
          <p:spPr>
            <a:xfrm>
              <a:off x="-2768678" y="-99650"/>
              <a:ext cx="43743" cy="40292"/>
            </a:xfrm>
            <a:custGeom>
              <a:avLst/>
              <a:gdLst>
                <a:gd name="connsiteX0" fmla="*/ 32584 w 43743"/>
                <a:gd name="connsiteY0" fmla="*/ 36910 h 40292"/>
                <a:gd name="connsiteX1" fmla="*/ 34377 w 43743"/>
                <a:gd name="connsiteY1" fmla="*/ 38701 h 40292"/>
                <a:gd name="connsiteX2" fmla="*/ 35972 w 43743"/>
                <a:gd name="connsiteY2" fmla="*/ 39894 h 40292"/>
                <a:gd name="connsiteX3" fmla="*/ 38164 w 43743"/>
                <a:gd name="connsiteY3" fmla="*/ 40292 h 40292"/>
                <a:gd name="connsiteX4" fmla="*/ 40555 w 43743"/>
                <a:gd name="connsiteY4" fmla="*/ 39894 h 40292"/>
                <a:gd name="connsiteX5" fmla="*/ 42149 w 43743"/>
                <a:gd name="connsiteY5" fmla="*/ 38701 h 40292"/>
                <a:gd name="connsiteX6" fmla="*/ 43744 w 43743"/>
                <a:gd name="connsiteY6" fmla="*/ 30841 h 40292"/>
                <a:gd name="connsiteX7" fmla="*/ 37068 w 43743"/>
                <a:gd name="connsiteY7" fmla="*/ 11640 h 40292"/>
                <a:gd name="connsiteX8" fmla="*/ 35673 w 43743"/>
                <a:gd name="connsiteY8" fmla="*/ 2189 h 40292"/>
                <a:gd name="connsiteX9" fmla="*/ 33779 w 43743"/>
                <a:gd name="connsiteY9" fmla="*/ 0 h 40292"/>
                <a:gd name="connsiteX10" fmla="*/ 32484 w 43743"/>
                <a:gd name="connsiteY10" fmla="*/ 2189 h 40292"/>
                <a:gd name="connsiteX11" fmla="*/ 31886 w 43743"/>
                <a:gd name="connsiteY11" fmla="*/ 6168 h 40292"/>
                <a:gd name="connsiteX12" fmla="*/ 32285 w 43743"/>
                <a:gd name="connsiteY12" fmla="*/ 9352 h 40292"/>
                <a:gd name="connsiteX13" fmla="*/ 29694 w 43743"/>
                <a:gd name="connsiteY13" fmla="*/ 11242 h 40292"/>
                <a:gd name="connsiteX14" fmla="*/ 11758 w 43743"/>
                <a:gd name="connsiteY14" fmla="*/ 11739 h 40292"/>
                <a:gd name="connsiteX15" fmla="*/ 10861 w 43743"/>
                <a:gd name="connsiteY15" fmla="*/ 12137 h 40292"/>
                <a:gd name="connsiteX16" fmla="*/ 9964 w 43743"/>
                <a:gd name="connsiteY16" fmla="*/ 12933 h 40292"/>
                <a:gd name="connsiteX17" fmla="*/ 9566 w 43743"/>
                <a:gd name="connsiteY17" fmla="*/ 13729 h 40292"/>
                <a:gd name="connsiteX18" fmla="*/ 10064 w 43743"/>
                <a:gd name="connsiteY18" fmla="*/ 14127 h 40292"/>
                <a:gd name="connsiteX19" fmla="*/ 10363 w 43743"/>
                <a:gd name="connsiteY19" fmla="*/ 14625 h 40292"/>
                <a:gd name="connsiteX20" fmla="*/ 9765 w 43743"/>
                <a:gd name="connsiteY20" fmla="*/ 17112 h 40292"/>
                <a:gd name="connsiteX21" fmla="*/ 10064 w 43743"/>
                <a:gd name="connsiteY21" fmla="*/ 18306 h 40292"/>
                <a:gd name="connsiteX22" fmla="*/ 10861 w 43743"/>
                <a:gd name="connsiteY22" fmla="*/ 18903 h 40292"/>
                <a:gd name="connsiteX23" fmla="*/ 13053 w 43743"/>
                <a:gd name="connsiteY23" fmla="*/ 19699 h 40292"/>
                <a:gd name="connsiteX24" fmla="*/ 13950 w 43743"/>
                <a:gd name="connsiteY24" fmla="*/ 20196 h 40292"/>
                <a:gd name="connsiteX25" fmla="*/ 13053 w 43743"/>
                <a:gd name="connsiteY25" fmla="*/ 20693 h 40292"/>
                <a:gd name="connsiteX26" fmla="*/ 12256 w 43743"/>
                <a:gd name="connsiteY26" fmla="*/ 21390 h 40292"/>
                <a:gd name="connsiteX27" fmla="*/ 14747 w 43743"/>
                <a:gd name="connsiteY27" fmla="*/ 23280 h 40292"/>
                <a:gd name="connsiteX28" fmla="*/ 15644 w 43743"/>
                <a:gd name="connsiteY28" fmla="*/ 23579 h 40292"/>
                <a:gd name="connsiteX29" fmla="*/ 14847 w 43743"/>
                <a:gd name="connsiteY29" fmla="*/ 24971 h 40292"/>
                <a:gd name="connsiteX30" fmla="*/ 13253 w 43743"/>
                <a:gd name="connsiteY30" fmla="*/ 23777 h 40292"/>
                <a:gd name="connsiteX31" fmla="*/ 12256 w 43743"/>
                <a:gd name="connsiteY31" fmla="*/ 24374 h 40292"/>
                <a:gd name="connsiteX32" fmla="*/ 11459 w 43743"/>
                <a:gd name="connsiteY32" fmla="*/ 25668 h 40292"/>
                <a:gd name="connsiteX33" fmla="*/ 10463 w 43743"/>
                <a:gd name="connsiteY33" fmla="*/ 26165 h 40292"/>
                <a:gd name="connsiteX34" fmla="*/ 9167 w 43743"/>
                <a:gd name="connsiteY34" fmla="*/ 25568 h 40292"/>
                <a:gd name="connsiteX35" fmla="*/ 8270 w 43743"/>
                <a:gd name="connsiteY35" fmla="*/ 24573 h 40292"/>
                <a:gd name="connsiteX36" fmla="*/ 7274 w 43743"/>
                <a:gd name="connsiteY36" fmla="*/ 23479 h 40292"/>
                <a:gd name="connsiteX37" fmla="*/ 6178 w 43743"/>
                <a:gd name="connsiteY37" fmla="*/ 22484 h 40292"/>
                <a:gd name="connsiteX38" fmla="*/ 3886 w 43743"/>
                <a:gd name="connsiteY38" fmla="*/ 20992 h 40292"/>
                <a:gd name="connsiteX39" fmla="*/ 1993 w 43743"/>
                <a:gd name="connsiteY39" fmla="*/ 20594 h 40292"/>
                <a:gd name="connsiteX40" fmla="*/ 698 w 43743"/>
                <a:gd name="connsiteY40" fmla="*/ 21688 h 40292"/>
                <a:gd name="connsiteX41" fmla="*/ 0 w 43743"/>
                <a:gd name="connsiteY41" fmla="*/ 24971 h 40292"/>
                <a:gd name="connsiteX42" fmla="*/ 2591 w 43743"/>
                <a:gd name="connsiteY42" fmla="*/ 26364 h 40292"/>
                <a:gd name="connsiteX43" fmla="*/ 5082 w 43743"/>
                <a:gd name="connsiteY43" fmla="*/ 28752 h 40292"/>
                <a:gd name="connsiteX44" fmla="*/ 7673 w 43743"/>
                <a:gd name="connsiteY44" fmla="*/ 30443 h 40292"/>
                <a:gd name="connsiteX45" fmla="*/ 10463 w 43743"/>
                <a:gd name="connsiteY45" fmla="*/ 29747 h 40292"/>
                <a:gd name="connsiteX46" fmla="*/ 12356 w 43743"/>
                <a:gd name="connsiteY46" fmla="*/ 30841 h 40292"/>
                <a:gd name="connsiteX47" fmla="*/ 14050 w 43743"/>
                <a:gd name="connsiteY47" fmla="*/ 30344 h 40292"/>
                <a:gd name="connsiteX48" fmla="*/ 14648 w 43743"/>
                <a:gd name="connsiteY48" fmla="*/ 28951 h 40292"/>
                <a:gd name="connsiteX49" fmla="*/ 13153 w 43743"/>
                <a:gd name="connsiteY49" fmla="*/ 27459 h 40292"/>
                <a:gd name="connsiteX50" fmla="*/ 15046 w 43743"/>
                <a:gd name="connsiteY50" fmla="*/ 25568 h 40292"/>
                <a:gd name="connsiteX51" fmla="*/ 16342 w 43743"/>
                <a:gd name="connsiteY51" fmla="*/ 26663 h 40292"/>
                <a:gd name="connsiteX52" fmla="*/ 17637 w 43743"/>
                <a:gd name="connsiteY52" fmla="*/ 28652 h 40292"/>
                <a:gd name="connsiteX53" fmla="*/ 19630 w 43743"/>
                <a:gd name="connsiteY53" fmla="*/ 29747 h 40292"/>
                <a:gd name="connsiteX54" fmla="*/ 21125 w 43743"/>
                <a:gd name="connsiteY54" fmla="*/ 30145 h 40292"/>
                <a:gd name="connsiteX55" fmla="*/ 25110 w 43743"/>
                <a:gd name="connsiteY55" fmla="*/ 32632 h 40292"/>
                <a:gd name="connsiteX56" fmla="*/ 28498 w 43743"/>
                <a:gd name="connsiteY56" fmla="*/ 35517 h 40292"/>
                <a:gd name="connsiteX57" fmla="*/ 32584 w 43743"/>
                <a:gd name="connsiteY57" fmla="*/ 36910 h 40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3743" h="40292">
                  <a:moveTo>
                    <a:pt x="32584" y="36910"/>
                  </a:moveTo>
                  <a:lnTo>
                    <a:pt x="34377" y="38701"/>
                  </a:lnTo>
                  <a:lnTo>
                    <a:pt x="35972" y="39894"/>
                  </a:lnTo>
                  <a:lnTo>
                    <a:pt x="38164" y="40292"/>
                  </a:lnTo>
                  <a:lnTo>
                    <a:pt x="40555" y="39894"/>
                  </a:lnTo>
                  <a:lnTo>
                    <a:pt x="42149" y="38701"/>
                  </a:lnTo>
                  <a:lnTo>
                    <a:pt x="43744" y="30841"/>
                  </a:lnTo>
                  <a:lnTo>
                    <a:pt x="37068" y="11640"/>
                  </a:lnTo>
                  <a:lnTo>
                    <a:pt x="35673" y="2189"/>
                  </a:lnTo>
                  <a:lnTo>
                    <a:pt x="33779" y="0"/>
                  </a:lnTo>
                  <a:lnTo>
                    <a:pt x="32484" y="2189"/>
                  </a:lnTo>
                  <a:lnTo>
                    <a:pt x="31886" y="6168"/>
                  </a:lnTo>
                  <a:lnTo>
                    <a:pt x="32285" y="9352"/>
                  </a:lnTo>
                  <a:lnTo>
                    <a:pt x="29694" y="11242"/>
                  </a:lnTo>
                  <a:lnTo>
                    <a:pt x="11758" y="11739"/>
                  </a:lnTo>
                  <a:lnTo>
                    <a:pt x="10861" y="12137"/>
                  </a:lnTo>
                  <a:lnTo>
                    <a:pt x="9964" y="12933"/>
                  </a:lnTo>
                  <a:lnTo>
                    <a:pt x="9566" y="13729"/>
                  </a:lnTo>
                  <a:lnTo>
                    <a:pt x="10064" y="14127"/>
                  </a:lnTo>
                  <a:lnTo>
                    <a:pt x="10363" y="14625"/>
                  </a:lnTo>
                  <a:lnTo>
                    <a:pt x="9765" y="17112"/>
                  </a:lnTo>
                  <a:lnTo>
                    <a:pt x="10064" y="18306"/>
                  </a:lnTo>
                  <a:lnTo>
                    <a:pt x="10861" y="18903"/>
                  </a:lnTo>
                  <a:lnTo>
                    <a:pt x="13053" y="19699"/>
                  </a:lnTo>
                  <a:lnTo>
                    <a:pt x="13950" y="20196"/>
                  </a:lnTo>
                  <a:lnTo>
                    <a:pt x="13053" y="20693"/>
                  </a:lnTo>
                  <a:lnTo>
                    <a:pt x="12256" y="21390"/>
                  </a:lnTo>
                  <a:lnTo>
                    <a:pt x="14747" y="23280"/>
                  </a:lnTo>
                  <a:lnTo>
                    <a:pt x="15644" y="23579"/>
                  </a:lnTo>
                  <a:lnTo>
                    <a:pt x="14847" y="24971"/>
                  </a:lnTo>
                  <a:lnTo>
                    <a:pt x="13253" y="23777"/>
                  </a:lnTo>
                  <a:lnTo>
                    <a:pt x="12256" y="24374"/>
                  </a:lnTo>
                  <a:lnTo>
                    <a:pt x="11459" y="25668"/>
                  </a:lnTo>
                  <a:lnTo>
                    <a:pt x="10463" y="26165"/>
                  </a:lnTo>
                  <a:lnTo>
                    <a:pt x="9167" y="25568"/>
                  </a:lnTo>
                  <a:lnTo>
                    <a:pt x="8270" y="24573"/>
                  </a:lnTo>
                  <a:lnTo>
                    <a:pt x="7274" y="23479"/>
                  </a:lnTo>
                  <a:lnTo>
                    <a:pt x="6178" y="22484"/>
                  </a:lnTo>
                  <a:lnTo>
                    <a:pt x="3886" y="20992"/>
                  </a:lnTo>
                  <a:lnTo>
                    <a:pt x="1993" y="20594"/>
                  </a:lnTo>
                  <a:lnTo>
                    <a:pt x="698" y="21688"/>
                  </a:lnTo>
                  <a:lnTo>
                    <a:pt x="0" y="24971"/>
                  </a:lnTo>
                  <a:lnTo>
                    <a:pt x="2591" y="26364"/>
                  </a:lnTo>
                  <a:lnTo>
                    <a:pt x="5082" y="28752"/>
                  </a:lnTo>
                  <a:lnTo>
                    <a:pt x="7673" y="30443"/>
                  </a:lnTo>
                  <a:lnTo>
                    <a:pt x="10463" y="29747"/>
                  </a:lnTo>
                  <a:lnTo>
                    <a:pt x="12356" y="30841"/>
                  </a:lnTo>
                  <a:lnTo>
                    <a:pt x="14050" y="30344"/>
                  </a:lnTo>
                  <a:lnTo>
                    <a:pt x="14648" y="28951"/>
                  </a:lnTo>
                  <a:lnTo>
                    <a:pt x="13153" y="27459"/>
                  </a:lnTo>
                  <a:lnTo>
                    <a:pt x="15046" y="25568"/>
                  </a:lnTo>
                  <a:lnTo>
                    <a:pt x="16342" y="26663"/>
                  </a:lnTo>
                  <a:lnTo>
                    <a:pt x="17637" y="28652"/>
                  </a:lnTo>
                  <a:lnTo>
                    <a:pt x="19630" y="29747"/>
                  </a:lnTo>
                  <a:lnTo>
                    <a:pt x="21125" y="30145"/>
                  </a:lnTo>
                  <a:lnTo>
                    <a:pt x="25110" y="32632"/>
                  </a:lnTo>
                  <a:lnTo>
                    <a:pt x="28498" y="35517"/>
                  </a:lnTo>
                  <a:lnTo>
                    <a:pt x="32584" y="3691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6" name="Freeform: Shape 1445">
              <a:extLst>
                <a:ext uri="{FF2B5EF4-FFF2-40B4-BE49-F238E27FC236}">
                  <a16:creationId xmlns:a16="http://schemas.microsoft.com/office/drawing/2014/main" id="{59397FE3-91BC-4F49-A725-0A71B5B389D3}"/>
                </a:ext>
              </a:extLst>
            </p:cNvPr>
            <p:cNvSpPr/>
            <p:nvPr/>
          </p:nvSpPr>
          <p:spPr>
            <a:xfrm>
              <a:off x="-2761903" y="-68809"/>
              <a:ext cx="19231" cy="38302"/>
            </a:xfrm>
            <a:custGeom>
              <a:avLst/>
              <a:gdLst>
                <a:gd name="connsiteX0" fmla="*/ 4584 w 19231"/>
                <a:gd name="connsiteY0" fmla="*/ 28752 h 38302"/>
                <a:gd name="connsiteX1" fmla="*/ 5979 w 19231"/>
                <a:gd name="connsiteY1" fmla="*/ 31438 h 38302"/>
                <a:gd name="connsiteX2" fmla="*/ 9865 w 19231"/>
                <a:gd name="connsiteY2" fmla="*/ 35219 h 38302"/>
                <a:gd name="connsiteX3" fmla="*/ 10762 w 19231"/>
                <a:gd name="connsiteY3" fmla="*/ 38303 h 38302"/>
                <a:gd name="connsiteX4" fmla="*/ 14648 w 19231"/>
                <a:gd name="connsiteY4" fmla="*/ 34522 h 38302"/>
                <a:gd name="connsiteX5" fmla="*/ 17836 w 19231"/>
                <a:gd name="connsiteY5" fmla="*/ 27558 h 38302"/>
                <a:gd name="connsiteX6" fmla="*/ 19231 w 19231"/>
                <a:gd name="connsiteY6" fmla="*/ 19301 h 38302"/>
                <a:gd name="connsiteX7" fmla="*/ 17537 w 19231"/>
                <a:gd name="connsiteY7" fmla="*/ 11938 h 38302"/>
                <a:gd name="connsiteX8" fmla="*/ 18235 w 19231"/>
                <a:gd name="connsiteY8" fmla="*/ 10546 h 38302"/>
                <a:gd name="connsiteX9" fmla="*/ 18434 w 19231"/>
                <a:gd name="connsiteY9" fmla="*/ 9252 h 38302"/>
                <a:gd name="connsiteX10" fmla="*/ 18434 w 19231"/>
                <a:gd name="connsiteY10" fmla="*/ 5969 h 38302"/>
                <a:gd name="connsiteX11" fmla="*/ 17836 w 19231"/>
                <a:gd name="connsiteY11" fmla="*/ 4377 h 38302"/>
                <a:gd name="connsiteX12" fmla="*/ 16740 w 19231"/>
                <a:gd name="connsiteY12" fmla="*/ 3184 h 38302"/>
                <a:gd name="connsiteX13" fmla="*/ 14050 w 19231"/>
                <a:gd name="connsiteY13" fmla="*/ 1194 h 38302"/>
                <a:gd name="connsiteX14" fmla="*/ 13053 w 19231"/>
                <a:gd name="connsiteY14" fmla="*/ 2089 h 38302"/>
                <a:gd name="connsiteX15" fmla="*/ 12057 w 19231"/>
                <a:gd name="connsiteY15" fmla="*/ 2786 h 38302"/>
                <a:gd name="connsiteX16" fmla="*/ 10961 w 19231"/>
                <a:gd name="connsiteY16" fmla="*/ 3283 h 38302"/>
                <a:gd name="connsiteX17" fmla="*/ 9765 w 19231"/>
                <a:gd name="connsiteY17" fmla="*/ 3681 h 38302"/>
                <a:gd name="connsiteX18" fmla="*/ 11060 w 19231"/>
                <a:gd name="connsiteY18" fmla="*/ 1791 h 38302"/>
                <a:gd name="connsiteX19" fmla="*/ 11559 w 19231"/>
                <a:gd name="connsiteY19" fmla="*/ 1194 h 38302"/>
                <a:gd name="connsiteX20" fmla="*/ 11559 w 19231"/>
                <a:gd name="connsiteY20" fmla="*/ 0 h 38302"/>
                <a:gd name="connsiteX21" fmla="*/ 5879 w 19231"/>
                <a:gd name="connsiteY21" fmla="*/ 1194 h 38302"/>
                <a:gd name="connsiteX22" fmla="*/ 2890 w 19231"/>
                <a:gd name="connsiteY22" fmla="*/ 2288 h 38302"/>
                <a:gd name="connsiteX23" fmla="*/ 1096 w 19231"/>
                <a:gd name="connsiteY23" fmla="*/ 3681 h 38302"/>
                <a:gd name="connsiteX24" fmla="*/ 0 w 19231"/>
                <a:gd name="connsiteY24" fmla="*/ 6765 h 38302"/>
                <a:gd name="connsiteX25" fmla="*/ 199 w 19231"/>
                <a:gd name="connsiteY25" fmla="*/ 10347 h 38302"/>
                <a:gd name="connsiteX26" fmla="*/ 996 w 19231"/>
                <a:gd name="connsiteY26" fmla="*/ 13928 h 38302"/>
                <a:gd name="connsiteX27" fmla="*/ 1993 w 19231"/>
                <a:gd name="connsiteY27" fmla="*/ 16813 h 38302"/>
                <a:gd name="connsiteX28" fmla="*/ 2093 w 19231"/>
                <a:gd name="connsiteY28" fmla="*/ 17609 h 38302"/>
                <a:gd name="connsiteX29" fmla="*/ 1893 w 19231"/>
                <a:gd name="connsiteY29" fmla="*/ 19500 h 38302"/>
                <a:gd name="connsiteX30" fmla="*/ 1993 w 19231"/>
                <a:gd name="connsiteY30" fmla="*/ 20395 h 38302"/>
                <a:gd name="connsiteX31" fmla="*/ 4584 w 19231"/>
                <a:gd name="connsiteY31" fmla="*/ 21589 h 38302"/>
                <a:gd name="connsiteX32" fmla="*/ 4683 w 19231"/>
                <a:gd name="connsiteY32" fmla="*/ 23280 h 38302"/>
                <a:gd name="connsiteX33" fmla="*/ 4384 w 19231"/>
                <a:gd name="connsiteY33" fmla="*/ 27061 h 38302"/>
                <a:gd name="connsiteX34" fmla="*/ 4584 w 19231"/>
                <a:gd name="connsiteY34" fmla="*/ 28752 h 3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231" h="38302">
                  <a:moveTo>
                    <a:pt x="4584" y="28752"/>
                  </a:moveTo>
                  <a:lnTo>
                    <a:pt x="5979" y="31438"/>
                  </a:lnTo>
                  <a:lnTo>
                    <a:pt x="9865" y="35219"/>
                  </a:lnTo>
                  <a:lnTo>
                    <a:pt x="10762" y="38303"/>
                  </a:lnTo>
                  <a:lnTo>
                    <a:pt x="14648" y="34522"/>
                  </a:lnTo>
                  <a:lnTo>
                    <a:pt x="17836" y="27558"/>
                  </a:lnTo>
                  <a:lnTo>
                    <a:pt x="19231" y="19301"/>
                  </a:lnTo>
                  <a:lnTo>
                    <a:pt x="17537" y="11938"/>
                  </a:lnTo>
                  <a:lnTo>
                    <a:pt x="18235" y="10546"/>
                  </a:lnTo>
                  <a:lnTo>
                    <a:pt x="18434" y="9252"/>
                  </a:lnTo>
                  <a:lnTo>
                    <a:pt x="18434" y="5969"/>
                  </a:lnTo>
                  <a:lnTo>
                    <a:pt x="17836" y="4377"/>
                  </a:lnTo>
                  <a:lnTo>
                    <a:pt x="16740" y="3184"/>
                  </a:lnTo>
                  <a:lnTo>
                    <a:pt x="14050" y="1194"/>
                  </a:lnTo>
                  <a:lnTo>
                    <a:pt x="13053" y="2089"/>
                  </a:lnTo>
                  <a:lnTo>
                    <a:pt x="12057" y="2786"/>
                  </a:lnTo>
                  <a:lnTo>
                    <a:pt x="10961" y="3283"/>
                  </a:lnTo>
                  <a:lnTo>
                    <a:pt x="9765" y="3681"/>
                  </a:lnTo>
                  <a:lnTo>
                    <a:pt x="11060" y="1791"/>
                  </a:lnTo>
                  <a:lnTo>
                    <a:pt x="11559" y="1194"/>
                  </a:lnTo>
                  <a:lnTo>
                    <a:pt x="11559" y="0"/>
                  </a:lnTo>
                  <a:lnTo>
                    <a:pt x="5879" y="1194"/>
                  </a:lnTo>
                  <a:lnTo>
                    <a:pt x="2890" y="2288"/>
                  </a:lnTo>
                  <a:lnTo>
                    <a:pt x="1096" y="3681"/>
                  </a:lnTo>
                  <a:lnTo>
                    <a:pt x="0" y="6765"/>
                  </a:lnTo>
                  <a:lnTo>
                    <a:pt x="199" y="10347"/>
                  </a:lnTo>
                  <a:lnTo>
                    <a:pt x="996" y="13928"/>
                  </a:lnTo>
                  <a:lnTo>
                    <a:pt x="1993" y="16813"/>
                  </a:lnTo>
                  <a:lnTo>
                    <a:pt x="2093" y="17609"/>
                  </a:lnTo>
                  <a:lnTo>
                    <a:pt x="1893" y="19500"/>
                  </a:lnTo>
                  <a:lnTo>
                    <a:pt x="1993" y="20395"/>
                  </a:lnTo>
                  <a:lnTo>
                    <a:pt x="4584" y="21589"/>
                  </a:lnTo>
                  <a:lnTo>
                    <a:pt x="4683" y="23280"/>
                  </a:lnTo>
                  <a:lnTo>
                    <a:pt x="4384" y="27061"/>
                  </a:lnTo>
                  <a:lnTo>
                    <a:pt x="4584" y="2875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7" name="Freeform: Shape 1446">
              <a:extLst>
                <a:ext uri="{FF2B5EF4-FFF2-40B4-BE49-F238E27FC236}">
                  <a16:creationId xmlns:a16="http://schemas.microsoft.com/office/drawing/2014/main" id="{A5E76B20-381B-4984-8D85-CF04C83E059F}"/>
                </a:ext>
              </a:extLst>
            </p:cNvPr>
            <p:cNvSpPr/>
            <p:nvPr/>
          </p:nvSpPr>
          <p:spPr>
            <a:xfrm>
              <a:off x="-2816408" y="-212966"/>
              <a:ext cx="85195" cy="125055"/>
            </a:xfrm>
            <a:custGeom>
              <a:avLst/>
              <a:gdLst>
                <a:gd name="connsiteX0" fmla="*/ 13153 w 85195"/>
                <a:gd name="connsiteY0" fmla="*/ 39099 h 125055"/>
                <a:gd name="connsiteX1" fmla="*/ 9566 w 85195"/>
                <a:gd name="connsiteY1" fmla="*/ 42382 h 125055"/>
                <a:gd name="connsiteX2" fmla="*/ 8569 w 85195"/>
                <a:gd name="connsiteY2" fmla="*/ 40392 h 125055"/>
                <a:gd name="connsiteX3" fmla="*/ 6477 w 85195"/>
                <a:gd name="connsiteY3" fmla="*/ 40193 h 125055"/>
                <a:gd name="connsiteX4" fmla="*/ 4484 w 85195"/>
                <a:gd name="connsiteY4" fmla="*/ 41586 h 125055"/>
                <a:gd name="connsiteX5" fmla="*/ 3587 w 85195"/>
                <a:gd name="connsiteY5" fmla="*/ 44073 h 125055"/>
                <a:gd name="connsiteX6" fmla="*/ 2989 w 85195"/>
                <a:gd name="connsiteY6" fmla="*/ 46361 h 125055"/>
                <a:gd name="connsiteX7" fmla="*/ 598 w 85195"/>
                <a:gd name="connsiteY7" fmla="*/ 50540 h 125055"/>
                <a:gd name="connsiteX8" fmla="*/ 0 w 85195"/>
                <a:gd name="connsiteY8" fmla="*/ 53823 h 125055"/>
                <a:gd name="connsiteX9" fmla="*/ 598 w 85195"/>
                <a:gd name="connsiteY9" fmla="*/ 59991 h 125055"/>
                <a:gd name="connsiteX10" fmla="*/ 1295 w 85195"/>
                <a:gd name="connsiteY10" fmla="*/ 63473 h 125055"/>
                <a:gd name="connsiteX11" fmla="*/ 2192 w 85195"/>
                <a:gd name="connsiteY11" fmla="*/ 65761 h 125055"/>
                <a:gd name="connsiteX12" fmla="*/ 4285 w 85195"/>
                <a:gd name="connsiteY12" fmla="*/ 66856 h 125055"/>
                <a:gd name="connsiteX13" fmla="*/ 8669 w 85195"/>
                <a:gd name="connsiteY13" fmla="*/ 66557 h 125055"/>
                <a:gd name="connsiteX14" fmla="*/ 9566 w 85195"/>
                <a:gd name="connsiteY14" fmla="*/ 68149 h 125055"/>
                <a:gd name="connsiteX15" fmla="*/ 11957 w 85195"/>
                <a:gd name="connsiteY15" fmla="*/ 71631 h 125055"/>
                <a:gd name="connsiteX16" fmla="*/ 17338 w 85195"/>
                <a:gd name="connsiteY16" fmla="*/ 69044 h 125055"/>
                <a:gd name="connsiteX17" fmla="*/ 23018 w 85195"/>
                <a:gd name="connsiteY17" fmla="*/ 64070 h 125055"/>
                <a:gd name="connsiteX18" fmla="*/ 26107 w 85195"/>
                <a:gd name="connsiteY18" fmla="*/ 60289 h 125055"/>
                <a:gd name="connsiteX19" fmla="*/ 26605 w 85195"/>
                <a:gd name="connsiteY19" fmla="*/ 59096 h 125055"/>
                <a:gd name="connsiteX20" fmla="*/ 27502 w 85195"/>
                <a:gd name="connsiteY20" fmla="*/ 56409 h 125055"/>
                <a:gd name="connsiteX21" fmla="*/ 27801 w 85195"/>
                <a:gd name="connsiteY21" fmla="*/ 55514 h 125055"/>
                <a:gd name="connsiteX22" fmla="*/ 28797 w 85195"/>
                <a:gd name="connsiteY22" fmla="*/ 54022 h 125055"/>
                <a:gd name="connsiteX23" fmla="*/ 30989 w 85195"/>
                <a:gd name="connsiteY23" fmla="*/ 51733 h 125055"/>
                <a:gd name="connsiteX24" fmla="*/ 32185 w 85195"/>
                <a:gd name="connsiteY24" fmla="*/ 50739 h 125055"/>
                <a:gd name="connsiteX25" fmla="*/ 34377 w 85195"/>
                <a:gd name="connsiteY25" fmla="*/ 49346 h 125055"/>
                <a:gd name="connsiteX26" fmla="*/ 36669 w 85195"/>
                <a:gd name="connsiteY26" fmla="*/ 48649 h 125055"/>
                <a:gd name="connsiteX27" fmla="*/ 41751 w 85195"/>
                <a:gd name="connsiteY27" fmla="*/ 48351 h 125055"/>
                <a:gd name="connsiteX28" fmla="*/ 41751 w 85195"/>
                <a:gd name="connsiteY28" fmla="*/ 47157 h 125055"/>
                <a:gd name="connsiteX29" fmla="*/ 39559 w 85195"/>
                <a:gd name="connsiteY29" fmla="*/ 46461 h 125055"/>
                <a:gd name="connsiteX30" fmla="*/ 38363 w 85195"/>
                <a:gd name="connsiteY30" fmla="*/ 45267 h 125055"/>
                <a:gd name="connsiteX31" fmla="*/ 36071 w 85195"/>
                <a:gd name="connsiteY31" fmla="*/ 41785 h 125055"/>
                <a:gd name="connsiteX32" fmla="*/ 34576 w 85195"/>
                <a:gd name="connsiteY32" fmla="*/ 40491 h 125055"/>
                <a:gd name="connsiteX33" fmla="*/ 31288 w 85195"/>
                <a:gd name="connsiteY33" fmla="*/ 38502 h 125055"/>
                <a:gd name="connsiteX34" fmla="*/ 29993 w 85195"/>
                <a:gd name="connsiteY34" fmla="*/ 36910 h 125055"/>
                <a:gd name="connsiteX35" fmla="*/ 29196 w 85195"/>
                <a:gd name="connsiteY35" fmla="*/ 36313 h 125055"/>
                <a:gd name="connsiteX36" fmla="*/ 28299 w 85195"/>
                <a:gd name="connsiteY36" fmla="*/ 36114 h 125055"/>
                <a:gd name="connsiteX37" fmla="*/ 27302 w 85195"/>
                <a:gd name="connsiteY37" fmla="*/ 36313 h 125055"/>
                <a:gd name="connsiteX38" fmla="*/ 25609 w 85195"/>
                <a:gd name="connsiteY38" fmla="*/ 37706 h 125055"/>
                <a:gd name="connsiteX39" fmla="*/ 25110 w 85195"/>
                <a:gd name="connsiteY39" fmla="*/ 37109 h 125055"/>
                <a:gd name="connsiteX40" fmla="*/ 24712 w 85195"/>
                <a:gd name="connsiteY40" fmla="*/ 36014 h 125055"/>
                <a:gd name="connsiteX41" fmla="*/ 24413 w 85195"/>
                <a:gd name="connsiteY41" fmla="*/ 35119 h 125055"/>
                <a:gd name="connsiteX42" fmla="*/ 23516 w 85195"/>
                <a:gd name="connsiteY42" fmla="*/ 34025 h 125055"/>
                <a:gd name="connsiteX43" fmla="*/ 23018 w 85195"/>
                <a:gd name="connsiteY43" fmla="*/ 32831 h 125055"/>
                <a:gd name="connsiteX44" fmla="*/ 22818 w 85195"/>
                <a:gd name="connsiteY44" fmla="*/ 31239 h 125055"/>
                <a:gd name="connsiteX45" fmla="*/ 22619 w 85195"/>
                <a:gd name="connsiteY45" fmla="*/ 29050 h 125055"/>
                <a:gd name="connsiteX46" fmla="*/ 29594 w 85195"/>
                <a:gd name="connsiteY46" fmla="*/ 33826 h 125055"/>
                <a:gd name="connsiteX47" fmla="*/ 32982 w 85195"/>
                <a:gd name="connsiteY47" fmla="*/ 37009 h 125055"/>
                <a:gd name="connsiteX48" fmla="*/ 36569 w 85195"/>
                <a:gd name="connsiteY48" fmla="*/ 38900 h 125055"/>
                <a:gd name="connsiteX49" fmla="*/ 40157 w 85195"/>
                <a:gd name="connsiteY49" fmla="*/ 41984 h 125055"/>
                <a:gd name="connsiteX50" fmla="*/ 43445 w 85195"/>
                <a:gd name="connsiteY50" fmla="*/ 45565 h 125055"/>
                <a:gd name="connsiteX51" fmla="*/ 45139 w 85195"/>
                <a:gd name="connsiteY51" fmla="*/ 48351 h 125055"/>
                <a:gd name="connsiteX52" fmla="*/ 35473 w 85195"/>
                <a:gd name="connsiteY52" fmla="*/ 51733 h 125055"/>
                <a:gd name="connsiteX53" fmla="*/ 31288 w 85195"/>
                <a:gd name="connsiteY53" fmla="*/ 54818 h 125055"/>
                <a:gd name="connsiteX54" fmla="*/ 31288 w 85195"/>
                <a:gd name="connsiteY54" fmla="*/ 59096 h 125055"/>
                <a:gd name="connsiteX55" fmla="*/ 28996 w 85195"/>
                <a:gd name="connsiteY55" fmla="*/ 60588 h 125055"/>
                <a:gd name="connsiteX56" fmla="*/ 26007 w 85195"/>
                <a:gd name="connsiteY56" fmla="*/ 66259 h 125055"/>
                <a:gd name="connsiteX57" fmla="*/ 23915 w 85195"/>
                <a:gd name="connsiteY57" fmla="*/ 67452 h 125055"/>
                <a:gd name="connsiteX58" fmla="*/ 19929 w 85195"/>
                <a:gd name="connsiteY58" fmla="*/ 71233 h 125055"/>
                <a:gd name="connsiteX59" fmla="*/ 15644 w 85195"/>
                <a:gd name="connsiteY59" fmla="*/ 73422 h 125055"/>
                <a:gd name="connsiteX60" fmla="*/ 21125 w 85195"/>
                <a:gd name="connsiteY60" fmla="*/ 77600 h 125055"/>
                <a:gd name="connsiteX61" fmla="*/ 22420 w 85195"/>
                <a:gd name="connsiteY61" fmla="*/ 79291 h 125055"/>
                <a:gd name="connsiteX62" fmla="*/ 20826 w 85195"/>
                <a:gd name="connsiteY62" fmla="*/ 79590 h 125055"/>
                <a:gd name="connsiteX63" fmla="*/ 12854 w 85195"/>
                <a:gd name="connsiteY63" fmla="*/ 76406 h 125055"/>
                <a:gd name="connsiteX64" fmla="*/ 9964 w 85195"/>
                <a:gd name="connsiteY64" fmla="*/ 75909 h 125055"/>
                <a:gd name="connsiteX65" fmla="*/ 8769 w 85195"/>
                <a:gd name="connsiteY65" fmla="*/ 77799 h 125055"/>
                <a:gd name="connsiteX66" fmla="*/ 9267 w 85195"/>
                <a:gd name="connsiteY66" fmla="*/ 81878 h 125055"/>
                <a:gd name="connsiteX67" fmla="*/ 10562 w 85195"/>
                <a:gd name="connsiteY67" fmla="*/ 86156 h 125055"/>
                <a:gd name="connsiteX68" fmla="*/ 11758 w 85195"/>
                <a:gd name="connsiteY68" fmla="*/ 88544 h 125055"/>
                <a:gd name="connsiteX69" fmla="*/ 14847 w 85195"/>
                <a:gd name="connsiteY69" fmla="*/ 93419 h 125055"/>
                <a:gd name="connsiteX70" fmla="*/ 16641 w 85195"/>
                <a:gd name="connsiteY70" fmla="*/ 95209 h 125055"/>
                <a:gd name="connsiteX71" fmla="*/ 19929 w 85195"/>
                <a:gd name="connsiteY71" fmla="*/ 96304 h 125055"/>
                <a:gd name="connsiteX72" fmla="*/ 19929 w 85195"/>
                <a:gd name="connsiteY72" fmla="*/ 97597 h 125055"/>
                <a:gd name="connsiteX73" fmla="*/ 19132 w 85195"/>
                <a:gd name="connsiteY73" fmla="*/ 97995 h 125055"/>
                <a:gd name="connsiteX74" fmla="*/ 18633 w 85195"/>
                <a:gd name="connsiteY74" fmla="*/ 98592 h 125055"/>
                <a:gd name="connsiteX75" fmla="*/ 18036 w 85195"/>
                <a:gd name="connsiteY75" fmla="*/ 99288 h 125055"/>
                <a:gd name="connsiteX76" fmla="*/ 17338 w 85195"/>
                <a:gd name="connsiteY76" fmla="*/ 99985 h 125055"/>
                <a:gd name="connsiteX77" fmla="*/ 18932 w 85195"/>
                <a:gd name="connsiteY77" fmla="*/ 101079 h 125055"/>
                <a:gd name="connsiteX78" fmla="*/ 22420 w 85195"/>
                <a:gd name="connsiteY78" fmla="*/ 104462 h 125055"/>
                <a:gd name="connsiteX79" fmla="*/ 33779 w 85195"/>
                <a:gd name="connsiteY79" fmla="*/ 111923 h 125055"/>
                <a:gd name="connsiteX80" fmla="*/ 38363 w 85195"/>
                <a:gd name="connsiteY80" fmla="*/ 114112 h 125055"/>
                <a:gd name="connsiteX81" fmla="*/ 42747 w 85195"/>
                <a:gd name="connsiteY81" fmla="*/ 114311 h 125055"/>
                <a:gd name="connsiteX82" fmla="*/ 46733 w 85195"/>
                <a:gd name="connsiteY82" fmla="*/ 112122 h 125055"/>
                <a:gd name="connsiteX83" fmla="*/ 49423 w 85195"/>
                <a:gd name="connsiteY83" fmla="*/ 107048 h 125055"/>
                <a:gd name="connsiteX84" fmla="*/ 50520 w 85195"/>
                <a:gd name="connsiteY84" fmla="*/ 108839 h 125055"/>
                <a:gd name="connsiteX85" fmla="*/ 51317 w 85195"/>
                <a:gd name="connsiteY85" fmla="*/ 110829 h 125055"/>
                <a:gd name="connsiteX86" fmla="*/ 52213 w 85195"/>
                <a:gd name="connsiteY86" fmla="*/ 112421 h 125055"/>
                <a:gd name="connsiteX87" fmla="*/ 53409 w 85195"/>
                <a:gd name="connsiteY87" fmla="*/ 113117 h 125055"/>
                <a:gd name="connsiteX88" fmla="*/ 55004 w 85195"/>
                <a:gd name="connsiteY88" fmla="*/ 112620 h 125055"/>
                <a:gd name="connsiteX89" fmla="*/ 55402 w 85195"/>
                <a:gd name="connsiteY89" fmla="*/ 111227 h 125055"/>
                <a:gd name="connsiteX90" fmla="*/ 55103 w 85195"/>
                <a:gd name="connsiteY90" fmla="*/ 109436 h 125055"/>
                <a:gd name="connsiteX91" fmla="*/ 52811 w 85195"/>
                <a:gd name="connsiteY91" fmla="*/ 104561 h 125055"/>
                <a:gd name="connsiteX92" fmla="*/ 52612 w 85195"/>
                <a:gd name="connsiteY92" fmla="*/ 101875 h 125055"/>
                <a:gd name="connsiteX93" fmla="*/ 53907 w 85195"/>
                <a:gd name="connsiteY93" fmla="*/ 95209 h 125055"/>
                <a:gd name="connsiteX94" fmla="*/ 54505 w 85195"/>
                <a:gd name="connsiteY94" fmla="*/ 87449 h 125055"/>
                <a:gd name="connsiteX95" fmla="*/ 55402 w 85195"/>
                <a:gd name="connsiteY95" fmla="*/ 83569 h 125055"/>
                <a:gd name="connsiteX96" fmla="*/ 56897 w 85195"/>
                <a:gd name="connsiteY96" fmla="*/ 81978 h 125055"/>
                <a:gd name="connsiteX97" fmla="*/ 59089 w 85195"/>
                <a:gd name="connsiteY97" fmla="*/ 80187 h 125055"/>
                <a:gd name="connsiteX98" fmla="*/ 59089 w 85195"/>
                <a:gd name="connsiteY98" fmla="*/ 76307 h 125055"/>
                <a:gd name="connsiteX99" fmla="*/ 57993 w 85195"/>
                <a:gd name="connsiteY99" fmla="*/ 72228 h 125055"/>
                <a:gd name="connsiteX100" fmla="*/ 56498 w 85195"/>
                <a:gd name="connsiteY100" fmla="*/ 69840 h 125055"/>
                <a:gd name="connsiteX101" fmla="*/ 58491 w 85195"/>
                <a:gd name="connsiteY101" fmla="*/ 69044 h 125055"/>
                <a:gd name="connsiteX102" fmla="*/ 60185 w 85195"/>
                <a:gd name="connsiteY102" fmla="*/ 70039 h 125055"/>
                <a:gd name="connsiteX103" fmla="*/ 62178 w 85195"/>
                <a:gd name="connsiteY103" fmla="*/ 71531 h 125055"/>
                <a:gd name="connsiteX104" fmla="*/ 64769 w 85195"/>
                <a:gd name="connsiteY104" fmla="*/ 72327 h 125055"/>
                <a:gd name="connsiteX105" fmla="*/ 66562 w 85195"/>
                <a:gd name="connsiteY105" fmla="*/ 70835 h 125055"/>
                <a:gd name="connsiteX106" fmla="*/ 66463 w 85195"/>
                <a:gd name="connsiteY106" fmla="*/ 67353 h 125055"/>
                <a:gd name="connsiteX107" fmla="*/ 65267 w 85195"/>
                <a:gd name="connsiteY107" fmla="*/ 60986 h 125055"/>
                <a:gd name="connsiteX108" fmla="*/ 65865 w 85195"/>
                <a:gd name="connsiteY108" fmla="*/ 59692 h 125055"/>
                <a:gd name="connsiteX109" fmla="*/ 67160 w 85195"/>
                <a:gd name="connsiteY109" fmla="*/ 59792 h 125055"/>
                <a:gd name="connsiteX110" fmla="*/ 68555 w 85195"/>
                <a:gd name="connsiteY110" fmla="*/ 60588 h 125055"/>
                <a:gd name="connsiteX111" fmla="*/ 69452 w 85195"/>
                <a:gd name="connsiteY111" fmla="*/ 61682 h 125055"/>
                <a:gd name="connsiteX112" fmla="*/ 69651 w 85195"/>
                <a:gd name="connsiteY112" fmla="*/ 62777 h 125055"/>
                <a:gd name="connsiteX113" fmla="*/ 69552 w 85195"/>
                <a:gd name="connsiteY113" fmla="*/ 66259 h 125055"/>
                <a:gd name="connsiteX114" fmla="*/ 69153 w 85195"/>
                <a:gd name="connsiteY114" fmla="*/ 69343 h 125055"/>
                <a:gd name="connsiteX115" fmla="*/ 68854 w 85195"/>
                <a:gd name="connsiteY115" fmla="*/ 70636 h 125055"/>
                <a:gd name="connsiteX116" fmla="*/ 66064 w 85195"/>
                <a:gd name="connsiteY116" fmla="*/ 78396 h 125055"/>
                <a:gd name="connsiteX117" fmla="*/ 63972 w 85195"/>
                <a:gd name="connsiteY117" fmla="*/ 80187 h 125055"/>
                <a:gd name="connsiteX118" fmla="*/ 62377 w 85195"/>
                <a:gd name="connsiteY118" fmla="*/ 81381 h 125055"/>
                <a:gd name="connsiteX119" fmla="*/ 61281 w 85195"/>
                <a:gd name="connsiteY119" fmla="*/ 83271 h 125055"/>
                <a:gd name="connsiteX120" fmla="*/ 60883 w 85195"/>
                <a:gd name="connsiteY120" fmla="*/ 87449 h 125055"/>
                <a:gd name="connsiteX121" fmla="*/ 60185 w 85195"/>
                <a:gd name="connsiteY121" fmla="*/ 90434 h 125055"/>
                <a:gd name="connsiteX122" fmla="*/ 57196 w 85195"/>
                <a:gd name="connsiteY122" fmla="*/ 96005 h 125055"/>
                <a:gd name="connsiteX123" fmla="*/ 56498 w 85195"/>
                <a:gd name="connsiteY123" fmla="*/ 99288 h 125055"/>
                <a:gd name="connsiteX124" fmla="*/ 56797 w 85195"/>
                <a:gd name="connsiteY124" fmla="*/ 102572 h 125055"/>
                <a:gd name="connsiteX125" fmla="*/ 57893 w 85195"/>
                <a:gd name="connsiteY125" fmla="*/ 108640 h 125055"/>
                <a:gd name="connsiteX126" fmla="*/ 58192 w 85195"/>
                <a:gd name="connsiteY126" fmla="*/ 111923 h 125055"/>
                <a:gd name="connsiteX127" fmla="*/ 58093 w 85195"/>
                <a:gd name="connsiteY127" fmla="*/ 114808 h 125055"/>
                <a:gd name="connsiteX128" fmla="*/ 57594 w 85195"/>
                <a:gd name="connsiteY128" fmla="*/ 117793 h 125055"/>
                <a:gd name="connsiteX129" fmla="*/ 56797 w 85195"/>
                <a:gd name="connsiteY129" fmla="*/ 120877 h 125055"/>
                <a:gd name="connsiteX130" fmla="*/ 55601 w 85195"/>
                <a:gd name="connsiteY130" fmla="*/ 123961 h 125055"/>
                <a:gd name="connsiteX131" fmla="*/ 56498 w 85195"/>
                <a:gd name="connsiteY131" fmla="*/ 125056 h 125055"/>
                <a:gd name="connsiteX132" fmla="*/ 59388 w 85195"/>
                <a:gd name="connsiteY132" fmla="*/ 123364 h 125055"/>
                <a:gd name="connsiteX133" fmla="*/ 62178 w 85195"/>
                <a:gd name="connsiteY133" fmla="*/ 122668 h 125055"/>
                <a:gd name="connsiteX134" fmla="*/ 74633 w 85195"/>
                <a:gd name="connsiteY134" fmla="*/ 122668 h 125055"/>
                <a:gd name="connsiteX135" fmla="*/ 76028 w 85195"/>
                <a:gd name="connsiteY135" fmla="*/ 122171 h 125055"/>
                <a:gd name="connsiteX136" fmla="*/ 76726 w 85195"/>
                <a:gd name="connsiteY136" fmla="*/ 120678 h 125055"/>
                <a:gd name="connsiteX137" fmla="*/ 77623 w 85195"/>
                <a:gd name="connsiteY137" fmla="*/ 116201 h 125055"/>
                <a:gd name="connsiteX138" fmla="*/ 78221 w 85195"/>
                <a:gd name="connsiteY138" fmla="*/ 114311 h 125055"/>
                <a:gd name="connsiteX139" fmla="*/ 77423 w 85195"/>
                <a:gd name="connsiteY139" fmla="*/ 113515 h 125055"/>
                <a:gd name="connsiteX140" fmla="*/ 76527 w 85195"/>
                <a:gd name="connsiteY140" fmla="*/ 113117 h 125055"/>
                <a:gd name="connsiteX141" fmla="*/ 75630 w 85195"/>
                <a:gd name="connsiteY141" fmla="*/ 113018 h 125055"/>
                <a:gd name="connsiteX142" fmla="*/ 74633 w 85195"/>
                <a:gd name="connsiteY142" fmla="*/ 113117 h 125055"/>
                <a:gd name="connsiteX143" fmla="*/ 77324 w 85195"/>
                <a:gd name="connsiteY143" fmla="*/ 109536 h 125055"/>
                <a:gd name="connsiteX144" fmla="*/ 78221 w 85195"/>
                <a:gd name="connsiteY144" fmla="*/ 106949 h 125055"/>
                <a:gd name="connsiteX145" fmla="*/ 77224 w 85195"/>
                <a:gd name="connsiteY145" fmla="*/ 99985 h 125055"/>
                <a:gd name="connsiteX146" fmla="*/ 79018 w 85195"/>
                <a:gd name="connsiteY146" fmla="*/ 100681 h 125055"/>
                <a:gd name="connsiteX147" fmla="*/ 79815 w 85195"/>
                <a:gd name="connsiteY147" fmla="*/ 99587 h 125055"/>
                <a:gd name="connsiteX148" fmla="*/ 83900 w 85195"/>
                <a:gd name="connsiteY148" fmla="*/ 81480 h 125055"/>
                <a:gd name="connsiteX149" fmla="*/ 84897 w 85195"/>
                <a:gd name="connsiteY149" fmla="*/ 73621 h 125055"/>
                <a:gd name="connsiteX150" fmla="*/ 85196 w 85195"/>
                <a:gd name="connsiteY150" fmla="*/ 66358 h 125055"/>
                <a:gd name="connsiteX151" fmla="*/ 84498 w 85195"/>
                <a:gd name="connsiteY151" fmla="*/ 58001 h 125055"/>
                <a:gd name="connsiteX152" fmla="*/ 83103 w 85195"/>
                <a:gd name="connsiteY152" fmla="*/ 51137 h 125055"/>
                <a:gd name="connsiteX153" fmla="*/ 77523 w 85195"/>
                <a:gd name="connsiteY153" fmla="*/ 36910 h 125055"/>
                <a:gd name="connsiteX154" fmla="*/ 77324 w 85195"/>
                <a:gd name="connsiteY154" fmla="*/ 35815 h 125055"/>
                <a:gd name="connsiteX155" fmla="*/ 76925 w 85195"/>
                <a:gd name="connsiteY155" fmla="*/ 34721 h 125055"/>
                <a:gd name="connsiteX156" fmla="*/ 72541 w 85195"/>
                <a:gd name="connsiteY156" fmla="*/ 27260 h 125055"/>
                <a:gd name="connsiteX157" fmla="*/ 70947 w 85195"/>
                <a:gd name="connsiteY157" fmla="*/ 25966 h 125055"/>
                <a:gd name="connsiteX158" fmla="*/ 65267 w 85195"/>
                <a:gd name="connsiteY158" fmla="*/ 25469 h 125055"/>
                <a:gd name="connsiteX159" fmla="*/ 62078 w 85195"/>
                <a:gd name="connsiteY159" fmla="*/ 23976 h 125055"/>
                <a:gd name="connsiteX160" fmla="*/ 50520 w 85195"/>
                <a:gd name="connsiteY160" fmla="*/ 16216 h 125055"/>
                <a:gd name="connsiteX161" fmla="*/ 41253 w 85195"/>
                <a:gd name="connsiteY161" fmla="*/ 6765 h 125055"/>
                <a:gd name="connsiteX162" fmla="*/ 36669 w 85195"/>
                <a:gd name="connsiteY162" fmla="*/ 3084 h 125055"/>
                <a:gd name="connsiteX163" fmla="*/ 27601 w 85195"/>
                <a:gd name="connsiteY163" fmla="*/ 2786 h 125055"/>
                <a:gd name="connsiteX164" fmla="*/ 22121 w 85195"/>
                <a:gd name="connsiteY164" fmla="*/ 99 h 125055"/>
                <a:gd name="connsiteX165" fmla="*/ 19231 w 85195"/>
                <a:gd name="connsiteY165" fmla="*/ 0 h 125055"/>
                <a:gd name="connsiteX166" fmla="*/ 16441 w 85195"/>
                <a:gd name="connsiteY166" fmla="*/ 597 h 125055"/>
                <a:gd name="connsiteX167" fmla="*/ 14648 w 85195"/>
                <a:gd name="connsiteY167" fmla="*/ 1393 h 125055"/>
                <a:gd name="connsiteX168" fmla="*/ 13352 w 85195"/>
                <a:gd name="connsiteY168" fmla="*/ 3482 h 125055"/>
                <a:gd name="connsiteX169" fmla="*/ 13651 w 85195"/>
                <a:gd name="connsiteY169" fmla="*/ 5074 h 125055"/>
                <a:gd name="connsiteX170" fmla="*/ 14648 w 85195"/>
                <a:gd name="connsiteY170" fmla="*/ 6566 h 125055"/>
                <a:gd name="connsiteX171" fmla="*/ 15644 w 85195"/>
                <a:gd name="connsiteY171" fmla="*/ 8655 h 125055"/>
                <a:gd name="connsiteX172" fmla="*/ 16142 w 85195"/>
                <a:gd name="connsiteY172" fmla="*/ 10745 h 125055"/>
                <a:gd name="connsiteX173" fmla="*/ 16541 w 85195"/>
                <a:gd name="connsiteY173" fmla="*/ 14028 h 125055"/>
                <a:gd name="connsiteX174" fmla="*/ 16342 w 85195"/>
                <a:gd name="connsiteY174" fmla="*/ 16913 h 125055"/>
                <a:gd name="connsiteX175" fmla="*/ 14149 w 85195"/>
                <a:gd name="connsiteY175" fmla="*/ 19301 h 125055"/>
                <a:gd name="connsiteX176" fmla="*/ 14149 w 85195"/>
                <a:gd name="connsiteY176" fmla="*/ 21589 h 125055"/>
                <a:gd name="connsiteX177" fmla="*/ 14648 w 85195"/>
                <a:gd name="connsiteY177" fmla="*/ 26066 h 125055"/>
                <a:gd name="connsiteX178" fmla="*/ 14847 w 85195"/>
                <a:gd name="connsiteY178" fmla="*/ 30742 h 125055"/>
                <a:gd name="connsiteX179" fmla="*/ 14548 w 85195"/>
                <a:gd name="connsiteY179" fmla="*/ 35119 h 125055"/>
                <a:gd name="connsiteX180" fmla="*/ 13153 w 85195"/>
                <a:gd name="connsiteY180" fmla="*/ 39099 h 125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85195" h="125055">
                  <a:moveTo>
                    <a:pt x="13153" y="39099"/>
                  </a:moveTo>
                  <a:lnTo>
                    <a:pt x="9566" y="42382"/>
                  </a:lnTo>
                  <a:lnTo>
                    <a:pt x="8569" y="40392"/>
                  </a:lnTo>
                  <a:lnTo>
                    <a:pt x="6477" y="40193"/>
                  </a:lnTo>
                  <a:lnTo>
                    <a:pt x="4484" y="41586"/>
                  </a:lnTo>
                  <a:lnTo>
                    <a:pt x="3587" y="44073"/>
                  </a:lnTo>
                  <a:lnTo>
                    <a:pt x="2989" y="46361"/>
                  </a:lnTo>
                  <a:lnTo>
                    <a:pt x="598" y="50540"/>
                  </a:lnTo>
                  <a:lnTo>
                    <a:pt x="0" y="53823"/>
                  </a:lnTo>
                  <a:lnTo>
                    <a:pt x="598" y="59991"/>
                  </a:lnTo>
                  <a:lnTo>
                    <a:pt x="1295" y="63473"/>
                  </a:lnTo>
                  <a:lnTo>
                    <a:pt x="2192" y="65761"/>
                  </a:lnTo>
                  <a:lnTo>
                    <a:pt x="4285" y="66856"/>
                  </a:lnTo>
                  <a:lnTo>
                    <a:pt x="8669" y="66557"/>
                  </a:lnTo>
                  <a:lnTo>
                    <a:pt x="9566" y="68149"/>
                  </a:lnTo>
                  <a:lnTo>
                    <a:pt x="11957" y="71631"/>
                  </a:lnTo>
                  <a:lnTo>
                    <a:pt x="17338" y="69044"/>
                  </a:lnTo>
                  <a:lnTo>
                    <a:pt x="23018" y="64070"/>
                  </a:lnTo>
                  <a:lnTo>
                    <a:pt x="26107" y="60289"/>
                  </a:lnTo>
                  <a:lnTo>
                    <a:pt x="26605" y="59096"/>
                  </a:lnTo>
                  <a:lnTo>
                    <a:pt x="27502" y="56409"/>
                  </a:lnTo>
                  <a:lnTo>
                    <a:pt x="27801" y="55514"/>
                  </a:lnTo>
                  <a:lnTo>
                    <a:pt x="28797" y="54022"/>
                  </a:lnTo>
                  <a:lnTo>
                    <a:pt x="30989" y="51733"/>
                  </a:lnTo>
                  <a:lnTo>
                    <a:pt x="32185" y="50739"/>
                  </a:lnTo>
                  <a:lnTo>
                    <a:pt x="34377" y="49346"/>
                  </a:lnTo>
                  <a:lnTo>
                    <a:pt x="36669" y="48649"/>
                  </a:lnTo>
                  <a:lnTo>
                    <a:pt x="41751" y="48351"/>
                  </a:lnTo>
                  <a:lnTo>
                    <a:pt x="41751" y="47157"/>
                  </a:lnTo>
                  <a:lnTo>
                    <a:pt x="39559" y="46461"/>
                  </a:lnTo>
                  <a:lnTo>
                    <a:pt x="38363" y="45267"/>
                  </a:lnTo>
                  <a:lnTo>
                    <a:pt x="36071" y="41785"/>
                  </a:lnTo>
                  <a:lnTo>
                    <a:pt x="34576" y="40491"/>
                  </a:lnTo>
                  <a:lnTo>
                    <a:pt x="31288" y="38502"/>
                  </a:lnTo>
                  <a:lnTo>
                    <a:pt x="29993" y="36910"/>
                  </a:lnTo>
                  <a:lnTo>
                    <a:pt x="29196" y="36313"/>
                  </a:lnTo>
                  <a:lnTo>
                    <a:pt x="28299" y="36114"/>
                  </a:lnTo>
                  <a:lnTo>
                    <a:pt x="27302" y="36313"/>
                  </a:lnTo>
                  <a:lnTo>
                    <a:pt x="25609" y="37706"/>
                  </a:lnTo>
                  <a:lnTo>
                    <a:pt x="25110" y="37109"/>
                  </a:lnTo>
                  <a:lnTo>
                    <a:pt x="24712" y="36014"/>
                  </a:lnTo>
                  <a:lnTo>
                    <a:pt x="24413" y="35119"/>
                  </a:lnTo>
                  <a:lnTo>
                    <a:pt x="23516" y="34025"/>
                  </a:lnTo>
                  <a:lnTo>
                    <a:pt x="23018" y="32831"/>
                  </a:lnTo>
                  <a:lnTo>
                    <a:pt x="22818" y="31239"/>
                  </a:lnTo>
                  <a:lnTo>
                    <a:pt x="22619" y="29050"/>
                  </a:lnTo>
                  <a:lnTo>
                    <a:pt x="29594" y="33826"/>
                  </a:lnTo>
                  <a:lnTo>
                    <a:pt x="32982" y="37009"/>
                  </a:lnTo>
                  <a:lnTo>
                    <a:pt x="36569" y="38900"/>
                  </a:lnTo>
                  <a:lnTo>
                    <a:pt x="40157" y="41984"/>
                  </a:lnTo>
                  <a:lnTo>
                    <a:pt x="43445" y="45565"/>
                  </a:lnTo>
                  <a:lnTo>
                    <a:pt x="45139" y="48351"/>
                  </a:lnTo>
                  <a:lnTo>
                    <a:pt x="35473" y="51733"/>
                  </a:lnTo>
                  <a:lnTo>
                    <a:pt x="31288" y="54818"/>
                  </a:lnTo>
                  <a:lnTo>
                    <a:pt x="31288" y="59096"/>
                  </a:lnTo>
                  <a:lnTo>
                    <a:pt x="28996" y="60588"/>
                  </a:lnTo>
                  <a:lnTo>
                    <a:pt x="26007" y="66259"/>
                  </a:lnTo>
                  <a:lnTo>
                    <a:pt x="23915" y="67452"/>
                  </a:lnTo>
                  <a:lnTo>
                    <a:pt x="19929" y="71233"/>
                  </a:lnTo>
                  <a:lnTo>
                    <a:pt x="15644" y="73422"/>
                  </a:lnTo>
                  <a:lnTo>
                    <a:pt x="21125" y="77600"/>
                  </a:lnTo>
                  <a:lnTo>
                    <a:pt x="22420" y="79291"/>
                  </a:lnTo>
                  <a:lnTo>
                    <a:pt x="20826" y="79590"/>
                  </a:lnTo>
                  <a:lnTo>
                    <a:pt x="12854" y="76406"/>
                  </a:lnTo>
                  <a:lnTo>
                    <a:pt x="9964" y="75909"/>
                  </a:lnTo>
                  <a:lnTo>
                    <a:pt x="8769" y="77799"/>
                  </a:lnTo>
                  <a:lnTo>
                    <a:pt x="9267" y="81878"/>
                  </a:lnTo>
                  <a:lnTo>
                    <a:pt x="10562" y="86156"/>
                  </a:lnTo>
                  <a:lnTo>
                    <a:pt x="11758" y="88544"/>
                  </a:lnTo>
                  <a:lnTo>
                    <a:pt x="14847" y="93419"/>
                  </a:lnTo>
                  <a:lnTo>
                    <a:pt x="16641" y="95209"/>
                  </a:lnTo>
                  <a:lnTo>
                    <a:pt x="19929" y="96304"/>
                  </a:lnTo>
                  <a:lnTo>
                    <a:pt x="19929" y="97597"/>
                  </a:lnTo>
                  <a:lnTo>
                    <a:pt x="19132" y="97995"/>
                  </a:lnTo>
                  <a:lnTo>
                    <a:pt x="18633" y="98592"/>
                  </a:lnTo>
                  <a:lnTo>
                    <a:pt x="18036" y="99288"/>
                  </a:lnTo>
                  <a:lnTo>
                    <a:pt x="17338" y="99985"/>
                  </a:lnTo>
                  <a:lnTo>
                    <a:pt x="18932" y="101079"/>
                  </a:lnTo>
                  <a:lnTo>
                    <a:pt x="22420" y="104462"/>
                  </a:lnTo>
                  <a:lnTo>
                    <a:pt x="33779" y="111923"/>
                  </a:lnTo>
                  <a:lnTo>
                    <a:pt x="38363" y="114112"/>
                  </a:lnTo>
                  <a:lnTo>
                    <a:pt x="42747" y="114311"/>
                  </a:lnTo>
                  <a:lnTo>
                    <a:pt x="46733" y="112122"/>
                  </a:lnTo>
                  <a:lnTo>
                    <a:pt x="49423" y="107048"/>
                  </a:lnTo>
                  <a:lnTo>
                    <a:pt x="50520" y="108839"/>
                  </a:lnTo>
                  <a:lnTo>
                    <a:pt x="51317" y="110829"/>
                  </a:lnTo>
                  <a:lnTo>
                    <a:pt x="52213" y="112421"/>
                  </a:lnTo>
                  <a:lnTo>
                    <a:pt x="53409" y="113117"/>
                  </a:lnTo>
                  <a:lnTo>
                    <a:pt x="55004" y="112620"/>
                  </a:lnTo>
                  <a:lnTo>
                    <a:pt x="55402" y="111227"/>
                  </a:lnTo>
                  <a:lnTo>
                    <a:pt x="55103" y="109436"/>
                  </a:lnTo>
                  <a:lnTo>
                    <a:pt x="52811" y="104561"/>
                  </a:lnTo>
                  <a:lnTo>
                    <a:pt x="52612" y="101875"/>
                  </a:lnTo>
                  <a:lnTo>
                    <a:pt x="53907" y="95209"/>
                  </a:lnTo>
                  <a:lnTo>
                    <a:pt x="54505" y="87449"/>
                  </a:lnTo>
                  <a:lnTo>
                    <a:pt x="55402" y="83569"/>
                  </a:lnTo>
                  <a:lnTo>
                    <a:pt x="56897" y="81978"/>
                  </a:lnTo>
                  <a:lnTo>
                    <a:pt x="59089" y="80187"/>
                  </a:lnTo>
                  <a:lnTo>
                    <a:pt x="59089" y="76307"/>
                  </a:lnTo>
                  <a:lnTo>
                    <a:pt x="57993" y="72228"/>
                  </a:lnTo>
                  <a:lnTo>
                    <a:pt x="56498" y="69840"/>
                  </a:lnTo>
                  <a:lnTo>
                    <a:pt x="58491" y="69044"/>
                  </a:lnTo>
                  <a:lnTo>
                    <a:pt x="60185" y="70039"/>
                  </a:lnTo>
                  <a:lnTo>
                    <a:pt x="62178" y="71531"/>
                  </a:lnTo>
                  <a:lnTo>
                    <a:pt x="64769" y="72327"/>
                  </a:lnTo>
                  <a:lnTo>
                    <a:pt x="66562" y="70835"/>
                  </a:lnTo>
                  <a:lnTo>
                    <a:pt x="66463" y="67353"/>
                  </a:lnTo>
                  <a:lnTo>
                    <a:pt x="65267" y="60986"/>
                  </a:lnTo>
                  <a:lnTo>
                    <a:pt x="65865" y="59692"/>
                  </a:lnTo>
                  <a:lnTo>
                    <a:pt x="67160" y="59792"/>
                  </a:lnTo>
                  <a:lnTo>
                    <a:pt x="68555" y="60588"/>
                  </a:lnTo>
                  <a:lnTo>
                    <a:pt x="69452" y="61682"/>
                  </a:lnTo>
                  <a:lnTo>
                    <a:pt x="69651" y="62777"/>
                  </a:lnTo>
                  <a:lnTo>
                    <a:pt x="69552" y="66259"/>
                  </a:lnTo>
                  <a:lnTo>
                    <a:pt x="69153" y="69343"/>
                  </a:lnTo>
                  <a:lnTo>
                    <a:pt x="68854" y="70636"/>
                  </a:lnTo>
                  <a:lnTo>
                    <a:pt x="66064" y="78396"/>
                  </a:lnTo>
                  <a:lnTo>
                    <a:pt x="63972" y="80187"/>
                  </a:lnTo>
                  <a:lnTo>
                    <a:pt x="62377" y="81381"/>
                  </a:lnTo>
                  <a:lnTo>
                    <a:pt x="61281" y="83271"/>
                  </a:lnTo>
                  <a:lnTo>
                    <a:pt x="60883" y="87449"/>
                  </a:lnTo>
                  <a:lnTo>
                    <a:pt x="60185" y="90434"/>
                  </a:lnTo>
                  <a:lnTo>
                    <a:pt x="57196" y="96005"/>
                  </a:lnTo>
                  <a:lnTo>
                    <a:pt x="56498" y="99288"/>
                  </a:lnTo>
                  <a:lnTo>
                    <a:pt x="56797" y="102572"/>
                  </a:lnTo>
                  <a:lnTo>
                    <a:pt x="57893" y="108640"/>
                  </a:lnTo>
                  <a:lnTo>
                    <a:pt x="58192" y="111923"/>
                  </a:lnTo>
                  <a:lnTo>
                    <a:pt x="58093" y="114808"/>
                  </a:lnTo>
                  <a:lnTo>
                    <a:pt x="57594" y="117793"/>
                  </a:lnTo>
                  <a:lnTo>
                    <a:pt x="56797" y="120877"/>
                  </a:lnTo>
                  <a:lnTo>
                    <a:pt x="55601" y="123961"/>
                  </a:lnTo>
                  <a:lnTo>
                    <a:pt x="56498" y="125056"/>
                  </a:lnTo>
                  <a:lnTo>
                    <a:pt x="59388" y="123364"/>
                  </a:lnTo>
                  <a:lnTo>
                    <a:pt x="62178" y="122668"/>
                  </a:lnTo>
                  <a:lnTo>
                    <a:pt x="74633" y="122668"/>
                  </a:lnTo>
                  <a:lnTo>
                    <a:pt x="76028" y="122171"/>
                  </a:lnTo>
                  <a:lnTo>
                    <a:pt x="76726" y="120678"/>
                  </a:lnTo>
                  <a:lnTo>
                    <a:pt x="77623" y="116201"/>
                  </a:lnTo>
                  <a:lnTo>
                    <a:pt x="78221" y="114311"/>
                  </a:lnTo>
                  <a:lnTo>
                    <a:pt x="77423" y="113515"/>
                  </a:lnTo>
                  <a:lnTo>
                    <a:pt x="76527" y="113117"/>
                  </a:lnTo>
                  <a:lnTo>
                    <a:pt x="75630" y="113018"/>
                  </a:lnTo>
                  <a:lnTo>
                    <a:pt x="74633" y="113117"/>
                  </a:lnTo>
                  <a:lnTo>
                    <a:pt x="77324" y="109536"/>
                  </a:lnTo>
                  <a:lnTo>
                    <a:pt x="78221" y="106949"/>
                  </a:lnTo>
                  <a:lnTo>
                    <a:pt x="77224" y="99985"/>
                  </a:lnTo>
                  <a:lnTo>
                    <a:pt x="79018" y="100681"/>
                  </a:lnTo>
                  <a:lnTo>
                    <a:pt x="79815" y="99587"/>
                  </a:lnTo>
                  <a:lnTo>
                    <a:pt x="83900" y="81480"/>
                  </a:lnTo>
                  <a:lnTo>
                    <a:pt x="84897" y="73621"/>
                  </a:lnTo>
                  <a:lnTo>
                    <a:pt x="85196" y="66358"/>
                  </a:lnTo>
                  <a:lnTo>
                    <a:pt x="84498" y="58001"/>
                  </a:lnTo>
                  <a:lnTo>
                    <a:pt x="83103" y="51137"/>
                  </a:lnTo>
                  <a:lnTo>
                    <a:pt x="77523" y="36910"/>
                  </a:lnTo>
                  <a:lnTo>
                    <a:pt x="77324" y="35815"/>
                  </a:lnTo>
                  <a:lnTo>
                    <a:pt x="76925" y="34721"/>
                  </a:lnTo>
                  <a:lnTo>
                    <a:pt x="72541" y="27260"/>
                  </a:lnTo>
                  <a:lnTo>
                    <a:pt x="70947" y="25966"/>
                  </a:lnTo>
                  <a:lnTo>
                    <a:pt x="65267" y="25469"/>
                  </a:lnTo>
                  <a:lnTo>
                    <a:pt x="62078" y="23976"/>
                  </a:lnTo>
                  <a:lnTo>
                    <a:pt x="50520" y="16216"/>
                  </a:lnTo>
                  <a:lnTo>
                    <a:pt x="41253" y="6765"/>
                  </a:lnTo>
                  <a:lnTo>
                    <a:pt x="36669" y="3084"/>
                  </a:lnTo>
                  <a:lnTo>
                    <a:pt x="27601" y="2786"/>
                  </a:lnTo>
                  <a:lnTo>
                    <a:pt x="22121" y="99"/>
                  </a:lnTo>
                  <a:lnTo>
                    <a:pt x="19231" y="0"/>
                  </a:lnTo>
                  <a:lnTo>
                    <a:pt x="16441" y="597"/>
                  </a:lnTo>
                  <a:lnTo>
                    <a:pt x="14648" y="1393"/>
                  </a:lnTo>
                  <a:lnTo>
                    <a:pt x="13352" y="3482"/>
                  </a:lnTo>
                  <a:lnTo>
                    <a:pt x="13651" y="5074"/>
                  </a:lnTo>
                  <a:lnTo>
                    <a:pt x="14648" y="6566"/>
                  </a:lnTo>
                  <a:lnTo>
                    <a:pt x="15644" y="8655"/>
                  </a:lnTo>
                  <a:lnTo>
                    <a:pt x="16142" y="10745"/>
                  </a:lnTo>
                  <a:lnTo>
                    <a:pt x="16541" y="14028"/>
                  </a:lnTo>
                  <a:lnTo>
                    <a:pt x="16342" y="16913"/>
                  </a:lnTo>
                  <a:lnTo>
                    <a:pt x="14149" y="19301"/>
                  </a:lnTo>
                  <a:lnTo>
                    <a:pt x="14149" y="21589"/>
                  </a:lnTo>
                  <a:lnTo>
                    <a:pt x="14648" y="26066"/>
                  </a:lnTo>
                  <a:lnTo>
                    <a:pt x="14847" y="30742"/>
                  </a:lnTo>
                  <a:lnTo>
                    <a:pt x="14548" y="35119"/>
                  </a:lnTo>
                  <a:lnTo>
                    <a:pt x="13153" y="3909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8" name="Freeform: Shape 1447">
              <a:extLst>
                <a:ext uri="{FF2B5EF4-FFF2-40B4-BE49-F238E27FC236}">
                  <a16:creationId xmlns:a16="http://schemas.microsoft.com/office/drawing/2014/main" id="{60B42D4E-C7FA-471F-9C8B-B2588D43335A}"/>
                </a:ext>
              </a:extLst>
            </p:cNvPr>
            <p:cNvSpPr/>
            <p:nvPr/>
          </p:nvSpPr>
          <p:spPr>
            <a:xfrm>
              <a:off x="-2724138" y="-122632"/>
              <a:ext cx="23416" cy="73720"/>
            </a:xfrm>
            <a:custGeom>
              <a:avLst/>
              <a:gdLst>
                <a:gd name="connsiteX0" fmla="*/ 6975 w 23416"/>
                <a:gd name="connsiteY0" fmla="*/ 62279 h 73720"/>
                <a:gd name="connsiteX1" fmla="*/ 4883 w 23416"/>
                <a:gd name="connsiteY1" fmla="*/ 64766 h 73720"/>
                <a:gd name="connsiteX2" fmla="*/ 2391 w 23416"/>
                <a:gd name="connsiteY2" fmla="*/ 66657 h 73720"/>
                <a:gd name="connsiteX3" fmla="*/ 299 w 23416"/>
                <a:gd name="connsiteY3" fmla="*/ 68746 h 73720"/>
                <a:gd name="connsiteX4" fmla="*/ 0 w 23416"/>
                <a:gd name="connsiteY4" fmla="*/ 72228 h 73720"/>
                <a:gd name="connsiteX5" fmla="*/ 3488 w 23416"/>
                <a:gd name="connsiteY5" fmla="*/ 73621 h 73720"/>
                <a:gd name="connsiteX6" fmla="*/ 8071 w 23416"/>
                <a:gd name="connsiteY6" fmla="*/ 73720 h 73720"/>
                <a:gd name="connsiteX7" fmla="*/ 11060 w 23416"/>
                <a:gd name="connsiteY7" fmla="*/ 73024 h 73720"/>
                <a:gd name="connsiteX8" fmla="*/ 19730 w 23416"/>
                <a:gd name="connsiteY8" fmla="*/ 64070 h 73720"/>
                <a:gd name="connsiteX9" fmla="*/ 20028 w 23416"/>
                <a:gd name="connsiteY9" fmla="*/ 62180 h 73720"/>
                <a:gd name="connsiteX10" fmla="*/ 22420 w 23416"/>
                <a:gd name="connsiteY10" fmla="*/ 57504 h 73720"/>
                <a:gd name="connsiteX11" fmla="*/ 23018 w 23416"/>
                <a:gd name="connsiteY11" fmla="*/ 55514 h 73720"/>
                <a:gd name="connsiteX12" fmla="*/ 23416 w 23416"/>
                <a:gd name="connsiteY12" fmla="*/ 53723 h 73720"/>
                <a:gd name="connsiteX13" fmla="*/ 23416 w 23416"/>
                <a:gd name="connsiteY13" fmla="*/ 52032 h 73720"/>
                <a:gd name="connsiteX14" fmla="*/ 23217 w 23416"/>
                <a:gd name="connsiteY14" fmla="*/ 50440 h 73720"/>
                <a:gd name="connsiteX15" fmla="*/ 22619 w 23416"/>
                <a:gd name="connsiteY15" fmla="*/ 48052 h 73720"/>
                <a:gd name="connsiteX16" fmla="*/ 21623 w 23416"/>
                <a:gd name="connsiteY16" fmla="*/ 45764 h 73720"/>
                <a:gd name="connsiteX17" fmla="*/ 21324 w 23416"/>
                <a:gd name="connsiteY17" fmla="*/ 42282 h 73720"/>
                <a:gd name="connsiteX18" fmla="*/ 21125 w 23416"/>
                <a:gd name="connsiteY18" fmla="*/ 40491 h 73720"/>
                <a:gd name="connsiteX19" fmla="*/ 20626 w 23416"/>
                <a:gd name="connsiteY19" fmla="*/ 38900 h 73720"/>
                <a:gd name="connsiteX20" fmla="*/ 20228 w 23416"/>
                <a:gd name="connsiteY20" fmla="*/ 38303 h 73720"/>
                <a:gd name="connsiteX21" fmla="*/ 19231 w 23416"/>
                <a:gd name="connsiteY21" fmla="*/ 36313 h 73720"/>
                <a:gd name="connsiteX22" fmla="*/ 18036 w 23416"/>
                <a:gd name="connsiteY22" fmla="*/ 23976 h 73720"/>
                <a:gd name="connsiteX23" fmla="*/ 18335 w 23416"/>
                <a:gd name="connsiteY23" fmla="*/ 23280 h 73720"/>
                <a:gd name="connsiteX24" fmla="*/ 18733 w 23416"/>
                <a:gd name="connsiteY24" fmla="*/ 21191 h 73720"/>
                <a:gd name="connsiteX25" fmla="*/ 18733 w 23416"/>
                <a:gd name="connsiteY25" fmla="*/ 19002 h 73720"/>
                <a:gd name="connsiteX26" fmla="*/ 16840 w 23416"/>
                <a:gd name="connsiteY26" fmla="*/ 17311 h 73720"/>
                <a:gd name="connsiteX27" fmla="*/ 14448 w 23416"/>
                <a:gd name="connsiteY27" fmla="*/ 13829 h 73720"/>
                <a:gd name="connsiteX28" fmla="*/ 13452 w 23416"/>
                <a:gd name="connsiteY28" fmla="*/ 6566 h 73720"/>
                <a:gd name="connsiteX29" fmla="*/ 11957 w 23416"/>
                <a:gd name="connsiteY29" fmla="*/ 99 h 73720"/>
                <a:gd name="connsiteX30" fmla="*/ 9466 w 23416"/>
                <a:gd name="connsiteY30" fmla="*/ 0 h 73720"/>
                <a:gd name="connsiteX31" fmla="*/ 6477 w 23416"/>
                <a:gd name="connsiteY31" fmla="*/ 2388 h 73720"/>
                <a:gd name="connsiteX32" fmla="*/ 3886 w 23416"/>
                <a:gd name="connsiteY32" fmla="*/ 6168 h 73720"/>
                <a:gd name="connsiteX33" fmla="*/ 2391 w 23416"/>
                <a:gd name="connsiteY33" fmla="*/ 9650 h 73720"/>
                <a:gd name="connsiteX34" fmla="*/ 4384 w 23416"/>
                <a:gd name="connsiteY34" fmla="*/ 11740 h 73720"/>
                <a:gd name="connsiteX35" fmla="*/ 5281 w 23416"/>
                <a:gd name="connsiteY35" fmla="*/ 14227 h 73720"/>
                <a:gd name="connsiteX36" fmla="*/ 5082 w 23416"/>
                <a:gd name="connsiteY36" fmla="*/ 16813 h 73720"/>
                <a:gd name="connsiteX37" fmla="*/ 3687 w 23416"/>
                <a:gd name="connsiteY37" fmla="*/ 19699 h 73720"/>
                <a:gd name="connsiteX38" fmla="*/ 3089 w 23416"/>
                <a:gd name="connsiteY38" fmla="*/ 21589 h 73720"/>
                <a:gd name="connsiteX39" fmla="*/ 3587 w 23416"/>
                <a:gd name="connsiteY39" fmla="*/ 25170 h 73720"/>
                <a:gd name="connsiteX40" fmla="*/ 2890 w 23416"/>
                <a:gd name="connsiteY40" fmla="*/ 26961 h 73720"/>
                <a:gd name="connsiteX41" fmla="*/ 1794 w 23416"/>
                <a:gd name="connsiteY41" fmla="*/ 28851 h 73720"/>
                <a:gd name="connsiteX42" fmla="*/ 2093 w 23416"/>
                <a:gd name="connsiteY42" fmla="*/ 30244 h 73720"/>
                <a:gd name="connsiteX43" fmla="*/ 2790 w 23416"/>
                <a:gd name="connsiteY43" fmla="*/ 31239 h 73720"/>
                <a:gd name="connsiteX44" fmla="*/ 3288 w 23416"/>
                <a:gd name="connsiteY44" fmla="*/ 32333 h 73720"/>
                <a:gd name="connsiteX45" fmla="*/ 3886 w 23416"/>
                <a:gd name="connsiteY45" fmla="*/ 47157 h 73720"/>
                <a:gd name="connsiteX46" fmla="*/ 5181 w 23416"/>
                <a:gd name="connsiteY46" fmla="*/ 53922 h 73720"/>
                <a:gd name="connsiteX47" fmla="*/ 8569 w 23416"/>
                <a:gd name="connsiteY47" fmla="*/ 57504 h 73720"/>
                <a:gd name="connsiteX48" fmla="*/ 7673 w 23416"/>
                <a:gd name="connsiteY48" fmla="*/ 58598 h 73720"/>
                <a:gd name="connsiteX49" fmla="*/ 6975 w 23416"/>
                <a:gd name="connsiteY49" fmla="*/ 62279 h 73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3416" h="73720">
                  <a:moveTo>
                    <a:pt x="6975" y="62279"/>
                  </a:moveTo>
                  <a:lnTo>
                    <a:pt x="4883" y="64766"/>
                  </a:lnTo>
                  <a:lnTo>
                    <a:pt x="2391" y="66657"/>
                  </a:lnTo>
                  <a:lnTo>
                    <a:pt x="299" y="68746"/>
                  </a:lnTo>
                  <a:lnTo>
                    <a:pt x="0" y="72228"/>
                  </a:lnTo>
                  <a:lnTo>
                    <a:pt x="3488" y="73621"/>
                  </a:lnTo>
                  <a:lnTo>
                    <a:pt x="8071" y="73720"/>
                  </a:lnTo>
                  <a:lnTo>
                    <a:pt x="11060" y="73024"/>
                  </a:lnTo>
                  <a:lnTo>
                    <a:pt x="19730" y="64070"/>
                  </a:lnTo>
                  <a:lnTo>
                    <a:pt x="20028" y="62180"/>
                  </a:lnTo>
                  <a:lnTo>
                    <a:pt x="22420" y="57504"/>
                  </a:lnTo>
                  <a:lnTo>
                    <a:pt x="23018" y="55514"/>
                  </a:lnTo>
                  <a:lnTo>
                    <a:pt x="23416" y="53723"/>
                  </a:lnTo>
                  <a:lnTo>
                    <a:pt x="23416" y="52032"/>
                  </a:lnTo>
                  <a:lnTo>
                    <a:pt x="23217" y="50440"/>
                  </a:lnTo>
                  <a:lnTo>
                    <a:pt x="22619" y="48052"/>
                  </a:lnTo>
                  <a:lnTo>
                    <a:pt x="21623" y="45764"/>
                  </a:lnTo>
                  <a:lnTo>
                    <a:pt x="21324" y="42282"/>
                  </a:lnTo>
                  <a:lnTo>
                    <a:pt x="21125" y="40491"/>
                  </a:lnTo>
                  <a:lnTo>
                    <a:pt x="20626" y="38900"/>
                  </a:lnTo>
                  <a:lnTo>
                    <a:pt x="20228" y="38303"/>
                  </a:lnTo>
                  <a:lnTo>
                    <a:pt x="19231" y="36313"/>
                  </a:lnTo>
                  <a:lnTo>
                    <a:pt x="18036" y="23976"/>
                  </a:lnTo>
                  <a:lnTo>
                    <a:pt x="18335" y="23280"/>
                  </a:lnTo>
                  <a:lnTo>
                    <a:pt x="18733" y="21191"/>
                  </a:lnTo>
                  <a:lnTo>
                    <a:pt x="18733" y="19002"/>
                  </a:lnTo>
                  <a:lnTo>
                    <a:pt x="16840" y="17311"/>
                  </a:lnTo>
                  <a:lnTo>
                    <a:pt x="14448" y="13829"/>
                  </a:lnTo>
                  <a:lnTo>
                    <a:pt x="13452" y="6566"/>
                  </a:lnTo>
                  <a:lnTo>
                    <a:pt x="11957" y="99"/>
                  </a:lnTo>
                  <a:lnTo>
                    <a:pt x="9466" y="0"/>
                  </a:lnTo>
                  <a:lnTo>
                    <a:pt x="6477" y="2388"/>
                  </a:lnTo>
                  <a:lnTo>
                    <a:pt x="3886" y="6168"/>
                  </a:lnTo>
                  <a:lnTo>
                    <a:pt x="2391" y="9650"/>
                  </a:lnTo>
                  <a:lnTo>
                    <a:pt x="4384" y="11740"/>
                  </a:lnTo>
                  <a:lnTo>
                    <a:pt x="5281" y="14227"/>
                  </a:lnTo>
                  <a:lnTo>
                    <a:pt x="5082" y="16813"/>
                  </a:lnTo>
                  <a:lnTo>
                    <a:pt x="3687" y="19699"/>
                  </a:lnTo>
                  <a:lnTo>
                    <a:pt x="3089" y="21589"/>
                  </a:lnTo>
                  <a:lnTo>
                    <a:pt x="3587" y="25170"/>
                  </a:lnTo>
                  <a:lnTo>
                    <a:pt x="2890" y="26961"/>
                  </a:lnTo>
                  <a:lnTo>
                    <a:pt x="1794" y="28851"/>
                  </a:lnTo>
                  <a:lnTo>
                    <a:pt x="2093" y="30244"/>
                  </a:lnTo>
                  <a:lnTo>
                    <a:pt x="2790" y="31239"/>
                  </a:lnTo>
                  <a:lnTo>
                    <a:pt x="3288" y="32333"/>
                  </a:lnTo>
                  <a:lnTo>
                    <a:pt x="3886" y="47157"/>
                  </a:lnTo>
                  <a:lnTo>
                    <a:pt x="5181" y="53922"/>
                  </a:lnTo>
                  <a:lnTo>
                    <a:pt x="8569" y="57504"/>
                  </a:lnTo>
                  <a:lnTo>
                    <a:pt x="7673" y="58598"/>
                  </a:lnTo>
                  <a:lnTo>
                    <a:pt x="6975" y="6227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49" name="Freeform: Shape 1448">
              <a:extLst>
                <a:ext uri="{FF2B5EF4-FFF2-40B4-BE49-F238E27FC236}">
                  <a16:creationId xmlns:a16="http://schemas.microsoft.com/office/drawing/2014/main" id="{8C52CFA3-3851-49E8-97A4-B99B0F0E9FC5}"/>
                </a:ext>
              </a:extLst>
            </p:cNvPr>
            <p:cNvSpPr/>
            <p:nvPr/>
          </p:nvSpPr>
          <p:spPr>
            <a:xfrm>
              <a:off x="-2828863" y="-128203"/>
              <a:ext cx="46533" cy="65363"/>
            </a:xfrm>
            <a:custGeom>
              <a:avLst/>
              <a:gdLst>
                <a:gd name="connsiteX0" fmla="*/ 21922 w 46533"/>
                <a:gd name="connsiteY0" fmla="*/ 45864 h 65363"/>
                <a:gd name="connsiteX1" fmla="*/ 24114 w 46533"/>
                <a:gd name="connsiteY1" fmla="*/ 47953 h 65363"/>
                <a:gd name="connsiteX2" fmla="*/ 27103 w 46533"/>
                <a:gd name="connsiteY2" fmla="*/ 47456 h 65363"/>
                <a:gd name="connsiteX3" fmla="*/ 27801 w 46533"/>
                <a:gd name="connsiteY3" fmla="*/ 50440 h 65363"/>
                <a:gd name="connsiteX4" fmla="*/ 29495 w 46533"/>
                <a:gd name="connsiteY4" fmla="*/ 53126 h 65363"/>
                <a:gd name="connsiteX5" fmla="*/ 31587 w 46533"/>
                <a:gd name="connsiteY5" fmla="*/ 54221 h 65363"/>
                <a:gd name="connsiteX6" fmla="*/ 33779 w 46533"/>
                <a:gd name="connsiteY6" fmla="*/ 52828 h 65363"/>
                <a:gd name="connsiteX7" fmla="*/ 35274 w 46533"/>
                <a:gd name="connsiteY7" fmla="*/ 52131 h 65363"/>
                <a:gd name="connsiteX8" fmla="*/ 36569 w 46533"/>
                <a:gd name="connsiteY8" fmla="*/ 53723 h 65363"/>
                <a:gd name="connsiteX9" fmla="*/ 36968 w 46533"/>
                <a:gd name="connsiteY9" fmla="*/ 56608 h 65363"/>
                <a:gd name="connsiteX10" fmla="*/ 35872 w 46533"/>
                <a:gd name="connsiteY10" fmla="*/ 59394 h 65363"/>
                <a:gd name="connsiteX11" fmla="*/ 37964 w 46533"/>
                <a:gd name="connsiteY11" fmla="*/ 59493 h 65363"/>
                <a:gd name="connsiteX12" fmla="*/ 38762 w 46533"/>
                <a:gd name="connsiteY12" fmla="*/ 60787 h 65363"/>
                <a:gd name="connsiteX13" fmla="*/ 38961 w 46533"/>
                <a:gd name="connsiteY13" fmla="*/ 62876 h 65363"/>
                <a:gd name="connsiteX14" fmla="*/ 39459 w 46533"/>
                <a:gd name="connsiteY14" fmla="*/ 65363 h 65363"/>
                <a:gd name="connsiteX15" fmla="*/ 43445 w 46533"/>
                <a:gd name="connsiteY15" fmla="*/ 61981 h 65363"/>
                <a:gd name="connsiteX16" fmla="*/ 45637 w 46533"/>
                <a:gd name="connsiteY16" fmla="*/ 57504 h 65363"/>
                <a:gd name="connsiteX17" fmla="*/ 46434 w 46533"/>
                <a:gd name="connsiteY17" fmla="*/ 52430 h 65363"/>
                <a:gd name="connsiteX18" fmla="*/ 46335 w 46533"/>
                <a:gd name="connsiteY18" fmla="*/ 45167 h 65363"/>
                <a:gd name="connsiteX19" fmla="*/ 46534 w 46533"/>
                <a:gd name="connsiteY19" fmla="*/ 42382 h 65363"/>
                <a:gd name="connsiteX20" fmla="*/ 46534 w 46533"/>
                <a:gd name="connsiteY20" fmla="*/ 39596 h 65363"/>
                <a:gd name="connsiteX21" fmla="*/ 45936 w 46533"/>
                <a:gd name="connsiteY21" fmla="*/ 37407 h 65363"/>
                <a:gd name="connsiteX22" fmla="*/ 44043 w 46533"/>
                <a:gd name="connsiteY22" fmla="*/ 35020 h 65363"/>
                <a:gd name="connsiteX23" fmla="*/ 29794 w 46533"/>
                <a:gd name="connsiteY23" fmla="*/ 21191 h 65363"/>
                <a:gd name="connsiteX24" fmla="*/ 26406 w 46533"/>
                <a:gd name="connsiteY24" fmla="*/ 16913 h 65363"/>
                <a:gd name="connsiteX25" fmla="*/ 24114 w 46533"/>
                <a:gd name="connsiteY25" fmla="*/ 14824 h 65363"/>
                <a:gd name="connsiteX26" fmla="*/ 19829 w 46533"/>
                <a:gd name="connsiteY26" fmla="*/ 13132 h 65363"/>
                <a:gd name="connsiteX27" fmla="*/ 17836 w 46533"/>
                <a:gd name="connsiteY27" fmla="*/ 11143 h 65363"/>
                <a:gd name="connsiteX28" fmla="*/ 14149 w 46533"/>
                <a:gd name="connsiteY28" fmla="*/ 6765 h 65363"/>
                <a:gd name="connsiteX29" fmla="*/ 4484 w 46533"/>
                <a:gd name="connsiteY29" fmla="*/ 0 h 65363"/>
                <a:gd name="connsiteX30" fmla="*/ 2192 w 46533"/>
                <a:gd name="connsiteY30" fmla="*/ 597 h 65363"/>
                <a:gd name="connsiteX31" fmla="*/ 1395 w 46533"/>
                <a:gd name="connsiteY31" fmla="*/ 3084 h 65363"/>
                <a:gd name="connsiteX32" fmla="*/ 2989 w 46533"/>
                <a:gd name="connsiteY32" fmla="*/ 6765 h 65363"/>
                <a:gd name="connsiteX33" fmla="*/ 698 w 46533"/>
                <a:gd name="connsiteY33" fmla="*/ 9451 h 65363"/>
                <a:gd name="connsiteX34" fmla="*/ 0 w 46533"/>
                <a:gd name="connsiteY34" fmla="*/ 11441 h 65363"/>
                <a:gd name="connsiteX35" fmla="*/ 897 w 46533"/>
                <a:gd name="connsiteY35" fmla="*/ 13530 h 65363"/>
                <a:gd name="connsiteX36" fmla="*/ 2989 w 46533"/>
                <a:gd name="connsiteY36" fmla="*/ 16415 h 65363"/>
                <a:gd name="connsiteX37" fmla="*/ 2093 w 46533"/>
                <a:gd name="connsiteY37" fmla="*/ 17609 h 65363"/>
                <a:gd name="connsiteX38" fmla="*/ 4584 w 46533"/>
                <a:gd name="connsiteY38" fmla="*/ 19997 h 65363"/>
                <a:gd name="connsiteX39" fmla="*/ 10562 w 46533"/>
                <a:gd name="connsiteY39" fmla="*/ 23380 h 65363"/>
                <a:gd name="connsiteX40" fmla="*/ 12456 w 46533"/>
                <a:gd name="connsiteY40" fmla="*/ 25867 h 65363"/>
                <a:gd name="connsiteX41" fmla="*/ 11260 w 46533"/>
                <a:gd name="connsiteY41" fmla="*/ 25270 h 65363"/>
                <a:gd name="connsiteX42" fmla="*/ 10164 w 46533"/>
                <a:gd name="connsiteY42" fmla="*/ 25071 h 65363"/>
                <a:gd name="connsiteX43" fmla="*/ 9167 w 46533"/>
                <a:gd name="connsiteY43" fmla="*/ 25270 h 65363"/>
                <a:gd name="connsiteX44" fmla="*/ 8171 w 46533"/>
                <a:gd name="connsiteY44" fmla="*/ 25867 h 65363"/>
                <a:gd name="connsiteX45" fmla="*/ 13751 w 46533"/>
                <a:gd name="connsiteY45" fmla="*/ 35219 h 65363"/>
                <a:gd name="connsiteX46" fmla="*/ 17438 w 46533"/>
                <a:gd name="connsiteY46" fmla="*/ 38999 h 65363"/>
                <a:gd name="connsiteX47" fmla="*/ 22021 w 46533"/>
                <a:gd name="connsiteY47" fmla="*/ 37905 h 65363"/>
                <a:gd name="connsiteX48" fmla="*/ 21125 w 46533"/>
                <a:gd name="connsiteY48" fmla="*/ 42083 h 65363"/>
                <a:gd name="connsiteX49" fmla="*/ 21922 w 46533"/>
                <a:gd name="connsiteY49" fmla="*/ 45864 h 6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6533" h="65363">
                  <a:moveTo>
                    <a:pt x="21922" y="45864"/>
                  </a:moveTo>
                  <a:lnTo>
                    <a:pt x="24114" y="47953"/>
                  </a:lnTo>
                  <a:lnTo>
                    <a:pt x="27103" y="47456"/>
                  </a:lnTo>
                  <a:lnTo>
                    <a:pt x="27801" y="50440"/>
                  </a:lnTo>
                  <a:lnTo>
                    <a:pt x="29495" y="53126"/>
                  </a:lnTo>
                  <a:lnTo>
                    <a:pt x="31587" y="54221"/>
                  </a:lnTo>
                  <a:lnTo>
                    <a:pt x="33779" y="52828"/>
                  </a:lnTo>
                  <a:lnTo>
                    <a:pt x="35274" y="52131"/>
                  </a:lnTo>
                  <a:lnTo>
                    <a:pt x="36569" y="53723"/>
                  </a:lnTo>
                  <a:lnTo>
                    <a:pt x="36968" y="56608"/>
                  </a:lnTo>
                  <a:lnTo>
                    <a:pt x="35872" y="59394"/>
                  </a:lnTo>
                  <a:lnTo>
                    <a:pt x="37964" y="59493"/>
                  </a:lnTo>
                  <a:lnTo>
                    <a:pt x="38762" y="60787"/>
                  </a:lnTo>
                  <a:lnTo>
                    <a:pt x="38961" y="62876"/>
                  </a:lnTo>
                  <a:lnTo>
                    <a:pt x="39459" y="65363"/>
                  </a:lnTo>
                  <a:lnTo>
                    <a:pt x="43445" y="61981"/>
                  </a:lnTo>
                  <a:lnTo>
                    <a:pt x="45637" y="57504"/>
                  </a:lnTo>
                  <a:lnTo>
                    <a:pt x="46434" y="52430"/>
                  </a:lnTo>
                  <a:lnTo>
                    <a:pt x="46335" y="45167"/>
                  </a:lnTo>
                  <a:lnTo>
                    <a:pt x="46534" y="42382"/>
                  </a:lnTo>
                  <a:lnTo>
                    <a:pt x="46534" y="39596"/>
                  </a:lnTo>
                  <a:lnTo>
                    <a:pt x="45936" y="37407"/>
                  </a:lnTo>
                  <a:lnTo>
                    <a:pt x="44043" y="35020"/>
                  </a:lnTo>
                  <a:lnTo>
                    <a:pt x="29794" y="21191"/>
                  </a:lnTo>
                  <a:lnTo>
                    <a:pt x="26406" y="16913"/>
                  </a:lnTo>
                  <a:lnTo>
                    <a:pt x="24114" y="14824"/>
                  </a:lnTo>
                  <a:lnTo>
                    <a:pt x="19829" y="13132"/>
                  </a:lnTo>
                  <a:lnTo>
                    <a:pt x="17836" y="11143"/>
                  </a:lnTo>
                  <a:lnTo>
                    <a:pt x="14149" y="6765"/>
                  </a:lnTo>
                  <a:lnTo>
                    <a:pt x="4484" y="0"/>
                  </a:lnTo>
                  <a:lnTo>
                    <a:pt x="2192" y="597"/>
                  </a:lnTo>
                  <a:lnTo>
                    <a:pt x="1395" y="3084"/>
                  </a:lnTo>
                  <a:lnTo>
                    <a:pt x="2989" y="6765"/>
                  </a:lnTo>
                  <a:lnTo>
                    <a:pt x="698" y="9451"/>
                  </a:lnTo>
                  <a:lnTo>
                    <a:pt x="0" y="11441"/>
                  </a:lnTo>
                  <a:lnTo>
                    <a:pt x="897" y="13530"/>
                  </a:lnTo>
                  <a:lnTo>
                    <a:pt x="2989" y="16415"/>
                  </a:lnTo>
                  <a:lnTo>
                    <a:pt x="2093" y="17609"/>
                  </a:lnTo>
                  <a:lnTo>
                    <a:pt x="4584" y="19997"/>
                  </a:lnTo>
                  <a:lnTo>
                    <a:pt x="10562" y="23380"/>
                  </a:lnTo>
                  <a:lnTo>
                    <a:pt x="12456" y="25867"/>
                  </a:lnTo>
                  <a:lnTo>
                    <a:pt x="11260" y="25270"/>
                  </a:lnTo>
                  <a:lnTo>
                    <a:pt x="10164" y="25071"/>
                  </a:lnTo>
                  <a:lnTo>
                    <a:pt x="9167" y="25270"/>
                  </a:lnTo>
                  <a:lnTo>
                    <a:pt x="8171" y="25867"/>
                  </a:lnTo>
                  <a:lnTo>
                    <a:pt x="13751" y="35219"/>
                  </a:lnTo>
                  <a:lnTo>
                    <a:pt x="17438" y="38999"/>
                  </a:lnTo>
                  <a:lnTo>
                    <a:pt x="22021" y="37905"/>
                  </a:lnTo>
                  <a:lnTo>
                    <a:pt x="21125" y="42083"/>
                  </a:lnTo>
                  <a:lnTo>
                    <a:pt x="21922" y="4586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0" name="Freeform: Shape 1449">
              <a:extLst>
                <a:ext uri="{FF2B5EF4-FFF2-40B4-BE49-F238E27FC236}">
                  <a16:creationId xmlns:a16="http://schemas.microsoft.com/office/drawing/2014/main" id="{0F429854-7BD4-43F5-BB33-9628224014E7}"/>
                </a:ext>
              </a:extLst>
            </p:cNvPr>
            <p:cNvSpPr/>
            <p:nvPr/>
          </p:nvSpPr>
          <p:spPr>
            <a:xfrm>
              <a:off x="1476158" y="466830"/>
              <a:ext cx="78120" cy="83967"/>
            </a:xfrm>
            <a:custGeom>
              <a:avLst/>
              <a:gdLst>
                <a:gd name="connsiteX0" fmla="*/ 42548 w 78120"/>
                <a:gd name="connsiteY0" fmla="*/ 1990 h 83967"/>
                <a:gd name="connsiteX1" fmla="*/ 45238 w 78120"/>
                <a:gd name="connsiteY1" fmla="*/ 2189 h 83967"/>
                <a:gd name="connsiteX2" fmla="*/ 47231 w 78120"/>
                <a:gd name="connsiteY2" fmla="*/ 3582 h 83967"/>
                <a:gd name="connsiteX3" fmla="*/ 48925 w 78120"/>
                <a:gd name="connsiteY3" fmla="*/ 5571 h 83967"/>
                <a:gd name="connsiteX4" fmla="*/ 50021 w 78120"/>
                <a:gd name="connsiteY4" fmla="*/ 8059 h 83967"/>
                <a:gd name="connsiteX5" fmla="*/ 50420 w 78120"/>
                <a:gd name="connsiteY5" fmla="*/ 10844 h 83967"/>
                <a:gd name="connsiteX6" fmla="*/ 50021 w 78120"/>
                <a:gd name="connsiteY6" fmla="*/ 18206 h 83967"/>
                <a:gd name="connsiteX7" fmla="*/ 48527 w 78120"/>
                <a:gd name="connsiteY7" fmla="*/ 23579 h 83967"/>
                <a:gd name="connsiteX8" fmla="*/ 45139 w 78120"/>
                <a:gd name="connsiteY8" fmla="*/ 27359 h 83967"/>
                <a:gd name="connsiteX9" fmla="*/ 41651 w 78120"/>
                <a:gd name="connsiteY9" fmla="*/ 28752 h 83967"/>
                <a:gd name="connsiteX10" fmla="*/ 41651 w 78120"/>
                <a:gd name="connsiteY10" fmla="*/ 29846 h 83967"/>
                <a:gd name="connsiteX11" fmla="*/ 41252 w 78120"/>
                <a:gd name="connsiteY11" fmla="*/ 30145 h 83967"/>
                <a:gd name="connsiteX12" fmla="*/ 37267 w 78120"/>
                <a:gd name="connsiteY12" fmla="*/ 30543 h 83967"/>
                <a:gd name="connsiteX13" fmla="*/ 31488 w 78120"/>
                <a:gd name="connsiteY13" fmla="*/ 32831 h 83967"/>
                <a:gd name="connsiteX14" fmla="*/ 29096 w 78120"/>
                <a:gd name="connsiteY14" fmla="*/ 33328 h 83967"/>
                <a:gd name="connsiteX15" fmla="*/ 28996 w 78120"/>
                <a:gd name="connsiteY15" fmla="*/ 33328 h 83967"/>
                <a:gd name="connsiteX16" fmla="*/ 26505 w 78120"/>
                <a:gd name="connsiteY16" fmla="*/ 36810 h 83967"/>
                <a:gd name="connsiteX17" fmla="*/ 25110 w 78120"/>
                <a:gd name="connsiteY17" fmla="*/ 40790 h 83967"/>
                <a:gd name="connsiteX18" fmla="*/ 25010 w 78120"/>
                <a:gd name="connsiteY18" fmla="*/ 45068 h 83967"/>
                <a:gd name="connsiteX19" fmla="*/ 26406 w 78120"/>
                <a:gd name="connsiteY19" fmla="*/ 49246 h 83967"/>
                <a:gd name="connsiteX20" fmla="*/ 27601 w 78120"/>
                <a:gd name="connsiteY20" fmla="*/ 50739 h 83967"/>
                <a:gd name="connsiteX21" fmla="*/ 32484 w 78120"/>
                <a:gd name="connsiteY21" fmla="*/ 55017 h 83967"/>
                <a:gd name="connsiteX22" fmla="*/ 31986 w 78120"/>
                <a:gd name="connsiteY22" fmla="*/ 57106 h 83967"/>
                <a:gd name="connsiteX23" fmla="*/ 30192 w 78120"/>
                <a:gd name="connsiteY23" fmla="*/ 58399 h 83967"/>
                <a:gd name="connsiteX24" fmla="*/ 22818 w 78120"/>
                <a:gd name="connsiteY24" fmla="*/ 60389 h 83967"/>
                <a:gd name="connsiteX25" fmla="*/ 22121 w 78120"/>
                <a:gd name="connsiteY25" fmla="*/ 60886 h 83967"/>
                <a:gd name="connsiteX26" fmla="*/ 19131 w 78120"/>
                <a:gd name="connsiteY26" fmla="*/ 60886 h 83967"/>
                <a:gd name="connsiteX27" fmla="*/ 11559 w 78120"/>
                <a:gd name="connsiteY27" fmla="*/ 60886 h 83967"/>
                <a:gd name="connsiteX28" fmla="*/ 1794 w 78120"/>
                <a:gd name="connsiteY28" fmla="*/ 60886 h 83967"/>
                <a:gd name="connsiteX29" fmla="*/ 1096 w 78120"/>
                <a:gd name="connsiteY29" fmla="*/ 61284 h 83967"/>
                <a:gd name="connsiteX30" fmla="*/ 99 w 78120"/>
                <a:gd name="connsiteY30" fmla="*/ 63075 h 83967"/>
                <a:gd name="connsiteX31" fmla="*/ 0 w 78120"/>
                <a:gd name="connsiteY31" fmla="*/ 64766 h 83967"/>
                <a:gd name="connsiteX32" fmla="*/ 598 w 78120"/>
                <a:gd name="connsiteY32" fmla="*/ 68646 h 83967"/>
                <a:gd name="connsiteX33" fmla="*/ 99 w 78120"/>
                <a:gd name="connsiteY33" fmla="*/ 70039 h 83967"/>
                <a:gd name="connsiteX34" fmla="*/ 99 w 78120"/>
                <a:gd name="connsiteY34" fmla="*/ 71034 h 83967"/>
                <a:gd name="connsiteX35" fmla="*/ 1893 w 78120"/>
                <a:gd name="connsiteY35" fmla="*/ 73621 h 83967"/>
                <a:gd name="connsiteX36" fmla="*/ 4185 w 78120"/>
                <a:gd name="connsiteY36" fmla="*/ 76108 h 83967"/>
                <a:gd name="connsiteX37" fmla="*/ 6875 w 78120"/>
                <a:gd name="connsiteY37" fmla="*/ 78098 h 83967"/>
                <a:gd name="connsiteX38" fmla="*/ 9566 w 78120"/>
                <a:gd name="connsiteY38" fmla="*/ 79192 h 83967"/>
                <a:gd name="connsiteX39" fmla="*/ 12456 w 78120"/>
                <a:gd name="connsiteY39" fmla="*/ 79093 h 83967"/>
                <a:gd name="connsiteX40" fmla="*/ 17637 w 78120"/>
                <a:gd name="connsiteY40" fmla="*/ 77401 h 83967"/>
                <a:gd name="connsiteX41" fmla="*/ 23616 w 78120"/>
                <a:gd name="connsiteY41" fmla="*/ 76506 h 83967"/>
                <a:gd name="connsiteX42" fmla="*/ 26007 w 78120"/>
                <a:gd name="connsiteY42" fmla="*/ 75213 h 83967"/>
                <a:gd name="connsiteX43" fmla="*/ 27900 w 78120"/>
                <a:gd name="connsiteY43" fmla="*/ 73223 h 83967"/>
                <a:gd name="connsiteX44" fmla="*/ 30989 w 78120"/>
                <a:gd name="connsiteY44" fmla="*/ 68945 h 83967"/>
                <a:gd name="connsiteX45" fmla="*/ 31886 w 78120"/>
                <a:gd name="connsiteY45" fmla="*/ 67254 h 83967"/>
                <a:gd name="connsiteX46" fmla="*/ 32982 w 78120"/>
                <a:gd name="connsiteY46" fmla="*/ 65960 h 83967"/>
                <a:gd name="connsiteX47" fmla="*/ 34278 w 78120"/>
                <a:gd name="connsiteY47" fmla="*/ 65363 h 83967"/>
                <a:gd name="connsiteX48" fmla="*/ 38263 w 78120"/>
                <a:gd name="connsiteY48" fmla="*/ 65363 h 83967"/>
                <a:gd name="connsiteX49" fmla="*/ 38961 w 78120"/>
                <a:gd name="connsiteY49" fmla="*/ 65065 h 83967"/>
                <a:gd name="connsiteX50" fmla="*/ 39359 w 78120"/>
                <a:gd name="connsiteY50" fmla="*/ 63473 h 83967"/>
                <a:gd name="connsiteX51" fmla="*/ 40057 w 78120"/>
                <a:gd name="connsiteY51" fmla="*/ 63075 h 83967"/>
                <a:gd name="connsiteX52" fmla="*/ 43146 w 78120"/>
                <a:gd name="connsiteY52" fmla="*/ 63374 h 83967"/>
                <a:gd name="connsiteX53" fmla="*/ 45936 w 78120"/>
                <a:gd name="connsiteY53" fmla="*/ 64567 h 83967"/>
                <a:gd name="connsiteX54" fmla="*/ 48427 w 78120"/>
                <a:gd name="connsiteY54" fmla="*/ 66557 h 83967"/>
                <a:gd name="connsiteX55" fmla="*/ 50420 w 78120"/>
                <a:gd name="connsiteY55" fmla="*/ 68845 h 83967"/>
                <a:gd name="connsiteX56" fmla="*/ 53907 w 78120"/>
                <a:gd name="connsiteY56" fmla="*/ 74516 h 83967"/>
                <a:gd name="connsiteX57" fmla="*/ 56897 w 78120"/>
                <a:gd name="connsiteY57" fmla="*/ 77401 h 83967"/>
                <a:gd name="connsiteX58" fmla="*/ 57793 w 78120"/>
                <a:gd name="connsiteY58" fmla="*/ 78496 h 83967"/>
                <a:gd name="connsiteX59" fmla="*/ 61979 w 78120"/>
                <a:gd name="connsiteY59" fmla="*/ 81878 h 83967"/>
                <a:gd name="connsiteX60" fmla="*/ 68555 w 78120"/>
                <a:gd name="connsiteY60" fmla="*/ 83967 h 83967"/>
                <a:gd name="connsiteX61" fmla="*/ 75131 w 78120"/>
                <a:gd name="connsiteY61" fmla="*/ 83967 h 83967"/>
                <a:gd name="connsiteX62" fmla="*/ 78121 w 78120"/>
                <a:gd name="connsiteY62" fmla="*/ 82376 h 83967"/>
                <a:gd name="connsiteX63" fmla="*/ 78121 w 78120"/>
                <a:gd name="connsiteY63" fmla="*/ 73919 h 83967"/>
                <a:gd name="connsiteX64" fmla="*/ 72740 w 78120"/>
                <a:gd name="connsiteY64" fmla="*/ 55216 h 83967"/>
                <a:gd name="connsiteX65" fmla="*/ 67957 w 78120"/>
                <a:gd name="connsiteY65" fmla="*/ 38402 h 83967"/>
                <a:gd name="connsiteX66" fmla="*/ 66462 w 78120"/>
                <a:gd name="connsiteY66" fmla="*/ 35119 h 83967"/>
                <a:gd name="connsiteX67" fmla="*/ 65466 w 78120"/>
                <a:gd name="connsiteY67" fmla="*/ 31737 h 83967"/>
                <a:gd name="connsiteX68" fmla="*/ 66164 w 78120"/>
                <a:gd name="connsiteY68" fmla="*/ 24275 h 83967"/>
                <a:gd name="connsiteX69" fmla="*/ 65566 w 78120"/>
                <a:gd name="connsiteY69" fmla="*/ 21191 h 83967"/>
                <a:gd name="connsiteX70" fmla="*/ 64370 w 78120"/>
                <a:gd name="connsiteY70" fmla="*/ 17410 h 83967"/>
                <a:gd name="connsiteX71" fmla="*/ 63473 w 78120"/>
                <a:gd name="connsiteY71" fmla="*/ 10546 h 83967"/>
                <a:gd name="connsiteX72" fmla="*/ 61979 w 78120"/>
                <a:gd name="connsiteY72" fmla="*/ 7860 h 83967"/>
                <a:gd name="connsiteX73" fmla="*/ 59786 w 78120"/>
                <a:gd name="connsiteY73" fmla="*/ 6367 h 83967"/>
                <a:gd name="connsiteX74" fmla="*/ 50918 w 78120"/>
                <a:gd name="connsiteY74" fmla="*/ 1691 h 83967"/>
                <a:gd name="connsiteX75" fmla="*/ 43744 w 78120"/>
                <a:gd name="connsiteY75" fmla="*/ 0 h 83967"/>
                <a:gd name="connsiteX76" fmla="*/ 41551 w 78120"/>
                <a:gd name="connsiteY76" fmla="*/ 0 h 83967"/>
                <a:gd name="connsiteX77" fmla="*/ 41551 w 78120"/>
                <a:gd name="connsiteY77" fmla="*/ 2189 h 83967"/>
                <a:gd name="connsiteX78" fmla="*/ 42548 w 78120"/>
                <a:gd name="connsiteY78" fmla="*/ 1990 h 83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78120" h="83967">
                  <a:moveTo>
                    <a:pt x="42548" y="1990"/>
                  </a:moveTo>
                  <a:lnTo>
                    <a:pt x="45238" y="2189"/>
                  </a:lnTo>
                  <a:lnTo>
                    <a:pt x="47231" y="3582"/>
                  </a:lnTo>
                  <a:lnTo>
                    <a:pt x="48925" y="5571"/>
                  </a:lnTo>
                  <a:lnTo>
                    <a:pt x="50021" y="8059"/>
                  </a:lnTo>
                  <a:lnTo>
                    <a:pt x="50420" y="10844"/>
                  </a:lnTo>
                  <a:lnTo>
                    <a:pt x="50021" y="18206"/>
                  </a:lnTo>
                  <a:lnTo>
                    <a:pt x="48527" y="23579"/>
                  </a:lnTo>
                  <a:lnTo>
                    <a:pt x="45139" y="27359"/>
                  </a:lnTo>
                  <a:lnTo>
                    <a:pt x="41651" y="28752"/>
                  </a:lnTo>
                  <a:lnTo>
                    <a:pt x="41651" y="29846"/>
                  </a:lnTo>
                  <a:lnTo>
                    <a:pt x="41252" y="30145"/>
                  </a:lnTo>
                  <a:lnTo>
                    <a:pt x="37267" y="30543"/>
                  </a:lnTo>
                  <a:lnTo>
                    <a:pt x="31488" y="32831"/>
                  </a:lnTo>
                  <a:lnTo>
                    <a:pt x="29096" y="33328"/>
                  </a:lnTo>
                  <a:lnTo>
                    <a:pt x="28996" y="33328"/>
                  </a:lnTo>
                  <a:lnTo>
                    <a:pt x="26505" y="36810"/>
                  </a:lnTo>
                  <a:lnTo>
                    <a:pt x="25110" y="40790"/>
                  </a:lnTo>
                  <a:lnTo>
                    <a:pt x="25010" y="45068"/>
                  </a:lnTo>
                  <a:lnTo>
                    <a:pt x="26406" y="49246"/>
                  </a:lnTo>
                  <a:lnTo>
                    <a:pt x="27601" y="50739"/>
                  </a:lnTo>
                  <a:lnTo>
                    <a:pt x="32484" y="55017"/>
                  </a:lnTo>
                  <a:lnTo>
                    <a:pt x="31986" y="57106"/>
                  </a:lnTo>
                  <a:lnTo>
                    <a:pt x="30192" y="58399"/>
                  </a:lnTo>
                  <a:lnTo>
                    <a:pt x="22818" y="60389"/>
                  </a:lnTo>
                  <a:lnTo>
                    <a:pt x="22121" y="60886"/>
                  </a:lnTo>
                  <a:lnTo>
                    <a:pt x="19131" y="60886"/>
                  </a:lnTo>
                  <a:lnTo>
                    <a:pt x="11559" y="60886"/>
                  </a:lnTo>
                  <a:lnTo>
                    <a:pt x="1794" y="60886"/>
                  </a:lnTo>
                  <a:lnTo>
                    <a:pt x="1096" y="61284"/>
                  </a:lnTo>
                  <a:lnTo>
                    <a:pt x="99" y="63075"/>
                  </a:lnTo>
                  <a:lnTo>
                    <a:pt x="0" y="64766"/>
                  </a:lnTo>
                  <a:lnTo>
                    <a:pt x="598" y="68646"/>
                  </a:lnTo>
                  <a:lnTo>
                    <a:pt x="99" y="70039"/>
                  </a:lnTo>
                  <a:lnTo>
                    <a:pt x="99" y="71034"/>
                  </a:lnTo>
                  <a:lnTo>
                    <a:pt x="1893" y="73621"/>
                  </a:lnTo>
                  <a:lnTo>
                    <a:pt x="4185" y="76108"/>
                  </a:lnTo>
                  <a:lnTo>
                    <a:pt x="6875" y="78098"/>
                  </a:lnTo>
                  <a:lnTo>
                    <a:pt x="9566" y="79192"/>
                  </a:lnTo>
                  <a:lnTo>
                    <a:pt x="12456" y="79093"/>
                  </a:lnTo>
                  <a:lnTo>
                    <a:pt x="17637" y="77401"/>
                  </a:lnTo>
                  <a:lnTo>
                    <a:pt x="23616" y="76506"/>
                  </a:lnTo>
                  <a:lnTo>
                    <a:pt x="26007" y="75213"/>
                  </a:lnTo>
                  <a:lnTo>
                    <a:pt x="27900" y="73223"/>
                  </a:lnTo>
                  <a:lnTo>
                    <a:pt x="30989" y="68945"/>
                  </a:lnTo>
                  <a:lnTo>
                    <a:pt x="31886" y="67254"/>
                  </a:lnTo>
                  <a:lnTo>
                    <a:pt x="32982" y="65960"/>
                  </a:lnTo>
                  <a:lnTo>
                    <a:pt x="34278" y="65363"/>
                  </a:lnTo>
                  <a:lnTo>
                    <a:pt x="38263" y="65363"/>
                  </a:lnTo>
                  <a:lnTo>
                    <a:pt x="38961" y="65065"/>
                  </a:lnTo>
                  <a:lnTo>
                    <a:pt x="39359" y="63473"/>
                  </a:lnTo>
                  <a:lnTo>
                    <a:pt x="40057" y="63075"/>
                  </a:lnTo>
                  <a:lnTo>
                    <a:pt x="43146" y="63374"/>
                  </a:lnTo>
                  <a:lnTo>
                    <a:pt x="45936" y="64567"/>
                  </a:lnTo>
                  <a:lnTo>
                    <a:pt x="48427" y="66557"/>
                  </a:lnTo>
                  <a:lnTo>
                    <a:pt x="50420" y="68845"/>
                  </a:lnTo>
                  <a:lnTo>
                    <a:pt x="53907" y="74516"/>
                  </a:lnTo>
                  <a:lnTo>
                    <a:pt x="56897" y="77401"/>
                  </a:lnTo>
                  <a:lnTo>
                    <a:pt x="57793" y="78496"/>
                  </a:lnTo>
                  <a:lnTo>
                    <a:pt x="61979" y="81878"/>
                  </a:lnTo>
                  <a:lnTo>
                    <a:pt x="68555" y="83967"/>
                  </a:lnTo>
                  <a:lnTo>
                    <a:pt x="75131" y="83967"/>
                  </a:lnTo>
                  <a:lnTo>
                    <a:pt x="78121" y="82376"/>
                  </a:lnTo>
                  <a:lnTo>
                    <a:pt x="78121" y="73919"/>
                  </a:lnTo>
                  <a:lnTo>
                    <a:pt x="72740" y="55216"/>
                  </a:lnTo>
                  <a:lnTo>
                    <a:pt x="67957" y="38402"/>
                  </a:lnTo>
                  <a:lnTo>
                    <a:pt x="66462" y="35119"/>
                  </a:lnTo>
                  <a:lnTo>
                    <a:pt x="65466" y="31737"/>
                  </a:lnTo>
                  <a:lnTo>
                    <a:pt x="66164" y="24275"/>
                  </a:lnTo>
                  <a:lnTo>
                    <a:pt x="65566" y="21191"/>
                  </a:lnTo>
                  <a:lnTo>
                    <a:pt x="64370" y="17410"/>
                  </a:lnTo>
                  <a:lnTo>
                    <a:pt x="63473" y="10546"/>
                  </a:lnTo>
                  <a:lnTo>
                    <a:pt x="61979" y="7860"/>
                  </a:lnTo>
                  <a:lnTo>
                    <a:pt x="59786" y="6367"/>
                  </a:lnTo>
                  <a:lnTo>
                    <a:pt x="50918" y="1691"/>
                  </a:lnTo>
                  <a:lnTo>
                    <a:pt x="43744" y="0"/>
                  </a:lnTo>
                  <a:lnTo>
                    <a:pt x="41551" y="0"/>
                  </a:lnTo>
                  <a:lnTo>
                    <a:pt x="41551" y="2189"/>
                  </a:lnTo>
                  <a:lnTo>
                    <a:pt x="42548" y="199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1" name="Freeform: Shape 1450">
              <a:extLst>
                <a:ext uri="{FF2B5EF4-FFF2-40B4-BE49-F238E27FC236}">
                  <a16:creationId xmlns:a16="http://schemas.microsoft.com/office/drawing/2014/main" id="{E9D897BB-09F2-49C0-9FDD-9607E35041C6}"/>
                </a:ext>
              </a:extLst>
            </p:cNvPr>
            <p:cNvSpPr/>
            <p:nvPr/>
          </p:nvSpPr>
          <p:spPr>
            <a:xfrm>
              <a:off x="1495290" y="494289"/>
              <a:ext cx="13352" cy="33427"/>
            </a:xfrm>
            <a:custGeom>
              <a:avLst/>
              <a:gdLst>
                <a:gd name="connsiteX0" fmla="*/ 3687 w 13352"/>
                <a:gd name="connsiteY0" fmla="*/ 32930 h 33427"/>
                <a:gd name="connsiteX1" fmla="*/ 11061 w 13352"/>
                <a:gd name="connsiteY1" fmla="*/ 30941 h 33427"/>
                <a:gd name="connsiteX2" fmla="*/ 12854 w 13352"/>
                <a:gd name="connsiteY2" fmla="*/ 29647 h 33427"/>
                <a:gd name="connsiteX3" fmla="*/ 13352 w 13352"/>
                <a:gd name="connsiteY3" fmla="*/ 27558 h 33427"/>
                <a:gd name="connsiteX4" fmla="*/ 8470 w 13352"/>
                <a:gd name="connsiteY4" fmla="*/ 23280 h 33427"/>
                <a:gd name="connsiteX5" fmla="*/ 7274 w 13352"/>
                <a:gd name="connsiteY5" fmla="*/ 21788 h 33427"/>
                <a:gd name="connsiteX6" fmla="*/ 5879 w 13352"/>
                <a:gd name="connsiteY6" fmla="*/ 17609 h 33427"/>
                <a:gd name="connsiteX7" fmla="*/ 5979 w 13352"/>
                <a:gd name="connsiteY7" fmla="*/ 13331 h 33427"/>
                <a:gd name="connsiteX8" fmla="*/ 7374 w 13352"/>
                <a:gd name="connsiteY8" fmla="*/ 9352 h 33427"/>
                <a:gd name="connsiteX9" fmla="*/ 9865 w 13352"/>
                <a:gd name="connsiteY9" fmla="*/ 5870 h 33427"/>
                <a:gd name="connsiteX10" fmla="*/ 8769 w 13352"/>
                <a:gd name="connsiteY10" fmla="*/ 6268 h 33427"/>
                <a:gd name="connsiteX11" fmla="*/ 7473 w 13352"/>
                <a:gd name="connsiteY11" fmla="*/ 6964 h 33427"/>
                <a:gd name="connsiteX12" fmla="*/ 6477 w 13352"/>
                <a:gd name="connsiteY12" fmla="*/ 6865 h 33427"/>
                <a:gd name="connsiteX13" fmla="*/ 5979 w 13352"/>
                <a:gd name="connsiteY13" fmla="*/ 5273 h 33427"/>
                <a:gd name="connsiteX14" fmla="*/ 6278 w 13352"/>
                <a:gd name="connsiteY14" fmla="*/ 3582 h 33427"/>
                <a:gd name="connsiteX15" fmla="*/ 6776 w 13352"/>
                <a:gd name="connsiteY15" fmla="*/ 2288 h 33427"/>
                <a:gd name="connsiteX16" fmla="*/ 6676 w 13352"/>
                <a:gd name="connsiteY16" fmla="*/ 1194 h 33427"/>
                <a:gd name="connsiteX17" fmla="*/ 5281 w 13352"/>
                <a:gd name="connsiteY17" fmla="*/ 0 h 33427"/>
                <a:gd name="connsiteX18" fmla="*/ 2192 w 13352"/>
                <a:gd name="connsiteY18" fmla="*/ 2388 h 33427"/>
                <a:gd name="connsiteX19" fmla="*/ 2192 w 13352"/>
                <a:gd name="connsiteY19" fmla="*/ 13829 h 33427"/>
                <a:gd name="connsiteX20" fmla="*/ 2292 w 13352"/>
                <a:gd name="connsiteY20" fmla="*/ 30145 h 33427"/>
                <a:gd name="connsiteX21" fmla="*/ 1893 w 13352"/>
                <a:gd name="connsiteY21" fmla="*/ 31935 h 33427"/>
                <a:gd name="connsiteX22" fmla="*/ 1096 w 13352"/>
                <a:gd name="connsiteY22" fmla="*/ 33030 h 33427"/>
                <a:gd name="connsiteX23" fmla="*/ 0 w 13352"/>
                <a:gd name="connsiteY23" fmla="*/ 33428 h 33427"/>
                <a:gd name="connsiteX24" fmla="*/ 2990 w 13352"/>
                <a:gd name="connsiteY24" fmla="*/ 33428 h 33427"/>
                <a:gd name="connsiteX25" fmla="*/ 3687 w 13352"/>
                <a:gd name="connsiteY25" fmla="*/ 32930 h 33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352" h="33427">
                  <a:moveTo>
                    <a:pt x="3687" y="32930"/>
                  </a:moveTo>
                  <a:lnTo>
                    <a:pt x="11061" y="30941"/>
                  </a:lnTo>
                  <a:lnTo>
                    <a:pt x="12854" y="29647"/>
                  </a:lnTo>
                  <a:lnTo>
                    <a:pt x="13352" y="27558"/>
                  </a:lnTo>
                  <a:lnTo>
                    <a:pt x="8470" y="23280"/>
                  </a:lnTo>
                  <a:lnTo>
                    <a:pt x="7274" y="21788"/>
                  </a:lnTo>
                  <a:lnTo>
                    <a:pt x="5879" y="17609"/>
                  </a:lnTo>
                  <a:lnTo>
                    <a:pt x="5979" y="13331"/>
                  </a:lnTo>
                  <a:lnTo>
                    <a:pt x="7374" y="9352"/>
                  </a:lnTo>
                  <a:lnTo>
                    <a:pt x="9865" y="5870"/>
                  </a:lnTo>
                  <a:lnTo>
                    <a:pt x="8769" y="6268"/>
                  </a:lnTo>
                  <a:lnTo>
                    <a:pt x="7473" y="6964"/>
                  </a:lnTo>
                  <a:lnTo>
                    <a:pt x="6477" y="6865"/>
                  </a:lnTo>
                  <a:lnTo>
                    <a:pt x="5979" y="5273"/>
                  </a:lnTo>
                  <a:lnTo>
                    <a:pt x="6278" y="3582"/>
                  </a:lnTo>
                  <a:lnTo>
                    <a:pt x="6776" y="2288"/>
                  </a:lnTo>
                  <a:lnTo>
                    <a:pt x="6676" y="1194"/>
                  </a:lnTo>
                  <a:lnTo>
                    <a:pt x="5281" y="0"/>
                  </a:lnTo>
                  <a:lnTo>
                    <a:pt x="2192" y="2388"/>
                  </a:lnTo>
                  <a:lnTo>
                    <a:pt x="2192" y="13829"/>
                  </a:lnTo>
                  <a:lnTo>
                    <a:pt x="2292" y="30145"/>
                  </a:lnTo>
                  <a:lnTo>
                    <a:pt x="1893" y="31935"/>
                  </a:lnTo>
                  <a:lnTo>
                    <a:pt x="1096" y="33030"/>
                  </a:lnTo>
                  <a:lnTo>
                    <a:pt x="0" y="33428"/>
                  </a:lnTo>
                  <a:lnTo>
                    <a:pt x="2990" y="33428"/>
                  </a:lnTo>
                  <a:lnTo>
                    <a:pt x="3687" y="3293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2" name="Freeform: Shape 1451">
              <a:extLst>
                <a:ext uri="{FF2B5EF4-FFF2-40B4-BE49-F238E27FC236}">
                  <a16:creationId xmlns:a16="http://schemas.microsoft.com/office/drawing/2014/main" id="{854E0562-600B-43B9-AC82-506A62F8249F}"/>
                </a:ext>
              </a:extLst>
            </p:cNvPr>
            <p:cNvSpPr/>
            <p:nvPr/>
          </p:nvSpPr>
          <p:spPr>
            <a:xfrm>
              <a:off x="1513425" y="495582"/>
              <a:ext cx="4384" cy="1790"/>
            </a:xfrm>
            <a:custGeom>
              <a:avLst/>
              <a:gdLst>
                <a:gd name="connsiteX0" fmla="*/ 4384 w 4384"/>
                <a:gd name="connsiteY0" fmla="*/ 1094 h 1790"/>
                <a:gd name="connsiteX1" fmla="*/ 4384 w 4384"/>
                <a:gd name="connsiteY1" fmla="*/ 0 h 1790"/>
                <a:gd name="connsiteX2" fmla="*/ 0 w 4384"/>
                <a:gd name="connsiteY2" fmla="*/ 1791 h 1790"/>
                <a:gd name="connsiteX3" fmla="*/ 3986 w 4384"/>
                <a:gd name="connsiteY3" fmla="*/ 1393 h 1790"/>
                <a:gd name="connsiteX4" fmla="*/ 4384 w 4384"/>
                <a:gd name="connsiteY4" fmla="*/ 1094 h 1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4" h="1790">
                  <a:moveTo>
                    <a:pt x="4384" y="1094"/>
                  </a:moveTo>
                  <a:lnTo>
                    <a:pt x="4384" y="0"/>
                  </a:lnTo>
                  <a:lnTo>
                    <a:pt x="0" y="1791"/>
                  </a:lnTo>
                  <a:lnTo>
                    <a:pt x="3986" y="1393"/>
                  </a:lnTo>
                  <a:lnTo>
                    <a:pt x="4384" y="10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3" name="Freeform: Shape 1452">
              <a:extLst>
                <a:ext uri="{FF2B5EF4-FFF2-40B4-BE49-F238E27FC236}">
                  <a16:creationId xmlns:a16="http://schemas.microsoft.com/office/drawing/2014/main" id="{D4E7EF93-694F-4646-B8A2-9B4F136C85C7}"/>
                </a:ext>
              </a:extLst>
            </p:cNvPr>
            <p:cNvSpPr/>
            <p:nvPr/>
          </p:nvSpPr>
          <p:spPr>
            <a:xfrm>
              <a:off x="1506550" y="466830"/>
              <a:ext cx="11160" cy="3382"/>
            </a:xfrm>
            <a:custGeom>
              <a:avLst/>
              <a:gdLst>
                <a:gd name="connsiteX0" fmla="*/ 399 w 11160"/>
                <a:gd name="connsiteY0" fmla="*/ 1293 h 3382"/>
                <a:gd name="connsiteX1" fmla="*/ 1495 w 11160"/>
                <a:gd name="connsiteY1" fmla="*/ 1791 h 3382"/>
                <a:gd name="connsiteX2" fmla="*/ 2890 w 11160"/>
                <a:gd name="connsiteY2" fmla="*/ 2089 h 3382"/>
                <a:gd name="connsiteX3" fmla="*/ 3886 w 11160"/>
                <a:gd name="connsiteY3" fmla="*/ 2786 h 3382"/>
                <a:gd name="connsiteX4" fmla="*/ 5879 w 11160"/>
                <a:gd name="connsiteY4" fmla="*/ 3383 h 3382"/>
                <a:gd name="connsiteX5" fmla="*/ 11160 w 11160"/>
                <a:gd name="connsiteY5" fmla="*/ 2189 h 3382"/>
                <a:gd name="connsiteX6" fmla="*/ 11160 w 11160"/>
                <a:gd name="connsiteY6" fmla="*/ 0 h 3382"/>
                <a:gd name="connsiteX7" fmla="*/ 0 w 11160"/>
                <a:gd name="connsiteY7" fmla="*/ 299 h 3382"/>
                <a:gd name="connsiteX8" fmla="*/ 399 w 11160"/>
                <a:gd name="connsiteY8" fmla="*/ 1293 h 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60" h="3382">
                  <a:moveTo>
                    <a:pt x="399" y="1293"/>
                  </a:moveTo>
                  <a:lnTo>
                    <a:pt x="1495" y="1791"/>
                  </a:lnTo>
                  <a:lnTo>
                    <a:pt x="2890" y="2089"/>
                  </a:lnTo>
                  <a:lnTo>
                    <a:pt x="3886" y="2786"/>
                  </a:lnTo>
                  <a:lnTo>
                    <a:pt x="5879" y="3383"/>
                  </a:lnTo>
                  <a:lnTo>
                    <a:pt x="11160" y="2189"/>
                  </a:lnTo>
                  <a:lnTo>
                    <a:pt x="11160" y="0"/>
                  </a:lnTo>
                  <a:lnTo>
                    <a:pt x="0" y="299"/>
                  </a:lnTo>
                  <a:lnTo>
                    <a:pt x="399" y="12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4" name="Freeform: Shape 1453">
              <a:extLst>
                <a:ext uri="{FF2B5EF4-FFF2-40B4-BE49-F238E27FC236}">
                  <a16:creationId xmlns:a16="http://schemas.microsoft.com/office/drawing/2014/main" id="{B3A22E32-DFD7-4333-818D-7F9FAD0397AD}"/>
                </a:ext>
              </a:extLst>
            </p:cNvPr>
            <p:cNvSpPr/>
            <p:nvPr/>
          </p:nvSpPr>
          <p:spPr>
            <a:xfrm>
              <a:off x="3037183" y="1757680"/>
              <a:ext cx="3487" cy="15917"/>
            </a:xfrm>
            <a:custGeom>
              <a:avLst/>
              <a:gdLst>
                <a:gd name="connsiteX0" fmla="*/ 299 w 3487"/>
                <a:gd name="connsiteY0" fmla="*/ 9650 h 15917"/>
                <a:gd name="connsiteX1" fmla="*/ 0 w 3487"/>
                <a:gd name="connsiteY1" fmla="*/ 14426 h 15917"/>
                <a:gd name="connsiteX2" fmla="*/ 1494 w 3487"/>
                <a:gd name="connsiteY2" fmla="*/ 15918 h 15917"/>
                <a:gd name="connsiteX3" fmla="*/ 3089 w 3487"/>
                <a:gd name="connsiteY3" fmla="*/ 13530 h 15917"/>
                <a:gd name="connsiteX4" fmla="*/ 3487 w 3487"/>
                <a:gd name="connsiteY4" fmla="*/ 8954 h 15917"/>
                <a:gd name="connsiteX5" fmla="*/ 3288 w 3487"/>
                <a:gd name="connsiteY5" fmla="*/ 0 h 15917"/>
                <a:gd name="connsiteX6" fmla="*/ 2292 w 3487"/>
                <a:gd name="connsiteY6" fmla="*/ 895 h 15917"/>
                <a:gd name="connsiteX7" fmla="*/ 299 w 3487"/>
                <a:gd name="connsiteY7" fmla="*/ 9650 h 15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87" h="15917">
                  <a:moveTo>
                    <a:pt x="299" y="9650"/>
                  </a:moveTo>
                  <a:lnTo>
                    <a:pt x="0" y="14426"/>
                  </a:lnTo>
                  <a:lnTo>
                    <a:pt x="1494" y="15918"/>
                  </a:lnTo>
                  <a:lnTo>
                    <a:pt x="3089" y="13530"/>
                  </a:lnTo>
                  <a:lnTo>
                    <a:pt x="3487" y="8954"/>
                  </a:lnTo>
                  <a:lnTo>
                    <a:pt x="3288" y="0"/>
                  </a:lnTo>
                  <a:lnTo>
                    <a:pt x="2292" y="895"/>
                  </a:lnTo>
                  <a:lnTo>
                    <a:pt x="299" y="965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5" name="Freeform: Shape 1454">
              <a:extLst>
                <a:ext uri="{FF2B5EF4-FFF2-40B4-BE49-F238E27FC236}">
                  <a16:creationId xmlns:a16="http://schemas.microsoft.com/office/drawing/2014/main" id="{4B900B41-120D-4851-87A8-0D8B2435818E}"/>
                </a:ext>
              </a:extLst>
            </p:cNvPr>
            <p:cNvSpPr/>
            <p:nvPr/>
          </p:nvSpPr>
          <p:spPr>
            <a:xfrm>
              <a:off x="2946307" y="1135784"/>
              <a:ext cx="51615" cy="29547"/>
            </a:xfrm>
            <a:custGeom>
              <a:avLst/>
              <a:gdLst>
                <a:gd name="connsiteX0" fmla="*/ 24213 w 51615"/>
                <a:gd name="connsiteY0" fmla="*/ 10546 h 29547"/>
                <a:gd name="connsiteX1" fmla="*/ 21124 w 51615"/>
                <a:gd name="connsiteY1" fmla="*/ 11640 h 29547"/>
                <a:gd name="connsiteX2" fmla="*/ 18135 w 51615"/>
                <a:gd name="connsiteY2" fmla="*/ 13132 h 29547"/>
                <a:gd name="connsiteX3" fmla="*/ 16640 w 51615"/>
                <a:gd name="connsiteY3" fmla="*/ 13630 h 29547"/>
                <a:gd name="connsiteX4" fmla="*/ 14647 w 51615"/>
                <a:gd name="connsiteY4" fmla="*/ 13829 h 29547"/>
                <a:gd name="connsiteX5" fmla="*/ 13751 w 51615"/>
                <a:gd name="connsiteY5" fmla="*/ 14525 h 29547"/>
                <a:gd name="connsiteX6" fmla="*/ 11758 w 51615"/>
                <a:gd name="connsiteY6" fmla="*/ 17510 h 29547"/>
                <a:gd name="connsiteX7" fmla="*/ 10363 w 51615"/>
                <a:gd name="connsiteY7" fmla="*/ 18206 h 29547"/>
                <a:gd name="connsiteX8" fmla="*/ 7971 w 51615"/>
                <a:gd name="connsiteY8" fmla="*/ 16813 h 29547"/>
                <a:gd name="connsiteX9" fmla="*/ 5281 w 51615"/>
                <a:gd name="connsiteY9" fmla="*/ 14426 h 29547"/>
                <a:gd name="connsiteX10" fmla="*/ 2591 w 51615"/>
                <a:gd name="connsiteY10" fmla="*/ 13630 h 29547"/>
                <a:gd name="connsiteX11" fmla="*/ 299 w 51615"/>
                <a:gd name="connsiteY11" fmla="*/ 17012 h 29547"/>
                <a:gd name="connsiteX12" fmla="*/ 0 w 51615"/>
                <a:gd name="connsiteY12" fmla="*/ 19400 h 29547"/>
                <a:gd name="connsiteX13" fmla="*/ 598 w 51615"/>
                <a:gd name="connsiteY13" fmla="*/ 20495 h 29547"/>
                <a:gd name="connsiteX14" fmla="*/ 1594 w 51615"/>
                <a:gd name="connsiteY14" fmla="*/ 20793 h 29547"/>
                <a:gd name="connsiteX15" fmla="*/ 2092 w 51615"/>
                <a:gd name="connsiteY15" fmla="*/ 20892 h 29547"/>
                <a:gd name="connsiteX16" fmla="*/ 2591 w 51615"/>
                <a:gd name="connsiteY16" fmla="*/ 18903 h 29547"/>
                <a:gd name="connsiteX17" fmla="*/ 3886 w 51615"/>
                <a:gd name="connsiteY17" fmla="*/ 19500 h 29547"/>
                <a:gd name="connsiteX18" fmla="*/ 5181 w 51615"/>
                <a:gd name="connsiteY18" fmla="*/ 20992 h 29547"/>
                <a:gd name="connsiteX19" fmla="*/ 5978 w 51615"/>
                <a:gd name="connsiteY19" fmla="*/ 21987 h 29547"/>
                <a:gd name="connsiteX20" fmla="*/ 6776 w 51615"/>
                <a:gd name="connsiteY20" fmla="*/ 22982 h 29547"/>
                <a:gd name="connsiteX21" fmla="*/ 9964 w 51615"/>
                <a:gd name="connsiteY21" fmla="*/ 24872 h 29547"/>
                <a:gd name="connsiteX22" fmla="*/ 10662 w 51615"/>
                <a:gd name="connsiteY22" fmla="*/ 26663 h 29547"/>
                <a:gd name="connsiteX23" fmla="*/ 10662 w 51615"/>
                <a:gd name="connsiteY23" fmla="*/ 26961 h 29547"/>
                <a:gd name="connsiteX24" fmla="*/ 11558 w 51615"/>
                <a:gd name="connsiteY24" fmla="*/ 26862 h 29547"/>
                <a:gd name="connsiteX25" fmla="*/ 12854 w 51615"/>
                <a:gd name="connsiteY25" fmla="*/ 26066 h 29547"/>
                <a:gd name="connsiteX26" fmla="*/ 13352 w 51615"/>
                <a:gd name="connsiteY26" fmla="*/ 25867 h 29547"/>
                <a:gd name="connsiteX27" fmla="*/ 18036 w 51615"/>
                <a:gd name="connsiteY27" fmla="*/ 25867 h 29547"/>
                <a:gd name="connsiteX28" fmla="*/ 19331 w 51615"/>
                <a:gd name="connsiteY28" fmla="*/ 26364 h 29547"/>
                <a:gd name="connsiteX29" fmla="*/ 20825 w 51615"/>
                <a:gd name="connsiteY29" fmla="*/ 27359 h 29547"/>
                <a:gd name="connsiteX30" fmla="*/ 22220 w 51615"/>
                <a:gd name="connsiteY30" fmla="*/ 28056 h 29547"/>
                <a:gd name="connsiteX31" fmla="*/ 23316 w 51615"/>
                <a:gd name="connsiteY31" fmla="*/ 27558 h 29547"/>
                <a:gd name="connsiteX32" fmla="*/ 26206 w 51615"/>
                <a:gd name="connsiteY32" fmla="*/ 25071 h 29547"/>
                <a:gd name="connsiteX33" fmla="*/ 28996 w 51615"/>
                <a:gd name="connsiteY33" fmla="*/ 25170 h 29547"/>
                <a:gd name="connsiteX34" fmla="*/ 34278 w 51615"/>
                <a:gd name="connsiteY34" fmla="*/ 28155 h 29547"/>
                <a:gd name="connsiteX35" fmla="*/ 37267 w 51615"/>
                <a:gd name="connsiteY35" fmla="*/ 29150 h 29547"/>
                <a:gd name="connsiteX36" fmla="*/ 40954 w 51615"/>
                <a:gd name="connsiteY36" fmla="*/ 29548 h 29547"/>
                <a:gd name="connsiteX37" fmla="*/ 44441 w 51615"/>
                <a:gd name="connsiteY37" fmla="*/ 29050 h 29547"/>
                <a:gd name="connsiteX38" fmla="*/ 46833 w 51615"/>
                <a:gd name="connsiteY38" fmla="*/ 27558 h 29547"/>
                <a:gd name="connsiteX39" fmla="*/ 51217 w 51615"/>
                <a:gd name="connsiteY39" fmla="*/ 18803 h 29547"/>
                <a:gd name="connsiteX40" fmla="*/ 51616 w 51615"/>
                <a:gd name="connsiteY40" fmla="*/ 17012 h 29547"/>
                <a:gd name="connsiteX41" fmla="*/ 49124 w 51615"/>
                <a:gd name="connsiteY41" fmla="*/ 15122 h 29547"/>
                <a:gd name="connsiteX42" fmla="*/ 45936 w 51615"/>
                <a:gd name="connsiteY42" fmla="*/ 14525 h 29547"/>
                <a:gd name="connsiteX43" fmla="*/ 43245 w 51615"/>
                <a:gd name="connsiteY43" fmla="*/ 13132 h 29547"/>
                <a:gd name="connsiteX44" fmla="*/ 42050 w 51615"/>
                <a:gd name="connsiteY44" fmla="*/ 8755 h 29547"/>
                <a:gd name="connsiteX45" fmla="*/ 41153 w 51615"/>
                <a:gd name="connsiteY45" fmla="*/ 5571 h 29547"/>
                <a:gd name="connsiteX46" fmla="*/ 38961 w 51615"/>
                <a:gd name="connsiteY46" fmla="*/ 3283 h 29547"/>
                <a:gd name="connsiteX47" fmla="*/ 33281 w 51615"/>
                <a:gd name="connsiteY47" fmla="*/ 398 h 29547"/>
                <a:gd name="connsiteX48" fmla="*/ 25309 w 51615"/>
                <a:gd name="connsiteY48" fmla="*/ 0 h 29547"/>
                <a:gd name="connsiteX49" fmla="*/ 21722 w 51615"/>
                <a:gd name="connsiteY49" fmla="*/ 696 h 29547"/>
                <a:gd name="connsiteX50" fmla="*/ 21623 w 51615"/>
                <a:gd name="connsiteY50" fmla="*/ 3184 h 29547"/>
                <a:gd name="connsiteX51" fmla="*/ 23118 w 51615"/>
                <a:gd name="connsiteY51" fmla="*/ 4178 h 29547"/>
                <a:gd name="connsiteX52" fmla="*/ 25011 w 51615"/>
                <a:gd name="connsiteY52" fmla="*/ 4477 h 29547"/>
                <a:gd name="connsiteX53" fmla="*/ 26306 w 51615"/>
                <a:gd name="connsiteY53" fmla="*/ 5472 h 29547"/>
                <a:gd name="connsiteX54" fmla="*/ 26306 w 51615"/>
                <a:gd name="connsiteY54" fmla="*/ 8257 h 29547"/>
                <a:gd name="connsiteX55" fmla="*/ 25609 w 51615"/>
                <a:gd name="connsiteY55" fmla="*/ 9650 h 29547"/>
                <a:gd name="connsiteX56" fmla="*/ 24213 w 51615"/>
                <a:gd name="connsiteY56" fmla="*/ 10546 h 29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1615" h="29547">
                  <a:moveTo>
                    <a:pt x="24213" y="10546"/>
                  </a:moveTo>
                  <a:lnTo>
                    <a:pt x="21124" y="11640"/>
                  </a:lnTo>
                  <a:lnTo>
                    <a:pt x="18135" y="13132"/>
                  </a:lnTo>
                  <a:lnTo>
                    <a:pt x="16640" y="13630"/>
                  </a:lnTo>
                  <a:lnTo>
                    <a:pt x="14647" y="13829"/>
                  </a:lnTo>
                  <a:lnTo>
                    <a:pt x="13751" y="14525"/>
                  </a:lnTo>
                  <a:lnTo>
                    <a:pt x="11758" y="17510"/>
                  </a:lnTo>
                  <a:lnTo>
                    <a:pt x="10363" y="18206"/>
                  </a:lnTo>
                  <a:lnTo>
                    <a:pt x="7971" y="16813"/>
                  </a:lnTo>
                  <a:lnTo>
                    <a:pt x="5281" y="14426"/>
                  </a:lnTo>
                  <a:lnTo>
                    <a:pt x="2591" y="13630"/>
                  </a:lnTo>
                  <a:lnTo>
                    <a:pt x="299" y="17012"/>
                  </a:lnTo>
                  <a:lnTo>
                    <a:pt x="0" y="19400"/>
                  </a:lnTo>
                  <a:lnTo>
                    <a:pt x="598" y="20495"/>
                  </a:lnTo>
                  <a:lnTo>
                    <a:pt x="1594" y="20793"/>
                  </a:lnTo>
                  <a:lnTo>
                    <a:pt x="2092" y="20892"/>
                  </a:lnTo>
                  <a:lnTo>
                    <a:pt x="2591" y="18903"/>
                  </a:lnTo>
                  <a:lnTo>
                    <a:pt x="3886" y="19500"/>
                  </a:lnTo>
                  <a:lnTo>
                    <a:pt x="5181" y="20992"/>
                  </a:lnTo>
                  <a:lnTo>
                    <a:pt x="5978" y="21987"/>
                  </a:lnTo>
                  <a:lnTo>
                    <a:pt x="6776" y="22982"/>
                  </a:lnTo>
                  <a:lnTo>
                    <a:pt x="9964" y="24872"/>
                  </a:lnTo>
                  <a:lnTo>
                    <a:pt x="10662" y="26663"/>
                  </a:lnTo>
                  <a:lnTo>
                    <a:pt x="10662" y="26961"/>
                  </a:lnTo>
                  <a:lnTo>
                    <a:pt x="11558" y="26862"/>
                  </a:lnTo>
                  <a:lnTo>
                    <a:pt x="12854" y="26066"/>
                  </a:lnTo>
                  <a:lnTo>
                    <a:pt x="13352" y="25867"/>
                  </a:lnTo>
                  <a:lnTo>
                    <a:pt x="18036" y="25867"/>
                  </a:lnTo>
                  <a:lnTo>
                    <a:pt x="19331" y="26364"/>
                  </a:lnTo>
                  <a:lnTo>
                    <a:pt x="20825" y="27359"/>
                  </a:lnTo>
                  <a:lnTo>
                    <a:pt x="22220" y="28056"/>
                  </a:lnTo>
                  <a:lnTo>
                    <a:pt x="23316" y="27558"/>
                  </a:lnTo>
                  <a:lnTo>
                    <a:pt x="26206" y="25071"/>
                  </a:lnTo>
                  <a:lnTo>
                    <a:pt x="28996" y="25170"/>
                  </a:lnTo>
                  <a:lnTo>
                    <a:pt x="34278" y="28155"/>
                  </a:lnTo>
                  <a:lnTo>
                    <a:pt x="37267" y="29150"/>
                  </a:lnTo>
                  <a:lnTo>
                    <a:pt x="40954" y="29548"/>
                  </a:lnTo>
                  <a:lnTo>
                    <a:pt x="44441" y="29050"/>
                  </a:lnTo>
                  <a:lnTo>
                    <a:pt x="46833" y="27558"/>
                  </a:lnTo>
                  <a:lnTo>
                    <a:pt x="51217" y="18803"/>
                  </a:lnTo>
                  <a:lnTo>
                    <a:pt x="51616" y="17012"/>
                  </a:lnTo>
                  <a:lnTo>
                    <a:pt x="49124" y="15122"/>
                  </a:lnTo>
                  <a:lnTo>
                    <a:pt x="45936" y="14525"/>
                  </a:lnTo>
                  <a:lnTo>
                    <a:pt x="43245" y="13132"/>
                  </a:lnTo>
                  <a:lnTo>
                    <a:pt x="42050" y="8755"/>
                  </a:lnTo>
                  <a:lnTo>
                    <a:pt x="41153" y="5571"/>
                  </a:lnTo>
                  <a:lnTo>
                    <a:pt x="38961" y="3283"/>
                  </a:lnTo>
                  <a:lnTo>
                    <a:pt x="33281" y="398"/>
                  </a:lnTo>
                  <a:lnTo>
                    <a:pt x="25309" y="0"/>
                  </a:lnTo>
                  <a:lnTo>
                    <a:pt x="21722" y="696"/>
                  </a:lnTo>
                  <a:lnTo>
                    <a:pt x="21623" y="3184"/>
                  </a:lnTo>
                  <a:lnTo>
                    <a:pt x="23118" y="4178"/>
                  </a:lnTo>
                  <a:lnTo>
                    <a:pt x="25011" y="4477"/>
                  </a:lnTo>
                  <a:lnTo>
                    <a:pt x="26306" y="5472"/>
                  </a:lnTo>
                  <a:lnTo>
                    <a:pt x="26306" y="8257"/>
                  </a:lnTo>
                  <a:lnTo>
                    <a:pt x="25609" y="9650"/>
                  </a:lnTo>
                  <a:lnTo>
                    <a:pt x="24213" y="1054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6" name="Freeform: Shape 1455">
              <a:extLst>
                <a:ext uri="{FF2B5EF4-FFF2-40B4-BE49-F238E27FC236}">
                  <a16:creationId xmlns:a16="http://schemas.microsoft.com/office/drawing/2014/main" id="{B36DB2FF-2F36-4188-A43B-78B92F9C34BF}"/>
                </a:ext>
              </a:extLst>
            </p:cNvPr>
            <p:cNvSpPr/>
            <p:nvPr/>
          </p:nvSpPr>
          <p:spPr>
            <a:xfrm>
              <a:off x="2906649" y="1099570"/>
              <a:ext cx="11559" cy="15619"/>
            </a:xfrm>
            <a:custGeom>
              <a:avLst/>
              <a:gdLst>
                <a:gd name="connsiteX0" fmla="*/ 7274 w 11559"/>
                <a:gd name="connsiteY0" fmla="*/ 2089 h 15619"/>
                <a:gd name="connsiteX1" fmla="*/ 5182 w 11559"/>
                <a:gd name="connsiteY1" fmla="*/ 0 h 15619"/>
                <a:gd name="connsiteX2" fmla="*/ 1893 w 11559"/>
                <a:gd name="connsiteY2" fmla="*/ 0 h 15619"/>
                <a:gd name="connsiteX3" fmla="*/ 897 w 11559"/>
                <a:gd name="connsiteY3" fmla="*/ 1293 h 15619"/>
                <a:gd name="connsiteX4" fmla="*/ 797 w 11559"/>
                <a:gd name="connsiteY4" fmla="*/ 3582 h 15619"/>
                <a:gd name="connsiteX5" fmla="*/ 0 w 11559"/>
                <a:gd name="connsiteY5" fmla="*/ 6566 h 15619"/>
                <a:gd name="connsiteX6" fmla="*/ 2392 w 11559"/>
                <a:gd name="connsiteY6" fmla="*/ 9650 h 15619"/>
                <a:gd name="connsiteX7" fmla="*/ 4684 w 11559"/>
                <a:gd name="connsiteY7" fmla="*/ 13431 h 15619"/>
                <a:gd name="connsiteX8" fmla="*/ 7274 w 11559"/>
                <a:gd name="connsiteY8" fmla="*/ 15620 h 15619"/>
                <a:gd name="connsiteX9" fmla="*/ 10861 w 11559"/>
                <a:gd name="connsiteY9" fmla="*/ 13829 h 15619"/>
                <a:gd name="connsiteX10" fmla="*/ 11559 w 11559"/>
                <a:gd name="connsiteY10" fmla="*/ 10347 h 15619"/>
                <a:gd name="connsiteX11" fmla="*/ 9865 w 11559"/>
                <a:gd name="connsiteY11" fmla="*/ 5969 h 15619"/>
                <a:gd name="connsiteX12" fmla="*/ 7274 w 11559"/>
                <a:gd name="connsiteY12" fmla="*/ 2089 h 15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559" h="15619">
                  <a:moveTo>
                    <a:pt x="7274" y="2089"/>
                  </a:moveTo>
                  <a:lnTo>
                    <a:pt x="5182" y="0"/>
                  </a:lnTo>
                  <a:lnTo>
                    <a:pt x="1893" y="0"/>
                  </a:lnTo>
                  <a:lnTo>
                    <a:pt x="897" y="1293"/>
                  </a:lnTo>
                  <a:lnTo>
                    <a:pt x="797" y="3582"/>
                  </a:lnTo>
                  <a:lnTo>
                    <a:pt x="0" y="6566"/>
                  </a:lnTo>
                  <a:lnTo>
                    <a:pt x="2392" y="9650"/>
                  </a:lnTo>
                  <a:lnTo>
                    <a:pt x="4684" y="13431"/>
                  </a:lnTo>
                  <a:lnTo>
                    <a:pt x="7274" y="15620"/>
                  </a:lnTo>
                  <a:lnTo>
                    <a:pt x="10861" y="13829"/>
                  </a:lnTo>
                  <a:lnTo>
                    <a:pt x="11559" y="10347"/>
                  </a:lnTo>
                  <a:lnTo>
                    <a:pt x="9865" y="5969"/>
                  </a:lnTo>
                  <a:lnTo>
                    <a:pt x="7274" y="208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7" name="Freeform: Shape 1456">
              <a:extLst>
                <a:ext uri="{FF2B5EF4-FFF2-40B4-BE49-F238E27FC236}">
                  <a16:creationId xmlns:a16="http://schemas.microsoft.com/office/drawing/2014/main" id="{B9731CDA-8948-45CD-AE0A-7045ED659057}"/>
                </a:ext>
              </a:extLst>
            </p:cNvPr>
            <p:cNvSpPr/>
            <p:nvPr/>
          </p:nvSpPr>
          <p:spPr>
            <a:xfrm>
              <a:off x="2346450" y="911638"/>
              <a:ext cx="114590" cy="80684"/>
            </a:xfrm>
            <a:custGeom>
              <a:avLst/>
              <a:gdLst>
                <a:gd name="connsiteX0" fmla="*/ 110406 w 114590"/>
                <a:gd name="connsiteY0" fmla="*/ 4875 h 80684"/>
                <a:gd name="connsiteX1" fmla="*/ 108513 w 114590"/>
                <a:gd name="connsiteY1" fmla="*/ 3283 h 80684"/>
                <a:gd name="connsiteX2" fmla="*/ 103829 w 114590"/>
                <a:gd name="connsiteY2" fmla="*/ 696 h 80684"/>
                <a:gd name="connsiteX3" fmla="*/ 101338 w 114590"/>
                <a:gd name="connsiteY3" fmla="*/ 100 h 80684"/>
                <a:gd name="connsiteX4" fmla="*/ 71844 w 114590"/>
                <a:gd name="connsiteY4" fmla="*/ 0 h 80684"/>
                <a:gd name="connsiteX5" fmla="*/ 61082 w 114590"/>
                <a:gd name="connsiteY5" fmla="*/ 1791 h 80684"/>
                <a:gd name="connsiteX6" fmla="*/ 51915 w 114590"/>
                <a:gd name="connsiteY6" fmla="*/ 5074 h 80684"/>
                <a:gd name="connsiteX7" fmla="*/ 50121 w 114590"/>
                <a:gd name="connsiteY7" fmla="*/ 6268 h 80684"/>
                <a:gd name="connsiteX8" fmla="*/ 48227 w 114590"/>
                <a:gd name="connsiteY8" fmla="*/ 8257 h 80684"/>
                <a:gd name="connsiteX9" fmla="*/ 46833 w 114590"/>
                <a:gd name="connsiteY9" fmla="*/ 8954 h 80684"/>
                <a:gd name="connsiteX10" fmla="*/ 45438 w 114590"/>
                <a:gd name="connsiteY10" fmla="*/ 8556 h 80684"/>
                <a:gd name="connsiteX11" fmla="*/ 43943 w 114590"/>
                <a:gd name="connsiteY11" fmla="*/ 7959 h 80684"/>
                <a:gd name="connsiteX12" fmla="*/ 42548 w 114590"/>
                <a:gd name="connsiteY12" fmla="*/ 7760 h 80684"/>
                <a:gd name="connsiteX13" fmla="*/ 41651 w 114590"/>
                <a:gd name="connsiteY13" fmla="*/ 8257 h 80684"/>
                <a:gd name="connsiteX14" fmla="*/ 38263 w 114590"/>
                <a:gd name="connsiteY14" fmla="*/ 11043 h 80684"/>
                <a:gd name="connsiteX15" fmla="*/ 28000 w 114590"/>
                <a:gd name="connsiteY15" fmla="*/ 15620 h 80684"/>
                <a:gd name="connsiteX16" fmla="*/ 23815 w 114590"/>
                <a:gd name="connsiteY16" fmla="*/ 18405 h 80684"/>
                <a:gd name="connsiteX17" fmla="*/ 11658 w 114590"/>
                <a:gd name="connsiteY17" fmla="*/ 33030 h 80684"/>
                <a:gd name="connsiteX18" fmla="*/ 9466 w 114590"/>
                <a:gd name="connsiteY18" fmla="*/ 35119 h 80684"/>
                <a:gd name="connsiteX19" fmla="*/ 3986 w 114590"/>
                <a:gd name="connsiteY19" fmla="*/ 38203 h 80684"/>
                <a:gd name="connsiteX20" fmla="*/ 1694 w 114590"/>
                <a:gd name="connsiteY20" fmla="*/ 40292 h 80684"/>
                <a:gd name="connsiteX21" fmla="*/ 698 w 114590"/>
                <a:gd name="connsiteY21" fmla="*/ 43078 h 80684"/>
                <a:gd name="connsiteX22" fmla="*/ 199 w 114590"/>
                <a:gd name="connsiteY22" fmla="*/ 46958 h 80684"/>
                <a:gd name="connsiteX23" fmla="*/ 0 w 114590"/>
                <a:gd name="connsiteY23" fmla="*/ 54420 h 80684"/>
                <a:gd name="connsiteX24" fmla="*/ 1594 w 114590"/>
                <a:gd name="connsiteY24" fmla="*/ 56509 h 80684"/>
                <a:gd name="connsiteX25" fmla="*/ 13053 w 114590"/>
                <a:gd name="connsiteY25" fmla="*/ 57205 h 80684"/>
                <a:gd name="connsiteX26" fmla="*/ 14349 w 114590"/>
                <a:gd name="connsiteY26" fmla="*/ 58200 h 80684"/>
                <a:gd name="connsiteX27" fmla="*/ 16442 w 114590"/>
                <a:gd name="connsiteY27" fmla="*/ 61085 h 80684"/>
                <a:gd name="connsiteX28" fmla="*/ 17338 w 114590"/>
                <a:gd name="connsiteY28" fmla="*/ 61682 h 80684"/>
                <a:gd name="connsiteX29" fmla="*/ 23018 w 114590"/>
                <a:gd name="connsiteY29" fmla="*/ 60488 h 80684"/>
                <a:gd name="connsiteX30" fmla="*/ 24712 w 114590"/>
                <a:gd name="connsiteY30" fmla="*/ 58996 h 80684"/>
                <a:gd name="connsiteX31" fmla="*/ 24811 w 114590"/>
                <a:gd name="connsiteY31" fmla="*/ 55912 h 80684"/>
                <a:gd name="connsiteX32" fmla="*/ 23217 w 114590"/>
                <a:gd name="connsiteY32" fmla="*/ 54022 h 80684"/>
                <a:gd name="connsiteX33" fmla="*/ 19929 w 114590"/>
                <a:gd name="connsiteY33" fmla="*/ 56011 h 80684"/>
                <a:gd name="connsiteX34" fmla="*/ 21124 w 114590"/>
                <a:gd name="connsiteY34" fmla="*/ 53425 h 80684"/>
                <a:gd name="connsiteX35" fmla="*/ 23416 w 114590"/>
                <a:gd name="connsiteY35" fmla="*/ 50440 h 80684"/>
                <a:gd name="connsiteX36" fmla="*/ 25907 w 114590"/>
                <a:gd name="connsiteY36" fmla="*/ 48052 h 80684"/>
                <a:gd name="connsiteX37" fmla="*/ 27800 w 114590"/>
                <a:gd name="connsiteY37" fmla="*/ 47157 h 80684"/>
                <a:gd name="connsiteX38" fmla="*/ 27103 w 114590"/>
                <a:gd name="connsiteY38" fmla="*/ 49744 h 80684"/>
                <a:gd name="connsiteX39" fmla="*/ 26605 w 114590"/>
                <a:gd name="connsiteY39" fmla="*/ 55514 h 80684"/>
                <a:gd name="connsiteX40" fmla="*/ 26007 w 114590"/>
                <a:gd name="connsiteY40" fmla="*/ 58300 h 80684"/>
                <a:gd name="connsiteX41" fmla="*/ 24811 w 114590"/>
                <a:gd name="connsiteY41" fmla="*/ 61284 h 80684"/>
                <a:gd name="connsiteX42" fmla="*/ 23616 w 114590"/>
                <a:gd name="connsiteY42" fmla="*/ 62677 h 80684"/>
                <a:gd name="connsiteX43" fmla="*/ 19929 w 114590"/>
                <a:gd name="connsiteY43" fmla="*/ 65065 h 80684"/>
                <a:gd name="connsiteX44" fmla="*/ 17936 w 114590"/>
                <a:gd name="connsiteY44" fmla="*/ 66856 h 80684"/>
                <a:gd name="connsiteX45" fmla="*/ 17138 w 114590"/>
                <a:gd name="connsiteY45" fmla="*/ 68646 h 80684"/>
                <a:gd name="connsiteX46" fmla="*/ 17537 w 114590"/>
                <a:gd name="connsiteY46" fmla="*/ 70437 h 80684"/>
                <a:gd name="connsiteX47" fmla="*/ 24712 w 114590"/>
                <a:gd name="connsiteY47" fmla="*/ 80684 h 80684"/>
                <a:gd name="connsiteX48" fmla="*/ 26505 w 114590"/>
                <a:gd name="connsiteY48" fmla="*/ 79789 h 80684"/>
                <a:gd name="connsiteX49" fmla="*/ 28100 w 114590"/>
                <a:gd name="connsiteY49" fmla="*/ 77700 h 80684"/>
                <a:gd name="connsiteX50" fmla="*/ 30790 w 114590"/>
                <a:gd name="connsiteY50" fmla="*/ 73422 h 80684"/>
                <a:gd name="connsiteX51" fmla="*/ 34776 w 114590"/>
                <a:gd name="connsiteY51" fmla="*/ 64468 h 80684"/>
                <a:gd name="connsiteX52" fmla="*/ 35872 w 114590"/>
                <a:gd name="connsiteY52" fmla="*/ 62976 h 80684"/>
                <a:gd name="connsiteX53" fmla="*/ 40655 w 114590"/>
                <a:gd name="connsiteY53" fmla="*/ 60787 h 80684"/>
                <a:gd name="connsiteX54" fmla="*/ 41751 w 114590"/>
                <a:gd name="connsiteY54" fmla="*/ 58897 h 80684"/>
                <a:gd name="connsiteX55" fmla="*/ 42448 w 114590"/>
                <a:gd name="connsiteY55" fmla="*/ 56409 h 80684"/>
                <a:gd name="connsiteX56" fmla="*/ 44043 w 114590"/>
                <a:gd name="connsiteY56" fmla="*/ 55216 h 80684"/>
                <a:gd name="connsiteX57" fmla="*/ 46235 w 114590"/>
                <a:gd name="connsiteY57" fmla="*/ 54917 h 80684"/>
                <a:gd name="connsiteX58" fmla="*/ 48626 w 114590"/>
                <a:gd name="connsiteY58" fmla="*/ 54917 h 80684"/>
                <a:gd name="connsiteX59" fmla="*/ 48626 w 114590"/>
                <a:gd name="connsiteY59" fmla="*/ 53823 h 80684"/>
                <a:gd name="connsiteX60" fmla="*/ 47331 w 114590"/>
                <a:gd name="connsiteY60" fmla="*/ 51733 h 80684"/>
                <a:gd name="connsiteX61" fmla="*/ 47729 w 114590"/>
                <a:gd name="connsiteY61" fmla="*/ 48649 h 80684"/>
                <a:gd name="connsiteX62" fmla="*/ 49324 w 114590"/>
                <a:gd name="connsiteY62" fmla="*/ 45565 h 80684"/>
                <a:gd name="connsiteX63" fmla="*/ 51217 w 114590"/>
                <a:gd name="connsiteY63" fmla="*/ 43675 h 80684"/>
                <a:gd name="connsiteX64" fmla="*/ 52911 w 114590"/>
                <a:gd name="connsiteY64" fmla="*/ 43178 h 80684"/>
                <a:gd name="connsiteX65" fmla="*/ 54505 w 114590"/>
                <a:gd name="connsiteY65" fmla="*/ 43277 h 80684"/>
                <a:gd name="connsiteX66" fmla="*/ 56199 w 114590"/>
                <a:gd name="connsiteY66" fmla="*/ 43178 h 80684"/>
                <a:gd name="connsiteX67" fmla="*/ 57694 w 114590"/>
                <a:gd name="connsiteY67" fmla="*/ 41984 h 80684"/>
                <a:gd name="connsiteX68" fmla="*/ 62975 w 114590"/>
                <a:gd name="connsiteY68" fmla="*/ 36412 h 80684"/>
                <a:gd name="connsiteX69" fmla="*/ 64171 w 114590"/>
                <a:gd name="connsiteY69" fmla="*/ 35418 h 80684"/>
                <a:gd name="connsiteX70" fmla="*/ 67359 w 114590"/>
                <a:gd name="connsiteY70" fmla="*/ 34323 h 80684"/>
                <a:gd name="connsiteX71" fmla="*/ 68655 w 114590"/>
                <a:gd name="connsiteY71" fmla="*/ 33627 h 80684"/>
                <a:gd name="connsiteX72" fmla="*/ 70747 w 114590"/>
                <a:gd name="connsiteY72" fmla="*/ 29747 h 80684"/>
                <a:gd name="connsiteX73" fmla="*/ 71644 w 114590"/>
                <a:gd name="connsiteY73" fmla="*/ 29050 h 80684"/>
                <a:gd name="connsiteX74" fmla="*/ 74335 w 114590"/>
                <a:gd name="connsiteY74" fmla="*/ 28553 h 80684"/>
                <a:gd name="connsiteX75" fmla="*/ 77025 w 114590"/>
                <a:gd name="connsiteY75" fmla="*/ 27061 h 80684"/>
                <a:gd name="connsiteX76" fmla="*/ 84897 w 114590"/>
                <a:gd name="connsiteY76" fmla="*/ 21191 h 80684"/>
                <a:gd name="connsiteX77" fmla="*/ 82904 w 114590"/>
                <a:gd name="connsiteY77" fmla="*/ 19102 h 80684"/>
                <a:gd name="connsiteX78" fmla="*/ 78420 w 114590"/>
                <a:gd name="connsiteY78" fmla="*/ 17410 h 80684"/>
                <a:gd name="connsiteX79" fmla="*/ 74633 w 114590"/>
                <a:gd name="connsiteY79" fmla="*/ 16614 h 80684"/>
                <a:gd name="connsiteX80" fmla="*/ 76228 w 114590"/>
                <a:gd name="connsiteY80" fmla="*/ 14625 h 80684"/>
                <a:gd name="connsiteX81" fmla="*/ 78818 w 114590"/>
                <a:gd name="connsiteY81" fmla="*/ 14227 h 80684"/>
                <a:gd name="connsiteX82" fmla="*/ 84299 w 114590"/>
                <a:gd name="connsiteY82" fmla="*/ 14426 h 80684"/>
                <a:gd name="connsiteX83" fmla="*/ 91175 w 114590"/>
                <a:gd name="connsiteY83" fmla="*/ 12536 h 80684"/>
                <a:gd name="connsiteX84" fmla="*/ 93865 w 114590"/>
                <a:gd name="connsiteY84" fmla="*/ 12237 h 80684"/>
                <a:gd name="connsiteX85" fmla="*/ 96655 w 114590"/>
                <a:gd name="connsiteY85" fmla="*/ 12536 h 80684"/>
                <a:gd name="connsiteX86" fmla="*/ 101836 w 114590"/>
                <a:gd name="connsiteY86" fmla="*/ 14127 h 80684"/>
                <a:gd name="connsiteX87" fmla="*/ 104626 w 114590"/>
                <a:gd name="connsiteY87" fmla="*/ 14426 h 80684"/>
                <a:gd name="connsiteX88" fmla="*/ 107217 w 114590"/>
                <a:gd name="connsiteY88" fmla="*/ 13829 h 80684"/>
                <a:gd name="connsiteX89" fmla="*/ 111800 w 114590"/>
                <a:gd name="connsiteY89" fmla="*/ 11342 h 80684"/>
                <a:gd name="connsiteX90" fmla="*/ 114591 w 114590"/>
                <a:gd name="connsiteY90" fmla="*/ 11043 h 80684"/>
                <a:gd name="connsiteX91" fmla="*/ 114591 w 114590"/>
                <a:gd name="connsiteY91" fmla="*/ 9949 h 80684"/>
                <a:gd name="connsiteX92" fmla="*/ 112897 w 114590"/>
                <a:gd name="connsiteY92" fmla="*/ 8556 h 80684"/>
                <a:gd name="connsiteX93" fmla="*/ 110406 w 114590"/>
                <a:gd name="connsiteY93" fmla="*/ 4875 h 80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114590" h="80684">
                  <a:moveTo>
                    <a:pt x="110406" y="4875"/>
                  </a:moveTo>
                  <a:lnTo>
                    <a:pt x="108513" y="3283"/>
                  </a:lnTo>
                  <a:lnTo>
                    <a:pt x="103829" y="696"/>
                  </a:lnTo>
                  <a:lnTo>
                    <a:pt x="101338" y="100"/>
                  </a:lnTo>
                  <a:lnTo>
                    <a:pt x="71844" y="0"/>
                  </a:lnTo>
                  <a:lnTo>
                    <a:pt x="61082" y="1791"/>
                  </a:lnTo>
                  <a:lnTo>
                    <a:pt x="51915" y="5074"/>
                  </a:lnTo>
                  <a:lnTo>
                    <a:pt x="50121" y="6268"/>
                  </a:lnTo>
                  <a:lnTo>
                    <a:pt x="48227" y="8257"/>
                  </a:lnTo>
                  <a:lnTo>
                    <a:pt x="46833" y="8954"/>
                  </a:lnTo>
                  <a:lnTo>
                    <a:pt x="45438" y="8556"/>
                  </a:lnTo>
                  <a:lnTo>
                    <a:pt x="43943" y="7959"/>
                  </a:lnTo>
                  <a:lnTo>
                    <a:pt x="42548" y="7760"/>
                  </a:lnTo>
                  <a:lnTo>
                    <a:pt x="41651" y="8257"/>
                  </a:lnTo>
                  <a:lnTo>
                    <a:pt x="38263" y="11043"/>
                  </a:lnTo>
                  <a:lnTo>
                    <a:pt x="28000" y="15620"/>
                  </a:lnTo>
                  <a:lnTo>
                    <a:pt x="23815" y="18405"/>
                  </a:lnTo>
                  <a:lnTo>
                    <a:pt x="11658" y="33030"/>
                  </a:lnTo>
                  <a:lnTo>
                    <a:pt x="9466" y="35119"/>
                  </a:lnTo>
                  <a:lnTo>
                    <a:pt x="3986" y="38203"/>
                  </a:lnTo>
                  <a:lnTo>
                    <a:pt x="1694" y="40292"/>
                  </a:lnTo>
                  <a:lnTo>
                    <a:pt x="698" y="43078"/>
                  </a:lnTo>
                  <a:lnTo>
                    <a:pt x="199" y="46958"/>
                  </a:lnTo>
                  <a:lnTo>
                    <a:pt x="0" y="54420"/>
                  </a:lnTo>
                  <a:lnTo>
                    <a:pt x="1594" y="56509"/>
                  </a:lnTo>
                  <a:lnTo>
                    <a:pt x="13053" y="57205"/>
                  </a:lnTo>
                  <a:lnTo>
                    <a:pt x="14349" y="58200"/>
                  </a:lnTo>
                  <a:lnTo>
                    <a:pt x="16442" y="61085"/>
                  </a:lnTo>
                  <a:lnTo>
                    <a:pt x="17338" y="61682"/>
                  </a:lnTo>
                  <a:lnTo>
                    <a:pt x="23018" y="60488"/>
                  </a:lnTo>
                  <a:lnTo>
                    <a:pt x="24712" y="58996"/>
                  </a:lnTo>
                  <a:lnTo>
                    <a:pt x="24811" y="55912"/>
                  </a:lnTo>
                  <a:lnTo>
                    <a:pt x="23217" y="54022"/>
                  </a:lnTo>
                  <a:lnTo>
                    <a:pt x="19929" y="56011"/>
                  </a:lnTo>
                  <a:lnTo>
                    <a:pt x="21124" y="53425"/>
                  </a:lnTo>
                  <a:lnTo>
                    <a:pt x="23416" y="50440"/>
                  </a:lnTo>
                  <a:lnTo>
                    <a:pt x="25907" y="48052"/>
                  </a:lnTo>
                  <a:lnTo>
                    <a:pt x="27800" y="47157"/>
                  </a:lnTo>
                  <a:lnTo>
                    <a:pt x="27103" y="49744"/>
                  </a:lnTo>
                  <a:lnTo>
                    <a:pt x="26605" y="55514"/>
                  </a:lnTo>
                  <a:lnTo>
                    <a:pt x="26007" y="58300"/>
                  </a:lnTo>
                  <a:lnTo>
                    <a:pt x="24811" y="61284"/>
                  </a:lnTo>
                  <a:lnTo>
                    <a:pt x="23616" y="62677"/>
                  </a:lnTo>
                  <a:lnTo>
                    <a:pt x="19929" y="65065"/>
                  </a:lnTo>
                  <a:lnTo>
                    <a:pt x="17936" y="66856"/>
                  </a:lnTo>
                  <a:lnTo>
                    <a:pt x="17138" y="68646"/>
                  </a:lnTo>
                  <a:lnTo>
                    <a:pt x="17537" y="70437"/>
                  </a:lnTo>
                  <a:lnTo>
                    <a:pt x="24712" y="80684"/>
                  </a:lnTo>
                  <a:lnTo>
                    <a:pt x="26505" y="79789"/>
                  </a:lnTo>
                  <a:lnTo>
                    <a:pt x="28100" y="77700"/>
                  </a:lnTo>
                  <a:lnTo>
                    <a:pt x="30790" y="73422"/>
                  </a:lnTo>
                  <a:lnTo>
                    <a:pt x="34776" y="64468"/>
                  </a:lnTo>
                  <a:lnTo>
                    <a:pt x="35872" y="62976"/>
                  </a:lnTo>
                  <a:lnTo>
                    <a:pt x="40655" y="60787"/>
                  </a:lnTo>
                  <a:lnTo>
                    <a:pt x="41751" y="58897"/>
                  </a:lnTo>
                  <a:lnTo>
                    <a:pt x="42448" y="56409"/>
                  </a:lnTo>
                  <a:lnTo>
                    <a:pt x="44043" y="55216"/>
                  </a:lnTo>
                  <a:lnTo>
                    <a:pt x="46235" y="54917"/>
                  </a:lnTo>
                  <a:lnTo>
                    <a:pt x="48626" y="54917"/>
                  </a:lnTo>
                  <a:lnTo>
                    <a:pt x="48626" y="53823"/>
                  </a:lnTo>
                  <a:lnTo>
                    <a:pt x="47331" y="51733"/>
                  </a:lnTo>
                  <a:lnTo>
                    <a:pt x="47729" y="48649"/>
                  </a:lnTo>
                  <a:lnTo>
                    <a:pt x="49324" y="45565"/>
                  </a:lnTo>
                  <a:lnTo>
                    <a:pt x="51217" y="43675"/>
                  </a:lnTo>
                  <a:lnTo>
                    <a:pt x="52911" y="43178"/>
                  </a:lnTo>
                  <a:lnTo>
                    <a:pt x="54505" y="43277"/>
                  </a:lnTo>
                  <a:lnTo>
                    <a:pt x="56199" y="43178"/>
                  </a:lnTo>
                  <a:lnTo>
                    <a:pt x="57694" y="41984"/>
                  </a:lnTo>
                  <a:lnTo>
                    <a:pt x="62975" y="36412"/>
                  </a:lnTo>
                  <a:lnTo>
                    <a:pt x="64171" y="35418"/>
                  </a:lnTo>
                  <a:lnTo>
                    <a:pt x="67359" y="34323"/>
                  </a:lnTo>
                  <a:lnTo>
                    <a:pt x="68655" y="33627"/>
                  </a:lnTo>
                  <a:lnTo>
                    <a:pt x="70747" y="29747"/>
                  </a:lnTo>
                  <a:lnTo>
                    <a:pt x="71644" y="29050"/>
                  </a:lnTo>
                  <a:lnTo>
                    <a:pt x="74335" y="28553"/>
                  </a:lnTo>
                  <a:lnTo>
                    <a:pt x="77025" y="27061"/>
                  </a:lnTo>
                  <a:lnTo>
                    <a:pt x="84897" y="21191"/>
                  </a:lnTo>
                  <a:lnTo>
                    <a:pt x="82904" y="19102"/>
                  </a:lnTo>
                  <a:lnTo>
                    <a:pt x="78420" y="17410"/>
                  </a:lnTo>
                  <a:lnTo>
                    <a:pt x="74633" y="16614"/>
                  </a:lnTo>
                  <a:lnTo>
                    <a:pt x="76228" y="14625"/>
                  </a:lnTo>
                  <a:lnTo>
                    <a:pt x="78818" y="14227"/>
                  </a:lnTo>
                  <a:lnTo>
                    <a:pt x="84299" y="14426"/>
                  </a:lnTo>
                  <a:lnTo>
                    <a:pt x="91175" y="12536"/>
                  </a:lnTo>
                  <a:lnTo>
                    <a:pt x="93865" y="12237"/>
                  </a:lnTo>
                  <a:lnTo>
                    <a:pt x="96655" y="12536"/>
                  </a:lnTo>
                  <a:lnTo>
                    <a:pt x="101836" y="14127"/>
                  </a:lnTo>
                  <a:lnTo>
                    <a:pt x="104626" y="14426"/>
                  </a:lnTo>
                  <a:lnTo>
                    <a:pt x="107217" y="13829"/>
                  </a:lnTo>
                  <a:lnTo>
                    <a:pt x="111800" y="11342"/>
                  </a:lnTo>
                  <a:lnTo>
                    <a:pt x="114591" y="11043"/>
                  </a:lnTo>
                  <a:lnTo>
                    <a:pt x="114591" y="9949"/>
                  </a:lnTo>
                  <a:lnTo>
                    <a:pt x="112897" y="8556"/>
                  </a:lnTo>
                  <a:lnTo>
                    <a:pt x="110406" y="487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8" name="Freeform: Shape 1457">
              <a:extLst>
                <a:ext uri="{FF2B5EF4-FFF2-40B4-BE49-F238E27FC236}">
                  <a16:creationId xmlns:a16="http://schemas.microsoft.com/office/drawing/2014/main" id="{593D065A-38DC-4B9E-949E-0955CB3C996E}"/>
                </a:ext>
              </a:extLst>
            </p:cNvPr>
            <p:cNvSpPr/>
            <p:nvPr/>
          </p:nvSpPr>
          <p:spPr>
            <a:xfrm>
              <a:off x="2589582" y="1060870"/>
              <a:ext cx="13053" cy="16713"/>
            </a:xfrm>
            <a:custGeom>
              <a:avLst/>
              <a:gdLst>
                <a:gd name="connsiteX0" fmla="*/ 10961 w 13053"/>
                <a:gd name="connsiteY0" fmla="*/ 11938 h 16713"/>
                <a:gd name="connsiteX1" fmla="*/ 9067 w 13053"/>
                <a:gd name="connsiteY1" fmla="*/ 12336 h 16713"/>
                <a:gd name="connsiteX2" fmla="*/ 7872 w 13053"/>
                <a:gd name="connsiteY2" fmla="*/ 11839 h 16713"/>
                <a:gd name="connsiteX3" fmla="*/ 7872 w 13053"/>
                <a:gd name="connsiteY3" fmla="*/ 10546 h 16713"/>
                <a:gd name="connsiteX4" fmla="*/ 8569 w 13053"/>
                <a:gd name="connsiteY4" fmla="*/ 9053 h 16713"/>
                <a:gd name="connsiteX5" fmla="*/ 10562 w 13053"/>
                <a:gd name="connsiteY5" fmla="*/ 6367 h 16713"/>
                <a:gd name="connsiteX6" fmla="*/ 9267 w 13053"/>
                <a:gd name="connsiteY6" fmla="*/ 2985 h 16713"/>
                <a:gd name="connsiteX7" fmla="*/ 8370 w 13053"/>
                <a:gd name="connsiteY7" fmla="*/ 1791 h 16713"/>
                <a:gd name="connsiteX8" fmla="*/ 7074 w 13053"/>
                <a:gd name="connsiteY8" fmla="*/ 896 h 16713"/>
                <a:gd name="connsiteX9" fmla="*/ 3985 w 13053"/>
                <a:gd name="connsiteY9" fmla="*/ 0 h 16713"/>
                <a:gd name="connsiteX10" fmla="*/ 1694 w 13053"/>
                <a:gd name="connsiteY10" fmla="*/ 796 h 16713"/>
                <a:gd name="connsiteX11" fmla="*/ 199 w 13053"/>
                <a:gd name="connsiteY11" fmla="*/ 2985 h 16713"/>
                <a:gd name="connsiteX12" fmla="*/ 0 w 13053"/>
                <a:gd name="connsiteY12" fmla="*/ 6367 h 16713"/>
                <a:gd name="connsiteX13" fmla="*/ 398 w 13053"/>
                <a:gd name="connsiteY13" fmla="*/ 7959 h 16713"/>
                <a:gd name="connsiteX14" fmla="*/ 996 w 13053"/>
                <a:gd name="connsiteY14" fmla="*/ 9153 h 16713"/>
                <a:gd name="connsiteX15" fmla="*/ 1794 w 13053"/>
                <a:gd name="connsiteY15" fmla="*/ 10247 h 16713"/>
                <a:gd name="connsiteX16" fmla="*/ 2590 w 13053"/>
                <a:gd name="connsiteY16" fmla="*/ 11839 h 16713"/>
                <a:gd name="connsiteX17" fmla="*/ 3188 w 13053"/>
                <a:gd name="connsiteY17" fmla="*/ 14028 h 16713"/>
                <a:gd name="connsiteX18" fmla="*/ 2989 w 13053"/>
                <a:gd name="connsiteY18" fmla="*/ 15122 h 16713"/>
                <a:gd name="connsiteX19" fmla="*/ 3089 w 13053"/>
                <a:gd name="connsiteY19" fmla="*/ 15719 h 16713"/>
                <a:gd name="connsiteX20" fmla="*/ 4384 w 13053"/>
                <a:gd name="connsiteY20" fmla="*/ 16416 h 16713"/>
                <a:gd name="connsiteX21" fmla="*/ 5181 w 13053"/>
                <a:gd name="connsiteY21" fmla="*/ 16316 h 16713"/>
                <a:gd name="connsiteX22" fmla="*/ 5480 w 13053"/>
                <a:gd name="connsiteY22" fmla="*/ 14625 h 16713"/>
                <a:gd name="connsiteX23" fmla="*/ 6178 w 13053"/>
                <a:gd name="connsiteY23" fmla="*/ 14227 h 16713"/>
                <a:gd name="connsiteX24" fmla="*/ 6875 w 13053"/>
                <a:gd name="connsiteY24" fmla="*/ 14525 h 16713"/>
                <a:gd name="connsiteX25" fmla="*/ 7473 w 13053"/>
                <a:gd name="connsiteY25" fmla="*/ 15321 h 16713"/>
                <a:gd name="connsiteX26" fmla="*/ 7872 w 13053"/>
                <a:gd name="connsiteY26" fmla="*/ 16117 h 16713"/>
                <a:gd name="connsiteX27" fmla="*/ 7872 w 13053"/>
                <a:gd name="connsiteY27" fmla="*/ 16416 h 16713"/>
                <a:gd name="connsiteX28" fmla="*/ 10661 w 13053"/>
                <a:gd name="connsiteY28" fmla="*/ 16714 h 16713"/>
                <a:gd name="connsiteX29" fmla="*/ 12256 w 13053"/>
                <a:gd name="connsiteY29" fmla="*/ 16117 h 16713"/>
                <a:gd name="connsiteX30" fmla="*/ 13053 w 13053"/>
                <a:gd name="connsiteY30" fmla="*/ 14227 h 16713"/>
                <a:gd name="connsiteX31" fmla="*/ 12555 w 13053"/>
                <a:gd name="connsiteY31" fmla="*/ 12237 h 16713"/>
                <a:gd name="connsiteX32" fmla="*/ 10961 w 13053"/>
                <a:gd name="connsiteY32" fmla="*/ 11938 h 1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3053" h="16713">
                  <a:moveTo>
                    <a:pt x="10961" y="11938"/>
                  </a:moveTo>
                  <a:lnTo>
                    <a:pt x="9067" y="12336"/>
                  </a:lnTo>
                  <a:lnTo>
                    <a:pt x="7872" y="11839"/>
                  </a:lnTo>
                  <a:lnTo>
                    <a:pt x="7872" y="10546"/>
                  </a:lnTo>
                  <a:lnTo>
                    <a:pt x="8569" y="9053"/>
                  </a:lnTo>
                  <a:lnTo>
                    <a:pt x="10562" y="6367"/>
                  </a:lnTo>
                  <a:lnTo>
                    <a:pt x="9267" y="2985"/>
                  </a:lnTo>
                  <a:lnTo>
                    <a:pt x="8370" y="1791"/>
                  </a:lnTo>
                  <a:lnTo>
                    <a:pt x="7074" y="896"/>
                  </a:lnTo>
                  <a:lnTo>
                    <a:pt x="3985" y="0"/>
                  </a:lnTo>
                  <a:lnTo>
                    <a:pt x="1694" y="796"/>
                  </a:lnTo>
                  <a:lnTo>
                    <a:pt x="199" y="2985"/>
                  </a:lnTo>
                  <a:lnTo>
                    <a:pt x="0" y="6367"/>
                  </a:lnTo>
                  <a:lnTo>
                    <a:pt x="398" y="7959"/>
                  </a:lnTo>
                  <a:lnTo>
                    <a:pt x="996" y="9153"/>
                  </a:lnTo>
                  <a:lnTo>
                    <a:pt x="1794" y="10247"/>
                  </a:lnTo>
                  <a:lnTo>
                    <a:pt x="2590" y="11839"/>
                  </a:lnTo>
                  <a:lnTo>
                    <a:pt x="3188" y="14028"/>
                  </a:lnTo>
                  <a:lnTo>
                    <a:pt x="2989" y="15122"/>
                  </a:lnTo>
                  <a:lnTo>
                    <a:pt x="3089" y="15719"/>
                  </a:lnTo>
                  <a:lnTo>
                    <a:pt x="4384" y="16416"/>
                  </a:lnTo>
                  <a:lnTo>
                    <a:pt x="5181" y="16316"/>
                  </a:lnTo>
                  <a:lnTo>
                    <a:pt x="5480" y="14625"/>
                  </a:lnTo>
                  <a:lnTo>
                    <a:pt x="6178" y="14227"/>
                  </a:lnTo>
                  <a:lnTo>
                    <a:pt x="6875" y="14525"/>
                  </a:lnTo>
                  <a:lnTo>
                    <a:pt x="7473" y="15321"/>
                  </a:lnTo>
                  <a:lnTo>
                    <a:pt x="7872" y="16117"/>
                  </a:lnTo>
                  <a:lnTo>
                    <a:pt x="7872" y="16416"/>
                  </a:lnTo>
                  <a:lnTo>
                    <a:pt x="10661" y="16714"/>
                  </a:lnTo>
                  <a:lnTo>
                    <a:pt x="12256" y="16117"/>
                  </a:lnTo>
                  <a:lnTo>
                    <a:pt x="13053" y="14227"/>
                  </a:lnTo>
                  <a:lnTo>
                    <a:pt x="12555" y="12237"/>
                  </a:lnTo>
                  <a:lnTo>
                    <a:pt x="10961" y="1193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59" name="Freeform: Shape 1458">
              <a:extLst>
                <a:ext uri="{FF2B5EF4-FFF2-40B4-BE49-F238E27FC236}">
                  <a16:creationId xmlns:a16="http://schemas.microsoft.com/office/drawing/2014/main" id="{0B175951-9966-4620-AE54-40FB9D480865}"/>
                </a:ext>
              </a:extLst>
            </p:cNvPr>
            <p:cNvSpPr/>
            <p:nvPr/>
          </p:nvSpPr>
          <p:spPr>
            <a:xfrm>
              <a:off x="2270820" y="795039"/>
              <a:ext cx="96455" cy="59294"/>
            </a:xfrm>
            <a:custGeom>
              <a:avLst/>
              <a:gdLst>
                <a:gd name="connsiteX0" fmla="*/ 79117 w 96455"/>
                <a:gd name="connsiteY0" fmla="*/ 20992 h 59294"/>
                <a:gd name="connsiteX1" fmla="*/ 79018 w 96455"/>
                <a:gd name="connsiteY1" fmla="*/ 19698 h 59294"/>
                <a:gd name="connsiteX2" fmla="*/ 78321 w 96455"/>
                <a:gd name="connsiteY2" fmla="*/ 16714 h 59294"/>
                <a:gd name="connsiteX3" fmla="*/ 78221 w 96455"/>
                <a:gd name="connsiteY3" fmla="*/ 15818 h 59294"/>
                <a:gd name="connsiteX4" fmla="*/ 81210 w 96455"/>
                <a:gd name="connsiteY4" fmla="*/ 12436 h 59294"/>
                <a:gd name="connsiteX5" fmla="*/ 90377 w 96455"/>
                <a:gd name="connsiteY5" fmla="*/ 7362 h 59294"/>
                <a:gd name="connsiteX6" fmla="*/ 93765 w 96455"/>
                <a:gd name="connsiteY6" fmla="*/ 4576 h 59294"/>
                <a:gd name="connsiteX7" fmla="*/ 95459 w 96455"/>
                <a:gd name="connsiteY7" fmla="*/ 2686 h 59294"/>
                <a:gd name="connsiteX8" fmla="*/ 96057 w 96455"/>
                <a:gd name="connsiteY8" fmla="*/ 1890 h 59294"/>
                <a:gd name="connsiteX9" fmla="*/ 96455 w 96455"/>
                <a:gd name="connsiteY9" fmla="*/ 995 h 59294"/>
                <a:gd name="connsiteX10" fmla="*/ 95061 w 96455"/>
                <a:gd name="connsiteY10" fmla="*/ 2686 h 59294"/>
                <a:gd name="connsiteX11" fmla="*/ 93267 w 96455"/>
                <a:gd name="connsiteY11" fmla="*/ 3582 h 59294"/>
                <a:gd name="connsiteX12" fmla="*/ 89581 w 96455"/>
                <a:gd name="connsiteY12" fmla="*/ 4576 h 59294"/>
                <a:gd name="connsiteX13" fmla="*/ 90079 w 96455"/>
                <a:gd name="connsiteY13" fmla="*/ 3184 h 59294"/>
                <a:gd name="connsiteX14" fmla="*/ 91075 w 96455"/>
                <a:gd name="connsiteY14" fmla="*/ 1990 h 59294"/>
                <a:gd name="connsiteX15" fmla="*/ 93765 w 96455"/>
                <a:gd name="connsiteY15" fmla="*/ 0 h 59294"/>
                <a:gd name="connsiteX16" fmla="*/ 84399 w 96455"/>
                <a:gd name="connsiteY16" fmla="*/ 4676 h 59294"/>
                <a:gd name="connsiteX17" fmla="*/ 81708 w 96455"/>
                <a:gd name="connsiteY17" fmla="*/ 6765 h 59294"/>
                <a:gd name="connsiteX18" fmla="*/ 79616 w 96455"/>
                <a:gd name="connsiteY18" fmla="*/ 5969 h 59294"/>
                <a:gd name="connsiteX19" fmla="*/ 75530 w 96455"/>
                <a:gd name="connsiteY19" fmla="*/ 7561 h 59294"/>
                <a:gd name="connsiteX20" fmla="*/ 73936 w 96455"/>
                <a:gd name="connsiteY20" fmla="*/ 6765 h 59294"/>
                <a:gd name="connsiteX21" fmla="*/ 64271 w 96455"/>
                <a:gd name="connsiteY21" fmla="*/ 13630 h 59294"/>
                <a:gd name="connsiteX22" fmla="*/ 64271 w 96455"/>
                <a:gd name="connsiteY22" fmla="*/ 11342 h 59294"/>
                <a:gd name="connsiteX23" fmla="*/ 60285 w 96455"/>
                <a:gd name="connsiteY23" fmla="*/ 14923 h 59294"/>
                <a:gd name="connsiteX24" fmla="*/ 54306 w 96455"/>
                <a:gd name="connsiteY24" fmla="*/ 18803 h 59294"/>
                <a:gd name="connsiteX25" fmla="*/ 48527 w 96455"/>
                <a:gd name="connsiteY25" fmla="*/ 21589 h 59294"/>
                <a:gd name="connsiteX26" fmla="*/ 45139 w 96455"/>
                <a:gd name="connsiteY26" fmla="*/ 21489 h 59294"/>
                <a:gd name="connsiteX27" fmla="*/ 42748 w 96455"/>
                <a:gd name="connsiteY27" fmla="*/ 23678 h 59294"/>
                <a:gd name="connsiteX28" fmla="*/ 39659 w 96455"/>
                <a:gd name="connsiteY28" fmla="*/ 25469 h 59294"/>
                <a:gd name="connsiteX29" fmla="*/ 36370 w 96455"/>
                <a:gd name="connsiteY29" fmla="*/ 26364 h 59294"/>
                <a:gd name="connsiteX30" fmla="*/ 33879 w 96455"/>
                <a:gd name="connsiteY30" fmla="*/ 25966 h 59294"/>
                <a:gd name="connsiteX31" fmla="*/ 29495 w 96455"/>
                <a:gd name="connsiteY31" fmla="*/ 28951 h 59294"/>
                <a:gd name="connsiteX32" fmla="*/ 11659 w 96455"/>
                <a:gd name="connsiteY32" fmla="*/ 37507 h 59294"/>
                <a:gd name="connsiteX33" fmla="*/ 0 w 96455"/>
                <a:gd name="connsiteY33" fmla="*/ 45366 h 59294"/>
                <a:gd name="connsiteX34" fmla="*/ 1295 w 96455"/>
                <a:gd name="connsiteY34" fmla="*/ 47157 h 59294"/>
                <a:gd name="connsiteX35" fmla="*/ 3488 w 96455"/>
                <a:gd name="connsiteY35" fmla="*/ 47058 h 59294"/>
                <a:gd name="connsiteX36" fmla="*/ 7872 w 96455"/>
                <a:gd name="connsiteY36" fmla="*/ 45366 h 59294"/>
                <a:gd name="connsiteX37" fmla="*/ 7872 w 96455"/>
                <a:gd name="connsiteY37" fmla="*/ 46461 h 59294"/>
                <a:gd name="connsiteX38" fmla="*/ 2990 w 96455"/>
                <a:gd name="connsiteY38" fmla="*/ 48749 h 59294"/>
                <a:gd name="connsiteX39" fmla="*/ 1794 w 96455"/>
                <a:gd name="connsiteY39" fmla="*/ 49843 h 59294"/>
                <a:gd name="connsiteX40" fmla="*/ 0 w 96455"/>
                <a:gd name="connsiteY40" fmla="*/ 53723 h 59294"/>
                <a:gd name="connsiteX41" fmla="*/ 199 w 96455"/>
                <a:gd name="connsiteY41" fmla="*/ 55215 h 59294"/>
                <a:gd name="connsiteX42" fmla="*/ 598 w 96455"/>
                <a:gd name="connsiteY42" fmla="*/ 55315 h 59294"/>
                <a:gd name="connsiteX43" fmla="*/ 1097 w 96455"/>
                <a:gd name="connsiteY43" fmla="*/ 55116 h 59294"/>
                <a:gd name="connsiteX44" fmla="*/ 1794 w 96455"/>
                <a:gd name="connsiteY44" fmla="*/ 55514 h 59294"/>
                <a:gd name="connsiteX45" fmla="*/ 4185 w 96455"/>
                <a:gd name="connsiteY45" fmla="*/ 58300 h 59294"/>
                <a:gd name="connsiteX46" fmla="*/ 6975 w 96455"/>
                <a:gd name="connsiteY46" fmla="*/ 59294 h 59294"/>
                <a:gd name="connsiteX47" fmla="*/ 9865 w 96455"/>
                <a:gd name="connsiteY47" fmla="*/ 58797 h 59294"/>
                <a:gd name="connsiteX48" fmla="*/ 31588 w 96455"/>
                <a:gd name="connsiteY48" fmla="*/ 49644 h 59294"/>
                <a:gd name="connsiteX49" fmla="*/ 38264 w 96455"/>
                <a:gd name="connsiteY49" fmla="*/ 48649 h 59294"/>
                <a:gd name="connsiteX50" fmla="*/ 38264 w 96455"/>
                <a:gd name="connsiteY50" fmla="*/ 47555 h 59294"/>
                <a:gd name="connsiteX51" fmla="*/ 27004 w 96455"/>
                <a:gd name="connsiteY51" fmla="*/ 47555 h 59294"/>
                <a:gd name="connsiteX52" fmla="*/ 28598 w 96455"/>
                <a:gd name="connsiteY52" fmla="*/ 45665 h 59294"/>
                <a:gd name="connsiteX53" fmla="*/ 33381 w 96455"/>
                <a:gd name="connsiteY53" fmla="*/ 42979 h 59294"/>
                <a:gd name="connsiteX54" fmla="*/ 33879 w 96455"/>
                <a:gd name="connsiteY54" fmla="*/ 41785 h 59294"/>
                <a:gd name="connsiteX55" fmla="*/ 66961 w 96455"/>
                <a:gd name="connsiteY55" fmla="*/ 29548 h 59294"/>
                <a:gd name="connsiteX56" fmla="*/ 73438 w 96455"/>
                <a:gd name="connsiteY56" fmla="*/ 25867 h 59294"/>
                <a:gd name="connsiteX57" fmla="*/ 78619 w 96455"/>
                <a:gd name="connsiteY57" fmla="*/ 21688 h 59294"/>
                <a:gd name="connsiteX58" fmla="*/ 79117 w 96455"/>
                <a:gd name="connsiteY58" fmla="*/ 20992 h 5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96455" h="59294">
                  <a:moveTo>
                    <a:pt x="79117" y="20992"/>
                  </a:moveTo>
                  <a:lnTo>
                    <a:pt x="79018" y="19698"/>
                  </a:lnTo>
                  <a:lnTo>
                    <a:pt x="78321" y="16714"/>
                  </a:lnTo>
                  <a:lnTo>
                    <a:pt x="78221" y="15818"/>
                  </a:lnTo>
                  <a:lnTo>
                    <a:pt x="81210" y="12436"/>
                  </a:lnTo>
                  <a:lnTo>
                    <a:pt x="90377" y="7362"/>
                  </a:lnTo>
                  <a:lnTo>
                    <a:pt x="93765" y="4576"/>
                  </a:lnTo>
                  <a:lnTo>
                    <a:pt x="95459" y="2686"/>
                  </a:lnTo>
                  <a:lnTo>
                    <a:pt x="96057" y="1890"/>
                  </a:lnTo>
                  <a:lnTo>
                    <a:pt x="96455" y="995"/>
                  </a:lnTo>
                  <a:lnTo>
                    <a:pt x="95061" y="2686"/>
                  </a:lnTo>
                  <a:lnTo>
                    <a:pt x="93267" y="3582"/>
                  </a:lnTo>
                  <a:lnTo>
                    <a:pt x="89581" y="4576"/>
                  </a:lnTo>
                  <a:lnTo>
                    <a:pt x="90079" y="3184"/>
                  </a:lnTo>
                  <a:lnTo>
                    <a:pt x="91075" y="1990"/>
                  </a:lnTo>
                  <a:lnTo>
                    <a:pt x="93765" y="0"/>
                  </a:lnTo>
                  <a:lnTo>
                    <a:pt x="84399" y="4676"/>
                  </a:lnTo>
                  <a:lnTo>
                    <a:pt x="81708" y="6765"/>
                  </a:lnTo>
                  <a:lnTo>
                    <a:pt x="79616" y="5969"/>
                  </a:lnTo>
                  <a:lnTo>
                    <a:pt x="75530" y="7561"/>
                  </a:lnTo>
                  <a:lnTo>
                    <a:pt x="73936" y="6765"/>
                  </a:lnTo>
                  <a:lnTo>
                    <a:pt x="64271" y="13630"/>
                  </a:lnTo>
                  <a:lnTo>
                    <a:pt x="64271" y="11342"/>
                  </a:lnTo>
                  <a:lnTo>
                    <a:pt x="60285" y="14923"/>
                  </a:lnTo>
                  <a:lnTo>
                    <a:pt x="54306" y="18803"/>
                  </a:lnTo>
                  <a:lnTo>
                    <a:pt x="48527" y="21589"/>
                  </a:lnTo>
                  <a:lnTo>
                    <a:pt x="45139" y="21489"/>
                  </a:lnTo>
                  <a:lnTo>
                    <a:pt x="42748" y="23678"/>
                  </a:lnTo>
                  <a:lnTo>
                    <a:pt x="39659" y="25469"/>
                  </a:lnTo>
                  <a:lnTo>
                    <a:pt x="36370" y="26364"/>
                  </a:lnTo>
                  <a:lnTo>
                    <a:pt x="33879" y="25966"/>
                  </a:lnTo>
                  <a:lnTo>
                    <a:pt x="29495" y="28951"/>
                  </a:lnTo>
                  <a:lnTo>
                    <a:pt x="11659" y="37507"/>
                  </a:lnTo>
                  <a:lnTo>
                    <a:pt x="0" y="45366"/>
                  </a:lnTo>
                  <a:lnTo>
                    <a:pt x="1295" y="47157"/>
                  </a:lnTo>
                  <a:lnTo>
                    <a:pt x="3488" y="47058"/>
                  </a:lnTo>
                  <a:lnTo>
                    <a:pt x="7872" y="45366"/>
                  </a:lnTo>
                  <a:lnTo>
                    <a:pt x="7872" y="46461"/>
                  </a:lnTo>
                  <a:lnTo>
                    <a:pt x="2990" y="48749"/>
                  </a:lnTo>
                  <a:lnTo>
                    <a:pt x="1794" y="49843"/>
                  </a:lnTo>
                  <a:lnTo>
                    <a:pt x="0" y="53723"/>
                  </a:lnTo>
                  <a:lnTo>
                    <a:pt x="199" y="55215"/>
                  </a:lnTo>
                  <a:lnTo>
                    <a:pt x="598" y="55315"/>
                  </a:lnTo>
                  <a:lnTo>
                    <a:pt x="1097" y="55116"/>
                  </a:lnTo>
                  <a:lnTo>
                    <a:pt x="1794" y="55514"/>
                  </a:lnTo>
                  <a:lnTo>
                    <a:pt x="4185" y="58300"/>
                  </a:lnTo>
                  <a:lnTo>
                    <a:pt x="6975" y="59294"/>
                  </a:lnTo>
                  <a:lnTo>
                    <a:pt x="9865" y="58797"/>
                  </a:lnTo>
                  <a:lnTo>
                    <a:pt x="31588" y="49644"/>
                  </a:lnTo>
                  <a:lnTo>
                    <a:pt x="38264" y="48649"/>
                  </a:lnTo>
                  <a:lnTo>
                    <a:pt x="38264" y="47555"/>
                  </a:lnTo>
                  <a:lnTo>
                    <a:pt x="27004" y="47555"/>
                  </a:lnTo>
                  <a:lnTo>
                    <a:pt x="28598" y="45665"/>
                  </a:lnTo>
                  <a:lnTo>
                    <a:pt x="33381" y="42979"/>
                  </a:lnTo>
                  <a:lnTo>
                    <a:pt x="33879" y="41785"/>
                  </a:lnTo>
                  <a:lnTo>
                    <a:pt x="66961" y="29548"/>
                  </a:lnTo>
                  <a:lnTo>
                    <a:pt x="73438" y="25867"/>
                  </a:lnTo>
                  <a:lnTo>
                    <a:pt x="78619" y="21688"/>
                  </a:lnTo>
                  <a:lnTo>
                    <a:pt x="79117" y="209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0" name="Freeform: Shape 1459">
              <a:extLst>
                <a:ext uri="{FF2B5EF4-FFF2-40B4-BE49-F238E27FC236}">
                  <a16:creationId xmlns:a16="http://schemas.microsoft.com/office/drawing/2014/main" id="{7C74C282-1152-45B1-AA16-ED54EBD3C11E}"/>
                </a:ext>
              </a:extLst>
            </p:cNvPr>
            <p:cNvSpPr/>
            <p:nvPr/>
          </p:nvSpPr>
          <p:spPr>
            <a:xfrm>
              <a:off x="5084569" y="1310285"/>
              <a:ext cx="9864" cy="16216"/>
            </a:xfrm>
            <a:custGeom>
              <a:avLst/>
              <a:gdLst>
                <a:gd name="connsiteX0" fmla="*/ 6776 w 9864"/>
                <a:gd name="connsiteY0" fmla="*/ 10645 h 16216"/>
                <a:gd name="connsiteX1" fmla="*/ 8669 w 9864"/>
                <a:gd name="connsiteY1" fmla="*/ 7064 h 16216"/>
                <a:gd name="connsiteX2" fmla="*/ 9068 w 9864"/>
                <a:gd name="connsiteY2" fmla="*/ 4278 h 16216"/>
                <a:gd name="connsiteX3" fmla="*/ 9666 w 9864"/>
                <a:gd name="connsiteY3" fmla="*/ 2388 h 16216"/>
                <a:gd name="connsiteX4" fmla="*/ 9865 w 9864"/>
                <a:gd name="connsiteY4" fmla="*/ 398 h 16216"/>
                <a:gd name="connsiteX5" fmla="*/ 7872 w 9864"/>
                <a:gd name="connsiteY5" fmla="*/ 0 h 16216"/>
                <a:gd name="connsiteX6" fmla="*/ 5381 w 9864"/>
                <a:gd name="connsiteY6" fmla="*/ 1393 h 16216"/>
                <a:gd name="connsiteX7" fmla="*/ 3488 w 9864"/>
                <a:gd name="connsiteY7" fmla="*/ 4079 h 16216"/>
                <a:gd name="connsiteX8" fmla="*/ 1395 w 9864"/>
                <a:gd name="connsiteY8" fmla="*/ 5969 h 16216"/>
                <a:gd name="connsiteX9" fmla="*/ 0 w 9864"/>
                <a:gd name="connsiteY9" fmla="*/ 7661 h 16216"/>
                <a:gd name="connsiteX10" fmla="*/ 299 w 9864"/>
                <a:gd name="connsiteY10" fmla="*/ 10148 h 16216"/>
                <a:gd name="connsiteX11" fmla="*/ 1395 w 9864"/>
                <a:gd name="connsiteY11" fmla="*/ 12635 h 16216"/>
                <a:gd name="connsiteX12" fmla="*/ 3886 w 9864"/>
                <a:gd name="connsiteY12" fmla="*/ 16216 h 16216"/>
                <a:gd name="connsiteX13" fmla="*/ 4882 w 9864"/>
                <a:gd name="connsiteY13" fmla="*/ 14525 h 16216"/>
                <a:gd name="connsiteX14" fmla="*/ 6776 w 9864"/>
                <a:gd name="connsiteY14" fmla="*/ 10645 h 1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864" h="16216">
                  <a:moveTo>
                    <a:pt x="6776" y="10645"/>
                  </a:moveTo>
                  <a:lnTo>
                    <a:pt x="8669" y="7064"/>
                  </a:lnTo>
                  <a:lnTo>
                    <a:pt x="9068" y="4278"/>
                  </a:lnTo>
                  <a:lnTo>
                    <a:pt x="9666" y="2388"/>
                  </a:lnTo>
                  <a:lnTo>
                    <a:pt x="9865" y="398"/>
                  </a:lnTo>
                  <a:lnTo>
                    <a:pt x="7872" y="0"/>
                  </a:lnTo>
                  <a:lnTo>
                    <a:pt x="5381" y="1393"/>
                  </a:lnTo>
                  <a:lnTo>
                    <a:pt x="3488" y="4079"/>
                  </a:lnTo>
                  <a:lnTo>
                    <a:pt x="1395" y="5969"/>
                  </a:lnTo>
                  <a:lnTo>
                    <a:pt x="0" y="7661"/>
                  </a:lnTo>
                  <a:lnTo>
                    <a:pt x="299" y="10148"/>
                  </a:lnTo>
                  <a:lnTo>
                    <a:pt x="1395" y="12635"/>
                  </a:lnTo>
                  <a:lnTo>
                    <a:pt x="3886" y="16216"/>
                  </a:lnTo>
                  <a:lnTo>
                    <a:pt x="4882" y="14525"/>
                  </a:lnTo>
                  <a:lnTo>
                    <a:pt x="6776" y="1064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1" name="Freeform: Shape 1460">
              <a:extLst>
                <a:ext uri="{FF2B5EF4-FFF2-40B4-BE49-F238E27FC236}">
                  <a16:creationId xmlns:a16="http://schemas.microsoft.com/office/drawing/2014/main" id="{6E5F3B6C-C786-41E1-87E5-1CC3EFC0CB83}"/>
                </a:ext>
              </a:extLst>
            </p:cNvPr>
            <p:cNvSpPr/>
            <p:nvPr/>
          </p:nvSpPr>
          <p:spPr>
            <a:xfrm>
              <a:off x="5080982" y="1321825"/>
              <a:ext cx="7473" cy="9152"/>
            </a:xfrm>
            <a:custGeom>
              <a:avLst/>
              <a:gdLst>
                <a:gd name="connsiteX0" fmla="*/ 1993 w 7473"/>
                <a:gd name="connsiteY0" fmla="*/ 1691 h 9152"/>
                <a:gd name="connsiteX1" fmla="*/ 897 w 7473"/>
                <a:gd name="connsiteY1" fmla="*/ 0 h 9152"/>
                <a:gd name="connsiteX2" fmla="*/ 0 w 7473"/>
                <a:gd name="connsiteY2" fmla="*/ 1691 h 9152"/>
                <a:gd name="connsiteX3" fmla="*/ 0 w 7473"/>
                <a:gd name="connsiteY3" fmla="*/ 4477 h 9152"/>
                <a:gd name="connsiteX4" fmla="*/ 3487 w 7473"/>
                <a:gd name="connsiteY4" fmla="*/ 7561 h 9152"/>
                <a:gd name="connsiteX5" fmla="*/ 4185 w 7473"/>
                <a:gd name="connsiteY5" fmla="*/ 8854 h 9152"/>
                <a:gd name="connsiteX6" fmla="*/ 7075 w 7473"/>
                <a:gd name="connsiteY6" fmla="*/ 9153 h 9152"/>
                <a:gd name="connsiteX7" fmla="*/ 7473 w 7473"/>
                <a:gd name="connsiteY7" fmla="*/ 7263 h 9152"/>
                <a:gd name="connsiteX8" fmla="*/ 5281 w 7473"/>
                <a:gd name="connsiteY8" fmla="*/ 4775 h 9152"/>
                <a:gd name="connsiteX9" fmla="*/ 1993 w 7473"/>
                <a:gd name="connsiteY9" fmla="*/ 1691 h 9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73" h="9152">
                  <a:moveTo>
                    <a:pt x="1993" y="1691"/>
                  </a:moveTo>
                  <a:lnTo>
                    <a:pt x="897" y="0"/>
                  </a:lnTo>
                  <a:lnTo>
                    <a:pt x="0" y="1691"/>
                  </a:lnTo>
                  <a:lnTo>
                    <a:pt x="0" y="4477"/>
                  </a:lnTo>
                  <a:lnTo>
                    <a:pt x="3487" y="7561"/>
                  </a:lnTo>
                  <a:lnTo>
                    <a:pt x="4185" y="8854"/>
                  </a:lnTo>
                  <a:lnTo>
                    <a:pt x="7075" y="9153"/>
                  </a:lnTo>
                  <a:lnTo>
                    <a:pt x="7473" y="7263"/>
                  </a:lnTo>
                  <a:lnTo>
                    <a:pt x="5281" y="4775"/>
                  </a:lnTo>
                  <a:lnTo>
                    <a:pt x="1993" y="169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2" name="Freeform: Shape 1461">
              <a:extLst>
                <a:ext uri="{FF2B5EF4-FFF2-40B4-BE49-F238E27FC236}">
                  <a16:creationId xmlns:a16="http://schemas.microsoft.com/office/drawing/2014/main" id="{ECB357A7-490F-4DE6-ACF1-D5F5672A7CFF}"/>
                </a:ext>
              </a:extLst>
            </p:cNvPr>
            <p:cNvSpPr/>
            <p:nvPr/>
          </p:nvSpPr>
          <p:spPr>
            <a:xfrm>
              <a:off x="3939360" y="1413453"/>
              <a:ext cx="17437" cy="13032"/>
            </a:xfrm>
            <a:custGeom>
              <a:avLst/>
              <a:gdLst>
                <a:gd name="connsiteX0" fmla="*/ 2691 w 17437"/>
                <a:gd name="connsiteY0" fmla="*/ 13033 h 13032"/>
                <a:gd name="connsiteX1" fmla="*/ 3787 w 17437"/>
                <a:gd name="connsiteY1" fmla="*/ 12734 h 13032"/>
                <a:gd name="connsiteX2" fmla="*/ 7473 w 17437"/>
                <a:gd name="connsiteY2" fmla="*/ 9750 h 13032"/>
                <a:gd name="connsiteX3" fmla="*/ 9666 w 17437"/>
                <a:gd name="connsiteY3" fmla="*/ 8854 h 13032"/>
                <a:gd name="connsiteX4" fmla="*/ 12456 w 17437"/>
                <a:gd name="connsiteY4" fmla="*/ 6964 h 13032"/>
                <a:gd name="connsiteX5" fmla="*/ 15046 w 17437"/>
                <a:gd name="connsiteY5" fmla="*/ 4477 h 13032"/>
                <a:gd name="connsiteX6" fmla="*/ 16840 w 17437"/>
                <a:gd name="connsiteY6" fmla="*/ 1592 h 13032"/>
                <a:gd name="connsiteX7" fmla="*/ 17238 w 17437"/>
                <a:gd name="connsiteY7" fmla="*/ 1194 h 13032"/>
                <a:gd name="connsiteX8" fmla="*/ 17438 w 17437"/>
                <a:gd name="connsiteY8" fmla="*/ 696 h 13032"/>
                <a:gd name="connsiteX9" fmla="*/ 17438 w 17437"/>
                <a:gd name="connsiteY9" fmla="*/ 0 h 13032"/>
                <a:gd name="connsiteX10" fmla="*/ 15744 w 17437"/>
                <a:gd name="connsiteY10" fmla="*/ 99 h 13032"/>
                <a:gd name="connsiteX11" fmla="*/ 14449 w 17437"/>
                <a:gd name="connsiteY11" fmla="*/ 796 h 13032"/>
                <a:gd name="connsiteX12" fmla="*/ 12256 w 17437"/>
                <a:gd name="connsiteY12" fmla="*/ 3184 h 13032"/>
                <a:gd name="connsiteX13" fmla="*/ 11559 w 17437"/>
                <a:gd name="connsiteY13" fmla="*/ 796 h 13032"/>
                <a:gd name="connsiteX14" fmla="*/ 9964 w 17437"/>
                <a:gd name="connsiteY14" fmla="*/ 1890 h 13032"/>
                <a:gd name="connsiteX15" fmla="*/ 7075 w 17437"/>
                <a:gd name="connsiteY15" fmla="*/ 6467 h 13032"/>
                <a:gd name="connsiteX16" fmla="*/ 6178 w 17437"/>
                <a:gd name="connsiteY16" fmla="*/ 5472 h 13032"/>
                <a:gd name="connsiteX17" fmla="*/ 6477 w 17437"/>
                <a:gd name="connsiteY17" fmla="*/ 5173 h 13032"/>
                <a:gd name="connsiteX18" fmla="*/ 6676 w 17437"/>
                <a:gd name="connsiteY18" fmla="*/ 5173 h 13032"/>
                <a:gd name="connsiteX19" fmla="*/ 6776 w 17437"/>
                <a:gd name="connsiteY19" fmla="*/ 4974 h 13032"/>
                <a:gd name="connsiteX20" fmla="*/ 7075 w 17437"/>
                <a:gd name="connsiteY20" fmla="*/ 4377 h 13032"/>
                <a:gd name="connsiteX21" fmla="*/ 5580 w 17437"/>
                <a:gd name="connsiteY21" fmla="*/ 4377 h 13032"/>
                <a:gd name="connsiteX22" fmla="*/ 4285 w 17437"/>
                <a:gd name="connsiteY22" fmla="*/ 4676 h 13032"/>
                <a:gd name="connsiteX23" fmla="*/ 3288 w 17437"/>
                <a:gd name="connsiteY23" fmla="*/ 5372 h 13032"/>
                <a:gd name="connsiteX24" fmla="*/ 2691 w 17437"/>
                <a:gd name="connsiteY24" fmla="*/ 6467 h 13032"/>
                <a:gd name="connsiteX25" fmla="*/ 2292 w 17437"/>
                <a:gd name="connsiteY25" fmla="*/ 6367 h 13032"/>
                <a:gd name="connsiteX26" fmla="*/ 1794 w 17437"/>
                <a:gd name="connsiteY26" fmla="*/ 6268 h 13032"/>
                <a:gd name="connsiteX27" fmla="*/ 1096 w 17437"/>
                <a:gd name="connsiteY27" fmla="*/ 6268 h 13032"/>
                <a:gd name="connsiteX28" fmla="*/ 0 w 17437"/>
                <a:gd name="connsiteY28" fmla="*/ 6467 h 13032"/>
                <a:gd name="connsiteX29" fmla="*/ 0 w 17437"/>
                <a:gd name="connsiteY29" fmla="*/ 7661 h 13032"/>
                <a:gd name="connsiteX30" fmla="*/ 1694 w 17437"/>
                <a:gd name="connsiteY30" fmla="*/ 8158 h 13032"/>
                <a:gd name="connsiteX31" fmla="*/ 1794 w 17437"/>
                <a:gd name="connsiteY31" fmla="*/ 9750 h 13032"/>
                <a:gd name="connsiteX32" fmla="*/ 1595 w 17437"/>
                <a:gd name="connsiteY32" fmla="*/ 11541 h 13032"/>
                <a:gd name="connsiteX33" fmla="*/ 2691 w 17437"/>
                <a:gd name="connsiteY33" fmla="*/ 13033 h 13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437" h="13032">
                  <a:moveTo>
                    <a:pt x="2691" y="13033"/>
                  </a:moveTo>
                  <a:lnTo>
                    <a:pt x="3787" y="12734"/>
                  </a:lnTo>
                  <a:lnTo>
                    <a:pt x="7473" y="9750"/>
                  </a:lnTo>
                  <a:lnTo>
                    <a:pt x="9666" y="8854"/>
                  </a:lnTo>
                  <a:lnTo>
                    <a:pt x="12456" y="6964"/>
                  </a:lnTo>
                  <a:lnTo>
                    <a:pt x="15046" y="4477"/>
                  </a:lnTo>
                  <a:lnTo>
                    <a:pt x="16840" y="1592"/>
                  </a:lnTo>
                  <a:lnTo>
                    <a:pt x="17238" y="1194"/>
                  </a:lnTo>
                  <a:lnTo>
                    <a:pt x="17438" y="696"/>
                  </a:lnTo>
                  <a:lnTo>
                    <a:pt x="17438" y="0"/>
                  </a:lnTo>
                  <a:lnTo>
                    <a:pt x="15744" y="99"/>
                  </a:lnTo>
                  <a:lnTo>
                    <a:pt x="14449" y="796"/>
                  </a:lnTo>
                  <a:lnTo>
                    <a:pt x="12256" y="3184"/>
                  </a:lnTo>
                  <a:lnTo>
                    <a:pt x="11559" y="796"/>
                  </a:lnTo>
                  <a:lnTo>
                    <a:pt x="9964" y="1890"/>
                  </a:lnTo>
                  <a:lnTo>
                    <a:pt x="7075" y="6467"/>
                  </a:lnTo>
                  <a:lnTo>
                    <a:pt x="6178" y="5472"/>
                  </a:lnTo>
                  <a:lnTo>
                    <a:pt x="6477" y="5173"/>
                  </a:lnTo>
                  <a:lnTo>
                    <a:pt x="6676" y="5173"/>
                  </a:lnTo>
                  <a:lnTo>
                    <a:pt x="6776" y="4974"/>
                  </a:lnTo>
                  <a:lnTo>
                    <a:pt x="7075" y="4377"/>
                  </a:lnTo>
                  <a:lnTo>
                    <a:pt x="5580" y="4377"/>
                  </a:lnTo>
                  <a:lnTo>
                    <a:pt x="4285" y="4676"/>
                  </a:lnTo>
                  <a:lnTo>
                    <a:pt x="3288" y="5372"/>
                  </a:lnTo>
                  <a:lnTo>
                    <a:pt x="2691" y="6467"/>
                  </a:lnTo>
                  <a:lnTo>
                    <a:pt x="2292" y="6367"/>
                  </a:lnTo>
                  <a:lnTo>
                    <a:pt x="1794" y="6268"/>
                  </a:lnTo>
                  <a:lnTo>
                    <a:pt x="1096" y="6268"/>
                  </a:lnTo>
                  <a:lnTo>
                    <a:pt x="0" y="6467"/>
                  </a:lnTo>
                  <a:lnTo>
                    <a:pt x="0" y="7661"/>
                  </a:lnTo>
                  <a:lnTo>
                    <a:pt x="1694" y="8158"/>
                  </a:lnTo>
                  <a:lnTo>
                    <a:pt x="1794" y="9750"/>
                  </a:lnTo>
                  <a:lnTo>
                    <a:pt x="1595" y="11541"/>
                  </a:lnTo>
                  <a:lnTo>
                    <a:pt x="2691" y="1303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3" name="Freeform: Shape 1462">
              <a:extLst>
                <a:ext uri="{FF2B5EF4-FFF2-40B4-BE49-F238E27FC236}">
                  <a16:creationId xmlns:a16="http://schemas.microsoft.com/office/drawing/2014/main" id="{607F2337-2924-44B2-9E1C-44C79D399520}"/>
                </a:ext>
              </a:extLst>
            </p:cNvPr>
            <p:cNvSpPr/>
            <p:nvPr/>
          </p:nvSpPr>
          <p:spPr>
            <a:xfrm>
              <a:off x="3562705" y="1620586"/>
              <a:ext cx="14548" cy="14823"/>
            </a:xfrm>
            <a:custGeom>
              <a:avLst/>
              <a:gdLst>
                <a:gd name="connsiteX0" fmla="*/ 199 w 14548"/>
                <a:gd name="connsiteY0" fmla="*/ 9451 h 14823"/>
                <a:gd name="connsiteX1" fmla="*/ 1495 w 14548"/>
                <a:gd name="connsiteY1" fmla="*/ 10446 h 14823"/>
                <a:gd name="connsiteX2" fmla="*/ 3189 w 14548"/>
                <a:gd name="connsiteY2" fmla="*/ 12535 h 14823"/>
                <a:gd name="connsiteX3" fmla="*/ 5281 w 14548"/>
                <a:gd name="connsiteY3" fmla="*/ 14426 h 14823"/>
                <a:gd name="connsiteX4" fmla="*/ 7473 w 14548"/>
                <a:gd name="connsiteY4" fmla="*/ 14824 h 14823"/>
                <a:gd name="connsiteX5" fmla="*/ 14050 w 14548"/>
                <a:gd name="connsiteY5" fmla="*/ 5372 h 14823"/>
                <a:gd name="connsiteX6" fmla="*/ 14548 w 14548"/>
                <a:gd name="connsiteY6" fmla="*/ 3383 h 14823"/>
                <a:gd name="connsiteX7" fmla="*/ 13452 w 14548"/>
                <a:gd name="connsiteY7" fmla="*/ 1890 h 14823"/>
                <a:gd name="connsiteX8" fmla="*/ 10164 w 14548"/>
                <a:gd name="connsiteY8" fmla="*/ 895 h 14823"/>
                <a:gd name="connsiteX9" fmla="*/ 8171 w 14548"/>
                <a:gd name="connsiteY9" fmla="*/ 0 h 14823"/>
                <a:gd name="connsiteX10" fmla="*/ 6078 w 14548"/>
                <a:gd name="connsiteY10" fmla="*/ 199 h 14823"/>
                <a:gd name="connsiteX11" fmla="*/ 3886 w 14548"/>
                <a:gd name="connsiteY11" fmla="*/ 796 h 14823"/>
                <a:gd name="connsiteX12" fmla="*/ 1495 w 14548"/>
                <a:gd name="connsiteY12" fmla="*/ 895 h 14823"/>
                <a:gd name="connsiteX13" fmla="*/ 1694 w 14548"/>
                <a:gd name="connsiteY13" fmla="*/ 3184 h 14823"/>
                <a:gd name="connsiteX14" fmla="*/ 0 w 14548"/>
                <a:gd name="connsiteY14" fmla="*/ 8456 h 14823"/>
                <a:gd name="connsiteX15" fmla="*/ 199 w 14548"/>
                <a:gd name="connsiteY15" fmla="*/ 9451 h 14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548" h="14823">
                  <a:moveTo>
                    <a:pt x="199" y="9451"/>
                  </a:moveTo>
                  <a:lnTo>
                    <a:pt x="1495" y="10446"/>
                  </a:lnTo>
                  <a:lnTo>
                    <a:pt x="3189" y="12535"/>
                  </a:lnTo>
                  <a:lnTo>
                    <a:pt x="5281" y="14426"/>
                  </a:lnTo>
                  <a:lnTo>
                    <a:pt x="7473" y="14824"/>
                  </a:lnTo>
                  <a:lnTo>
                    <a:pt x="14050" y="5372"/>
                  </a:lnTo>
                  <a:lnTo>
                    <a:pt x="14548" y="3383"/>
                  </a:lnTo>
                  <a:lnTo>
                    <a:pt x="13452" y="1890"/>
                  </a:lnTo>
                  <a:lnTo>
                    <a:pt x="10164" y="895"/>
                  </a:lnTo>
                  <a:lnTo>
                    <a:pt x="8171" y="0"/>
                  </a:lnTo>
                  <a:lnTo>
                    <a:pt x="6078" y="199"/>
                  </a:lnTo>
                  <a:lnTo>
                    <a:pt x="3886" y="796"/>
                  </a:lnTo>
                  <a:lnTo>
                    <a:pt x="1495" y="895"/>
                  </a:lnTo>
                  <a:lnTo>
                    <a:pt x="1694" y="3184"/>
                  </a:lnTo>
                  <a:lnTo>
                    <a:pt x="0" y="8456"/>
                  </a:lnTo>
                  <a:lnTo>
                    <a:pt x="199" y="945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4" name="Freeform: Shape 1463">
              <a:extLst>
                <a:ext uri="{FF2B5EF4-FFF2-40B4-BE49-F238E27FC236}">
                  <a16:creationId xmlns:a16="http://schemas.microsoft.com/office/drawing/2014/main" id="{3EC5B0CF-1983-48E5-9E77-2C010BD192EF}"/>
                </a:ext>
              </a:extLst>
            </p:cNvPr>
            <p:cNvSpPr/>
            <p:nvPr/>
          </p:nvSpPr>
          <p:spPr>
            <a:xfrm>
              <a:off x="3925609" y="1424198"/>
              <a:ext cx="12057" cy="7859"/>
            </a:xfrm>
            <a:custGeom>
              <a:avLst/>
              <a:gdLst>
                <a:gd name="connsiteX0" fmla="*/ 11858 w 12057"/>
                <a:gd name="connsiteY0" fmla="*/ 1094 h 7859"/>
                <a:gd name="connsiteX1" fmla="*/ 11160 w 12057"/>
                <a:gd name="connsiteY1" fmla="*/ 99 h 7859"/>
                <a:gd name="connsiteX2" fmla="*/ 10363 w 12057"/>
                <a:gd name="connsiteY2" fmla="*/ 0 h 7859"/>
                <a:gd name="connsiteX3" fmla="*/ 9367 w 12057"/>
                <a:gd name="connsiteY3" fmla="*/ 597 h 7859"/>
                <a:gd name="connsiteX4" fmla="*/ 8271 w 12057"/>
                <a:gd name="connsiteY4" fmla="*/ 895 h 7859"/>
                <a:gd name="connsiteX5" fmla="*/ 6875 w 12057"/>
                <a:gd name="connsiteY5" fmla="*/ 99 h 7859"/>
                <a:gd name="connsiteX6" fmla="*/ 5381 w 12057"/>
                <a:gd name="connsiteY6" fmla="*/ 1293 h 7859"/>
                <a:gd name="connsiteX7" fmla="*/ 2093 w 12057"/>
                <a:gd name="connsiteY7" fmla="*/ 2288 h 7859"/>
                <a:gd name="connsiteX8" fmla="*/ 698 w 12057"/>
                <a:gd name="connsiteY8" fmla="*/ 3383 h 7859"/>
                <a:gd name="connsiteX9" fmla="*/ 299 w 12057"/>
                <a:gd name="connsiteY9" fmla="*/ 4477 h 7859"/>
                <a:gd name="connsiteX10" fmla="*/ 0 w 12057"/>
                <a:gd name="connsiteY10" fmla="*/ 5969 h 7859"/>
                <a:gd name="connsiteX11" fmla="*/ 299 w 12057"/>
                <a:gd name="connsiteY11" fmla="*/ 7263 h 7859"/>
                <a:gd name="connsiteX12" fmla="*/ 1196 w 12057"/>
                <a:gd name="connsiteY12" fmla="*/ 7859 h 7859"/>
                <a:gd name="connsiteX13" fmla="*/ 4285 w 12057"/>
                <a:gd name="connsiteY13" fmla="*/ 7163 h 7859"/>
                <a:gd name="connsiteX14" fmla="*/ 9068 w 12057"/>
                <a:gd name="connsiteY14" fmla="*/ 3681 h 7859"/>
                <a:gd name="connsiteX15" fmla="*/ 12057 w 12057"/>
                <a:gd name="connsiteY15" fmla="*/ 2288 h 7859"/>
                <a:gd name="connsiteX16" fmla="*/ 12057 w 12057"/>
                <a:gd name="connsiteY16" fmla="*/ 1592 h 7859"/>
                <a:gd name="connsiteX17" fmla="*/ 11858 w 12057"/>
                <a:gd name="connsiteY17" fmla="*/ 1094 h 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57" h="7859">
                  <a:moveTo>
                    <a:pt x="11858" y="1094"/>
                  </a:moveTo>
                  <a:lnTo>
                    <a:pt x="11160" y="99"/>
                  </a:lnTo>
                  <a:lnTo>
                    <a:pt x="10363" y="0"/>
                  </a:lnTo>
                  <a:lnTo>
                    <a:pt x="9367" y="597"/>
                  </a:lnTo>
                  <a:lnTo>
                    <a:pt x="8271" y="895"/>
                  </a:lnTo>
                  <a:lnTo>
                    <a:pt x="6875" y="99"/>
                  </a:lnTo>
                  <a:lnTo>
                    <a:pt x="5381" y="1293"/>
                  </a:lnTo>
                  <a:lnTo>
                    <a:pt x="2093" y="2288"/>
                  </a:lnTo>
                  <a:lnTo>
                    <a:pt x="698" y="3383"/>
                  </a:lnTo>
                  <a:lnTo>
                    <a:pt x="299" y="4477"/>
                  </a:lnTo>
                  <a:lnTo>
                    <a:pt x="0" y="5969"/>
                  </a:lnTo>
                  <a:lnTo>
                    <a:pt x="299" y="7263"/>
                  </a:lnTo>
                  <a:lnTo>
                    <a:pt x="1196" y="7859"/>
                  </a:lnTo>
                  <a:lnTo>
                    <a:pt x="4285" y="7163"/>
                  </a:lnTo>
                  <a:lnTo>
                    <a:pt x="9068" y="3681"/>
                  </a:lnTo>
                  <a:lnTo>
                    <a:pt x="12057" y="2288"/>
                  </a:lnTo>
                  <a:lnTo>
                    <a:pt x="12057" y="1592"/>
                  </a:lnTo>
                  <a:lnTo>
                    <a:pt x="11858" y="10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5" name="Freeform: Shape 1464">
              <a:extLst>
                <a:ext uri="{FF2B5EF4-FFF2-40B4-BE49-F238E27FC236}">
                  <a16:creationId xmlns:a16="http://schemas.microsoft.com/office/drawing/2014/main" id="{B09D3085-91D6-4DB5-880E-DC284CB699BB}"/>
                </a:ext>
              </a:extLst>
            </p:cNvPr>
            <p:cNvSpPr/>
            <p:nvPr/>
          </p:nvSpPr>
          <p:spPr>
            <a:xfrm>
              <a:off x="-2022843" y="661627"/>
              <a:ext cx="6975" cy="3382"/>
            </a:xfrm>
            <a:custGeom>
              <a:avLst/>
              <a:gdLst>
                <a:gd name="connsiteX0" fmla="*/ 100 w 6975"/>
                <a:gd name="connsiteY0" fmla="*/ 796 h 3382"/>
                <a:gd name="connsiteX1" fmla="*/ 299 w 6975"/>
                <a:gd name="connsiteY1" fmla="*/ 3383 h 3382"/>
                <a:gd name="connsiteX2" fmla="*/ 5779 w 6975"/>
                <a:gd name="connsiteY2" fmla="*/ 1393 h 3382"/>
                <a:gd name="connsiteX3" fmla="*/ 6975 w 6975"/>
                <a:gd name="connsiteY3" fmla="*/ 0 h 3382"/>
                <a:gd name="connsiteX4" fmla="*/ 0 w 6975"/>
                <a:gd name="connsiteY4" fmla="*/ 0 h 3382"/>
                <a:gd name="connsiteX5" fmla="*/ 100 w 6975"/>
                <a:gd name="connsiteY5" fmla="*/ 796 h 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975" h="3382">
                  <a:moveTo>
                    <a:pt x="100" y="796"/>
                  </a:moveTo>
                  <a:lnTo>
                    <a:pt x="299" y="3383"/>
                  </a:lnTo>
                  <a:lnTo>
                    <a:pt x="5779" y="1393"/>
                  </a:lnTo>
                  <a:lnTo>
                    <a:pt x="6975" y="0"/>
                  </a:lnTo>
                  <a:lnTo>
                    <a:pt x="0" y="0"/>
                  </a:lnTo>
                  <a:lnTo>
                    <a:pt x="100" y="796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6" name="Freeform: Shape 1465">
              <a:extLst>
                <a:ext uri="{FF2B5EF4-FFF2-40B4-BE49-F238E27FC236}">
                  <a16:creationId xmlns:a16="http://schemas.microsoft.com/office/drawing/2014/main" id="{DCF762ED-04E7-4815-96B1-196E29709F52}"/>
                </a:ext>
              </a:extLst>
            </p:cNvPr>
            <p:cNvSpPr/>
            <p:nvPr/>
          </p:nvSpPr>
          <p:spPr>
            <a:xfrm>
              <a:off x="-1978501" y="809664"/>
              <a:ext cx="8569" cy="15818"/>
            </a:xfrm>
            <a:custGeom>
              <a:avLst/>
              <a:gdLst>
                <a:gd name="connsiteX0" fmla="*/ 6776 w 8569"/>
                <a:gd name="connsiteY0" fmla="*/ 4875 h 15818"/>
                <a:gd name="connsiteX1" fmla="*/ 4982 w 8569"/>
                <a:gd name="connsiteY1" fmla="*/ 796 h 15818"/>
                <a:gd name="connsiteX2" fmla="*/ 3986 w 8569"/>
                <a:gd name="connsiteY2" fmla="*/ 0 h 15818"/>
                <a:gd name="connsiteX3" fmla="*/ 2790 w 8569"/>
                <a:gd name="connsiteY3" fmla="*/ 0 h 15818"/>
                <a:gd name="connsiteX4" fmla="*/ 1495 w 8569"/>
                <a:gd name="connsiteY4" fmla="*/ 995 h 15818"/>
                <a:gd name="connsiteX5" fmla="*/ 3687 w 8569"/>
                <a:gd name="connsiteY5" fmla="*/ 3184 h 15818"/>
                <a:gd name="connsiteX6" fmla="*/ 4982 w 8569"/>
                <a:gd name="connsiteY6" fmla="*/ 6367 h 15818"/>
                <a:gd name="connsiteX7" fmla="*/ 4883 w 8569"/>
                <a:gd name="connsiteY7" fmla="*/ 8755 h 15818"/>
                <a:gd name="connsiteX8" fmla="*/ 3089 w 8569"/>
                <a:gd name="connsiteY8" fmla="*/ 8954 h 15818"/>
                <a:gd name="connsiteX9" fmla="*/ 2591 w 8569"/>
                <a:gd name="connsiteY9" fmla="*/ 7859 h 15818"/>
                <a:gd name="connsiteX10" fmla="*/ 2292 w 8569"/>
                <a:gd name="connsiteY10" fmla="*/ 4377 h 15818"/>
                <a:gd name="connsiteX11" fmla="*/ 1495 w 8569"/>
                <a:gd name="connsiteY11" fmla="*/ 3283 h 15818"/>
                <a:gd name="connsiteX12" fmla="*/ 199 w 8569"/>
                <a:gd name="connsiteY12" fmla="*/ 3283 h 15818"/>
                <a:gd name="connsiteX13" fmla="*/ 0 w 8569"/>
                <a:gd name="connsiteY13" fmla="*/ 4676 h 15818"/>
                <a:gd name="connsiteX14" fmla="*/ 498 w 8569"/>
                <a:gd name="connsiteY14" fmla="*/ 7760 h 15818"/>
                <a:gd name="connsiteX15" fmla="*/ 1295 w 8569"/>
                <a:gd name="connsiteY15" fmla="*/ 9949 h 15818"/>
                <a:gd name="connsiteX16" fmla="*/ 2989 w 8569"/>
                <a:gd name="connsiteY16" fmla="*/ 13132 h 15818"/>
                <a:gd name="connsiteX17" fmla="*/ 5182 w 8569"/>
                <a:gd name="connsiteY17" fmla="*/ 15719 h 15818"/>
                <a:gd name="connsiteX18" fmla="*/ 7473 w 8569"/>
                <a:gd name="connsiteY18" fmla="*/ 15819 h 15818"/>
                <a:gd name="connsiteX19" fmla="*/ 8569 w 8569"/>
                <a:gd name="connsiteY19" fmla="*/ 13033 h 15818"/>
                <a:gd name="connsiteX20" fmla="*/ 8071 w 8569"/>
                <a:gd name="connsiteY20" fmla="*/ 8954 h 15818"/>
                <a:gd name="connsiteX21" fmla="*/ 6776 w 8569"/>
                <a:gd name="connsiteY21" fmla="*/ 4875 h 15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569" h="15818">
                  <a:moveTo>
                    <a:pt x="6776" y="4875"/>
                  </a:moveTo>
                  <a:lnTo>
                    <a:pt x="4982" y="796"/>
                  </a:lnTo>
                  <a:lnTo>
                    <a:pt x="3986" y="0"/>
                  </a:lnTo>
                  <a:lnTo>
                    <a:pt x="2790" y="0"/>
                  </a:lnTo>
                  <a:lnTo>
                    <a:pt x="1495" y="995"/>
                  </a:lnTo>
                  <a:lnTo>
                    <a:pt x="3687" y="3184"/>
                  </a:lnTo>
                  <a:lnTo>
                    <a:pt x="4982" y="6367"/>
                  </a:lnTo>
                  <a:lnTo>
                    <a:pt x="4883" y="8755"/>
                  </a:lnTo>
                  <a:lnTo>
                    <a:pt x="3089" y="8954"/>
                  </a:lnTo>
                  <a:lnTo>
                    <a:pt x="2591" y="7859"/>
                  </a:lnTo>
                  <a:lnTo>
                    <a:pt x="2292" y="4377"/>
                  </a:lnTo>
                  <a:lnTo>
                    <a:pt x="1495" y="3283"/>
                  </a:lnTo>
                  <a:lnTo>
                    <a:pt x="199" y="3283"/>
                  </a:lnTo>
                  <a:lnTo>
                    <a:pt x="0" y="4676"/>
                  </a:lnTo>
                  <a:lnTo>
                    <a:pt x="498" y="7760"/>
                  </a:lnTo>
                  <a:lnTo>
                    <a:pt x="1295" y="9949"/>
                  </a:lnTo>
                  <a:lnTo>
                    <a:pt x="2989" y="13132"/>
                  </a:lnTo>
                  <a:lnTo>
                    <a:pt x="5182" y="15719"/>
                  </a:lnTo>
                  <a:lnTo>
                    <a:pt x="7473" y="15819"/>
                  </a:lnTo>
                  <a:lnTo>
                    <a:pt x="8569" y="13033"/>
                  </a:lnTo>
                  <a:lnTo>
                    <a:pt x="8071" y="8954"/>
                  </a:lnTo>
                  <a:lnTo>
                    <a:pt x="6776" y="487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7" name="Freeform: Shape 1466">
              <a:extLst>
                <a:ext uri="{FF2B5EF4-FFF2-40B4-BE49-F238E27FC236}">
                  <a16:creationId xmlns:a16="http://schemas.microsoft.com/office/drawing/2014/main" id="{C8FFB70E-1EC0-4CB0-B06A-A737BCC09091}"/>
                </a:ext>
              </a:extLst>
            </p:cNvPr>
            <p:cNvSpPr/>
            <p:nvPr/>
          </p:nvSpPr>
          <p:spPr>
            <a:xfrm>
              <a:off x="-1978003" y="726094"/>
              <a:ext cx="7871" cy="10744"/>
            </a:xfrm>
            <a:custGeom>
              <a:avLst/>
              <a:gdLst>
                <a:gd name="connsiteX0" fmla="*/ 2790 w 7871"/>
                <a:gd name="connsiteY0" fmla="*/ 10645 h 10744"/>
                <a:gd name="connsiteX1" fmla="*/ 4285 w 7871"/>
                <a:gd name="connsiteY1" fmla="*/ 10745 h 10744"/>
                <a:gd name="connsiteX2" fmla="*/ 5381 w 7871"/>
                <a:gd name="connsiteY2" fmla="*/ 10446 h 10744"/>
                <a:gd name="connsiteX3" fmla="*/ 6178 w 7871"/>
                <a:gd name="connsiteY3" fmla="*/ 9849 h 10744"/>
                <a:gd name="connsiteX4" fmla="*/ 6477 w 7871"/>
                <a:gd name="connsiteY4" fmla="*/ 8158 h 10744"/>
                <a:gd name="connsiteX5" fmla="*/ 7274 w 7871"/>
                <a:gd name="connsiteY5" fmla="*/ 6964 h 10744"/>
                <a:gd name="connsiteX6" fmla="*/ 7872 w 7871"/>
                <a:gd name="connsiteY6" fmla="*/ 6168 h 10744"/>
                <a:gd name="connsiteX7" fmla="*/ 7374 w 7871"/>
                <a:gd name="connsiteY7" fmla="*/ 5571 h 10744"/>
                <a:gd name="connsiteX8" fmla="*/ 5480 w 7871"/>
                <a:gd name="connsiteY8" fmla="*/ 3383 h 10744"/>
                <a:gd name="connsiteX9" fmla="*/ 5082 w 7871"/>
                <a:gd name="connsiteY9" fmla="*/ 2288 h 10744"/>
                <a:gd name="connsiteX10" fmla="*/ 4285 w 7871"/>
                <a:gd name="connsiteY10" fmla="*/ 895 h 10744"/>
                <a:gd name="connsiteX11" fmla="*/ 2690 w 7871"/>
                <a:gd name="connsiteY11" fmla="*/ 0 h 10744"/>
                <a:gd name="connsiteX12" fmla="*/ 1295 w 7871"/>
                <a:gd name="connsiteY12" fmla="*/ 796 h 10744"/>
                <a:gd name="connsiteX13" fmla="*/ 199 w 7871"/>
                <a:gd name="connsiteY13" fmla="*/ 2587 h 10744"/>
                <a:gd name="connsiteX14" fmla="*/ 0 w 7871"/>
                <a:gd name="connsiteY14" fmla="*/ 4775 h 10744"/>
                <a:gd name="connsiteX15" fmla="*/ 1794 w 7871"/>
                <a:gd name="connsiteY15" fmla="*/ 9650 h 10744"/>
                <a:gd name="connsiteX16" fmla="*/ 2790 w 7871"/>
                <a:gd name="connsiteY16" fmla="*/ 10645 h 1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871" h="10744">
                  <a:moveTo>
                    <a:pt x="2790" y="10645"/>
                  </a:moveTo>
                  <a:lnTo>
                    <a:pt x="4285" y="10745"/>
                  </a:lnTo>
                  <a:lnTo>
                    <a:pt x="5381" y="10446"/>
                  </a:lnTo>
                  <a:lnTo>
                    <a:pt x="6178" y="9849"/>
                  </a:lnTo>
                  <a:lnTo>
                    <a:pt x="6477" y="8158"/>
                  </a:lnTo>
                  <a:lnTo>
                    <a:pt x="7274" y="6964"/>
                  </a:lnTo>
                  <a:lnTo>
                    <a:pt x="7872" y="6168"/>
                  </a:lnTo>
                  <a:lnTo>
                    <a:pt x="7374" y="5571"/>
                  </a:lnTo>
                  <a:lnTo>
                    <a:pt x="5480" y="3383"/>
                  </a:lnTo>
                  <a:lnTo>
                    <a:pt x="5082" y="2288"/>
                  </a:lnTo>
                  <a:lnTo>
                    <a:pt x="4285" y="895"/>
                  </a:lnTo>
                  <a:lnTo>
                    <a:pt x="2690" y="0"/>
                  </a:lnTo>
                  <a:lnTo>
                    <a:pt x="1295" y="796"/>
                  </a:lnTo>
                  <a:lnTo>
                    <a:pt x="199" y="2587"/>
                  </a:lnTo>
                  <a:lnTo>
                    <a:pt x="0" y="4775"/>
                  </a:lnTo>
                  <a:lnTo>
                    <a:pt x="1794" y="9650"/>
                  </a:lnTo>
                  <a:lnTo>
                    <a:pt x="2790" y="1064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8" name="Freeform: Shape 1467">
              <a:extLst>
                <a:ext uri="{FF2B5EF4-FFF2-40B4-BE49-F238E27FC236}">
                  <a16:creationId xmlns:a16="http://schemas.microsoft.com/office/drawing/2014/main" id="{54B685A8-DBD5-45C2-B2F4-C85783E7956A}"/>
                </a:ext>
              </a:extLst>
            </p:cNvPr>
            <p:cNvSpPr/>
            <p:nvPr/>
          </p:nvSpPr>
          <p:spPr>
            <a:xfrm>
              <a:off x="-1975910" y="703909"/>
              <a:ext cx="13551" cy="15520"/>
            </a:xfrm>
            <a:custGeom>
              <a:avLst/>
              <a:gdLst>
                <a:gd name="connsiteX0" fmla="*/ 12555 w 13551"/>
                <a:gd name="connsiteY0" fmla="*/ 11740 h 15520"/>
                <a:gd name="connsiteX1" fmla="*/ 11658 w 13551"/>
                <a:gd name="connsiteY1" fmla="*/ 10347 h 15520"/>
                <a:gd name="connsiteX2" fmla="*/ 10762 w 13551"/>
                <a:gd name="connsiteY2" fmla="*/ 9352 h 15520"/>
                <a:gd name="connsiteX3" fmla="*/ 9267 w 13551"/>
                <a:gd name="connsiteY3" fmla="*/ 8059 h 15520"/>
                <a:gd name="connsiteX4" fmla="*/ 7374 w 13551"/>
                <a:gd name="connsiteY4" fmla="*/ 6964 h 15520"/>
                <a:gd name="connsiteX5" fmla="*/ 6178 w 13551"/>
                <a:gd name="connsiteY5" fmla="*/ 5770 h 15520"/>
                <a:gd name="connsiteX6" fmla="*/ 2790 w 13551"/>
                <a:gd name="connsiteY6" fmla="*/ 696 h 15520"/>
                <a:gd name="connsiteX7" fmla="*/ 598 w 13551"/>
                <a:gd name="connsiteY7" fmla="*/ 0 h 15520"/>
                <a:gd name="connsiteX8" fmla="*/ 0 w 13551"/>
                <a:gd name="connsiteY8" fmla="*/ 2388 h 15520"/>
                <a:gd name="connsiteX9" fmla="*/ 498 w 13551"/>
                <a:gd name="connsiteY9" fmla="*/ 3980 h 15520"/>
                <a:gd name="connsiteX10" fmla="*/ 2192 w 13551"/>
                <a:gd name="connsiteY10" fmla="*/ 5273 h 15520"/>
                <a:gd name="connsiteX11" fmla="*/ 5182 w 13551"/>
                <a:gd name="connsiteY11" fmla="*/ 8556 h 15520"/>
                <a:gd name="connsiteX12" fmla="*/ 7374 w 13551"/>
                <a:gd name="connsiteY12" fmla="*/ 11541 h 15520"/>
                <a:gd name="connsiteX13" fmla="*/ 8270 w 13551"/>
                <a:gd name="connsiteY13" fmla="*/ 12436 h 15520"/>
                <a:gd name="connsiteX14" fmla="*/ 10961 w 13551"/>
                <a:gd name="connsiteY14" fmla="*/ 14625 h 15520"/>
                <a:gd name="connsiteX15" fmla="*/ 12655 w 13551"/>
                <a:gd name="connsiteY15" fmla="*/ 15520 h 15520"/>
                <a:gd name="connsiteX16" fmla="*/ 13552 w 13551"/>
                <a:gd name="connsiteY16" fmla="*/ 15122 h 15520"/>
                <a:gd name="connsiteX17" fmla="*/ 13352 w 13551"/>
                <a:gd name="connsiteY17" fmla="*/ 13431 h 15520"/>
                <a:gd name="connsiteX18" fmla="*/ 12555 w 13551"/>
                <a:gd name="connsiteY18" fmla="*/ 11740 h 15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551" h="15520">
                  <a:moveTo>
                    <a:pt x="12555" y="11740"/>
                  </a:moveTo>
                  <a:lnTo>
                    <a:pt x="11658" y="10347"/>
                  </a:lnTo>
                  <a:lnTo>
                    <a:pt x="10762" y="9352"/>
                  </a:lnTo>
                  <a:lnTo>
                    <a:pt x="9267" y="8059"/>
                  </a:lnTo>
                  <a:lnTo>
                    <a:pt x="7374" y="6964"/>
                  </a:lnTo>
                  <a:lnTo>
                    <a:pt x="6178" y="5770"/>
                  </a:lnTo>
                  <a:lnTo>
                    <a:pt x="2790" y="696"/>
                  </a:lnTo>
                  <a:lnTo>
                    <a:pt x="598" y="0"/>
                  </a:lnTo>
                  <a:lnTo>
                    <a:pt x="0" y="2388"/>
                  </a:lnTo>
                  <a:lnTo>
                    <a:pt x="498" y="3980"/>
                  </a:lnTo>
                  <a:lnTo>
                    <a:pt x="2192" y="5273"/>
                  </a:lnTo>
                  <a:lnTo>
                    <a:pt x="5182" y="8556"/>
                  </a:lnTo>
                  <a:lnTo>
                    <a:pt x="7374" y="11541"/>
                  </a:lnTo>
                  <a:lnTo>
                    <a:pt x="8270" y="12436"/>
                  </a:lnTo>
                  <a:lnTo>
                    <a:pt x="10961" y="14625"/>
                  </a:lnTo>
                  <a:lnTo>
                    <a:pt x="12655" y="15520"/>
                  </a:lnTo>
                  <a:lnTo>
                    <a:pt x="13552" y="15122"/>
                  </a:lnTo>
                  <a:lnTo>
                    <a:pt x="13352" y="13431"/>
                  </a:lnTo>
                  <a:lnTo>
                    <a:pt x="12555" y="1174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69" name="Freeform: Shape 1468">
              <a:extLst>
                <a:ext uri="{FF2B5EF4-FFF2-40B4-BE49-F238E27FC236}">
                  <a16:creationId xmlns:a16="http://schemas.microsoft.com/office/drawing/2014/main" id="{7C59A97D-33D5-4DEE-834C-F892310FE67F}"/>
                </a:ext>
              </a:extLst>
            </p:cNvPr>
            <p:cNvSpPr/>
            <p:nvPr/>
          </p:nvSpPr>
          <p:spPr>
            <a:xfrm>
              <a:off x="2739446" y="1179359"/>
              <a:ext cx="9266" cy="7859"/>
            </a:xfrm>
            <a:custGeom>
              <a:avLst/>
              <a:gdLst>
                <a:gd name="connsiteX0" fmla="*/ 8370 w 9266"/>
                <a:gd name="connsiteY0" fmla="*/ 4377 h 7859"/>
                <a:gd name="connsiteX1" fmla="*/ 7374 w 9266"/>
                <a:gd name="connsiteY1" fmla="*/ 4676 h 7859"/>
                <a:gd name="connsiteX2" fmla="*/ 6477 w 9266"/>
                <a:gd name="connsiteY2" fmla="*/ 4477 h 7859"/>
                <a:gd name="connsiteX3" fmla="*/ 4584 w 9266"/>
                <a:gd name="connsiteY3" fmla="*/ 2786 h 7859"/>
                <a:gd name="connsiteX4" fmla="*/ 2192 w 9266"/>
                <a:gd name="connsiteY4" fmla="*/ 1094 h 7859"/>
                <a:gd name="connsiteX5" fmla="*/ 1794 w 9266"/>
                <a:gd name="connsiteY5" fmla="*/ 995 h 7859"/>
                <a:gd name="connsiteX6" fmla="*/ 1395 w 9266"/>
                <a:gd name="connsiteY6" fmla="*/ 895 h 7859"/>
                <a:gd name="connsiteX7" fmla="*/ 896 w 9266"/>
                <a:gd name="connsiteY7" fmla="*/ 696 h 7859"/>
                <a:gd name="connsiteX8" fmla="*/ 498 w 9266"/>
                <a:gd name="connsiteY8" fmla="*/ 0 h 7859"/>
                <a:gd name="connsiteX9" fmla="*/ 0 w 9266"/>
                <a:gd name="connsiteY9" fmla="*/ 3383 h 7859"/>
                <a:gd name="connsiteX10" fmla="*/ 1594 w 9266"/>
                <a:gd name="connsiteY10" fmla="*/ 5870 h 7859"/>
                <a:gd name="connsiteX11" fmla="*/ 4285 w 9266"/>
                <a:gd name="connsiteY11" fmla="*/ 7362 h 7859"/>
                <a:gd name="connsiteX12" fmla="*/ 6975 w 9266"/>
                <a:gd name="connsiteY12" fmla="*/ 7859 h 7859"/>
                <a:gd name="connsiteX13" fmla="*/ 7673 w 9266"/>
                <a:gd name="connsiteY13" fmla="*/ 7661 h 7859"/>
                <a:gd name="connsiteX14" fmla="*/ 8370 w 9266"/>
                <a:gd name="connsiteY14" fmla="*/ 7064 h 7859"/>
                <a:gd name="connsiteX15" fmla="*/ 8968 w 9266"/>
                <a:gd name="connsiteY15" fmla="*/ 6367 h 7859"/>
                <a:gd name="connsiteX16" fmla="*/ 9267 w 9266"/>
                <a:gd name="connsiteY16" fmla="*/ 5671 h 7859"/>
                <a:gd name="connsiteX17" fmla="*/ 9067 w 9266"/>
                <a:gd name="connsiteY17" fmla="*/ 4477 h 7859"/>
                <a:gd name="connsiteX18" fmla="*/ 8370 w 9266"/>
                <a:gd name="connsiteY18" fmla="*/ 4377 h 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266" h="7859">
                  <a:moveTo>
                    <a:pt x="8370" y="4377"/>
                  </a:moveTo>
                  <a:lnTo>
                    <a:pt x="7374" y="4676"/>
                  </a:lnTo>
                  <a:lnTo>
                    <a:pt x="6477" y="4477"/>
                  </a:lnTo>
                  <a:lnTo>
                    <a:pt x="4584" y="2786"/>
                  </a:lnTo>
                  <a:lnTo>
                    <a:pt x="2192" y="1094"/>
                  </a:lnTo>
                  <a:lnTo>
                    <a:pt x="1794" y="995"/>
                  </a:lnTo>
                  <a:lnTo>
                    <a:pt x="1395" y="895"/>
                  </a:lnTo>
                  <a:lnTo>
                    <a:pt x="896" y="696"/>
                  </a:lnTo>
                  <a:lnTo>
                    <a:pt x="498" y="0"/>
                  </a:lnTo>
                  <a:lnTo>
                    <a:pt x="0" y="3383"/>
                  </a:lnTo>
                  <a:lnTo>
                    <a:pt x="1594" y="5870"/>
                  </a:lnTo>
                  <a:lnTo>
                    <a:pt x="4285" y="7362"/>
                  </a:lnTo>
                  <a:lnTo>
                    <a:pt x="6975" y="7859"/>
                  </a:lnTo>
                  <a:lnTo>
                    <a:pt x="7673" y="7661"/>
                  </a:lnTo>
                  <a:lnTo>
                    <a:pt x="8370" y="7064"/>
                  </a:lnTo>
                  <a:lnTo>
                    <a:pt x="8968" y="6367"/>
                  </a:lnTo>
                  <a:lnTo>
                    <a:pt x="9267" y="5671"/>
                  </a:lnTo>
                  <a:lnTo>
                    <a:pt x="9067" y="4477"/>
                  </a:lnTo>
                  <a:lnTo>
                    <a:pt x="8370" y="437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0" name="Freeform: Shape 1469">
              <a:extLst>
                <a:ext uri="{FF2B5EF4-FFF2-40B4-BE49-F238E27FC236}">
                  <a16:creationId xmlns:a16="http://schemas.microsoft.com/office/drawing/2014/main" id="{EBFC057F-6E78-4464-9B46-39367739A200}"/>
                </a:ext>
              </a:extLst>
            </p:cNvPr>
            <p:cNvSpPr/>
            <p:nvPr/>
          </p:nvSpPr>
          <p:spPr>
            <a:xfrm>
              <a:off x="2725895" y="1189407"/>
              <a:ext cx="17437" cy="30244"/>
            </a:xfrm>
            <a:custGeom>
              <a:avLst/>
              <a:gdLst>
                <a:gd name="connsiteX0" fmla="*/ 16043 w 17437"/>
                <a:gd name="connsiteY0" fmla="*/ 3184 h 30244"/>
                <a:gd name="connsiteX1" fmla="*/ 17438 w 17437"/>
                <a:gd name="connsiteY1" fmla="*/ 2189 h 30244"/>
                <a:gd name="connsiteX2" fmla="*/ 15345 w 17437"/>
                <a:gd name="connsiteY2" fmla="*/ 1393 h 30244"/>
                <a:gd name="connsiteX3" fmla="*/ 10961 w 17437"/>
                <a:gd name="connsiteY3" fmla="*/ 796 h 30244"/>
                <a:gd name="connsiteX4" fmla="*/ 8868 w 17437"/>
                <a:gd name="connsiteY4" fmla="*/ 0 h 30244"/>
                <a:gd name="connsiteX5" fmla="*/ 8769 w 17437"/>
                <a:gd name="connsiteY5" fmla="*/ 2985 h 30244"/>
                <a:gd name="connsiteX6" fmla="*/ 8569 w 17437"/>
                <a:gd name="connsiteY6" fmla="*/ 5074 h 30244"/>
                <a:gd name="connsiteX7" fmla="*/ 7971 w 17437"/>
                <a:gd name="connsiteY7" fmla="*/ 6865 h 30244"/>
                <a:gd name="connsiteX8" fmla="*/ 7074 w 17437"/>
                <a:gd name="connsiteY8" fmla="*/ 8755 h 30244"/>
                <a:gd name="connsiteX9" fmla="*/ 5978 w 17437"/>
                <a:gd name="connsiteY9" fmla="*/ 10546 h 30244"/>
                <a:gd name="connsiteX10" fmla="*/ 4783 w 17437"/>
                <a:gd name="connsiteY10" fmla="*/ 12038 h 30244"/>
                <a:gd name="connsiteX11" fmla="*/ 3886 w 17437"/>
                <a:gd name="connsiteY11" fmla="*/ 13630 h 30244"/>
                <a:gd name="connsiteX12" fmla="*/ 2491 w 17437"/>
                <a:gd name="connsiteY12" fmla="*/ 20594 h 30244"/>
                <a:gd name="connsiteX13" fmla="*/ 598 w 17437"/>
                <a:gd name="connsiteY13" fmla="*/ 23777 h 30244"/>
                <a:gd name="connsiteX14" fmla="*/ 0 w 17437"/>
                <a:gd name="connsiteY14" fmla="*/ 26464 h 30244"/>
                <a:gd name="connsiteX15" fmla="*/ 2690 w 17437"/>
                <a:gd name="connsiteY15" fmla="*/ 29349 h 30244"/>
                <a:gd name="connsiteX16" fmla="*/ 6676 w 17437"/>
                <a:gd name="connsiteY16" fmla="*/ 30244 h 30244"/>
                <a:gd name="connsiteX17" fmla="*/ 11359 w 17437"/>
                <a:gd name="connsiteY17" fmla="*/ 29050 h 30244"/>
                <a:gd name="connsiteX18" fmla="*/ 15345 w 17437"/>
                <a:gd name="connsiteY18" fmla="*/ 26464 h 30244"/>
                <a:gd name="connsiteX19" fmla="*/ 17438 w 17437"/>
                <a:gd name="connsiteY19" fmla="*/ 23181 h 30244"/>
                <a:gd name="connsiteX20" fmla="*/ 17438 w 17437"/>
                <a:gd name="connsiteY20" fmla="*/ 20793 h 30244"/>
                <a:gd name="connsiteX21" fmla="*/ 16142 w 17437"/>
                <a:gd name="connsiteY21" fmla="*/ 16216 h 30244"/>
                <a:gd name="connsiteX22" fmla="*/ 15743 w 17437"/>
                <a:gd name="connsiteY22" fmla="*/ 13729 h 30244"/>
                <a:gd name="connsiteX23" fmla="*/ 16043 w 17437"/>
                <a:gd name="connsiteY23" fmla="*/ 11939 h 30244"/>
                <a:gd name="connsiteX24" fmla="*/ 16341 w 17437"/>
                <a:gd name="connsiteY24" fmla="*/ 10247 h 30244"/>
                <a:gd name="connsiteX25" fmla="*/ 16441 w 17437"/>
                <a:gd name="connsiteY25" fmla="*/ 8556 h 30244"/>
                <a:gd name="connsiteX26" fmla="*/ 15743 w 17437"/>
                <a:gd name="connsiteY26" fmla="*/ 6765 h 30244"/>
                <a:gd name="connsiteX27" fmla="*/ 15145 w 17437"/>
                <a:gd name="connsiteY27" fmla="*/ 5472 h 30244"/>
                <a:gd name="connsiteX28" fmla="*/ 15245 w 17437"/>
                <a:gd name="connsiteY28" fmla="*/ 4179 h 30244"/>
                <a:gd name="connsiteX29" fmla="*/ 16043 w 17437"/>
                <a:gd name="connsiteY29" fmla="*/ 3184 h 30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437" h="30244">
                  <a:moveTo>
                    <a:pt x="16043" y="3184"/>
                  </a:moveTo>
                  <a:lnTo>
                    <a:pt x="17438" y="2189"/>
                  </a:lnTo>
                  <a:lnTo>
                    <a:pt x="15345" y="1393"/>
                  </a:lnTo>
                  <a:lnTo>
                    <a:pt x="10961" y="796"/>
                  </a:lnTo>
                  <a:lnTo>
                    <a:pt x="8868" y="0"/>
                  </a:lnTo>
                  <a:lnTo>
                    <a:pt x="8769" y="2985"/>
                  </a:lnTo>
                  <a:lnTo>
                    <a:pt x="8569" y="5074"/>
                  </a:lnTo>
                  <a:lnTo>
                    <a:pt x="7971" y="6865"/>
                  </a:lnTo>
                  <a:lnTo>
                    <a:pt x="7074" y="8755"/>
                  </a:lnTo>
                  <a:lnTo>
                    <a:pt x="5978" y="10546"/>
                  </a:lnTo>
                  <a:lnTo>
                    <a:pt x="4783" y="12038"/>
                  </a:lnTo>
                  <a:lnTo>
                    <a:pt x="3886" y="13630"/>
                  </a:lnTo>
                  <a:lnTo>
                    <a:pt x="2491" y="20594"/>
                  </a:lnTo>
                  <a:lnTo>
                    <a:pt x="598" y="23777"/>
                  </a:lnTo>
                  <a:lnTo>
                    <a:pt x="0" y="26464"/>
                  </a:lnTo>
                  <a:lnTo>
                    <a:pt x="2690" y="29349"/>
                  </a:lnTo>
                  <a:lnTo>
                    <a:pt x="6676" y="30244"/>
                  </a:lnTo>
                  <a:lnTo>
                    <a:pt x="11359" y="29050"/>
                  </a:lnTo>
                  <a:lnTo>
                    <a:pt x="15345" y="26464"/>
                  </a:lnTo>
                  <a:lnTo>
                    <a:pt x="17438" y="23181"/>
                  </a:lnTo>
                  <a:lnTo>
                    <a:pt x="17438" y="20793"/>
                  </a:lnTo>
                  <a:lnTo>
                    <a:pt x="16142" y="16216"/>
                  </a:lnTo>
                  <a:lnTo>
                    <a:pt x="15743" y="13729"/>
                  </a:lnTo>
                  <a:lnTo>
                    <a:pt x="16043" y="11939"/>
                  </a:lnTo>
                  <a:lnTo>
                    <a:pt x="16341" y="10247"/>
                  </a:lnTo>
                  <a:lnTo>
                    <a:pt x="16441" y="8556"/>
                  </a:lnTo>
                  <a:lnTo>
                    <a:pt x="15743" y="6765"/>
                  </a:lnTo>
                  <a:lnTo>
                    <a:pt x="15145" y="5472"/>
                  </a:lnTo>
                  <a:lnTo>
                    <a:pt x="15245" y="4179"/>
                  </a:lnTo>
                  <a:lnTo>
                    <a:pt x="16043" y="318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1" name="Freeform: Shape 1470">
              <a:extLst>
                <a:ext uri="{FF2B5EF4-FFF2-40B4-BE49-F238E27FC236}">
                  <a16:creationId xmlns:a16="http://schemas.microsoft.com/office/drawing/2014/main" id="{AC5326C8-B490-4190-81D4-533AC5285776}"/>
                </a:ext>
              </a:extLst>
            </p:cNvPr>
            <p:cNvSpPr/>
            <p:nvPr/>
          </p:nvSpPr>
          <p:spPr>
            <a:xfrm>
              <a:off x="2693012" y="1240345"/>
              <a:ext cx="7274" cy="10247"/>
            </a:xfrm>
            <a:custGeom>
              <a:avLst/>
              <a:gdLst>
                <a:gd name="connsiteX0" fmla="*/ 4384 w 7274"/>
                <a:gd name="connsiteY0" fmla="*/ 2587 h 10247"/>
                <a:gd name="connsiteX1" fmla="*/ 1893 w 7274"/>
                <a:gd name="connsiteY1" fmla="*/ 398 h 10247"/>
                <a:gd name="connsiteX2" fmla="*/ 1295 w 7274"/>
                <a:gd name="connsiteY2" fmla="*/ 0 h 10247"/>
                <a:gd name="connsiteX3" fmla="*/ 698 w 7274"/>
                <a:gd name="connsiteY3" fmla="*/ 0 h 10247"/>
                <a:gd name="connsiteX4" fmla="*/ 0 w 7274"/>
                <a:gd name="connsiteY4" fmla="*/ 895 h 10247"/>
                <a:gd name="connsiteX5" fmla="*/ 5481 w 7274"/>
                <a:gd name="connsiteY5" fmla="*/ 9451 h 10247"/>
                <a:gd name="connsiteX6" fmla="*/ 6477 w 7274"/>
                <a:gd name="connsiteY6" fmla="*/ 10247 h 10247"/>
                <a:gd name="connsiteX7" fmla="*/ 7274 w 7274"/>
                <a:gd name="connsiteY7" fmla="*/ 7462 h 10247"/>
                <a:gd name="connsiteX8" fmla="*/ 6278 w 7274"/>
                <a:gd name="connsiteY8" fmla="*/ 4875 h 10247"/>
                <a:gd name="connsiteX9" fmla="*/ 4384 w 7274"/>
                <a:gd name="connsiteY9" fmla="*/ 2587 h 10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74" h="10247">
                  <a:moveTo>
                    <a:pt x="4384" y="2587"/>
                  </a:moveTo>
                  <a:lnTo>
                    <a:pt x="1893" y="398"/>
                  </a:lnTo>
                  <a:lnTo>
                    <a:pt x="1295" y="0"/>
                  </a:lnTo>
                  <a:lnTo>
                    <a:pt x="698" y="0"/>
                  </a:lnTo>
                  <a:lnTo>
                    <a:pt x="0" y="895"/>
                  </a:lnTo>
                  <a:lnTo>
                    <a:pt x="5481" y="9451"/>
                  </a:lnTo>
                  <a:lnTo>
                    <a:pt x="6477" y="10247"/>
                  </a:lnTo>
                  <a:lnTo>
                    <a:pt x="7274" y="7462"/>
                  </a:lnTo>
                  <a:lnTo>
                    <a:pt x="6278" y="4875"/>
                  </a:lnTo>
                  <a:lnTo>
                    <a:pt x="4384" y="2587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2" name="Freeform: Shape 1471">
              <a:extLst>
                <a:ext uri="{FF2B5EF4-FFF2-40B4-BE49-F238E27FC236}">
                  <a16:creationId xmlns:a16="http://schemas.microsoft.com/office/drawing/2014/main" id="{FAB00B7E-22C5-4445-A0A7-A0E7029206C4}"/>
                </a:ext>
              </a:extLst>
            </p:cNvPr>
            <p:cNvSpPr/>
            <p:nvPr/>
          </p:nvSpPr>
          <p:spPr>
            <a:xfrm>
              <a:off x="2500201" y="1265416"/>
              <a:ext cx="53808" cy="77998"/>
            </a:xfrm>
            <a:custGeom>
              <a:avLst/>
              <a:gdLst>
                <a:gd name="connsiteX0" fmla="*/ 52513 w 53808"/>
                <a:gd name="connsiteY0" fmla="*/ 7163 h 77998"/>
                <a:gd name="connsiteX1" fmla="*/ 52513 w 53808"/>
                <a:gd name="connsiteY1" fmla="*/ 5870 h 77998"/>
                <a:gd name="connsiteX2" fmla="*/ 53011 w 53808"/>
                <a:gd name="connsiteY2" fmla="*/ 4477 h 77998"/>
                <a:gd name="connsiteX3" fmla="*/ 53609 w 53808"/>
                <a:gd name="connsiteY3" fmla="*/ 2388 h 77998"/>
                <a:gd name="connsiteX4" fmla="*/ 52712 w 53808"/>
                <a:gd name="connsiteY4" fmla="*/ 1791 h 77998"/>
                <a:gd name="connsiteX5" fmla="*/ 49523 w 53808"/>
                <a:gd name="connsiteY5" fmla="*/ 2388 h 77998"/>
                <a:gd name="connsiteX6" fmla="*/ 45637 w 53808"/>
                <a:gd name="connsiteY6" fmla="*/ 2288 h 77998"/>
                <a:gd name="connsiteX7" fmla="*/ 44142 w 53808"/>
                <a:gd name="connsiteY7" fmla="*/ 1691 h 77998"/>
                <a:gd name="connsiteX8" fmla="*/ 42448 w 53808"/>
                <a:gd name="connsiteY8" fmla="*/ 0 h 77998"/>
                <a:gd name="connsiteX9" fmla="*/ 41551 w 53808"/>
                <a:gd name="connsiteY9" fmla="*/ 1194 h 77998"/>
                <a:gd name="connsiteX10" fmla="*/ 41053 w 53808"/>
                <a:gd name="connsiteY10" fmla="*/ 2288 h 77998"/>
                <a:gd name="connsiteX11" fmla="*/ 40854 w 53808"/>
                <a:gd name="connsiteY11" fmla="*/ 3482 h 77998"/>
                <a:gd name="connsiteX12" fmla="*/ 40755 w 53808"/>
                <a:gd name="connsiteY12" fmla="*/ 5074 h 77998"/>
                <a:gd name="connsiteX13" fmla="*/ 40356 w 53808"/>
                <a:gd name="connsiteY13" fmla="*/ 5969 h 77998"/>
                <a:gd name="connsiteX14" fmla="*/ 39260 w 53808"/>
                <a:gd name="connsiteY14" fmla="*/ 6168 h 77998"/>
                <a:gd name="connsiteX15" fmla="*/ 38064 w 53808"/>
                <a:gd name="connsiteY15" fmla="*/ 6367 h 77998"/>
                <a:gd name="connsiteX16" fmla="*/ 37367 w 53808"/>
                <a:gd name="connsiteY16" fmla="*/ 6765 h 77998"/>
                <a:gd name="connsiteX17" fmla="*/ 35175 w 53808"/>
                <a:gd name="connsiteY17" fmla="*/ 13829 h 77998"/>
                <a:gd name="connsiteX18" fmla="*/ 34776 w 53808"/>
                <a:gd name="connsiteY18" fmla="*/ 16117 h 77998"/>
                <a:gd name="connsiteX19" fmla="*/ 33879 w 53808"/>
                <a:gd name="connsiteY19" fmla="*/ 17609 h 77998"/>
                <a:gd name="connsiteX20" fmla="*/ 29595 w 53808"/>
                <a:gd name="connsiteY20" fmla="*/ 19102 h 77998"/>
                <a:gd name="connsiteX21" fmla="*/ 28598 w 53808"/>
                <a:gd name="connsiteY21" fmla="*/ 20495 h 77998"/>
                <a:gd name="connsiteX22" fmla="*/ 27701 w 53808"/>
                <a:gd name="connsiteY22" fmla="*/ 22285 h 77998"/>
                <a:gd name="connsiteX23" fmla="*/ 25708 w 53808"/>
                <a:gd name="connsiteY23" fmla="*/ 22086 h 77998"/>
                <a:gd name="connsiteX24" fmla="*/ 23317 w 53808"/>
                <a:gd name="connsiteY24" fmla="*/ 21290 h 77998"/>
                <a:gd name="connsiteX25" fmla="*/ 21722 w 53808"/>
                <a:gd name="connsiteY25" fmla="*/ 21091 h 77998"/>
                <a:gd name="connsiteX26" fmla="*/ 19929 w 53808"/>
                <a:gd name="connsiteY26" fmla="*/ 22584 h 77998"/>
                <a:gd name="connsiteX27" fmla="*/ 18534 w 53808"/>
                <a:gd name="connsiteY27" fmla="*/ 25071 h 77998"/>
                <a:gd name="connsiteX28" fmla="*/ 17637 w 53808"/>
                <a:gd name="connsiteY28" fmla="*/ 28255 h 77998"/>
                <a:gd name="connsiteX29" fmla="*/ 17139 w 53808"/>
                <a:gd name="connsiteY29" fmla="*/ 33527 h 77998"/>
                <a:gd name="connsiteX30" fmla="*/ 16442 w 53808"/>
                <a:gd name="connsiteY30" fmla="*/ 35020 h 77998"/>
                <a:gd name="connsiteX31" fmla="*/ 14747 w 53808"/>
                <a:gd name="connsiteY31" fmla="*/ 37507 h 77998"/>
                <a:gd name="connsiteX32" fmla="*/ 14648 w 53808"/>
                <a:gd name="connsiteY32" fmla="*/ 38203 h 77998"/>
                <a:gd name="connsiteX33" fmla="*/ 14847 w 53808"/>
                <a:gd name="connsiteY33" fmla="*/ 40094 h 77998"/>
                <a:gd name="connsiteX34" fmla="*/ 14747 w 53808"/>
                <a:gd name="connsiteY34" fmla="*/ 40690 h 77998"/>
                <a:gd name="connsiteX35" fmla="*/ 14149 w 53808"/>
                <a:gd name="connsiteY35" fmla="*/ 40790 h 77998"/>
                <a:gd name="connsiteX36" fmla="*/ 12755 w 53808"/>
                <a:gd name="connsiteY36" fmla="*/ 40591 h 77998"/>
                <a:gd name="connsiteX37" fmla="*/ 12157 w 53808"/>
                <a:gd name="connsiteY37" fmla="*/ 40690 h 77998"/>
                <a:gd name="connsiteX38" fmla="*/ 4684 w 53808"/>
                <a:gd name="connsiteY38" fmla="*/ 49147 h 77998"/>
                <a:gd name="connsiteX39" fmla="*/ 1594 w 53808"/>
                <a:gd name="connsiteY39" fmla="*/ 54818 h 77998"/>
                <a:gd name="connsiteX40" fmla="*/ 0 w 53808"/>
                <a:gd name="connsiteY40" fmla="*/ 61682 h 77998"/>
                <a:gd name="connsiteX41" fmla="*/ 897 w 53808"/>
                <a:gd name="connsiteY41" fmla="*/ 67950 h 77998"/>
                <a:gd name="connsiteX42" fmla="*/ 4085 w 53808"/>
                <a:gd name="connsiteY42" fmla="*/ 74019 h 77998"/>
                <a:gd name="connsiteX43" fmla="*/ 8669 w 53808"/>
                <a:gd name="connsiteY43" fmla="*/ 77998 h 77998"/>
                <a:gd name="connsiteX44" fmla="*/ 13950 w 53808"/>
                <a:gd name="connsiteY44" fmla="*/ 77899 h 77998"/>
                <a:gd name="connsiteX45" fmla="*/ 15943 w 53808"/>
                <a:gd name="connsiteY45" fmla="*/ 76307 h 77998"/>
                <a:gd name="connsiteX46" fmla="*/ 22121 w 53808"/>
                <a:gd name="connsiteY46" fmla="*/ 68646 h 77998"/>
                <a:gd name="connsiteX47" fmla="*/ 23018 w 53808"/>
                <a:gd name="connsiteY47" fmla="*/ 67154 h 77998"/>
                <a:gd name="connsiteX48" fmla="*/ 23715 w 53808"/>
                <a:gd name="connsiteY48" fmla="*/ 64070 h 77998"/>
                <a:gd name="connsiteX49" fmla="*/ 24313 w 53808"/>
                <a:gd name="connsiteY49" fmla="*/ 62777 h 77998"/>
                <a:gd name="connsiteX50" fmla="*/ 25509 w 53808"/>
                <a:gd name="connsiteY50" fmla="*/ 61682 h 77998"/>
                <a:gd name="connsiteX51" fmla="*/ 28199 w 53808"/>
                <a:gd name="connsiteY51" fmla="*/ 60488 h 77998"/>
                <a:gd name="connsiteX52" fmla="*/ 29495 w 53808"/>
                <a:gd name="connsiteY52" fmla="*/ 59394 h 77998"/>
                <a:gd name="connsiteX53" fmla="*/ 26505 w 53808"/>
                <a:gd name="connsiteY53" fmla="*/ 56410 h 77998"/>
                <a:gd name="connsiteX54" fmla="*/ 28100 w 53808"/>
                <a:gd name="connsiteY54" fmla="*/ 51435 h 77998"/>
                <a:gd name="connsiteX55" fmla="*/ 33879 w 53808"/>
                <a:gd name="connsiteY55" fmla="*/ 42979 h 77998"/>
                <a:gd name="connsiteX56" fmla="*/ 34975 w 53808"/>
                <a:gd name="connsiteY56" fmla="*/ 39596 h 77998"/>
                <a:gd name="connsiteX57" fmla="*/ 35971 w 53808"/>
                <a:gd name="connsiteY57" fmla="*/ 38104 h 77998"/>
                <a:gd name="connsiteX58" fmla="*/ 37367 w 53808"/>
                <a:gd name="connsiteY58" fmla="*/ 37507 h 77998"/>
                <a:gd name="connsiteX59" fmla="*/ 38264 w 53808"/>
                <a:gd name="connsiteY59" fmla="*/ 37805 h 77998"/>
                <a:gd name="connsiteX60" fmla="*/ 39360 w 53808"/>
                <a:gd name="connsiteY60" fmla="*/ 38402 h 77998"/>
                <a:gd name="connsiteX61" fmla="*/ 40356 w 53808"/>
                <a:gd name="connsiteY61" fmla="*/ 38701 h 77998"/>
                <a:gd name="connsiteX62" fmla="*/ 40755 w 53808"/>
                <a:gd name="connsiteY62" fmla="*/ 38104 h 77998"/>
                <a:gd name="connsiteX63" fmla="*/ 40655 w 53808"/>
                <a:gd name="connsiteY63" fmla="*/ 35119 h 77998"/>
                <a:gd name="connsiteX64" fmla="*/ 40854 w 53808"/>
                <a:gd name="connsiteY64" fmla="*/ 34522 h 77998"/>
                <a:gd name="connsiteX65" fmla="*/ 41651 w 53808"/>
                <a:gd name="connsiteY65" fmla="*/ 33030 h 77998"/>
                <a:gd name="connsiteX66" fmla="*/ 42349 w 53808"/>
                <a:gd name="connsiteY66" fmla="*/ 32532 h 77998"/>
                <a:gd name="connsiteX67" fmla="*/ 43345 w 53808"/>
                <a:gd name="connsiteY67" fmla="*/ 32433 h 77998"/>
                <a:gd name="connsiteX68" fmla="*/ 44342 w 53808"/>
                <a:gd name="connsiteY68" fmla="*/ 32135 h 77998"/>
                <a:gd name="connsiteX69" fmla="*/ 45238 w 53808"/>
                <a:gd name="connsiteY69" fmla="*/ 30841 h 77998"/>
                <a:gd name="connsiteX70" fmla="*/ 40356 w 53808"/>
                <a:gd name="connsiteY70" fmla="*/ 26364 h 77998"/>
                <a:gd name="connsiteX71" fmla="*/ 39060 w 53808"/>
                <a:gd name="connsiteY71" fmla="*/ 24275 h 77998"/>
                <a:gd name="connsiteX72" fmla="*/ 40854 w 53808"/>
                <a:gd name="connsiteY72" fmla="*/ 23579 h 77998"/>
                <a:gd name="connsiteX73" fmla="*/ 42448 w 53808"/>
                <a:gd name="connsiteY73" fmla="*/ 23777 h 77998"/>
                <a:gd name="connsiteX74" fmla="*/ 46036 w 53808"/>
                <a:gd name="connsiteY74" fmla="*/ 25369 h 77998"/>
                <a:gd name="connsiteX75" fmla="*/ 45637 w 53808"/>
                <a:gd name="connsiteY75" fmla="*/ 23877 h 77998"/>
                <a:gd name="connsiteX76" fmla="*/ 44441 w 53808"/>
                <a:gd name="connsiteY76" fmla="*/ 21589 h 77998"/>
                <a:gd name="connsiteX77" fmla="*/ 44242 w 53808"/>
                <a:gd name="connsiteY77" fmla="*/ 19997 h 77998"/>
                <a:gd name="connsiteX78" fmla="*/ 44441 w 53808"/>
                <a:gd name="connsiteY78" fmla="*/ 18306 h 77998"/>
                <a:gd name="connsiteX79" fmla="*/ 46036 w 53808"/>
                <a:gd name="connsiteY79" fmla="*/ 13331 h 77998"/>
                <a:gd name="connsiteX80" fmla="*/ 45438 w 53808"/>
                <a:gd name="connsiteY80" fmla="*/ 12237 h 77998"/>
                <a:gd name="connsiteX81" fmla="*/ 44441 w 53808"/>
                <a:gd name="connsiteY81" fmla="*/ 11342 h 77998"/>
                <a:gd name="connsiteX82" fmla="*/ 44242 w 53808"/>
                <a:gd name="connsiteY82" fmla="*/ 10546 h 77998"/>
                <a:gd name="connsiteX83" fmla="*/ 46036 w 53808"/>
                <a:gd name="connsiteY83" fmla="*/ 10048 h 77998"/>
                <a:gd name="connsiteX84" fmla="*/ 47331 w 53808"/>
                <a:gd name="connsiteY84" fmla="*/ 10347 h 77998"/>
                <a:gd name="connsiteX85" fmla="*/ 52114 w 53808"/>
                <a:gd name="connsiteY85" fmla="*/ 13331 h 77998"/>
                <a:gd name="connsiteX86" fmla="*/ 53808 w 53808"/>
                <a:gd name="connsiteY86" fmla="*/ 10048 h 77998"/>
                <a:gd name="connsiteX87" fmla="*/ 53011 w 53808"/>
                <a:gd name="connsiteY87" fmla="*/ 8556 h 77998"/>
                <a:gd name="connsiteX88" fmla="*/ 52513 w 53808"/>
                <a:gd name="connsiteY88" fmla="*/ 7163 h 7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53808" h="77998">
                  <a:moveTo>
                    <a:pt x="52513" y="7163"/>
                  </a:moveTo>
                  <a:lnTo>
                    <a:pt x="52513" y="5870"/>
                  </a:lnTo>
                  <a:lnTo>
                    <a:pt x="53011" y="4477"/>
                  </a:lnTo>
                  <a:lnTo>
                    <a:pt x="53609" y="2388"/>
                  </a:lnTo>
                  <a:lnTo>
                    <a:pt x="52712" y="1791"/>
                  </a:lnTo>
                  <a:lnTo>
                    <a:pt x="49523" y="2388"/>
                  </a:lnTo>
                  <a:lnTo>
                    <a:pt x="45637" y="2288"/>
                  </a:lnTo>
                  <a:lnTo>
                    <a:pt x="44142" y="1691"/>
                  </a:lnTo>
                  <a:lnTo>
                    <a:pt x="42448" y="0"/>
                  </a:lnTo>
                  <a:lnTo>
                    <a:pt x="41551" y="1194"/>
                  </a:lnTo>
                  <a:lnTo>
                    <a:pt x="41053" y="2288"/>
                  </a:lnTo>
                  <a:lnTo>
                    <a:pt x="40854" y="3482"/>
                  </a:lnTo>
                  <a:lnTo>
                    <a:pt x="40755" y="5074"/>
                  </a:lnTo>
                  <a:lnTo>
                    <a:pt x="40356" y="5969"/>
                  </a:lnTo>
                  <a:lnTo>
                    <a:pt x="39260" y="6168"/>
                  </a:lnTo>
                  <a:lnTo>
                    <a:pt x="38064" y="6367"/>
                  </a:lnTo>
                  <a:lnTo>
                    <a:pt x="37367" y="6765"/>
                  </a:lnTo>
                  <a:lnTo>
                    <a:pt x="35175" y="13829"/>
                  </a:lnTo>
                  <a:lnTo>
                    <a:pt x="34776" y="16117"/>
                  </a:lnTo>
                  <a:lnTo>
                    <a:pt x="33879" y="17609"/>
                  </a:lnTo>
                  <a:lnTo>
                    <a:pt x="29595" y="19102"/>
                  </a:lnTo>
                  <a:lnTo>
                    <a:pt x="28598" y="20495"/>
                  </a:lnTo>
                  <a:lnTo>
                    <a:pt x="27701" y="22285"/>
                  </a:lnTo>
                  <a:lnTo>
                    <a:pt x="25708" y="22086"/>
                  </a:lnTo>
                  <a:lnTo>
                    <a:pt x="23317" y="21290"/>
                  </a:lnTo>
                  <a:lnTo>
                    <a:pt x="21722" y="21091"/>
                  </a:lnTo>
                  <a:lnTo>
                    <a:pt x="19929" y="22584"/>
                  </a:lnTo>
                  <a:lnTo>
                    <a:pt x="18534" y="25071"/>
                  </a:lnTo>
                  <a:lnTo>
                    <a:pt x="17637" y="28255"/>
                  </a:lnTo>
                  <a:lnTo>
                    <a:pt x="17139" y="33527"/>
                  </a:lnTo>
                  <a:lnTo>
                    <a:pt x="16442" y="35020"/>
                  </a:lnTo>
                  <a:lnTo>
                    <a:pt x="14747" y="37507"/>
                  </a:lnTo>
                  <a:lnTo>
                    <a:pt x="14648" y="38203"/>
                  </a:lnTo>
                  <a:lnTo>
                    <a:pt x="14847" y="40094"/>
                  </a:lnTo>
                  <a:lnTo>
                    <a:pt x="14747" y="40690"/>
                  </a:lnTo>
                  <a:lnTo>
                    <a:pt x="14149" y="40790"/>
                  </a:lnTo>
                  <a:lnTo>
                    <a:pt x="12755" y="40591"/>
                  </a:lnTo>
                  <a:lnTo>
                    <a:pt x="12157" y="40690"/>
                  </a:lnTo>
                  <a:lnTo>
                    <a:pt x="4684" y="49147"/>
                  </a:lnTo>
                  <a:lnTo>
                    <a:pt x="1594" y="54818"/>
                  </a:lnTo>
                  <a:lnTo>
                    <a:pt x="0" y="61682"/>
                  </a:lnTo>
                  <a:lnTo>
                    <a:pt x="897" y="67950"/>
                  </a:lnTo>
                  <a:lnTo>
                    <a:pt x="4085" y="74019"/>
                  </a:lnTo>
                  <a:lnTo>
                    <a:pt x="8669" y="77998"/>
                  </a:lnTo>
                  <a:lnTo>
                    <a:pt x="13950" y="77899"/>
                  </a:lnTo>
                  <a:lnTo>
                    <a:pt x="15943" y="76307"/>
                  </a:lnTo>
                  <a:lnTo>
                    <a:pt x="22121" y="68646"/>
                  </a:lnTo>
                  <a:lnTo>
                    <a:pt x="23018" y="67154"/>
                  </a:lnTo>
                  <a:lnTo>
                    <a:pt x="23715" y="64070"/>
                  </a:lnTo>
                  <a:lnTo>
                    <a:pt x="24313" y="62777"/>
                  </a:lnTo>
                  <a:lnTo>
                    <a:pt x="25509" y="61682"/>
                  </a:lnTo>
                  <a:lnTo>
                    <a:pt x="28199" y="60488"/>
                  </a:lnTo>
                  <a:lnTo>
                    <a:pt x="29495" y="59394"/>
                  </a:lnTo>
                  <a:lnTo>
                    <a:pt x="26505" y="56410"/>
                  </a:lnTo>
                  <a:lnTo>
                    <a:pt x="28100" y="51435"/>
                  </a:lnTo>
                  <a:lnTo>
                    <a:pt x="33879" y="42979"/>
                  </a:lnTo>
                  <a:lnTo>
                    <a:pt x="34975" y="39596"/>
                  </a:lnTo>
                  <a:lnTo>
                    <a:pt x="35971" y="38104"/>
                  </a:lnTo>
                  <a:lnTo>
                    <a:pt x="37367" y="37507"/>
                  </a:lnTo>
                  <a:lnTo>
                    <a:pt x="38264" y="37805"/>
                  </a:lnTo>
                  <a:lnTo>
                    <a:pt x="39360" y="38402"/>
                  </a:lnTo>
                  <a:lnTo>
                    <a:pt x="40356" y="38701"/>
                  </a:lnTo>
                  <a:lnTo>
                    <a:pt x="40755" y="38104"/>
                  </a:lnTo>
                  <a:lnTo>
                    <a:pt x="40655" y="35119"/>
                  </a:lnTo>
                  <a:lnTo>
                    <a:pt x="40854" y="34522"/>
                  </a:lnTo>
                  <a:lnTo>
                    <a:pt x="41651" y="33030"/>
                  </a:lnTo>
                  <a:lnTo>
                    <a:pt x="42349" y="32532"/>
                  </a:lnTo>
                  <a:lnTo>
                    <a:pt x="43345" y="32433"/>
                  </a:lnTo>
                  <a:lnTo>
                    <a:pt x="44342" y="32135"/>
                  </a:lnTo>
                  <a:lnTo>
                    <a:pt x="45238" y="30841"/>
                  </a:lnTo>
                  <a:lnTo>
                    <a:pt x="40356" y="26364"/>
                  </a:lnTo>
                  <a:lnTo>
                    <a:pt x="39060" y="24275"/>
                  </a:lnTo>
                  <a:lnTo>
                    <a:pt x="40854" y="23579"/>
                  </a:lnTo>
                  <a:lnTo>
                    <a:pt x="42448" y="23777"/>
                  </a:lnTo>
                  <a:lnTo>
                    <a:pt x="46036" y="25369"/>
                  </a:lnTo>
                  <a:lnTo>
                    <a:pt x="45637" y="23877"/>
                  </a:lnTo>
                  <a:lnTo>
                    <a:pt x="44441" y="21589"/>
                  </a:lnTo>
                  <a:lnTo>
                    <a:pt x="44242" y="19997"/>
                  </a:lnTo>
                  <a:lnTo>
                    <a:pt x="44441" y="18306"/>
                  </a:lnTo>
                  <a:lnTo>
                    <a:pt x="46036" y="13331"/>
                  </a:lnTo>
                  <a:lnTo>
                    <a:pt x="45438" y="12237"/>
                  </a:lnTo>
                  <a:lnTo>
                    <a:pt x="44441" y="11342"/>
                  </a:lnTo>
                  <a:lnTo>
                    <a:pt x="44242" y="10546"/>
                  </a:lnTo>
                  <a:lnTo>
                    <a:pt x="46036" y="10048"/>
                  </a:lnTo>
                  <a:lnTo>
                    <a:pt x="47331" y="10347"/>
                  </a:lnTo>
                  <a:lnTo>
                    <a:pt x="52114" y="13331"/>
                  </a:lnTo>
                  <a:lnTo>
                    <a:pt x="53808" y="10048"/>
                  </a:lnTo>
                  <a:lnTo>
                    <a:pt x="53011" y="8556"/>
                  </a:lnTo>
                  <a:lnTo>
                    <a:pt x="52513" y="716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3" name="Freeform: Shape 1472">
              <a:extLst>
                <a:ext uri="{FF2B5EF4-FFF2-40B4-BE49-F238E27FC236}">
                  <a16:creationId xmlns:a16="http://schemas.microsoft.com/office/drawing/2014/main" id="{13B125FB-04BB-4B4C-9C60-6320034ADFB4}"/>
                </a:ext>
              </a:extLst>
            </p:cNvPr>
            <p:cNvSpPr/>
            <p:nvPr/>
          </p:nvSpPr>
          <p:spPr>
            <a:xfrm>
              <a:off x="2554905" y="1245419"/>
              <a:ext cx="15444" cy="14624"/>
            </a:xfrm>
            <a:custGeom>
              <a:avLst/>
              <a:gdLst>
                <a:gd name="connsiteX0" fmla="*/ 11559 w 15444"/>
                <a:gd name="connsiteY0" fmla="*/ 2388 h 14624"/>
                <a:gd name="connsiteX1" fmla="*/ 9068 w 15444"/>
                <a:gd name="connsiteY1" fmla="*/ 3184 h 14624"/>
                <a:gd name="connsiteX2" fmla="*/ 6875 w 15444"/>
                <a:gd name="connsiteY2" fmla="*/ 3482 h 14624"/>
                <a:gd name="connsiteX3" fmla="*/ 5182 w 15444"/>
                <a:gd name="connsiteY3" fmla="*/ 1393 h 14624"/>
                <a:gd name="connsiteX4" fmla="*/ 3886 w 15444"/>
                <a:gd name="connsiteY4" fmla="*/ 0 h 14624"/>
                <a:gd name="connsiteX5" fmla="*/ 2790 w 15444"/>
                <a:gd name="connsiteY5" fmla="*/ 1293 h 14624"/>
                <a:gd name="connsiteX6" fmla="*/ 1993 w 15444"/>
                <a:gd name="connsiteY6" fmla="*/ 3781 h 14624"/>
                <a:gd name="connsiteX7" fmla="*/ 1794 w 15444"/>
                <a:gd name="connsiteY7" fmla="*/ 6367 h 14624"/>
                <a:gd name="connsiteX8" fmla="*/ 2192 w 15444"/>
                <a:gd name="connsiteY8" fmla="*/ 10446 h 14624"/>
                <a:gd name="connsiteX9" fmla="*/ 1794 w 15444"/>
                <a:gd name="connsiteY9" fmla="*/ 11839 h 14624"/>
                <a:gd name="connsiteX10" fmla="*/ 0 w 15444"/>
                <a:gd name="connsiteY10" fmla="*/ 13431 h 14624"/>
                <a:gd name="connsiteX11" fmla="*/ 1295 w 15444"/>
                <a:gd name="connsiteY11" fmla="*/ 14227 h 14624"/>
                <a:gd name="connsiteX12" fmla="*/ 2890 w 15444"/>
                <a:gd name="connsiteY12" fmla="*/ 14127 h 14624"/>
                <a:gd name="connsiteX13" fmla="*/ 5979 w 15444"/>
                <a:gd name="connsiteY13" fmla="*/ 13431 h 14624"/>
                <a:gd name="connsiteX14" fmla="*/ 13950 w 15444"/>
                <a:gd name="connsiteY14" fmla="*/ 14625 h 14624"/>
                <a:gd name="connsiteX15" fmla="*/ 13353 w 15444"/>
                <a:gd name="connsiteY15" fmla="*/ 13033 h 14624"/>
                <a:gd name="connsiteX16" fmla="*/ 13053 w 15444"/>
                <a:gd name="connsiteY16" fmla="*/ 12436 h 14624"/>
                <a:gd name="connsiteX17" fmla="*/ 14249 w 15444"/>
                <a:gd name="connsiteY17" fmla="*/ 9849 h 14624"/>
                <a:gd name="connsiteX18" fmla="*/ 15246 w 15444"/>
                <a:gd name="connsiteY18" fmla="*/ 7064 h 14624"/>
                <a:gd name="connsiteX19" fmla="*/ 15445 w 15444"/>
                <a:gd name="connsiteY19" fmla="*/ 4477 h 14624"/>
                <a:gd name="connsiteX20" fmla="*/ 13950 w 15444"/>
                <a:gd name="connsiteY20" fmla="*/ 2487 h 14624"/>
                <a:gd name="connsiteX21" fmla="*/ 11559 w 15444"/>
                <a:gd name="connsiteY21" fmla="*/ 2388 h 14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5444" h="14624">
                  <a:moveTo>
                    <a:pt x="11559" y="2388"/>
                  </a:moveTo>
                  <a:lnTo>
                    <a:pt x="9068" y="3184"/>
                  </a:lnTo>
                  <a:lnTo>
                    <a:pt x="6875" y="3482"/>
                  </a:lnTo>
                  <a:lnTo>
                    <a:pt x="5182" y="1393"/>
                  </a:lnTo>
                  <a:lnTo>
                    <a:pt x="3886" y="0"/>
                  </a:lnTo>
                  <a:lnTo>
                    <a:pt x="2790" y="1293"/>
                  </a:lnTo>
                  <a:lnTo>
                    <a:pt x="1993" y="3781"/>
                  </a:lnTo>
                  <a:lnTo>
                    <a:pt x="1794" y="6367"/>
                  </a:lnTo>
                  <a:lnTo>
                    <a:pt x="2192" y="10446"/>
                  </a:lnTo>
                  <a:lnTo>
                    <a:pt x="1794" y="11839"/>
                  </a:lnTo>
                  <a:lnTo>
                    <a:pt x="0" y="13431"/>
                  </a:lnTo>
                  <a:lnTo>
                    <a:pt x="1295" y="14227"/>
                  </a:lnTo>
                  <a:lnTo>
                    <a:pt x="2890" y="14127"/>
                  </a:lnTo>
                  <a:lnTo>
                    <a:pt x="5979" y="13431"/>
                  </a:lnTo>
                  <a:lnTo>
                    <a:pt x="13950" y="14625"/>
                  </a:lnTo>
                  <a:lnTo>
                    <a:pt x="13353" y="13033"/>
                  </a:lnTo>
                  <a:lnTo>
                    <a:pt x="13053" y="12436"/>
                  </a:lnTo>
                  <a:lnTo>
                    <a:pt x="14249" y="9849"/>
                  </a:lnTo>
                  <a:lnTo>
                    <a:pt x="15246" y="7064"/>
                  </a:lnTo>
                  <a:lnTo>
                    <a:pt x="15445" y="4477"/>
                  </a:lnTo>
                  <a:lnTo>
                    <a:pt x="13950" y="2487"/>
                  </a:lnTo>
                  <a:lnTo>
                    <a:pt x="11559" y="238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4" name="Freeform: Shape 1473">
              <a:extLst>
                <a:ext uri="{FF2B5EF4-FFF2-40B4-BE49-F238E27FC236}">
                  <a16:creationId xmlns:a16="http://schemas.microsoft.com/office/drawing/2014/main" id="{6BA86CEA-9082-4ECB-971A-A264A92CD465}"/>
                </a:ext>
              </a:extLst>
            </p:cNvPr>
            <p:cNvSpPr/>
            <p:nvPr/>
          </p:nvSpPr>
          <p:spPr>
            <a:xfrm>
              <a:off x="2659332" y="1305111"/>
              <a:ext cx="9365" cy="9252"/>
            </a:xfrm>
            <a:custGeom>
              <a:avLst/>
              <a:gdLst>
                <a:gd name="connsiteX0" fmla="*/ 7074 w 9365"/>
                <a:gd name="connsiteY0" fmla="*/ 1592 h 9252"/>
                <a:gd name="connsiteX1" fmla="*/ 5978 w 9365"/>
                <a:gd name="connsiteY1" fmla="*/ 895 h 9252"/>
                <a:gd name="connsiteX2" fmla="*/ 4982 w 9365"/>
                <a:gd name="connsiteY2" fmla="*/ 0 h 9252"/>
                <a:gd name="connsiteX3" fmla="*/ 2690 w 9365"/>
                <a:gd name="connsiteY3" fmla="*/ 696 h 9252"/>
                <a:gd name="connsiteX4" fmla="*/ 896 w 9365"/>
                <a:gd name="connsiteY4" fmla="*/ 2786 h 9252"/>
                <a:gd name="connsiteX5" fmla="*/ 0 w 9365"/>
                <a:gd name="connsiteY5" fmla="*/ 5472 h 9252"/>
                <a:gd name="connsiteX6" fmla="*/ 598 w 9365"/>
                <a:gd name="connsiteY6" fmla="*/ 7760 h 9252"/>
                <a:gd name="connsiteX7" fmla="*/ 3388 w 9365"/>
                <a:gd name="connsiteY7" fmla="*/ 9252 h 9252"/>
                <a:gd name="connsiteX8" fmla="*/ 5580 w 9365"/>
                <a:gd name="connsiteY8" fmla="*/ 7462 h 9252"/>
                <a:gd name="connsiteX9" fmla="*/ 7572 w 9365"/>
                <a:gd name="connsiteY9" fmla="*/ 4377 h 9252"/>
                <a:gd name="connsiteX10" fmla="*/ 9366 w 9365"/>
                <a:gd name="connsiteY10" fmla="*/ 2089 h 9252"/>
                <a:gd name="connsiteX11" fmla="*/ 8170 w 9365"/>
                <a:gd name="connsiteY11" fmla="*/ 1890 h 9252"/>
                <a:gd name="connsiteX12" fmla="*/ 7074 w 9365"/>
                <a:gd name="connsiteY12" fmla="*/ 1592 h 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365" h="9252">
                  <a:moveTo>
                    <a:pt x="7074" y="1592"/>
                  </a:moveTo>
                  <a:lnTo>
                    <a:pt x="5978" y="895"/>
                  </a:lnTo>
                  <a:lnTo>
                    <a:pt x="4982" y="0"/>
                  </a:lnTo>
                  <a:lnTo>
                    <a:pt x="2690" y="696"/>
                  </a:lnTo>
                  <a:lnTo>
                    <a:pt x="896" y="2786"/>
                  </a:lnTo>
                  <a:lnTo>
                    <a:pt x="0" y="5472"/>
                  </a:lnTo>
                  <a:lnTo>
                    <a:pt x="598" y="7760"/>
                  </a:lnTo>
                  <a:lnTo>
                    <a:pt x="3388" y="9252"/>
                  </a:lnTo>
                  <a:lnTo>
                    <a:pt x="5580" y="7462"/>
                  </a:lnTo>
                  <a:lnTo>
                    <a:pt x="7572" y="4377"/>
                  </a:lnTo>
                  <a:lnTo>
                    <a:pt x="9366" y="2089"/>
                  </a:lnTo>
                  <a:lnTo>
                    <a:pt x="8170" y="1890"/>
                  </a:lnTo>
                  <a:lnTo>
                    <a:pt x="7074" y="15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5" name="Freeform: Shape 1474">
              <a:extLst>
                <a:ext uri="{FF2B5EF4-FFF2-40B4-BE49-F238E27FC236}">
                  <a16:creationId xmlns:a16="http://schemas.microsoft.com/office/drawing/2014/main" id="{1395C9C8-9F88-40A6-8612-F96047AE12A2}"/>
                </a:ext>
              </a:extLst>
            </p:cNvPr>
            <p:cNvSpPr/>
            <p:nvPr/>
          </p:nvSpPr>
          <p:spPr>
            <a:xfrm>
              <a:off x="2670393" y="1287502"/>
              <a:ext cx="11259" cy="15221"/>
            </a:xfrm>
            <a:custGeom>
              <a:avLst/>
              <a:gdLst>
                <a:gd name="connsiteX0" fmla="*/ 10861 w 11259"/>
                <a:gd name="connsiteY0" fmla="*/ 7661 h 15221"/>
                <a:gd name="connsiteX1" fmla="*/ 11260 w 11259"/>
                <a:gd name="connsiteY1" fmla="*/ 5571 h 15221"/>
                <a:gd name="connsiteX2" fmla="*/ 10363 w 11259"/>
                <a:gd name="connsiteY2" fmla="*/ 3681 h 15221"/>
                <a:gd name="connsiteX3" fmla="*/ 8769 w 11259"/>
                <a:gd name="connsiteY3" fmla="*/ 2388 h 15221"/>
                <a:gd name="connsiteX4" fmla="*/ 6875 w 11259"/>
                <a:gd name="connsiteY4" fmla="*/ 1393 h 15221"/>
                <a:gd name="connsiteX5" fmla="*/ 5181 w 11259"/>
                <a:gd name="connsiteY5" fmla="*/ 0 h 15221"/>
                <a:gd name="connsiteX6" fmla="*/ 3288 w 11259"/>
                <a:gd name="connsiteY6" fmla="*/ 100 h 15221"/>
                <a:gd name="connsiteX7" fmla="*/ 1794 w 11259"/>
                <a:gd name="connsiteY7" fmla="*/ 1293 h 15221"/>
                <a:gd name="connsiteX8" fmla="*/ 0 w 11259"/>
                <a:gd name="connsiteY8" fmla="*/ 4377 h 15221"/>
                <a:gd name="connsiteX9" fmla="*/ 4285 w 11259"/>
                <a:gd name="connsiteY9" fmla="*/ 12734 h 15221"/>
                <a:gd name="connsiteX10" fmla="*/ 7473 w 11259"/>
                <a:gd name="connsiteY10" fmla="*/ 15222 h 15221"/>
                <a:gd name="connsiteX11" fmla="*/ 11260 w 11259"/>
                <a:gd name="connsiteY11" fmla="*/ 13132 h 15221"/>
                <a:gd name="connsiteX12" fmla="*/ 9565 w 11259"/>
                <a:gd name="connsiteY12" fmla="*/ 11640 h 15221"/>
                <a:gd name="connsiteX13" fmla="*/ 9865 w 11259"/>
                <a:gd name="connsiteY13" fmla="*/ 9650 h 15221"/>
                <a:gd name="connsiteX14" fmla="*/ 10861 w 11259"/>
                <a:gd name="connsiteY14" fmla="*/ 7661 h 15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259" h="15221">
                  <a:moveTo>
                    <a:pt x="10861" y="7661"/>
                  </a:moveTo>
                  <a:lnTo>
                    <a:pt x="11260" y="5571"/>
                  </a:lnTo>
                  <a:lnTo>
                    <a:pt x="10363" y="3681"/>
                  </a:lnTo>
                  <a:lnTo>
                    <a:pt x="8769" y="2388"/>
                  </a:lnTo>
                  <a:lnTo>
                    <a:pt x="6875" y="1393"/>
                  </a:lnTo>
                  <a:lnTo>
                    <a:pt x="5181" y="0"/>
                  </a:lnTo>
                  <a:lnTo>
                    <a:pt x="3288" y="100"/>
                  </a:lnTo>
                  <a:lnTo>
                    <a:pt x="1794" y="1293"/>
                  </a:lnTo>
                  <a:lnTo>
                    <a:pt x="0" y="4377"/>
                  </a:lnTo>
                  <a:lnTo>
                    <a:pt x="4285" y="12734"/>
                  </a:lnTo>
                  <a:lnTo>
                    <a:pt x="7473" y="15222"/>
                  </a:lnTo>
                  <a:lnTo>
                    <a:pt x="11260" y="13132"/>
                  </a:lnTo>
                  <a:lnTo>
                    <a:pt x="9565" y="11640"/>
                  </a:lnTo>
                  <a:lnTo>
                    <a:pt x="9865" y="9650"/>
                  </a:lnTo>
                  <a:lnTo>
                    <a:pt x="10861" y="7661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6" name="Freeform: Shape 1475">
              <a:extLst>
                <a:ext uri="{FF2B5EF4-FFF2-40B4-BE49-F238E27FC236}">
                  <a16:creationId xmlns:a16="http://schemas.microsoft.com/office/drawing/2014/main" id="{011A9B70-9D64-4E4C-AA23-A9EB5C15A098}"/>
                </a:ext>
              </a:extLst>
            </p:cNvPr>
            <p:cNvSpPr/>
            <p:nvPr/>
          </p:nvSpPr>
          <p:spPr>
            <a:xfrm>
              <a:off x="2073724" y="995606"/>
              <a:ext cx="8868" cy="9053"/>
            </a:xfrm>
            <a:custGeom>
              <a:avLst/>
              <a:gdLst>
                <a:gd name="connsiteX0" fmla="*/ 7672 w 8868"/>
                <a:gd name="connsiteY0" fmla="*/ 7860 h 9053"/>
                <a:gd name="connsiteX1" fmla="*/ 8868 w 8868"/>
                <a:gd name="connsiteY1" fmla="*/ 6765 h 9053"/>
                <a:gd name="connsiteX2" fmla="*/ 8669 w 8868"/>
                <a:gd name="connsiteY2" fmla="*/ 5074 h 9053"/>
                <a:gd name="connsiteX3" fmla="*/ 6875 w 8868"/>
                <a:gd name="connsiteY3" fmla="*/ 2388 h 9053"/>
                <a:gd name="connsiteX4" fmla="*/ 6078 w 8868"/>
                <a:gd name="connsiteY4" fmla="*/ 1791 h 9053"/>
                <a:gd name="connsiteX5" fmla="*/ 3687 w 8868"/>
                <a:gd name="connsiteY5" fmla="*/ 796 h 9053"/>
                <a:gd name="connsiteX6" fmla="*/ 2591 w 8868"/>
                <a:gd name="connsiteY6" fmla="*/ 0 h 9053"/>
                <a:gd name="connsiteX7" fmla="*/ 1993 w 8868"/>
                <a:gd name="connsiteY7" fmla="*/ 1393 h 9053"/>
                <a:gd name="connsiteX8" fmla="*/ 1495 w 8868"/>
                <a:gd name="connsiteY8" fmla="*/ 2587 h 9053"/>
                <a:gd name="connsiteX9" fmla="*/ 797 w 8868"/>
                <a:gd name="connsiteY9" fmla="*/ 3582 h 9053"/>
                <a:gd name="connsiteX10" fmla="*/ 0 w 8868"/>
                <a:gd name="connsiteY10" fmla="*/ 4576 h 9053"/>
                <a:gd name="connsiteX11" fmla="*/ 3886 w 8868"/>
                <a:gd name="connsiteY11" fmla="*/ 7462 h 9053"/>
                <a:gd name="connsiteX12" fmla="*/ 5181 w 8868"/>
                <a:gd name="connsiteY12" fmla="*/ 9053 h 9053"/>
                <a:gd name="connsiteX13" fmla="*/ 7672 w 8868"/>
                <a:gd name="connsiteY13" fmla="*/ 7860 h 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868" h="9053">
                  <a:moveTo>
                    <a:pt x="7672" y="7860"/>
                  </a:moveTo>
                  <a:lnTo>
                    <a:pt x="8868" y="6765"/>
                  </a:lnTo>
                  <a:lnTo>
                    <a:pt x="8669" y="5074"/>
                  </a:lnTo>
                  <a:lnTo>
                    <a:pt x="6875" y="2388"/>
                  </a:lnTo>
                  <a:lnTo>
                    <a:pt x="6078" y="1791"/>
                  </a:lnTo>
                  <a:lnTo>
                    <a:pt x="3687" y="796"/>
                  </a:lnTo>
                  <a:lnTo>
                    <a:pt x="2591" y="0"/>
                  </a:lnTo>
                  <a:lnTo>
                    <a:pt x="1993" y="1393"/>
                  </a:lnTo>
                  <a:lnTo>
                    <a:pt x="1495" y="2587"/>
                  </a:lnTo>
                  <a:lnTo>
                    <a:pt x="797" y="3582"/>
                  </a:lnTo>
                  <a:lnTo>
                    <a:pt x="0" y="4576"/>
                  </a:lnTo>
                  <a:lnTo>
                    <a:pt x="3886" y="7462"/>
                  </a:lnTo>
                  <a:lnTo>
                    <a:pt x="5181" y="9053"/>
                  </a:lnTo>
                  <a:lnTo>
                    <a:pt x="7672" y="786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7" name="Freeform: Shape 1476">
              <a:extLst>
                <a:ext uri="{FF2B5EF4-FFF2-40B4-BE49-F238E27FC236}">
                  <a16:creationId xmlns:a16="http://schemas.microsoft.com/office/drawing/2014/main" id="{EFCDE1C6-D5CC-4BB5-97F0-9CC75BFF6717}"/>
                </a:ext>
              </a:extLst>
            </p:cNvPr>
            <p:cNvSpPr/>
            <p:nvPr/>
          </p:nvSpPr>
          <p:spPr>
            <a:xfrm>
              <a:off x="2858122" y="1181647"/>
              <a:ext cx="28697" cy="15321"/>
            </a:xfrm>
            <a:custGeom>
              <a:avLst/>
              <a:gdLst>
                <a:gd name="connsiteX0" fmla="*/ 17737 w 28697"/>
                <a:gd name="connsiteY0" fmla="*/ 4278 h 15321"/>
                <a:gd name="connsiteX1" fmla="*/ 14748 w 28697"/>
                <a:gd name="connsiteY1" fmla="*/ 2587 h 15321"/>
                <a:gd name="connsiteX2" fmla="*/ 6377 w 28697"/>
                <a:gd name="connsiteY2" fmla="*/ 696 h 15321"/>
                <a:gd name="connsiteX3" fmla="*/ 2890 w 28697"/>
                <a:gd name="connsiteY3" fmla="*/ 497 h 15321"/>
                <a:gd name="connsiteX4" fmla="*/ 0 w 28697"/>
                <a:gd name="connsiteY4" fmla="*/ 2189 h 15321"/>
                <a:gd name="connsiteX5" fmla="*/ 1694 w 28697"/>
                <a:gd name="connsiteY5" fmla="*/ 4079 h 15321"/>
                <a:gd name="connsiteX6" fmla="*/ 7673 w 28697"/>
                <a:gd name="connsiteY6" fmla="*/ 8854 h 15321"/>
                <a:gd name="connsiteX7" fmla="*/ 11957 w 28697"/>
                <a:gd name="connsiteY7" fmla="*/ 13331 h 15321"/>
                <a:gd name="connsiteX8" fmla="*/ 13751 w 28697"/>
                <a:gd name="connsiteY8" fmla="*/ 14525 h 15321"/>
                <a:gd name="connsiteX9" fmla="*/ 16043 w 28697"/>
                <a:gd name="connsiteY9" fmla="*/ 15122 h 15321"/>
                <a:gd name="connsiteX10" fmla="*/ 18733 w 28697"/>
                <a:gd name="connsiteY10" fmla="*/ 15321 h 15321"/>
                <a:gd name="connsiteX11" fmla="*/ 21324 w 28697"/>
                <a:gd name="connsiteY11" fmla="*/ 15122 h 15321"/>
                <a:gd name="connsiteX12" fmla="*/ 23317 w 28697"/>
                <a:gd name="connsiteY12" fmla="*/ 14525 h 15321"/>
                <a:gd name="connsiteX13" fmla="*/ 24911 w 28697"/>
                <a:gd name="connsiteY13" fmla="*/ 12933 h 15321"/>
                <a:gd name="connsiteX14" fmla="*/ 27302 w 28697"/>
                <a:gd name="connsiteY14" fmla="*/ 8456 h 15321"/>
                <a:gd name="connsiteX15" fmla="*/ 28698 w 28697"/>
                <a:gd name="connsiteY15" fmla="*/ 6666 h 15321"/>
                <a:gd name="connsiteX16" fmla="*/ 24612 w 28697"/>
                <a:gd name="connsiteY16" fmla="*/ 5472 h 15321"/>
                <a:gd name="connsiteX17" fmla="*/ 22919 w 28697"/>
                <a:gd name="connsiteY17" fmla="*/ 4278 h 15321"/>
                <a:gd name="connsiteX18" fmla="*/ 22420 w 28697"/>
                <a:gd name="connsiteY18" fmla="*/ 2189 h 15321"/>
                <a:gd name="connsiteX19" fmla="*/ 20527 w 28697"/>
                <a:gd name="connsiteY19" fmla="*/ 0 h 15321"/>
                <a:gd name="connsiteX20" fmla="*/ 19929 w 28697"/>
                <a:gd name="connsiteY20" fmla="*/ 896 h 15321"/>
                <a:gd name="connsiteX21" fmla="*/ 19730 w 28697"/>
                <a:gd name="connsiteY21" fmla="*/ 2885 h 15321"/>
                <a:gd name="connsiteX22" fmla="*/ 19032 w 28697"/>
                <a:gd name="connsiteY22" fmla="*/ 4377 h 15321"/>
                <a:gd name="connsiteX23" fmla="*/ 17737 w 28697"/>
                <a:gd name="connsiteY23" fmla="*/ 4278 h 1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697" h="15321">
                  <a:moveTo>
                    <a:pt x="17737" y="4278"/>
                  </a:moveTo>
                  <a:lnTo>
                    <a:pt x="14748" y="2587"/>
                  </a:lnTo>
                  <a:lnTo>
                    <a:pt x="6377" y="696"/>
                  </a:lnTo>
                  <a:lnTo>
                    <a:pt x="2890" y="497"/>
                  </a:lnTo>
                  <a:lnTo>
                    <a:pt x="0" y="2189"/>
                  </a:lnTo>
                  <a:lnTo>
                    <a:pt x="1694" y="4079"/>
                  </a:lnTo>
                  <a:lnTo>
                    <a:pt x="7673" y="8854"/>
                  </a:lnTo>
                  <a:lnTo>
                    <a:pt x="11957" y="13331"/>
                  </a:lnTo>
                  <a:lnTo>
                    <a:pt x="13751" y="14525"/>
                  </a:lnTo>
                  <a:lnTo>
                    <a:pt x="16043" y="15122"/>
                  </a:lnTo>
                  <a:lnTo>
                    <a:pt x="18733" y="15321"/>
                  </a:lnTo>
                  <a:lnTo>
                    <a:pt x="21324" y="15122"/>
                  </a:lnTo>
                  <a:lnTo>
                    <a:pt x="23317" y="14525"/>
                  </a:lnTo>
                  <a:lnTo>
                    <a:pt x="24911" y="12933"/>
                  </a:lnTo>
                  <a:lnTo>
                    <a:pt x="27302" y="8456"/>
                  </a:lnTo>
                  <a:lnTo>
                    <a:pt x="28698" y="6666"/>
                  </a:lnTo>
                  <a:lnTo>
                    <a:pt x="24612" y="5472"/>
                  </a:lnTo>
                  <a:lnTo>
                    <a:pt x="22919" y="4278"/>
                  </a:lnTo>
                  <a:lnTo>
                    <a:pt x="22420" y="2189"/>
                  </a:lnTo>
                  <a:lnTo>
                    <a:pt x="20527" y="0"/>
                  </a:lnTo>
                  <a:lnTo>
                    <a:pt x="19929" y="896"/>
                  </a:lnTo>
                  <a:lnTo>
                    <a:pt x="19730" y="2885"/>
                  </a:lnTo>
                  <a:lnTo>
                    <a:pt x="19032" y="4377"/>
                  </a:lnTo>
                  <a:lnTo>
                    <a:pt x="17737" y="427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8" name="Freeform: Shape 1477">
              <a:extLst>
                <a:ext uri="{FF2B5EF4-FFF2-40B4-BE49-F238E27FC236}">
                  <a16:creationId xmlns:a16="http://schemas.microsoft.com/office/drawing/2014/main" id="{B6255406-F56F-4660-A552-6F36B558D121}"/>
                </a:ext>
              </a:extLst>
            </p:cNvPr>
            <p:cNvSpPr/>
            <p:nvPr/>
          </p:nvSpPr>
          <p:spPr>
            <a:xfrm>
              <a:off x="2877154" y="1152796"/>
              <a:ext cx="11359" cy="7859"/>
            </a:xfrm>
            <a:custGeom>
              <a:avLst/>
              <a:gdLst>
                <a:gd name="connsiteX0" fmla="*/ 6078 w 11359"/>
                <a:gd name="connsiteY0" fmla="*/ 1194 h 7859"/>
                <a:gd name="connsiteX1" fmla="*/ 2591 w 11359"/>
                <a:gd name="connsiteY1" fmla="*/ 0 h 7859"/>
                <a:gd name="connsiteX2" fmla="*/ 797 w 11359"/>
                <a:gd name="connsiteY2" fmla="*/ 1592 h 7859"/>
                <a:gd name="connsiteX3" fmla="*/ 0 w 11359"/>
                <a:gd name="connsiteY3" fmla="*/ 2288 h 7859"/>
                <a:gd name="connsiteX4" fmla="*/ 0 w 11359"/>
                <a:gd name="connsiteY4" fmla="*/ 3383 h 7859"/>
                <a:gd name="connsiteX5" fmla="*/ 996 w 11359"/>
                <a:gd name="connsiteY5" fmla="*/ 3482 h 7859"/>
                <a:gd name="connsiteX6" fmla="*/ 1494 w 11359"/>
                <a:gd name="connsiteY6" fmla="*/ 3681 h 7859"/>
                <a:gd name="connsiteX7" fmla="*/ 1893 w 11359"/>
                <a:gd name="connsiteY7" fmla="*/ 4079 h 7859"/>
                <a:gd name="connsiteX8" fmla="*/ 2591 w 11359"/>
                <a:gd name="connsiteY8" fmla="*/ 4377 h 7859"/>
                <a:gd name="connsiteX9" fmla="*/ 896 w 11359"/>
                <a:gd name="connsiteY9" fmla="*/ 5571 h 7859"/>
                <a:gd name="connsiteX10" fmla="*/ 3787 w 11359"/>
                <a:gd name="connsiteY10" fmla="*/ 6964 h 7859"/>
                <a:gd name="connsiteX11" fmla="*/ 6078 w 11359"/>
                <a:gd name="connsiteY11" fmla="*/ 7661 h 7859"/>
                <a:gd name="connsiteX12" fmla="*/ 11360 w 11359"/>
                <a:gd name="connsiteY12" fmla="*/ 7859 h 7859"/>
                <a:gd name="connsiteX13" fmla="*/ 10562 w 11359"/>
                <a:gd name="connsiteY13" fmla="*/ 5969 h 7859"/>
                <a:gd name="connsiteX14" fmla="*/ 9367 w 11359"/>
                <a:gd name="connsiteY14" fmla="*/ 4775 h 7859"/>
                <a:gd name="connsiteX15" fmla="*/ 7872 w 11359"/>
                <a:gd name="connsiteY15" fmla="*/ 4178 h 7859"/>
                <a:gd name="connsiteX16" fmla="*/ 6178 w 11359"/>
                <a:gd name="connsiteY16" fmla="*/ 4377 h 7859"/>
                <a:gd name="connsiteX17" fmla="*/ 6875 w 11359"/>
                <a:gd name="connsiteY17" fmla="*/ 2288 h 7859"/>
                <a:gd name="connsiteX18" fmla="*/ 6078 w 11359"/>
                <a:gd name="connsiteY18" fmla="*/ 1194 h 7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359" h="7859">
                  <a:moveTo>
                    <a:pt x="6078" y="1194"/>
                  </a:moveTo>
                  <a:lnTo>
                    <a:pt x="2591" y="0"/>
                  </a:lnTo>
                  <a:lnTo>
                    <a:pt x="797" y="1592"/>
                  </a:lnTo>
                  <a:lnTo>
                    <a:pt x="0" y="2288"/>
                  </a:lnTo>
                  <a:lnTo>
                    <a:pt x="0" y="3383"/>
                  </a:lnTo>
                  <a:lnTo>
                    <a:pt x="996" y="3482"/>
                  </a:lnTo>
                  <a:lnTo>
                    <a:pt x="1494" y="3681"/>
                  </a:lnTo>
                  <a:lnTo>
                    <a:pt x="1893" y="4079"/>
                  </a:lnTo>
                  <a:lnTo>
                    <a:pt x="2591" y="4377"/>
                  </a:lnTo>
                  <a:lnTo>
                    <a:pt x="896" y="5571"/>
                  </a:lnTo>
                  <a:lnTo>
                    <a:pt x="3787" y="6964"/>
                  </a:lnTo>
                  <a:lnTo>
                    <a:pt x="6078" y="7661"/>
                  </a:lnTo>
                  <a:lnTo>
                    <a:pt x="11360" y="7859"/>
                  </a:lnTo>
                  <a:lnTo>
                    <a:pt x="10562" y="5969"/>
                  </a:lnTo>
                  <a:lnTo>
                    <a:pt x="9367" y="4775"/>
                  </a:lnTo>
                  <a:lnTo>
                    <a:pt x="7872" y="4178"/>
                  </a:lnTo>
                  <a:lnTo>
                    <a:pt x="6178" y="4377"/>
                  </a:lnTo>
                  <a:lnTo>
                    <a:pt x="6875" y="2288"/>
                  </a:lnTo>
                  <a:lnTo>
                    <a:pt x="6078" y="1194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79" name="Freeform: Shape 1478">
              <a:extLst>
                <a:ext uri="{FF2B5EF4-FFF2-40B4-BE49-F238E27FC236}">
                  <a16:creationId xmlns:a16="http://schemas.microsoft.com/office/drawing/2014/main" id="{1C3B9F6F-CCC9-4DDB-A112-B88AC3762DFF}"/>
                </a:ext>
              </a:extLst>
            </p:cNvPr>
            <p:cNvSpPr/>
            <p:nvPr/>
          </p:nvSpPr>
          <p:spPr>
            <a:xfrm>
              <a:off x="2070436" y="1011325"/>
              <a:ext cx="27003" cy="19300"/>
            </a:xfrm>
            <a:custGeom>
              <a:avLst/>
              <a:gdLst>
                <a:gd name="connsiteX0" fmla="*/ 22320 w 27003"/>
                <a:gd name="connsiteY0" fmla="*/ 398 h 19300"/>
                <a:gd name="connsiteX1" fmla="*/ 15046 w 27003"/>
                <a:gd name="connsiteY1" fmla="*/ 3681 h 19300"/>
                <a:gd name="connsiteX2" fmla="*/ 13651 w 27003"/>
                <a:gd name="connsiteY2" fmla="*/ 5074 h 19300"/>
                <a:gd name="connsiteX3" fmla="*/ 12057 w 27003"/>
                <a:gd name="connsiteY3" fmla="*/ 7064 h 19300"/>
                <a:gd name="connsiteX4" fmla="*/ 2491 w 27003"/>
                <a:gd name="connsiteY4" fmla="*/ 12237 h 19300"/>
                <a:gd name="connsiteX5" fmla="*/ 0 w 27003"/>
                <a:gd name="connsiteY5" fmla="*/ 15719 h 19300"/>
                <a:gd name="connsiteX6" fmla="*/ 100 w 27003"/>
                <a:gd name="connsiteY6" fmla="*/ 18405 h 19300"/>
                <a:gd name="connsiteX7" fmla="*/ 1893 w 27003"/>
                <a:gd name="connsiteY7" fmla="*/ 19301 h 19300"/>
                <a:gd name="connsiteX8" fmla="*/ 7573 w 27003"/>
                <a:gd name="connsiteY8" fmla="*/ 15719 h 19300"/>
                <a:gd name="connsiteX9" fmla="*/ 14548 w 27003"/>
                <a:gd name="connsiteY9" fmla="*/ 13928 h 19300"/>
                <a:gd name="connsiteX10" fmla="*/ 16342 w 27003"/>
                <a:gd name="connsiteY10" fmla="*/ 11342 h 19300"/>
                <a:gd name="connsiteX11" fmla="*/ 13950 w 27003"/>
                <a:gd name="connsiteY11" fmla="*/ 10944 h 19300"/>
                <a:gd name="connsiteX12" fmla="*/ 15246 w 27003"/>
                <a:gd name="connsiteY12" fmla="*/ 9053 h 19300"/>
                <a:gd name="connsiteX13" fmla="*/ 18334 w 27003"/>
                <a:gd name="connsiteY13" fmla="*/ 6765 h 19300"/>
                <a:gd name="connsiteX14" fmla="*/ 21523 w 27003"/>
                <a:gd name="connsiteY14" fmla="*/ 5671 h 19300"/>
                <a:gd name="connsiteX15" fmla="*/ 24812 w 27003"/>
                <a:gd name="connsiteY15" fmla="*/ 5372 h 19300"/>
                <a:gd name="connsiteX16" fmla="*/ 26804 w 27003"/>
                <a:gd name="connsiteY16" fmla="*/ 4377 h 19300"/>
                <a:gd name="connsiteX17" fmla="*/ 27004 w 27003"/>
                <a:gd name="connsiteY17" fmla="*/ 2686 h 19300"/>
                <a:gd name="connsiteX18" fmla="*/ 25011 w 27003"/>
                <a:gd name="connsiteY18" fmla="*/ 0 h 19300"/>
                <a:gd name="connsiteX19" fmla="*/ 22320 w 27003"/>
                <a:gd name="connsiteY19" fmla="*/ 398 h 1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003" h="19300">
                  <a:moveTo>
                    <a:pt x="22320" y="398"/>
                  </a:moveTo>
                  <a:lnTo>
                    <a:pt x="15046" y="3681"/>
                  </a:lnTo>
                  <a:lnTo>
                    <a:pt x="13651" y="5074"/>
                  </a:lnTo>
                  <a:lnTo>
                    <a:pt x="12057" y="7064"/>
                  </a:lnTo>
                  <a:lnTo>
                    <a:pt x="2491" y="12237"/>
                  </a:lnTo>
                  <a:lnTo>
                    <a:pt x="0" y="15719"/>
                  </a:lnTo>
                  <a:lnTo>
                    <a:pt x="100" y="18405"/>
                  </a:lnTo>
                  <a:lnTo>
                    <a:pt x="1893" y="19301"/>
                  </a:lnTo>
                  <a:lnTo>
                    <a:pt x="7573" y="15719"/>
                  </a:lnTo>
                  <a:lnTo>
                    <a:pt x="14548" y="13928"/>
                  </a:lnTo>
                  <a:lnTo>
                    <a:pt x="16342" y="11342"/>
                  </a:lnTo>
                  <a:lnTo>
                    <a:pt x="13950" y="10944"/>
                  </a:lnTo>
                  <a:lnTo>
                    <a:pt x="15246" y="9053"/>
                  </a:lnTo>
                  <a:lnTo>
                    <a:pt x="18334" y="6765"/>
                  </a:lnTo>
                  <a:lnTo>
                    <a:pt x="21523" y="5671"/>
                  </a:lnTo>
                  <a:lnTo>
                    <a:pt x="24812" y="5372"/>
                  </a:lnTo>
                  <a:lnTo>
                    <a:pt x="26804" y="4377"/>
                  </a:lnTo>
                  <a:lnTo>
                    <a:pt x="27004" y="2686"/>
                  </a:lnTo>
                  <a:lnTo>
                    <a:pt x="25011" y="0"/>
                  </a:lnTo>
                  <a:lnTo>
                    <a:pt x="22320" y="39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0" name="Freeform: Shape 1479">
              <a:extLst>
                <a:ext uri="{FF2B5EF4-FFF2-40B4-BE49-F238E27FC236}">
                  <a16:creationId xmlns:a16="http://schemas.microsoft.com/office/drawing/2014/main" id="{0245C2CE-B7C9-471A-BD45-7562048F2515}"/>
                </a:ext>
              </a:extLst>
            </p:cNvPr>
            <p:cNvSpPr/>
            <p:nvPr/>
          </p:nvSpPr>
          <p:spPr>
            <a:xfrm>
              <a:off x="2046720" y="988940"/>
              <a:ext cx="6975" cy="7362"/>
            </a:xfrm>
            <a:custGeom>
              <a:avLst/>
              <a:gdLst>
                <a:gd name="connsiteX0" fmla="*/ 3687 w 6975"/>
                <a:gd name="connsiteY0" fmla="*/ 1592 h 7362"/>
                <a:gd name="connsiteX1" fmla="*/ 100 w 6975"/>
                <a:gd name="connsiteY1" fmla="*/ 4178 h 7362"/>
                <a:gd name="connsiteX2" fmla="*/ 0 w 6975"/>
                <a:gd name="connsiteY2" fmla="*/ 5671 h 7362"/>
                <a:gd name="connsiteX3" fmla="*/ 1993 w 6975"/>
                <a:gd name="connsiteY3" fmla="*/ 7362 h 7362"/>
                <a:gd name="connsiteX4" fmla="*/ 4185 w 6975"/>
                <a:gd name="connsiteY4" fmla="*/ 6566 h 7362"/>
                <a:gd name="connsiteX5" fmla="*/ 5979 w 6975"/>
                <a:gd name="connsiteY5" fmla="*/ 4377 h 7362"/>
                <a:gd name="connsiteX6" fmla="*/ 6975 w 6975"/>
                <a:gd name="connsiteY6" fmla="*/ 2189 h 7362"/>
                <a:gd name="connsiteX7" fmla="*/ 5182 w 6975"/>
                <a:gd name="connsiteY7" fmla="*/ 0 h 7362"/>
                <a:gd name="connsiteX8" fmla="*/ 3687 w 6975"/>
                <a:gd name="connsiteY8" fmla="*/ 1592 h 7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75" h="7362">
                  <a:moveTo>
                    <a:pt x="3687" y="1592"/>
                  </a:moveTo>
                  <a:lnTo>
                    <a:pt x="100" y="4178"/>
                  </a:lnTo>
                  <a:lnTo>
                    <a:pt x="0" y="5671"/>
                  </a:lnTo>
                  <a:lnTo>
                    <a:pt x="1993" y="7362"/>
                  </a:lnTo>
                  <a:lnTo>
                    <a:pt x="4185" y="6566"/>
                  </a:lnTo>
                  <a:lnTo>
                    <a:pt x="5979" y="4377"/>
                  </a:lnTo>
                  <a:lnTo>
                    <a:pt x="6975" y="2189"/>
                  </a:lnTo>
                  <a:lnTo>
                    <a:pt x="5182" y="0"/>
                  </a:lnTo>
                  <a:lnTo>
                    <a:pt x="3687" y="15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1" name="Freeform: Shape 1480">
              <a:extLst>
                <a:ext uri="{FF2B5EF4-FFF2-40B4-BE49-F238E27FC236}">
                  <a16:creationId xmlns:a16="http://schemas.microsoft.com/office/drawing/2014/main" id="{858AEDE4-A783-49AC-928E-9D06A9B03724}"/>
                </a:ext>
              </a:extLst>
            </p:cNvPr>
            <p:cNvSpPr/>
            <p:nvPr/>
          </p:nvSpPr>
          <p:spPr>
            <a:xfrm>
              <a:off x="2087275" y="996402"/>
              <a:ext cx="16839" cy="9451"/>
            </a:xfrm>
            <a:custGeom>
              <a:avLst/>
              <a:gdLst>
                <a:gd name="connsiteX0" fmla="*/ 9964 w 16839"/>
                <a:gd name="connsiteY0" fmla="*/ 1592 h 9451"/>
                <a:gd name="connsiteX1" fmla="*/ 3587 w 16839"/>
                <a:gd name="connsiteY1" fmla="*/ 2885 h 9451"/>
                <a:gd name="connsiteX2" fmla="*/ 1993 w 16839"/>
                <a:gd name="connsiteY2" fmla="*/ 3781 h 9451"/>
                <a:gd name="connsiteX3" fmla="*/ 0 w 16839"/>
                <a:gd name="connsiteY3" fmla="*/ 6566 h 9451"/>
                <a:gd name="connsiteX4" fmla="*/ 997 w 16839"/>
                <a:gd name="connsiteY4" fmla="*/ 7462 h 9451"/>
                <a:gd name="connsiteX5" fmla="*/ 7972 w 16839"/>
                <a:gd name="connsiteY5" fmla="*/ 7064 h 9451"/>
                <a:gd name="connsiteX6" fmla="*/ 10164 w 16839"/>
                <a:gd name="connsiteY6" fmla="*/ 7263 h 9451"/>
                <a:gd name="connsiteX7" fmla="*/ 12256 w 16839"/>
                <a:gd name="connsiteY7" fmla="*/ 8058 h 9451"/>
                <a:gd name="connsiteX8" fmla="*/ 14150 w 16839"/>
                <a:gd name="connsiteY8" fmla="*/ 9451 h 9451"/>
                <a:gd name="connsiteX9" fmla="*/ 13552 w 16839"/>
                <a:gd name="connsiteY9" fmla="*/ 7064 h 9451"/>
                <a:gd name="connsiteX10" fmla="*/ 14150 w 16839"/>
                <a:gd name="connsiteY10" fmla="*/ 5273 h 9451"/>
                <a:gd name="connsiteX11" fmla="*/ 15445 w 16839"/>
                <a:gd name="connsiteY11" fmla="*/ 3979 h 9451"/>
                <a:gd name="connsiteX12" fmla="*/ 16840 w 16839"/>
                <a:gd name="connsiteY12" fmla="*/ 2786 h 9451"/>
                <a:gd name="connsiteX13" fmla="*/ 16840 w 16839"/>
                <a:gd name="connsiteY13" fmla="*/ 398 h 9451"/>
                <a:gd name="connsiteX14" fmla="*/ 14847 w 16839"/>
                <a:gd name="connsiteY14" fmla="*/ 0 h 9451"/>
                <a:gd name="connsiteX15" fmla="*/ 9964 w 16839"/>
                <a:gd name="connsiteY15" fmla="*/ 1592 h 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839" h="9451">
                  <a:moveTo>
                    <a:pt x="9964" y="1592"/>
                  </a:moveTo>
                  <a:lnTo>
                    <a:pt x="3587" y="2885"/>
                  </a:lnTo>
                  <a:lnTo>
                    <a:pt x="1993" y="3781"/>
                  </a:lnTo>
                  <a:lnTo>
                    <a:pt x="0" y="6566"/>
                  </a:lnTo>
                  <a:lnTo>
                    <a:pt x="997" y="7462"/>
                  </a:lnTo>
                  <a:lnTo>
                    <a:pt x="7972" y="7064"/>
                  </a:lnTo>
                  <a:lnTo>
                    <a:pt x="10164" y="7263"/>
                  </a:lnTo>
                  <a:lnTo>
                    <a:pt x="12256" y="8058"/>
                  </a:lnTo>
                  <a:lnTo>
                    <a:pt x="14150" y="9451"/>
                  </a:lnTo>
                  <a:lnTo>
                    <a:pt x="13552" y="7064"/>
                  </a:lnTo>
                  <a:lnTo>
                    <a:pt x="14150" y="5273"/>
                  </a:lnTo>
                  <a:lnTo>
                    <a:pt x="15445" y="3979"/>
                  </a:lnTo>
                  <a:lnTo>
                    <a:pt x="16840" y="2786"/>
                  </a:lnTo>
                  <a:lnTo>
                    <a:pt x="16840" y="398"/>
                  </a:lnTo>
                  <a:lnTo>
                    <a:pt x="14847" y="0"/>
                  </a:lnTo>
                  <a:lnTo>
                    <a:pt x="9964" y="159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2" name="Freeform: Shape 1481">
              <a:extLst>
                <a:ext uri="{FF2B5EF4-FFF2-40B4-BE49-F238E27FC236}">
                  <a16:creationId xmlns:a16="http://schemas.microsoft.com/office/drawing/2014/main" id="{634471B7-2B0B-4943-AA45-4A050C884BDE}"/>
                </a:ext>
              </a:extLst>
            </p:cNvPr>
            <p:cNvSpPr/>
            <p:nvPr/>
          </p:nvSpPr>
          <p:spPr>
            <a:xfrm>
              <a:off x="2111091" y="977698"/>
              <a:ext cx="8668" cy="13032"/>
            </a:xfrm>
            <a:custGeom>
              <a:avLst/>
              <a:gdLst>
                <a:gd name="connsiteX0" fmla="*/ 1993 w 8668"/>
                <a:gd name="connsiteY0" fmla="*/ 2885 h 13032"/>
                <a:gd name="connsiteX1" fmla="*/ 498 w 8668"/>
                <a:gd name="connsiteY1" fmla="*/ 7661 h 13032"/>
                <a:gd name="connsiteX2" fmla="*/ 0 w 8668"/>
                <a:gd name="connsiteY2" fmla="*/ 13033 h 13032"/>
                <a:gd name="connsiteX3" fmla="*/ 5480 w 8668"/>
                <a:gd name="connsiteY3" fmla="*/ 10745 h 13032"/>
                <a:gd name="connsiteX4" fmla="*/ 8370 w 8668"/>
                <a:gd name="connsiteY4" fmla="*/ 7860 h 13032"/>
                <a:gd name="connsiteX5" fmla="*/ 7772 w 8668"/>
                <a:gd name="connsiteY5" fmla="*/ 2288 h 13032"/>
                <a:gd name="connsiteX6" fmla="*/ 8071 w 8668"/>
                <a:gd name="connsiteY6" fmla="*/ 1691 h 13032"/>
                <a:gd name="connsiteX7" fmla="*/ 8370 w 8668"/>
                <a:gd name="connsiteY7" fmla="*/ 1293 h 13032"/>
                <a:gd name="connsiteX8" fmla="*/ 8669 w 8668"/>
                <a:gd name="connsiteY8" fmla="*/ 796 h 13032"/>
                <a:gd name="connsiteX9" fmla="*/ 8669 w 8668"/>
                <a:gd name="connsiteY9" fmla="*/ 0 h 13032"/>
                <a:gd name="connsiteX10" fmla="*/ 4683 w 8668"/>
                <a:gd name="connsiteY10" fmla="*/ 0 h 13032"/>
                <a:gd name="connsiteX11" fmla="*/ 1993 w 8668"/>
                <a:gd name="connsiteY11" fmla="*/ 2885 h 13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68" h="13032">
                  <a:moveTo>
                    <a:pt x="1993" y="2885"/>
                  </a:moveTo>
                  <a:lnTo>
                    <a:pt x="498" y="7661"/>
                  </a:lnTo>
                  <a:lnTo>
                    <a:pt x="0" y="13033"/>
                  </a:lnTo>
                  <a:lnTo>
                    <a:pt x="5480" y="10745"/>
                  </a:lnTo>
                  <a:lnTo>
                    <a:pt x="8370" y="7860"/>
                  </a:lnTo>
                  <a:lnTo>
                    <a:pt x="7772" y="2288"/>
                  </a:lnTo>
                  <a:lnTo>
                    <a:pt x="8071" y="1691"/>
                  </a:lnTo>
                  <a:lnTo>
                    <a:pt x="8370" y="1293"/>
                  </a:lnTo>
                  <a:lnTo>
                    <a:pt x="8669" y="796"/>
                  </a:lnTo>
                  <a:lnTo>
                    <a:pt x="8669" y="0"/>
                  </a:lnTo>
                  <a:lnTo>
                    <a:pt x="4683" y="0"/>
                  </a:lnTo>
                  <a:lnTo>
                    <a:pt x="1993" y="288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3" name="Freeform: Shape 1482">
              <a:extLst>
                <a:ext uri="{FF2B5EF4-FFF2-40B4-BE49-F238E27FC236}">
                  <a16:creationId xmlns:a16="http://schemas.microsoft.com/office/drawing/2014/main" id="{CBEC203D-D9FF-4694-9EF0-364182E0F9A5}"/>
                </a:ext>
              </a:extLst>
            </p:cNvPr>
            <p:cNvSpPr/>
            <p:nvPr/>
          </p:nvSpPr>
          <p:spPr>
            <a:xfrm>
              <a:off x="3910364" y="1466977"/>
              <a:ext cx="8569" cy="10744"/>
            </a:xfrm>
            <a:custGeom>
              <a:avLst/>
              <a:gdLst>
                <a:gd name="connsiteX0" fmla="*/ 6576 w 8569"/>
                <a:gd name="connsiteY0" fmla="*/ 5472 h 10744"/>
                <a:gd name="connsiteX1" fmla="*/ 8171 w 8569"/>
                <a:gd name="connsiteY1" fmla="*/ 1990 h 10744"/>
                <a:gd name="connsiteX2" fmla="*/ 8569 w 8569"/>
                <a:gd name="connsiteY2" fmla="*/ 99 h 10744"/>
                <a:gd name="connsiteX3" fmla="*/ 7174 w 8569"/>
                <a:gd name="connsiteY3" fmla="*/ 0 h 10744"/>
                <a:gd name="connsiteX4" fmla="*/ 4982 w 8569"/>
                <a:gd name="connsiteY4" fmla="*/ 895 h 10744"/>
                <a:gd name="connsiteX5" fmla="*/ 3089 w 8569"/>
                <a:gd name="connsiteY5" fmla="*/ 1990 h 10744"/>
                <a:gd name="connsiteX6" fmla="*/ 797 w 8569"/>
                <a:gd name="connsiteY6" fmla="*/ 3880 h 10744"/>
                <a:gd name="connsiteX7" fmla="*/ 0 w 8569"/>
                <a:gd name="connsiteY7" fmla="*/ 5571 h 10744"/>
                <a:gd name="connsiteX8" fmla="*/ 398 w 8569"/>
                <a:gd name="connsiteY8" fmla="*/ 10745 h 10744"/>
                <a:gd name="connsiteX9" fmla="*/ 4982 w 8569"/>
                <a:gd name="connsiteY9" fmla="*/ 7462 h 10744"/>
                <a:gd name="connsiteX10" fmla="*/ 6576 w 8569"/>
                <a:gd name="connsiteY10" fmla="*/ 5472 h 10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69" h="10744">
                  <a:moveTo>
                    <a:pt x="6576" y="5472"/>
                  </a:moveTo>
                  <a:lnTo>
                    <a:pt x="8171" y="1990"/>
                  </a:lnTo>
                  <a:lnTo>
                    <a:pt x="8569" y="99"/>
                  </a:lnTo>
                  <a:lnTo>
                    <a:pt x="7174" y="0"/>
                  </a:lnTo>
                  <a:lnTo>
                    <a:pt x="4982" y="895"/>
                  </a:lnTo>
                  <a:lnTo>
                    <a:pt x="3089" y="1990"/>
                  </a:lnTo>
                  <a:lnTo>
                    <a:pt x="797" y="3880"/>
                  </a:lnTo>
                  <a:lnTo>
                    <a:pt x="0" y="5571"/>
                  </a:lnTo>
                  <a:lnTo>
                    <a:pt x="398" y="10745"/>
                  </a:lnTo>
                  <a:lnTo>
                    <a:pt x="4982" y="7462"/>
                  </a:lnTo>
                  <a:lnTo>
                    <a:pt x="6576" y="5472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4" name="Freeform: Shape 1483">
              <a:extLst>
                <a:ext uri="{FF2B5EF4-FFF2-40B4-BE49-F238E27FC236}">
                  <a16:creationId xmlns:a16="http://schemas.microsoft.com/office/drawing/2014/main" id="{E1C4F341-6239-4769-8A19-94C7ADA62C59}"/>
                </a:ext>
              </a:extLst>
            </p:cNvPr>
            <p:cNvSpPr/>
            <p:nvPr/>
          </p:nvSpPr>
          <p:spPr>
            <a:xfrm>
              <a:off x="5089053" y="1321726"/>
              <a:ext cx="11359" cy="18902"/>
            </a:xfrm>
            <a:custGeom>
              <a:avLst/>
              <a:gdLst>
                <a:gd name="connsiteX0" fmla="*/ 9666 w 11359"/>
                <a:gd name="connsiteY0" fmla="*/ 1393 h 18902"/>
                <a:gd name="connsiteX1" fmla="*/ 9666 w 11359"/>
                <a:gd name="connsiteY1" fmla="*/ 0 h 18902"/>
                <a:gd name="connsiteX2" fmla="*/ 7573 w 11359"/>
                <a:gd name="connsiteY2" fmla="*/ 1194 h 18902"/>
                <a:gd name="connsiteX3" fmla="*/ 6078 w 11359"/>
                <a:gd name="connsiteY3" fmla="*/ 2288 h 18902"/>
                <a:gd name="connsiteX4" fmla="*/ 5182 w 11359"/>
                <a:gd name="connsiteY4" fmla="*/ 4775 h 18902"/>
                <a:gd name="connsiteX5" fmla="*/ 4384 w 11359"/>
                <a:gd name="connsiteY5" fmla="*/ 6367 h 18902"/>
                <a:gd name="connsiteX6" fmla="*/ 3388 w 11359"/>
                <a:gd name="connsiteY6" fmla="*/ 8954 h 18902"/>
                <a:gd name="connsiteX7" fmla="*/ 3388 w 11359"/>
                <a:gd name="connsiteY7" fmla="*/ 10645 h 18902"/>
                <a:gd name="connsiteX8" fmla="*/ 2889 w 11359"/>
                <a:gd name="connsiteY8" fmla="*/ 12536 h 18902"/>
                <a:gd name="connsiteX9" fmla="*/ 0 w 11359"/>
                <a:gd name="connsiteY9" fmla="*/ 13331 h 18902"/>
                <a:gd name="connsiteX10" fmla="*/ 797 w 11359"/>
                <a:gd name="connsiteY10" fmla="*/ 15122 h 18902"/>
                <a:gd name="connsiteX11" fmla="*/ 3288 w 11359"/>
                <a:gd name="connsiteY11" fmla="*/ 17510 h 18902"/>
                <a:gd name="connsiteX12" fmla="*/ 5381 w 11359"/>
                <a:gd name="connsiteY12" fmla="*/ 18704 h 18902"/>
                <a:gd name="connsiteX13" fmla="*/ 7872 w 11359"/>
                <a:gd name="connsiteY13" fmla="*/ 18903 h 18902"/>
                <a:gd name="connsiteX14" fmla="*/ 7673 w 11359"/>
                <a:gd name="connsiteY14" fmla="*/ 16813 h 18902"/>
                <a:gd name="connsiteX15" fmla="*/ 6377 w 11359"/>
                <a:gd name="connsiteY15" fmla="*/ 13729 h 18902"/>
                <a:gd name="connsiteX16" fmla="*/ 8171 w 11359"/>
                <a:gd name="connsiteY16" fmla="*/ 12536 h 18902"/>
                <a:gd name="connsiteX17" fmla="*/ 10164 w 11359"/>
                <a:gd name="connsiteY17" fmla="*/ 10645 h 18902"/>
                <a:gd name="connsiteX18" fmla="*/ 11160 w 11359"/>
                <a:gd name="connsiteY18" fmla="*/ 7860 h 18902"/>
                <a:gd name="connsiteX19" fmla="*/ 11360 w 11359"/>
                <a:gd name="connsiteY19" fmla="*/ 5372 h 18902"/>
                <a:gd name="connsiteX20" fmla="*/ 9865 w 11359"/>
                <a:gd name="connsiteY20" fmla="*/ 3482 h 18902"/>
                <a:gd name="connsiteX21" fmla="*/ 9666 w 11359"/>
                <a:gd name="connsiteY21" fmla="*/ 1393 h 18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359" h="18902">
                  <a:moveTo>
                    <a:pt x="9666" y="1393"/>
                  </a:moveTo>
                  <a:lnTo>
                    <a:pt x="9666" y="0"/>
                  </a:lnTo>
                  <a:lnTo>
                    <a:pt x="7573" y="1194"/>
                  </a:lnTo>
                  <a:lnTo>
                    <a:pt x="6078" y="2288"/>
                  </a:lnTo>
                  <a:lnTo>
                    <a:pt x="5182" y="4775"/>
                  </a:lnTo>
                  <a:lnTo>
                    <a:pt x="4384" y="6367"/>
                  </a:lnTo>
                  <a:lnTo>
                    <a:pt x="3388" y="8954"/>
                  </a:lnTo>
                  <a:lnTo>
                    <a:pt x="3388" y="10645"/>
                  </a:lnTo>
                  <a:lnTo>
                    <a:pt x="2889" y="12536"/>
                  </a:lnTo>
                  <a:lnTo>
                    <a:pt x="0" y="13331"/>
                  </a:lnTo>
                  <a:lnTo>
                    <a:pt x="797" y="15122"/>
                  </a:lnTo>
                  <a:lnTo>
                    <a:pt x="3288" y="17510"/>
                  </a:lnTo>
                  <a:lnTo>
                    <a:pt x="5381" y="18704"/>
                  </a:lnTo>
                  <a:lnTo>
                    <a:pt x="7872" y="18903"/>
                  </a:lnTo>
                  <a:lnTo>
                    <a:pt x="7673" y="16813"/>
                  </a:lnTo>
                  <a:lnTo>
                    <a:pt x="6377" y="13729"/>
                  </a:lnTo>
                  <a:lnTo>
                    <a:pt x="8171" y="12536"/>
                  </a:lnTo>
                  <a:lnTo>
                    <a:pt x="10164" y="10645"/>
                  </a:lnTo>
                  <a:lnTo>
                    <a:pt x="11160" y="7860"/>
                  </a:lnTo>
                  <a:lnTo>
                    <a:pt x="11360" y="5372"/>
                  </a:lnTo>
                  <a:lnTo>
                    <a:pt x="9865" y="3482"/>
                  </a:lnTo>
                  <a:lnTo>
                    <a:pt x="9666" y="13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5" name="Freeform: Shape 1484">
              <a:extLst>
                <a:ext uri="{FF2B5EF4-FFF2-40B4-BE49-F238E27FC236}">
                  <a16:creationId xmlns:a16="http://schemas.microsoft.com/office/drawing/2014/main" id="{B89B5D23-C25B-40FB-A39E-56FBC12871AA}"/>
                </a:ext>
              </a:extLst>
            </p:cNvPr>
            <p:cNvSpPr/>
            <p:nvPr/>
          </p:nvSpPr>
          <p:spPr>
            <a:xfrm>
              <a:off x="-2854273" y="-453627"/>
              <a:ext cx="6004552" cy="6466"/>
            </a:xfrm>
            <a:custGeom>
              <a:avLst/>
              <a:gdLst>
                <a:gd name="connsiteX0" fmla="*/ 6004552 w 6004552"/>
                <a:gd name="connsiteY0" fmla="*/ 0 h 6466"/>
                <a:gd name="connsiteX1" fmla="*/ 3886 w 6004552"/>
                <a:gd name="connsiteY1" fmla="*/ 0 h 6466"/>
                <a:gd name="connsiteX2" fmla="*/ 2890 w 6004552"/>
                <a:gd name="connsiteY2" fmla="*/ 895 h 6466"/>
                <a:gd name="connsiteX3" fmla="*/ 598 w 6004552"/>
                <a:gd name="connsiteY3" fmla="*/ 3482 h 6466"/>
                <a:gd name="connsiteX4" fmla="*/ 0 w 6004552"/>
                <a:gd name="connsiteY4" fmla="*/ 3979 h 6466"/>
                <a:gd name="connsiteX5" fmla="*/ 0 w 6004552"/>
                <a:gd name="connsiteY5" fmla="*/ 6467 h 6466"/>
                <a:gd name="connsiteX6" fmla="*/ 6002759 w 6004552"/>
                <a:gd name="connsiteY6" fmla="*/ 6467 h 6466"/>
                <a:gd name="connsiteX7" fmla="*/ 6004552 w 6004552"/>
                <a:gd name="connsiteY7" fmla="*/ 0 h 6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004552" h="6466">
                  <a:moveTo>
                    <a:pt x="6004552" y="0"/>
                  </a:moveTo>
                  <a:lnTo>
                    <a:pt x="3886" y="0"/>
                  </a:lnTo>
                  <a:lnTo>
                    <a:pt x="2890" y="895"/>
                  </a:lnTo>
                  <a:lnTo>
                    <a:pt x="598" y="3482"/>
                  </a:lnTo>
                  <a:lnTo>
                    <a:pt x="0" y="3979"/>
                  </a:lnTo>
                  <a:lnTo>
                    <a:pt x="0" y="6467"/>
                  </a:lnTo>
                  <a:lnTo>
                    <a:pt x="6002759" y="6467"/>
                  </a:lnTo>
                  <a:lnTo>
                    <a:pt x="6004552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6" name="Freeform: Shape 1485">
              <a:extLst>
                <a:ext uri="{FF2B5EF4-FFF2-40B4-BE49-F238E27FC236}">
                  <a16:creationId xmlns:a16="http://schemas.microsoft.com/office/drawing/2014/main" id="{343246F8-A2D7-4A44-BE96-B1271CBDFCCB}"/>
                </a:ext>
              </a:extLst>
            </p:cNvPr>
            <p:cNvSpPr/>
            <p:nvPr/>
          </p:nvSpPr>
          <p:spPr>
            <a:xfrm>
              <a:off x="3478506" y="-453627"/>
              <a:ext cx="2819529" cy="6466"/>
            </a:xfrm>
            <a:custGeom>
              <a:avLst/>
              <a:gdLst>
                <a:gd name="connsiteX0" fmla="*/ 4484 w 2819529"/>
                <a:gd name="connsiteY0" fmla="*/ 0 h 6466"/>
                <a:gd name="connsiteX1" fmla="*/ 4982 w 2819529"/>
                <a:gd name="connsiteY1" fmla="*/ 796 h 6466"/>
                <a:gd name="connsiteX2" fmla="*/ 5381 w 2819529"/>
                <a:gd name="connsiteY2" fmla="*/ 2786 h 6466"/>
                <a:gd name="connsiteX3" fmla="*/ 4684 w 2819529"/>
                <a:gd name="connsiteY3" fmla="*/ 4079 h 6466"/>
                <a:gd name="connsiteX4" fmla="*/ 0 w 2819529"/>
                <a:gd name="connsiteY4" fmla="*/ 5770 h 6466"/>
                <a:gd name="connsiteX5" fmla="*/ 12356 w 2819529"/>
                <a:gd name="connsiteY5" fmla="*/ 5770 h 6466"/>
                <a:gd name="connsiteX6" fmla="*/ 12356 w 2819529"/>
                <a:gd name="connsiteY6" fmla="*/ 6467 h 6466"/>
                <a:gd name="connsiteX7" fmla="*/ 2819529 w 2819529"/>
                <a:gd name="connsiteY7" fmla="*/ 6467 h 6466"/>
                <a:gd name="connsiteX8" fmla="*/ 2819031 w 2819529"/>
                <a:gd name="connsiteY8" fmla="*/ 2786 h 6466"/>
                <a:gd name="connsiteX9" fmla="*/ 2814447 w 2819529"/>
                <a:gd name="connsiteY9" fmla="*/ 1194 h 6466"/>
                <a:gd name="connsiteX10" fmla="*/ 2805679 w 2819529"/>
                <a:gd name="connsiteY10" fmla="*/ 995 h 6466"/>
                <a:gd name="connsiteX11" fmla="*/ 2804981 w 2819529"/>
                <a:gd name="connsiteY11" fmla="*/ 1393 h 6466"/>
                <a:gd name="connsiteX12" fmla="*/ 2804184 w 2819529"/>
                <a:gd name="connsiteY12" fmla="*/ 2288 h 6466"/>
                <a:gd name="connsiteX13" fmla="*/ 2803387 w 2819529"/>
                <a:gd name="connsiteY13" fmla="*/ 3184 h 6466"/>
                <a:gd name="connsiteX14" fmla="*/ 2803088 w 2819529"/>
                <a:gd name="connsiteY14" fmla="*/ 3979 h 6466"/>
                <a:gd name="connsiteX15" fmla="*/ 2802490 w 2819529"/>
                <a:gd name="connsiteY15" fmla="*/ 4576 h 6466"/>
                <a:gd name="connsiteX16" fmla="*/ 2798703 w 2819529"/>
                <a:gd name="connsiteY16" fmla="*/ 4576 h 6466"/>
                <a:gd name="connsiteX17" fmla="*/ 2791529 w 2819529"/>
                <a:gd name="connsiteY17" fmla="*/ 5671 h 6466"/>
                <a:gd name="connsiteX18" fmla="*/ 2789138 w 2819529"/>
                <a:gd name="connsiteY18" fmla="*/ 4875 h 6466"/>
                <a:gd name="connsiteX19" fmla="*/ 2785949 w 2819529"/>
                <a:gd name="connsiteY19" fmla="*/ 2985 h 6466"/>
                <a:gd name="connsiteX20" fmla="*/ 2783856 w 2819529"/>
                <a:gd name="connsiteY20" fmla="*/ 398 h 6466"/>
                <a:gd name="connsiteX21" fmla="*/ 2783956 w 2819529"/>
                <a:gd name="connsiteY21" fmla="*/ 0 h 6466"/>
                <a:gd name="connsiteX22" fmla="*/ 4484 w 2819529"/>
                <a:gd name="connsiteY22" fmla="*/ 0 h 6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819529" h="6466">
                  <a:moveTo>
                    <a:pt x="4484" y="0"/>
                  </a:moveTo>
                  <a:lnTo>
                    <a:pt x="4982" y="796"/>
                  </a:lnTo>
                  <a:lnTo>
                    <a:pt x="5381" y="2786"/>
                  </a:lnTo>
                  <a:lnTo>
                    <a:pt x="4684" y="4079"/>
                  </a:lnTo>
                  <a:lnTo>
                    <a:pt x="0" y="5770"/>
                  </a:lnTo>
                  <a:lnTo>
                    <a:pt x="12356" y="5770"/>
                  </a:lnTo>
                  <a:lnTo>
                    <a:pt x="12356" y="6467"/>
                  </a:lnTo>
                  <a:lnTo>
                    <a:pt x="2819529" y="6467"/>
                  </a:lnTo>
                  <a:lnTo>
                    <a:pt x="2819031" y="2786"/>
                  </a:lnTo>
                  <a:lnTo>
                    <a:pt x="2814447" y="1194"/>
                  </a:lnTo>
                  <a:lnTo>
                    <a:pt x="2805679" y="995"/>
                  </a:lnTo>
                  <a:lnTo>
                    <a:pt x="2804981" y="1393"/>
                  </a:lnTo>
                  <a:lnTo>
                    <a:pt x="2804184" y="2288"/>
                  </a:lnTo>
                  <a:lnTo>
                    <a:pt x="2803387" y="3184"/>
                  </a:lnTo>
                  <a:lnTo>
                    <a:pt x="2803088" y="3979"/>
                  </a:lnTo>
                  <a:lnTo>
                    <a:pt x="2802490" y="4576"/>
                  </a:lnTo>
                  <a:lnTo>
                    <a:pt x="2798703" y="4576"/>
                  </a:lnTo>
                  <a:lnTo>
                    <a:pt x="2791529" y="5671"/>
                  </a:lnTo>
                  <a:lnTo>
                    <a:pt x="2789138" y="4875"/>
                  </a:lnTo>
                  <a:lnTo>
                    <a:pt x="2785949" y="2985"/>
                  </a:lnTo>
                  <a:lnTo>
                    <a:pt x="2783856" y="398"/>
                  </a:lnTo>
                  <a:lnTo>
                    <a:pt x="2783956" y="0"/>
                  </a:lnTo>
                  <a:lnTo>
                    <a:pt x="4484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7" name="Freeform: Shape 1486">
              <a:extLst>
                <a:ext uri="{FF2B5EF4-FFF2-40B4-BE49-F238E27FC236}">
                  <a16:creationId xmlns:a16="http://schemas.microsoft.com/office/drawing/2014/main" id="{FBF2E33E-1CCE-47A4-8D5C-6B00C526BD4F}"/>
                </a:ext>
              </a:extLst>
            </p:cNvPr>
            <p:cNvSpPr/>
            <p:nvPr/>
          </p:nvSpPr>
          <p:spPr>
            <a:xfrm>
              <a:off x="3469040" y="-453627"/>
              <a:ext cx="11559" cy="2288"/>
            </a:xfrm>
            <a:custGeom>
              <a:avLst/>
              <a:gdLst>
                <a:gd name="connsiteX0" fmla="*/ 0 w 11559"/>
                <a:gd name="connsiteY0" fmla="*/ 995 h 2288"/>
                <a:gd name="connsiteX1" fmla="*/ 0 w 11559"/>
                <a:gd name="connsiteY1" fmla="*/ 2288 h 2288"/>
                <a:gd name="connsiteX2" fmla="*/ 8370 w 11559"/>
                <a:gd name="connsiteY2" fmla="*/ 2189 h 2288"/>
                <a:gd name="connsiteX3" fmla="*/ 11559 w 11559"/>
                <a:gd name="connsiteY3" fmla="*/ 1094 h 2288"/>
                <a:gd name="connsiteX4" fmla="*/ 11061 w 11559"/>
                <a:gd name="connsiteY4" fmla="*/ 0 h 2288"/>
                <a:gd name="connsiteX5" fmla="*/ 3787 w 11559"/>
                <a:gd name="connsiteY5" fmla="*/ 0 h 2288"/>
                <a:gd name="connsiteX6" fmla="*/ 2990 w 11559"/>
                <a:gd name="connsiteY6" fmla="*/ 497 h 2288"/>
                <a:gd name="connsiteX7" fmla="*/ 0 w 11559"/>
                <a:gd name="connsiteY7" fmla="*/ 995 h 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59" h="2288">
                  <a:moveTo>
                    <a:pt x="0" y="995"/>
                  </a:moveTo>
                  <a:lnTo>
                    <a:pt x="0" y="2288"/>
                  </a:lnTo>
                  <a:lnTo>
                    <a:pt x="8370" y="2189"/>
                  </a:lnTo>
                  <a:lnTo>
                    <a:pt x="11559" y="1094"/>
                  </a:lnTo>
                  <a:lnTo>
                    <a:pt x="11061" y="0"/>
                  </a:lnTo>
                  <a:lnTo>
                    <a:pt x="3787" y="0"/>
                  </a:lnTo>
                  <a:lnTo>
                    <a:pt x="2990" y="497"/>
                  </a:lnTo>
                  <a:lnTo>
                    <a:pt x="0" y="9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8" name="Freeform: Shape 1487">
              <a:extLst>
                <a:ext uri="{FF2B5EF4-FFF2-40B4-BE49-F238E27FC236}">
                  <a16:creationId xmlns:a16="http://schemas.microsoft.com/office/drawing/2014/main" id="{72030955-83D0-4CE3-8DCF-E9789278B749}"/>
                </a:ext>
              </a:extLst>
            </p:cNvPr>
            <p:cNvSpPr/>
            <p:nvPr/>
          </p:nvSpPr>
          <p:spPr>
            <a:xfrm>
              <a:off x="-2854273" y="-453627"/>
              <a:ext cx="3886" cy="3979"/>
            </a:xfrm>
            <a:custGeom>
              <a:avLst/>
              <a:gdLst>
                <a:gd name="connsiteX0" fmla="*/ 2890 w 3886"/>
                <a:gd name="connsiteY0" fmla="*/ 895 h 3979"/>
                <a:gd name="connsiteX1" fmla="*/ 3886 w 3886"/>
                <a:gd name="connsiteY1" fmla="*/ 0 h 3979"/>
                <a:gd name="connsiteX2" fmla="*/ 0 w 3886"/>
                <a:gd name="connsiteY2" fmla="*/ 0 h 3979"/>
                <a:gd name="connsiteX3" fmla="*/ 0 w 3886"/>
                <a:gd name="connsiteY3" fmla="*/ 3979 h 3979"/>
                <a:gd name="connsiteX4" fmla="*/ 598 w 3886"/>
                <a:gd name="connsiteY4" fmla="*/ 3482 h 3979"/>
                <a:gd name="connsiteX5" fmla="*/ 2890 w 3886"/>
                <a:gd name="connsiteY5" fmla="*/ 895 h 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86" h="3979">
                  <a:moveTo>
                    <a:pt x="2890" y="895"/>
                  </a:moveTo>
                  <a:lnTo>
                    <a:pt x="3886" y="0"/>
                  </a:lnTo>
                  <a:lnTo>
                    <a:pt x="0" y="0"/>
                  </a:lnTo>
                  <a:lnTo>
                    <a:pt x="0" y="3979"/>
                  </a:lnTo>
                  <a:lnTo>
                    <a:pt x="598" y="3482"/>
                  </a:lnTo>
                  <a:lnTo>
                    <a:pt x="2890" y="895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89" name="Freeform: Shape 1488">
              <a:extLst>
                <a:ext uri="{FF2B5EF4-FFF2-40B4-BE49-F238E27FC236}">
                  <a16:creationId xmlns:a16="http://schemas.microsoft.com/office/drawing/2014/main" id="{D44DC965-C433-400C-A98B-3DE36E95F861}"/>
                </a:ext>
              </a:extLst>
            </p:cNvPr>
            <p:cNvSpPr/>
            <p:nvPr/>
          </p:nvSpPr>
          <p:spPr>
            <a:xfrm>
              <a:off x="6300227" y="247759"/>
              <a:ext cx="3587" cy="3581"/>
            </a:xfrm>
            <a:custGeom>
              <a:avLst/>
              <a:gdLst>
                <a:gd name="connsiteX0" fmla="*/ 0 w 3587"/>
                <a:gd name="connsiteY0" fmla="*/ 100 h 3581"/>
                <a:gd name="connsiteX1" fmla="*/ 0 w 3587"/>
                <a:gd name="connsiteY1" fmla="*/ 3582 h 3581"/>
                <a:gd name="connsiteX2" fmla="*/ 299 w 3587"/>
                <a:gd name="connsiteY2" fmla="*/ 3582 h 3581"/>
                <a:gd name="connsiteX3" fmla="*/ 1495 w 3587"/>
                <a:gd name="connsiteY3" fmla="*/ 3383 h 3581"/>
                <a:gd name="connsiteX4" fmla="*/ 2591 w 3587"/>
                <a:gd name="connsiteY4" fmla="*/ 2985 h 3581"/>
                <a:gd name="connsiteX5" fmla="*/ 3588 w 3587"/>
                <a:gd name="connsiteY5" fmla="*/ 2288 h 3581"/>
                <a:gd name="connsiteX6" fmla="*/ 1794 w 3587"/>
                <a:gd name="connsiteY6" fmla="*/ 0 h 3581"/>
                <a:gd name="connsiteX7" fmla="*/ 0 w 3587"/>
                <a:gd name="connsiteY7" fmla="*/ 100 h 3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87" h="3581">
                  <a:moveTo>
                    <a:pt x="0" y="100"/>
                  </a:moveTo>
                  <a:lnTo>
                    <a:pt x="0" y="3582"/>
                  </a:lnTo>
                  <a:lnTo>
                    <a:pt x="299" y="3582"/>
                  </a:lnTo>
                  <a:lnTo>
                    <a:pt x="1495" y="3383"/>
                  </a:lnTo>
                  <a:lnTo>
                    <a:pt x="2591" y="2985"/>
                  </a:lnTo>
                  <a:lnTo>
                    <a:pt x="3588" y="2288"/>
                  </a:lnTo>
                  <a:lnTo>
                    <a:pt x="1794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0" name="Freeform: Shape 1489">
              <a:extLst>
                <a:ext uri="{FF2B5EF4-FFF2-40B4-BE49-F238E27FC236}">
                  <a16:creationId xmlns:a16="http://schemas.microsoft.com/office/drawing/2014/main" id="{6E981F37-2124-4F9B-BFEA-5A9798B60731}"/>
                </a:ext>
              </a:extLst>
            </p:cNvPr>
            <p:cNvSpPr/>
            <p:nvPr/>
          </p:nvSpPr>
          <p:spPr>
            <a:xfrm>
              <a:off x="6300227" y="-433033"/>
              <a:ext cx="6775" cy="10943"/>
            </a:xfrm>
            <a:custGeom>
              <a:avLst/>
              <a:gdLst>
                <a:gd name="connsiteX0" fmla="*/ 1694 w 6775"/>
                <a:gd name="connsiteY0" fmla="*/ 2288 h 10943"/>
                <a:gd name="connsiteX1" fmla="*/ 1694 w 6775"/>
                <a:gd name="connsiteY1" fmla="*/ 4377 h 10943"/>
                <a:gd name="connsiteX2" fmla="*/ 100 w 6775"/>
                <a:gd name="connsiteY2" fmla="*/ 8357 h 10943"/>
                <a:gd name="connsiteX3" fmla="*/ 0 w 6775"/>
                <a:gd name="connsiteY3" fmla="*/ 8357 h 10943"/>
                <a:gd name="connsiteX4" fmla="*/ 0 w 6775"/>
                <a:gd name="connsiteY4" fmla="*/ 10944 h 10943"/>
                <a:gd name="connsiteX5" fmla="*/ 2192 w 6775"/>
                <a:gd name="connsiteY5" fmla="*/ 10546 h 10943"/>
                <a:gd name="connsiteX6" fmla="*/ 4783 w 6775"/>
                <a:gd name="connsiteY6" fmla="*/ 8655 h 10943"/>
                <a:gd name="connsiteX7" fmla="*/ 6776 w 6775"/>
                <a:gd name="connsiteY7" fmla="*/ 4278 h 10943"/>
                <a:gd name="connsiteX8" fmla="*/ 5780 w 6775"/>
                <a:gd name="connsiteY8" fmla="*/ 1592 h 10943"/>
                <a:gd name="connsiteX9" fmla="*/ 2989 w 6775"/>
                <a:gd name="connsiteY9" fmla="*/ 298 h 10943"/>
                <a:gd name="connsiteX10" fmla="*/ 0 w 6775"/>
                <a:gd name="connsiteY10" fmla="*/ 0 h 10943"/>
                <a:gd name="connsiteX11" fmla="*/ 0 w 6775"/>
                <a:gd name="connsiteY11" fmla="*/ 995 h 10943"/>
                <a:gd name="connsiteX12" fmla="*/ 1694 w 6775"/>
                <a:gd name="connsiteY12" fmla="*/ 2288 h 10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75" h="10943">
                  <a:moveTo>
                    <a:pt x="1694" y="2288"/>
                  </a:moveTo>
                  <a:lnTo>
                    <a:pt x="1694" y="4377"/>
                  </a:lnTo>
                  <a:lnTo>
                    <a:pt x="100" y="8357"/>
                  </a:lnTo>
                  <a:lnTo>
                    <a:pt x="0" y="8357"/>
                  </a:lnTo>
                  <a:lnTo>
                    <a:pt x="0" y="10944"/>
                  </a:lnTo>
                  <a:lnTo>
                    <a:pt x="2192" y="10546"/>
                  </a:lnTo>
                  <a:lnTo>
                    <a:pt x="4783" y="8655"/>
                  </a:lnTo>
                  <a:lnTo>
                    <a:pt x="6776" y="4278"/>
                  </a:lnTo>
                  <a:lnTo>
                    <a:pt x="5780" y="1592"/>
                  </a:lnTo>
                  <a:lnTo>
                    <a:pt x="2989" y="298"/>
                  </a:lnTo>
                  <a:lnTo>
                    <a:pt x="0" y="0"/>
                  </a:lnTo>
                  <a:lnTo>
                    <a:pt x="0" y="995"/>
                  </a:lnTo>
                  <a:lnTo>
                    <a:pt x="1694" y="2288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1" name="Freeform: Shape 1490">
              <a:extLst>
                <a:ext uri="{FF2B5EF4-FFF2-40B4-BE49-F238E27FC236}">
                  <a16:creationId xmlns:a16="http://schemas.microsoft.com/office/drawing/2014/main" id="{173CDBB7-615C-46E8-99EE-2A2B2CFF45FE}"/>
                </a:ext>
              </a:extLst>
            </p:cNvPr>
            <p:cNvSpPr/>
            <p:nvPr/>
          </p:nvSpPr>
          <p:spPr>
            <a:xfrm>
              <a:off x="6300227" y="-417314"/>
              <a:ext cx="1295" cy="1392"/>
            </a:xfrm>
            <a:custGeom>
              <a:avLst/>
              <a:gdLst>
                <a:gd name="connsiteX0" fmla="*/ 0 w 1295"/>
                <a:gd name="connsiteY0" fmla="*/ 1393 h 1392"/>
                <a:gd name="connsiteX1" fmla="*/ 1295 w 1295"/>
                <a:gd name="connsiteY1" fmla="*/ 298 h 1392"/>
                <a:gd name="connsiteX2" fmla="*/ 498 w 1295"/>
                <a:gd name="connsiteY2" fmla="*/ 0 h 1392"/>
                <a:gd name="connsiteX3" fmla="*/ 0 w 1295"/>
                <a:gd name="connsiteY3" fmla="*/ 199 h 1392"/>
                <a:gd name="connsiteX4" fmla="*/ 0 w 1295"/>
                <a:gd name="connsiteY4" fmla="*/ 1393 h 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5" h="1392">
                  <a:moveTo>
                    <a:pt x="0" y="1393"/>
                  </a:moveTo>
                  <a:lnTo>
                    <a:pt x="1295" y="298"/>
                  </a:lnTo>
                  <a:lnTo>
                    <a:pt x="498" y="0"/>
                  </a:lnTo>
                  <a:lnTo>
                    <a:pt x="0" y="199"/>
                  </a:lnTo>
                  <a:lnTo>
                    <a:pt x="0" y="139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2" name="Freeform: Shape 1491">
              <a:extLst>
                <a:ext uri="{FF2B5EF4-FFF2-40B4-BE49-F238E27FC236}">
                  <a16:creationId xmlns:a16="http://schemas.microsoft.com/office/drawing/2014/main" id="{C7C4DC59-9BE4-498A-BE1A-D6C02FADC417}"/>
                </a:ext>
              </a:extLst>
            </p:cNvPr>
            <p:cNvSpPr/>
            <p:nvPr/>
          </p:nvSpPr>
          <p:spPr>
            <a:xfrm>
              <a:off x="6300227" y="-417413"/>
              <a:ext cx="498" cy="298"/>
            </a:xfrm>
            <a:custGeom>
              <a:avLst/>
              <a:gdLst>
                <a:gd name="connsiteX0" fmla="*/ 498 w 498"/>
                <a:gd name="connsiteY0" fmla="*/ 99 h 298"/>
                <a:gd name="connsiteX1" fmla="*/ 0 w 498"/>
                <a:gd name="connsiteY1" fmla="*/ 0 h 298"/>
                <a:gd name="connsiteX2" fmla="*/ 0 w 498"/>
                <a:gd name="connsiteY2" fmla="*/ 298 h 298"/>
                <a:gd name="connsiteX3" fmla="*/ 498 w 498"/>
                <a:gd name="connsiteY3" fmla="*/ 99 h 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" h="298">
                  <a:moveTo>
                    <a:pt x="498" y="99"/>
                  </a:moveTo>
                  <a:lnTo>
                    <a:pt x="0" y="0"/>
                  </a:lnTo>
                  <a:lnTo>
                    <a:pt x="0" y="298"/>
                  </a:lnTo>
                  <a:lnTo>
                    <a:pt x="498" y="99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3" name="Freeform: Shape 1492">
              <a:extLst>
                <a:ext uri="{FF2B5EF4-FFF2-40B4-BE49-F238E27FC236}">
                  <a16:creationId xmlns:a16="http://schemas.microsoft.com/office/drawing/2014/main" id="{8D0D7F69-F888-4AF3-842F-3A2750A09532}"/>
                </a:ext>
              </a:extLst>
            </p:cNvPr>
            <p:cNvSpPr/>
            <p:nvPr/>
          </p:nvSpPr>
          <p:spPr>
            <a:xfrm>
              <a:off x="6300227" y="-432038"/>
              <a:ext cx="1694" cy="7362"/>
            </a:xfrm>
            <a:custGeom>
              <a:avLst/>
              <a:gdLst>
                <a:gd name="connsiteX0" fmla="*/ 1694 w 1694"/>
                <a:gd name="connsiteY0" fmla="*/ 3383 h 7362"/>
                <a:gd name="connsiteX1" fmla="*/ 1694 w 1694"/>
                <a:gd name="connsiteY1" fmla="*/ 1293 h 7362"/>
                <a:gd name="connsiteX2" fmla="*/ 0 w 1694"/>
                <a:gd name="connsiteY2" fmla="*/ 0 h 7362"/>
                <a:gd name="connsiteX3" fmla="*/ 0 w 1694"/>
                <a:gd name="connsiteY3" fmla="*/ 7362 h 7362"/>
                <a:gd name="connsiteX4" fmla="*/ 100 w 1694"/>
                <a:gd name="connsiteY4" fmla="*/ 7362 h 7362"/>
                <a:gd name="connsiteX5" fmla="*/ 1694 w 1694"/>
                <a:gd name="connsiteY5" fmla="*/ 3383 h 7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4" h="7362">
                  <a:moveTo>
                    <a:pt x="1694" y="3383"/>
                  </a:moveTo>
                  <a:lnTo>
                    <a:pt x="1694" y="1293"/>
                  </a:lnTo>
                  <a:lnTo>
                    <a:pt x="0" y="0"/>
                  </a:lnTo>
                  <a:lnTo>
                    <a:pt x="0" y="7362"/>
                  </a:lnTo>
                  <a:lnTo>
                    <a:pt x="100" y="7362"/>
                  </a:lnTo>
                  <a:lnTo>
                    <a:pt x="1694" y="3383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94" name="Freeform: Shape 1493">
              <a:extLst>
                <a:ext uri="{FF2B5EF4-FFF2-40B4-BE49-F238E27FC236}">
                  <a16:creationId xmlns:a16="http://schemas.microsoft.com/office/drawing/2014/main" id="{F4D26B4B-6DDA-4F5E-9077-864A401404B0}"/>
                </a:ext>
              </a:extLst>
            </p:cNvPr>
            <p:cNvSpPr/>
            <p:nvPr/>
          </p:nvSpPr>
          <p:spPr>
            <a:xfrm>
              <a:off x="3479503" y="-455218"/>
              <a:ext cx="3487" cy="1591"/>
            </a:xfrm>
            <a:custGeom>
              <a:avLst/>
              <a:gdLst>
                <a:gd name="connsiteX0" fmla="*/ 1594 w 3487"/>
                <a:gd name="connsiteY0" fmla="*/ 0 h 1591"/>
                <a:gd name="connsiteX1" fmla="*/ 0 w 3487"/>
                <a:gd name="connsiteY1" fmla="*/ 0 h 1591"/>
                <a:gd name="connsiteX2" fmla="*/ 598 w 3487"/>
                <a:gd name="connsiteY2" fmla="*/ 1592 h 1591"/>
                <a:gd name="connsiteX3" fmla="*/ 3487 w 3487"/>
                <a:gd name="connsiteY3" fmla="*/ 1592 h 1591"/>
                <a:gd name="connsiteX4" fmla="*/ 2989 w 3487"/>
                <a:gd name="connsiteY4" fmla="*/ 895 h 1591"/>
                <a:gd name="connsiteX5" fmla="*/ 1594 w 3487"/>
                <a:gd name="connsiteY5" fmla="*/ 0 h 1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87" h="1591">
                  <a:moveTo>
                    <a:pt x="1594" y="0"/>
                  </a:moveTo>
                  <a:lnTo>
                    <a:pt x="0" y="0"/>
                  </a:lnTo>
                  <a:lnTo>
                    <a:pt x="598" y="1592"/>
                  </a:lnTo>
                  <a:lnTo>
                    <a:pt x="3487" y="1592"/>
                  </a:lnTo>
                  <a:lnTo>
                    <a:pt x="2989" y="895"/>
                  </a:lnTo>
                  <a:lnTo>
                    <a:pt x="1594" y="0"/>
                  </a:lnTo>
                  <a:close/>
                </a:path>
              </a:pathLst>
            </a:custGeom>
            <a:solidFill>
              <a:srgbClr val="F5F4F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1495" name="Graphic 231">
            <a:extLst>
              <a:ext uri="{FF2B5EF4-FFF2-40B4-BE49-F238E27FC236}">
                <a16:creationId xmlns:a16="http://schemas.microsoft.com/office/drawing/2014/main" id="{9DB3424A-A191-46EE-8B87-D293B2E79AFB}"/>
              </a:ext>
            </a:extLst>
          </p:cNvPr>
          <p:cNvGrpSpPr/>
          <p:nvPr/>
        </p:nvGrpSpPr>
        <p:grpSpPr>
          <a:xfrm>
            <a:off x="669462" y="825646"/>
            <a:ext cx="7267540" cy="3978511"/>
            <a:chOff x="-2200309" y="375700"/>
            <a:chExt cx="7267540" cy="3978511"/>
          </a:xfrm>
        </p:grpSpPr>
        <p:grpSp>
          <p:nvGrpSpPr>
            <p:cNvPr id="1496" name="Graphic 231">
              <a:extLst>
                <a:ext uri="{FF2B5EF4-FFF2-40B4-BE49-F238E27FC236}">
                  <a16:creationId xmlns:a16="http://schemas.microsoft.com/office/drawing/2014/main" id="{952F2E7F-99F9-47E5-8F70-A825F426E7A1}"/>
                </a:ext>
              </a:extLst>
            </p:cNvPr>
            <p:cNvGrpSpPr/>
            <p:nvPr/>
          </p:nvGrpSpPr>
          <p:grpSpPr>
            <a:xfrm>
              <a:off x="74923" y="2970829"/>
              <a:ext cx="1648751" cy="629257"/>
              <a:chOff x="74923" y="2970829"/>
              <a:chExt cx="1648751" cy="629257"/>
            </a:xfrm>
            <a:solidFill>
              <a:srgbClr val="ECE8E4"/>
            </a:solidFill>
          </p:grpSpPr>
          <p:sp>
            <p:nvSpPr>
              <p:cNvPr id="2551" name="Freeform: Shape 2550">
                <a:extLst>
                  <a:ext uri="{FF2B5EF4-FFF2-40B4-BE49-F238E27FC236}">
                    <a16:creationId xmlns:a16="http://schemas.microsoft.com/office/drawing/2014/main" id="{0F210318-6D4D-4B97-941E-9CDA0C23C544}"/>
                  </a:ext>
                </a:extLst>
              </p:cNvPr>
              <p:cNvSpPr/>
              <p:nvPr/>
            </p:nvSpPr>
            <p:spPr>
              <a:xfrm>
                <a:off x="74923" y="3284811"/>
                <a:ext cx="1833" cy="7362"/>
              </a:xfrm>
              <a:custGeom>
                <a:avLst/>
                <a:gdLst>
                  <a:gd name="connsiteX0" fmla="*/ 1834 w 1833"/>
                  <a:gd name="connsiteY0" fmla="*/ 0 h 7362"/>
                  <a:gd name="connsiteX1" fmla="*/ 638 w 1833"/>
                  <a:gd name="connsiteY1" fmla="*/ 7362 h 7362"/>
                  <a:gd name="connsiteX2" fmla="*/ 1834 w 1833"/>
                  <a:gd name="connsiteY2" fmla="*/ 0 h 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33" h="7362">
                    <a:moveTo>
                      <a:pt x="1834" y="0"/>
                    </a:moveTo>
                    <a:cubicBezTo>
                      <a:pt x="1136" y="2398"/>
                      <a:pt x="738" y="4865"/>
                      <a:pt x="638" y="7362"/>
                    </a:cubicBezTo>
                    <a:cubicBezTo>
                      <a:pt x="-538" y="4895"/>
                      <a:pt x="-59" y="1970"/>
                      <a:pt x="183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52" name="Freeform: Shape 2551">
                <a:extLst>
                  <a:ext uri="{FF2B5EF4-FFF2-40B4-BE49-F238E27FC236}">
                    <a16:creationId xmlns:a16="http://schemas.microsoft.com/office/drawing/2014/main" id="{5EAE0344-77EB-49E3-9711-6A63E4D9029A}"/>
                  </a:ext>
                </a:extLst>
              </p:cNvPr>
              <p:cNvSpPr/>
              <p:nvPr/>
            </p:nvSpPr>
            <p:spPr>
              <a:xfrm>
                <a:off x="75698" y="3297049"/>
                <a:ext cx="4645" cy="11142"/>
              </a:xfrm>
              <a:custGeom>
                <a:avLst/>
                <a:gdLst>
                  <a:gd name="connsiteX0" fmla="*/ 62 w 4645"/>
                  <a:gd name="connsiteY0" fmla="*/ 0 h 11142"/>
                  <a:gd name="connsiteX1" fmla="*/ 4646 w 4645"/>
                  <a:gd name="connsiteY1" fmla="*/ 11143 h 11142"/>
                  <a:gd name="connsiteX2" fmla="*/ 62 w 4645"/>
                  <a:gd name="connsiteY2" fmla="*/ 0 h 1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45" h="11142">
                    <a:moveTo>
                      <a:pt x="62" y="0"/>
                    </a:moveTo>
                    <a:cubicBezTo>
                      <a:pt x="590" y="4049"/>
                      <a:pt x="2165" y="7889"/>
                      <a:pt x="4646" y="11143"/>
                    </a:cubicBezTo>
                    <a:cubicBezTo>
                      <a:pt x="1358" y="8417"/>
                      <a:pt x="-356" y="4248"/>
                      <a:pt x="6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53" name="Freeform: Shape 2552">
                <a:extLst>
                  <a:ext uri="{FF2B5EF4-FFF2-40B4-BE49-F238E27FC236}">
                    <a16:creationId xmlns:a16="http://schemas.microsoft.com/office/drawing/2014/main" id="{11943199-3677-421A-B6DC-9C74FB1C2C22}"/>
                  </a:ext>
                </a:extLst>
              </p:cNvPr>
              <p:cNvSpPr/>
              <p:nvPr/>
            </p:nvSpPr>
            <p:spPr>
              <a:xfrm>
                <a:off x="87419" y="3313961"/>
                <a:ext cx="1095" cy="596"/>
              </a:xfrm>
              <a:custGeom>
                <a:avLst/>
                <a:gdLst>
                  <a:gd name="connsiteX0" fmla="*/ 0 w 1095"/>
                  <a:gd name="connsiteY0" fmla="*/ 0 h 596"/>
                  <a:gd name="connsiteX1" fmla="*/ 1096 w 1095"/>
                  <a:gd name="connsiteY1" fmla="*/ 597 h 596"/>
                  <a:gd name="connsiteX2" fmla="*/ 1096 w 1095"/>
                  <a:gd name="connsiteY2" fmla="*/ 597 h 596"/>
                  <a:gd name="connsiteX3" fmla="*/ 0 w 1095"/>
                  <a:gd name="connsiteY3" fmla="*/ 0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5" h="596">
                    <a:moveTo>
                      <a:pt x="0" y="0"/>
                    </a:moveTo>
                    <a:lnTo>
                      <a:pt x="1096" y="597"/>
                    </a:lnTo>
                    <a:lnTo>
                      <a:pt x="1096" y="597"/>
                    </a:lnTo>
                    <a:cubicBezTo>
                      <a:pt x="797" y="288"/>
                      <a:pt x="418" y="8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54" name="Freeform: Shape 2553">
                <a:extLst>
                  <a:ext uri="{FF2B5EF4-FFF2-40B4-BE49-F238E27FC236}">
                    <a16:creationId xmlns:a16="http://schemas.microsoft.com/office/drawing/2014/main" id="{2C8C67FA-5BE7-4ED3-A7B0-4A05B3FFBE2D}"/>
                  </a:ext>
                </a:extLst>
              </p:cNvPr>
              <p:cNvSpPr/>
              <p:nvPr/>
            </p:nvSpPr>
            <p:spPr>
              <a:xfrm>
                <a:off x="82138" y="3281583"/>
                <a:ext cx="15942" cy="343"/>
              </a:xfrm>
              <a:custGeom>
                <a:avLst/>
                <a:gdLst>
                  <a:gd name="connsiteX0" fmla="*/ 15943 w 15942"/>
                  <a:gd name="connsiteY0" fmla="*/ 343 h 343"/>
                  <a:gd name="connsiteX1" fmla="*/ 0 w 15942"/>
                  <a:gd name="connsiteY1" fmla="*/ 343 h 343"/>
                  <a:gd name="connsiteX2" fmla="*/ 15943 w 15942"/>
                  <a:gd name="connsiteY2" fmla="*/ 343 h 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42" h="343">
                    <a:moveTo>
                      <a:pt x="15943" y="343"/>
                    </a:moveTo>
                    <a:lnTo>
                      <a:pt x="0" y="343"/>
                    </a:lnTo>
                    <a:cubicBezTo>
                      <a:pt x="5301" y="-114"/>
                      <a:pt x="10642" y="-114"/>
                      <a:pt x="15943" y="34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55" name="Freeform: Shape 2554">
                <a:extLst>
                  <a:ext uri="{FF2B5EF4-FFF2-40B4-BE49-F238E27FC236}">
                    <a16:creationId xmlns:a16="http://schemas.microsoft.com/office/drawing/2014/main" id="{7F3D92AB-6EBF-4F1F-933C-D43ED2E3CF20}"/>
                  </a:ext>
                </a:extLst>
              </p:cNvPr>
              <p:cNvSpPr/>
              <p:nvPr/>
            </p:nvSpPr>
            <p:spPr>
              <a:xfrm>
                <a:off x="106451" y="3281628"/>
                <a:ext cx="33081" cy="9948"/>
              </a:xfrm>
              <a:custGeom>
                <a:avLst/>
                <a:gdLst>
                  <a:gd name="connsiteX0" fmla="*/ 997 w 33081"/>
                  <a:gd name="connsiteY0" fmla="*/ 0 h 9948"/>
                  <a:gd name="connsiteX1" fmla="*/ 33082 w 33081"/>
                  <a:gd name="connsiteY1" fmla="*/ 0 h 9948"/>
                  <a:gd name="connsiteX2" fmla="*/ 0 w 33081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081" h="9948">
                    <a:moveTo>
                      <a:pt x="997" y="0"/>
                    </a:moveTo>
                    <a:lnTo>
                      <a:pt x="33082" y="0"/>
                    </a:lnTo>
                    <a:cubicBezTo>
                      <a:pt x="22022" y="0"/>
                      <a:pt x="10861" y="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56" name="Freeform: Shape 2555">
                <a:extLst>
                  <a:ext uri="{FF2B5EF4-FFF2-40B4-BE49-F238E27FC236}">
                    <a16:creationId xmlns:a16="http://schemas.microsoft.com/office/drawing/2014/main" id="{DAED66FE-A6D7-46F4-915E-14D3D9D8F53A}"/>
                  </a:ext>
                </a:extLst>
              </p:cNvPr>
              <p:cNvSpPr/>
              <p:nvPr/>
            </p:nvSpPr>
            <p:spPr>
              <a:xfrm>
                <a:off x="1102094" y="2970829"/>
                <a:ext cx="4882" cy="2387"/>
              </a:xfrm>
              <a:custGeom>
                <a:avLst/>
                <a:gdLst>
                  <a:gd name="connsiteX0" fmla="*/ 0 w 4882"/>
                  <a:gd name="connsiteY0" fmla="*/ 2388 h 2387"/>
                  <a:gd name="connsiteX1" fmla="*/ 4882 w 4882"/>
                  <a:gd name="connsiteY1" fmla="*/ 0 h 2387"/>
                  <a:gd name="connsiteX2" fmla="*/ 0 w 4882"/>
                  <a:gd name="connsiteY2" fmla="*/ 2388 h 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82" h="2387">
                    <a:moveTo>
                      <a:pt x="0" y="2388"/>
                    </a:moveTo>
                    <a:cubicBezTo>
                      <a:pt x="1744" y="1861"/>
                      <a:pt x="3388" y="1055"/>
                      <a:pt x="4882" y="0"/>
                    </a:cubicBezTo>
                    <a:cubicBezTo>
                      <a:pt x="3428" y="1105"/>
                      <a:pt x="1764" y="1920"/>
                      <a:pt x="0" y="238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57" name="Freeform: Shape 2556">
                <a:extLst>
                  <a:ext uri="{FF2B5EF4-FFF2-40B4-BE49-F238E27FC236}">
                    <a16:creationId xmlns:a16="http://schemas.microsoft.com/office/drawing/2014/main" id="{CBEAB9C6-BFF5-4B37-AD5D-3FA6C7A115D1}"/>
                  </a:ext>
                </a:extLst>
              </p:cNvPr>
              <p:cNvSpPr/>
              <p:nvPr/>
            </p:nvSpPr>
            <p:spPr>
              <a:xfrm>
                <a:off x="1166763" y="2984160"/>
                <a:ext cx="896" cy="8257"/>
              </a:xfrm>
              <a:custGeom>
                <a:avLst/>
                <a:gdLst>
                  <a:gd name="connsiteX0" fmla="*/ 0 w 896"/>
                  <a:gd name="connsiteY0" fmla="*/ 8258 h 8257"/>
                  <a:gd name="connsiteX1" fmla="*/ 897 w 896"/>
                  <a:gd name="connsiteY1" fmla="*/ 0 h 8257"/>
                  <a:gd name="connsiteX2" fmla="*/ 0 w 896"/>
                  <a:gd name="connsiteY2" fmla="*/ 8258 h 8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" h="8257">
                    <a:moveTo>
                      <a:pt x="0" y="8258"/>
                    </a:moveTo>
                    <a:cubicBezTo>
                      <a:pt x="80" y="5482"/>
                      <a:pt x="379" y="2726"/>
                      <a:pt x="897" y="0"/>
                    </a:cubicBezTo>
                    <a:cubicBezTo>
                      <a:pt x="329" y="2716"/>
                      <a:pt x="30" y="5482"/>
                      <a:pt x="0" y="825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58" name="Freeform: Shape 2557">
                <a:extLst>
                  <a:ext uri="{FF2B5EF4-FFF2-40B4-BE49-F238E27FC236}">
                    <a16:creationId xmlns:a16="http://schemas.microsoft.com/office/drawing/2014/main" id="{BEE1905B-9AA6-45EC-9A81-2B1F78FC8826}"/>
                  </a:ext>
                </a:extLst>
              </p:cNvPr>
              <p:cNvSpPr/>
              <p:nvPr/>
            </p:nvSpPr>
            <p:spPr>
              <a:xfrm>
                <a:off x="1264714" y="3003262"/>
                <a:ext cx="642" cy="5372"/>
              </a:xfrm>
              <a:custGeom>
                <a:avLst/>
                <a:gdLst>
                  <a:gd name="connsiteX0" fmla="*/ 0 w 642"/>
                  <a:gd name="connsiteY0" fmla="*/ 0 h 5372"/>
                  <a:gd name="connsiteX1" fmla="*/ 0 w 642"/>
                  <a:gd name="connsiteY1" fmla="*/ 5372 h 5372"/>
                  <a:gd name="connsiteX2" fmla="*/ 0 w 642"/>
                  <a:gd name="connsiteY2" fmla="*/ 0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2" h="5372">
                    <a:moveTo>
                      <a:pt x="0" y="0"/>
                    </a:moveTo>
                    <a:cubicBezTo>
                      <a:pt x="857" y="1691"/>
                      <a:pt x="857" y="3681"/>
                      <a:pt x="0" y="5372"/>
                    </a:cubicBezTo>
                    <a:cubicBezTo>
                      <a:pt x="807" y="3671"/>
                      <a:pt x="807" y="170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59" name="Freeform: Shape 2558">
                <a:extLst>
                  <a:ext uri="{FF2B5EF4-FFF2-40B4-BE49-F238E27FC236}">
                    <a16:creationId xmlns:a16="http://schemas.microsoft.com/office/drawing/2014/main" id="{2B7C1634-9EDE-4F1C-8BC1-4FB617671940}"/>
                  </a:ext>
                </a:extLst>
              </p:cNvPr>
              <p:cNvSpPr/>
              <p:nvPr/>
            </p:nvSpPr>
            <p:spPr>
              <a:xfrm>
                <a:off x="1275276" y="3015698"/>
                <a:ext cx="996" cy="7262"/>
              </a:xfrm>
              <a:custGeom>
                <a:avLst/>
                <a:gdLst>
                  <a:gd name="connsiteX0" fmla="*/ 0 w 996"/>
                  <a:gd name="connsiteY0" fmla="*/ 7263 h 7262"/>
                  <a:gd name="connsiteX1" fmla="*/ 997 w 996"/>
                  <a:gd name="connsiteY1" fmla="*/ 0 h 7262"/>
                  <a:gd name="connsiteX2" fmla="*/ 0 w 996"/>
                  <a:gd name="connsiteY2" fmla="*/ 7263 h 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" h="7262">
                    <a:moveTo>
                      <a:pt x="0" y="7263"/>
                    </a:moveTo>
                    <a:cubicBezTo>
                      <a:pt x="140" y="4815"/>
                      <a:pt x="468" y="2388"/>
                      <a:pt x="997" y="0"/>
                    </a:cubicBezTo>
                    <a:cubicBezTo>
                      <a:pt x="518" y="2398"/>
                      <a:pt x="189" y="4825"/>
                      <a:pt x="0" y="726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0" name="Freeform: Shape 2559">
                <a:extLst>
                  <a:ext uri="{FF2B5EF4-FFF2-40B4-BE49-F238E27FC236}">
                    <a16:creationId xmlns:a16="http://schemas.microsoft.com/office/drawing/2014/main" id="{7CC8AF5E-F1E0-457C-BB92-48F0E10A1A1D}"/>
                  </a:ext>
                </a:extLst>
              </p:cNvPr>
              <p:cNvSpPr/>
              <p:nvPr/>
            </p:nvSpPr>
            <p:spPr>
              <a:xfrm>
                <a:off x="1288643" y="2995502"/>
                <a:ext cx="582" cy="4576"/>
              </a:xfrm>
              <a:custGeom>
                <a:avLst/>
                <a:gdLst>
                  <a:gd name="connsiteX0" fmla="*/ 583 w 582"/>
                  <a:gd name="connsiteY0" fmla="*/ 4576 h 4576"/>
                  <a:gd name="connsiteX1" fmla="*/ 583 w 582"/>
                  <a:gd name="connsiteY1" fmla="*/ 0 h 4576"/>
                  <a:gd name="connsiteX2" fmla="*/ 583 w 582"/>
                  <a:gd name="connsiteY2" fmla="*/ 4576 h 4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2" h="4576">
                    <a:moveTo>
                      <a:pt x="583" y="4576"/>
                    </a:moveTo>
                    <a:cubicBezTo>
                      <a:pt x="-194" y="3154"/>
                      <a:pt x="-194" y="1423"/>
                      <a:pt x="583" y="0"/>
                    </a:cubicBezTo>
                    <a:cubicBezTo>
                      <a:pt x="-144" y="1442"/>
                      <a:pt x="-144" y="3134"/>
                      <a:pt x="583" y="45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1" name="Freeform: Shape 2560">
                <a:extLst>
                  <a:ext uri="{FF2B5EF4-FFF2-40B4-BE49-F238E27FC236}">
                    <a16:creationId xmlns:a16="http://schemas.microsoft.com/office/drawing/2014/main" id="{33470D3D-BF93-4FF5-94E3-AC3D3A923484}"/>
                  </a:ext>
                </a:extLst>
              </p:cNvPr>
              <p:cNvSpPr/>
              <p:nvPr/>
            </p:nvSpPr>
            <p:spPr>
              <a:xfrm>
                <a:off x="1307760" y="3003759"/>
                <a:ext cx="4583" cy="1691"/>
              </a:xfrm>
              <a:custGeom>
                <a:avLst/>
                <a:gdLst>
                  <a:gd name="connsiteX0" fmla="*/ 0 w 4583"/>
                  <a:gd name="connsiteY0" fmla="*/ 1691 h 1691"/>
                  <a:gd name="connsiteX1" fmla="*/ 4584 w 4583"/>
                  <a:gd name="connsiteY1" fmla="*/ 0 h 1691"/>
                  <a:gd name="connsiteX2" fmla="*/ 0 w 4583"/>
                  <a:gd name="connsiteY2" fmla="*/ 1691 h 1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83" h="1691">
                    <a:moveTo>
                      <a:pt x="0" y="1691"/>
                    </a:moveTo>
                    <a:cubicBezTo>
                      <a:pt x="1365" y="756"/>
                      <a:pt x="2939" y="179"/>
                      <a:pt x="4584" y="0"/>
                    </a:cubicBezTo>
                    <a:cubicBezTo>
                      <a:pt x="2949" y="239"/>
                      <a:pt x="1395" y="816"/>
                      <a:pt x="0" y="169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2" name="Freeform: Shape 2561">
                <a:extLst>
                  <a:ext uri="{FF2B5EF4-FFF2-40B4-BE49-F238E27FC236}">
                    <a16:creationId xmlns:a16="http://schemas.microsoft.com/office/drawing/2014/main" id="{D055FD4A-3FF6-4A54-B389-1EAF6A79A00E}"/>
                  </a:ext>
                </a:extLst>
              </p:cNvPr>
              <p:cNvSpPr/>
              <p:nvPr/>
            </p:nvSpPr>
            <p:spPr>
              <a:xfrm>
                <a:off x="1317226" y="3003859"/>
                <a:ext cx="8370" cy="4128"/>
              </a:xfrm>
              <a:custGeom>
                <a:avLst/>
                <a:gdLst>
                  <a:gd name="connsiteX0" fmla="*/ 8370 w 8370"/>
                  <a:gd name="connsiteY0" fmla="*/ 0 h 4128"/>
                  <a:gd name="connsiteX1" fmla="*/ 0 w 8370"/>
                  <a:gd name="connsiteY1" fmla="*/ 3880 h 4128"/>
                  <a:gd name="connsiteX2" fmla="*/ 8370 w 8370"/>
                  <a:gd name="connsiteY2" fmla="*/ 0 h 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70" h="4128">
                    <a:moveTo>
                      <a:pt x="8370" y="0"/>
                    </a:moveTo>
                    <a:cubicBezTo>
                      <a:pt x="6896" y="3154"/>
                      <a:pt x="3368" y="4785"/>
                      <a:pt x="0" y="3880"/>
                    </a:cubicBezTo>
                    <a:cubicBezTo>
                      <a:pt x="3358" y="4706"/>
                      <a:pt x="6836" y="3094"/>
                      <a:pt x="837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3" name="Freeform: Shape 2562">
                <a:extLst>
                  <a:ext uri="{FF2B5EF4-FFF2-40B4-BE49-F238E27FC236}">
                    <a16:creationId xmlns:a16="http://schemas.microsoft.com/office/drawing/2014/main" id="{49B90502-3FC1-41A0-9012-B1F8688C8661}"/>
                  </a:ext>
                </a:extLst>
              </p:cNvPr>
              <p:cNvSpPr/>
              <p:nvPr/>
            </p:nvSpPr>
            <p:spPr>
              <a:xfrm>
                <a:off x="1338251" y="3002765"/>
                <a:ext cx="1394" cy="5770"/>
              </a:xfrm>
              <a:custGeom>
                <a:avLst/>
                <a:gdLst>
                  <a:gd name="connsiteX0" fmla="*/ 1394 w 1394"/>
                  <a:gd name="connsiteY0" fmla="*/ 5770 h 5770"/>
                  <a:gd name="connsiteX1" fmla="*/ 199 w 1394"/>
                  <a:gd name="connsiteY1" fmla="*/ 0 h 5770"/>
                  <a:gd name="connsiteX2" fmla="*/ 1394 w 1394"/>
                  <a:gd name="connsiteY2" fmla="*/ 5770 h 5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4" h="5770">
                    <a:moveTo>
                      <a:pt x="1394" y="5770"/>
                    </a:moveTo>
                    <a:cubicBezTo>
                      <a:pt x="-598" y="3780"/>
                      <a:pt x="99" y="1890"/>
                      <a:pt x="199" y="0"/>
                    </a:cubicBezTo>
                    <a:cubicBezTo>
                      <a:pt x="199" y="2189"/>
                      <a:pt x="-499" y="4079"/>
                      <a:pt x="1394" y="577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4" name="Freeform: Shape 2563">
                <a:extLst>
                  <a:ext uri="{FF2B5EF4-FFF2-40B4-BE49-F238E27FC236}">
                    <a16:creationId xmlns:a16="http://schemas.microsoft.com/office/drawing/2014/main" id="{7E7DF5B7-37A8-4A3F-91E6-C78D2CBA5593}"/>
                  </a:ext>
                </a:extLst>
              </p:cNvPr>
              <p:cNvSpPr/>
              <p:nvPr/>
            </p:nvSpPr>
            <p:spPr>
              <a:xfrm>
                <a:off x="1391062" y="3008535"/>
                <a:ext cx="6177" cy="4477"/>
              </a:xfrm>
              <a:custGeom>
                <a:avLst/>
                <a:gdLst>
                  <a:gd name="connsiteX0" fmla="*/ 2790 w 6177"/>
                  <a:gd name="connsiteY0" fmla="*/ 0 h 4477"/>
                  <a:gd name="connsiteX1" fmla="*/ 6178 w 6177"/>
                  <a:gd name="connsiteY1" fmla="*/ 0 h 4477"/>
                  <a:gd name="connsiteX2" fmla="*/ 0 w 6177"/>
                  <a:gd name="connsiteY2" fmla="*/ 4477 h 4477"/>
                  <a:gd name="connsiteX3" fmla="*/ 2790 w 6177"/>
                  <a:gd name="connsiteY3" fmla="*/ 0 h 4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7" h="4477">
                    <a:moveTo>
                      <a:pt x="2790" y="0"/>
                    </a:moveTo>
                    <a:lnTo>
                      <a:pt x="6178" y="0"/>
                    </a:lnTo>
                    <a:cubicBezTo>
                      <a:pt x="3787" y="975"/>
                      <a:pt x="1664" y="2507"/>
                      <a:pt x="0" y="4477"/>
                    </a:cubicBezTo>
                    <a:cubicBezTo>
                      <a:pt x="1007" y="3034"/>
                      <a:pt x="1943" y="1542"/>
                      <a:pt x="279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5" name="Freeform: Shape 2564">
                <a:extLst>
                  <a:ext uri="{FF2B5EF4-FFF2-40B4-BE49-F238E27FC236}">
                    <a16:creationId xmlns:a16="http://schemas.microsoft.com/office/drawing/2014/main" id="{DE93CBE9-CB65-46D2-AE13-9E3A521CCFCC}"/>
                  </a:ext>
                </a:extLst>
              </p:cNvPr>
              <p:cNvSpPr/>
              <p:nvPr/>
            </p:nvSpPr>
            <p:spPr>
              <a:xfrm>
                <a:off x="1403418" y="3006147"/>
                <a:ext cx="3686" cy="895"/>
              </a:xfrm>
              <a:custGeom>
                <a:avLst/>
                <a:gdLst>
                  <a:gd name="connsiteX0" fmla="*/ 0 w 3686"/>
                  <a:gd name="connsiteY0" fmla="*/ 696 h 895"/>
                  <a:gd name="connsiteX1" fmla="*/ 3687 w 3686"/>
                  <a:gd name="connsiteY1" fmla="*/ 0 h 895"/>
                  <a:gd name="connsiteX2" fmla="*/ 1395 w 3686"/>
                  <a:gd name="connsiteY2" fmla="*/ 895 h 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86" h="895">
                    <a:moveTo>
                      <a:pt x="0" y="696"/>
                    </a:moveTo>
                    <a:cubicBezTo>
                      <a:pt x="1246" y="547"/>
                      <a:pt x="2471" y="318"/>
                      <a:pt x="3687" y="0"/>
                    </a:cubicBezTo>
                    <a:cubicBezTo>
                      <a:pt x="2900" y="239"/>
                      <a:pt x="2133" y="537"/>
                      <a:pt x="1395" y="8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6" name="Freeform: Shape 2565">
                <a:extLst>
                  <a:ext uri="{FF2B5EF4-FFF2-40B4-BE49-F238E27FC236}">
                    <a16:creationId xmlns:a16="http://schemas.microsoft.com/office/drawing/2014/main" id="{0574A8FC-C2E5-4296-8CA2-F926D1A87E4F}"/>
                  </a:ext>
                </a:extLst>
              </p:cNvPr>
              <p:cNvSpPr/>
              <p:nvPr/>
            </p:nvSpPr>
            <p:spPr>
              <a:xfrm>
                <a:off x="1415874" y="3002068"/>
                <a:ext cx="11160" cy="1691"/>
              </a:xfrm>
              <a:custGeom>
                <a:avLst/>
                <a:gdLst>
                  <a:gd name="connsiteX0" fmla="*/ 5082 w 11160"/>
                  <a:gd name="connsiteY0" fmla="*/ 0 h 1691"/>
                  <a:gd name="connsiteX1" fmla="*/ 11160 w 11160"/>
                  <a:gd name="connsiteY1" fmla="*/ 1094 h 1691"/>
                  <a:gd name="connsiteX2" fmla="*/ 0 w 11160"/>
                  <a:gd name="connsiteY2" fmla="*/ 1691 h 1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60" h="1691">
                    <a:moveTo>
                      <a:pt x="5082" y="0"/>
                    </a:moveTo>
                    <a:lnTo>
                      <a:pt x="11160" y="1094"/>
                    </a:lnTo>
                    <a:cubicBezTo>
                      <a:pt x="7433" y="945"/>
                      <a:pt x="3697" y="1144"/>
                      <a:pt x="0" y="169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7" name="Freeform: Shape 2566">
                <a:extLst>
                  <a:ext uri="{FF2B5EF4-FFF2-40B4-BE49-F238E27FC236}">
                    <a16:creationId xmlns:a16="http://schemas.microsoft.com/office/drawing/2014/main" id="{078E75AE-6DFF-475F-9692-E9443B40E8FE}"/>
                  </a:ext>
                </a:extLst>
              </p:cNvPr>
              <p:cNvSpPr/>
              <p:nvPr/>
            </p:nvSpPr>
            <p:spPr>
              <a:xfrm>
                <a:off x="1434408" y="3003859"/>
                <a:ext cx="1992" cy="9948"/>
              </a:xfrm>
              <a:custGeom>
                <a:avLst/>
                <a:gdLst>
                  <a:gd name="connsiteX0" fmla="*/ 0 w 1992"/>
                  <a:gd name="connsiteY0" fmla="*/ 0 h 9948"/>
                  <a:gd name="connsiteX1" fmla="*/ 1993 w 1992"/>
                  <a:gd name="connsiteY1" fmla="*/ 0 h 9948"/>
                  <a:gd name="connsiteX2" fmla="*/ 1295 w 1992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" h="9948">
                    <a:moveTo>
                      <a:pt x="0" y="0"/>
                    </a:moveTo>
                    <a:lnTo>
                      <a:pt x="1993" y="0"/>
                    </a:lnTo>
                    <a:lnTo>
                      <a:pt x="1295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8" name="Freeform: Shape 2567">
                <a:extLst>
                  <a:ext uri="{FF2B5EF4-FFF2-40B4-BE49-F238E27FC236}">
                    <a16:creationId xmlns:a16="http://schemas.microsoft.com/office/drawing/2014/main" id="{DF986C85-4B44-4F3C-AACB-7F9C817CC115}"/>
                  </a:ext>
                </a:extLst>
              </p:cNvPr>
              <p:cNvSpPr/>
              <p:nvPr/>
            </p:nvSpPr>
            <p:spPr>
              <a:xfrm>
                <a:off x="1443774" y="2995303"/>
                <a:ext cx="15444" cy="4576"/>
              </a:xfrm>
              <a:custGeom>
                <a:avLst/>
                <a:gdLst>
                  <a:gd name="connsiteX0" fmla="*/ 0 w 15444"/>
                  <a:gd name="connsiteY0" fmla="*/ 4576 h 4576"/>
                  <a:gd name="connsiteX1" fmla="*/ 15445 w 15444"/>
                  <a:gd name="connsiteY1" fmla="*/ 0 h 4576"/>
                  <a:gd name="connsiteX2" fmla="*/ 0 w 15444"/>
                  <a:gd name="connsiteY2" fmla="*/ 4576 h 4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444" h="4576">
                    <a:moveTo>
                      <a:pt x="0" y="4576"/>
                    </a:moveTo>
                    <a:cubicBezTo>
                      <a:pt x="4903" y="2328"/>
                      <a:pt x="10104" y="786"/>
                      <a:pt x="15445" y="0"/>
                    </a:cubicBezTo>
                    <a:cubicBezTo>
                      <a:pt x="10363" y="1592"/>
                      <a:pt x="4982" y="3283"/>
                      <a:pt x="0" y="45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69" name="Freeform: Shape 2568">
                <a:extLst>
                  <a:ext uri="{FF2B5EF4-FFF2-40B4-BE49-F238E27FC236}">
                    <a16:creationId xmlns:a16="http://schemas.microsoft.com/office/drawing/2014/main" id="{32D7079A-64AD-4B37-95C1-8416CA7D883B}"/>
                  </a:ext>
                </a:extLst>
              </p:cNvPr>
              <p:cNvSpPr/>
              <p:nvPr/>
            </p:nvSpPr>
            <p:spPr>
              <a:xfrm>
                <a:off x="1466792" y="2994109"/>
                <a:ext cx="2590" cy="1492"/>
              </a:xfrm>
              <a:custGeom>
                <a:avLst/>
                <a:gdLst>
                  <a:gd name="connsiteX0" fmla="*/ 1794 w 2590"/>
                  <a:gd name="connsiteY0" fmla="*/ 0 h 1492"/>
                  <a:gd name="connsiteX1" fmla="*/ 2591 w 2590"/>
                  <a:gd name="connsiteY1" fmla="*/ 1493 h 1492"/>
                  <a:gd name="connsiteX2" fmla="*/ 0 w 2590"/>
                  <a:gd name="connsiteY2" fmla="*/ 298 h 1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90" h="1492">
                    <a:moveTo>
                      <a:pt x="1794" y="0"/>
                    </a:moveTo>
                    <a:cubicBezTo>
                      <a:pt x="2023" y="517"/>
                      <a:pt x="2282" y="1015"/>
                      <a:pt x="2591" y="1493"/>
                    </a:cubicBezTo>
                    <a:cubicBezTo>
                      <a:pt x="1833" y="896"/>
                      <a:pt x="947" y="488"/>
                      <a:pt x="0" y="29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0" name="Freeform: Shape 2569">
                <a:extLst>
                  <a:ext uri="{FF2B5EF4-FFF2-40B4-BE49-F238E27FC236}">
                    <a16:creationId xmlns:a16="http://schemas.microsoft.com/office/drawing/2014/main" id="{7B9A0446-7511-40E8-BF41-B4A4C7ECCAF8}"/>
                  </a:ext>
                </a:extLst>
              </p:cNvPr>
              <p:cNvSpPr/>
              <p:nvPr/>
            </p:nvSpPr>
            <p:spPr>
              <a:xfrm>
                <a:off x="1471774" y="2998586"/>
                <a:ext cx="3686" cy="2487"/>
              </a:xfrm>
              <a:custGeom>
                <a:avLst/>
                <a:gdLst>
                  <a:gd name="connsiteX0" fmla="*/ 0 w 3686"/>
                  <a:gd name="connsiteY0" fmla="*/ 0 h 2487"/>
                  <a:gd name="connsiteX1" fmla="*/ 3687 w 3686"/>
                  <a:gd name="connsiteY1" fmla="*/ 2487 h 2487"/>
                  <a:gd name="connsiteX2" fmla="*/ 797 w 3686"/>
                  <a:gd name="connsiteY2" fmla="*/ 1592 h 2487"/>
                  <a:gd name="connsiteX3" fmla="*/ 0 w 3686"/>
                  <a:gd name="connsiteY3" fmla="*/ 0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6" h="2487">
                    <a:moveTo>
                      <a:pt x="0" y="0"/>
                    </a:moveTo>
                    <a:cubicBezTo>
                      <a:pt x="1106" y="995"/>
                      <a:pt x="2352" y="1830"/>
                      <a:pt x="3687" y="2487"/>
                    </a:cubicBezTo>
                    <a:cubicBezTo>
                      <a:pt x="2710" y="2249"/>
                      <a:pt x="1744" y="1950"/>
                      <a:pt x="797" y="1592"/>
                    </a:cubicBezTo>
                    <a:cubicBezTo>
                      <a:pt x="588" y="1035"/>
                      <a:pt x="329" y="49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1" name="Freeform: Shape 2570">
                <a:extLst>
                  <a:ext uri="{FF2B5EF4-FFF2-40B4-BE49-F238E27FC236}">
                    <a16:creationId xmlns:a16="http://schemas.microsoft.com/office/drawing/2014/main" id="{468E5D02-A541-4D3B-838F-00281397E127}"/>
                  </a:ext>
                </a:extLst>
              </p:cNvPr>
              <p:cNvSpPr/>
              <p:nvPr/>
            </p:nvSpPr>
            <p:spPr>
              <a:xfrm>
                <a:off x="1488414" y="3002068"/>
                <a:ext cx="9964" cy="1384"/>
              </a:xfrm>
              <a:custGeom>
                <a:avLst/>
                <a:gdLst>
                  <a:gd name="connsiteX0" fmla="*/ 0 w 9964"/>
                  <a:gd name="connsiteY0" fmla="*/ 1293 h 1384"/>
                  <a:gd name="connsiteX1" fmla="*/ 9964 w 9964"/>
                  <a:gd name="connsiteY1" fmla="*/ 0 h 1384"/>
                  <a:gd name="connsiteX2" fmla="*/ 0 w 9964"/>
                  <a:gd name="connsiteY2" fmla="*/ 1293 h 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1384">
                    <a:moveTo>
                      <a:pt x="0" y="1293"/>
                    </a:moveTo>
                    <a:cubicBezTo>
                      <a:pt x="3358" y="1154"/>
                      <a:pt x="6686" y="726"/>
                      <a:pt x="9964" y="0"/>
                    </a:cubicBezTo>
                    <a:cubicBezTo>
                      <a:pt x="6776" y="1154"/>
                      <a:pt x="3378" y="1592"/>
                      <a:pt x="0" y="12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2" name="Freeform: Shape 2571">
                <a:extLst>
                  <a:ext uri="{FF2B5EF4-FFF2-40B4-BE49-F238E27FC236}">
                    <a16:creationId xmlns:a16="http://schemas.microsoft.com/office/drawing/2014/main" id="{3D80630F-E011-41E0-B5DE-22CA605FF2A0}"/>
                  </a:ext>
                </a:extLst>
              </p:cNvPr>
              <p:cNvSpPr/>
              <p:nvPr/>
            </p:nvSpPr>
            <p:spPr>
              <a:xfrm>
                <a:off x="1503461" y="2993413"/>
                <a:ext cx="2790" cy="5173"/>
              </a:xfrm>
              <a:custGeom>
                <a:avLst/>
                <a:gdLst>
                  <a:gd name="connsiteX0" fmla="*/ 0 w 2790"/>
                  <a:gd name="connsiteY0" fmla="*/ 5173 h 5173"/>
                  <a:gd name="connsiteX1" fmla="*/ 2790 w 2790"/>
                  <a:gd name="connsiteY1" fmla="*/ 0 h 5173"/>
                  <a:gd name="connsiteX2" fmla="*/ 0 w 2790"/>
                  <a:gd name="connsiteY2" fmla="*/ 5173 h 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0" h="5173">
                    <a:moveTo>
                      <a:pt x="0" y="5173"/>
                    </a:moveTo>
                    <a:cubicBezTo>
                      <a:pt x="807" y="3383"/>
                      <a:pt x="1744" y="1661"/>
                      <a:pt x="2790" y="0"/>
                    </a:cubicBezTo>
                    <a:cubicBezTo>
                      <a:pt x="2332" y="1940"/>
                      <a:pt x="1365" y="3721"/>
                      <a:pt x="0" y="517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3" name="Freeform: Shape 2572">
                <a:extLst>
                  <a:ext uri="{FF2B5EF4-FFF2-40B4-BE49-F238E27FC236}">
                    <a16:creationId xmlns:a16="http://schemas.microsoft.com/office/drawing/2014/main" id="{8A2AECA1-ABCA-4275-8C25-031F24249935}"/>
                  </a:ext>
                </a:extLst>
              </p:cNvPr>
              <p:cNvSpPr/>
              <p:nvPr/>
            </p:nvSpPr>
            <p:spPr>
              <a:xfrm>
                <a:off x="1528272" y="2999382"/>
                <a:ext cx="5878" cy="3880"/>
              </a:xfrm>
              <a:custGeom>
                <a:avLst/>
                <a:gdLst>
                  <a:gd name="connsiteX0" fmla="*/ 0 w 5878"/>
                  <a:gd name="connsiteY0" fmla="*/ 0 h 3880"/>
                  <a:gd name="connsiteX1" fmla="*/ 5879 w 5878"/>
                  <a:gd name="connsiteY1" fmla="*/ 3880 h 3880"/>
                  <a:gd name="connsiteX2" fmla="*/ 4085 w 5878"/>
                  <a:gd name="connsiteY2" fmla="*/ 3880 h 3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8" h="3880">
                    <a:moveTo>
                      <a:pt x="0" y="0"/>
                    </a:moveTo>
                    <a:cubicBezTo>
                      <a:pt x="1873" y="1423"/>
                      <a:pt x="3836" y="2716"/>
                      <a:pt x="5879" y="3880"/>
                    </a:cubicBezTo>
                    <a:cubicBezTo>
                      <a:pt x="5281" y="3781"/>
                      <a:pt x="4683" y="3781"/>
                      <a:pt x="4085" y="388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4" name="Freeform: Shape 2573">
                <a:extLst>
                  <a:ext uri="{FF2B5EF4-FFF2-40B4-BE49-F238E27FC236}">
                    <a16:creationId xmlns:a16="http://schemas.microsoft.com/office/drawing/2014/main" id="{70C41C5B-C1D0-4DD1-B85A-EED5DE461B28}"/>
                  </a:ext>
                </a:extLst>
              </p:cNvPr>
              <p:cNvSpPr/>
              <p:nvPr/>
            </p:nvSpPr>
            <p:spPr>
              <a:xfrm>
                <a:off x="1539532" y="3004954"/>
                <a:ext cx="4982" cy="3979"/>
              </a:xfrm>
              <a:custGeom>
                <a:avLst/>
                <a:gdLst>
                  <a:gd name="connsiteX0" fmla="*/ 1794 w 4982"/>
                  <a:gd name="connsiteY0" fmla="*/ 99 h 3979"/>
                  <a:gd name="connsiteX1" fmla="*/ 4982 w 4982"/>
                  <a:gd name="connsiteY1" fmla="*/ 3979 h 3979"/>
                  <a:gd name="connsiteX2" fmla="*/ 0 w 4982"/>
                  <a:gd name="connsiteY2" fmla="*/ 0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82" h="3979">
                    <a:moveTo>
                      <a:pt x="1794" y="99"/>
                    </a:moveTo>
                    <a:lnTo>
                      <a:pt x="4982" y="3979"/>
                    </a:lnTo>
                    <a:cubicBezTo>
                      <a:pt x="3508" y="2437"/>
                      <a:pt x="1834" y="10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5" name="Freeform: Shape 2574">
                <a:extLst>
                  <a:ext uri="{FF2B5EF4-FFF2-40B4-BE49-F238E27FC236}">
                    <a16:creationId xmlns:a16="http://schemas.microsoft.com/office/drawing/2014/main" id="{D7B05626-3B85-48BD-B792-1B90E1FE5B26}"/>
                  </a:ext>
                </a:extLst>
              </p:cNvPr>
              <p:cNvSpPr/>
              <p:nvPr/>
            </p:nvSpPr>
            <p:spPr>
              <a:xfrm>
                <a:off x="1549895" y="3015101"/>
                <a:ext cx="5081" cy="4775"/>
              </a:xfrm>
              <a:custGeom>
                <a:avLst/>
                <a:gdLst>
                  <a:gd name="connsiteX0" fmla="*/ 0 w 5081"/>
                  <a:gd name="connsiteY0" fmla="*/ 0 h 4775"/>
                  <a:gd name="connsiteX1" fmla="*/ 5082 w 5081"/>
                  <a:gd name="connsiteY1" fmla="*/ 4776 h 4775"/>
                  <a:gd name="connsiteX2" fmla="*/ 1395 w 5081"/>
                  <a:gd name="connsiteY2" fmla="*/ 1890 h 4775"/>
                  <a:gd name="connsiteX3" fmla="*/ 0 w 5081"/>
                  <a:gd name="connsiteY3" fmla="*/ 0 h 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1" h="4775">
                    <a:moveTo>
                      <a:pt x="0" y="0"/>
                    </a:moveTo>
                    <a:cubicBezTo>
                      <a:pt x="1544" y="1741"/>
                      <a:pt x="3248" y="3343"/>
                      <a:pt x="5082" y="4776"/>
                    </a:cubicBezTo>
                    <a:cubicBezTo>
                      <a:pt x="3627" y="4139"/>
                      <a:pt x="2362" y="3144"/>
                      <a:pt x="1395" y="1890"/>
                    </a:cubicBezTo>
                    <a:cubicBezTo>
                      <a:pt x="877" y="1303"/>
                      <a:pt x="408" y="66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6" name="Freeform: Shape 2575">
                <a:extLst>
                  <a:ext uri="{FF2B5EF4-FFF2-40B4-BE49-F238E27FC236}">
                    <a16:creationId xmlns:a16="http://schemas.microsoft.com/office/drawing/2014/main" id="{048E9722-BCC3-4E39-A3C3-89829712077E}"/>
                  </a:ext>
                </a:extLst>
              </p:cNvPr>
              <p:cNvSpPr/>
              <p:nvPr/>
            </p:nvSpPr>
            <p:spPr>
              <a:xfrm>
                <a:off x="1560656" y="3021282"/>
                <a:ext cx="4185" cy="335"/>
              </a:xfrm>
              <a:custGeom>
                <a:avLst/>
                <a:gdLst>
                  <a:gd name="connsiteX0" fmla="*/ 4185 w 4185"/>
                  <a:gd name="connsiteY0" fmla="*/ 186 h 335"/>
                  <a:gd name="connsiteX1" fmla="*/ 0 w 4185"/>
                  <a:gd name="connsiteY1" fmla="*/ 186 h 335"/>
                  <a:gd name="connsiteX2" fmla="*/ 4185 w 4185"/>
                  <a:gd name="connsiteY2" fmla="*/ 186 h 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85" h="335">
                    <a:moveTo>
                      <a:pt x="4185" y="186"/>
                    </a:moveTo>
                    <a:cubicBezTo>
                      <a:pt x="2800" y="386"/>
                      <a:pt x="1385" y="386"/>
                      <a:pt x="0" y="186"/>
                    </a:cubicBezTo>
                    <a:cubicBezTo>
                      <a:pt x="1385" y="-62"/>
                      <a:pt x="2800" y="-62"/>
                      <a:pt x="4185" y="1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7" name="Freeform: Shape 2576">
                <a:extLst>
                  <a:ext uri="{FF2B5EF4-FFF2-40B4-BE49-F238E27FC236}">
                    <a16:creationId xmlns:a16="http://schemas.microsoft.com/office/drawing/2014/main" id="{E10088F6-6504-4C4C-ADD0-2D9D63A35CCD}"/>
                  </a:ext>
                </a:extLst>
              </p:cNvPr>
              <p:cNvSpPr/>
              <p:nvPr/>
            </p:nvSpPr>
            <p:spPr>
              <a:xfrm>
                <a:off x="1570422" y="3023657"/>
                <a:ext cx="9067" cy="5670"/>
              </a:xfrm>
              <a:custGeom>
                <a:avLst/>
                <a:gdLst>
                  <a:gd name="connsiteX0" fmla="*/ 0 w 9067"/>
                  <a:gd name="connsiteY0" fmla="*/ 0 h 5670"/>
                  <a:gd name="connsiteX1" fmla="*/ 9068 w 9067"/>
                  <a:gd name="connsiteY1" fmla="*/ 5671 h 5670"/>
                  <a:gd name="connsiteX2" fmla="*/ 0 w 9067"/>
                  <a:gd name="connsiteY2" fmla="*/ 0 h 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067" h="5670">
                    <a:moveTo>
                      <a:pt x="0" y="0"/>
                    </a:moveTo>
                    <a:cubicBezTo>
                      <a:pt x="2989" y="1691"/>
                      <a:pt x="5979" y="3781"/>
                      <a:pt x="9068" y="5671"/>
                    </a:cubicBezTo>
                    <a:cubicBezTo>
                      <a:pt x="5720" y="4358"/>
                      <a:pt x="2650" y="243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8" name="Freeform: Shape 2577">
                <a:extLst>
                  <a:ext uri="{FF2B5EF4-FFF2-40B4-BE49-F238E27FC236}">
                    <a16:creationId xmlns:a16="http://schemas.microsoft.com/office/drawing/2014/main" id="{04CACA43-E651-4C8A-8492-4496B22112BF}"/>
                  </a:ext>
                </a:extLst>
              </p:cNvPr>
              <p:cNvSpPr/>
              <p:nvPr/>
            </p:nvSpPr>
            <p:spPr>
              <a:xfrm>
                <a:off x="1590450" y="3032910"/>
                <a:ext cx="3288" cy="2089"/>
              </a:xfrm>
              <a:custGeom>
                <a:avLst/>
                <a:gdLst>
                  <a:gd name="connsiteX0" fmla="*/ 1694 w 3288"/>
                  <a:gd name="connsiteY0" fmla="*/ 0 h 2089"/>
                  <a:gd name="connsiteX1" fmla="*/ 3288 w 3288"/>
                  <a:gd name="connsiteY1" fmla="*/ 2089 h 2089"/>
                  <a:gd name="connsiteX2" fmla="*/ 0 w 3288"/>
                  <a:gd name="connsiteY2" fmla="*/ 99 h 2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88" h="2089">
                    <a:moveTo>
                      <a:pt x="1694" y="0"/>
                    </a:moveTo>
                    <a:lnTo>
                      <a:pt x="3288" y="2089"/>
                    </a:lnTo>
                    <a:cubicBezTo>
                      <a:pt x="2292" y="1273"/>
                      <a:pt x="1186" y="607"/>
                      <a:pt x="0" y="9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79" name="Freeform: Shape 2578">
                <a:extLst>
                  <a:ext uri="{FF2B5EF4-FFF2-40B4-BE49-F238E27FC236}">
                    <a16:creationId xmlns:a16="http://schemas.microsoft.com/office/drawing/2014/main" id="{73CA9FFD-F4EA-4246-9FD1-688049F61D5A}"/>
                  </a:ext>
                </a:extLst>
              </p:cNvPr>
              <p:cNvSpPr/>
              <p:nvPr/>
            </p:nvSpPr>
            <p:spPr>
              <a:xfrm>
                <a:off x="1597027" y="3038481"/>
                <a:ext cx="4184" cy="1568"/>
              </a:xfrm>
              <a:custGeom>
                <a:avLst/>
                <a:gdLst>
                  <a:gd name="connsiteX0" fmla="*/ 4185 w 4184"/>
                  <a:gd name="connsiteY0" fmla="*/ 597 h 1568"/>
                  <a:gd name="connsiteX1" fmla="*/ 1096 w 4184"/>
                  <a:gd name="connsiteY1" fmla="*/ 1393 h 1568"/>
                  <a:gd name="connsiteX2" fmla="*/ 0 w 4184"/>
                  <a:gd name="connsiteY2" fmla="*/ 0 h 1568"/>
                  <a:gd name="connsiteX3" fmla="*/ 4185 w 4184"/>
                  <a:gd name="connsiteY3" fmla="*/ 597 h 1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4" h="1568">
                    <a:moveTo>
                      <a:pt x="4185" y="597"/>
                    </a:moveTo>
                    <a:cubicBezTo>
                      <a:pt x="3428" y="1482"/>
                      <a:pt x="2192" y="1801"/>
                      <a:pt x="1096" y="1393"/>
                    </a:cubicBezTo>
                    <a:cubicBezTo>
                      <a:pt x="787" y="885"/>
                      <a:pt x="418" y="418"/>
                      <a:pt x="0" y="0"/>
                    </a:cubicBezTo>
                    <a:cubicBezTo>
                      <a:pt x="1225" y="836"/>
                      <a:pt x="2770" y="1054"/>
                      <a:pt x="4185" y="5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0" name="Freeform: Shape 2579">
                <a:extLst>
                  <a:ext uri="{FF2B5EF4-FFF2-40B4-BE49-F238E27FC236}">
                    <a16:creationId xmlns:a16="http://schemas.microsoft.com/office/drawing/2014/main" id="{899A9701-D6AE-4617-B18D-FEECA42024B8}"/>
                  </a:ext>
                </a:extLst>
              </p:cNvPr>
              <p:cNvSpPr/>
              <p:nvPr/>
            </p:nvSpPr>
            <p:spPr>
              <a:xfrm>
                <a:off x="1606194" y="3041266"/>
                <a:ext cx="8868" cy="7560"/>
              </a:xfrm>
              <a:custGeom>
                <a:avLst/>
                <a:gdLst>
                  <a:gd name="connsiteX0" fmla="*/ 0 w 8868"/>
                  <a:gd name="connsiteY0" fmla="*/ 0 h 7560"/>
                  <a:gd name="connsiteX1" fmla="*/ 8868 w 8868"/>
                  <a:gd name="connsiteY1" fmla="*/ 7561 h 7560"/>
                  <a:gd name="connsiteX2" fmla="*/ 5879 w 8868"/>
                  <a:gd name="connsiteY2" fmla="*/ 5571 h 7560"/>
                  <a:gd name="connsiteX3" fmla="*/ 0 w 8868"/>
                  <a:gd name="connsiteY3" fmla="*/ 0 h 7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68" h="7560">
                    <a:moveTo>
                      <a:pt x="0" y="0"/>
                    </a:moveTo>
                    <a:cubicBezTo>
                      <a:pt x="2720" y="2786"/>
                      <a:pt x="5690" y="5313"/>
                      <a:pt x="8868" y="7561"/>
                    </a:cubicBezTo>
                    <a:cubicBezTo>
                      <a:pt x="7703" y="7183"/>
                      <a:pt x="6676" y="6496"/>
                      <a:pt x="5879" y="5571"/>
                    </a:cubicBezTo>
                    <a:cubicBezTo>
                      <a:pt x="3348" y="4427"/>
                      <a:pt x="1275" y="246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1" name="Freeform: Shape 2580">
                <a:extLst>
                  <a:ext uri="{FF2B5EF4-FFF2-40B4-BE49-F238E27FC236}">
                    <a16:creationId xmlns:a16="http://schemas.microsoft.com/office/drawing/2014/main" id="{03C70D8F-B399-4B51-8B24-0AD198EC64AA}"/>
                  </a:ext>
                </a:extLst>
              </p:cNvPr>
              <p:cNvSpPr/>
              <p:nvPr/>
            </p:nvSpPr>
            <p:spPr>
              <a:xfrm>
                <a:off x="1624528" y="3047017"/>
                <a:ext cx="11359" cy="1511"/>
              </a:xfrm>
              <a:custGeom>
                <a:avLst/>
                <a:gdLst>
                  <a:gd name="connsiteX0" fmla="*/ 0 w 11359"/>
                  <a:gd name="connsiteY0" fmla="*/ 1313 h 1511"/>
                  <a:gd name="connsiteX1" fmla="*/ 11360 w 11359"/>
                  <a:gd name="connsiteY1" fmla="*/ 19 h 1511"/>
                  <a:gd name="connsiteX2" fmla="*/ 1395 w 11359"/>
                  <a:gd name="connsiteY2" fmla="*/ 1511 h 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59" h="1511">
                    <a:moveTo>
                      <a:pt x="0" y="1313"/>
                    </a:moveTo>
                    <a:cubicBezTo>
                      <a:pt x="3707" y="338"/>
                      <a:pt x="7533" y="-100"/>
                      <a:pt x="11360" y="19"/>
                    </a:cubicBezTo>
                    <a:cubicBezTo>
                      <a:pt x="7972" y="-60"/>
                      <a:pt x="4604" y="437"/>
                      <a:pt x="1395" y="151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2" name="Freeform: Shape 2581">
                <a:extLst>
                  <a:ext uri="{FF2B5EF4-FFF2-40B4-BE49-F238E27FC236}">
                    <a16:creationId xmlns:a16="http://schemas.microsoft.com/office/drawing/2014/main" id="{F21CC9EF-430D-4E26-A820-0DFC548862B0}"/>
                  </a:ext>
                </a:extLst>
              </p:cNvPr>
              <p:cNvSpPr/>
              <p:nvPr/>
            </p:nvSpPr>
            <p:spPr>
              <a:xfrm>
                <a:off x="1638578" y="3044947"/>
                <a:ext cx="1594" cy="1591"/>
              </a:xfrm>
              <a:custGeom>
                <a:avLst/>
                <a:gdLst>
                  <a:gd name="connsiteX0" fmla="*/ 1594 w 1594"/>
                  <a:gd name="connsiteY0" fmla="*/ 0 h 1591"/>
                  <a:gd name="connsiteX1" fmla="*/ 0 w 1594"/>
                  <a:gd name="connsiteY1" fmla="*/ 1592 h 1591"/>
                  <a:gd name="connsiteX2" fmla="*/ 1594 w 1594"/>
                  <a:gd name="connsiteY2" fmla="*/ 0 h 1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4" h="1591">
                    <a:moveTo>
                      <a:pt x="1594" y="0"/>
                    </a:moveTo>
                    <a:cubicBezTo>
                      <a:pt x="1226" y="666"/>
                      <a:pt x="668" y="1224"/>
                      <a:pt x="0" y="1592"/>
                    </a:cubicBezTo>
                    <a:cubicBezTo>
                      <a:pt x="369" y="925"/>
                      <a:pt x="927" y="368"/>
                      <a:pt x="159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3" name="Freeform: Shape 2582">
                <a:extLst>
                  <a:ext uri="{FF2B5EF4-FFF2-40B4-BE49-F238E27FC236}">
                    <a16:creationId xmlns:a16="http://schemas.microsoft.com/office/drawing/2014/main" id="{5DF39F72-6AF2-4B82-9A07-B65E35BEDEE0}"/>
                  </a:ext>
                </a:extLst>
              </p:cNvPr>
              <p:cNvSpPr/>
              <p:nvPr/>
            </p:nvSpPr>
            <p:spPr>
              <a:xfrm>
                <a:off x="1658405" y="3261731"/>
                <a:ext cx="500" cy="15420"/>
              </a:xfrm>
              <a:custGeom>
                <a:avLst/>
                <a:gdLst>
                  <a:gd name="connsiteX0" fmla="*/ 501 w 500"/>
                  <a:gd name="connsiteY0" fmla="*/ 0 h 15420"/>
                  <a:gd name="connsiteX1" fmla="*/ 501 w 500"/>
                  <a:gd name="connsiteY1" fmla="*/ 15420 h 15420"/>
                  <a:gd name="connsiteX2" fmla="*/ 501 w 500"/>
                  <a:gd name="connsiteY2" fmla="*/ 0 h 15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0" h="15420">
                    <a:moveTo>
                      <a:pt x="501" y="0"/>
                    </a:moveTo>
                    <a:lnTo>
                      <a:pt x="501" y="15420"/>
                    </a:lnTo>
                    <a:cubicBezTo>
                      <a:pt x="-167" y="10307"/>
                      <a:pt x="-167" y="5123"/>
                      <a:pt x="50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4" name="Freeform: Shape 2583">
                <a:extLst>
                  <a:ext uri="{FF2B5EF4-FFF2-40B4-BE49-F238E27FC236}">
                    <a16:creationId xmlns:a16="http://schemas.microsoft.com/office/drawing/2014/main" id="{FBFF6949-54D1-46F0-81E1-0C03666E78B0}"/>
                  </a:ext>
                </a:extLst>
              </p:cNvPr>
              <p:cNvSpPr/>
              <p:nvPr/>
            </p:nvSpPr>
            <p:spPr>
              <a:xfrm>
                <a:off x="1662792" y="3288493"/>
                <a:ext cx="13053" cy="9053"/>
              </a:xfrm>
              <a:custGeom>
                <a:avLst/>
                <a:gdLst>
                  <a:gd name="connsiteX0" fmla="*/ 13053 w 13053"/>
                  <a:gd name="connsiteY0" fmla="*/ 9053 h 9053"/>
                  <a:gd name="connsiteX1" fmla="*/ 0 w 13053"/>
                  <a:gd name="connsiteY1" fmla="*/ 0 h 9053"/>
                  <a:gd name="connsiteX2" fmla="*/ 13053 w 13053"/>
                  <a:gd name="connsiteY2" fmla="*/ 9053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053" h="9053">
                    <a:moveTo>
                      <a:pt x="13053" y="9053"/>
                    </a:moveTo>
                    <a:cubicBezTo>
                      <a:pt x="7573" y="8108"/>
                      <a:pt x="2800" y="4795"/>
                      <a:pt x="0" y="0"/>
                    </a:cubicBezTo>
                    <a:cubicBezTo>
                      <a:pt x="3249" y="4357"/>
                      <a:pt x="7832" y="7541"/>
                      <a:pt x="13053" y="905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5" name="Freeform: Shape 2584">
                <a:extLst>
                  <a:ext uri="{FF2B5EF4-FFF2-40B4-BE49-F238E27FC236}">
                    <a16:creationId xmlns:a16="http://schemas.microsoft.com/office/drawing/2014/main" id="{CD9B2BC2-284C-4A81-8A8D-2013F1A6E18E}"/>
                  </a:ext>
                </a:extLst>
              </p:cNvPr>
              <p:cNvSpPr/>
              <p:nvPr/>
            </p:nvSpPr>
            <p:spPr>
              <a:xfrm>
                <a:off x="1681226" y="3308390"/>
                <a:ext cx="4882" cy="10943"/>
              </a:xfrm>
              <a:custGeom>
                <a:avLst/>
                <a:gdLst>
                  <a:gd name="connsiteX0" fmla="*/ 4882 w 4882"/>
                  <a:gd name="connsiteY0" fmla="*/ 10943 h 10943"/>
                  <a:gd name="connsiteX1" fmla="*/ 0 w 4882"/>
                  <a:gd name="connsiteY1" fmla="*/ 0 h 10943"/>
                  <a:gd name="connsiteX2" fmla="*/ 1594 w 4882"/>
                  <a:gd name="connsiteY2" fmla="*/ 3084 h 10943"/>
                  <a:gd name="connsiteX3" fmla="*/ 4882 w 4882"/>
                  <a:gd name="connsiteY3" fmla="*/ 10943 h 10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2" h="10943">
                    <a:moveTo>
                      <a:pt x="4882" y="10943"/>
                    </a:moveTo>
                    <a:cubicBezTo>
                      <a:pt x="3288" y="7462"/>
                      <a:pt x="1694" y="3681"/>
                      <a:pt x="0" y="0"/>
                    </a:cubicBezTo>
                    <a:lnTo>
                      <a:pt x="1594" y="3084"/>
                    </a:lnTo>
                    <a:cubicBezTo>
                      <a:pt x="2870" y="5631"/>
                      <a:pt x="3966" y="8257"/>
                      <a:pt x="4882" y="1094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6" name="Freeform: Shape 2585">
                <a:extLst>
                  <a:ext uri="{FF2B5EF4-FFF2-40B4-BE49-F238E27FC236}">
                    <a16:creationId xmlns:a16="http://schemas.microsoft.com/office/drawing/2014/main" id="{7880C110-C15A-43E6-8202-FBB6D0B18DAC}"/>
                  </a:ext>
                </a:extLst>
              </p:cNvPr>
              <p:cNvSpPr/>
              <p:nvPr/>
            </p:nvSpPr>
            <p:spPr>
              <a:xfrm>
                <a:off x="1676941" y="3585065"/>
                <a:ext cx="11359" cy="15022"/>
              </a:xfrm>
              <a:custGeom>
                <a:avLst/>
                <a:gdLst>
                  <a:gd name="connsiteX0" fmla="*/ 5879 w 11359"/>
                  <a:gd name="connsiteY0" fmla="*/ 8954 h 15022"/>
                  <a:gd name="connsiteX1" fmla="*/ 11359 w 11359"/>
                  <a:gd name="connsiteY1" fmla="*/ 0 h 15022"/>
                  <a:gd name="connsiteX2" fmla="*/ 8868 w 11359"/>
                  <a:gd name="connsiteY2" fmla="*/ 5969 h 15022"/>
                  <a:gd name="connsiteX3" fmla="*/ 0 w 11359"/>
                  <a:gd name="connsiteY3" fmla="*/ 15022 h 15022"/>
                  <a:gd name="connsiteX4" fmla="*/ 5879 w 11359"/>
                  <a:gd name="connsiteY4" fmla="*/ 8954 h 15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59" h="15022">
                    <a:moveTo>
                      <a:pt x="5879" y="8954"/>
                    </a:moveTo>
                    <a:cubicBezTo>
                      <a:pt x="7952" y="6128"/>
                      <a:pt x="9785" y="3134"/>
                      <a:pt x="11359" y="0"/>
                    </a:cubicBezTo>
                    <a:cubicBezTo>
                      <a:pt x="10413" y="1940"/>
                      <a:pt x="9586" y="3930"/>
                      <a:pt x="8868" y="5969"/>
                    </a:cubicBezTo>
                    <a:cubicBezTo>
                      <a:pt x="6198" y="9252"/>
                      <a:pt x="3229" y="12277"/>
                      <a:pt x="0" y="15022"/>
                    </a:cubicBezTo>
                    <a:cubicBezTo>
                      <a:pt x="1794" y="12844"/>
                      <a:pt x="3756" y="10814"/>
                      <a:pt x="5879" y="895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7" name="Freeform: Shape 2586">
                <a:extLst>
                  <a:ext uri="{FF2B5EF4-FFF2-40B4-BE49-F238E27FC236}">
                    <a16:creationId xmlns:a16="http://schemas.microsoft.com/office/drawing/2014/main" id="{10178C26-5214-47FF-8C21-86DFD93A8CD6}"/>
                  </a:ext>
                </a:extLst>
              </p:cNvPr>
              <p:cNvSpPr/>
              <p:nvPr/>
            </p:nvSpPr>
            <p:spPr>
              <a:xfrm>
                <a:off x="1688002" y="3348782"/>
                <a:ext cx="8669" cy="5869"/>
              </a:xfrm>
              <a:custGeom>
                <a:avLst/>
                <a:gdLst>
                  <a:gd name="connsiteX0" fmla="*/ 8669 w 8669"/>
                  <a:gd name="connsiteY0" fmla="*/ 5870 h 5869"/>
                  <a:gd name="connsiteX1" fmla="*/ 0 w 8669"/>
                  <a:gd name="connsiteY1" fmla="*/ 0 h 5869"/>
                  <a:gd name="connsiteX2" fmla="*/ 8669 w 8669"/>
                  <a:gd name="connsiteY2" fmla="*/ 5870 h 5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69" h="5869">
                    <a:moveTo>
                      <a:pt x="8669" y="5870"/>
                    </a:moveTo>
                    <a:cubicBezTo>
                      <a:pt x="5082" y="5223"/>
                      <a:pt x="1933" y="3084"/>
                      <a:pt x="0" y="0"/>
                    </a:cubicBezTo>
                    <a:cubicBezTo>
                      <a:pt x="2342" y="2666"/>
                      <a:pt x="5321" y="4686"/>
                      <a:pt x="8669" y="587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8" name="Freeform: Shape 2587">
                <a:extLst>
                  <a:ext uri="{FF2B5EF4-FFF2-40B4-BE49-F238E27FC236}">
                    <a16:creationId xmlns:a16="http://schemas.microsoft.com/office/drawing/2014/main" id="{5642D171-657D-44CC-8D8C-3D9E394EA4B5}"/>
                  </a:ext>
                </a:extLst>
              </p:cNvPr>
              <p:cNvSpPr/>
              <p:nvPr/>
            </p:nvSpPr>
            <p:spPr>
              <a:xfrm>
                <a:off x="1691888" y="3572032"/>
                <a:ext cx="5081" cy="6466"/>
              </a:xfrm>
              <a:custGeom>
                <a:avLst/>
                <a:gdLst>
                  <a:gd name="connsiteX0" fmla="*/ 0 w 5081"/>
                  <a:gd name="connsiteY0" fmla="*/ 6467 h 6466"/>
                  <a:gd name="connsiteX1" fmla="*/ 5082 w 5081"/>
                  <a:gd name="connsiteY1" fmla="*/ 0 h 6466"/>
                  <a:gd name="connsiteX2" fmla="*/ 0 w 5081"/>
                  <a:gd name="connsiteY2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1" h="6466">
                    <a:moveTo>
                      <a:pt x="0" y="6467"/>
                    </a:moveTo>
                    <a:cubicBezTo>
                      <a:pt x="1415" y="4109"/>
                      <a:pt x="3129" y="1940"/>
                      <a:pt x="5082" y="0"/>
                    </a:cubicBezTo>
                    <a:cubicBezTo>
                      <a:pt x="3587" y="1890"/>
                      <a:pt x="1893" y="3581"/>
                      <a:pt x="0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89" name="Freeform: Shape 2588">
                <a:extLst>
                  <a:ext uri="{FF2B5EF4-FFF2-40B4-BE49-F238E27FC236}">
                    <a16:creationId xmlns:a16="http://schemas.microsoft.com/office/drawing/2014/main" id="{945587DA-2769-48D7-8047-066F40903794}"/>
                  </a:ext>
                </a:extLst>
              </p:cNvPr>
              <p:cNvSpPr/>
              <p:nvPr/>
            </p:nvSpPr>
            <p:spPr>
              <a:xfrm>
                <a:off x="1698763" y="3495526"/>
                <a:ext cx="2291" cy="9451"/>
              </a:xfrm>
              <a:custGeom>
                <a:avLst/>
                <a:gdLst>
                  <a:gd name="connsiteX0" fmla="*/ 2292 w 2291"/>
                  <a:gd name="connsiteY0" fmla="*/ 9451 h 9451"/>
                  <a:gd name="connsiteX1" fmla="*/ 0 w 2291"/>
                  <a:gd name="connsiteY1" fmla="*/ 0 h 9451"/>
                  <a:gd name="connsiteX2" fmla="*/ 2292 w 2291"/>
                  <a:gd name="connsiteY2" fmla="*/ 9451 h 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91" h="9451">
                    <a:moveTo>
                      <a:pt x="2292" y="9451"/>
                    </a:moveTo>
                    <a:cubicBezTo>
                      <a:pt x="2003" y="6208"/>
                      <a:pt x="1225" y="3014"/>
                      <a:pt x="0" y="0"/>
                    </a:cubicBezTo>
                    <a:cubicBezTo>
                      <a:pt x="1415" y="2955"/>
                      <a:pt x="2202" y="6178"/>
                      <a:pt x="2292" y="945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90" name="Freeform: Shape 2589">
                <a:extLst>
                  <a:ext uri="{FF2B5EF4-FFF2-40B4-BE49-F238E27FC236}">
                    <a16:creationId xmlns:a16="http://schemas.microsoft.com/office/drawing/2014/main" id="{0D2BD269-4B6C-4285-A828-515E3EDCBC30}"/>
                  </a:ext>
                </a:extLst>
              </p:cNvPr>
              <p:cNvSpPr/>
              <p:nvPr/>
            </p:nvSpPr>
            <p:spPr>
              <a:xfrm>
                <a:off x="1699062" y="3533530"/>
                <a:ext cx="2094" cy="6765"/>
              </a:xfrm>
              <a:custGeom>
                <a:avLst/>
                <a:gdLst>
                  <a:gd name="connsiteX0" fmla="*/ 1794 w 2094"/>
                  <a:gd name="connsiteY0" fmla="*/ 6765 h 6765"/>
                  <a:gd name="connsiteX1" fmla="*/ 0 w 2094"/>
                  <a:gd name="connsiteY1" fmla="*/ 0 h 6765"/>
                  <a:gd name="connsiteX2" fmla="*/ 1794 w 2094"/>
                  <a:gd name="connsiteY2" fmla="*/ 6765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94" h="6765">
                    <a:moveTo>
                      <a:pt x="1794" y="6765"/>
                    </a:moveTo>
                    <a:cubicBezTo>
                      <a:pt x="1465" y="4447"/>
                      <a:pt x="857" y="2179"/>
                      <a:pt x="0" y="0"/>
                    </a:cubicBezTo>
                    <a:cubicBezTo>
                      <a:pt x="1853" y="1721"/>
                      <a:pt x="2551" y="4358"/>
                      <a:pt x="1794" y="67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91" name="Freeform: Shape 2590">
                <a:extLst>
                  <a:ext uri="{FF2B5EF4-FFF2-40B4-BE49-F238E27FC236}">
                    <a16:creationId xmlns:a16="http://schemas.microsoft.com/office/drawing/2014/main" id="{72E6AC08-9A95-46EC-85F0-9C4C5C6300DF}"/>
                  </a:ext>
                </a:extLst>
              </p:cNvPr>
              <p:cNvSpPr/>
              <p:nvPr/>
            </p:nvSpPr>
            <p:spPr>
              <a:xfrm>
                <a:off x="1700557" y="3486473"/>
                <a:ext cx="3387" cy="6665"/>
              </a:xfrm>
              <a:custGeom>
                <a:avLst/>
                <a:gdLst>
                  <a:gd name="connsiteX0" fmla="*/ 0 w 3387"/>
                  <a:gd name="connsiteY0" fmla="*/ 6665 h 6665"/>
                  <a:gd name="connsiteX1" fmla="*/ 3388 w 3387"/>
                  <a:gd name="connsiteY1" fmla="*/ 0 h 6665"/>
                  <a:gd name="connsiteX2" fmla="*/ 0 w 3387"/>
                  <a:gd name="connsiteY2" fmla="*/ 6665 h 6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7" h="6665">
                    <a:moveTo>
                      <a:pt x="0" y="6665"/>
                    </a:moveTo>
                    <a:cubicBezTo>
                      <a:pt x="1196" y="4676"/>
                      <a:pt x="2292" y="2288"/>
                      <a:pt x="3388" y="0"/>
                    </a:cubicBezTo>
                    <a:cubicBezTo>
                      <a:pt x="2830" y="2467"/>
                      <a:pt x="1664" y="4755"/>
                      <a:pt x="0" y="66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92" name="Freeform: Shape 2591">
                <a:extLst>
                  <a:ext uri="{FF2B5EF4-FFF2-40B4-BE49-F238E27FC236}">
                    <a16:creationId xmlns:a16="http://schemas.microsoft.com/office/drawing/2014/main" id="{BFE1E493-8DAA-43C8-B748-07F819529D77}"/>
                  </a:ext>
                </a:extLst>
              </p:cNvPr>
              <p:cNvSpPr/>
              <p:nvPr/>
            </p:nvSpPr>
            <p:spPr>
              <a:xfrm>
                <a:off x="1701254" y="3544175"/>
                <a:ext cx="999" cy="18703"/>
              </a:xfrm>
              <a:custGeom>
                <a:avLst/>
                <a:gdLst>
                  <a:gd name="connsiteX0" fmla="*/ 0 w 999"/>
                  <a:gd name="connsiteY0" fmla="*/ 0 h 18703"/>
                  <a:gd name="connsiteX1" fmla="*/ 498 w 999"/>
                  <a:gd name="connsiteY1" fmla="*/ 18704 h 18703"/>
                  <a:gd name="connsiteX2" fmla="*/ 498 w 999"/>
                  <a:gd name="connsiteY2" fmla="*/ 6069 h 18703"/>
                  <a:gd name="connsiteX3" fmla="*/ 0 w 999"/>
                  <a:gd name="connsiteY3" fmla="*/ 0 h 18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9" h="18703">
                    <a:moveTo>
                      <a:pt x="0" y="0"/>
                    </a:moveTo>
                    <a:cubicBezTo>
                      <a:pt x="1136" y="6168"/>
                      <a:pt x="1305" y="12486"/>
                      <a:pt x="498" y="18704"/>
                    </a:cubicBezTo>
                    <a:lnTo>
                      <a:pt x="498" y="6069"/>
                    </a:lnTo>
                    <a:cubicBezTo>
                      <a:pt x="299" y="4179"/>
                      <a:pt x="100" y="208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93" name="Freeform: Shape 2592">
                <a:extLst>
                  <a:ext uri="{FF2B5EF4-FFF2-40B4-BE49-F238E27FC236}">
                    <a16:creationId xmlns:a16="http://schemas.microsoft.com/office/drawing/2014/main" id="{85532B6E-636A-4724-8982-4C9E87742D90}"/>
                  </a:ext>
                </a:extLst>
              </p:cNvPr>
              <p:cNvSpPr/>
              <p:nvPr/>
            </p:nvSpPr>
            <p:spPr>
              <a:xfrm>
                <a:off x="1720685" y="3431158"/>
                <a:ext cx="1096" cy="4079"/>
              </a:xfrm>
              <a:custGeom>
                <a:avLst/>
                <a:gdLst>
                  <a:gd name="connsiteX0" fmla="*/ 0 w 1096"/>
                  <a:gd name="connsiteY0" fmla="*/ 2786 h 4079"/>
                  <a:gd name="connsiteX1" fmla="*/ 1096 w 1096"/>
                  <a:gd name="connsiteY1" fmla="*/ 0 h 4079"/>
                  <a:gd name="connsiteX2" fmla="*/ 1096 w 1096"/>
                  <a:gd name="connsiteY2" fmla="*/ 4079 h 4079"/>
                  <a:gd name="connsiteX3" fmla="*/ 0 w 1096"/>
                  <a:gd name="connsiteY3" fmla="*/ 2786 h 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6" h="4079">
                    <a:moveTo>
                      <a:pt x="0" y="2786"/>
                    </a:moveTo>
                    <a:cubicBezTo>
                      <a:pt x="0" y="1791"/>
                      <a:pt x="797" y="995"/>
                      <a:pt x="1096" y="0"/>
                    </a:cubicBezTo>
                    <a:cubicBezTo>
                      <a:pt x="847" y="1353"/>
                      <a:pt x="847" y="2726"/>
                      <a:pt x="1096" y="4079"/>
                    </a:cubicBezTo>
                    <a:cubicBezTo>
                      <a:pt x="787" y="3611"/>
                      <a:pt x="419" y="3174"/>
                      <a:pt x="0" y="27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94" name="Freeform: Shape 2593">
                <a:extLst>
                  <a:ext uri="{FF2B5EF4-FFF2-40B4-BE49-F238E27FC236}">
                    <a16:creationId xmlns:a16="http://schemas.microsoft.com/office/drawing/2014/main" id="{57A4CCAA-29D3-4C19-A971-7461DCC4C9CA}"/>
                  </a:ext>
                </a:extLst>
              </p:cNvPr>
              <p:cNvSpPr/>
              <p:nvPr/>
            </p:nvSpPr>
            <p:spPr>
              <a:xfrm>
                <a:off x="1722603" y="3402008"/>
                <a:ext cx="74" cy="4974"/>
              </a:xfrm>
              <a:custGeom>
                <a:avLst/>
                <a:gdLst>
                  <a:gd name="connsiteX0" fmla="*/ 75 w 74"/>
                  <a:gd name="connsiteY0" fmla="*/ 4974 h 4974"/>
                  <a:gd name="connsiteX1" fmla="*/ 75 w 74"/>
                  <a:gd name="connsiteY1" fmla="*/ 0 h 4974"/>
                  <a:gd name="connsiteX2" fmla="*/ 75 w 74"/>
                  <a:gd name="connsiteY2" fmla="*/ 4974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" h="4974">
                    <a:moveTo>
                      <a:pt x="75" y="4974"/>
                    </a:moveTo>
                    <a:cubicBezTo>
                      <a:pt x="-25" y="3313"/>
                      <a:pt x="-25" y="1652"/>
                      <a:pt x="75" y="0"/>
                    </a:cubicBezTo>
                    <a:cubicBezTo>
                      <a:pt x="-25" y="1652"/>
                      <a:pt x="-25" y="3313"/>
                      <a:pt x="75" y="49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95" name="Freeform: Shape 2594">
                <a:extLst>
                  <a:ext uri="{FF2B5EF4-FFF2-40B4-BE49-F238E27FC236}">
                    <a16:creationId xmlns:a16="http://schemas.microsoft.com/office/drawing/2014/main" id="{58C1C69D-D6CE-433D-A4F5-581842A3D133}"/>
                  </a:ext>
                </a:extLst>
              </p:cNvPr>
              <p:cNvSpPr/>
              <p:nvPr/>
            </p:nvSpPr>
            <p:spPr>
              <a:xfrm>
                <a:off x="1722977" y="3408574"/>
                <a:ext cx="9964" cy="4576"/>
              </a:xfrm>
              <a:custGeom>
                <a:avLst/>
                <a:gdLst>
                  <a:gd name="connsiteX0" fmla="*/ 0 w 9964"/>
                  <a:gd name="connsiteY0" fmla="*/ 4577 h 4576"/>
                  <a:gd name="connsiteX1" fmla="*/ 0 w 9964"/>
                  <a:gd name="connsiteY1" fmla="*/ 0 h 4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64" h="4576">
                    <a:moveTo>
                      <a:pt x="0" y="4577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96" name="Freeform: Shape 2595">
                <a:extLst>
                  <a:ext uri="{FF2B5EF4-FFF2-40B4-BE49-F238E27FC236}">
                    <a16:creationId xmlns:a16="http://schemas.microsoft.com/office/drawing/2014/main" id="{F025746C-C6EB-4835-BBAF-33F80366896E}"/>
                  </a:ext>
                </a:extLst>
              </p:cNvPr>
              <p:cNvSpPr/>
              <p:nvPr/>
            </p:nvSpPr>
            <p:spPr>
              <a:xfrm>
                <a:off x="1722678" y="3408574"/>
                <a:ext cx="9964" cy="9948"/>
              </a:xfrm>
              <a:custGeom>
                <a:avLst/>
                <a:gdLst>
                  <a:gd name="connsiteX0" fmla="*/ 0 w 9964"/>
                  <a:gd name="connsiteY0" fmla="*/ 0 h 9948"/>
                  <a:gd name="connsiteX1" fmla="*/ 0 w 9964"/>
                  <a:gd name="connsiteY1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64" h="9948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97" name="Freeform: Shape 2596">
                <a:extLst>
                  <a:ext uri="{FF2B5EF4-FFF2-40B4-BE49-F238E27FC236}">
                    <a16:creationId xmlns:a16="http://schemas.microsoft.com/office/drawing/2014/main" id="{F513199E-3413-4478-AC6B-EE812950E0EC}"/>
                  </a:ext>
                </a:extLst>
              </p:cNvPr>
              <p:cNvSpPr/>
              <p:nvPr/>
            </p:nvSpPr>
            <p:spPr>
              <a:xfrm>
                <a:off x="1722678" y="3439515"/>
                <a:ext cx="996" cy="3183"/>
              </a:xfrm>
              <a:custGeom>
                <a:avLst/>
                <a:gdLst>
                  <a:gd name="connsiteX0" fmla="*/ 0 w 996"/>
                  <a:gd name="connsiteY0" fmla="*/ 0 h 3183"/>
                  <a:gd name="connsiteX1" fmla="*/ 997 w 996"/>
                  <a:gd name="connsiteY1" fmla="*/ 1293 h 3183"/>
                  <a:gd name="connsiteX2" fmla="*/ 0 w 996"/>
                  <a:gd name="connsiteY2" fmla="*/ 3184 h 3183"/>
                  <a:gd name="connsiteX3" fmla="*/ 0 w 996"/>
                  <a:gd name="connsiteY3" fmla="*/ 0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" h="3183">
                    <a:moveTo>
                      <a:pt x="0" y="0"/>
                    </a:moveTo>
                    <a:lnTo>
                      <a:pt x="997" y="1293"/>
                    </a:lnTo>
                    <a:cubicBezTo>
                      <a:pt x="708" y="1940"/>
                      <a:pt x="369" y="2577"/>
                      <a:pt x="0" y="3184"/>
                    </a:cubicBezTo>
                    <a:cubicBezTo>
                      <a:pt x="199" y="2129"/>
                      <a:pt x="199" y="105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98" name="Freeform: Shape 2597">
                <a:extLst>
                  <a:ext uri="{FF2B5EF4-FFF2-40B4-BE49-F238E27FC236}">
                    <a16:creationId xmlns:a16="http://schemas.microsoft.com/office/drawing/2014/main" id="{D7D16215-5202-4FC9-8E68-144DCDF9491B}"/>
                  </a:ext>
                </a:extLst>
              </p:cNvPr>
              <p:cNvSpPr/>
              <p:nvPr/>
            </p:nvSpPr>
            <p:spPr>
              <a:xfrm>
                <a:off x="1723076" y="3417229"/>
                <a:ext cx="597" cy="7660"/>
              </a:xfrm>
              <a:custGeom>
                <a:avLst/>
                <a:gdLst>
                  <a:gd name="connsiteX0" fmla="*/ 598 w 597"/>
                  <a:gd name="connsiteY0" fmla="*/ 4676 h 7660"/>
                  <a:gd name="connsiteX1" fmla="*/ 0 w 597"/>
                  <a:gd name="connsiteY1" fmla="*/ 7661 h 7660"/>
                  <a:gd name="connsiteX2" fmla="*/ 0 w 597"/>
                  <a:gd name="connsiteY2" fmla="*/ 0 h 7660"/>
                  <a:gd name="connsiteX3" fmla="*/ 598 w 597"/>
                  <a:gd name="connsiteY3" fmla="*/ 4676 h 7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7" h="7660">
                    <a:moveTo>
                      <a:pt x="598" y="4676"/>
                    </a:moveTo>
                    <a:lnTo>
                      <a:pt x="0" y="7661"/>
                    </a:lnTo>
                    <a:cubicBezTo>
                      <a:pt x="149" y="5114"/>
                      <a:pt x="149" y="2547"/>
                      <a:pt x="0" y="0"/>
                    </a:cubicBezTo>
                    <a:cubicBezTo>
                      <a:pt x="299" y="1791"/>
                      <a:pt x="398" y="3383"/>
                      <a:pt x="598" y="46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497" name="Freeform: Shape 1496">
              <a:extLst>
                <a:ext uri="{FF2B5EF4-FFF2-40B4-BE49-F238E27FC236}">
                  <a16:creationId xmlns:a16="http://schemas.microsoft.com/office/drawing/2014/main" id="{4399E09B-5B40-449B-BD32-9A3F20083D59}"/>
                </a:ext>
              </a:extLst>
            </p:cNvPr>
            <p:cNvSpPr/>
            <p:nvPr/>
          </p:nvSpPr>
          <p:spPr>
            <a:xfrm>
              <a:off x="-1605533" y="1829311"/>
              <a:ext cx="736668" cy="1344771"/>
            </a:xfrm>
            <a:custGeom>
              <a:avLst/>
              <a:gdLst>
                <a:gd name="connsiteX0" fmla="*/ 176669 w 736668"/>
                <a:gd name="connsiteY0" fmla="*/ 1233445 h 1344771"/>
                <a:gd name="connsiteX1" fmla="*/ 192612 w 736668"/>
                <a:gd name="connsiteY1" fmla="*/ 1255332 h 1344771"/>
                <a:gd name="connsiteX2" fmla="*/ 210548 w 736668"/>
                <a:gd name="connsiteY2" fmla="*/ 1259312 h 1344771"/>
                <a:gd name="connsiteX3" fmla="*/ 215530 w 736668"/>
                <a:gd name="connsiteY3" fmla="*/ 1251452 h 1344771"/>
                <a:gd name="connsiteX4" fmla="*/ 176669 w 736668"/>
                <a:gd name="connsiteY4" fmla="*/ 1233445 h 1344771"/>
                <a:gd name="connsiteX5" fmla="*/ 53110 w 736668"/>
                <a:gd name="connsiteY5" fmla="*/ 1262297 h 1344771"/>
                <a:gd name="connsiteX6" fmla="*/ 72043 w 736668"/>
                <a:gd name="connsiteY6" fmla="*/ 1270255 h 1344771"/>
                <a:gd name="connsiteX7" fmla="*/ 52911 w 736668"/>
                <a:gd name="connsiteY7" fmla="*/ 1262297 h 1344771"/>
                <a:gd name="connsiteX8" fmla="*/ 729195 w 736668"/>
                <a:gd name="connsiteY8" fmla="*/ 1098441 h 1344771"/>
                <a:gd name="connsiteX9" fmla="*/ 736669 w 736668"/>
                <a:gd name="connsiteY9" fmla="*/ 1107196 h 1344771"/>
                <a:gd name="connsiteX10" fmla="*/ 728996 w 736668"/>
                <a:gd name="connsiteY10" fmla="*/ 1098441 h 1344771"/>
                <a:gd name="connsiteX11" fmla="*/ 719231 w 736668"/>
                <a:gd name="connsiteY11" fmla="*/ 1089984 h 1344771"/>
                <a:gd name="connsiteX12" fmla="*/ 712954 w 736668"/>
                <a:gd name="connsiteY12" fmla="*/ 1086602 h 1344771"/>
                <a:gd name="connsiteX13" fmla="*/ 719331 w 736668"/>
                <a:gd name="connsiteY13" fmla="*/ 1089686 h 1344771"/>
                <a:gd name="connsiteX14" fmla="*/ 695516 w 736668"/>
                <a:gd name="connsiteY14" fmla="*/ 1317114 h 1344771"/>
                <a:gd name="connsiteX15" fmla="*/ 693523 w 736668"/>
                <a:gd name="connsiteY15" fmla="*/ 1308260 h 1344771"/>
                <a:gd name="connsiteX16" fmla="*/ 695615 w 736668"/>
                <a:gd name="connsiteY16" fmla="*/ 1317114 h 1344771"/>
                <a:gd name="connsiteX17" fmla="*/ 685551 w 736668"/>
                <a:gd name="connsiteY17" fmla="*/ 1299007 h 1344771"/>
                <a:gd name="connsiteX18" fmla="*/ 690434 w 736668"/>
                <a:gd name="connsiteY18" fmla="*/ 1300997 h 1344771"/>
                <a:gd name="connsiteX19" fmla="*/ 689836 w 736668"/>
                <a:gd name="connsiteY19" fmla="*/ 1300102 h 1344771"/>
                <a:gd name="connsiteX20" fmla="*/ 685352 w 736668"/>
                <a:gd name="connsiteY20" fmla="*/ 1298609 h 1344771"/>
                <a:gd name="connsiteX21" fmla="*/ 682562 w 736668"/>
                <a:gd name="connsiteY21" fmla="*/ 1340792 h 1344771"/>
                <a:gd name="connsiteX22" fmla="*/ 675986 w 736668"/>
                <a:gd name="connsiteY22" fmla="*/ 1343478 h 1344771"/>
                <a:gd name="connsiteX23" fmla="*/ 682363 w 736668"/>
                <a:gd name="connsiteY23" fmla="*/ 1340792 h 1344771"/>
                <a:gd name="connsiteX24" fmla="*/ 678377 w 736668"/>
                <a:gd name="connsiteY24" fmla="*/ 1025119 h 1344771"/>
                <a:gd name="connsiteX25" fmla="*/ 687644 w 736668"/>
                <a:gd name="connsiteY25" fmla="*/ 1036958 h 1344771"/>
                <a:gd name="connsiteX26" fmla="*/ 675587 w 736668"/>
                <a:gd name="connsiteY26" fmla="*/ 1010892 h 1344771"/>
                <a:gd name="connsiteX27" fmla="*/ 675587 w 736668"/>
                <a:gd name="connsiteY27" fmla="*/ 1017458 h 1344771"/>
                <a:gd name="connsiteX28" fmla="*/ 675388 w 736668"/>
                <a:gd name="connsiteY28" fmla="*/ 1010892 h 1344771"/>
                <a:gd name="connsiteX29" fmla="*/ 664925 w 736668"/>
                <a:gd name="connsiteY29" fmla="*/ 1344772 h 1344771"/>
                <a:gd name="connsiteX30" fmla="*/ 671103 w 736668"/>
                <a:gd name="connsiteY30" fmla="*/ 1343876 h 1344771"/>
                <a:gd name="connsiteX31" fmla="*/ 672299 w 736668"/>
                <a:gd name="connsiteY31" fmla="*/ 1343876 h 1344771"/>
                <a:gd name="connsiteX32" fmla="*/ 666121 w 736668"/>
                <a:gd name="connsiteY32" fmla="*/ 1342881 h 1344771"/>
                <a:gd name="connsiteX33" fmla="*/ 664925 w 736668"/>
                <a:gd name="connsiteY33" fmla="*/ 1344772 h 1344771"/>
                <a:gd name="connsiteX34" fmla="*/ 669010 w 736668"/>
                <a:gd name="connsiteY34" fmla="*/ 1277518 h 1344771"/>
                <a:gd name="connsiteX35" fmla="*/ 669010 w 736668"/>
                <a:gd name="connsiteY35" fmla="*/ 1268266 h 1344771"/>
                <a:gd name="connsiteX36" fmla="*/ 668612 w 736668"/>
                <a:gd name="connsiteY36" fmla="*/ 1277518 h 1344771"/>
                <a:gd name="connsiteX37" fmla="*/ 669010 w 736668"/>
                <a:gd name="connsiteY37" fmla="*/ 1264684 h 1344771"/>
                <a:gd name="connsiteX38" fmla="*/ 666021 w 736668"/>
                <a:gd name="connsiteY38" fmla="*/ 1261998 h 1344771"/>
                <a:gd name="connsiteX39" fmla="*/ 668213 w 736668"/>
                <a:gd name="connsiteY39" fmla="*/ 1264684 h 1344771"/>
                <a:gd name="connsiteX40" fmla="*/ 666519 w 736668"/>
                <a:gd name="connsiteY40" fmla="*/ 1249562 h 1344771"/>
                <a:gd name="connsiteX41" fmla="*/ 665423 w 736668"/>
                <a:gd name="connsiteY41" fmla="*/ 1258516 h 1344771"/>
                <a:gd name="connsiteX42" fmla="*/ 665722 w 736668"/>
                <a:gd name="connsiteY42" fmla="*/ 1249562 h 1344771"/>
                <a:gd name="connsiteX43" fmla="*/ 576840 w 736668"/>
                <a:gd name="connsiteY43" fmla="*/ 903943 h 1344771"/>
                <a:gd name="connsiteX44" fmla="*/ 675886 w 736668"/>
                <a:gd name="connsiteY44" fmla="*/ 1000644 h 1344771"/>
                <a:gd name="connsiteX45" fmla="*/ 575245 w 736668"/>
                <a:gd name="connsiteY45" fmla="*/ 903943 h 1344771"/>
                <a:gd name="connsiteX46" fmla="*/ 96954 w 736668"/>
                <a:gd name="connsiteY46" fmla="*/ 457841 h 1344771"/>
                <a:gd name="connsiteX47" fmla="*/ 62577 w 736668"/>
                <a:gd name="connsiteY47" fmla="*/ 427000 h 1344771"/>
                <a:gd name="connsiteX48" fmla="*/ 96954 w 736668"/>
                <a:gd name="connsiteY48" fmla="*/ 457841 h 1344771"/>
                <a:gd name="connsiteX49" fmla="*/ 34776 w 736668"/>
                <a:gd name="connsiteY49" fmla="*/ 402228 h 1344771"/>
                <a:gd name="connsiteX50" fmla="*/ 7274 w 736668"/>
                <a:gd name="connsiteY50" fmla="*/ 377953 h 1344771"/>
                <a:gd name="connsiteX51" fmla="*/ 34278 w 736668"/>
                <a:gd name="connsiteY51" fmla="*/ 402228 h 1344771"/>
                <a:gd name="connsiteX52" fmla="*/ 498 w 736668"/>
                <a:gd name="connsiteY52" fmla="*/ 73919 h 1344771"/>
                <a:gd name="connsiteX53" fmla="*/ 498 w 736668"/>
                <a:gd name="connsiteY53" fmla="*/ 0 h 1344771"/>
                <a:gd name="connsiteX54" fmla="*/ 498 w 736668"/>
                <a:gd name="connsiteY54" fmla="*/ 13630 h 1344771"/>
                <a:gd name="connsiteX55" fmla="*/ 0 w 736668"/>
                <a:gd name="connsiteY55" fmla="*/ 74019 h 1344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736668" h="1344771">
                  <a:moveTo>
                    <a:pt x="176669" y="1233445"/>
                  </a:moveTo>
                  <a:cubicBezTo>
                    <a:pt x="180854" y="1240011"/>
                    <a:pt x="192114" y="1246876"/>
                    <a:pt x="192612" y="1255332"/>
                  </a:cubicBezTo>
                  <a:cubicBezTo>
                    <a:pt x="198820" y="1255273"/>
                    <a:pt x="204958" y="1256626"/>
                    <a:pt x="210548" y="1259312"/>
                  </a:cubicBezTo>
                  <a:lnTo>
                    <a:pt x="215530" y="1251452"/>
                  </a:lnTo>
                  <a:cubicBezTo>
                    <a:pt x="203673" y="1243394"/>
                    <a:pt x="192213" y="1224989"/>
                    <a:pt x="176669" y="1233445"/>
                  </a:cubicBezTo>
                  <a:close/>
                  <a:moveTo>
                    <a:pt x="53110" y="1262297"/>
                  </a:moveTo>
                  <a:cubicBezTo>
                    <a:pt x="56149" y="1269708"/>
                    <a:pt x="64609" y="1273260"/>
                    <a:pt x="72043" y="1270255"/>
                  </a:cubicBezTo>
                  <a:cubicBezTo>
                    <a:pt x="73936" y="1260207"/>
                    <a:pt x="59587" y="1256626"/>
                    <a:pt x="52911" y="1262297"/>
                  </a:cubicBezTo>
                  <a:close/>
                  <a:moveTo>
                    <a:pt x="729195" y="1098441"/>
                  </a:moveTo>
                  <a:cubicBezTo>
                    <a:pt x="731846" y="1101216"/>
                    <a:pt x="734337" y="1104141"/>
                    <a:pt x="736669" y="1107196"/>
                  </a:cubicBezTo>
                  <a:cubicBezTo>
                    <a:pt x="734327" y="1104092"/>
                    <a:pt x="731766" y="1101167"/>
                    <a:pt x="728996" y="1098441"/>
                  </a:cubicBezTo>
                  <a:close/>
                  <a:moveTo>
                    <a:pt x="719231" y="1089984"/>
                  </a:moveTo>
                  <a:cubicBezTo>
                    <a:pt x="717308" y="1088572"/>
                    <a:pt x="715195" y="1087437"/>
                    <a:pt x="712954" y="1086602"/>
                  </a:cubicBezTo>
                  <a:cubicBezTo>
                    <a:pt x="715195" y="1087378"/>
                    <a:pt x="717338" y="1088412"/>
                    <a:pt x="719331" y="1089686"/>
                  </a:cubicBezTo>
                  <a:close/>
                  <a:moveTo>
                    <a:pt x="695516" y="1317114"/>
                  </a:moveTo>
                  <a:cubicBezTo>
                    <a:pt x="695087" y="1314110"/>
                    <a:pt x="694420" y="1311155"/>
                    <a:pt x="693523" y="1308260"/>
                  </a:cubicBezTo>
                  <a:cubicBezTo>
                    <a:pt x="693981" y="1311264"/>
                    <a:pt x="694679" y="1314219"/>
                    <a:pt x="695615" y="1317114"/>
                  </a:cubicBezTo>
                  <a:close/>
                  <a:moveTo>
                    <a:pt x="685551" y="1299007"/>
                  </a:moveTo>
                  <a:cubicBezTo>
                    <a:pt x="687305" y="1299306"/>
                    <a:pt x="688969" y="1299982"/>
                    <a:pt x="690434" y="1300997"/>
                  </a:cubicBezTo>
                  <a:cubicBezTo>
                    <a:pt x="690434" y="1300997"/>
                    <a:pt x="690434" y="1300500"/>
                    <a:pt x="689836" y="1300102"/>
                  </a:cubicBezTo>
                  <a:cubicBezTo>
                    <a:pt x="688401" y="1299435"/>
                    <a:pt x="686897" y="1298938"/>
                    <a:pt x="685352" y="1298609"/>
                  </a:cubicBezTo>
                  <a:close/>
                  <a:moveTo>
                    <a:pt x="682562" y="1340792"/>
                  </a:moveTo>
                  <a:cubicBezTo>
                    <a:pt x="680519" y="1342016"/>
                    <a:pt x="678297" y="1342921"/>
                    <a:pt x="675986" y="1343478"/>
                  </a:cubicBezTo>
                  <a:cubicBezTo>
                    <a:pt x="678267" y="1343021"/>
                    <a:pt x="680440" y="1342105"/>
                    <a:pt x="682363" y="1340792"/>
                  </a:cubicBezTo>
                  <a:close/>
                  <a:moveTo>
                    <a:pt x="678377" y="1025119"/>
                  </a:moveTo>
                  <a:cubicBezTo>
                    <a:pt x="681177" y="1029287"/>
                    <a:pt x="684266" y="1033247"/>
                    <a:pt x="687644" y="1036958"/>
                  </a:cubicBezTo>
                  <a:close/>
                  <a:moveTo>
                    <a:pt x="675587" y="1010892"/>
                  </a:moveTo>
                  <a:cubicBezTo>
                    <a:pt x="674989" y="1013041"/>
                    <a:pt x="674989" y="1015309"/>
                    <a:pt x="675587" y="1017458"/>
                  </a:cubicBezTo>
                  <a:cubicBezTo>
                    <a:pt x="674889" y="1015468"/>
                    <a:pt x="675388" y="1013280"/>
                    <a:pt x="675388" y="1010892"/>
                  </a:cubicBezTo>
                  <a:close/>
                  <a:moveTo>
                    <a:pt x="664925" y="1344772"/>
                  </a:moveTo>
                  <a:cubicBezTo>
                    <a:pt x="668313" y="1344175"/>
                    <a:pt x="670605" y="1343876"/>
                    <a:pt x="671103" y="1343876"/>
                  </a:cubicBezTo>
                  <a:lnTo>
                    <a:pt x="672299" y="1343876"/>
                  </a:lnTo>
                  <a:cubicBezTo>
                    <a:pt x="670196" y="1343866"/>
                    <a:pt x="668114" y="1343538"/>
                    <a:pt x="666121" y="1342881"/>
                  </a:cubicBezTo>
                  <a:cubicBezTo>
                    <a:pt x="665682" y="1343488"/>
                    <a:pt x="665284" y="1344115"/>
                    <a:pt x="664925" y="1344772"/>
                  </a:cubicBezTo>
                  <a:close/>
                  <a:moveTo>
                    <a:pt x="669010" y="1277518"/>
                  </a:moveTo>
                  <a:cubicBezTo>
                    <a:pt x="669010" y="1274533"/>
                    <a:pt x="669608" y="1271151"/>
                    <a:pt x="669010" y="1268266"/>
                  </a:cubicBezTo>
                  <a:cubicBezTo>
                    <a:pt x="668672" y="1271340"/>
                    <a:pt x="668542" y="1274424"/>
                    <a:pt x="668612" y="1277518"/>
                  </a:cubicBezTo>
                  <a:close/>
                  <a:moveTo>
                    <a:pt x="669010" y="1264684"/>
                  </a:moveTo>
                  <a:cubicBezTo>
                    <a:pt x="668323" y="1263500"/>
                    <a:pt x="667277" y="1262555"/>
                    <a:pt x="666021" y="1261998"/>
                  </a:cubicBezTo>
                  <a:cubicBezTo>
                    <a:pt x="666410" y="1263122"/>
                    <a:pt x="667187" y="1264077"/>
                    <a:pt x="668213" y="1264684"/>
                  </a:cubicBezTo>
                  <a:close/>
                  <a:moveTo>
                    <a:pt x="666519" y="1249562"/>
                  </a:moveTo>
                  <a:cubicBezTo>
                    <a:pt x="666519" y="1252646"/>
                    <a:pt x="665523" y="1255830"/>
                    <a:pt x="665423" y="1258516"/>
                  </a:cubicBezTo>
                  <a:cubicBezTo>
                    <a:pt x="666121" y="1255581"/>
                    <a:pt x="666220" y="1252537"/>
                    <a:pt x="665722" y="1249562"/>
                  </a:cubicBezTo>
                  <a:close/>
                  <a:moveTo>
                    <a:pt x="576840" y="903943"/>
                  </a:moveTo>
                  <a:cubicBezTo>
                    <a:pt x="610051" y="935978"/>
                    <a:pt x="643073" y="968212"/>
                    <a:pt x="675886" y="1000644"/>
                  </a:cubicBezTo>
                  <a:cubicBezTo>
                    <a:pt x="642804" y="968908"/>
                    <a:pt x="609124" y="936276"/>
                    <a:pt x="575245" y="903943"/>
                  </a:cubicBezTo>
                  <a:close/>
                  <a:moveTo>
                    <a:pt x="96954" y="457841"/>
                  </a:moveTo>
                  <a:cubicBezTo>
                    <a:pt x="85495" y="447892"/>
                    <a:pt x="74036" y="437148"/>
                    <a:pt x="62577" y="427000"/>
                  </a:cubicBezTo>
                  <a:cubicBezTo>
                    <a:pt x="73039" y="436949"/>
                    <a:pt x="84598" y="447395"/>
                    <a:pt x="96954" y="457841"/>
                  </a:cubicBezTo>
                  <a:close/>
                  <a:moveTo>
                    <a:pt x="34776" y="402228"/>
                  </a:moveTo>
                  <a:lnTo>
                    <a:pt x="7274" y="377953"/>
                  </a:lnTo>
                  <a:cubicBezTo>
                    <a:pt x="15295" y="387066"/>
                    <a:pt x="24363" y="395214"/>
                    <a:pt x="34278" y="402228"/>
                  </a:cubicBezTo>
                  <a:close/>
                  <a:moveTo>
                    <a:pt x="498" y="73919"/>
                  </a:moveTo>
                  <a:cubicBezTo>
                    <a:pt x="498" y="49346"/>
                    <a:pt x="498" y="24175"/>
                    <a:pt x="498" y="0"/>
                  </a:cubicBezTo>
                  <a:cubicBezTo>
                    <a:pt x="498" y="4775"/>
                    <a:pt x="498" y="9352"/>
                    <a:pt x="498" y="13630"/>
                  </a:cubicBezTo>
                  <a:cubicBezTo>
                    <a:pt x="0" y="33627"/>
                    <a:pt x="0" y="53823"/>
                    <a:pt x="0" y="74019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498" name="Graphic 231">
              <a:extLst>
                <a:ext uri="{FF2B5EF4-FFF2-40B4-BE49-F238E27FC236}">
                  <a16:creationId xmlns:a16="http://schemas.microsoft.com/office/drawing/2014/main" id="{13822B53-C461-4AA6-B323-390EDAD96DA7}"/>
                </a:ext>
              </a:extLst>
            </p:cNvPr>
            <p:cNvGrpSpPr/>
            <p:nvPr/>
          </p:nvGrpSpPr>
          <p:grpSpPr>
            <a:xfrm>
              <a:off x="2721510" y="2830453"/>
              <a:ext cx="592682" cy="674325"/>
              <a:chOff x="2721510" y="2830453"/>
              <a:chExt cx="592682" cy="674325"/>
            </a:xfrm>
            <a:solidFill>
              <a:srgbClr val="ECE8E4"/>
            </a:solidFill>
          </p:grpSpPr>
          <p:sp>
            <p:nvSpPr>
              <p:cNvPr id="2511" name="Freeform: Shape 2510">
                <a:extLst>
                  <a:ext uri="{FF2B5EF4-FFF2-40B4-BE49-F238E27FC236}">
                    <a16:creationId xmlns:a16="http://schemas.microsoft.com/office/drawing/2014/main" id="{970E7DDD-2A66-4790-A3B0-83649AB30EF9}"/>
                  </a:ext>
                </a:extLst>
              </p:cNvPr>
              <p:cNvSpPr/>
              <p:nvPr/>
            </p:nvSpPr>
            <p:spPr>
              <a:xfrm>
                <a:off x="2721510" y="2840899"/>
                <a:ext cx="5081" cy="29050"/>
              </a:xfrm>
              <a:custGeom>
                <a:avLst/>
                <a:gdLst>
                  <a:gd name="connsiteX0" fmla="*/ 0 w 5081"/>
                  <a:gd name="connsiteY0" fmla="*/ 0 h 29050"/>
                  <a:gd name="connsiteX1" fmla="*/ 5082 w 5081"/>
                  <a:gd name="connsiteY1" fmla="*/ 29050 h 29050"/>
                  <a:gd name="connsiteX2" fmla="*/ 0 w 5081"/>
                  <a:gd name="connsiteY2" fmla="*/ 0 h 2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1" h="29050">
                    <a:moveTo>
                      <a:pt x="0" y="0"/>
                    </a:moveTo>
                    <a:cubicBezTo>
                      <a:pt x="3099" y="9382"/>
                      <a:pt x="4813" y="19171"/>
                      <a:pt x="5082" y="29050"/>
                    </a:cubicBezTo>
                    <a:cubicBezTo>
                      <a:pt x="3388" y="19301"/>
                      <a:pt x="1794" y="955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12" name="Freeform: Shape 2511">
                <a:extLst>
                  <a:ext uri="{FF2B5EF4-FFF2-40B4-BE49-F238E27FC236}">
                    <a16:creationId xmlns:a16="http://schemas.microsoft.com/office/drawing/2014/main" id="{5C3832CD-F880-40CD-9347-9CD8E35E0605}"/>
                  </a:ext>
                </a:extLst>
              </p:cNvPr>
              <p:cNvSpPr/>
              <p:nvPr/>
            </p:nvSpPr>
            <p:spPr>
              <a:xfrm>
                <a:off x="2782341" y="3389174"/>
                <a:ext cx="1447" cy="9053"/>
              </a:xfrm>
              <a:custGeom>
                <a:avLst/>
                <a:gdLst>
                  <a:gd name="connsiteX0" fmla="*/ 550 w 1447"/>
                  <a:gd name="connsiteY0" fmla="*/ 1890 h 9053"/>
                  <a:gd name="connsiteX1" fmla="*/ 1447 w 1447"/>
                  <a:gd name="connsiteY1" fmla="*/ 0 h 9053"/>
                  <a:gd name="connsiteX2" fmla="*/ 351 w 1447"/>
                  <a:gd name="connsiteY2" fmla="*/ 9053 h 9053"/>
                  <a:gd name="connsiteX3" fmla="*/ 550 w 1447"/>
                  <a:gd name="connsiteY3" fmla="*/ 1890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7" h="9053">
                    <a:moveTo>
                      <a:pt x="550" y="1890"/>
                    </a:moveTo>
                    <a:cubicBezTo>
                      <a:pt x="948" y="1313"/>
                      <a:pt x="1248" y="676"/>
                      <a:pt x="1447" y="0"/>
                    </a:cubicBezTo>
                    <a:cubicBezTo>
                      <a:pt x="899" y="2995"/>
                      <a:pt x="530" y="6019"/>
                      <a:pt x="351" y="9053"/>
                    </a:cubicBezTo>
                    <a:cubicBezTo>
                      <a:pt x="-177" y="6686"/>
                      <a:pt x="-107" y="4228"/>
                      <a:pt x="550" y="189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13" name="Freeform: Shape 2512">
                <a:extLst>
                  <a:ext uri="{FF2B5EF4-FFF2-40B4-BE49-F238E27FC236}">
                    <a16:creationId xmlns:a16="http://schemas.microsoft.com/office/drawing/2014/main" id="{87023317-EF1A-444E-9ED8-CCDE0226AF41}"/>
                  </a:ext>
                </a:extLst>
              </p:cNvPr>
              <p:cNvSpPr/>
              <p:nvPr/>
            </p:nvSpPr>
            <p:spPr>
              <a:xfrm>
                <a:off x="2787375" y="3357238"/>
                <a:ext cx="896" cy="5471"/>
              </a:xfrm>
              <a:custGeom>
                <a:avLst/>
                <a:gdLst>
                  <a:gd name="connsiteX0" fmla="*/ 896 w 896"/>
                  <a:gd name="connsiteY0" fmla="*/ 0 h 5471"/>
                  <a:gd name="connsiteX1" fmla="*/ 0 w 896"/>
                  <a:gd name="connsiteY1" fmla="*/ 5472 h 5471"/>
                  <a:gd name="connsiteX2" fmla="*/ 0 w 896"/>
                  <a:gd name="connsiteY2" fmla="*/ 2985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" h="5471">
                    <a:moveTo>
                      <a:pt x="896" y="0"/>
                    </a:moveTo>
                    <a:cubicBezTo>
                      <a:pt x="339" y="1771"/>
                      <a:pt x="40" y="3611"/>
                      <a:pt x="0" y="5472"/>
                    </a:cubicBezTo>
                    <a:cubicBezTo>
                      <a:pt x="159" y="4646"/>
                      <a:pt x="159" y="3811"/>
                      <a:pt x="0" y="298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14" name="Freeform: Shape 2513">
                <a:extLst>
                  <a:ext uri="{FF2B5EF4-FFF2-40B4-BE49-F238E27FC236}">
                    <a16:creationId xmlns:a16="http://schemas.microsoft.com/office/drawing/2014/main" id="{0471E390-B292-4BF5-AB9D-9AF8EEEECA0A}"/>
                  </a:ext>
                </a:extLst>
              </p:cNvPr>
              <p:cNvSpPr/>
              <p:nvPr/>
            </p:nvSpPr>
            <p:spPr>
              <a:xfrm>
                <a:off x="2788870" y="3342614"/>
                <a:ext cx="1294" cy="5073"/>
              </a:xfrm>
              <a:custGeom>
                <a:avLst/>
                <a:gdLst>
                  <a:gd name="connsiteX0" fmla="*/ 299 w 1294"/>
                  <a:gd name="connsiteY0" fmla="*/ 0 h 5073"/>
                  <a:gd name="connsiteX1" fmla="*/ 1295 w 1294"/>
                  <a:gd name="connsiteY1" fmla="*/ 5074 h 5073"/>
                  <a:gd name="connsiteX2" fmla="*/ 0 w 1294"/>
                  <a:gd name="connsiteY2" fmla="*/ 2686 h 5073"/>
                  <a:gd name="connsiteX3" fmla="*/ 299 w 1294"/>
                  <a:gd name="connsiteY3" fmla="*/ 0 h 5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4" h="5073">
                    <a:moveTo>
                      <a:pt x="299" y="0"/>
                    </a:moveTo>
                    <a:cubicBezTo>
                      <a:pt x="857" y="1642"/>
                      <a:pt x="1196" y="3343"/>
                      <a:pt x="1295" y="5074"/>
                    </a:cubicBezTo>
                    <a:cubicBezTo>
                      <a:pt x="1046" y="4189"/>
                      <a:pt x="598" y="3383"/>
                      <a:pt x="0" y="2686"/>
                    </a:cubicBezTo>
                    <a:cubicBezTo>
                      <a:pt x="308" y="1831"/>
                      <a:pt x="408" y="905"/>
                      <a:pt x="2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15" name="Freeform: Shape 2514">
                <a:extLst>
                  <a:ext uri="{FF2B5EF4-FFF2-40B4-BE49-F238E27FC236}">
                    <a16:creationId xmlns:a16="http://schemas.microsoft.com/office/drawing/2014/main" id="{BAEFB68D-3E27-4652-8A8F-25916D52DE64}"/>
                  </a:ext>
                </a:extLst>
              </p:cNvPr>
              <p:cNvSpPr/>
              <p:nvPr/>
            </p:nvSpPr>
            <p:spPr>
              <a:xfrm>
                <a:off x="2794649" y="3421806"/>
                <a:ext cx="1205" cy="8058"/>
              </a:xfrm>
              <a:custGeom>
                <a:avLst/>
                <a:gdLst>
                  <a:gd name="connsiteX0" fmla="*/ 0 w 1205"/>
                  <a:gd name="connsiteY0" fmla="*/ 0 h 8058"/>
                  <a:gd name="connsiteX1" fmla="*/ 1196 w 1205"/>
                  <a:gd name="connsiteY1" fmla="*/ 8058 h 8058"/>
                  <a:gd name="connsiteX2" fmla="*/ 1196 w 1205"/>
                  <a:gd name="connsiteY2" fmla="*/ 8058 h 8058"/>
                  <a:gd name="connsiteX3" fmla="*/ 0 w 1205"/>
                  <a:gd name="connsiteY3" fmla="*/ 0 h 8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05" h="8058">
                    <a:moveTo>
                      <a:pt x="0" y="0"/>
                    </a:moveTo>
                    <a:cubicBezTo>
                      <a:pt x="867" y="2596"/>
                      <a:pt x="1275" y="5323"/>
                      <a:pt x="1196" y="8058"/>
                    </a:cubicBezTo>
                    <a:lnTo>
                      <a:pt x="1196" y="8058"/>
                    </a:lnTo>
                    <a:cubicBezTo>
                      <a:pt x="957" y="5352"/>
                      <a:pt x="558" y="265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16" name="Freeform: Shape 2515">
                <a:extLst>
                  <a:ext uri="{FF2B5EF4-FFF2-40B4-BE49-F238E27FC236}">
                    <a16:creationId xmlns:a16="http://schemas.microsoft.com/office/drawing/2014/main" id="{7BEC3540-0CCD-456F-8F99-0D2DD62674F2}"/>
                  </a:ext>
                </a:extLst>
              </p:cNvPr>
              <p:cNvSpPr/>
              <p:nvPr/>
            </p:nvSpPr>
            <p:spPr>
              <a:xfrm>
                <a:off x="2797937" y="3437226"/>
                <a:ext cx="1195" cy="1890"/>
              </a:xfrm>
              <a:custGeom>
                <a:avLst/>
                <a:gdLst>
                  <a:gd name="connsiteX0" fmla="*/ 0 w 1195"/>
                  <a:gd name="connsiteY0" fmla="*/ 0 h 1890"/>
                  <a:gd name="connsiteX1" fmla="*/ 1196 w 1195"/>
                  <a:gd name="connsiteY1" fmla="*/ 1890 h 1890"/>
                  <a:gd name="connsiteX2" fmla="*/ 1196 w 1195"/>
                  <a:gd name="connsiteY2" fmla="*/ 1890 h 1890"/>
                  <a:gd name="connsiteX3" fmla="*/ 0 w 1195"/>
                  <a:gd name="connsiteY3" fmla="*/ 0 h 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5" h="1890">
                    <a:moveTo>
                      <a:pt x="0" y="0"/>
                    </a:moveTo>
                    <a:cubicBezTo>
                      <a:pt x="339" y="667"/>
                      <a:pt x="737" y="1293"/>
                      <a:pt x="1196" y="1890"/>
                    </a:cubicBezTo>
                    <a:lnTo>
                      <a:pt x="1196" y="1890"/>
                    </a:lnTo>
                    <a:cubicBezTo>
                      <a:pt x="698" y="1333"/>
                      <a:pt x="289" y="68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17" name="Freeform: Shape 2516">
                <a:extLst>
                  <a:ext uri="{FF2B5EF4-FFF2-40B4-BE49-F238E27FC236}">
                    <a16:creationId xmlns:a16="http://schemas.microsoft.com/office/drawing/2014/main" id="{953F6FD3-BC8C-4296-9007-B0D663A6353B}"/>
                  </a:ext>
                </a:extLst>
              </p:cNvPr>
              <p:cNvSpPr/>
              <p:nvPr/>
            </p:nvSpPr>
            <p:spPr>
              <a:xfrm>
                <a:off x="2802222" y="3443394"/>
                <a:ext cx="2590" cy="7362"/>
              </a:xfrm>
              <a:custGeom>
                <a:avLst/>
                <a:gdLst>
                  <a:gd name="connsiteX0" fmla="*/ 0 w 2590"/>
                  <a:gd name="connsiteY0" fmla="*/ 0 h 7362"/>
                  <a:gd name="connsiteX1" fmla="*/ 2591 w 2590"/>
                  <a:gd name="connsiteY1" fmla="*/ 3383 h 7362"/>
                  <a:gd name="connsiteX2" fmla="*/ 2591 w 2590"/>
                  <a:gd name="connsiteY2" fmla="*/ 7362 h 7362"/>
                  <a:gd name="connsiteX3" fmla="*/ 0 w 2590"/>
                  <a:gd name="connsiteY3" fmla="*/ 0 h 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0" h="7362">
                    <a:moveTo>
                      <a:pt x="0" y="0"/>
                    </a:moveTo>
                    <a:cubicBezTo>
                      <a:pt x="996" y="1194"/>
                      <a:pt x="1893" y="2388"/>
                      <a:pt x="2591" y="3383"/>
                    </a:cubicBezTo>
                    <a:cubicBezTo>
                      <a:pt x="2491" y="4706"/>
                      <a:pt x="2491" y="6039"/>
                      <a:pt x="2591" y="7362"/>
                    </a:cubicBezTo>
                    <a:cubicBezTo>
                      <a:pt x="2023" y="4815"/>
                      <a:pt x="1146" y="234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18" name="Freeform: Shape 2517">
                <a:extLst>
                  <a:ext uri="{FF2B5EF4-FFF2-40B4-BE49-F238E27FC236}">
                    <a16:creationId xmlns:a16="http://schemas.microsoft.com/office/drawing/2014/main" id="{A0D671C8-E83C-4D6D-8791-7297864887DD}"/>
                  </a:ext>
                </a:extLst>
              </p:cNvPr>
              <p:cNvSpPr/>
              <p:nvPr/>
            </p:nvSpPr>
            <p:spPr>
              <a:xfrm>
                <a:off x="2807702" y="3463093"/>
                <a:ext cx="6078" cy="8555"/>
              </a:xfrm>
              <a:custGeom>
                <a:avLst/>
                <a:gdLst>
                  <a:gd name="connsiteX0" fmla="*/ 0 w 6078"/>
                  <a:gd name="connsiteY0" fmla="*/ 0 h 8555"/>
                  <a:gd name="connsiteX1" fmla="*/ 6079 w 6078"/>
                  <a:gd name="connsiteY1" fmla="*/ 8556 h 8555"/>
                  <a:gd name="connsiteX2" fmla="*/ 0 w 6078"/>
                  <a:gd name="connsiteY2" fmla="*/ 0 h 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78" h="8555">
                    <a:moveTo>
                      <a:pt x="0" y="0"/>
                    </a:moveTo>
                    <a:cubicBezTo>
                      <a:pt x="1435" y="3223"/>
                      <a:pt x="3507" y="6138"/>
                      <a:pt x="6079" y="8556"/>
                    </a:cubicBezTo>
                    <a:cubicBezTo>
                      <a:pt x="3259" y="6357"/>
                      <a:pt x="1146" y="338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19" name="Freeform: Shape 2518">
                <a:extLst>
                  <a:ext uri="{FF2B5EF4-FFF2-40B4-BE49-F238E27FC236}">
                    <a16:creationId xmlns:a16="http://schemas.microsoft.com/office/drawing/2014/main" id="{3722360F-E649-456B-9344-CBB53EA84347}"/>
                  </a:ext>
                </a:extLst>
              </p:cNvPr>
              <p:cNvSpPr/>
              <p:nvPr/>
            </p:nvSpPr>
            <p:spPr>
              <a:xfrm>
                <a:off x="2899973" y="3476325"/>
                <a:ext cx="38462" cy="2188"/>
              </a:xfrm>
              <a:custGeom>
                <a:avLst/>
                <a:gdLst>
                  <a:gd name="connsiteX0" fmla="*/ 11459 w 38462"/>
                  <a:gd name="connsiteY0" fmla="*/ 298 h 2188"/>
                  <a:gd name="connsiteX1" fmla="*/ 38462 w 38462"/>
                  <a:gd name="connsiteY1" fmla="*/ 2189 h 2188"/>
                  <a:gd name="connsiteX2" fmla="*/ 0 w 38462"/>
                  <a:gd name="connsiteY2" fmla="*/ 0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462" h="2188">
                    <a:moveTo>
                      <a:pt x="11459" y="298"/>
                    </a:moveTo>
                    <a:cubicBezTo>
                      <a:pt x="20427" y="1095"/>
                      <a:pt x="29495" y="1691"/>
                      <a:pt x="38462" y="218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0" name="Freeform: Shape 2519">
                <a:extLst>
                  <a:ext uri="{FF2B5EF4-FFF2-40B4-BE49-F238E27FC236}">
                    <a16:creationId xmlns:a16="http://schemas.microsoft.com/office/drawing/2014/main" id="{BBD25951-B14C-4964-97ED-1DB67CF76523}"/>
                  </a:ext>
                </a:extLst>
              </p:cNvPr>
              <p:cNvSpPr/>
              <p:nvPr/>
            </p:nvSpPr>
            <p:spPr>
              <a:xfrm>
                <a:off x="2937737" y="2830453"/>
                <a:ext cx="80811" cy="2192"/>
              </a:xfrm>
              <a:custGeom>
                <a:avLst/>
                <a:gdLst>
                  <a:gd name="connsiteX0" fmla="*/ 80812 w 80811"/>
                  <a:gd name="connsiteY0" fmla="*/ 0 h 2192"/>
                  <a:gd name="connsiteX1" fmla="*/ 0 w 80811"/>
                  <a:gd name="connsiteY1" fmla="*/ 1592 h 2192"/>
                  <a:gd name="connsiteX2" fmla="*/ 80812 w 80811"/>
                  <a:gd name="connsiteY2" fmla="*/ 0 h 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811" h="2192">
                    <a:moveTo>
                      <a:pt x="80812" y="0"/>
                    </a:moveTo>
                    <a:cubicBezTo>
                      <a:pt x="53938" y="2229"/>
                      <a:pt x="26944" y="2756"/>
                      <a:pt x="0" y="1592"/>
                    </a:cubicBezTo>
                    <a:cubicBezTo>
                      <a:pt x="27004" y="1393"/>
                      <a:pt x="54008" y="995"/>
                      <a:pt x="8081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1" name="Freeform: Shape 2520">
                <a:extLst>
                  <a:ext uri="{FF2B5EF4-FFF2-40B4-BE49-F238E27FC236}">
                    <a16:creationId xmlns:a16="http://schemas.microsoft.com/office/drawing/2014/main" id="{A44598C3-0605-4698-8806-B7749F27FD4B}"/>
                  </a:ext>
                </a:extLst>
              </p:cNvPr>
              <p:cNvSpPr/>
              <p:nvPr/>
            </p:nvSpPr>
            <p:spPr>
              <a:xfrm>
                <a:off x="3003105" y="2871839"/>
                <a:ext cx="1294" cy="3780"/>
              </a:xfrm>
              <a:custGeom>
                <a:avLst/>
                <a:gdLst>
                  <a:gd name="connsiteX0" fmla="*/ 0 w 1294"/>
                  <a:gd name="connsiteY0" fmla="*/ 0 h 3780"/>
                  <a:gd name="connsiteX1" fmla="*/ 1295 w 1294"/>
                  <a:gd name="connsiteY1" fmla="*/ 3781 h 3780"/>
                  <a:gd name="connsiteX2" fmla="*/ 0 w 1294"/>
                  <a:gd name="connsiteY2" fmla="*/ 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4" h="3780">
                    <a:moveTo>
                      <a:pt x="0" y="0"/>
                    </a:moveTo>
                    <a:cubicBezTo>
                      <a:pt x="628" y="1184"/>
                      <a:pt x="1066" y="2457"/>
                      <a:pt x="1295" y="3781"/>
                    </a:cubicBezTo>
                    <a:cubicBezTo>
                      <a:pt x="678" y="2596"/>
                      <a:pt x="239" y="132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2" name="Freeform: Shape 2521">
                <a:extLst>
                  <a:ext uri="{FF2B5EF4-FFF2-40B4-BE49-F238E27FC236}">
                    <a16:creationId xmlns:a16="http://schemas.microsoft.com/office/drawing/2014/main" id="{B8FB33B2-C33D-43BA-BB6B-A5175B55F3E2}"/>
                  </a:ext>
                </a:extLst>
              </p:cNvPr>
              <p:cNvSpPr/>
              <p:nvPr/>
            </p:nvSpPr>
            <p:spPr>
              <a:xfrm>
                <a:off x="3007588" y="2863980"/>
                <a:ext cx="388" cy="3084"/>
              </a:xfrm>
              <a:custGeom>
                <a:avLst/>
                <a:gdLst>
                  <a:gd name="connsiteX0" fmla="*/ 0 w 388"/>
                  <a:gd name="connsiteY0" fmla="*/ 0 h 3084"/>
                  <a:gd name="connsiteX1" fmla="*/ 0 w 388"/>
                  <a:gd name="connsiteY1" fmla="*/ 3084 h 3084"/>
                  <a:gd name="connsiteX2" fmla="*/ 0 w 388"/>
                  <a:gd name="connsiteY2" fmla="*/ 0 h 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8" h="3084">
                    <a:moveTo>
                      <a:pt x="0" y="0"/>
                    </a:moveTo>
                    <a:cubicBezTo>
                      <a:pt x="518" y="965"/>
                      <a:pt x="518" y="2119"/>
                      <a:pt x="0" y="3084"/>
                    </a:cubicBezTo>
                    <a:cubicBezTo>
                      <a:pt x="359" y="2089"/>
                      <a:pt x="359" y="99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3" name="Freeform: Shape 2522">
                <a:extLst>
                  <a:ext uri="{FF2B5EF4-FFF2-40B4-BE49-F238E27FC236}">
                    <a16:creationId xmlns:a16="http://schemas.microsoft.com/office/drawing/2014/main" id="{479DAE25-706F-40E2-82D0-F4B37E8A81D3}"/>
                  </a:ext>
                </a:extLst>
              </p:cNvPr>
              <p:cNvSpPr/>
              <p:nvPr/>
            </p:nvSpPr>
            <p:spPr>
              <a:xfrm>
                <a:off x="3012869" y="2847962"/>
                <a:ext cx="9964" cy="8357"/>
              </a:xfrm>
              <a:custGeom>
                <a:avLst/>
                <a:gdLst>
                  <a:gd name="connsiteX0" fmla="*/ 9964 w 9964"/>
                  <a:gd name="connsiteY0" fmla="*/ 0 h 8357"/>
                  <a:gd name="connsiteX1" fmla="*/ 0 w 9964"/>
                  <a:gd name="connsiteY1" fmla="*/ 8357 h 8357"/>
                  <a:gd name="connsiteX2" fmla="*/ 9964 w 9964"/>
                  <a:gd name="connsiteY2" fmla="*/ 0 h 8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8357">
                    <a:moveTo>
                      <a:pt x="9964" y="0"/>
                    </a:moveTo>
                    <a:cubicBezTo>
                      <a:pt x="6875" y="2885"/>
                      <a:pt x="3487" y="5472"/>
                      <a:pt x="0" y="8357"/>
                    </a:cubicBezTo>
                    <a:cubicBezTo>
                      <a:pt x="2910" y="5124"/>
                      <a:pt x="6267" y="2308"/>
                      <a:pt x="996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4" name="Freeform: Shape 2523">
                <a:extLst>
                  <a:ext uri="{FF2B5EF4-FFF2-40B4-BE49-F238E27FC236}">
                    <a16:creationId xmlns:a16="http://schemas.microsoft.com/office/drawing/2014/main" id="{09637918-D0A4-4F4C-9A73-4C1B50A3D4F3}"/>
                  </a:ext>
                </a:extLst>
              </p:cNvPr>
              <p:cNvSpPr/>
              <p:nvPr/>
            </p:nvSpPr>
            <p:spPr>
              <a:xfrm>
                <a:off x="3008186" y="2881092"/>
                <a:ext cx="12356" cy="8555"/>
              </a:xfrm>
              <a:custGeom>
                <a:avLst/>
                <a:gdLst>
                  <a:gd name="connsiteX0" fmla="*/ 0 w 12356"/>
                  <a:gd name="connsiteY0" fmla="*/ 0 h 8555"/>
                  <a:gd name="connsiteX1" fmla="*/ 12356 w 12356"/>
                  <a:gd name="connsiteY1" fmla="*/ 8556 h 8555"/>
                  <a:gd name="connsiteX2" fmla="*/ 0 w 12356"/>
                  <a:gd name="connsiteY2" fmla="*/ 0 h 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56" h="8555">
                    <a:moveTo>
                      <a:pt x="0" y="0"/>
                    </a:moveTo>
                    <a:cubicBezTo>
                      <a:pt x="3986" y="2885"/>
                      <a:pt x="8171" y="5671"/>
                      <a:pt x="12356" y="8556"/>
                    </a:cubicBezTo>
                    <a:cubicBezTo>
                      <a:pt x="7832" y="6347"/>
                      <a:pt x="3657" y="346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5" name="Freeform: Shape 2524">
                <a:extLst>
                  <a:ext uri="{FF2B5EF4-FFF2-40B4-BE49-F238E27FC236}">
                    <a16:creationId xmlns:a16="http://schemas.microsoft.com/office/drawing/2014/main" id="{4B110A53-F83D-429C-BA5D-5B82A529CBD1}"/>
                  </a:ext>
                </a:extLst>
              </p:cNvPr>
              <p:cNvSpPr/>
              <p:nvPr/>
            </p:nvSpPr>
            <p:spPr>
              <a:xfrm>
                <a:off x="3031951" y="2831746"/>
                <a:ext cx="1744" cy="5272"/>
              </a:xfrm>
              <a:custGeom>
                <a:avLst/>
                <a:gdLst>
                  <a:gd name="connsiteX0" fmla="*/ 1744 w 1744"/>
                  <a:gd name="connsiteY0" fmla="*/ 0 h 5272"/>
                  <a:gd name="connsiteX1" fmla="*/ 50 w 1744"/>
                  <a:gd name="connsiteY1" fmla="*/ 5273 h 5272"/>
                  <a:gd name="connsiteX2" fmla="*/ 1744 w 1744"/>
                  <a:gd name="connsiteY2" fmla="*/ 0 h 5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44" h="5272">
                    <a:moveTo>
                      <a:pt x="1744" y="0"/>
                    </a:moveTo>
                    <a:cubicBezTo>
                      <a:pt x="1435" y="1830"/>
                      <a:pt x="868" y="3601"/>
                      <a:pt x="50" y="5273"/>
                    </a:cubicBezTo>
                    <a:cubicBezTo>
                      <a:pt x="-189" y="3352"/>
                      <a:pt x="429" y="1422"/>
                      <a:pt x="174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6" name="Freeform: Shape 2525">
                <a:extLst>
                  <a:ext uri="{FF2B5EF4-FFF2-40B4-BE49-F238E27FC236}">
                    <a16:creationId xmlns:a16="http://schemas.microsoft.com/office/drawing/2014/main" id="{76D1A57C-7BF8-408F-94E3-D4830C3161EB}"/>
                  </a:ext>
                </a:extLst>
              </p:cNvPr>
              <p:cNvSpPr/>
              <p:nvPr/>
            </p:nvSpPr>
            <p:spPr>
              <a:xfrm>
                <a:off x="3031702" y="2897607"/>
                <a:ext cx="8967" cy="8555"/>
              </a:xfrm>
              <a:custGeom>
                <a:avLst/>
                <a:gdLst>
                  <a:gd name="connsiteX0" fmla="*/ 8968 w 8967"/>
                  <a:gd name="connsiteY0" fmla="*/ 8556 h 8555"/>
                  <a:gd name="connsiteX1" fmla="*/ 0 w 8967"/>
                  <a:gd name="connsiteY1" fmla="*/ 0 h 8555"/>
                  <a:gd name="connsiteX2" fmla="*/ 8968 w 8967"/>
                  <a:gd name="connsiteY2" fmla="*/ 8556 h 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7" h="8555">
                    <a:moveTo>
                      <a:pt x="8968" y="8556"/>
                    </a:moveTo>
                    <a:cubicBezTo>
                      <a:pt x="5719" y="5989"/>
                      <a:pt x="2710" y="3124"/>
                      <a:pt x="0" y="0"/>
                    </a:cubicBezTo>
                    <a:cubicBezTo>
                      <a:pt x="3298" y="2517"/>
                      <a:pt x="6307" y="5382"/>
                      <a:pt x="8968" y="855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7" name="Freeform: Shape 2526">
                <a:extLst>
                  <a:ext uri="{FF2B5EF4-FFF2-40B4-BE49-F238E27FC236}">
                    <a16:creationId xmlns:a16="http://schemas.microsoft.com/office/drawing/2014/main" id="{ED8963D1-2D7B-4382-BC7F-BBC9138516AC}"/>
                  </a:ext>
                </a:extLst>
              </p:cNvPr>
              <p:cNvSpPr/>
              <p:nvPr/>
            </p:nvSpPr>
            <p:spPr>
              <a:xfrm>
                <a:off x="3051830" y="2909879"/>
                <a:ext cx="12057" cy="1755"/>
              </a:xfrm>
              <a:custGeom>
                <a:avLst/>
                <a:gdLst>
                  <a:gd name="connsiteX0" fmla="*/ 0 w 12057"/>
                  <a:gd name="connsiteY0" fmla="*/ 64 h 1755"/>
                  <a:gd name="connsiteX1" fmla="*/ 12057 w 12057"/>
                  <a:gd name="connsiteY1" fmla="*/ 1756 h 1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57" h="1755">
                    <a:moveTo>
                      <a:pt x="0" y="64"/>
                    </a:moveTo>
                    <a:cubicBezTo>
                      <a:pt x="4095" y="-205"/>
                      <a:pt x="8201" y="373"/>
                      <a:pt x="12057" y="175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8" name="Freeform: Shape 2527">
                <a:extLst>
                  <a:ext uri="{FF2B5EF4-FFF2-40B4-BE49-F238E27FC236}">
                    <a16:creationId xmlns:a16="http://schemas.microsoft.com/office/drawing/2014/main" id="{7232B1F9-49B8-4100-99B7-4211A88F39A3}"/>
                  </a:ext>
                </a:extLst>
              </p:cNvPr>
              <p:cNvSpPr/>
              <p:nvPr/>
            </p:nvSpPr>
            <p:spPr>
              <a:xfrm>
                <a:off x="3145340" y="3494830"/>
                <a:ext cx="1949" cy="9948"/>
              </a:xfrm>
              <a:custGeom>
                <a:avLst/>
                <a:gdLst>
                  <a:gd name="connsiteX0" fmla="*/ 1949 w 1949"/>
                  <a:gd name="connsiteY0" fmla="*/ 9949 h 9948"/>
                  <a:gd name="connsiteX1" fmla="*/ 654 w 1949"/>
                  <a:gd name="connsiteY1" fmla="*/ 0 h 9948"/>
                  <a:gd name="connsiteX2" fmla="*/ 1949 w 1949"/>
                  <a:gd name="connsiteY2" fmla="*/ 9949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49" h="9948">
                    <a:moveTo>
                      <a:pt x="1949" y="9949"/>
                    </a:moveTo>
                    <a:cubicBezTo>
                      <a:pt x="-74" y="7034"/>
                      <a:pt x="-552" y="3333"/>
                      <a:pt x="654" y="0"/>
                    </a:cubicBezTo>
                    <a:cubicBezTo>
                      <a:pt x="-502" y="3333"/>
                      <a:pt x="-24" y="7024"/>
                      <a:pt x="1949" y="99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29" name="Freeform: Shape 2528">
                <a:extLst>
                  <a:ext uri="{FF2B5EF4-FFF2-40B4-BE49-F238E27FC236}">
                    <a16:creationId xmlns:a16="http://schemas.microsoft.com/office/drawing/2014/main" id="{7E5CFCF9-6456-491A-BED1-B98152A74294}"/>
                  </a:ext>
                </a:extLst>
              </p:cNvPr>
              <p:cNvSpPr/>
              <p:nvPr/>
            </p:nvSpPr>
            <p:spPr>
              <a:xfrm>
                <a:off x="3150876" y="3038381"/>
                <a:ext cx="7473" cy="5471"/>
              </a:xfrm>
              <a:custGeom>
                <a:avLst/>
                <a:gdLst>
                  <a:gd name="connsiteX0" fmla="*/ 0 w 7473"/>
                  <a:gd name="connsiteY0" fmla="*/ 0 h 5471"/>
                  <a:gd name="connsiteX1" fmla="*/ 7473 w 7473"/>
                  <a:gd name="connsiteY1" fmla="*/ 5472 h 5471"/>
                  <a:gd name="connsiteX2" fmla="*/ 0 w 7473"/>
                  <a:gd name="connsiteY2" fmla="*/ 0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73" h="5471">
                    <a:moveTo>
                      <a:pt x="0" y="0"/>
                    </a:moveTo>
                    <a:cubicBezTo>
                      <a:pt x="2143" y="2258"/>
                      <a:pt x="4673" y="4109"/>
                      <a:pt x="7473" y="5472"/>
                    </a:cubicBezTo>
                    <a:cubicBezTo>
                      <a:pt x="4345" y="4736"/>
                      <a:pt x="1645" y="275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0" name="Freeform: Shape 2529">
                <a:extLst>
                  <a:ext uri="{FF2B5EF4-FFF2-40B4-BE49-F238E27FC236}">
                    <a16:creationId xmlns:a16="http://schemas.microsoft.com/office/drawing/2014/main" id="{FAD64913-2BF3-4849-8866-C12ADFE30E44}"/>
                  </a:ext>
                </a:extLst>
              </p:cNvPr>
              <p:cNvSpPr/>
              <p:nvPr/>
            </p:nvSpPr>
            <p:spPr>
              <a:xfrm>
                <a:off x="3167990" y="3471350"/>
                <a:ext cx="821" cy="10645"/>
              </a:xfrm>
              <a:custGeom>
                <a:avLst/>
                <a:gdLst>
                  <a:gd name="connsiteX0" fmla="*/ 822 w 821"/>
                  <a:gd name="connsiteY0" fmla="*/ 10645 h 10645"/>
                  <a:gd name="connsiteX1" fmla="*/ 822 w 821"/>
                  <a:gd name="connsiteY1" fmla="*/ 0 h 10645"/>
                  <a:gd name="connsiteX2" fmla="*/ 822 w 821"/>
                  <a:gd name="connsiteY2" fmla="*/ 10645 h 1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1" h="10645">
                    <a:moveTo>
                      <a:pt x="822" y="10645"/>
                    </a:moveTo>
                    <a:cubicBezTo>
                      <a:pt x="-274" y="7183"/>
                      <a:pt x="-274" y="3462"/>
                      <a:pt x="822" y="0"/>
                    </a:cubicBezTo>
                    <a:cubicBezTo>
                      <a:pt x="125" y="3512"/>
                      <a:pt x="125" y="7133"/>
                      <a:pt x="822" y="1064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1" name="Freeform: Shape 2530">
                <a:extLst>
                  <a:ext uri="{FF2B5EF4-FFF2-40B4-BE49-F238E27FC236}">
                    <a16:creationId xmlns:a16="http://schemas.microsoft.com/office/drawing/2014/main" id="{91486BD3-BD1A-451C-AD8E-17421B109D67}"/>
                  </a:ext>
                </a:extLst>
              </p:cNvPr>
              <p:cNvSpPr/>
              <p:nvPr/>
            </p:nvSpPr>
            <p:spPr>
              <a:xfrm>
                <a:off x="3182464" y="3066536"/>
                <a:ext cx="1315" cy="15122"/>
              </a:xfrm>
              <a:custGeom>
                <a:avLst/>
                <a:gdLst>
                  <a:gd name="connsiteX0" fmla="*/ 0 w 1315"/>
                  <a:gd name="connsiteY0" fmla="*/ 15122 h 15122"/>
                  <a:gd name="connsiteX1" fmla="*/ 0 w 1315"/>
                  <a:gd name="connsiteY1" fmla="*/ 0 h 15122"/>
                  <a:gd name="connsiteX2" fmla="*/ 0 w 1315"/>
                  <a:gd name="connsiteY2" fmla="*/ 15122 h 1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15" h="15122">
                    <a:moveTo>
                      <a:pt x="0" y="15122"/>
                    </a:moveTo>
                    <a:cubicBezTo>
                      <a:pt x="1146" y="10148"/>
                      <a:pt x="1146" y="4974"/>
                      <a:pt x="0" y="0"/>
                    </a:cubicBezTo>
                    <a:cubicBezTo>
                      <a:pt x="1753" y="4885"/>
                      <a:pt x="1753" y="10237"/>
                      <a:pt x="0" y="1512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2" name="Freeform: Shape 2531">
                <a:extLst>
                  <a:ext uri="{FF2B5EF4-FFF2-40B4-BE49-F238E27FC236}">
                    <a16:creationId xmlns:a16="http://schemas.microsoft.com/office/drawing/2014/main" id="{AF424D74-2556-42F8-AD3E-FFA306F18ADC}"/>
                  </a:ext>
                </a:extLst>
              </p:cNvPr>
              <p:cNvSpPr/>
              <p:nvPr/>
            </p:nvSpPr>
            <p:spPr>
              <a:xfrm>
                <a:off x="3177182" y="3454736"/>
                <a:ext cx="7074" cy="2885"/>
              </a:xfrm>
              <a:custGeom>
                <a:avLst/>
                <a:gdLst>
                  <a:gd name="connsiteX0" fmla="*/ 3288 w 7074"/>
                  <a:gd name="connsiteY0" fmla="*/ 0 h 2885"/>
                  <a:gd name="connsiteX1" fmla="*/ 7075 w 7074"/>
                  <a:gd name="connsiteY1" fmla="*/ 1293 h 2885"/>
                  <a:gd name="connsiteX2" fmla="*/ 0 w 7074"/>
                  <a:gd name="connsiteY2" fmla="*/ 2885 h 2885"/>
                  <a:gd name="connsiteX3" fmla="*/ 3288 w 7074"/>
                  <a:gd name="connsiteY3" fmla="*/ 0 h 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4" h="2885">
                    <a:moveTo>
                      <a:pt x="3288" y="0"/>
                    </a:moveTo>
                    <a:lnTo>
                      <a:pt x="7075" y="1293"/>
                    </a:lnTo>
                    <a:cubicBezTo>
                      <a:pt x="4783" y="398"/>
                      <a:pt x="3089" y="398"/>
                      <a:pt x="0" y="2885"/>
                    </a:cubicBezTo>
                    <a:cubicBezTo>
                      <a:pt x="1027" y="1840"/>
                      <a:pt x="2123" y="875"/>
                      <a:pt x="328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3" name="Freeform: Shape 2532">
                <a:extLst>
                  <a:ext uri="{FF2B5EF4-FFF2-40B4-BE49-F238E27FC236}">
                    <a16:creationId xmlns:a16="http://schemas.microsoft.com/office/drawing/2014/main" id="{4D0FA6BE-63C6-4FE4-8FCF-0233879106AC}"/>
                  </a:ext>
                </a:extLst>
              </p:cNvPr>
              <p:cNvSpPr/>
              <p:nvPr/>
            </p:nvSpPr>
            <p:spPr>
              <a:xfrm>
                <a:off x="3184656" y="3456228"/>
                <a:ext cx="4982" cy="2188"/>
              </a:xfrm>
              <a:custGeom>
                <a:avLst/>
                <a:gdLst>
                  <a:gd name="connsiteX0" fmla="*/ 0 w 4982"/>
                  <a:gd name="connsiteY0" fmla="*/ 0 h 2188"/>
                  <a:gd name="connsiteX1" fmla="*/ 4982 w 4982"/>
                  <a:gd name="connsiteY1" fmla="*/ 2189 h 2188"/>
                  <a:gd name="connsiteX2" fmla="*/ 0 w 4982"/>
                  <a:gd name="connsiteY2" fmla="*/ 0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82" h="2188">
                    <a:moveTo>
                      <a:pt x="0" y="0"/>
                    </a:moveTo>
                    <a:lnTo>
                      <a:pt x="4982" y="2189"/>
                    </a:lnTo>
                    <a:cubicBezTo>
                      <a:pt x="2491" y="1293"/>
                      <a:pt x="996" y="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4" name="Freeform: Shape 2533">
                <a:extLst>
                  <a:ext uri="{FF2B5EF4-FFF2-40B4-BE49-F238E27FC236}">
                    <a16:creationId xmlns:a16="http://schemas.microsoft.com/office/drawing/2014/main" id="{67629AAE-B40F-428B-8F0E-308DC1203A3C}"/>
                  </a:ext>
                </a:extLst>
              </p:cNvPr>
              <p:cNvSpPr/>
              <p:nvPr/>
            </p:nvSpPr>
            <p:spPr>
              <a:xfrm>
                <a:off x="3200599" y="3101357"/>
                <a:ext cx="4149" cy="9252"/>
              </a:xfrm>
              <a:custGeom>
                <a:avLst/>
                <a:gdLst>
                  <a:gd name="connsiteX0" fmla="*/ 3986 w 4149"/>
                  <a:gd name="connsiteY0" fmla="*/ 9253 h 9252"/>
                  <a:gd name="connsiteX1" fmla="*/ 0 w 4149"/>
                  <a:gd name="connsiteY1" fmla="*/ 0 h 9252"/>
                  <a:gd name="connsiteX2" fmla="*/ 3986 w 4149"/>
                  <a:gd name="connsiteY2" fmla="*/ 9253 h 9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49" h="9252">
                    <a:moveTo>
                      <a:pt x="3986" y="9253"/>
                    </a:moveTo>
                    <a:cubicBezTo>
                      <a:pt x="4574" y="5661"/>
                      <a:pt x="3020" y="2050"/>
                      <a:pt x="0" y="0"/>
                    </a:cubicBezTo>
                    <a:cubicBezTo>
                      <a:pt x="3109" y="1980"/>
                      <a:pt x="4684" y="5641"/>
                      <a:pt x="3986" y="925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5" name="Freeform: Shape 2534">
                <a:extLst>
                  <a:ext uri="{FF2B5EF4-FFF2-40B4-BE49-F238E27FC236}">
                    <a16:creationId xmlns:a16="http://schemas.microsoft.com/office/drawing/2014/main" id="{B893808E-C309-4F51-9129-39D6C7CCD2A7}"/>
                  </a:ext>
                </a:extLst>
              </p:cNvPr>
              <p:cNvSpPr/>
              <p:nvPr/>
            </p:nvSpPr>
            <p:spPr>
              <a:xfrm>
                <a:off x="3200898" y="3462098"/>
                <a:ext cx="5380" cy="2089"/>
              </a:xfrm>
              <a:custGeom>
                <a:avLst/>
                <a:gdLst>
                  <a:gd name="connsiteX0" fmla="*/ 2491 w 5380"/>
                  <a:gd name="connsiteY0" fmla="*/ 597 h 2089"/>
                  <a:gd name="connsiteX1" fmla="*/ 5381 w 5380"/>
                  <a:gd name="connsiteY1" fmla="*/ 2089 h 2089"/>
                  <a:gd name="connsiteX2" fmla="*/ 0 w 5380"/>
                  <a:gd name="connsiteY2" fmla="*/ 0 h 2089"/>
                  <a:gd name="connsiteX3" fmla="*/ 2491 w 5380"/>
                  <a:gd name="connsiteY3" fmla="*/ 597 h 2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80" h="2089">
                    <a:moveTo>
                      <a:pt x="2491" y="597"/>
                    </a:moveTo>
                    <a:cubicBezTo>
                      <a:pt x="3428" y="1154"/>
                      <a:pt x="4384" y="1652"/>
                      <a:pt x="5381" y="2089"/>
                    </a:cubicBezTo>
                    <a:cubicBezTo>
                      <a:pt x="3537" y="1512"/>
                      <a:pt x="1744" y="816"/>
                      <a:pt x="0" y="0"/>
                    </a:cubicBezTo>
                    <a:cubicBezTo>
                      <a:pt x="787" y="348"/>
                      <a:pt x="1634" y="547"/>
                      <a:pt x="2491" y="5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6" name="Freeform: Shape 2535">
                <a:extLst>
                  <a:ext uri="{FF2B5EF4-FFF2-40B4-BE49-F238E27FC236}">
                    <a16:creationId xmlns:a16="http://schemas.microsoft.com/office/drawing/2014/main" id="{6794BCDE-54AF-424E-86AA-37EAB20CF3D8}"/>
                  </a:ext>
                </a:extLst>
              </p:cNvPr>
              <p:cNvSpPr/>
              <p:nvPr/>
            </p:nvSpPr>
            <p:spPr>
              <a:xfrm>
                <a:off x="3204585" y="3110609"/>
                <a:ext cx="13950" cy="7560"/>
              </a:xfrm>
              <a:custGeom>
                <a:avLst/>
                <a:gdLst>
                  <a:gd name="connsiteX0" fmla="*/ 0 w 13950"/>
                  <a:gd name="connsiteY0" fmla="*/ 0 h 7560"/>
                  <a:gd name="connsiteX1" fmla="*/ 13950 w 13950"/>
                  <a:gd name="connsiteY1" fmla="*/ 7561 h 7560"/>
                  <a:gd name="connsiteX2" fmla="*/ 0 w 13950"/>
                  <a:gd name="connsiteY2" fmla="*/ 0 h 7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50" h="7560">
                    <a:moveTo>
                      <a:pt x="0" y="0"/>
                    </a:moveTo>
                    <a:cubicBezTo>
                      <a:pt x="4185" y="2586"/>
                      <a:pt x="9067" y="4974"/>
                      <a:pt x="13950" y="7561"/>
                    </a:cubicBezTo>
                    <a:cubicBezTo>
                      <a:pt x="9148" y="5332"/>
                      <a:pt x="4494" y="280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7" name="Freeform: Shape 2536">
                <a:extLst>
                  <a:ext uri="{FF2B5EF4-FFF2-40B4-BE49-F238E27FC236}">
                    <a16:creationId xmlns:a16="http://schemas.microsoft.com/office/drawing/2014/main" id="{A71AEF93-657F-48FB-B299-348CAA5DFB14}"/>
                  </a:ext>
                </a:extLst>
              </p:cNvPr>
              <p:cNvSpPr/>
              <p:nvPr/>
            </p:nvSpPr>
            <p:spPr>
              <a:xfrm>
                <a:off x="3223517" y="3469560"/>
                <a:ext cx="6974" cy="1094"/>
              </a:xfrm>
              <a:custGeom>
                <a:avLst/>
                <a:gdLst>
                  <a:gd name="connsiteX0" fmla="*/ 0 w 6974"/>
                  <a:gd name="connsiteY0" fmla="*/ 0 h 1094"/>
                  <a:gd name="connsiteX1" fmla="*/ 6975 w 6974"/>
                  <a:gd name="connsiteY1" fmla="*/ 498 h 1094"/>
                  <a:gd name="connsiteX2" fmla="*/ 4783 w 6974"/>
                  <a:gd name="connsiteY2" fmla="*/ 1095 h 1094"/>
                  <a:gd name="connsiteX3" fmla="*/ 0 w 6974"/>
                  <a:gd name="connsiteY3" fmla="*/ 0 h 1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4" h="1094">
                    <a:moveTo>
                      <a:pt x="0" y="0"/>
                    </a:moveTo>
                    <a:cubicBezTo>
                      <a:pt x="2312" y="368"/>
                      <a:pt x="4643" y="527"/>
                      <a:pt x="6975" y="498"/>
                    </a:cubicBezTo>
                    <a:cubicBezTo>
                      <a:pt x="6217" y="587"/>
                      <a:pt x="5480" y="786"/>
                      <a:pt x="4783" y="1095"/>
                    </a:cubicBezTo>
                    <a:cubicBezTo>
                      <a:pt x="3169" y="826"/>
                      <a:pt x="1574" y="45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8" name="Freeform: Shape 2537">
                <a:extLst>
                  <a:ext uri="{FF2B5EF4-FFF2-40B4-BE49-F238E27FC236}">
                    <a16:creationId xmlns:a16="http://schemas.microsoft.com/office/drawing/2014/main" id="{1F3F66D9-353F-484B-8AF5-5E1D6A5FCB0B}"/>
                  </a:ext>
                </a:extLst>
              </p:cNvPr>
              <p:cNvSpPr/>
              <p:nvPr/>
            </p:nvSpPr>
            <p:spPr>
              <a:xfrm>
                <a:off x="3229695" y="3125234"/>
                <a:ext cx="6576" cy="8555"/>
              </a:xfrm>
              <a:custGeom>
                <a:avLst/>
                <a:gdLst>
                  <a:gd name="connsiteX0" fmla="*/ 6377 w 6576"/>
                  <a:gd name="connsiteY0" fmla="*/ 8556 h 8555"/>
                  <a:gd name="connsiteX1" fmla="*/ 0 w 6576"/>
                  <a:gd name="connsiteY1" fmla="*/ 0 h 8555"/>
                  <a:gd name="connsiteX2" fmla="*/ 6576 w 6576"/>
                  <a:gd name="connsiteY2" fmla="*/ 6168 h 8555"/>
                  <a:gd name="connsiteX3" fmla="*/ 6377 w 6576"/>
                  <a:gd name="connsiteY3" fmla="*/ 8556 h 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6" h="8555">
                    <a:moveTo>
                      <a:pt x="6377" y="8556"/>
                    </a:moveTo>
                    <a:cubicBezTo>
                      <a:pt x="5072" y="5173"/>
                      <a:pt x="2869" y="2218"/>
                      <a:pt x="0" y="0"/>
                    </a:cubicBezTo>
                    <a:cubicBezTo>
                      <a:pt x="2421" y="1791"/>
                      <a:pt x="4633" y="3860"/>
                      <a:pt x="6576" y="6168"/>
                    </a:cubicBezTo>
                    <a:cubicBezTo>
                      <a:pt x="6417" y="6954"/>
                      <a:pt x="6347" y="7750"/>
                      <a:pt x="6377" y="855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39" name="Freeform: Shape 2538">
                <a:extLst>
                  <a:ext uri="{FF2B5EF4-FFF2-40B4-BE49-F238E27FC236}">
                    <a16:creationId xmlns:a16="http://schemas.microsoft.com/office/drawing/2014/main" id="{F75F70AF-F956-4257-95DD-253605F284DA}"/>
                  </a:ext>
                </a:extLst>
              </p:cNvPr>
              <p:cNvSpPr/>
              <p:nvPr/>
            </p:nvSpPr>
            <p:spPr>
              <a:xfrm>
                <a:off x="3233382" y="3469658"/>
                <a:ext cx="8071" cy="1394"/>
              </a:xfrm>
              <a:custGeom>
                <a:avLst/>
                <a:gdLst>
                  <a:gd name="connsiteX0" fmla="*/ 1893 w 8071"/>
                  <a:gd name="connsiteY0" fmla="*/ 1 h 1394"/>
                  <a:gd name="connsiteX1" fmla="*/ 8071 w 8071"/>
                  <a:gd name="connsiteY1" fmla="*/ 1394 h 1394"/>
                  <a:gd name="connsiteX2" fmla="*/ 0 w 8071"/>
                  <a:gd name="connsiteY2" fmla="*/ 300 h 1394"/>
                  <a:gd name="connsiteX3" fmla="*/ 1893 w 8071"/>
                  <a:gd name="connsiteY3" fmla="*/ 1 h 1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71" h="1394">
                    <a:moveTo>
                      <a:pt x="1893" y="1"/>
                    </a:moveTo>
                    <a:cubicBezTo>
                      <a:pt x="4035" y="-29"/>
                      <a:pt x="6148" y="449"/>
                      <a:pt x="8071" y="1394"/>
                    </a:cubicBezTo>
                    <a:cubicBezTo>
                      <a:pt x="5421" y="767"/>
                      <a:pt x="2720" y="399"/>
                      <a:pt x="0" y="300"/>
                    </a:cubicBezTo>
                    <a:cubicBezTo>
                      <a:pt x="637" y="260"/>
                      <a:pt x="1275" y="160"/>
                      <a:pt x="1893" y="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0" name="Freeform: Shape 2539">
                <a:extLst>
                  <a:ext uri="{FF2B5EF4-FFF2-40B4-BE49-F238E27FC236}">
                    <a16:creationId xmlns:a16="http://schemas.microsoft.com/office/drawing/2014/main" id="{9BF73B1F-ECD9-4FC1-A586-E5A47119CB55}"/>
                  </a:ext>
                </a:extLst>
              </p:cNvPr>
              <p:cNvSpPr/>
              <p:nvPr/>
            </p:nvSpPr>
            <p:spPr>
              <a:xfrm>
                <a:off x="3236227" y="3139759"/>
                <a:ext cx="1340" cy="3979"/>
              </a:xfrm>
              <a:custGeom>
                <a:avLst/>
                <a:gdLst>
                  <a:gd name="connsiteX0" fmla="*/ 45 w 1340"/>
                  <a:gd name="connsiteY0" fmla="*/ 1592 h 3979"/>
                  <a:gd name="connsiteX1" fmla="*/ 45 w 1340"/>
                  <a:gd name="connsiteY1" fmla="*/ 0 h 3979"/>
                  <a:gd name="connsiteX2" fmla="*/ 1340 w 1340"/>
                  <a:gd name="connsiteY2" fmla="*/ 3979 h 3979"/>
                  <a:gd name="connsiteX3" fmla="*/ 45 w 1340"/>
                  <a:gd name="connsiteY3" fmla="*/ 1592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40" h="3979">
                    <a:moveTo>
                      <a:pt x="45" y="1592"/>
                    </a:moveTo>
                    <a:cubicBezTo>
                      <a:pt x="-15" y="1064"/>
                      <a:pt x="-15" y="527"/>
                      <a:pt x="45" y="0"/>
                    </a:cubicBezTo>
                    <a:cubicBezTo>
                      <a:pt x="324" y="1373"/>
                      <a:pt x="762" y="2706"/>
                      <a:pt x="1340" y="3979"/>
                    </a:cubicBezTo>
                    <a:cubicBezTo>
                      <a:pt x="981" y="3144"/>
                      <a:pt x="543" y="2348"/>
                      <a:pt x="45" y="159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1" name="Freeform: Shape 2540">
                <a:extLst>
                  <a:ext uri="{FF2B5EF4-FFF2-40B4-BE49-F238E27FC236}">
                    <a16:creationId xmlns:a16="http://schemas.microsoft.com/office/drawing/2014/main" id="{3BA09295-594F-4CDB-9355-280D64988195}"/>
                  </a:ext>
                </a:extLst>
              </p:cNvPr>
              <p:cNvSpPr/>
              <p:nvPr/>
            </p:nvSpPr>
            <p:spPr>
              <a:xfrm>
                <a:off x="3240456" y="3147519"/>
                <a:ext cx="6177" cy="15718"/>
              </a:xfrm>
              <a:custGeom>
                <a:avLst/>
                <a:gdLst>
                  <a:gd name="connsiteX0" fmla="*/ 797 w 6177"/>
                  <a:gd name="connsiteY0" fmla="*/ 796 h 15718"/>
                  <a:gd name="connsiteX1" fmla="*/ 6178 w 6177"/>
                  <a:gd name="connsiteY1" fmla="*/ 15719 h 15718"/>
                  <a:gd name="connsiteX2" fmla="*/ 0 w 6177"/>
                  <a:gd name="connsiteY2" fmla="*/ 0 h 15718"/>
                  <a:gd name="connsiteX3" fmla="*/ 797 w 6177"/>
                  <a:gd name="connsiteY3" fmla="*/ 796 h 15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7" h="15718">
                    <a:moveTo>
                      <a:pt x="797" y="796"/>
                    </a:moveTo>
                    <a:cubicBezTo>
                      <a:pt x="3856" y="5223"/>
                      <a:pt x="5710" y="10367"/>
                      <a:pt x="6178" y="15719"/>
                    </a:cubicBezTo>
                    <a:cubicBezTo>
                      <a:pt x="4913" y="10197"/>
                      <a:pt x="2830" y="4905"/>
                      <a:pt x="0" y="0"/>
                    </a:cubicBezTo>
                    <a:cubicBezTo>
                      <a:pt x="179" y="338"/>
                      <a:pt x="459" y="617"/>
                      <a:pt x="797" y="7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2" name="Freeform: Shape 2541">
                <a:extLst>
                  <a:ext uri="{FF2B5EF4-FFF2-40B4-BE49-F238E27FC236}">
                    <a16:creationId xmlns:a16="http://schemas.microsoft.com/office/drawing/2014/main" id="{96C10B82-0659-4087-85C0-83F5592AACC4}"/>
                  </a:ext>
                </a:extLst>
              </p:cNvPr>
              <p:cNvSpPr/>
              <p:nvPr/>
            </p:nvSpPr>
            <p:spPr>
              <a:xfrm>
                <a:off x="3249225" y="3185822"/>
                <a:ext cx="4085" cy="9152"/>
              </a:xfrm>
              <a:custGeom>
                <a:avLst/>
                <a:gdLst>
                  <a:gd name="connsiteX0" fmla="*/ 100 w 4085"/>
                  <a:gd name="connsiteY0" fmla="*/ 0 h 9152"/>
                  <a:gd name="connsiteX1" fmla="*/ 4086 w 4085"/>
                  <a:gd name="connsiteY1" fmla="*/ 9153 h 9152"/>
                  <a:gd name="connsiteX2" fmla="*/ 0 w 4085"/>
                  <a:gd name="connsiteY2" fmla="*/ 6268 h 9152"/>
                  <a:gd name="connsiteX3" fmla="*/ 100 w 4085"/>
                  <a:gd name="connsiteY3" fmla="*/ 0 h 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5" h="9152">
                    <a:moveTo>
                      <a:pt x="100" y="0"/>
                    </a:moveTo>
                    <a:cubicBezTo>
                      <a:pt x="688" y="3323"/>
                      <a:pt x="2053" y="6457"/>
                      <a:pt x="4086" y="9153"/>
                    </a:cubicBezTo>
                    <a:lnTo>
                      <a:pt x="0" y="6268"/>
                    </a:lnTo>
                    <a:cubicBezTo>
                      <a:pt x="100" y="4178"/>
                      <a:pt x="100" y="1791"/>
                      <a:pt x="10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3" name="Freeform: Shape 2542">
                <a:extLst>
                  <a:ext uri="{FF2B5EF4-FFF2-40B4-BE49-F238E27FC236}">
                    <a16:creationId xmlns:a16="http://schemas.microsoft.com/office/drawing/2014/main" id="{557A8520-89F1-45DF-A246-8FFD026F35C5}"/>
                  </a:ext>
                </a:extLst>
              </p:cNvPr>
              <p:cNvSpPr/>
              <p:nvPr/>
            </p:nvSpPr>
            <p:spPr>
              <a:xfrm>
                <a:off x="3261680" y="3200347"/>
                <a:ext cx="8170" cy="6168"/>
              </a:xfrm>
              <a:custGeom>
                <a:avLst/>
                <a:gdLst>
                  <a:gd name="connsiteX0" fmla="*/ 3488 w 8170"/>
                  <a:gd name="connsiteY0" fmla="*/ 696 h 6168"/>
                  <a:gd name="connsiteX1" fmla="*/ 8171 w 8170"/>
                  <a:gd name="connsiteY1" fmla="*/ 6168 h 6168"/>
                  <a:gd name="connsiteX2" fmla="*/ 0 w 8170"/>
                  <a:gd name="connsiteY2" fmla="*/ 0 h 6168"/>
                  <a:gd name="connsiteX3" fmla="*/ 3488 w 8170"/>
                  <a:gd name="connsiteY3" fmla="*/ 696 h 6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70" h="6168">
                    <a:moveTo>
                      <a:pt x="3488" y="696"/>
                    </a:moveTo>
                    <a:cubicBezTo>
                      <a:pt x="4684" y="1990"/>
                      <a:pt x="6377" y="4079"/>
                      <a:pt x="8171" y="6168"/>
                    </a:cubicBezTo>
                    <a:cubicBezTo>
                      <a:pt x="5620" y="3890"/>
                      <a:pt x="2890" y="1830"/>
                      <a:pt x="0" y="0"/>
                    </a:cubicBezTo>
                    <a:cubicBezTo>
                      <a:pt x="1136" y="348"/>
                      <a:pt x="2302" y="577"/>
                      <a:pt x="3488" y="6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4" name="Freeform: Shape 2543">
                <a:extLst>
                  <a:ext uri="{FF2B5EF4-FFF2-40B4-BE49-F238E27FC236}">
                    <a16:creationId xmlns:a16="http://schemas.microsoft.com/office/drawing/2014/main" id="{CDE49909-7805-4CC5-9D05-8A824DCB6B80}"/>
                  </a:ext>
                </a:extLst>
              </p:cNvPr>
              <p:cNvSpPr/>
              <p:nvPr/>
            </p:nvSpPr>
            <p:spPr>
              <a:xfrm>
                <a:off x="3274908" y="3214872"/>
                <a:ext cx="713" cy="4775"/>
              </a:xfrm>
              <a:custGeom>
                <a:avLst/>
                <a:gdLst>
                  <a:gd name="connsiteX0" fmla="*/ 25 w 713"/>
                  <a:gd name="connsiteY0" fmla="*/ 0 h 4775"/>
                  <a:gd name="connsiteX1" fmla="*/ 623 w 713"/>
                  <a:gd name="connsiteY1" fmla="*/ 4776 h 4775"/>
                  <a:gd name="connsiteX2" fmla="*/ 25 w 713"/>
                  <a:gd name="connsiteY2" fmla="*/ 0 h 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3" h="4775">
                    <a:moveTo>
                      <a:pt x="25" y="0"/>
                    </a:moveTo>
                    <a:cubicBezTo>
                      <a:pt x="643" y="1512"/>
                      <a:pt x="852" y="3154"/>
                      <a:pt x="623" y="4776"/>
                    </a:cubicBezTo>
                    <a:cubicBezTo>
                      <a:pt x="125" y="3233"/>
                      <a:pt x="-75" y="1612"/>
                      <a:pt x="2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5" name="Freeform: Shape 2544">
                <a:extLst>
                  <a:ext uri="{FF2B5EF4-FFF2-40B4-BE49-F238E27FC236}">
                    <a16:creationId xmlns:a16="http://schemas.microsoft.com/office/drawing/2014/main" id="{9A3D9429-EFF6-42E9-82BC-CCEF7B1FE8AB}"/>
                  </a:ext>
                </a:extLst>
              </p:cNvPr>
              <p:cNvSpPr/>
              <p:nvPr/>
            </p:nvSpPr>
            <p:spPr>
              <a:xfrm>
                <a:off x="3279915" y="3245315"/>
                <a:ext cx="1295" cy="3979"/>
              </a:xfrm>
              <a:custGeom>
                <a:avLst/>
                <a:gdLst>
                  <a:gd name="connsiteX0" fmla="*/ 1295 w 1295"/>
                  <a:gd name="connsiteY0" fmla="*/ 0 h 3979"/>
                  <a:gd name="connsiteX1" fmla="*/ 1295 w 1295"/>
                  <a:gd name="connsiteY1" fmla="*/ 3980 h 3979"/>
                  <a:gd name="connsiteX2" fmla="*/ 0 w 1295"/>
                  <a:gd name="connsiteY2" fmla="*/ 1493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5" h="3979">
                    <a:moveTo>
                      <a:pt x="1295" y="0"/>
                    </a:moveTo>
                    <a:cubicBezTo>
                      <a:pt x="1046" y="1313"/>
                      <a:pt x="1046" y="2666"/>
                      <a:pt x="1295" y="3980"/>
                    </a:cubicBezTo>
                    <a:cubicBezTo>
                      <a:pt x="927" y="3124"/>
                      <a:pt x="488" y="2288"/>
                      <a:pt x="0" y="14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6" name="Freeform: Shape 2545">
                <a:extLst>
                  <a:ext uri="{FF2B5EF4-FFF2-40B4-BE49-F238E27FC236}">
                    <a16:creationId xmlns:a16="http://schemas.microsoft.com/office/drawing/2014/main" id="{52DA281B-EA04-4C94-9A73-F4CAE38DDC7E}"/>
                  </a:ext>
                </a:extLst>
              </p:cNvPr>
              <p:cNvSpPr/>
              <p:nvPr/>
            </p:nvSpPr>
            <p:spPr>
              <a:xfrm>
                <a:off x="3279118" y="3227407"/>
                <a:ext cx="4177" cy="13331"/>
              </a:xfrm>
              <a:custGeom>
                <a:avLst/>
                <a:gdLst>
                  <a:gd name="connsiteX0" fmla="*/ 0 w 4177"/>
                  <a:gd name="connsiteY0" fmla="*/ 0 h 13331"/>
                  <a:gd name="connsiteX1" fmla="*/ 3986 w 4177"/>
                  <a:gd name="connsiteY1" fmla="*/ 13331 h 13331"/>
                  <a:gd name="connsiteX2" fmla="*/ 0 w 4177"/>
                  <a:gd name="connsiteY2" fmla="*/ 0 h 13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7" h="13331">
                    <a:moveTo>
                      <a:pt x="0" y="0"/>
                    </a:moveTo>
                    <a:cubicBezTo>
                      <a:pt x="3268" y="3621"/>
                      <a:pt x="4733" y="8516"/>
                      <a:pt x="3986" y="13331"/>
                    </a:cubicBezTo>
                    <a:cubicBezTo>
                      <a:pt x="4235" y="8566"/>
                      <a:pt x="2830" y="385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7" name="Freeform: Shape 2546">
                <a:extLst>
                  <a:ext uri="{FF2B5EF4-FFF2-40B4-BE49-F238E27FC236}">
                    <a16:creationId xmlns:a16="http://schemas.microsoft.com/office/drawing/2014/main" id="{842392D6-63E7-41AA-ADB6-3F086C6A3BAD}"/>
                  </a:ext>
                </a:extLst>
              </p:cNvPr>
              <p:cNvSpPr/>
              <p:nvPr/>
            </p:nvSpPr>
            <p:spPr>
              <a:xfrm>
                <a:off x="3284300" y="3258945"/>
                <a:ext cx="767" cy="6765"/>
              </a:xfrm>
              <a:custGeom>
                <a:avLst/>
                <a:gdLst>
                  <a:gd name="connsiteX0" fmla="*/ 0 w 767"/>
                  <a:gd name="connsiteY0" fmla="*/ 0 h 6765"/>
                  <a:gd name="connsiteX1" fmla="*/ 698 w 767"/>
                  <a:gd name="connsiteY1" fmla="*/ 6765 h 6765"/>
                  <a:gd name="connsiteX2" fmla="*/ 0 w 767"/>
                  <a:gd name="connsiteY2" fmla="*/ 0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" h="6765">
                    <a:moveTo>
                      <a:pt x="0" y="0"/>
                    </a:moveTo>
                    <a:cubicBezTo>
                      <a:pt x="668" y="2189"/>
                      <a:pt x="897" y="4487"/>
                      <a:pt x="698" y="6765"/>
                    </a:cubicBezTo>
                    <a:cubicBezTo>
                      <a:pt x="598" y="4497"/>
                      <a:pt x="369" y="223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8" name="Freeform: Shape 2547">
                <a:extLst>
                  <a:ext uri="{FF2B5EF4-FFF2-40B4-BE49-F238E27FC236}">
                    <a16:creationId xmlns:a16="http://schemas.microsoft.com/office/drawing/2014/main" id="{48E13CFA-6362-40B6-BC25-62AF8E03D30B}"/>
                  </a:ext>
                </a:extLst>
              </p:cNvPr>
              <p:cNvSpPr/>
              <p:nvPr/>
            </p:nvSpPr>
            <p:spPr>
              <a:xfrm>
                <a:off x="3289581" y="3267202"/>
                <a:ext cx="7273" cy="1867"/>
              </a:xfrm>
              <a:custGeom>
                <a:avLst/>
                <a:gdLst>
                  <a:gd name="connsiteX0" fmla="*/ 0 w 7273"/>
                  <a:gd name="connsiteY0" fmla="*/ 0 h 1867"/>
                  <a:gd name="connsiteX1" fmla="*/ 7274 w 7273"/>
                  <a:gd name="connsiteY1" fmla="*/ 1293 h 1867"/>
                  <a:gd name="connsiteX2" fmla="*/ 0 w 7273"/>
                  <a:gd name="connsiteY2" fmla="*/ 0 h 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273" h="1867">
                    <a:moveTo>
                      <a:pt x="0" y="0"/>
                    </a:moveTo>
                    <a:cubicBezTo>
                      <a:pt x="2371" y="696"/>
                      <a:pt x="4813" y="1124"/>
                      <a:pt x="7274" y="1293"/>
                    </a:cubicBezTo>
                    <a:cubicBezTo>
                      <a:pt x="5480" y="2587"/>
                      <a:pt x="2491" y="149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49" name="Freeform: Shape 2548">
                <a:extLst>
                  <a:ext uri="{FF2B5EF4-FFF2-40B4-BE49-F238E27FC236}">
                    <a16:creationId xmlns:a16="http://schemas.microsoft.com/office/drawing/2014/main" id="{AD5C10E8-EA6C-48A8-85BD-78B3C4050686}"/>
                  </a:ext>
                </a:extLst>
              </p:cNvPr>
              <p:cNvSpPr/>
              <p:nvPr/>
            </p:nvSpPr>
            <p:spPr>
              <a:xfrm>
                <a:off x="3302136" y="3270485"/>
                <a:ext cx="4284" cy="2686"/>
              </a:xfrm>
              <a:custGeom>
                <a:avLst/>
                <a:gdLst>
                  <a:gd name="connsiteX0" fmla="*/ 0 w 4284"/>
                  <a:gd name="connsiteY0" fmla="*/ 0 h 2686"/>
                  <a:gd name="connsiteX1" fmla="*/ 4285 w 4284"/>
                  <a:gd name="connsiteY1" fmla="*/ 2686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84" h="2686">
                    <a:moveTo>
                      <a:pt x="0" y="0"/>
                    </a:moveTo>
                    <a:cubicBezTo>
                      <a:pt x="1565" y="667"/>
                      <a:pt x="3009" y="1572"/>
                      <a:pt x="4285" y="26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50" name="Freeform: Shape 2549">
                <a:extLst>
                  <a:ext uri="{FF2B5EF4-FFF2-40B4-BE49-F238E27FC236}">
                    <a16:creationId xmlns:a16="http://schemas.microsoft.com/office/drawing/2014/main" id="{BCF0F528-3D1A-41D2-BB63-E47D5613C030}"/>
                  </a:ext>
                </a:extLst>
              </p:cNvPr>
              <p:cNvSpPr/>
              <p:nvPr/>
            </p:nvSpPr>
            <p:spPr>
              <a:xfrm>
                <a:off x="3307915" y="3273470"/>
                <a:ext cx="6277" cy="2785"/>
              </a:xfrm>
              <a:custGeom>
                <a:avLst/>
                <a:gdLst>
                  <a:gd name="connsiteX0" fmla="*/ 6278 w 6277"/>
                  <a:gd name="connsiteY0" fmla="*/ 2786 h 2785"/>
                  <a:gd name="connsiteX1" fmla="*/ 6278 w 6277"/>
                  <a:gd name="connsiteY1" fmla="*/ 2786 h 2785"/>
                  <a:gd name="connsiteX2" fmla="*/ 0 w 6277"/>
                  <a:gd name="connsiteY2" fmla="*/ 0 h 2785"/>
                  <a:gd name="connsiteX3" fmla="*/ 6278 w 6277"/>
                  <a:gd name="connsiteY3" fmla="*/ 2786 h 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77" h="2785">
                    <a:moveTo>
                      <a:pt x="6278" y="2786"/>
                    </a:moveTo>
                    <a:lnTo>
                      <a:pt x="6278" y="2786"/>
                    </a:lnTo>
                    <a:cubicBezTo>
                      <a:pt x="4086" y="2089"/>
                      <a:pt x="1983" y="1154"/>
                      <a:pt x="0" y="0"/>
                    </a:cubicBezTo>
                    <a:cubicBezTo>
                      <a:pt x="2162" y="776"/>
                      <a:pt x="4255" y="1701"/>
                      <a:pt x="6278" y="27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499" name="Freeform: Shape 1498">
              <a:extLst>
                <a:ext uri="{FF2B5EF4-FFF2-40B4-BE49-F238E27FC236}">
                  <a16:creationId xmlns:a16="http://schemas.microsoft.com/office/drawing/2014/main" id="{B1CFB5DE-D2EB-4CBA-B919-F6D450B586C6}"/>
                </a:ext>
              </a:extLst>
            </p:cNvPr>
            <p:cNvSpPr/>
            <p:nvPr/>
          </p:nvSpPr>
          <p:spPr>
            <a:xfrm>
              <a:off x="1804024" y="884777"/>
              <a:ext cx="662496" cy="736405"/>
            </a:xfrm>
            <a:custGeom>
              <a:avLst/>
              <a:gdLst>
                <a:gd name="connsiteX0" fmla="*/ 655422 w 662496"/>
                <a:gd name="connsiteY0" fmla="*/ 278366 h 736405"/>
                <a:gd name="connsiteX1" fmla="*/ 662497 w 662496"/>
                <a:gd name="connsiteY1" fmla="*/ 283937 h 736405"/>
                <a:gd name="connsiteX2" fmla="*/ 655422 w 662496"/>
                <a:gd name="connsiteY2" fmla="*/ 278366 h 736405"/>
                <a:gd name="connsiteX3" fmla="*/ 648646 w 662496"/>
                <a:gd name="connsiteY3" fmla="*/ 264239 h 736405"/>
                <a:gd name="connsiteX4" fmla="*/ 653030 w 662496"/>
                <a:gd name="connsiteY4" fmla="*/ 274784 h 736405"/>
                <a:gd name="connsiteX5" fmla="*/ 648646 w 662496"/>
                <a:gd name="connsiteY5" fmla="*/ 264239 h 736405"/>
                <a:gd name="connsiteX6" fmla="*/ 632105 w 662496"/>
                <a:gd name="connsiteY6" fmla="*/ 237974 h 736405"/>
                <a:gd name="connsiteX7" fmla="*/ 642070 w 662496"/>
                <a:gd name="connsiteY7" fmla="*/ 237974 h 736405"/>
                <a:gd name="connsiteX8" fmla="*/ 632105 w 662496"/>
                <a:gd name="connsiteY8" fmla="*/ 237974 h 736405"/>
                <a:gd name="connsiteX9" fmla="*/ 615066 w 662496"/>
                <a:gd name="connsiteY9" fmla="*/ 160374 h 736405"/>
                <a:gd name="connsiteX10" fmla="*/ 617856 w 662496"/>
                <a:gd name="connsiteY10" fmla="*/ 162463 h 736405"/>
                <a:gd name="connsiteX11" fmla="*/ 615066 w 662496"/>
                <a:gd name="connsiteY11" fmla="*/ 160374 h 736405"/>
                <a:gd name="connsiteX12" fmla="*/ 605102 w 662496"/>
                <a:gd name="connsiteY12" fmla="*/ 144456 h 736405"/>
                <a:gd name="connsiteX13" fmla="*/ 601116 w 662496"/>
                <a:gd name="connsiteY13" fmla="*/ 138486 h 736405"/>
                <a:gd name="connsiteX14" fmla="*/ 605201 w 662496"/>
                <a:gd name="connsiteY14" fmla="*/ 144456 h 736405"/>
                <a:gd name="connsiteX15" fmla="*/ 599123 w 662496"/>
                <a:gd name="connsiteY15" fmla="*/ 153609 h 736405"/>
                <a:gd name="connsiteX16" fmla="*/ 600119 w 662496"/>
                <a:gd name="connsiteY16" fmla="*/ 157787 h 736405"/>
                <a:gd name="connsiteX17" fmla="*/ 599223 w 662496"/>
                <a:gd name="connsiteY17" fmla="*/ 153907 h 736405"/>
                <a:gd name="connsiteX18" fmla="*/ 579194 w 662496"/>
                <a:gd name="connsiteY18" fmla="*/ 129135 h 736405"/>
                <a:gd name="connsiteX19" fmla="*/ 592348 w 662496"/>
                <a:gd name="connsiteY19" fmla="*/ 131622 h 736405"/>
                <a:gd name="connsiteX20" fmla="*/ 578995 w 662496"/>
                <a:gd name="connsiteY20" fmla="*/ 129135 h 736405"/>
                <a:gd name="connsiteX21" fmla="*/ 563550 w 662496"/>
                <a:gd name="connsiteY21" fmla="*/ 125553 h 736405"/>
                <a:gd name="connsiteX22" fmla="*/ 547508 w 662496"/>
                <a:gd name="connsiteY22" fmla="*/ 119186 h 736405"/>
                <a:gd name="connsiteX23" fmla="*/ 563550 w 662496"/>
                <a:gd name="connsiteY23" fmla="*/ 125553 h 736405"/>
                <a:gd name="connsiteX24" fmla="*/ 537643 w 662496"/>
                <a:gd name="connsiteY24" fmla="*/ 123563 h 736405"/>
                <a:gd name="connsiteX25" fmla="*/ 538839 w 662496"/>
                <a:gd name="connsiteY25" fmla="*/ 121474 h 736405"/>
                <a:gd name="connsiteX26" fmla="*/ 533657 w 662496"/>
                <a:gd name="connsiteY26" fmla="*/ 124061 h 736405"/>
                <a:gd name="connsiteX27" fmla="*/ 537444 w 662496"/>
                <a:gd name="connsiteY27" fmla="*/ 124061 h 736405"/>
                <a:gd name="connsiteX28" fmla="*/ 520504 w 662496"/>
                <a:gd name="connsiteY28" fmla="*/ 117992 h 736405"/>
                <a:gd name="connsiteX29" fmla="*/ 515322 w 662496"/>
                <a:gd name="connsiteY29" fmla="*/ 117992 h 736405"/>
                <a:gd name="connsiteX30" fmla="*/ 520304 w 662496"/>
                <a:gd name="connsiteY30" fmla="*/ 117992 h 736405"/>
                <a:gd name="connsiteX31" fmla="*/ 509543 w 662496"/>
                <a:gd name="connsiteY31" fmla="*/ 116301 h 736405"/>
                <a:gd name="connsiteX32" fmla="*/ 495393 w 662496"/>
                <a:gd name="connsiteY32" fmla="*/ 107148 h 736405"/>
                <a:gd name="connsiteX33" fmla="*/ 509344 w 662496"/>
                <a:gd name="connsiteY33" fmla="*/ 116301 h 736405"/>
                <a:gd name="connsiteX34" fmla="*/ 506255 w 662496"/>
                <a:gd name="connsiteY34" fmla="*/ 736406 h 736405"/>
                <a:gd name="connsiteX35" fmla="*/ 371735 w 662496"/>
                <a:gd name="connsiteY35" fmla="*/ 735312 h 736405"/>
                <a:gd name="connsiteX36" fmla="*/ 344632 w 662496"/>
                <a:gd name="connsiteY36" fmla="*/ 49943 h 736405"/>
                <a:gd name="connsiteX37" fmla="*/ 338554 w 662496"/>
                <a:gd name="connsiteY37" fmla="*/ 35816 h 736405"/>
                <a:gd name="connsiteX38" fmla="*/ 344333 w 662496"/>
                <a:gd name="connsiteY38" fmla="*/ 49943 h 736405"/>
                <a:gd name="connsiteX39" fmla="*/ 333572 w 662496"/>
                <a:gd name="connsiteY39" fmla="*/ 30045 h 736405"/>
                <a:gd name="connsiteX40" fmla="*/ 329187 w 662496"/>
                <a:gd name="connsiteY40" fmla="*/ 28155 h 736405"/>
                <a:gd name="connsiteX41" fmla="*/ 333372 w 662496"/>
                <a:gd name="connsiteY41" fmla="*/ 30344 h 736405"/>
                <a:gd name="connsiteX42" fmla="*/ 323009 w 662496"/>
                <a:gd name="connsiteY42" fmla="*/ 23777 h 736405"/>
                <a:gd name="connsiteX43" fmla="*/ 326198 w 662496"/>
                <a:gd name="connsiteY43" fmla="*/ 26464 h 736405"/>
                <a:gd name="connsiteX44" fmla="*/ 322810 w 662496"/>
                <a:gd name="connsiteY44" fmla="*/ 24573 h 736405"/>
                <a:gd name="connsiteX45" fmla="*/ 319821 w 662496"/>
                <a:gd name="connsiteY45" fmla="*/ 22783 h 736405"/>
                <a:gd name="connsiteX46" fmla="*/ 315835 w 662496"/>
                <a:gd name="connsiteY46" fmla="*/ 23877 h 736405"/>
                <a:gd name="connsiteX47" fmla="*/ 319621 w 662496"/>
                <a:gd name="connsiteY47" fmla="*/ 23081 h 736405"/>
                <a:gd name="connsiteX48" fmla="*/ 313443 w 662496"/>
                <a:gd name="connsiteY48" fmla="*/ 22783 h 736405"/>
                <a:gd name="connsiteX49" fmla="*/ 311750 w 662496"/>
                <a:gd name="connsiteY49" fmla="*/ 19698 h 736405"/>
                <a:gd name="connsiteX50" fmla="*/ 313244 w 662496"/>
                <a:gd name="connsiteY50" fmla="*/ 23081 h 736405"/>
                <a:gd name="connsiteX51" fmla="*/ 307166 w 662496"/>
                <a:gd name="connsiteY51" fmla="*/ 734416 h 736405"/>
                <a:gd name="connsiteX52" fmla="*/ 287237 w 662496"/>
                <a:gd name="connsiteY52" fmla="*/ 734416 h 736405"/>
                <a:gd name="connsiteX53" fmla="*/ 306967 w 662496"/>
                <a:gd name="connsiteY53" fmla="*/ 734715 h 736405"/>
                <a:gd name="connsiteX54" fmla="*/ 273486 w 662496"/>
                <a:gd name="connsiteY54" fmla="*/ 714519 h 736405"/>
                <a:gd name="connsiteX55" fmla="*/ 281956 w 662496"/>
                <a:gd name="connsiteY55" fmla="*/ 731531 h 736405"/>
                <a:gd name="connsiteX56" fmla="*/ 273287 w 662496"/>
                <a:gd name="connsiteY56" fmla="*/ 714917 h 736405"/>
                <a:gd name="connsiteX57" fmla="*/ 264618 w 662496"/>
                <a:gd name="connsiteY57" fmla="*/ 711037 h 736405"/>
                <a:gd name="connsiteX58" fmla="*/ 237614 w 662496"/>
                <a:gd name="connsiteY58" fmla="*/ 700491 h 736405"/>
                <a:gd name="connsiteX59" fmla="*/ 264618 w 662496"/>
                <a:gd name="connsiteY59" fmla="*/ 711037 h 736405"/>
                <a:gd name="connsiteX60" fmla="*/ 228248 w 662496"/>
                <a:gd name="connsiteY60" fmla="*/ 609759 h 736405"/>
                <a:gd name="connsiteX61" fmla="*/ 230340 w 662496"/>
                <a:gd name="connsiteY61" fmla="*/ 607570 h 736405"/>
                <a:gd name="connsiteX62" fmla="*/ 227251 w 662496"/>
                <a:gd name="connsiteY62" fmla="*/ 601700 h 736405"/>
                <a:gd name="connsiteX63" fmla="*/ 228447 w 662496"/>
                <a:gd name="connsiteY63" fmla="*/ 609261 h 736405"/>
                <a:gd name="connsiteX64" fmla="*/ 218284 w 662496"/>
                <a:gd name="connsiteY64" fmla="*/ 655324 h 736405"/>
                <a:gd name="connsiteX65" fmla="*/ 215693 w 662496"/>
                <a:gd name="connsiteY65" fmla="*/ 647862 h 736405"/>
                <a:gd name="connsiteX66" fmla="*/ 220276 w 662496"/>
                <a:gd name="connsiteY66" fmla="*/ 667760 h 736405"/>
                <a:gd name="connsiteX67" fmla="*/ 226554 w 662496"/>
                <a:gd name="connsiteY67" fmla="*/ 682285 h 736405"/>
                <a:gd name="connsiteX68" fmla="*/ 225258 w 662496"/>
                <a:gd name="connsiteY68" fmla="*/ 674823 h 736405"/>
                <a:gd name="connsiteX69" fmla="*/ 218582 w 662496"/>
                <a:gd name="connsiteY69" fmla="*/ 654826 h 736405"/>
                <a:gd name="connsiteX70" fmla="*/ 220575 w 662496"/>
                <a:gd name="connsiteY70" fmla="*/ 620006 h 736405"/>
                <a:gd name="connsiteX71" fmla="*/ 215892 w 662496"/>
                <a:gd name="connsiteY71" fmla="*/ 631148 h 736405"/>
                <a:gd name="connsiteX72" fmla="*/ 220874 w 662496"/>
                <a:gd name="connsiteY72" fmla="*/ 619508 h 736405"/>
                <a:gd name="connsiteX73" fmla="*/ 219878 w 662496"/>
                <a:gd name="connsiteY73" fmla="*/ 594338 h 736405"/>
                <a:gd name="connsiteX74" fmla="*/ 213002 w 662496"/>
                <a:gd name="connsiteY74" fmla="*/ 588568 h 736405"/>
                <a:gd name="connsiteX75" fmla="*/ 220177 w 662496"/>
                <a:gd name="connsiteY75" fmla="*/ 593841 h 736405"/>
                <a:gd name="connsiteX76" fmla="*/ 209415 w 662496"/>
                <a:gd name="connsiteY76" fmla="*/ 559716 h 736405"/>
                <a:gd name="connsiteX77" fmla="*/ 209415 w 662496"/>
                <a:gd name="connsiteY77" fmla="*/ 564890 h 736405"/>
                <a:gd name="connsiteX78" fmla="*/ 209415 w 662496"/>
                <a:gd name="connsiteY78" fmla="*/ 566979 h 736405"/>
                <a:gd name="connsiteX79" fmla="*/ 210312 w 662496"/>
                <a:gd name="connsiteY79" fmla="*/ 564890 h 736405"/>
                <a:gd name="connsiteX80" fmla="*/ 209714 w 662496"/>
                <a:gd name="connsiteY80" fmla="*/ 559219 h 736405"/>
                <a:gd name="connsiteX81" fmla="*/ 211209 w 662496"/>
                <a:gd name="connsiteY81" fmla="*/ 579614 h 736405"/>
                <a:gd name="connsiteX82" fmla="*/ 209615 w 662496"/>
                <a:gd name="connsiteY82" fmla="*/ 574042 h 736405"/>
                <a:gd name="connsiteX83" fmla="*/ 211508 w 662496"/>
                <a:gd name="connsiteY83" fmla="*/ 579315 h 736405"/>
                <a:gd name="connsiteX84" fmla="*/ 204134 w 662496"/>
                <a:gd name="connsiteY84" fmla="*/ 533352 h 736405"/>
                <a:gd name="connsiteX85" fmla="*/ 205629 w 662496"/>
                <a:gd name="connsiteY85" fmla="*/ 521812 h 736405"/>
                <a:gd name="connsiteX86" fmla="*/ 204832 w 662496"/>
                <a:gd name="connsiteY86" fmla="*/ 533054 h 736405"/>
                <a:gd name="connsiteX87" fmla="*/ 207223 w 662496"/>
                <a:gd name="connsiteY87" fmla="*/ 551857 h 736405"/>
                <a:gd name="connsiteX88" fmla="*/ 204034 w 662496"/>
                <a:gd name="connsiteY88" fmla="*/ 540714 h 736405"/>
                <a:gd name="connsiteX89" fmla="*/ 207522 w 662496"/>
                <a:gd name="connsiteY89" fmla="*/ 551857 h 736405"/>
                <a:gd name="connsiteX90" fmla="*/ 202540 w 662496"/>
                <a:gd name="connsiteY90" fmla="*/ 507585 h 736405"/>
                <a:gd name="connsiteX91" fmla="*/ 193572 w 662496"/>
                <a:gd name="connsiteY91" fmla="*/ 493358 h 736405"/>
                <a:gd name="connsiteX92" fmla="*/ 202839 w 662496"/>
                <a:gd name="connsiteY92" fmla="*/ 507286 h 736405"/>
                <a:gd name="connsiteX93" fmla="*/ 191878 w 662496"/>
                <a:gd name="connsiteY93" fmla="*/ 490871 h 736405"/>
                <a:gd name="connsiteX94" fmla="*/ 185401 w 662496"/>
                <a:gd name="connsiteY94" fmla="*/ 481917 h 736405"/>
                <a:gd name="connsiteX95" fmla="*/ 177927 w 662496"/>
                <a:gd name="connsiteY95" fmla="*/ 476047 h 736405"/>
                <a:gd name="connsiteX96" fmla="*/ 167963 w 662496"/>
                <a:gd name="connsiteY96" fmla="*/ 473262 h 736405"/>
                <a:gd name="connsiteX97" fmla="*/ 178226 w 662496"/>
                <a:gd name="connsiteY97" fmla="*/ 475749 h 736405"/>
                <a:gd name="connsiteX98" fmla="*/ 115152 w 662496"/>
                <a:gd name="connsiteY98" fmla="*/ 413967 h 736405"/>
                <a:gd name="connsiteX99" fmla="*/ 122127 w 662496"/>
                <a:gd name="connsiteY99" fmla="*/ 426702 h 736405"/>
                <a:gd name="connsiteX100" fmla="*/ 121529 w 662496"/>
                <a:gd name="connsiteY100" fmla="*/ 422026 h 736405"/>
                <a:gd name="connsiteX101" fmla="*/ 115152 w 662496"/>
                <a:gd name="connsiteY101" fmla="*/ 413967 h 736405"/>
                <a:gd name="connsiteX102" fmla="*/ 75294 w 662496"/>
                <a:gd name="connsiteY102" fmla="*/ 1194 h 736405"/>
                <a:gd name="connsiteX103" fmla="*/ 85259 w 662496"/>
                <a:gd name="connsiteY103" fmla="*/ 0 h 736405"/>
                <a:gd name="connsiteX104" fmla="*/ 75294 w 662496"/>
                <a:gd name="connsiteY104" fmla="*/ 1194 h 736405"/>
                <a:gd name="connsiteX105" fmla="*/ 75294 w 662496"/>
                <a:gd name="connsiteY105" fmla="*/ 391085 h 736405"/>
                <a:gd name="connsiteX106" fmla="*/ 75294 w 662496"/>
                <a:gd name="connsiteY106" fmla="*/ 392179 h 736405"/>
                <a:gd name="connsiteX107" fmla="*/ 83565 w 662496"/>
                <a:gd name="connsiteY107" fmla="*/ 399044 h 736405"/>
                <a:gd name="connsiteX108" fmla="*/ 75294 w 662496"/>
                <a:gd name="connsiteY108" fmla="*/ 391085 h 736405"/>
                <a:gd name="connsiteX109" fmla="*/ 70312 w 662496"/>
                <a:gd name="connsiteY109" fmla="*/ 381733 h 736405"/>
                <a:gd name="connsiteX110" fmla="*/ 73202 w 662496"/>
                <a:gd name="connsiteY110" fmla="*/ 385912 h 736405"/>
                <a:gd name="connsiteX111" fmla="*/ 72504 w 662496"/>
                <a:gd name="connsiteY111" fmla="*/ 383226 h 736405"/>
                <a:gd name="connsiteX112" fmla="*/ 69913 w 662496"/>
                <a:gd name="connsiteY112" fmla="*/ 381733 h 736405"/>
                <a:gd name="connsiteX113" fmla="*/ 58853 w 662496"/>
                <a:gd name="connsiteY113" fmla="*/ 120081 h 736405"/>
                <a:gd name="connsiteX114" fmla="*/ 66525 w 662496"/>
                <a:gd name="connsiteY114" fmla="*/ 119186 h 736405"/>
                <a:gd name="connsiteX115" fmla="*/ 58454 w 662496"/>
                <a:gd name="connsiteY115" fmla="*/ 120081 h 736405"/>
                <a:gd name="connsiteX116" fmla="*/ 62540 w 662496"/>
                <a:gd name="connsiteY116" fmla="*/ 379246 h 736405"/>
                <a:gd name="connsiteX117" fmla="*/ 59949 w 662496"/>
                <a:gd name="connsiteY117" fmla="*/ 379246 h 736405"/>
                <a:gd name="connsiteX118" fmla="*/ 65330 w 662496"/>
                <a:gd name="connsiteY118" fmla="*/ 379246 h 736405"/>
                <a:gd name="connsiteX119" fmla="*/ 62141 w 662496"/>
                <a:gd name="connsiteY119" fmla="*/ 379246 h 736405"/>
                <a:gd name="connsiteX120" fmla="*/ 31850 w 662496"/>
                <a:gd name="connsiteY120" fmla="*/ 134806 h 736405"/>
                <a:gd name="connsiteX121" fmla="*/ 24775 w 662496"/>
                <a:gd name="connsiteY121" fmla="*/ 140476 h 736405"/>
                <a:gd name="connsiteX122" fmla="*/ 31451 w 662496"/>
                <a:gd name="connsiteY122" fmla="*/ 134806 h 736405"/>
                <a:gd name="connsiteX123" fmla="*/ 15508 w 662496"/>
                <a:gd name="connsiteY123" fmla="*/ 255384 h 736405"/>
                <a:gd name="connsiteX124" fmla="*/ 20590 w 662496"/>
                <a:gd name="connsiteY124" fmla="*/ 245435 h 736405"/>
                <a:gd name="connsiteX125" fmla="*/ 17102 w 662496"/>
                <a:gd name="connsiteY125" fmla="*/ 248918 h 736405"/>
                <a:gd name="connsiteX126" fmla="*/ 15508 w 662496"/>
                <a:gd name="connsiteY126" fmla="*/ 255384 h 736405"/>
                <a:gd name="connsiteX127" fmla="*/ 23280 w 662496"/>
                <a:gd name="connsiteY127" fmla="*/ 212207 h 736405"/>
                <a:gd name="connsiteX128" fmla="*/ 18298 w 662496"/>
                <a:gd name="connsiteY128" fmla="*/ 205044 h 736405"/>
                <a:gd name="connsiteX129" fmla="*/ 23479 w 662496"/>
                <a:gd name="connsiteY129" fmla="*/ 212207 h 736405"/>
                <a:gd name="connsiteX130" fmla="*/ 16205 w 662496"/>
                <a:gd name="connsiteY130" fmla="*/ 283141 h 736405"/>
                <a:gd name="connsiteX131" fmla="*/ 11721 w 662496"/>
                <a:gd name="connsiteY131" fmla="*/ 289210 h 736405"/>
                <a:gd name="connsiteX132" fmla="*/ 16405 w 662496"/>
                <a:gd name="connsiteY132" fmla="*/ 283241 h 736405"/>
                <a:gd name="connsiteX133" fmla="*/ 1558 w 662496"/>
                <a:gd name="connsiteY133" fmla="*/ 197085 h 736405"/>
                <a:gd name="connsiteX134" fmla="*/ 63 w 662496"/>
                <a:gd name="connsiteY134" fmla="*/ 189126 h 736405"/>
                <a:gd name="connsiteX135" fmla="*/ 1757 w 662496"/>
                <a:gd name="connsiteY135" fmla="*/ 197085 h 736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</a:cxnLst>
              <a:rect l="l" t="t" r="r" b="b"/>
              <a:pathLst>
                <a:path w="662496" h="736405">
                  <a:moveTo>
                    <a:pt x="655422" y="278366"/>
                  </a:moveTo>
                  <a:cubicBezTo>
                    <a:pt x="656946" y="281092"/>
                    <a:pt x="659487" y="283092"/>
                    <a:pt x="662497" y="283937"/>
                  </a:cubicBezTo>
                  <a:cubicBezTo>
                    <a:pt x="659767" y="282604"/>
                    <a:pt x="657355" y="280704"/>
                    <a:pt x="655422" y="278366"/>
                  </a:cubicBezTo>
                  <a:close/>
                  <a:moveTo>
                    <a:pt x="648646" y="264239"/>
                  </a:moveTo>
                  <a:cubicBezTo>
                    <a:pt x="647739" y="268328"/>
                    <a:pt x="649493" y="272536"/>
                    <a:pt x="653030" y="274784"/>
                  </a:cubicBezTo>
                  <a:cubicBezTo>
                    <a:pt x="649723" y="272357"/>
                    <a:pt x="648029" y="268298"/>
                    <a:pt x="648646" y="264239"/>
                  </a:cubicBezTo>
                  <a:close/>
                  <a:moveTo>
                    <a:pt x="632105" y="237974"/>
                  </a:moveTo>
                  <a:cubicBezTo>
                    <a:pt x="635294" y="237974"/>
                    <a:pt x="638881" y="237974"/>
                    <a:pt x="642070" y="237974"/>
                  </a:cubicBezTo>
                  <a:cubicBezTo>
                    <a:pt x="638881" y="237974"/>
                    <a:pt x="634497" y="238074"/>
                    <a:pt x="632105" y="237974"/>
                  </a:cubicBezTo>
                  <a:close/>
                  <a:moveTo>
                    <a:pt x="615066" y="160374"/>
                  </a:moveTo>
                  <a:cubicBezTo>
                    <a:pt x="616143" y="160841"/>
                    <a:pt x="617099" y="161558"/>
                    <a:pt x="617856" y="162463"/>
                  </a:cubicBezTo>
                  <a:cubicBezTo>
                    <a:pt x="617119" y="161538"/>
                    <a:pt x="616163" y="160822"/>
                    <a:pt x="615066" y="160374"/>
                  </a:cubicBezTo>
                  <a:close/>
                  <a:moveTo>
                    <a:pt x="605102" y="144456"/>
                  </a:moveTo>
                  <a:cubicBezTo>
                    <a:pt x="604095" y="142267"/>
                    <a:pt x="602750" y="140257"/>
                    <a:pt x="601116" y="138486"/>
                  </a:cubicBezTo>
                  <a:cubicBezTo>
                    <a:pt x="602750" y="140277"/>
                    <a:pt x="604126" y="142287"/>
                    <a:pt x="605201" y="144456"/>
                  </a:cubicBezTo>
                  <a:close/>
                  <a:moveTo>
                    <a:pt x="599123" y="153609"/>
                  </a:moveTo>
                  <a:cubicBezTo>
                    <a:pt x="598485" y="155071"/>
                    <a:pt x="598894" y="156772"/>
                    <a:pt x="600119" y="157787"/>
                  </a:cubicBezTo>
                  <a:cubicBezTo>
                    <a:pt x="599163" y="156732"/>
                    <a:pt x="598824" y="155270"/>
                    <a:pt x="599223" y="153907"/>
                  </a:cubicBezTo>
                  <a:close/>
                  <a:moveTo>
                    <a:pt x="579194" y="129135"/>
                  </a:moveTo>
                  <a:cubicBezTo>
                    <a:pt x="583728" y="128627"/>
                    <a:pt x="588312" y="129503"/>
                    <a:pt x="592348" y="131622"/>
                  </a:cubicBezTo>
                  <a:cubicBezTo>
                    <a:pt x="588272" y="129413"/>
                    <a:pt x="583599" y="128538"/>
                    <a:pt x="578995" y="129135"/>
                  </a:cubicBezTo>
                  <a:close/>
                  <a:moveTo>
                    <a:pt x="563550" y="125553"/>
                  </a:moveTo>
                  <a:cubicBezTo>
                    <a:pt x="558707" y="122340"/>
                    <a:pt x="553237" y="120171"/>
                    <a:pt x="547508" y="119186"/>
                  </a:cubicBezTo>
                  <a:cubicBezTo>
                    <a:pt x="553097" y="120629"/>
                    <a:pt x="558488" y="122767"/>
                    <a:pt x="563550" y="125553"/>
                  </a:cubicBezTo>
                  <a:close/>
                  <a:moveTo>
                    <a:pt x="537643" y="123563"/>
                  </a:moveTo>
                  <a:lnTo>
                    <a:pt x="538839" y="121474"/>
                  </a:lnTo>
                  <a:lnTo>
                    <a:pt x="533657" y="124061"/>
                  </a:lnTo>
                  <a:cubicBezTo>
                    <a:pt x="534882" y="124459"/>
                    <a:pt x="536218" y="124459"/>
                    <a:pt x="537444" y="124061"/>
                  </a:cubicBezTo>
                  <a:close/>
                  <a:moveTo>
                    <a:pt x="520504" y="117992"/>
                  </a:moveTo>
                  <a:cubicBezTo>
                    <a:pt x="518780" y="117893"/>
                    <a:pt x="517046" y="117893"/>
                    <a:pt x="515322" y="117992"/>
                  </a:cubicBezTo>
                  <a:cubicBezTo>
                    <a:pt x="516947" y="118450"/>
                    <a:pt x="518681" y="118450"/>
                    <a:pt x="520304" y="117992"/>
                  </a:cubicBezTo>
                  <a:close/>
                  <a:moveTo>
                    <a:pt x="509543" y="116301"/>
                  </a:moveTo>
                  <a:cubicBezTo>
                    <a:pt x="505019" y="112968"/>
                    <a:pt x="500296" y="109904"/>
                    <a:pt x="495393" y="107148"/>
                  </a:cubicBezTo>
                  <a:cubicBezTo>
                    <a:pt x="499857" y="110481"/>
                    <a:pt x="504511" y="113535"/>
                    <a:pt x="509344" y="116301"/>
                  </a:cubicBezTo>
                  <a:close/>
                  <a:moveTo>
                    <a:pt x="506255" y="736406"/>
                  </a:moveTo>
                  <a:lnTo>
                    <a:pt x="371735" y="735312"/>
                  </a:lnTo>
                  <a:close/>
                  <a:moveTo>
                    <a:pt x="344632" y="49943"/>
                  </a:moveTo>
                  <a:cubicBezTo>
                    <a:pt x="343257" y="44978"/>
                    <a:pt x="341214" y="40223"/>
                    <a:pt x="338554" y="35816"/>
                  </a:cubicBezTo>
                  <a:cubicBezTo>
                    <a:pt x="340348" y="39894"/>
                    <a:pt x="342540" y="45167"/>
                    <a:pt x="344333" y="49943"/>
                  </a:cubicBezTo>
                  <a:close/>
                  <a:moveTo>
                    <a:pt x="333572" y="30045"/>
                  </a:moveTo>
                  <a:cubicBezTo>
                    <a:pt x="332306" y="29030"/>
                    <a:pt x="330792" y="28384"/>
                    <a:pt x="329187" y="28155"/>
                  </a:cubicBezTo>
                  <a:cubicBezTo>
                    <a:pt x="330523" y="28981"/>
                    <a:pt x="331928" y="29717"/>
                    <a:pt x="333372" y="30344"/>
                  </a:cubicBezTo>
                  <a:close/>
                  <a:moveTo>
                    <a:pt x="323009" y="23777"/>
                  </a:moveTo>
                  <a:cubicBezTo>
                    <a:pt x="323986" y="24772"/>
                    <a:pt x="325052" y="25678"/>
                    <a:pt x="326198" y="26464"/>
                  </a:cubicBezTo>
                  <a:cubicBezTo>
                    <a:pt x="325281" y="25519"/>
                    <a:pt x="324095" y="24862"/>
                    <a:pt x="322810" y="24573"/>
                  </a:cubicBezTo>
                  <a:close/>
                  <a:moveTo>
                    <a:pt x="319821" y="22783"/>
                  </a:moveTo>
                  <a:cubicBezTo>
                    <a:pt x="318426" y="22862"/>
                    <a:pt x="317071" y="23240"/>
                    <a:pt x="315835" y="23877"/>
                  </a:cubicBezTo>
                  <a:cubicBezTo>
                    <a:pt x="317150" y="24006"/>
                    <a:pt x="318476" y="23728"/>
                    <a:pt x="319621" y="23081"/>
                  </a:cubicBezTo>
                  <a:close/>
                  <a:moveTo>
                    <a:pt x="313443" y="22783"/>
                  </a:moveTo>
                  <a:cubicBezTo>
                    <a:pt x="313025" y="21678"/>
                    <a:pt x="312457" y="20644"/>
                    <a:pt x="311750" y="19698"/>
                  </a:cubicBezTo>
                  <a:cubicBezTo>
                    <a:pt x="311750" y="20982"/>
                    <a:pt x="312288" y="22216"/>
                    <a:pt x="313244" y="23081"/>
                  </a:cubicBezTo>
                  <a:close/>
                  <a:moveTo>
                    <a:pt x="307166" y="734416"/>
                  </a:moveTo>
                  <a:cubicBezTo>
                    <a:pt x="300390" y="734416"/>
                    <a:pt x="293714" y="734416"/>
                    <a:pt x="287237" y="734416"/>
                  </a:cubicBezTo>
                  <a:cubicBezTo>
                    <a:pt x="293774" y="735332"/>
                    <a:pt x="300400" y="735431"/>
                    <a:pt x="306967" y="734715"/>
                  </a:cubicBezTo>
                  <a:close/>
                  <a:moveTo>
                    <a:pt x="273486" y="714519"/>
                  </a:moveTo>
                  <a:cubicBezTo>
                    <a:pt x="281956" y="722577"/>
                    <a:pt x="279764" y="728348"/>
                    <a:pt x="281956" y="731531"/>
                  </a:cubicBezTo>
                  <a:cubicBezTo>
                    <a:pt x="281478" y="725035"/>
                    <a:pt x="278339" y="719025"/>
                    <a:pt x="273287" y="714917"/>
                  </a:cubicBezTo>
                  <a:close/>
                  <a:moveTo>
                    <a:pt x="264618" y="711037"/>
                  </a:moveTo>
                  <a:cubicBezTo>
                    <a:pt x="255251" y="708539"/>
                    <a:pt x="246194" y="705008"/>
                    <a:pt x="237614" y="700491"/>
                  </a:cubicBezTo>
                  <a:cubicBezTo>
                    <a:pt x="245795" y="705824"/>
                    <a:pt x="254982" y="709415"/>
                    <a:pt x="264618" y="711037"/>
                  </a:cubicBezTo>
                  <a:close/>
                  <a:moveTo>
                    <a:pt x="228248" y="609759"/>
                  </a:moveTo>
                  <a:lnTo>
                    <a:pt x="230340" y="607570"/>
                  </a:lnTo>
                  <a:cubicBezTo>
                    <a:pt x="229713" y="605431"/>
                    <a:pt x="228666" y="603431"/>
                    <a:pt x="227251" y="601700"/>
                  </a:cubicBezTo>
                  <a:cubicBezTo>
                    <a:pt x="228647" y="603958"/>
                    <a:pt x="229075" y="606684"/>
                    <a:pt x="228447" y="609261"/>
                  </a:cubicBezTo>
                  <a:close/>
                  <a:moveTo>
                    <a:pt x="218284" y="655324"/>
                  </a:moveTo>
                  <a:cubicBezTo>
                    <a:pt x="217157" y="652936"/>
                    <a:pt x="216291" y="650439"/>
                    <a:pt x="215693" y="647862"/>
                  </a:cubicBezTo>
                  <a:cubicBezTo>
                    <a:pt x="216669" y="654607"/>
                    <a:pt x="218194" y="661263"/>
                    <a:pt x="220276" y="667760"/>
                  </a:cubicBezTo>
                  <a:cubicBezTo>
                    <a:pt x="222967" y="673629"/>
                    <a:pt x="224860" y="678305"/>
                    <a:pt x="226554" y="682285"/>
                  </a:cubicBezTo>
                  <a:cubicBezTo>
                    <a:pt x="225876" y="679847"/>
                    <a:pt x="225438" y="677350"/>
                    <a:pt x="225258" y="674823"/>
                  </a:cubicBezTo>
                  <a:cubicBezTo>
                    <a:pt x="220804" y="669123"/>
                    <a:pt x="218443" y="662059"/>
                    <a:pt x="218582" y="654826"/>
                  </a:cubicBezTo>
                  <a:close/>
                  <a:moveTo>
                    <a:pt x="220575" y="620006"/>
                  </a:moveTo>
                  <a:cubicBezTo>
                    <a:pt x="218204" y="623329"/>
                    <a:pt x="216610" y="627129"/>
                    <a:pt x="215892" y="631148"/>
                  </a:cubicBezTo>
                  <a:cubicBezTo>
                    <a:pt x="216978" y="627049"/>
                    <a:pt x="218652" y="623130"/>
                    <a:pt x="220874" y="619508"/>
                  </a:cubicBezTo>
                  <a:close/>
                  <a:moveTo>
                    <a:pt x="219878" y="594338"/>
                  </a:moveTo>
                  <a:cubicBezTo>
                    <a:pt x="217586" y="592249"/>
                    <a:pt x="215095" y="590458"/>
                    <a:pt x="213002" y="588568"/>
                  </a:cubicBezTo>
                  <a:cubicBezTo>
                    <a:pt x="215005" y="590796"/>
                    <a:pt x="217446" y="592587"/>
                    <a:pt x="220177" y="593841"/>
                  </a:cubicBezTo>
                  <a:close/>
                  <a:moveTo>
                    <a:pt x="209415" y="559716"/>
                  </a:moveTo>
                  <a:cubicBezTo>
                    <a:pt x="209515" y="561437"/>
                    <a:pt x="209515" y="563168"/>
                    <a:pt x="209415" y="564890"/>
                  </a:cubicBezTo>
                  <a:lnTo>
                    <a:pt x="209415" y="566979"/>
                  </a:lnTo>
                  <a:cubicBezTo>
                    <a:pt x="209634" y="566253"/>
                    <a:pt x="209933" y="565546"/>
                    <a:pt x="210312" y="564890"/>
                  </a:cubicBezTo>
                  <a:cubicBezTo>
                    <a:pt x="210272" y="562989"/>
                    <a:pt x="210073" y="561089"/>
                    <a:pt x="209714" y="559219"/>
                  </a:cubicBezTo>
                  <a:close/>
                  <a:moveTo>
                    <a:pt x="211209" y="579614"/>
                  </a:moveTo>
                  <a:cubicBezTo>
                    <a:pt x="211209" y="577823"/>
                    <a:pt x="210113" y="575933"/>
                    <a:pt x="209615" y="574042"/>
                  </a:cubicBezTo>
                  <a:cubicBezTo>
                    <a:pt x="209933" y="575893"/>
                    <a:pt x="210571" y="577684"/>
                    <a:pt x="211508" y="579315"/>
                  </a:cubicBezTo>
                  <a:close/>
                  <a:moveTo>
                    <a:pt x="204134" y="533352"/>
                  </a:moveTo>
                  <a:cubicBezTo>
                    <a:pt x="205320" y="529621"/>
                    <a:pt x="205828" y="525721"/>
                    <a:pt x="205629" y="521812"/>
                  </a:cubicBezTo>
                  <a:cubicBezTo>
                    <a:pt x="205330" y="525294"/>
                    <a:pt x="204832" y="529174"/>
                    <a:pt x="204832" y="533054"/>
                  </a:cubicBezTo>
                  <a:close/>
                  <a:moveTo>
                    <a:pt x="207223" y="551857"/>
                  </a:moveTo>
                  <a:cubicBezTo>
                    <a:pt x="205948" y="548206"/>
                    <a:pt x="204881" y="544485"/>
                    <a:pt x="204034" y="540714"/>
                  </a:cubicBezTo>
                  <a:cubicBezTo>
                    <a:pt x="204373" y="544634"/>
                    <a:pt x="205569" y="548434"/>
                    <a:pt x="207522" y="551857"/>
                  </a:cubicBezTo>
                  <a:close/>
                  <a:moveTo>
                    <a:pt x="202540" y="507585"/>
                  </a:moveTo>
                  <a:cubicBezTo>
                    <a:pt x="200378" y="502372"/>
                    <a:pt x="197348" y="497557"/>
                    <a:pt x="193572" y="493358"/>
                  </a:cubicBezTo>
                  <a:cubicBezTo>
                    <a:pt x="197069" y="497716"/>
                    <a:pt x="200168" y="502382"/>
                    <a:pt x="202839" y="507286"/>
                  </a:cubicBezTo>
                  <a:close/>
                  <a:moveTo>
                    <a:pt x="191878" y="490871"/>
                  </a:moveTo>
                  <a:cubicBezTo>
                    <a:pt x="190224" y="487548"/>
                    <a:pt x="188042" y="484524"/>
                    <a:pt x="185401" y="481917"/>
                  </a:cubicBezTo>
                  <a:close/>
                  <a:moveTo>
                    <a:pt x="177927" y="476047"/>
                  </a:moveTo>
                  <a:cubicBezTo>
                    <a:pt x="174869" y="474346"/>
                    <a:pt x="171461" y="473391"/>
                    <a:pt x="167963" y="473262"/>
                  </a:cubicBezTo>
                  <a:cubicBezTo>
                    <a:pt x="171750" y="474157"/>
                    <a:pt x="174938" y="474953"/>
                    <a:pt x="178226" y="475749"/>
                  </a:cubicBezTo>
                  <a:close/>
                  <a:moveTo>
                    <a:pt x="115152" y="413967"/>
                  </a:moveTo>
                  <a:cubicBezTo>
                    <a:pt x="118440" y="417608"/>
                    <a:pt x="120832" y="421976"/>
                    <a:pt x="122127" y="426702"/>
                  </a:cubicBezTo>
                  <a:cubicBezTo>
                    <a:pt x="121738" y="425170"/>
                    <a:pt x="121539" y="423598"/>
                    <a:pt x="121529" y="422026"/>
                  </a:cubicBezTo>
                  <a:cubicBezTo>
                    <a:pt x="120144" y="418832"/>
                    <a:pt x="117952" y="416046"/>
                    <a:pt x="115152" y="413967"/>
                  </a:cubicBezTo>
                  <a:close/>
                  <a:moveTo>
                    <a:pt x="75294" y="1194"/>
                  </a:moveTo>
                  <a:cubicBezTo>
                    <a:pt x="78592" y="2617"/>
                    <a:pt x="82399" y="2159"/>
                    <a:pt x="85259" y="0"/>
                  </a:cubicBezTo>
                  <a:cubicBezTo>
                    <a:pt x="82399" y="2159"/>
                    <a:pt x="78592" y="2617"/>
                    <a:pt x="75294" y="1194"/>
                  </a:cubicBezTo>
                  <a:close/>
                  <a:moveTo>
                    <a:pt x="75294" y="391085"/>
                  </a:moveTo>
                  <a:cubicBezTo>
                    <a:pt x="75324" y="391453"/>
                    <a:pt x="75324" y="391811"/>
                    <a:pt x="75294" y="392179"/>
                  </a:cubicBezTo>
                  <a:cubicBezTo>
                    <a:pt x="77496" y="395065"/>
                    <a:pt x="80326" y="397412"/>
                    <a:pt x="83565" y="399044"/>
                  </a:cubicBezTo>
                  <a:cubicBezTo>
                    <a:pt x="80167" y="397154"/>
                    <a:pt x="77307" y="394408"/>
                    <a:pt x="75294" y="391085"/>
                  </a:cubicBezTo>
                  <a:close/>
                  <a:moveTo>
                    <a:pt x="70312" y="381733"/>
                  </a:moveTo>
                  <a:cubicBezTo>
                    <a:pt x="71488" y="382967"/>
                    <a:pt x="72464" y="384380"/>
                    <a:pt x="73202" y="385912"/>
                  </a:cubicBezTo>
                  <a:cubicBezTo>
                    <a:pt x="72833" y="385056"/>
                    <a:pt x="72594" y="384151"/>
                    <a:pt x="72504" y="383226"/>
                  </a:cubicBezTo>
                  <a:cubicBezTo>
                    <a:pt x="71508" y="382728"/>
                    <a:pt x="70810" y="382728"/>
                    <a:pt x="69913" y="381733"/>
                  </a:cubicBezTo>
                  <a:close/>
                  <a:moveTo>
                    <a:pt x="58853" y="120081"/>
                  </a:moveTo>
                  <a:cubicBezTo>
                    <a:pt x="61284" y="119086"/>
                    <a:pt x="63935" y="118778"/>
                    <a:pt x="66525" y="119186"/>
                  </a:cubicBezTo>
                  <a:cubicBezTo>
                    <a:pt x="63815" y="118539"/>
                    <a:pt x="60955" y="118848"/>
                    <a:pt x="58454" y="120081"/>
                  </a:cubicBezTo>
                  <a:close/>
                  <a:moveTo>
                    <a:pt x="62540" y="379246"/>
                  </a:moveTo>
                  <a:lnTo>
                    <a:pt x="59949" y="379246"/>
                  </a:lnTo>
                  <a:cubicBezTo>
                    <a:pt x="61733" y="379485"/>
                    <a:pt x="63546" y="379485"/>
                    <a:pt x="65330" y="379246"/>
                  </a:cubicBezTo>
                  <a:cubicBezTo>
                    <a:pt x="64274" y="379047"/>
                    <a:pt x="63198" y="379047"/>
                    <a:pt x="62141" y="379246"/>
                  </a:cubicBezTo>
                  <a:close/>
                  <a:moveTo>
                    <a:pt x="31850" y="134806"/>
                  </a:moveTo>
                  <a:cubicBezTo>
                    <a:pt x="29368" y="136537"/>
                    <a:pt x="27007" y="138427"/>
                    <a:pt x="24775" y="140476"/>
                  </a:cubicBezTo>
                  <a:cubicBezTo>
                    <a:pt x="26877" y="138447"/>
                    <a:pt x="29109" y="136547"/>
                    <a:pt x="31451" y="134806"/>
                  </a:cubicBezTo>
                  <a:close/>
                  <a:moveTo>
                    <a:pt x="15508" y="255384"/>
                  </a:moveTo>
                  <a:cubicBezTo>
                    <a:pt x="16693" y="251833"/>
                    <a:pt x="18407" y="248480"/>
                    <a:pt x="20590" y="245435"/>
                  </a:cubicBezTo>
                  <a:cubicBezTo>
                    <a:pt x="19533" y="246689"/>
                    <a:pt x="18358" y="247863"/>
                    <a:pt x="17102" y="248918"/>
                  </a:cubicBezTo>
                  <a:cubicBezTo>
                    <a:pt x="16285" y="250987"/>
                    <a:pt x="15747" y="253166"/>
                    <a:pt x="15508" y="255384"/>
                  </a:cubicBezTo>
                  <a:close/>
                  <a:moveTo>
                    <a:pt x="23280" y="212207"/>
                  </a:moveTo>
                  <a:cubicBezTo>
                    <a:pt x="22174" y="209481"/>
                    <a:pt x="20470" y="207033"/>
                    <a:pt x="18298" y="205044"/>
                  </a:cubicBezTo>
                  <a:cubicBezTo>
                    <a:pt x="20390" y="207531"/>
                    <a:pt x="22084" y="210018"/>
                    <a:pt x="23479" y="212207"/>
                  </a:cubicBezTo>
                  <a:close/>
                  <a:moveTo>
                    <a:pt x="16205" y="283141"/>
                  </a:moveTo>
                  <a:cubicBezTo>
                    <a:pt x="14711" y="285429"/>
                    <a:pt x="12618" y="288116"/>
                    <a:pt x="11721" y="289210"/>
                  </a:cubicBezTo>
                  <a:cubicBezTo>
                    <a:pt x="13824" y="287708"/>
                    <a:pt x="15448" y="285638"/>
                    <a:pt x="16405" y="283241"/>
                  </a:cubicBezTo>
                  <a:close/>
                  <a:moveTo>
                    <a:pt x="1558" y="197085"/>
                  </a:moveTo>
                  <a:cubicBezTo>
                    <a:pt x="422" y="194588"/>
                    <a:pt x="-87" y="191862"/>
                    <a:pt x="63" y="189126"/>
                  </a:cubicBezTo>
                  <a:cubicBezTo>
                    <a:pt x="-206" y="191891"/>
                    <a:pt x="392" y="194667"/>
                    <a:pt x="1757" y="19708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500" name="Graphic 231">
              <a:extLst>
                <a:ext uri="{FF2B5EF4-FFF2-40B4-BE49-F238E27FC236}">
                  <a16:creationId xmlns:a16="http://schemas.microsoft.com/office/drawing/2014/main" id="{E713FAB7-5F13-49B4-BC1C-248CA65B1A76}"/>
                </a:ext>
              </a:extLst>
            </p:cNvPr>
            <p:cNvGrpSpPr/>
            <p:nvPr/>
          </p:nvGrpSpPr>
          <p:grpSpPr>
            <a:xfrm>
              <a:off x="-2039782" y="961880"/>
              <a:ext cx="877366" cy="373575"/>
              <a:chOff x="-2039782" y="961880"/>
              <a:chExt cx="877366" cy="373575"/>
            </a:xfrm>
            <a:solidFill>
              <a:srgbClr val="ECE8E4"/>
            </a:solidFill>
          </p:grpSpPr>
          <p:sp>
            <p:nvSpPr>
              <p:cNvPr id="2468" name="Freeform: Shape 2467">
                <a:extLst>
                  <a:ext uri="{FF2B5EF4-FFF2-40B4-BE49-F238E27FC236}">
                    <a16:creationId xmlns:a16="http://schemas.microsoft.com/office/drawing/2014/main" id="{B187E0D8-5D35-496C-8E71-F2BE00CA3704}"/>
                  </a:ext>
                </a:extLst>
              </p:cNvPr>
              <p:cNvSpPr/>
              <p:nvPr/>
            </p:nvSpPr>
            <p:spPr>
              <a:xfrm>
                <a:off x="-2039782" y="961880"/>
                <a:ext cx="2889" cy="7262"/>
              </a:xfrm>
              <a:custGeom>
                <a:avLst/>
                <a:gdLst>
                  <a:gd name="connsiteX0" fmla="*/ 0 w 2889"/>
                  <a:gd name="connsiteY0" fmla="*/ 0 h 7262"/>
                  <a:gd name="connsiteX1" fmla="*/ 2890 w 2889"/>
                  <a:gd name="connsiteY1" fmla="*/ 3681 h 7262"/>
                  <a:gd name="connsiteX2" fmla="*/ 2890 w 2889"/>
                  <a:gd name="connsiteY2" fmla="*/ 7263 h 7262"/>
                  <a:gd name="connsiteX3" fmla="*/ 0 w 2889"/>
                  <a:gd name="connsiteY3" fmla="*/ 0 h 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" h="7262">
                    <a:moveTo>
                      <a:pt x="0" y="0"/>
                    </a:moveTo>
                    <a:cubicBezTo>
                      <a:pt x="1094" y="1114"/>
                      <a:pt x="2064" y="2348"/>
                      <a:pt x="2890" y="3681"/>
                    </a:cubicBezTo>
                    <a:cubicBezTo>
                      <a:pt x="2740" y="4875"/>
                      <a:pt x="2740" y="6069"/>
                      <a:pt x="2890" y="7263"/>
                    </a:cubicBezTo>
                    <a:cubicBezTo>
                      <a:pt x="2271" y="4716"/>
                      <a:pt x="1298" y="227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69" name="Freeform: Shape 2468">
                <a:extLst>
                  <a:ext uri="{FF2B5EF4-FFF2-40B4-BE49-F238E27FC236}">
                    <a16:creationId xmlns:a16="http://schemas.microsoft.com/office/drawing/2014/main" id="{F3D5F2E3-8A63-43C7-A1F7-82A61C2867DC}"/>
                  </a:ext>
                </a:extLst>
              </p:cNvPr>
              <p:cNvSpPr/>
              <p:nvPr/>
            </p:nvSpPr>
            <p:spPr>
              <a:xfrm>
                <a:off x="-2035099" y="975012"/>
                <a:ext cx="3487" cy="4078"/>
              </a:xfrm>
              <a:custGeom>
                <a:avLst/>
                <a:gdLst>
                  <a:gd name="connsiteX0" fmla="*/ 0 w 3487"/>
                  <a:gd name="connsiteY0" fmla="*/ 0 h 4078"/>
                  <a:gd name="connsiteX1" fmla="*/ 3488 w 3487"/>
                  <a:gd name="connsiteY1" fmla="*/ 4079 h 4078"/>
                  <a:gd name="connsiteX2" fmla="*/ 0 w 3487"/>
                  <a:gd name="connsiteY2" fmla="*/ 0 h 4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87" h="4078">
                    <a:moveTo>
                      <a:pt x="0" y="0"/>
                    </a:moveTo>
                    <a:cubicBezTo>
                      <a:pt x="915" y="1552"/>
                      <a:pt x="2095" y="2935"/>
                      <a:pt x="3488" y="4079"/>
                    </a:cubicBezTo>
                    <a:cubicBezTo>
                      <a:pt x="1973" y="3064"/>
                      <a:pt x="766" y="165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0" name="Freeform: Shape 2469">
                <a:extLst>
                  <a:ext uri="{FF2B5EF4-FFF2-40B4-BE49-F238E27FC236}">
                    <a16:creationId xmlns:a16="http://schemas.microsoft.com/office/drawing/2014/main" id="{D9300AC6-B5B4-4D07-B642-1AA74A3D4425}"/>
                  </a:ext>
                </a:extLst>
              </p:cNvPr>
              <p:cNvSpPr/>
              <p:nvPr/>
            </p:nvSpPr>
            <p:spPr>
              <a:xfrm>
                <a:off x="-2016963" y="973102"/>
                <a:ext cx="19928" cy="5790"/>
              </a:xfrm>
              <a:custGeom>
                <a:avLst/>
                <a:gdLst>
                  <a:gd name="connsiteX0" fmla="*/ 18932 w 19928"/>
                  <a:gd name="connsiteY0" fmla="*/ 418 h 5790"/>
                  <a:gd name="connsiteX1" fmla="*/ 19929 w 19928"/>
                  <a:gd name="connsiteY1" fmla="*/ 1015 h 5790"/>
                  <a:gd name="connsiteX2" fmla="*/ 0 w 19928"/>
                  <a:gd name="connsiteY2" fmla="*/ 5790 h 5790"/>
                  <a:gd name="connsiteX3" fmla="*/ 18932 w 19928"/>
                  <a:gd name="connsiteY3" fmla="*/ 418 h 5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28" h="5790">
                    <a:moveTo>
                      <a:pt x="18932" y="418"/>
                    </a:moveTo>
                    <a:cubicBezTo>
                      <a:pt x="19285" y="577"/>
                      <a:pt x="19620" y="776"/>
                      <a:pt x="19929" y="1015"/>
                    </a:cubicBezTo>
                    <a:cubicBezTo>
                      <a:pt x="12754" y="-1274"/>
                      <a:pt x="8669" y="3203"/>
                      <a:pt x="0" y="5790"/>
                    </a:cubicBezTo>
                    <a:cubicBezTo>
                      <a:pt x="6377" y="3004"/>
                      <a:pt x="12057" y="-1373"/>
                      <a:pt x="18932" y="41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1" name="Freeform: Shape 2470">
                <a:extLst>
                  <a:ext uri="{FF2B5EF4-FFF2-40B4-BE49-F238E27FC236}">
                    <a16:creationId xmlns:a16="http://schemas.microsoft.com/office/drawing/2014/main" id="{9BB684AC-A598-4B8B-AED8-62D31718D0A3}"/>
                  </a:ext>
                </a:extLst>
              </p:cNvPr>
              <p:cNvSpPr/>
              <p:nvPr/>
            </p:nvSpPr>
            <p:spPr>
              <a:xfrm>
                <a:off x="-1985376" y="980981"/>
                <a:ext cx="7971" cy="6864"/>
              </a:xfrm>
              <a:custGeom>
                <a:avLst/>
                <a:gdLst>
                  <a:gd name="connsiteX0" fmla="*/ 0 w 7971"/>
                  <a:gd name="connsiteY0" fmla="*/ 0 h 6864"/>
                  <a:gd name="connsiteX1" fmla="*/ 7971 w 7971"/>
                  <a:gd name="connsiteY1" fmla="*/ 6865 h 6864"/>
                  <a:gd name="connsiteX2" fmla="*/ 7274 w 7971"/>
                  <a:gd name="connsiteY2" fmla="*/ 6865 h 6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71" h="6864">
                    <a:moveTo>
                      <a:pt x="0" y="0"/>
                    </a:moveTo>
                    <a:cubicBezTo>
                      <a:pt x="2860" y="2040"/>
                      <a:pt x="5528" y="4338"/>
                      <a:pt x="7971" y="6865"/>
                    </a:cubicBezTo>
                    <a:lnTo>
                      <a:pt x="7274" y="6865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2" name="Freeform: Shape 2471">
                <a:extLst>
                  <a:ext uri="{FF2B5EF4-FFF2-40B4-BE49-F238E27FC236}">
                    <a16:creationId xmlns:a16="http://schemas.microsoft.com/office/drawing/2014/main" id="{7ACDD213-9A7A-480B-9729-D52DC918EF9E}"/>
                  </a:ext>
                </a:extLst>
              </p:cNvPr>
              <p:cNvSpPr/>
              <p:nvPr/>
            </p:nvSpPr>
            <p:spPr>
              <a:xfrm>
                <a:off x="-1966045" y="1001575"/>
                <a:ext cx="6875" cy="12734"/>
              </a:xfrm>
              <a:custGeom>
                <a:avLst/>
                <a:gdLst>
                  <a:gd name="connsiteX0" fmla="*/ 6875 w 6875"/>
                  <a:gd name="connsiteY0" fmla="*/ 12734 h 12734"/>
                  <a:gd name="connsiteX1" fmla="*/ 0 w 6875"/>
                  <a:gd name="connsiteY1" fmla="*/ 0 h 12734"/>
                  <a:gd name="connsiteX2" fmla="*/ 6875 w 6875"/>
                  <a:gd name="connsiteY2" fmla="*/ 12734 h 12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75" h="12734">
                    <a:moveTo>
                      <a:pt x="6875" y="12734"/>
                    </a:moveTo>
                    <a:cubicBezTo>
                      <a:pt x="4032" y="8815"/>
                      <a:pt x="1720" y="4527"/>
                      <a:pt x="0" y="0"/>
                    </a:cubicBezTo>
                    <a:cubicBezTo>
                      <a:pt x="2624" y="4059"/>
                      <a:pt x="4923" y="8317"/>
                      <a:pt x="6875" y="1273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3" name="Freeform: Shape 2472">
                <a:extLst>
                  <a:ext uri="{FF2B5EF4-FFF2-40B4-BE49-F238E27FC236}">
                    <a16:creationId xmlns:a16="http://schemas.microsoft.com/office/drawing/2014/main" id="{446A6428-5F33-4B61-85E6-7EE764EACB9B}"/>
                  </a:ext>
                </a:extLst>
              </p:cNvPr>
              <p:cNvSpPr/>
              <p:nvPr/>
            </p:nvSpPr>
            <p:spPr>
              <a:xfrm>
                <a:off x="-1958074" y="1038684"/>
                <a:ext cx="1096" cy="3780"/>
              </a:xfrm>
              <a:custGeom>
                <a:avLst/>
                <a:gdLst>
                  <a:gd name="connsiteX0" fmla="*/ 1096 w 1096"/>
                  <a:gd name="connsiteY0" fmla="*/ 0 h 3780"/>
                  <a:gd name="connsiteX1" fmla="*/ 1096 w 1096"/>
                  <a:gd name="connsiteY1" fmla="*/ 3781 h 3780"/>
                  <a:gd name="connsiteX2" fmla="*/ 0 w 1096"/>
                  <a:gd name="connsiteY2" fmla="*/ 2388 h 3780"/>
                  <a:gd name="connsiteX3" fmla="*/ 1096 w 1096"/>
                  <a:gd name="connsiteY3" fmla="*/ 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6" h="3780">
                    <a:moveTo>
                      <a:pt x="1096" y="0"/>
                    </a:moveTo>
                    <a:cubicBezTo>
                      <a:pt x="944" y="1254"/>
                      <a:pt x="944" y="2527"/>
                      <a:pt x="1096" y="3781"/>
                    </a:cubicBezTo>
                    <a:cubicBezTo>
                      <a:pt x="786" y="3273"/>
                      <a:pt x="419" y="2806"/>
                      <a:pt x="0" y="2388"/>
                    </a:cubicBezTo>
                    <a:cubicBezTo>
                      <a:pt x="452" y="1632"/>
                      <a:pt x="820" y="836"/>
                      <a:pt x="10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4" name="Freeform: Shape 2473">
                <a:extLst>
                  <a:ext uri="{FF2B5EF4-FFF2-40B4-BE49-F238E27FC236}">
                    <a16:creationId xmlns:a16="http://schemas.microsoft.com/office/drawing/2014/main" id="{7E160A0C-914E-4EFD-A02D-52FC11F12454}"/>
                  </a:ext>
                </a:extLst>
              </p:cNvPr>
              <p:cNvSpPr/>
              <p:nvPr/>
            </p:nvSpPr>
            <p:spPr>
              <a:xfrm>
                <a:off x="-1956978" y="1028735"/>
                <a:ext cx="1195" cy="4476"/>
              </a:xfrm>
              <a:custGeom>
                <a:avLst/>
                <a:gdLst>
                  <a:gd name="connsiteX0" fmla="*/ 498 w 1195"/>
                  <a:gd name="connsiteY0" fmla="*/ 4477 h 4476"/>
                  <a:gd name="connsiteX1" fmla="*/ 0 w 1195"/>
                  <a:gd name="connsiteY1" fmla="*/ 0 h 4476"/>
                  <a:gd name="connsiteX2" fmla="*/ 1196 w 1195"/>
                  <a:gd name="connsiteY2" fmla="*/ 3084 h 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5" h="4476">
                    <a:moveTo>
                      <a:pt x="498" y="4477"/>
                    </a:moveTo>
                    <a:cubicBezTo>
                      <a:pt x="424" y="2975"/>
                      <a:pt x="257" y="1482"/>
                      <a:pt x="0" y="0"/>
                    </a:cubicBezTo>
                    <a:cubicBezTo>
                      <a:pt x="0" y="1194"/>
                      <a:pt x="797" y="2089"/>
                      <a:pt x="1196" y="30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5" name="Freeform: Shape 2474">
                <a:extLst>
                  <a:ext uri="{FF2B5EF4-FFF2-40B4-BE49-F238E27FC236}">
                    <a16:creationId xmlns:a16="http://schemas.microsoft.com/office/drawing/2014/main" id="{AE826988-F883-4E99-88BB-E01BDB2AE524}"/>
                  </a:ext>
                </a:extLst>
              </p:cNvPr>
              <p:cNvSpPr/>
              <p:nvPr/>
            </p:nvSpPr>
            <p:spPr>
              <a:xfrm>
                <a:off x="-1953244" y="1048732"/>
                <a:ext cx="126" cy="3979"/>
              </a:xfrm>
              <a:custGeom>
                <a:avLst/>
                <a:gdLst>
                  <a:gd name="connsiteX0" fmla="*/ 52 w 126"/>
                  <a:gd name="connsiteY0" fmla="*/ 1393 h 3979"/>
                  <a:gd name="connsiteX1" fmla="*/ 52 w 126"/>
                  <a:gd name="connsiteY1" fmla="*/ 3980 h 3979"/>
                  <a:gd name="connsiteX2" fmla="*/ 52 w 126"/>
                  <a:gd name="connsiteY2" fmla="*/ 0 h 3979"/>
                  <a:gd name="connsiteX3" fmla="*/ 52 w 126"/>
                  <a:gd name="connsiteY3" fmla="*/ 1393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" h="3979">
                    <a:moveTo>
                      <a:pt x="52" y="1393"/>
                    </a:moveTo>
                    <a:cubicBezTo>
                      <a:pt x="52" y="2288"/>
                      <a:pt x="52" y="3184"/>
                      <a:pt x="52" y="3980"/>
                    </a:cubicBezTo>
                    <a:cubicBezTo>
                      <a:pt x="151" y="2656"/>
                      <a:pt x="151" y="1323"/>
                      <a:pt x="52" y="0"/>
                    </a:cubicBezTo>
                    <a:cubicBezTo>
                      <a:pt x="-17" y="458"/>
                      <a:pt x="-17" y="935"/>
                      <a:pt x="52" y="13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6" name="Freeform: Shape 2475">
                <a:extLst>
                  <a:ext uri="{FF2B5EF4-FFF2-40B4-BE49-F238E27FC236}">
                    <a16:creationId xmlns:a16="http://schemas.microsoft.com/office/drawing/2014/main" id="{CCB1E721-08E0-4DEE-B247-68F44BE1F957}"/>
                  </a:ext>
                </a:extLst>
              </p:cNvPr>
              <p:cNvSpPr/>
              <p:nvPr/>
            </p:nvSpPr>
            <p:spPr>
              <a:xfrm>
                <a:off x="-1953391" y="1064352"/>
                <a:ext cx="11160" cy="10645"/>
              </a:xfrm>
              <a:custGeom>
                <a:avLst/>
                <a:gdLst>
                  <a:gd name="connsiteX0" fmla="*/ 11160 w 11160"/>
                  <a:gd name="connsiteY0" fmla="*/ 10645 h 10645"/>
                  <a:gd name="connsiteX1" fmla="*/ 3189 w 11160"/>
                  <a:gd name="connsiteY1" fmla="*/ 6765 h 10645"/>
                  <a:gd name="connsiteX2" fmla="*/ 0 w 11160"/>
                  <a:gd name="connsiteY2" fmla="*/ 0 h 10645"/>
                  <a:gd name="connsiteX3" fmla="*/ 11160 w 11160"/>
                  <a:gd name="connsiteY3" fmla="*/ 10645 h 1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60" h="10645">
                    <a:moveTo>
                      <a:pt x="11160" y="10645"/>
                    </a:moveTo>
                    <a:cubicBezTo>
                      <a:pt x="8384" y="9611"/>
                      <a:pt x="5714" y="8317"/>
                      <a:pt x="3189" y="6765"/>
                    </a:cubicBezTo>
                    <a:cubicBezTo>
                      <a:pt x="1536" y="4835"/>
                      <a:pt x="435" y="2497"/>
                      <a:pt x="0" y="0"/>
                    </a:cubicBezTo>
                    <a:cubicBezTo>
                      <a:pt x="1993" y="5004"/>
                      <a:pt x="6066" y="8884"/>
                      <a:pt x="11160" y="1064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7" name="Freeform: Shape 2476">
                <a:extLst>
                  <a:ext uri="{FF2B5EF4-FFF2-40B4-BE49-F238E27FC236}">
                    <a16:creationId xmlns:a16="http://schemas.microsoft.com/office/drawing/2014/main" id="{2159A784-6D31-40C9-B273-EE9255200C83}"/>
                  </a:ext>
                </a:extLst>
              </p:cNvPr>
              <p:cNvSpPr/>
              <p:nvPr/>
            </p:nvSpPr>
            <p:spPr>
              <a:xfrm>
                <a:off x="-1903867" y="1084747"/>
                <a:ext cx="2989" cy="1890"/>
              </a:xfrm>
              <a:custGeom>
                <a:avLst/>
                <a:gdLst>
                  <a:gd name="connsiteX0" fmla="*/ 0 w 2989"/>
                  <a:gd name="connsiteY0" fmla="*/ 0 h 1890"/>
                  <a:gd name="connsiteX1" fmla="*/ 2989 w 2989"/>
                  <a:gd name="connsiteY1" fmla="*/ 1890 h 1890"/>
                  <a:gd name="connsiteX2" fmla="*/ 0 w 2989"/>
                  <a:gd name="connsiteY2" fmla="*/ 0 h 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1890">
                    <a:moveTo>
                      <a:pt x="0" y="0"/>
                    </a:moveTo>
                    <a:cubicBezTo>
                      <a:pt x="1158" y="328"/>
                      <a:pt x="2195" y="985"/>
                      <a:pt x="2989" y="1890"/>
                    </a:cubicBezTo>
                    <a:cubicBezTo>
                      <a:pt x="1930" y="1363"/>
                      <a:pt x="929" y="73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8" name="Freeform: Shape 2477">
                <a:extLst>
                  <a:ext uri="{FF2B5EF4-FFF2-40B4-BE49-F238E27FC236}">
                    <a16:creationId xmlns:a16="http://schemas.microsoft.com/office/drawing/2014/main" id="{03A911A8-235D-4849-ADE1-F22A648FBDE1}"/>
                  </a:ext>
                </a:extLst>
              </p:cNvPr>
              <p:cNvSpPr/>
              <p:nvPr/>
            </p:nvSpPr>
            <p:spPr>
              <a:xfrm>
                <a:off x="-1893803" y="1087035"/>
                <a:ext cx="5879" cy="1598"/>
              </a:xfrm>
              <a:custGeom>
                <a:avLst/>
                <a:gdLst>
                  <a:gd name="connsiteX0" fmla="*/ 0 w 5879"/>
                  <a:gd name="connsiteY0" fmla="*/ 1393 h 1598"/>
                  <a:gd name="connsiteX1" fmla="*/ 5879 w 5879"/>
                  <a:gd name="connsiteY1" fmla="*/ 0 h 1598"/>
                  <a:gd name="connsiteX2" fmla="*/ 3388 w 5879"/>
                  <a:gd name="connsiteY2" fmla="*/ 1592 h 1598"/>
                  <a:gd name="connsiteX3" fmla="*/ 0 w 5879"/>
                  <a:gd name="connsiteY3" fmla="*/ 1393 h 1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79" h="1598">
                    <a:moveTo>
                      <a:pt x="0" y="1393"/>
                    </a:moveTo>
                    <a:cubicBezTo>
                      <a:pt x="2026" y="1273"/>
                      <a:pt x="4016" y="806"/>
                      <a:pt x="5879" y="0"/>
                    </a:cubicBezTo>
                    <a:cubicBezTo>
                      <a:pt x="5080" y="577"/>
                      <a:pt x="4248" y="1114"/>
                      <a:pt x="3388" y="1592"/>
                    </a:cubicBezTo>
                    <a:cubicBezTo>
                      <a:pt x="2255" y="1622"/>
                      <a:pt x="1122" y="1552"/>
                      <a:pt x="0" y="13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79" name="Freeform: Shape 2478">
                <a:extLst>
                  <a:ext uri="{FF2B5EF4-FFF2-40B4-BE49-F238E27FC236}">
                    <a16:creationId xmlns:a16="http://schemas.microsoft.com/office/drawing/2014/main" id="{04CB0DB5-C755-4131-A8E2-E2388F690820}"/>
                  </a:ext>
                </a:extLst>
              </p:cNvPr>
              <p:cNvSpPr/>
              <p:nvPr/>
            </p:nvSpPr>
            <p:spPr>
              <a:xfrm>
                <a:off x="-1882743" y="1082956"/>
                <a:ext cx="5580" cy="2089"/>
              </a:xfrm>
              <a:custGeom>
                <a:avLst/>
                <a:gdLst>
                  <a:gd name="connsiteX0" fmla="*/ 2292 w 5580"/>
                  <a:gd name="connsiteY0" fmla="*/ 0 h 2089"/>
                  <a:gd name="connsiteX1" fmla="*/ 5580 w 5580"/>
                  <a:gd name="connsiteY1" fmla="*/ 0 h 2089"/>
                  <a:gd name="connsiteX2" fmla="*/ 0 w 5580"/>
                  <a:gd name="connsiteY2" fmla="*/ 2089 h 2089"/>
                  <a:gd name="connsiteX3" fmla="*/ 2292 w 5580"/>
                  <a:gd name="connsiteY3" fmla="*/ 0 h 2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580" h="2089">
                    <a:moveTo>
                      <a:pt x="2292" y="0"/>
                    </a:moveTo>
                    <a:cubicBezTo>
                      <a:pt x="3383" y="149"/>
                      <a:pt x="4489" y="149"/>
                      <a:pt x="5580" y="0"/>
                    </a:cubicBezTo>
                    <a:cubicBezTo>
                      <a:pt x="3653" y="507"/>
                      <a:pt x="1784" y="1204"/>
                      <a:pt x="0" y="2089"/>
                    </a:cubicBezTo>
                    <a:cubicBezTo>
                      <a:pt x="817" y="1452"/>
                      <a:pt x="1583" y="756"/>
                      <a:pt x="229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0" name="Freeform: Shape 2479">
                <a:extLst>
                  <a:ext uri="{FF2B5EF4-FFF2-40B4-BE49-F238E27FC236}">
                    <a16:creationId xmlns:a16="http://schemas.microsoft.com/office/drawing/2014/main" id="{C281F9B6-3AC1-47BC-8192-F980BBBDF4EC}"/>
                  </a:ext>
                </a:extLst>
              </p:cNvPr>
              <p:cNvSpPr/>
              <p:nvPr/>
            </p:nvSpPr>
            <p:spPr>
              <a:xfrm>
                <a:off x="-1873077" y="1080170"/>
                <a:ext cx="6277" cy="1790"/>
              </a:xfrm>
              <a:custGeom>
                <a:avLst/>
                <a:gdLst>
                  <a:gd name="connsiteX0" fmla="*/ 0 w 6277"/>
                  <a:gd name="connsiteY0" fmla="*/ 1791 h 1790"/>
                  <a:gd name="connsiteX1" fmla="*/ 6278 w 6277"/>
                  <a:gd name="connsiteY1" fmla="*/ 0 h 1790"/>
                  <a:gd name="connsiteX2" fmla="*/ 2591 w 6277"/>
                  <a:gd name="connsiteY2" fmla="*/ 1791 h 1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277" h="1790">
                    <a:moveTo>
                      <a:pt x="0" y="1791"/>
                    </a:moveTo>
                    <a:cubicBezTo>
                      <a:pt x="2060" y="1323"/>
                      <a:pt x="4152" y="726"/>
                      <a:pt x="6278" y="0"/>
                    </a:cubicBezTo>
                    <a:lnTo>
                      <a:pt x="2591" y="1791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1" name="Freeform: Shape 2480">
                <a:extLst>
                  <a:ext uri="{FF2B5EF4-FFF2-40B4-BE49-F238E27FC236}">
                    <a16:creationId xmlns:a16="http://schemas.microsoft.com/office/drawing/2014/main" id="{4A4BD3A2-D354-4700-A824-DA60FA8F62AF}"/>
                  </a:ext>
                </a:extLst>
              </p:cNvPr>
              <p:cNvSpPr/>
              <p:nvPr/>
            </p:nvSpPr>
            <p:spPr>
              <a:xfrm>
                <a:off x="-1848366" y="1062064"/>
                <a:ext cx="7772" cy="7859"/>
              </a:xfrm>
              <a:custGeom>
                <a:avLst/>
                <a:gdLst>
                  <a:gd name="connsiteX0" fmla="*/ 7772 w 7772"/>
                  <a:gd name="connsiteY0" fmla="*/ 0 h 7859"/>
                  <a:gd name="connsiteX1" fmla="*/ 0 w 7772"/>
                  <a:gd name="connsiteY1" fmla="*/ 7859 h 7859"/>
                  <a:gd name="connsiteX2" fmla="*/ 7772 w 7772"/>
                  <a:gd name="connsiteY2" fmla="*/ 0 h 7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72" h="7859">
                    <a:moveTo>
                      <a:pt x="7772" y="0"/>
                    </a:moveTo>
                    <a:cubicBezTo>
                      <a:pt x="5710" y="3094"/>
                      <a:pt x="3069" y="5760"/>
                      <a:pt x="0" y="7859"/>
                    </a:cubicBezTo>
                    <a:cubicBezTo>
                      <a:pt x="2860" y="5521"/>
                      <a:pt x="5460" y="2885"/>
                      <a:pt x="777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2" name="Freeform: Shape 2481">
                <a:extLst>
                  <a:ext uri="{FF2B5EF4-FFF2-40B4-BE49-F238E27FC236}">
                    <a16:creationId xmlns:a16="http://schemas.microsoft.com/office/drawing/2014/main" id="{5CEDB385-DE3F-45A7-B635-9C2A4313B535}"/>
                  </a:ext>
                </a:extLst>
              </p:cNvPr>
              <p:cNvSpPr/>
              <p:nvPr/>
            </p:nvSpPr>
            <p:spPr>
              <a:xfrm>
                <a:off x="-1759284" y="1068530"/>
                <a:ext cx="4085" cy="7859"/>
              </a:xfrm>
              <a:custGeom>
                <a:avLst/>
                <a:gdLst>
                  <a:gd name="connsiteX0" fmla="*/ 0 w 4085"/>
                  <a:gd name="connsiteY0" fmla="*/ 0 h 7859"/>
                  <a:gd name="connsiteX1" fmla="*/ 4085 w 4085"/>
                  <a:gd name="connsiteY1" fmla="*/ 7859 h 7859"/>
                  <a:gd name="connsiteX2" fmla="*/ 0 w 4085"/>
                  <a:gd name="connsiteY2" fmla="*/ 0 h 7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85" h="7859">
                    <a:moveTo>
                      <a:pt x="0" y="0"/>
                    </a:moveTo>
                    <a:cubicBezTo>
                      <a:pt x="2053" y="2199"/>
                      <a:pt x="3458" y="4915"/>
                      <a:pt x="4085" y="7859"/>
                    </a:cubicBezTo>
                    <a:cubicBezTo>
                      <a:pt x="2591" y="5770"/>
                      <a:pt x="2093" y="258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3" name="Freeform: Shape 2482">
                <a:extLst>
                  <a:ext uri="{FF2B5EF4-FFF2-40B4-BE49-F238E27FC236}">
                    <a16:creationId xmlns:a16="http://schemas.microsoft.com/office/drawing/2014/main" id="{C97029A1-BADA-402B-AFCE-AF6F55378B01}"/>
                  </a:ext>
                </a:extLst>
              </p:cNvPr>
              <p:cNvSpPr/>
              <p:nvPr/>
            </p:nvSpPr>
            <p:spPr>
              <a:xfrm>
                <a:off x="-1750715" y="1074798"/>
                <a:ext cx="4484" cy="2288"/>
              </a:xfrm>
              <a:custGeom>
                <a:avLst/>
                <a:gdLst>
                  <a:gd name="connsiteX0" fmla="*/ 0 w 4484"/>
                  <a:gd name="connsiteY0" fmla="*/ 2288 h 2288"/>
                  <a:gd name="connsiteX1" fmla="*/ 4484 w 4484"/>
                  <a:gd name="connsiteY1" fmla="*/ 0 h 2288"/>
                  <a:gd name="connsiteX2" fmla="*/ 3787 w 4484"/>
                  <a:gd name="connsiteY2" fmla="*/ 1293 h 2288"/>
                  <a:gd name="connsiteX3" fmla="*/ 0 w 4484"/>
                  <a:gd name="connsiteY3" fmla="*/ 2288 h 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84" h="2288">
                    <a:moveTo>
                      <a:pt x="0" y="2288"/>
                    </a:moveTo>
                    <a:cubicBezTo>
                      <a:pt x="1604" y="1771"/>
                      <a:pt x="3119" y="995"/>
                      <a:pt x="4484" y="0"/>
                    </a:cubicBezTo>
                    <a:cubicBezTo>
                      <a:pt x="4155" y="368"/>
                      <a:pt x="3916" y="816"/>
                      <a:pt x="3787" y="1293"/>
                    </a:cubicBezTo>
                    <a:cubicBezTo>
                      <a:pt x="2581" y="1801"/>
                      <a:pt x="1305" y="2129"/>
                      <a:pt x="0" y="228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4" name="Freeform: Shape 2483">
                <a:extLst>
                  <a:ext uri="{FF2B5EF4-FFF2-40B4-BE49-F238E27FC236}">
                    <a16:creationId xmlns:a16="http://schemas.microsoft.com/office/drawing/2014/main" id="{47EA27FD-10CC-4CDE-8CC1-95052B5ABF65}"/>
                  </a:ext>
                </a:extLst>
              </p:cNvPr>
              <p:cNvSpPr/>
              <p:nvPr/>
            </p:nvSpPr>
            <p:spPr>
              <a:xfrm>
                <a:off x="-1743142" y="1070022"/>
                <a:ext cx="5580" cy="2089"/>
              </a:xfrm>
              <a:custGeom>
                <a:avLst/>
                <a:gdLst>
                  <a:gd name="connsiteX0" fmla="*/ 1196 w 5580"/>
                  <a:gd name="connsiteY0" fmla="*/ 0 h 2089"/>
                  <a:gd name="connsiteX1" fmla="*/ 5580 w 5580"/>
                  <a:gd name="connsiteY1" fmla="*/ 0 h 2089"/>
                  <a:gd name="connsiteX2" fmla="*/ 0 w 5580"/>
                  <a:gd name="connsiteY2" fmla="*/ 2089 h 2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80" h="2089">
                    <a:moveTo>
                      <a:pt x="1196" y="0"/>
                    </a:moveTo>
                    <a:lnTo>
                      <a:pt x="5580" y="0"/>
                    </a:lnTo>
                    <a:cubicBezTo>
                      <a:pt x="3597" y="298"/>
                      <a:pt x="1694" y="1015"/>
                      <a:pt x="0" y="20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5" name="Freeform: Shape 2484">
                <a:extLst>
                  <a:ext uri="{FF2B5EF4-FFF2-40B4-BE49-F238E27FC236}">
                    <a16:creationId xmlns:a16="http://schemas.microsoft.com/office/drawing/2014/main" id="{7B704A10-292B-49AE-AD17-0B5E09772B6F}"/>
                  </a:ext>
                </a:extLst>
              </p:cNvPr>
              <p:cNvSpPr/>
              <p:nvPr/>
            </p:nvSpPr>
            <p:spPr>
              <a:xfrm>
                <a:off x="-1721021" y="1070022"/>
                <a:ext cx="2291" cy="761"/>
              </a:xfrm>
              <a:custGeom>
                <a:avLst/>
                <a:gdLst>
                  <a:gd name="connsiteX0" fmla="*/ 0 w 2291"/>
                  <a:gd name="connsiteY0" fmla="*/ 0 h 761"/>
                  <a:gd name="connsiteX1" fmla="*/ 2292 w 2291"/>
                  <a:gd name="connsiteY1" fmla="*/ 696 h 761"/>
                  <a:gd name="connsiteX2" fmla="*/ 0 w 2291"/>
                  <a:gd name="connsiteY2" fmla="*/ 0 h 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91" h="761">
                    <a:moveTo>
                      <a:pt x="0" y="0"/>
                    </a:moveTo>
                    <a:cubicBezTo>
                      <a:pt x="797" y="109"/>
                      <a:pt x="1564" y="348"/>
                      <a:pt x="2292" y="696"/>
                    </a:cubicBezTo>
                    <a:cubicBezTo>
                      <a:pt x="1455" y="896"/>
                      <a:pt x="588" y="62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6" name="Freeform: Shape 2485">
                <a:extLst>
                  <a:ext uri="{FF2B5EF4-FFF2-40B4-BE49-F238E27FC236}">
                    <a16:creationId xmlns:a16="http://schemas.microsoft.com/office/drawing/2014/main" id="{E922A9B5-FF30-4FC5-8CE1-36442B8C8385}"/>
                  </a:ext>
                </a:extLst>
              </p:cNvPr>
              <p:cNvSpPr/>
              <p:nvPr/>
            </p:nvSpPr>
            <p:spPr>
              <a:xfrm>
                <a:off x="-1717533" y="1067635"/>
                <a:ext cx="2790" cy="2586"/>
              </a:xfrm>
              <a:custGeom>
                <a:avLst/>
                <a:gdLst>
                  <a:gd name="connsiteX0" fmla="*/ 2790 w 2790"/>
                  <a:gd name="connsiteY0" fmla="*/ 0 h 2586"/>
                  <a:gd name="connsiteX1" fmla="*/ 0 w 2790"/>
                  <a:gd name="connsiteY1" fmla="*/ 2587 h 2586"/>
                  <a:gd name="connsiteX2" fmla="*/ 2790 w 2790"/>
                  <a:gd name="connsiteY2" fmla="*/ 0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0" h="2586">
                    <a:moveTo>
                      <a:pt x="2790" y="0"/>
                    </a:moveTo>
                    <a:cubicBezTo>
                      <a:pt x="1983" y="995"/>
                      <a:pt x="1046" y="1860"/>
                      <a:pt x="0" y="2587"/>
                    </a:cubicBezTo>
                    <a:cubicBezTo>
                      <a:pt x="707" y="1512"/>
                      <a:pt x="1664" y="617"/>
                      <a:pt x="279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7" name="Freeform: Shape 2486">
                <a:extLst>
                  <a:ext uri="{FF2B5EF4-FFF2-40B4-BE49-F238E27FC236}">
                    <a16:creationId xmlns:a16="http://schemas.microsoft.com/office/drawing/2014/main" id="{02CE9F02-1F14-49EF-AD31-384A71A77E26}"/>
                  </a:ext>
                </a:extLst>
              </p:cNvPr>
              <p:cNvSpPr/>
              <p:nvPr/>
            </p:nvSpPr>
            <p:spPr>
              <a:xfrm>
                <a:off x="-1685747" y="1052975"/>
                <a:ext cx="6975" cy="1626"/>
              </a:xfrm>
              <a:custGeom>
                <a:avLst/>
                <a:gdLst>
                  <a:gd name="connsiteX0" fmla="*/ 5580 w 6975"/>
                  <a:gd name="connsiteY0" fmla="*/ 134 h 1626"/>
                  <a:gd name="connsiteX1" fmla="*/ 6975 w 6975"/>
                  <a:gd name="connsiteY1" fmla="*/ 1627 h 1626"/>
                  <a:gd name="connsiteX2" fmla="*/ 0 w 6975"/>
                  <a:gd name="connsiteY2" fmla="*/ 731 h 1626"/>
                  <a:gd name="connsiteX3" fmla="*/ 5580 w 6975"/>
                  <a:gd name="connsiteY3" fmla="*/ 134 h 1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5" h="1626">
                    <a:moveTo>
                      <a:pt x="5580" y="134"/>
                    </a:moveTo>
                    <a:lnTo>
                      <a:pt x="6975" y="1627"/>
                    </a:lnTo>
                    <a:cubicBezTo>
                      <a:pt x="4833" y="492"/>
                      <a:pt x="2362" y="174"/>
                      <a:pt x="0" y="731"/>
                    </a:cubicBezTo>
                    <a:cubicBezTo>
                      <a:pt x="1774" y="35"/>
                      <a:pt x="3697" y="-164"/>
                      <a:pt x="5580" y="13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8" name="Freeform: Shape 2487">
                <a:extLst>
                  <a:ext uri="{FF2B5EF4-FFF2-40B4-BE49-F238E27FC236}">
                    <a16:creationId xmlns:a16="http://schemas.microsoft.com/office/drawing/2014/main" id="{53D00C36-D173-41E3-8D87-8A33DC370098}"/>
                  </a:ext>
                </a:extLst>
              </p:cNvPr>
              <p:cNvSpPr/>
              <p:nvPr/>
            </p:nvSpPr>
            <p:spPr>
              <a:xfrm>
                <a:off x="-1620579" y="1046344"/>
                <a:ext cx="4882" cy="1392"/>
              </a:xfrm>
              <a:custGeom>
                <a:avLst/>
                <a:gdLst>
                  <a:gd name="connsiteX0" fmla="*/ 0 w 4882"/>
                  <a:gd name="connsiteY0" fmla="*/ 1393 h 1392"/>
                  <a:gd name="connsiteX1" fmla="*/ 4883 w 4882"/>
                  <a:gd name="connsiteY1" fmla="*/ 0 h 1392"/>
                  <a:gd name="connsiteX2" fmla="*/ 0 w 4882"/>
                  <a:gd name="connsiteY2" fmla="*/ 1393 h 1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82" h="1392">
                    <a:moveTo>
                      <a:pt x="0" y="1393"/>
                    </a:moveTo>
                    <a:cubicBezTo>
                      <a:pt x="1505" y="577"/>
                      <a:pt x="3169" y="99"/>
                      <a:pt x="4883" y="0"/>
                    </a:cubicBezTo>
                    <a:cubicBezTo>
                      <a:pt x="3288" y="587"/>
                      <a:pt x="1664" y="1055"/>
                      <a:pt x="0" y="13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89" name="Freeform: Shape 2488">
                <a:extLst>
                  <a:ext uri="{FF2B5EF4-FFF2-40B4-BE49-F238E27FC236}">
                    <a16:creationId xmlns:a16="http://schemas.microsoft.com/office/drawing/2014/main" id="{330281E4-0444-40EA-BF75-1EE644BB7C93}"/>
                  </a:ext>
                </a:extLst>
              </p:cNvPr>
              <p:cNvSpPr/>
              <p:nvPr/>
            </p:nvSpPr>
            <p:spPr>
              <a:xfrm>
                <a:off x="-1588295" y="1033610"/>
                <a:ext cx="17138" cy="2288"/>
              </a:xfrm>
              <a:custGeom>
                <a:avLst/>
                <a:gdLst>
                  <a:gd name="connsiteX0" fmla="*/ 0 w 17138"/>
                  <a:gd name="connsiteY0" fmla="*/ 2288 h 2288"/>
                  <a:gd name="connsiteX1" fmla="*/ 17139 w 17138"/>
                  <a:gd name="connsiteY1" fmla="*/ 0 h 2288"/>
                  <a:gd name="connsiteX2" fmla="*/ 0 w 17138"/>
                  <a:gd name="connsiteY2" fmla="*/ 2288 h 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138" h="2288">
                    <a:moveTo>
                      <a:pt x="0" y="2288"/>
                    </a:moveTo>
                    <a:cubicBezTo>
                      <a:pt x="5640" y="1035"/>
                      <a:pt x="11369" y="269"/>
                      <a:pt x="17139" y="0"/>
                    </a:cubicBezTo>
                    <a:cubicBezTo>
                      <a:pt x="11509" y="1293"/>
                      <a:pt x="5769" y="2059"/>
                      <a:pt x="0" y="228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0" name="Freeform: Shape 2489">
                <a:extLst>
                  <a:ext uri="{FF2B5EF4-FFF2-40B4-BE49-F238E27FC236}">
                    <a16:creationId xmlns:a16="http://schemas.microsoft.com/office/drawing/2014/main" id="{D6F0EC6E-DDE0-498D-B0C2-48AA343F9622}"/>
                  </a:ext>
                </a:extLst>
              </p:cNvPr>
              <p:cNvSpPr/>
              <p:nvPr/>
            </p:nvSpPr>
            <p:spPr>
              <a:xfrm>
                <a:off x="-1561789" y="1022865"/>
                <a:ext cx="5281" cy="6566"/>
              </a:xfrm>
              <a:custGeom>
                <a:avLst/>
                <a:gdLst>
                  <a:gd name="connsiteX0" fmla="*/ 0 w 5281"/>
                  <a:gd name="connsiteY0" fmla="*/ 6566 h 6566"/>
                  <a:gd name="connsiteX1" fmla="*/ 5281 w 5281"/>
                  <a:gd name="connsiteY1" fmla="*/ 0 h 6566"/>
                  <a:gd name="connsiteX2" fmla="*/ 0 w 5281"/>
                  <a:gd name="connsiteY2" fmla="*/ 6566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1" h="6566">
                    <a:moveTo>
                      <a:pt x="0" y="6566"/>
                    </a:moveTo>
                    <a:cubicBezTo>
                      <a:pt x="1564" y="4228"/>
                      <a:pt x="3338" y="2029"/>
                      <a:pt x="5281" y="0"/>
                    </a:cubicBezTo>
                    <a:cubicBezTo>
                      <a:pt x="4115" y="2607"/>
                      <a:pt x="2292" y="4865"/>
                      <a:pt x="0" y="656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1" name="Freeform: Shape 2490">
                <a:extLst>
                  <a:ext uri="{FF2B5EF4-FFF2-40B4-BE49-F238E27FC236}">
                    <a16:creationId xmlns:a16="http://schemas.microsoft.com/office/drawing/2014/main" id="{6C931F92-86AB-4C5F-BAC7-74EAAA2718CF}"/>
                  </a:ext>
                </a:extLst>
              </p:cNvPr>
              <p:cNvSpPr/>
              <p:nvPr/>
            </p:nvSpPr>
            <p:spPr>
              <a:xfrm>
                <a:off x="-1546843" y="1022269"/>
                <a:ext cx="9665" cy="1989"/>
              </a:xfrm>
              <a:custGeom>
                <a:avLst/>
                <a:gdLst>
                  <a:gd name="connsiteX0" fmla="*/ 9665 w 9665"/>
                  <a:gd name="connsiteY0" fmla="*/ 995 h 1989"/>
                  <a:gd name="connsiteX1" fmla="*/ 5181 w 9665"/>
                  <a:gd name="connsiteY1" fmla="*/ 1990 h 1989"/>
                  <a:gd name="connsiteX2" fmla="*/ 0 w 9665"/>
                  <a:gd name="connsiteY2" fmla="*/ 0 h 1989"/>
                  <a:gd name="connsiteX3" fmla="*/ 9665 w 9665"/>
                  <a:gd name="connsiteY3" fmla="*/ 995 h 1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65" h="1989">
                    <a:moveTo>
                      <a:pt x="9665" y="995"/>
                    </a:moveTo>
                    <a:cubicBezTo>
                      <a:pt x="8151" y="1214"/>
                      <a:pt x="6646" y="1542"/>
                      <a:pt x="5181" y="1990"/>
                    </a:cubicBezTo>
                    <a:cubicBezTo>
                      <a:pt x="3398" y="1482"/>
                      <a:pt x="1664" y="816"/>
                      <a:pt x="0" y="0"/>
                    </a:cubicBezTo>
                    <a:cubicBezTo>
                      <a:pt x="3129" y="935"/>
                      <a:pt x="6407" y="1273"/>
                      <a:pt x="9665" y="9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2" name="Freeform: Shape 2491">
                <a:extLst>
                  <a:ext uri="{FF2B5EF4-FFF2-40B4-BE49-F238E27FC236}">
                    <a16:creationId xmlns:a16="http://schemas.microsoft.com/office/drawing/2014/main" id="{ED14AD5A-AF02-4289-B880-053E407F485F}"/>
                  </a:ext>
                </a:extLst>
              </p:cNvPr>
              <p:cNvSpPr/>
              <p:nvPr/>
            </p:nvSpPr>
            <p:spPr>
              <a:xfrm>
                <a:off x="-1258672" y="1289591"/>
                <a:ext cx="1893" cy="4277"/>
              </a:xfrm>
              <a:custGeom>
                <a:avLst/>
                <a:gdLst>
                  <a:gd name="connsiteX0" fmla="*/ 0 w 1893"/>
                  <a:gd name="connsiteY0" fmla="*/ 4278 h 4277"/>
                  <a:gd name="connsiteX1" fmla="*/ 1893 w 1893"/>
                  <a:gd name="connsiteY1" fmla="*/ 0 h 4277"/>
                  <a:gd name="connsiteX2" fmla="*/ 0 w 1893"/>
                  <a:gd name="connsiteY2" fmla="*/ 4278 h 4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3" h="4277">
                    <a:moveTo>
                      <a:pt x="0" y="4278"/>
                    </a:moveTo>
                    <a:cubicBezTo>
                      <a:pt x="847" y="2955"/>
                      <a:pt x="1485" y="1512"/>
                      <a:pt x="1893" y="0"/>
                    </a:cubicBezTo>
                    <a:cubicBezTo>
                      <a:pt x="1674" y="1572"/>
                      <a:pt x="1026" y="3054"/>
                      <a:pt x="0" y="427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3" name="Freeform: Shape 2492">
                <a:extLst>
                  <a:ext uri="{FF2B5EF4-FFF2-40B4-BE49-F238E27FC236}">
                    <a16:creationId xmlns:a16="http://schemas.microsoft.com/office/drawing/2014/main" id="{F8701E68-8C5F-4C4A-90B1-44A78900AB60}"/>
                  </a:ext>
                </a:extLst>
              </p:cNvPr>
              <p:cNvSpPr/>
              <p:nvPr/>
            </p:nvSpPr>
            <p:spPr>
              <a:xfrm>
                <a:off x="-1254487" y="1302723"/>
                <a:ext cx="1269" cy="6765"/>
              </a:xfrm>
              <a:custGeom>
                <a:avLst/>
                <a:gdLst>
                  <a:gd name="connsiteX0" fmla="*/ 598 w 1269"/>
                  <a:gd name="connsiteY0" fmla="*/ 0 h 6765"/>
                  <a:gd name="connsiteX1" fmla="*/ 0 w 1269"/>
                  <a:gd name="connsiteY1" fmla="*/ 6765 h 6765"/>
                  <a:gd name="connsiteX2" fmla="*/ 598 w 1269"/>
                  <a:gd name="connsiteY2" fmla="*/ 0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69" h="6765">
                    <a:moveTo>
                      <a:pt x="598" y="0"/>
                    </a:moveTo>
                    <a:cubicBezTo>
                      <a:pt x="1674" y="2189"/>
                      <a:pt x="1445" y="4795"/>
                      <a:pt x="0" y="6765"/>
                    </a:cubicBezTo>
                    <a:cubicBezTo>
                      <a:pt x="658" y="4576"/>
                      <a:pt x="857" y="2268"/>
                      <a:pt x="5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4" name="Freeform: Shape 2493">
                <a:extLst>
                  <a:ext uri="{FF2B5EF4-FFF2-40B4-BE49-F238E27FC236}">
                    <a16:creationId xmlns:a16="http://schemas.microsoft.com/office/drawing/2014/main" id="{7EDE46E5-1B00-4F97-8157-F3AA0C10B3BD}"/>
                  </a:ext>
                </a:extLst>
              </p:cNvPr>
              <p:cNvSpPr/>
              <p:nvPr/>
            </p:nvSpPr>
            <p:spPr>
              <a:xfrm>
                <a:off x="-1244822" y="1313767"/>
                <a:ext cx="4284" cy="2885"/>
              </a:xfrm>
              <a:custGeom>
                <a:avLst/>
                <a:gdLst>
                  <a:gd name="connsiteX0" fmla="*/ 1096 w 4284"/>
                  <a:gd name="connsiteY0" fmla="*/ 0 h 2885"/>
                  <a:gd name="connsiteX1" fmla="*/ 4285 w 4284"/>
                  <a:gd name="connsiteY1" fmla="*/ 2885 h 2885"/>
                  <a:gd name="connsiteX2" fmla="*/ 0 w 4284"/>
                  <a:gd name="connsiteY2" fmla="*/ 1094 h 2885"/>
                  <a:gd name="connsiteX3" fmla="*/ 1096 w 4284"/>
                  <a:gd name="connsiteY3" fmla="*/ 0 h 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4" h="2885">
                    <a:moveTo>
                      <a:pt x="1096" y="0"/>
                    </a:moveTo>
                    <a:lnTo>
                      <a:pt x="4285" y="2885"/>
                    </a:lnTo>
                    <a:cubicBezTo>
                      <a:pt x="3099" y="1821"/>
                      <a:pt x="1594" y="1194"/>
                      <a:pt x="0" y="1094"/>
                    </a:cubicBezTo>
                    <a:cubicBezTo>
                      <a:pt x="418" y="786"/>
                      <a:pt x="787" y="418"/>
                      <a:pt x="10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5" name="Freeform: Shape 2494">
                <a:extLst>
                  <a:ext uri="{FF2B5EF4-FFF2-40B4-BE49-F238E27FC236}">
                    <a16:creationId xmlns:a16="http://schemas.microsoft.com/office/drawing/2014/main" id="{DB19AA11-E86C-4365-81B6-8AB271A03A47}"/>
                  </a:ext>
                </a:extLst>
              </p:cNvPr>
              <p:cNvSpPr/>
              <p:nvPr/>
            </p:nvSpPr>
            <p:spPr>
              <a:xfrm>
                <a:off x="-1238544" y="1230993"/>
                <a:ext cx="7074" cy="10844"/>
              </a:xfrm>
              <a:custGeom>
                <a:avLst/>
                <a:gdLst>
                  <a:gd name="connsiteX0" fmla="*/ 2790 w 7074"/>
                  <a:gd name="connsiteY0" fmla="*/ 3184 h 10844"/>
                  <a:gd name="connsiteX1" fmla="*/ 7075 w 7074"/>
                  <a:gd name="connsiteY1" fmla="*/ 0 h 10844"/>
                  <a:gd name="connsiteX2" fmla="*/ 0 w 7074"/>
                  <a:gd name="connsiteY2" fmla="*/ 10844 h 10844"/>
                  <a:gd name="connsiteX3" fmla="*/ 2790 w 7074"/>
                  <a:gd name="connsiteY3" fmla="*/ 3184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074" h="10844">
                    <a:moveTo>
                      <a:pt x="2790" y="3184"/>
                    </a:moveTo>
                    <a:cubicBezTo>
                      <a:pt x="4135" y="2020"/>
                      <a:pt x="5570" y="955"/>
                      <a:pt x="7075" y="0"/>
                    </a:cubicBezTo>
                    <a:cubicBezTo>
                      <a:pt x="4055" y="3134"/>
                      <a:pt x="1654" y="6815"/>
                      <a:pt x="0" y="10844"/>
                    </a:cubicBezTo>
                    <a:cubicBezTo>
                      <a:pt x="897" y="8158"/>
                      <a:pt x="1794" y="5571"/>
                      <a:pt x="2790" y="31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6" name="Freeform: Shape 2495">
                <a:extLst>
                  <a:ext uri="{FF2B5EF4-FFF2-40B4-BE49-F238E27FC236}">
                    <a16:creationId xmlns:a16="http://schemas.microsoft.com/office/drawing/2014/main" id="{55DC39EC-CBCF-46B5-AE84-E8260D52AFDC}"/>
                  </a:ext>
                </a:extLst>
              </p:cNvPr>
              <p:cNvSpPr/>
              <p:nvPr/>
            </p:nvSpPr>
            <p:spPr>
              <a:xfrm>
                <a:off x="-1224985" y="1320731"/>
                <a:ext cx="889" cy="5272"/>
              </a:xfrm>
              <a:custGeom>
                <a:avLst/>
                <a:gdLst>
                  <a:gd name="connsiteX0" fmla="*/ 192 w 889"/>
                  <a:gd name="connsiteY0" fmla="*/ 0 h 5272"/>
                  <a:gd name="connsiteX1" fmla="*/ 889 w 889"/>
                  <a:gd name="connsiteY1" fmla="*/ 5273 h 5272"/>
                  <a:gd name="connsiteX2" fmla="*/ 192 w 889"/>
                  <a:gd name="connsiteY2" fmla="*/ 0 h 5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9" h="5272">
                    <a:moveTo>
                      <a:pt x="192" y="0"/>
                    </a:moveTo>
                    <a:lnTo>
                      <a:pt x="889" y="5273"/>
                    </a:lnTo>
                    <a:cubicBezTo>
                      <a:pt x="33" y="3651"/>
                      <a:pt x="-217" y="1781"/>
                      <a:pt x="19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7" name="Freeform: Shape 2496">
                <a:extLst>
                  <a:ext uri="{FF2B5EF4-FFF2-40B4-BE49-F238E27FC236}">
                    <a16:creationId xmlns:a16="http://schemas.microsoft.com/office/drawing/2014/main" id="{2B10F68F-CC7C-49EE-BD15-E4628ACF6D22}"/>
                  </a:ext>
                </a:extLst>
              </p:cNvPr>
              <p:cNvSpPr/>
              <p:nvPr/>
            </p:nvSpPr>
            <p:spPr>
              <a:xfrm>
                <a:off x="-1222900" y="1221542"/>
                <a:ext cx="4483" cy="3780"/>
              </a:xfrm>
              <a:custGeom>
                <a:avLst/>
                <a:gdLst>
                  <a:gd name="connsiteX0" fmla="*/ 4484 w 4483"/>
                  <a:gd name="connsiteY0" fmla="*/ 0 h 3780"/>
                  <a:gd name="connsiteX1" fmla="*/ 3089 w 4483"/>
                  <a:gd name="connsiteY1" fmla="*/ 2686 h 3780"/>
                  <a:gd name="connsiteX2" fmla="*/ 0 w 4483"/>
                  <a:gd name="connsiteY2" fmla="*/ 3780 h 3780"/>
                  <a:gd name="connsiteX3" fmla="*/ 4484 w 4483"/>
                  <a:gd name="connsiteY3" fmla="*/ 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83" h="3780">
                    <a:moveTo>
                      <a:pt x="4484" y="0"/>
                    </a:moveTo>
                    <a:lnTo>
                      <a:pt x="3089" y="2686"/>
                    </a:lnTo>
                    <a:cubicBezTo>
                      <a:pt x="2043" y="2995"/>
                      <a:pt x="1006" y="3353"/>
                      <a:pt x="0" y="3780"/>
                    </a:cubicBezTo>
                    <a:cubicBezTo>
                      <a:pt x="1604" y="2646"/>
                      <a:pt x="3099" y="1383"/>
                      <a:pt x="448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8" name="Freeform: Shape 2497">
                <a:extLst>
                  <a:ext uri="{FF2B5EF4-FFF2-40B4-BE49-F238E27FC236}">
                    <a16:creationId xmlns:a16="http://schemas.microsoft.com/office/drawing/2014/main" id="{3FD2CC3B-1F9F-4768-BA50-44D008C320F7}"/>
                  </a:ext>
                </a:extLst>
              </p:cNvPr>
              <p:cNvSpPr/>
              <p:nvPr/>
            </p:nvSpPr>
            <p:spPr>
              <a:xfrm>
                <a:off x="-1216622" y="1009236"/>
                <a:ext cx="5779" cy="12833"/>
              </a:xfrm>
              <a:custGeom>
                <a:avLst/>
                <a:gdLst>
                  <a:gd name="connsiteX0" fmla="*/ 5779 w 5779"/>
                  <a:gd name="connsiteY0" fmla="*/ 12834 h 12833"/>
                  <a:gd name="connsiteX1" fmla="*/ 0 w 5779"/>
                  <a:gd name="connsiteY1" fmla="*/ 0 h 12833"/>
                  <a:gd name="connsiteX2" fmla="*/ 5779 w 5779"/>
                  <a:gd name="connsiteY2" fmla="*/ 12834 h 12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79" h="12833">
                    <a:moveTo>
                      <a:pt x="5779" y="12834"/>
                    </a:moveTo>
                    <a:cubicBezTo>
                      <a:pt x="3607" y="8675"/>
                      <a:pt x="1674" y="4387"/>
                      <a:pt x="0" y="0"/>
                    </a:cubicBezTo>
                    <a:cubicBezTo>
                      <a:pt x="2182" y="4159"/>
                      <a:pt x="4105" y="8447"/>
                      <a:pt x="5779" y="1283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99" name="Freeform: Shape 2498">
                <a:extLst>
                  <a:ext uri="{FF2B5EF4-FFF2-40B4-BE49-F238E27FC236}">
                    <a16:creationId xmlns:a16="http://schemas.microsoft.com/office/drawing/2014/main" id="{015E35F7-F7C0-4502-B5A9-A404BA5C37F3}"/>
                  </a:ext>
                </a:extLst>
              </p:cNvPr>
              <p:cNvSpPr/>
              <p:nvPr/>
            </p:nvSpPr>
            <p:spPr>
              <a:xfrm>
                <a:off x="-1218017" y="1330083"/>
                <a:ext cx="3381" cy="5372"/>
              </a:xfrm>
              <a:custGeom>
                <a:avLst/>
                <a:gdLst>
                  <a:gd name="connsiteX0" fmla="*/ 3189 w 3381"/>
                  <a:gd name="connsiteY0" fmla="*/ 5372 h 5372"/>
                  <a:gd name="connsiteX1" fmla="*/ 0 w 3381"/>
                  <a:gd name="connsiteY1" fmla="*/ 0 h 5372"/>
                  <a:gd name="connsiteX2" fmla="*/ 3189 w 3381"/>
                  <a:gd name="connsiteY2" fmla="*/ 5372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1" h="5372">
                    <a:moveTo>
                      <a:pt x="3189" y="5372"/>
                    </a:moveTo>
                    <a:cubicBezTo>
                      <a:pt x="3268" y="3114"/>
                      <a:pt x="2023" y="1015"/>
                      <a:pt x="0" y="0"/>
                    </a:cubicBezTo>
                    <a:cubicBezTo>
                      <a:pt x="2192" y="1293"/>
                      <a:pt x="3986" y="3184"/>
                      <a:pt x="3189" y="537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0" name="Freeform: Shape 2499">
                <a:extLst>
                  <a:ext uri="{FF2B5EF4-FFF2-40B4-BE49-F238E27FC236}">
                    <a16:creationId xmlns:a16="http://schemas.microsoft.com/office/drawing/2014/main" id="{47003C13-C6B3-4115-A3E3-28E9EE8D75CD}"/>
                  </a:ext>
                </a:extLst>
              </p:cNvPr>
              <p:cNvSpPr/>
              <p:nvPr/>
            </p:nvSpPr>
            <p:spPr>
              <a:xfrm>
                <a:off x="-1213334" y="1202540"/>
                <a:ext cx="3686" cy="8953"/>
              </a:xfrm>
              <a:custGeom>
                <a:avLst/>
                <a:gdLst>
                  <a:gd name="connsiteX0" fmla="*/ 3687 w 3686"/>
                  <a:gd name="connsiteY0" fmla="*/ 0 h 8953"/>
                  <a:gd name="connsiteX1" fmla="*/ 0 w 3686"/>
                  <a:gd name="connsiteY1" fmla="*/ 8954 h 8953"/>
                  <a:gd name="connsiteX2" fmla="*/ 3687 w 3686"/>
                  <a:gd name="connsiteY2" fmla="*/ 0 h 8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86" h="8953">
                    <a:moveTo>
                      <a:pt x="3687" y="0"/>
                    </a:moveTo>
                    <a:cubicBezTo>
                      <a:pt x="2760" y="3104"/>
                      <a:pt x="1525" y="6098"/>
                      <a:pt x="0" y="8954"/>
                    </a:cubicBezTo>
                    <a:cubicBezTo>
                      <a:pt x="1495" y="6367"/>
                      <a:pt x="2890" y="2985"/>
                      <a:pt x="368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1" name="Freeform: Shape 2500">
                <a:extLst>
                  <a:ext uri="{FF2B5EF4-FFF2-40B4-BE49-F238E27FC236}">
                    <a16:creationId xmlns:a16="http://schemas.microsoft.com/office/drawing/2014/main" id="{F8B56720-C79F-4BB6-AA76-5E0221F064CA}"/>
                  </a:ext>
                </a:extLst>
              </p:cNvPr>
              <p:cNvSpPr/>
              <p:nvPr/>
            </p:nvSpPr>
            <p:spPr>
              <a:xfrm>
                <a:off x="-1213733" y="1211494"/>
                <a:ext cx="697" cy="1193"/>
              </a:xfrm>
              <a:custGeom>
                <a:avLst/>
                <a:gdLst>
                  <a:gd name="connsiteX0" fmla="*/ 698 w 697"/>
                  <a:gd name="connsiteY0" fmla="*/ 0 h 1193"/>
                  <a:gd name="connsiteX1" fmla="*/ 0 w 697"/>
                  <a:gd name="connsiteY1" fmla="*/ 1194 h 1193"/>
                  <a:gd name="connsiteX2" fmla="*/ 698 w 697"/>
                  <a:gd name="connsiteY2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7" h="1193">
                    <a:moveTo>
                      <a:pt x="698" y="0"/>
                    </a:moveTo>
                    <a:cubicBezTo>
                      <a:pt x="428" y="378"/>
                      <a:pt x="199" y="776"/>
                      <a:pt x="0" y="1194"/>
                    </a:cubicBezTo>
                    <a:cubicBezTo>
                      <a:pt x="199" y="776"/>
                      <a:pt x="428" y="378"/>
                      <a:pt x="6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2" name="Freeform: Shape 2501">
                <a:extLst>
                  <a:ext uri="{FF2B5EF4-FFF2-40B4-BE49-F238E27FC236}">
                    <a16:creationId xmlns:a16="http://schemas.microsoft.com/office/drawing/2014/main" id="{43039908-E014-4C12-B1F3-D36982CD7376}"/>
                  </a:ext>
                </a:extLst>
              </p:cNvPr>
              <p:cNvSpPr/>
              <p:nvPr/>
            </p:nvSpPr>
            <p:spPr>
              <a:xfrm>
                <a:off x="-1215128" y="1212687"/>
                <a:ext cx="1395" cy="2686"/>
              </a:xfrm>
              <a:custGeom>
                <a:avLst/>
                <a:gdLst>
                  <a:gd name="connsiteX0" fmla="*/ 299 w 1395"/>
                  <a:gd name="connsiteY0" fmla="*/ 1592 h 2686"/>
                  <a:gd name="connsiteX1" fmla="*/ 1395 w 1395"/>
                  <a:gd name="connsiteY1" fmla="*/ 0 h 2686"/>
                  <a:gd name="connsiteX2" fmla="*/ 0 w 1395"/>
                  <a:gd name="connsiteY2" fmla="*/ 2686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5" h="2686">
                    <a:moveTo>
                      <a:pt x="299" y="1592"/>
                    </a:moveTo>
                    <a:cubicBezTo>
                      <a:pt x="698" y="1084"/>
                      <a:pt x="1066" y="557"/>
                      <a:pt x="1395" y="0"/>
                    </a:cubicBezTo>
                    <a:lnTo>
                      <a:pt x="0" y="2686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3" name="Freeform: Shape 2502">
                <a:extLst>
                  <a:ext uri="{FF2B5EF4-FFF2-40B4-BE49-F238E27FC236}">
                    <a16:creationId xmlns:a16="http://schemas.microsoft.com/office/drawing/2014/main" id="{6B834AB5-CA71-4F73-B4D8-667955CA1DE0}"/>
                  </a:ext>
                </a:extLst>
              </p:cNvPr>
              <p:cNvSpPr/>
              <p:nvPr/>
            </p:nvSpPr>
            <p:spPr>
              <a:xfrm>
                <a:off x="-1209847" y="1179260"/>
                <a:ext cx="2690" cy="5571"/>
              </a:xfrm>
              <a:custGeom>
                <a:avLst/>
                <a:gdLst>
                  <a:gd name="connsiteX0" fmla="*/ 997 w 2690"/>
                  <a:gd name="connsiteY0" fmla="*/ 1293 h 5571"/>
                  <a:gd name="connsiteX1" fmla="*/ 2690 w 2690"/>
                  <a:gd name="connsiteY1" fmla="*/ 0 h 5571"/>
                  <a:gd name="connsiteX2" fmla="*/ 0 w 2690"/>
                  <a:gd name="connsiteY2" fmla="*/ 5571 h 5571"/>
                  <a:gd name="connsiteX3" fmla="*/ 997 w 2690"/>
                  <a:gd name="connsiteY3" fmla="*/ 1293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90" h="5571">
                    <a:moveTo>
                      <a:pt x="997" y="1293"/>
                    </a:moveTo>
                    <a:lnTo>
                      <a:pt x="2690" y="0"/>
                    </a:lnTo>
                    <a:cubicBezTo>
                      <a:pt x="1495" y="1701"/>
                      <a:pt x="588" y="3582"/>
                      <a:pt x="0" y="5571"/>
                    </a:cubicBezTo>
                    <a:cubicBezTo>
                      <a:pt x="110" y="4099"/>
                      <a:pt x="448" y="2656"/>
                      <a:pt x="997" y="12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4" name="Freeform: Shape 2503">
                <a:extLst>
                  <a:ext uri="{FF2B5EF4-FFF2-40B4-BE49-F238E27FC236}">
                    <a16:creationId xmlns:a16="http://schemas.microsoft.com/office/drawing/2014/main" id="{8905928A-F3AA-4072-896B-A22A0AC6ED57}"/>
                  </a:ext>
                </a:extLst>
              </p:cNvPr>
              <p:cNvSpPr/>
              <p:nvPr/>
            </p:nvSpPr>
            <p:spPr>
              <a:xfrm>
                <a:off x="-1203768" y="1033511"/>
                <a:ext cx="4185" cy="3183"/>
              </a:xfrm>
              <a:custGeom>
                <a:avLst/>
                <a:gdLst>
                  <a:gd name="connsiteX0" fmla="*/ 1893 w 4185"/>
                  <a:gd name="connsiteY0" fmla="*/ 2786 h 3183"/>
                  <a:gd name="connsiteX1" fmla="*/ 0 w 4185"/>
                  <a:gd name="connsiteY1" fmla="*/ 0 h 3183"/>
                  <a:gd name="connsiteX2" fmla="*/ 4185 w 4185"/>
                  <a:gd name="connsiteY2" fmla="*/ 3184 h 3183"/>
                  <a:gd name="connsiteX3" fmla="*/ 1893 w 4185"/>
                  <a:gd name="connsiteY3" fmla="*/ 2786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5" h="3183">
                    <a:moveTo>
                      <a:pt x="1893" y="2786"/>
                    </a:moveTo>
                    <a:cubicBezTo>
                      <a:pt x="1295" y="1791"/>
                      <a:pt x="598" y="995"/>
                      <a:pt x="0" y="0"/>
                    </a:cubicBezTo>
                    <a:cubicBezTo>
                      <a:pt x="1236" y="1263"/>
                      <a:pt x="2641" y="2338"/>
                      <a:pt x="4185" y="3184"/>
                    </a:cubicBezTo>
                    <a:cubicBezTo>
                      <a:pt x="3458" y="2895"/>
                      <a:pt x="2680" y="2766"/>
                      <a:pt x="1893" y="27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5" name="Freeform: Shape 2504">
                <a:extLst>
                  <a:ext uri="{FF2B5EF4-FFF2-40B4-BE49-F238E27FC236}">
                    <a16:creationId xmlns:a16="http://schemas.microsoft.com/office/drawing/2014/main" id="{C8AC34F0-BACE-48AF-ACC5-42B330047497}"/>
                  </a:ext>
                </a:extLst>
              </p:cNvPr>
              <p:cNvSpPr/>
              <p:nvPr/>
            </p:nvSpPr>
            <p:spPr>
              <a:xfrm>
                <a:off x="-1202473" y="1165928"/>
                <a:ext cx="4284" cy="7760"/>
              </a:xfrm>
              <a:custGeom>
                <a:avLst/>
                <a:gdLst>
                  <a:gd name="connsiteX0" fmla="*/ 0 w 4284"/>
                  <a:gd name="connsiteY0" fmla="*/ 7760 h 7760"/>
                  <a:gd name="connsiteX1" fmla="*/ 4285 w 4284"/>
                  <a:gd name="connsiteY1" fmla="*/ 0 h 7760"/>
                  <a:gd name="connsiteX2" fmla="*/ 1594 w 4284"/>
                  <a:gd name="connsiteY2" fmla="*/ 6566 h 7760"/>
                  <a:gd name="connsiteX3" fmla="*/ 0 w 4284"/>
                  <a:gd name="connsiteY3" fmla="*/ 7760 h 7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4" h="7760">
                    <a:moveTo>
                      <a:pt x="0" y="7760"/>
                    </a:moveTo>
                    <a:cubicBezTo>
                      <a:pt x="1644" y="5303"/>
                      <a:pt x="3079" y="2706"/>
                      <a:pt x="4285" y="0"/>
                    </a:cubicBezTo>
                    <a:cubicBezTo>
                      <a:pt x="3388" y="2388"/>
                      <a:pt x="2491" y="4676"/>
                      <a:pt x="1594" y="6566"/>
                    </a:cubicBezTo>
                    <a:cubicBezTo>
                      <a:pt x="1016" y="6895"/>
                      <a:pt x="478" y="7302"/>
                      <a:pt x="0" y="776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6" name="Freeform: Shape 2505">
                <a:extLst>
                  <a:ext uri="{FF2B5EF4-FFF2-40B4-BE49-F238E27FC236}">
                    <a16:creationId xmlns:a16="http://schemas.microsoft.com/office/drawing/2014/main" id="{243C4CA8-F85D-4B5C-AB90-3FD477813B9E}"/>
                  </a:ext>
                </a:extLst>
              </p:cNvPr>
              <p:cNvSpPr/>
              <p:nvPr/>
            </p:nvSpPr>
            <p:spPr>
              <a:xfrm>
                <a:off x="-1197092" y="1038186"/>
                <a:ext cx="3886" cy="2387"/>
              </a:xfrm>
              <a:custGeom>
                <a:avLst/>
                <a:gdLst>
                  <a:gd name="connsiteX0" fmla="*/ 2192 w 3886"/>
                  <a:gd name="connsiteY0" fmla="*/ 497 h 2387"/>
                  <a:gd name="connsiteX1" fmla="*/ 3886 w 3886"/>
                  <a:gd name="connsiteY1" fmla="*/ 2388 h 2387"/>
                  <a:gd name="connsiteX2" fmla="*/ 0 w 3886"/>
                  <a:gd name="connsiteY2" fmla="*/ 0 h 2387"/>
                  <a:gd name="connsiteX3" fmla="*/ 2192 w 3886"/>
                  <a:gd name="connsiteY3" fmla="*/ 497 h 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86" h="2387">
                    <a:moveTo>
                      <a:pt x="2192" y="497"/>
                    </a:moveTo>
                    <a:cubicBezTo>
                      <a:pt x="2700" y="1174"/>
                      <a:pt x="3268" y="1801"/>
                      <a:pt x="3886" y="2388"/>
                    </a:cubicBezTo>
                    <a:lnTo>
                      <a:pt x="0" y="0"/>
                    </a:lnTo>
                    <a:cubicBezTo>
                      <a:pt x="707" y="269"/>
                      <a:pt x="1445" y="438"/>
                      <a:pt x="2192" y="4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7" name="Freeform: Shape 2506">
                <a:extLst>
                  <a:ext uri="{FF2B5EF4-FFF2-40B4-BE49-F238E27FC236}">
                    <a16:creationId xmlns:a16="http://schemas.microsoft.com/office/drawing/2014/main" id="{301C03C1-E866-438A-9A11-0EA30114C353}"/>
                  </a:ext>
                </a:extLst>
              </p:cNvPr>
              <p:cNvSpPr/>
              <p:nvPr/>
            </p:nvSpPr>
            <p:spPr>
              <a:xfrm>
                <a:off x="-1190715" y="1133794"/>
                <a:ext cx="2291" cy="9948"/>
              </a:xfrm>
              <a:custGeom>
                <a:avLst/>
                <a:gdLst>
                  <a:gd name="connsiteX0" fmla="*/ 997 w 2291"/>
                  <a:gd name="connsiteY0" fmla="*/ 4377 h 9948"/>
                  <a:gd name="connsiteX1" fmla="*/ 2292 w 2291"/>
                  <a:gd name="connsiteY1" fmla="*/ 0 h 9948"/>
                  <a:gd name="connsiteX2" fmla="*/ 0 w 2291"/>
                  <a:gd name="connsiteY2" fmla="*/ 9949 h 9948"/>
                  <a:gd name="connsiteX3" fmla="*/ 997 w 2291"/>
                  <a:gd name="connsiteY3" fmla="*/ 4377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1" h="9948">
                    <a:moveTo>
                      <a:pt x="997" y="4377"/>
                    </a:moveTo>
                    <a:cubicBezTo>
                      <a:pt x="997" y="2885"/>
                      <a:pt x="1794" y="1393"/>
                      <a:pt x="2292" y="0"/>
                    </a:cubicBezTo>
                    <a:cubicBezTo>
                      <a:pt x="1694" y="2786"/>
                      <a:pt x="897" y="6168"/>
                      <a:pt x="0" y="9949"/>
                    </a:cubicBezTo>
                    <a:cubicBezTo>
                      <a:pt x="199" y="7163"/>
                      <a:pt x="997" y="5372"/>
                      <a:pt x="997" y="437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8" name="Freeform: Shape 2507">
                <a:extLst>
                  <a:ext uri="{FF2B5EF4-FFF2-40B4-BE49-F238E27FC236}">
                    <a16:creationId xmlns:a16="http://schemas.microsoft.com/office/drawing/2014/main" id="{86389AF4-EFA3-40D8-B248-0645F1E2D4E9}"/>
                  </a:ext>
                </a:extLst>
              </p:cNvPr>
              <p:cNvSpPr/>
              <p:nvPr/>
            </p:nvSpPr>
            <p:spPr>
              <a:xfrm>
                <a:off x="-1188921" y="1043260"/>
                <a:ext cx="8469" cy="3979"/>
              </a:xfrm>
              <a:custGeom>
                <a:avLst/>
                <a:gdLst>
                  <a:gd name="connsiteX0" fmla="*/ 0 w 8469"/>
                  <a:gd name="connsiteY0" fmla="*/ 0 h 3979"/>
                  <a:gd name="connsiteX1" fmla="*/ 8470 w 8469"/>
                  <a:gd name="connsiteY1" fmla="*/ 3979 h 3979"/>
                  <a:gd name="connsiteX2" fmla="*/ 0 w 8469"/>
                  <a:gd name="connsiteY2" fmla="*/ 0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69" h="3979">
                    <a:moveTo>
                      <a:pt x="0" y="0"/>
                    </a:moveTo>
                    <a:cubicBezTo>
                      <a:pt x="2730" y="1502"/>
                      <a:pt x="5560" y="2835"/>
                      <a:pt x="8470" y="3979"/>
                    </a:cubicBezTo>
                    <a:cubicBezTo>
                      <a:pt x="5361" y="3383"/>
                      <a:pt x="2441" y="201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09" name="Freeform: Shape 2508">
                <a:extLst>
                  <a:ext uri="{FF2B5EF4-FFF2-40B4-BE49-F238E27FC236}">
                    <a16:creationId xmlns:a16="http://schemas.microsoft.com/office/drawing/2014/main" id="{712B3214-554C-4D3A-9757-11363C68C833}"/>
                  </a:ext>
                </a:extLst>
              </p:cNvPr>
              <p:cNvSpPr/>
              <p:nvPr/>
            </p:nvSpPr>
            <p:spPr>
              <a:xfrm>
                <a:off x="-1173277" y="1051319"/>
                <a:ext cx="4301" cy="9948"/>
              </a:xfrm>
              <a:custGeom>
                <a:avLst/>
                <a:gdLst>
                  <a:gd name="connsiteX0" fmla="*/ 0 w 4301"/>
                  <a:gd name="connsiteY0" fmla="*/ 0 h 9948"/>
                  <a:gd name="connsiteX1" fmla="*/ 4285 w 4301"/>
                  <a:gd name="connsiteY1" fmla="*/ 9949 h 9948"/>
                  <a:gd name="connsiteX2" fmla="*/ 0 w 4301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01" h="9948">
                    <a:moveTo>
                      <a:pt x="0" y="0"/>
                    </a:moveTo>
                    <a:cubicBezTo>
                      <a:pt x="2900" y="2467"/>
                      <a:pt x="4484" y="6148"/>
                      <a:pt x="4285" y="9949"/>
                    </a:cubicBezTo>
                    <a:cubicBezTo>
                      <a:pt x="3248" y="6477"/>
                      <a:pt x="1814" y="313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510" name="Freeform: Shape 2509">
                <a:extLst>
                  <a:ext uri="{FF2B5EF4-FFF2-40B4-BE49-F238E27FC236}">
                    <a16:creationId xmlns:a16="http://schemas.microsoft.com/office/drawing/2014/main" id="{BB3A5AD0-0682-4E52-8A3D-797FD73658D8}"/>
                  </a:ext>
                </a:extLst>
              </p:cNvPr>
              <p:cNvSpPr/>
              <p:nvPr/>
            </p:nvSpPr>
            <p:spPr>
              <a:xfrm>
                <a:off x="-1165405" y="1078479"/>
                <a:ext cx="2989" cy="5770"/>
              </a:xfrm>
              <a:custGeom>
                <a:avLst/>
                <a:gdLst>
                  <a:gd name="connsiteX0" fmla="*/ 2989 w 2989"/>
                  <a:gd name="connsiteY0" fmla="*/ 0 h 5770"/>
                  <a:gd name="connsiteX1" fmla="*/ 0 w 2989"/>
                  <a:gd name="connsiteY1" fmla="*/ 5770 h 5770"/>
                  <a:gd name="connsiteX2" fmla="*/ 2989 w 2989"/>
                  <a:gd name="connsiteY2" fmla="*/ 0 h 5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5770">
                    <a:moveTo>
                      <a:pt x="2989" y="0"/>
                    </a:moveTo>
                    <a:cubicBezTo>
                      <a:pt x="2910" y="2278"/>
                      <a:pt x="1813" y="4397"/>
                      <a:pt x="0" y="5770"/>
                    </a:cubicBezTo>
                    <a:cubicBezTo>
                      <a:pt x="1096" y="3880"/>
                      <a:pt x="2092" y="1990"/>
                      <a:pt x="298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501" name="Freeform: Shape 1500">
              <a:extLst>
                <a:ext uri="{FF2B5EF4-FFF2-40B4-BE49-F238E27FC236}">
                  <a16:creationId xmlns:a16="http://schemas.microsoft.com/office/drawing/2014/main" id="{C37C9316-23E7-4DF4-A7C5-1BAF346C0EF9}"/>
                </a:ext>
              </a:extLst>
            </p:cNvPr>
            <p:cNvSpPr/>
            <p:nvPr/>
          </p:nvSpPr>
          <p:spPr>
            <a:xfrm>
              <a:off x="2963247" y="2137821"/>
              <a:ext cx="1051344" cy="454259"/>
            </a:xfrm>
            <a:custGeom>
              <a:avLst/>
              <a:gdLst>
                <a:gd name="connsiteX0" fmla="*/ 1027231 w 1051344"/>
                <a:gd name="connsiteY0" fmla="*/ 223150 h 454259"/>
                <a:gd name="connsiteX1" fmla="*/ 1051344 w 1051344"/>
                <a:gd name="connsiteY1" fmla="*/ 220165 h 454259"/>
                <a:gd name="connsiteX2" fmla="*/ 1027231 w 1051344"/>
                <a:gd name="connsiteY2" fmla="*/ 223150 h 454259"/>
                <a:gd name="connsiteX3" fmla="*/ 961565 w 1051344"/>
                <a:gd name="connsiteY3" fmla="*/ 451971 h 454259"/>
                <a:gd name="connsiteX4" fmla="*/ 975415 w 1051344"/>
                <a:gd name="connsiteY4" fmla="*/ 451971 h 454259"/>
                <a:gd name="connsiteX5" fmla="*/ 961565 w 1051344"/>
                <a:gd name="connsiteY5" fmla="*/ 452867 h 454259"/>
                <a:gd name="connsiteX6" fmla="*/ 834020 w 1051344"/>
                <a:gd name="connsiteY6" fmla="*/ 97796 h 454259"/>
                <a:gd name="connsiteX7" fmla="*/ 834020 w 1051344"/>
                <a:gd name="connsiteY7" fmla="*/ 99885 h 454259"/>
                <a:gd name="connsiteX8" fmla="*/ 834020 w 1051344"/>
                <a:gd name="connsiteY8" fmla="*/ 97597 h 454259"/>
                <a:gd name="connsiteX9" fmla="*/ 834020 w 1051344"/>
                <a:gd name="connsiteY9" fmla="*/ 98194 h 454259"/>
                <a:gd name="connsiteX10" fmla="*/ 834020 w 1051344"/>
                <a:gd name="connsiteY10" fmla="*/ 99885 h 454259"/>
                <a:gd name="connsiteX11" fmla="*/ 834020 w 1051344"/>
                <a:gd name="connsiteY11" fmla="*/ 104959 h 454259"/>
                <a:gd name="connsiteX12" fmla="*/ 834020 w 1051344"/>
                <a:gd name="connsiteY12" fmla="*/ 100283 h 454259"/>
                <a:gd name="connsiteX13" fmla="*/ 834020 w 1051344"/>
                <a:gd name="connsiteY13" fmla="*/ 96702 h 454259"/>
                <a:gd name="connsiteX14" fmla="*/ 834020 w 1051344"/>
                <a:gd name="connsiteY14" fmla="*/ 96702 h 454259"/>
                <a:gd name="connsiteX15" fmla="*/ 834020 w 1051344"/>
                <a:gd name="connsiteY15" fmla="*/ 97299 h 454259"/>
                <a:gd name="connsiteX16" fmla="*/ 834020 w 1051344"/>
                <a:gd name="connsiteY16" fmla="*/ 83868 h 454259"/>
                <a:gd name="connsiteX17" fmla="*/ 830733 w 1051344"/>
                <a:gd name="connsiteY17" fmla="*/ 80784 h 454259"/>
                <a:gd name="connsiteX18" fmla="*/ 833921 w 1051344"/>
                <a:gd name="connsiteY18" fmla="*/ 88146 h 454259"/>
                <a:gd name="connsiteX19" fmla="*/ 834020 w 1051344"/>
                <a:gd name="connsiteY19" fmla="*/ 84763 h 454259"/>
                <a:gd name="connsiteX20" fmla="*/ 824056 w 1051344"/>
                <a:gd name="connsiteY20" fmla="*/ 73322 h 454259"/>
                <a:gd name="connsiteX21" fmla="*/ 824056 w 1051344"/>
                <a:gd name="connsiteY21" fmla="*/ 73919 h 454259"/>
                <a:gd name="connsiteX22" fmla="*/ 824654 w 1051344"/>
                <a:gd name="connsiteY22" fmla="*/ 74516 h 454259"/>
                <a:gd name="connsiteX23" fmla="*/ 824654 w 1051344"/>
                <a:gd name="connsiteY23" fmla="*/ 73919 h 454259"/>
                <a:gd name="connsiteX24" fmla="*/ 818576 w 1051344"/>
                <a:gd name="connsiteY24" fmla="*/ 68845 h 454259"/>
                <a:gd name="connsiteX25" fmla="*/ 822064 w 1051344"/>
                <a:gd name="connsiteY25" fmla="*/ 70537 h 454259"/>
                <a:gd name="connsiteX26" fmla="*/ 821266 w 1051344"/>
                <a:gd name="connsiteY26" fmla="*/ 68945 h 454259"/>
                <a:gd name="connsiteX27" fmla="*/ 802135 w 1051344"/>
                <a:gd name="connsiteY27" fmla="*/ 55017 h 454259"/>
                <a:gd name="connsiteX28" fmla="*/ 808213 w 1051344"/>
                <a:gd name="connsiteY28" fmla="*/ 60986 h 454259"/>
                <a:gd name="connsiteX29" fmla="*/ 801935 w 1051344"/>
                <a:gd name="connsiteY29" fmla="*/ 55414 h 454259"/>
                <a:gd name="connsiteX30" fmla="*/ 798547 w 1051344"/>
                <a:gd name="connsiteY30" fmla="*/ 53922 h 454259"/>
                <a:gd name="connsiteX31" fmla="*/ 788583 w 1051344"/>
                <a:gd name="connsiteY31" fmla="*/ 52131 h 454259"/>
                <a:gd name="connsiteX32" fmla="*/ 798348 w 1051344"/>
                <a:gd name="connsiteY32" fmla="*/ 54320 h 454259"/>
                <a:gd name="connsiteX33" fmla="*/ 779416 w 1051344"/>
                <a:gd name="connsiteY33" fmla="*/ 29846 h 454259"/>
                <a:gd name="connsiteX34" fmla="*/ 780811 w 1051344"/>
                <a:gd name="connsiteY34" fmla="*/ 27657 h 454259"/>
                <a:gd name="connsiteX35" fmla="*/ 778519 w 1051344"/>
                <a:gd name="connsiteY35" fmla="*/ 25568 h 454259"/>
                <a:gd name="connsiteX36" fmla="*/ 779416 w 1051344"/>
                <a:gd name="connsiteY36" fmla="*/ 29846 h 454259"/>
                <a:gd name="connsiteX37" fmla="*/ 772839 w 1051344"/>
                <a:gd name="connsiteY37" fmla="*/ 37606 h 454259"/>
                <a:gd name="connsiteX38" fmla="*/ 772839 w 1051344"/>
                <a:gd name="connsiteY38" fmla="*/ 39497 h 454259"/>
                <a:gd name="connsiteX39" fmla="*/ 774932 w 1051344"/>
                <a:gd name="connsiteY39" fmla="*/ 36014 h 454259"/>
                <a:gd name="connsiteX40" fmla="*/ 778320 w 1051344"/>
                <a:gd name="connsiteY40" fmla="*/ 48251 h 454259"/>
                <a:gd name="connsiteX41" fmla="*/ 773636 w 1051344"/>
                <a:gd name="connsiteY41" fmla="*/ 41884 h 454259"/>
                <a:gd name="connsiteX42" fmla="*/ 778718 w 1051344"/>
                <a:gd name="connsiteY42" fmla="*/ 48251 h 454259"/>
                <a:gd name="connsiteX43" fmla="*/ 768853 w 1051344"/>
                <a:gd name="connsiteY43" fmla="*/ 17709 h 454259"/>
                <a:gd name="connsiteX44" fmla="*/ 769451 w 1051344"/>
                <a:gd name="connsiteY44" fmla="*/ 17709 h 454259"/>
                <a:gd name="connsiteX45" fmla="*/ 767160 w 1051344"/>
                <a:gd name="connsiteY45" fmla="*/ 16216 h 454259"/>
                <a:gd name="connsiteX46" fmla="*/ 769451 w 1051344"/>
                <a:gd name="connsiteY46" fmla="*/ 17709 h 454259"/>
                <a:gd name="connsiteX47" fmla="*/ 752611 w 1051344"/>
                <a:gd name="connsiteY47" fmla="*/ 11640 h 454259"/>
                <a:gd name="connsiteX48" fmla="*/ 764967 w 1051344"/>
                <a:gd name="connsiteY48" fmla="*/ 14923 h 454259"/>
                <a:gd name="connsiteX49" fmla="*/ 753010 w 1051344"/>
                <a:gd name="connsiteY49" fmla="*/ 11640 h 454259"/>
                <a:gd name="connsiteX50" fmla="*/ 590092 w 1051344"/>
                <a:gd name="connsiteY50" fmla="*/ 454260 h 454259"/>
                <a:gd name="connsiteX51" fmla="*/ 740256 w 1051344"/>
                <a:gd name="connsiteY51" fmla="*/ 453662 h 454259"/>
                <a:gd name="connsiteX52" fmla="*/ 707373 w 1051344"/>
                <a:gd name="connsiteY52" fmla="*/ 453662 h 454259"/>
                <a:gd name="connsiteX53" fmla="*/ 590092 w 1051344"/>
                <a:gd name="connsiteY53" fmla="*/ 454260 h 454259"/>
                <a:gd name="connsiteX54" fmla="*/ 745935 w 1051344"/>
                <a:gd name="connsiteY54" fmla="*/ 17112 h 454259"/>
                <a:gd name="connsiteX55" fmla="*/ 737964 w 1051344"/>
                <a:gd name="connsiteY55" fmla="*/ 33925 h 454259"/>
                <a:gd name="connsiteX56" fmla="*/ 746035 w 1051344"/>
                <a:gd name="connsiteY56" fmla="*/ 17112 h 454259"/>
                <a:gd name="connsiteX57" fmla="*/ 670405 w 1051344"/>
                <a:gd name="connsiteY57" fmla="*/ 0 h 454259"/>
                <a:gd name="connsiteX58" fmla="*/ 667814 w 1051344"/>
                <a:gd name="connsiteY58" fmla="*/ 9949 h 454259"/>
                <a:gd name="connsiteX59" fmla="*/ 670505 w 1051344"/>
                <a:gd name="connsiteY59" fmla="*/ 5671 h 454259"/>
                <a:gd name="connsiteX60" fmla="*/ 670505 w 1051344"/>
                <a:gd name="connsiteY60" fmla="*/ 0 h 454259"/>
                <a:gd name="connsiteX61" fmla="*/ 664028 w 1051344"/>
                <a:gd name="connsiteY61" fmla="*/ 16714 h 454259"/>
                <a:gd name="connsiteX62" fmla="*/ 662533 w 1051344"/>
                <a:gd name="connsiteY62" fmla="*/ 18604 h 454259"/>
                <a:gd name="connsiteX63" fmla="*/ 662533 w 1051344"/>
                <a:gd name="connsiteY63" fmla="*/ 20196 h 454259"/>
                <a:gd name="connsiteX64" fmla="*/ 664127 w 1051344"/>
                <a:gd name="connsiteY64" fmla="*/ 16714 h 454259"/>
                <a:gd name="connsiteX65" fmla="*/ 662334 w 1051344"/>
                <a:gd name="connsiteY65" fmla="*/ 23678 h 454259"/>
                <a:gd name="connsiteX66" fmla="*/ 660939 w 1051344"/>
                <a:gd name="connsiteY66" fmla="*/ 28453 h 454259"/>
                <a:gd name="connsiteX67" fmla="*/ 662533 w 1051344"/>
                <a:gd name="connsiteY67" fmla="*/ 24573 h 454259"/>
                <a:gd name="connsiteX68" fmla="*/ 662434 w 1051344"/>
                <a:gd name="connsiteY68" fmla="*/ 23678 h 454259"/>
                <a:gd name="connsiteX69" fmla="*/ 488156 w 1051344"/>
                <a:gd name="connsiteY69" fmla="*/ 179774 h 454259"/>
                <a:gd name="connsiteX70" fmla="*/ 486661 w 1051344"/>
                <a:gd name="connsiteY70" fmla="*/ 176292 h 454259"/>
                <a:gd name="connsiteX71" fmla="*/ 488256 w 1051344"/>
                <a:gd name="connsiteY71" fmla="*/ 179774 h 454259"/>
                <a:gd name="connsiteX72" fmla="*/ 405651 w 1051344"/>
                <a:gd name="connsiteY72" fmla="*/ 452867 h 454259"/>
                <a:gd name="connsiteX73" fmla="*/ 327530 w 1051344"/>
                <a:gd name="connsiteY73" fmla="*/ 450379 h 454259"/>
                <a:gd name="connsiteX74" fmla="*/ 405651 w 1051344"/>
                <a:gd name="connsiteY74" fmla="*/ 452867 h 454259"/>
                <a:gd name="connsiteX75" fmla="*/ 308099 w 1051344"/>
                <a:gd name="connsiteY75" fmla="*/ 343431 h 454259"/>
                <a:gd name="connsiteX76" fmla="*/ 303017 w 1051344"/>
                <a:gd name="connsiteY76" fmla="*/ 341043 h 454259"/>
                <a:gd name="connsiteX77" fmla="*/ 308099 w 1051344"/>
                <a:gd name="connsiteY77" fmla="*/ 342834 h 454259"/>
                <a:gd name="connsiteX78" fmla="*/ 251302 w 1051344"/>
                <a:gd name="connsiteY78" fmla="*/ 446400 h 454259"/>
                <a:gd name="connsiteX79" fmla="*/ 252099 w 1051344"/>
                <a:gd name="connsiteY79" fmla="*/ 445505 h 454259"/>
                <a:gd name="connsiteX80" fmla="*/ 250904 w 1051344"/>
                <a:gd name="connsiteY80" fmla="*/ 446400 h 454259"/>
                <a:gd name="connsiteX81" fmla="*/ 186135 w 1051344"/>
                <a:gd name="connsiteY81" fmla="*/ 322041 h 454259"/>
                <a:gd name="connsiteX82" fmla="*/ 209850 w 1051344"/>
                <a:gd name="connsiteY82" fmla="*/ 301248 h 454259"/>
                <a:gd name="connsiteX83" fmla="*/ 186334 w 1051344"/>
                <a:gd name="connsiteY83" fmla="*/ 322041 h 454259"/>
                <a:gd name="connsiteX84" fmla="*/ 140298 w 1051344"/>
                <a:gd name="connsiteY84" fmla="*/ 350992 h 454259"/>
                <a:gd name="connsiteX85" fmla="*/ 137309 w 1051344"/>
                <a:gd name="connsiteY85" fmla="*/ 352285 h 454259"/>
                <a:gd name="connsiteX86" fmla="*/ 140498 w 1051344"/>
                <a:gd name="connsiteY86" fmla="*/ 350992 h 454259"/>
                <a:gd name="connsiteX87" fmla="*/ 118875 w 1051344"/>
                <a:gd name="connsiteY87" fmla="*/ 370292 h 454259"/>
                <a:gd name="connsiteX88" fmla="*/ 122662 w 1051344"/>
                <a:gd name="connsiteY88" fmla="*/ 362234 h 454259"/>
                <a:gd name="connsiteX89" fmla="*/ 118377 w 1051344"/>
                <a:gd name="connsiteY89" fmla="*/ 364820 h 454259"/>
                <a:gd name="connsiteX90" fmla="*/ 119074 w 1051344"/>
                <a:gd name="connsiteY90" fmla="*/ 370292 h 454259"/>
                <a:gd name="connsiteX91" fmla="*/ 113295 w 1051344"/>
                <a:gd name="connsiteY91" fmla="*/ 379047 h 454259"/>
                <a:gd name="connsiteX92" fmla="*/ 107416 w 1051344"/>
                <a:gd name="connsiteY92" fmla="*/ 380838 h 454259"/>
                <a:gd name="connsiteX93" fmla="*/ 113494 w 1051344"/>
                <a:gd name="connsiteY93" fmla="*/ 379047 h 454259"/>
                <a:gd name="connsiteX94" fmla="*/ 101636 w 1051344"/>
                <a:gd name="connsiteY94" fmla="*/ 386508 h 454259"/>
                <a:gd name="connsiteX95" fmla="*/ 107416 w 1051344"/>
                <a:gd name="connsiteY95" fmla="*/ 380838 h 454259"/>
                <a:gd name="connsiteX96" fmla="*/ 101836 w 1051344"/>
                <a:gd name="connsiteY96" fmla="*/ 386508 h 454259"/>
                <a:gd name="connsiteX97" fmla="*/ 64469 w 1051344"/>
                <a:gd name="connsiteY97" fmla="*/ 423020 h 454259"/>
                <a:gd name="connsiteX98" fmla="*/ 56598 w 1051344"/>
                <a:gd name="connsiteY98" fmla="*/ 424612 h 454259"/>
                <a:gd name="connsiteX99" fmla="*/ 64469 w 1051344"/>
                <a:gd name="connsiteY99" fmla="*/ 423020 h 454259"/>
                <a:gd name="connsiteX100" fmla="*/ 47032 w 1051344"/>
                <a:gd name="connsiteY100" fmla="*/ 427498 h 454259"/>
                <a:gd name="connsiteX101" fmla="*/ 34576 w 1051344"/>
                <a:gd name="connsiteY101" fmla="*/ 432273 h 454259"/>
                <a:gd name="connsiteX102" fmla="*/ 47032 w 1051344"/>
                <a:gd name="connsiteY102" fmla="*/ 427398 h 454259"/>
                <a:gd name="connsiteX103" fmla="*/ 26306 w 1051344"/>
                <a:gd name="connsiteY103" fmla="*/ 434461 h 454259"/>
                <a:gd name="connsiteX104" fmla="*/ 20626 w 1051344"/>
                <a:gd name="connsiteY104" fmla="*/ 434461 h 454259"/>
                <a:gd name="connsiteX105" fmla="*/ 26306 w 1051344"/>
                <a:gd name="connsiteY105" fmla="*/ 434362 h 454259"/>
                <a:gd name="connsiteX106" fmla="*/ 5081 w 1051344"/>
                <a:gd name="connsiteY106" fmla="*/ 440829 h 454259"/>
                <a:gd name="connsiteX107" fmla="*/ 12654 w 1051344"/>
                <a:gd name="connsiteY107" fmla="*/ 436949 h 454259"/>
                <a:gd name="connsiteX108" fmla="*/ 6975 w 1051344"/>
                <a:gd name="connsiteY108" fmla="*/ 439535 h 454259"/>
                <a:gd name="connsiteX109" fmla="*/ 398 w 1051344"/>
                <a:gd name="connsiteY109" fmla="*/ 444510 h 454259"/>
                <a:gd name="connsiteX110" fmla="*/ 1395 w 1051344"/>
                <a:gd name="connsiteY110" fmla="*/ 443515 h 454259"/>
                <a:gd name="connsiteX111" fmla="*/ 0 w 1051344"/>
                <a:gd name="connsiteY111" fmla="*/ 444510 h 45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1051344" h="454259">
                  <a:moveTo>
                    <a:pt x="1027231" y="223150"/>
                  </a:moveTo>
                  <a:cubicBezTo>
                    <a:pt x="1035361" y="223110"/>
                    <a:pt x="1043452" y="222106"/>
                    <a:pt x="1051344" y="220165"/>
                  </a:cubicBezTo>
                  <a:cubicBezTo>
                    <a:pt x="1043572" y="220961"/>
                    <a:pt x="1035302" y="221658"/>
                    <a:pt x="1027231" y="223150"/>
                  </a:cubicBezTo>
                  <a:close/>
                  <a:moveTo>
                    <a:pt x="961565" y="451971"/>
                  </a:moveTo>
                  <a:lnTo>
                    <a:pt x="975415" y="451971"/>
                  </a:lnTo>
                  <a:cubicBezTo>
                    <a:pt x="970782" y="451762"/>
                    <a:pt x="966139" y="452061"/>
                    <a:pt x="961565" y="452867"/>
                  </a:cubicBezTo>
                  <a:close/>
                  <a:moveTo>
                    <a:pt x="834020" y="97796"/>
                  </a:moveTo>
                  <a:lnTo>
                    <a:pt x="834020" y="99885"/>
                  </a:lnTo>
                  <a:cubicBezTo>
                    <a:pt x="834020" y="99089"/>
                    <a:pt x="834020" y="98393"/>
                    <a:pt x="834020" y="97597"/>
                  </a:cubicBezTo>
                  <a:cubicBezTo>
                    <a:pt x="834020" y="96801"/>
                    <a:pt x="834020" y="98094"/>
                    <a:pt x="834020" y="98194"/>
                  </a:cubicBezTo>
                  <a:close/>
                  <a:moveTo>
                    <a:pt x="834020" y="99885"/>
                  </a:moveTo>
                  <a:cubicBezTo>
                    <a:pt x="834020" y="101577"/>
                    <a:pt x="834020" y="103268"/>
                    <a:pt x="834020" y="104959"/>
                  </a:cubicBezTo>
                  <a:cubicBezTo>
                    <a:pt x="833921" y="103566"/>
                    <a:pt x="834020" y="101875"/>
                    <a:pt x="834020" y="100283"/>
                  </a:cubicBezTo>
                  <a:close/>
                  <a:moveTo>
                    <a:pt x="834020" y="96702"/>
                  </a:moveTo>
                  <a:lnTo>
                    <a:pt x="834020" y="96702"/>
                  </a:lnTo>
                  <a:cubicBezTo>
                    <a:pt x="834020" y="96702"/>
                    <a:pt x="834020" y="96702"/>
                    <a:pt x="834020" y="97299"/>
                  </a:cubicBezTo>
                  <a:close/>
                  <a:moveTo>
                    <a:pt x="834020" y="83868"/>
                  </a:moveTo>
                  <a:cubicBezTo>
                    <a:pt x="833024" y="82873"/>
                    <a:pt x="831928" y="81779"/>
                    <a:pt x="830733" y="80784"/>
                  </a:cubicBezTo>
                  <a:cubicBezTo>
                    <a:pt x="832347" y="82962"/>
                    <a:pt x="833443" y="85479"/>
                    <a:pt x="833921" y="88146"/>
                  </a:cubicBezTo>
                  <a:cubicBezTo>
                    <a:pt x="833921" y="87052"/>
                    <a:pt x="833921" y="85659"/>
                    <a:pt x="834020" y="84763"/>
                  </a:cubicBezTo>
                  <a:close/>
                  <a:moveTo>
                    <a:pt x="824056" y="73322"/>
                  </a:moveTo>
                  <a:cubicBezTo>
                    <a:pt x="824056" y="73322"/>
                    <a:pt x="824056" y="73820"/>
                    <a:pt x="824056" y="73919"/>
                  </a:cubicBezTo>
                  <a:lnTo>
                    <a:pt x="824654" y="74516"/>
                  </a:lnTo>
                  <a:cubicBezTo>
                    <a:pt x="824714" y="74317"/>
                    <a:pt x="824714" y="74118"/>
                    <a:pt x="824654" y="73919"/>
                  </a:cubicBezTo>
                  <a:close/>
                  <a:moveTo>
                    <a:pt x="818576" y="68845"/>
                  </a:moveTo>
                  <a:cubicBezTo>
                    <a:pt x="819861" y="69094"/>
                    <a:pt x="821067" y="69681"/>
                    <a:pt x="822064" y="70537"/>
                  </a:cubicBezTo>
                  <a:cubicBezTo>
                    <a:pt x="821755" y="70029"/>
                    <a:pt x="821496" y="69492"/>
                    <a:pt x="821266" y="68945"/>
                  </a:cubicBezTo>
                  <a:close/>
                  <a:moveTo>
                    <a:pt x="802135" y="55017"/>
                  </a:moveTo>
                  <a:cubicBezTo>
                    <a:pt x="804815" y="56220"/>
                    <a:pt x="806967" y="58329"/>
                    <a:pt x="808213" y="60986"/>
                  </a:cubicBezTo>
                  <a:cubicBezTo>
                    <a:pt x="807147" y="58220"/>
                    <a:pt x="804805" y="56151"/>
                    <a:pt x="801935" y="55414"/>
                  </a:cubicBezTo>
                  <a:close/>
                  <a:moveTo>
                    <a:pt x="798547" y="53922"/>
                  </a:moveTo>
                  <a:cubicBezTo>
                    <a:pt x="795359" y="53027"/>
                    <a:pt x="791772" y="52728"/>
                    <a:pt x="788583" y="52131"/>
                  </a:cubicBezTo>
                  <a:cubicBezTo>
                    <a:pt x="791762" y="53176"/>
                    <a:pt x="795030" y="53912"/>
                    <a:pt x="798348" y="54320"/>
                  </a:cubicBezTo>
                  <a:close/>
                  <a:moveTo>
                    <a:pt x="779416" y="29846"/>
                  </a:moveTo>
                  <a:lnTo>
                    <a:pt x="780811" y="27657"/>
                  </a:lnTo>
                  <a:cubicBezTo>
                    <a:pt x="780014" y="26961"/>
                    <a:pt x="779216" y="26066"/>
                    <a:pt x="778519" y="25568"/>
                  </a:cubicBezTo>
                  <a:cubicBezTo>
                    <a:pt x="779296" y="26851"/>
                    <a:pt x="779615" y="28364"/>
                    <a:pt x="779416" y="29846"/>
                  </a:cubicBezTo>
                  <a:close/>
                  <a:moveTo>
                    <a:pt x="772839" y="37606"/>
                  </a:moveTo>
                  <a:cubicBezTo>
                    <a:pt x="772790" y="38233"/>
                    <a:pt x="772790" y="38870"/>
                    <a:pt x="772839" y="39497"/>
                  </a:cubicBezTo>
                  <a:cubicBezTo>
                    <a:pt x="773288" y="38203"/>
                    <a:pt x="774005" y="37019"/>
                    <a:pt x="774932" y="36014"/>
                  </a:cubicBezTo>
                  <a:close/>
                  <a:moveTo>
                    <a:pt x="778320" y="48251"/>
                  </a:moveTo>
                  <a:cubicBezTo>
                    <a:pt x="775928" y="45068"/>
                    <a:pt x="774434" y="43277"/>
                    <a:pt x="773636" y="41884"/>
                  </a:cubicBezTo>
                  <a:cubicBezTo>
                    <a:pt x="774713" y="44431"/>
                    <a:pt x="776466" y="46640"/>
                    <a:pt x="778718" y="48251"/>
                  </a:cubicBezTo>
                  <a:close/>
                  <a:moveTo>
                    <a:pt x="768853" y="17709"/>
                  </a:moveTo>
                  <a:lnTo>
                    <a:pt x="769451" y="17709"/>
                  </a:lnTo>
                  <a:cubicBezTo>
                    <a:pt x="768744" y="17132"/>
                    <a:pt x="767976" y="16634"/>
                    <a:pt x="767160" y="16216"/>
                  </a:cubicBezTo>
                  <a:cubicBezTo>
                    <a:pt x="768046" y="16505"/>
                    <a:pt x="768833" y="17012"/>
                    <a:pt x="769451" y="17709"/>
                  </a:cubicBezTo>
                  <a:close/>
                  <a:moveTo>
                    <a:pt x="752611" y="11640"/>
                  </a:moveTo>
                  <a:cubicBezTo>
                    <a:pt x="756876" y="12068"/>
                    <a:pt x="761051" y="13172"/>
                    <a:pt x="764967" y="14923"/>
                  </a:cubicBezTo>
                  <a:cubicBezTo>
                    <a:pt x="761540" y="12366"/>
                    <a:pt x="757265" y="11192"/>
                    <a:pt x="753010" y="11640"/>
                  </a:cubicBezTo>
                  <a:close/>
                  <a:moveTo>
                    <a:pt x="590092" y="454260"/>
                  </a:moveTo>
                  <a:cubicBezTo>
                    <a:pt x="639914" y="454260"/>
                    <a:pt x="689736" y="454260"/>
                    <a:pt x="740256" y="453662"/>
                  </a:cubicBezTo>
                  <a:cubicBezTo>
                    <a:pt x="729294" y="453662"/>
                    <a:pt x="718234" y="453662"/>
                    <a:pt x="707373" y="453662"/>
                  </a:cubicBezTo>
                  <a:cubicBezTo>
                    <a:pt x="668612" y="453762"/>
                    <a:pt x="629352" y="454260"/>
                    <a:pt x="590092" y="454260"/>
                  </a:cubicBezTo>
                  <a:close/>
                  <a:moveTo>
                    <a:pt x="745935" y="17112"/>
                  </a:moveTo>
                  <a:cubicBezTo>
                    <a:pt x="742527" y="22325"/>
                    <a:pt x="739837" y="27986"/>
                    <a:pt x="737964" y="33925"/>
                  </a:cubicBezTo>
                  <a:cubicBezTo>
                    <a:pt x="741033" y="28513"/>
                    <a:pt x="743733" y="22892"/>
                    <a:pt x="746035" y="17112"/>
                  </a:cubicBezTo>
                  <a:close/>
                  <a:moveTo>
                    <a:pt x="670405" y="0"/>
                  </a:moveTo>
                  <a:cubicBezTo>
                    <a:pt x="670046" y="3432"/>
                    <a:pt x="669180" y="6785"/>
                    <a:pt x="667814" y="9949"/>
                  </a:cubicBezTo>
                  <a:cubicBezTo>
                    <a:pt x="668910" y="8357"/>
                    <a:pt x="669907" y="6765"/>
                    <a:pt x="670505" y="5671"/>
                  </a:cubicBezTo>
                  <a:cubicBezTo>
                    <a:pt x="670654" y="3780"/>
                    <a:pt x="670654" y="1890"/>
                    <a:pt x="670505" y="0"/>
                  </a:cubicBezTo>
                  <a:close/>
                  <a:moveTo>
                    <a:pt x="664028" y="16714"/>
                  </a:moveTo>
                  <a:lnTo>
                    <a:pt x="662533" y="18604"/>
                  </a:lnTo>
                  <a:cubicBezTo>
                    <a:pt x="662593" y="19131"/>
                    <a:pt x="662593" y="19669"/>
                    <a:pt x="662533" y="20196"/>
                  </a:cubicBezTo>
                  <a:cubicBezTo>
                    <a:pt x="662902" y="18962"/>
                    <a:pt x="663430" y="17798"/>
                    <a:pt x="664127" y="16714"/>
                  </a:cubicBezTo>
                  <a:close/>
                  <a:moveTo>
                    <a:pt x="662334" y="23678"/>
                  </a:moveTo>
                  <a:cubicBezTo>
                    <a:pt x="662334" y="25270"/>
                    <a:pt x="661437" y="26961"/>
                    <a:pt x="660939" y="28453"/>
                  </a:cubicBezTo>
                  <a:cubicBezTo>
                    <a:pt x="660939" y="27061"/>
                    <a:pt x="662035" y="25767"/>
                    <a:pt x="662533" y="24573"/>
                  </a:cubicBezTo>
                  <a:cubicBezTo>
                    <a:pt x="662454" y="24285"/>
                    <a:pt x="662423" y="23977"/>
                    <a:pt x="662434" y="23678"/>
                  </a:cubicBezTo>
                  <a:close/>
                  <a:moveTo>
                    <a:pt x="488156" y="179774"/>
                  </a:moveTo>
                  <a:cubicBezTo>
                    <a:pt x="487319" y="178789"/>
                    <a:pt x="486791" y="177575"/>
                    <a:pt x="486661" y="176292"/>
                  </a:cubicBezTo>
                  <a:cubicBezTo>
                    <a:pt x="486751" y="177605"/>
                    <a:pt x="487319" y="178838"/>
                    <a:pt x="488256" y="179774"/>
                  </a:cubicBezTo>
                  <a:close/>
                  <a:moveTo>
                    <a:pt x="405651" y="452867"/>
                  </a:moveTo>
                  <a:cubicBezTo>
                    <a:pt x="380242" y="451076"/>
                    <a:pt x="353637" y="451076"/>
                    <a:pt x="327530" y="450379"/>
                  </a:cubicBezTo>
                  <a:cubicBezTo>
                    <a:pt x="353537" y="451076"/>
                    <a:pt x="379544" y="451772"/>
                    <a:pt x="405651" y="452867"/>
                  </a:cubicBezTo>
                  <a:close/>
                  <a:moveTo>
                    <a:pt x="308099" y="343431"/>
                  </a:moveTo>
                  <a:cubicBezTo>
                    <a:pt x="306306" y="342873"/>
                    <a:pt x="304592" y="342078"/>
                    <a:pt x="303017" y="341043"/>
                  </a:cubicBezTo>
                  <a:cubicBezTo>
                    <a:pt x="304592" y="341928"/>
                    <a:pt x="306316" y="342535"/>
                    <a:pt x="308099" y="342834"/>
                  </a:cubicBezTo>
                  <a:close/>
                  <a:moveTo>
                    <a:pt x="251302" y="446400"/>
                  </a:moveTo>
                  <a:cubicBezTo>
                    <a:pt x="251511" y="446052"/>
                    <a:pt x="251780" y="445753"/>
                    <a:pt x="252099" y="445505"/>
                  </a:cubicBezTo>
                  <a:lnTo>
                    <a:pt x="250904" y="446400"/>
                  </a:lnTo>
                  <a:close/>
                  <a:moveTo>
                    <a:pt x="186135" y="322041"/>
                  </a:moveTo>
                  <a:cubicBezTo>
                    <a:pt x="194505" y="315475"/>
                    <a:pt x="202576" y="308113"/>
                    <a:pt x="209850" y="301248"/>
                  </a:cubicBezTo>
                  <a:cubicBezTo>
                    <a:pt x="201062" y="307028"/>
                    <a:pt x="193140" y="314032"/>
                    <a:pt x="186334" y="322041"/>
                  </a:cubicBezTo>
                  <a:close/>
                  <a:moveTo>
                    <a:pt x="140298" y="350992"/>
                  </a:moveTo>
                  <a:cubicBezTo>
                    <a:pt x="140298" y="350992"/>
                    <a:pt x="138903" y="350992"/>
                    <a:pt x="137309" y="352285"/>
                  </a:cubicBezTo>
                  <a:cubicBezTo>
                    <a:pt x="138316" y="351718"/>
                    <a:pt x="139382" y="351290"/>
                    <a:pt x="140498" y="350992"/>
                  </a:cubicBezTo>
                  <a:close/>
                  <a:moveTo>
                    <a:pt x="118875" y="370292"/>
                  </a:moveTo>
                  <a:cubicBezTo>
                    <a:pt x="119363" y="367307"/>
                    <a:pt x="120669" y="364512"/>
                    <a:pt x="122662" y="362234"/>
                  </a:cubicBezTo>
                  <a:cubicBezTo>
                    <a:pt x="121296" y="363189"/>
                    <a:pt x="119862" y="364054"/>
                    <a:pt x="118377" y="364820"/>
                  </a:cubicBezTo>
                  <a:cubicBezTo>
                    <a:pt x="118965" y="366581"/>
                    <a:pt x="119194" y="368442"/>
                    <a:pt x="119074" y="370292"/>
                  </a:cubicBezTo>
                  <a:close/>
                  <a:moveTo>
                    <a:pt x="113295" y="379047"/>
                  </a:moveTo>
                  <a:cubicBezTo>
                    <a:pt x="111302" y="379534"/>
                    <a:pt x="109339" y="380131"/>
                    <a:pt x="107416" y="380838"/>
                  </a:cubicBezTo>
                  <a:cubicBezTo>
                    <a:pt x="109498" y="380460"/>
                    <a:pt x="111541" y="379853"/>
                    <a:pt x="113494" y="379047"/>
                  </a:cubicBezTo>
                  <a:close/>
                  <a:moveTo>
                    <a:pt x="101636" y="386508"/>
                  </a:moveTo>
                  <a:cubicBezTo>
                    <a:pt x="102942" y="384081"/>
                    <a:pt x="104955" y="382101"/>
                    <a:pt x="107416" y="380838"/>
                  </a:cubicBezTo>
                  <a:cubicBezTo>
                    <a:pt x="104666" y="381584"/>
                    <a:pt x="102534" y="383753"/>
                    <a:pt x="101836" y="386508"/>
                  </a:cubicBezTo>
                  <a:close/>
                  <a:moveTo>
                    <a:pt x="64469" y="423020"/>
                  </a:moveTo>
                  <a:cubicBezTo>
                    <a:pt x="61819" y="423388"/>
                    <a:pt x="59188" y="423916"/>
                    <a:pt x="56598" y="424612"/>
                  </a:cubicBezTo>
                  <a:cubicBezTo>
                    <a:pt x="59308" y="424732"/>
                    <a:pt x="62018" y="424184"/>
                    <a:pt x="64469" y="423020"/>
                  </a:cubicBezTo>
                  <a:close/>
                  <a:moveTo>
                    <a:pt x="47032" y="427498"/>
                  </a:moveTo>
                  <a:cubicBezTo>
                    <a:pt x="42647" y="428890"/>
                    <a:pt x="38263" y="430681"/>
                    <a:pt x="34576" y="432273"/>
                  </a:cubicBezTo>
                  <a:cubicBezTo>
                    <a:pt x="38861" y="430780"/>
                    <a:pt x="43046" y="428890"/>
                    <a:pt x="47032" y="427398"/>
                  </a:cubicBezTo>
                  <a:close/>
                  <a:moveTo>
                    <a:pt x="26306" y="434461"/>
                  </a:moveTo>
                  <a:cubicBezTo>
                    <a:pt x="24412" y="434322"/>
                    <a:pt x="22519" y="434322"/>
                    <a:pt x="20626" y="434461"/>
                  </a:cubicBezTo>
                  <a:cubicBezTo>
                    <a:pt x="22509" y="434730"/>
                    <a:pt x="24432" y="434690"/>
                    <a:pt x="26306" y="434362"/>
                  </a:cubicBezTo>
                  <a:close/>
                  <a:moveTo>
                    <a:pt x="5081" y="440829"/>
                  </a:moveTo>
                  <a:cubicBezTo>
                    <a:pt x="7473" y="439436"/>
                    <a:pt x="10163" y="438142"/>
                    <a:pt x="12654" y="436949"/>
                  </a:cubicBezTo>
                  <a:cubicBezTo>
                    <a:pt x="10642" y="437506"/>
                    <a:pt x="8719" y="438381"/>
                    <a:pt x="6975" y="439535"/>
                  </a:cubicBezTo>
                  <a:close/>
                  <a:moveTo>
                    <a:pt x="398" y="444510"/>
                  </a:moveTo>
                  <a:lnTo>
                    <a:pt x="1395" y="443515"/>
                  </a:lnTo>
                  <a:lnTo>
                    <a:pt x="0" y="444510"/>
                  </a:ln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502" name="Graphic 231">
              <a:extLst>
                <a:ext uri="{FF2B5EF4-FFF2-40B4-BE49-F238E27FC236}">
                  <a16:creationId xmlns:a16="http://schemas.microsoft.com/office/drawing/2014/main" id="{3AE9020D-3485-4471-A96E-91C6B9053A9C}"/>
                </a:ext>
              </a:extLst>
            </p:cNvPr>
            <p:cNvGrpSpPr/>
            <p:nvPr/>
          </p:nvGrpSpPr>
          <p:grpSpPr>
            <a:xfrm>
              <a:off x="2128429" y="2579545"/>
              <a:ext cx="1087116" cy="252896"/>
              <a:chOff x="2128429" y="2579545"/>
              <a:chExt cx="1087116" cy="252896"/>
            </a:xfrm>
            <a:solidFill>
              <a:srgbClr val="ECE8E4"/>
            </a:solidFill>
          </p:grpSpPr>
          <p:sp>
            <p:nvSpPr>
              <p:cNvPr id="2439" name="Freeform: Shape 2438">
                <a:extLst>
                  <a:ext uri="{FF2B5EF4-FFF2-40B4-BE49-F238E27FC236}">
                    <a16:creationId xmlns:a16="http://schemas.microsoft.com/office/drawing/2014/main" id="{285BE090-A713-4AB0-8B73-597F71921C59}"/>
                  </a:ext>
                </a:extLst>
              </p:cNvPr>
              <p:cNvSpPr/>
              <p:nvPr/>
            </p:nvSpPr>
            <p:spPr>
              <a:xfrm>
                <a:off x="2128429" y="2828662"/>
                <a:ext cx="896" cy="2288"/>
              </a:xfrm>
              <a:custGeom>
                <a:avLst/>
                <a:gdLst>
                  <a:gd name="connsiteX0" fmla="*/ 0 w 896"/>
                  <a:gd name="connsiteY0" fmla="*/ 0 h 2288"/>
                  <a:gd name="connsiteX1" fmla="*/ 897 w 896"/>
                  <a:gd name="connsiteY1" fmla="*/ 2288 h 2288"/>
                  <a:gd name="connsiteX2" fmla="*/ 0 w 896"/>
                  <a:gd name="connsiteY2" fmla="*/ 2288 h 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" h="2288">
                    <a:moveTo>
                      <a:pt x="0" y="0"/>
                    </a:moveTo>
                    <a:cubicBezTo>
                      <a:pt x="70" y="836"/>
                      <a:pt x="389" y="1632"/>
                      <a:pt x="897" y="2288"/>
                    </a:cubicBezTo>
                    <a:lnTo>
                      <a:pt x="0" y="2288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0" name="Freeform: Shape 2439">
                <a:extLst>
                  <a:ext uri="{FF2B5EF4-FFF2-40B4-BE49-F238E27FC236}">
                    <a16:creationId xmlns:a16="http://schemas.microsoft.com/office/drawing/2014/main" id="{C04B98F2-890A-435A-9422-9D2A4AD12FF3}"/>
                  </a:ext>
                </a:extLst>
              </p:cNvPr>
              <p:cNvSpPr/>
              <p:nvPr/>
            </p:nvSpPr>
            <p:spPr>
              <a:xfrm>
                <a:off x="2129026" y="2824583"/>
                <a:ext cx="3786" cy="2487"/>
              </a:xfrm>
              <a:custGeom>
                <a:avLst/>
                <a:gdLst>
                  <a:gd name="connsiteX0" fmla="*/ 199 w 3786"/>
                  <a:gd name="connsiteY0" fmla="*/ 1393 h 2487"/>
                  <a:gd name="connsiteX1" fmla="*/ 3787 w 3786"/>
                  <a:gd name="connsiteY1" fmla="*/ 0 h 2487"/>
                  <a:gd name="connsiteX2" fmla="*/ 0 w 3786"/>
                  <a:gd name="connsiteY2" fmla="*/ 2487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86" h="2487">
                    <a:moveTo>
                      <a:pt x="199" y="1393"/>
                    </a:moveTo>
                    <a:cubicBezTo>
                      <a:pt x="1345" y="806"/>
                      <a:pt x="2541" y="338"/>
                      <a:pt x="3787" y="0"/>
                    </a:cubicBezTo>
                    <a:cubicBezTo>
                      <a:pt x="1594" y="696"/>
                      <a:pt x="399" y="1492"/>
                      <a:pt x="0" y="24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1" name="Freeform: Shape 2440">
                <a:extLst>
                  <a:ext uri="{FF2B5EF4-FFF2-40B4-BE49-F238E27FC236}">
                    <a16:creationId xmlns:a16="http://schemas.microsoft.com/office/drawing/2014/main" id="{3BF8C330-65C0-41B3-A028-24FF412E60BF}"/>
                  </a:ext>
                </a:extLst>
              </p:cNvPr>
              <p:cNvSpPr/>
              <p:nvPr/>
            </p:nvSpPr>
            <p:spPr>
              <a:xfrm>
                <a:off x="2149553" y="2811247"/>
                <a:ext cx="6576" cy="899"/>
              </a:xfrm>
              <a:custGeom>
                <a:avLst/>
                <a:gdLst>
                  <a:gd name="connsiteX0" fmla="*/ 6577 w 6576"/>
                  <a:gd name="connsiteY0" fmla="*/ 900 h 899"/>
                  <a:gd name="connsiteX1" fmla="*/ 0 w 6576"/>
                  <a:gd name="connsiteY1" fmla="*/ 303 h 899"/>
                  <a:gd name="connsiteX2" fmla="*/ 6577 w 6576"/>
                  <a:gd name="connsiteY2" fmla="*/ 900 h 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76" h="899">
                    <a:moveTo>
                      <a:pt x="6577" y="900"/>
                    </a:moveTo>
                    <a:cubicBezTo>
                      <a:pt x="4514" y="-36"/>
                      <a:pt x="2192" y="-254"/>
                      <a:pt x="0" y="303"/>
                    </a:cubicBezTo>
                    <a:cubicBezTo>
                      <a:pt x="2192" y="-254"/>
                      <a:pt x="4514" y="-36"/>
                      <a:pt x="6577" y="90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2" name="Freeform: Shape 2441">
                <a:extLst>
                  <a:ext uri="{FF2B5EF4-FFF2-40B4-BE49-F238E27FC236}">
                    <a16:creationId xmlns:a16="http://schemas.microsoft.com/office/drawing/2014/main" id="{81624CDE-9633-4075-BABB-A9E3C2CE5D28}"/>
                  </a:ext>
                </a:extLst>
              </p:cNvPr>
              <p:cNvSpPr/>
              <p:nvPr/>
            </p:nvSpPr>
            <p:spPr>
              <a:xfrm>
                <a:off x="2185026" y="2711466"/>
                <a:ext cx="5580" cy="4078"/>
              </a:xfrm>
              <a:custGeom>
                <a:avLst/>
                <a:gdLst>
                  <a:gd name="connsiteX0" fmla="*/ 0 w 5580"/>
                  <a:gd name="connsiteY0" fmla="*/ 4079 h 4078"/>
                  <a:gd name="connsiteX1" fmla="*/ 5580 w 5580"/>
                  <a:gd name="connsiteY1" fmla="*/ 0 h 4078"/>
                  <a:gd name="connsiteX2" fmla="*/ 0 w 5580"/>
                  <a:gd name="connsiteY2" fmla="*/ 4079 h 4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80" h="4078">
                    <a:moveTo>
                      <a:pt x="0" y="4079"/>
                    </a:moveTo>
                    <a:cubicBezTo>
                      <a:pt x="1555" y="2338"/>
                      <a:pt x="3458" y="955"/>
                      <a:pt x="5580" y="0"/>
                    </a:cubicBezTo>
                    <a:cubicBezTo>
                      <a:pt x="3607" y="1194"/>
                      <a:pt x="1744" y="2567"/>
                      <a:pt x="0" y="407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3" name="Freeform: Shape 2442">
                <a:extLst>
                  <a:ext uri="{FF2B5EF4-FFF2-40B4-BE49-F238E27FC236}">
                    <a16:creationId xmlns:a16="http://schemas.microsoft.com/office/drawing/2014/main" id="{081A549E-3329-49B9-80C6-9C735B8751DF}"/>
                  </a:ext>
                </a:extLst>
              </p:cNvPr>
              <p:cNvSpPr/>
              <p:nvPr/>
            </p:nvSpPr>
            <p:spPr>
              <a:xfrm>
                <a:off x="2199575" y="2704004"/>
                <a:ext cx="2391" cy="2487"/>
              </a:xfrm>
              <a:custGeom>
                <a:avLst/>
                <a:gdLst>
                  <a:gd name="connsiteX0" fmla="*/ 1893 w 2391"/>
                  <a:gd name="connsiteY0" fmla="*/ 0 h 2487"/>
                  <a:gd name="connsiteX1" fmla="*/ 2391 w 2391"/>
                  <a:gd name="connsiteY1" fmla="*/ 1592 h 2487"/>
                  <a:gd name="connsiteX2" fmla="*/ 0 w 2391"/>
                  <a:gd name="connsiteY2" fmla="*/ 2487 h 2487"/>
                  <a:gd name="connsiteX3" fmla="*/ 1893 w 2391"/>
                  <a:gd name="connsiteY3" fmla="*/ 0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1" h="2487">
                    <a:moveTo>
                      <a:pt x="1893" y="0"/>
                    </a:moveTo>
                    <a:cubicBezTo>
                      <a:pt x="2022" y="537"/>
                      <a:pt x="2192" y="1074"/>
                      <a:pt x="2391" y="1592"/>
                    </a:cubicBezTo>
                    <a:lnTo>
                      <a:pt x="0" y="2487"/>
                    </a:lnTo>
                    <a:cubicBezTo>
                      <a:pt x="827" y="1830"/>
                      <a:pt x="1475" y="975"/>
                      <a:pt x="1893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4" name="Freeform: Shape 2443">
                <a:extLst>
                  <a:ext uri="{FF2B5EF4-FFF2-40B4-BE49-F238E27FC236}">
                    <a16:creationId xmlns:a16="http://schemas.microsoft.com/office/drawing/2014/main" id="{941413B2-CB72-496C-A3C1-404C655C35C8}"/>
                  </a:ext>
                </a:extLst>
              </p:cNvPr>
              <p:cNvSpPr/>
              <p:nvPr/>
            </p:nvSpPr>
            <p:spPr>
              <a:xfrm>
                <a:off x="2202962" y="2693458"/>
                <a:ext cx="6675" cy="2387"/>
              </a:xfrm>
              <a:custGeom>
                <a:avLst/>
                <a:gdLst>
                  <a:gd name="connsiteX0" fmla="*/ 0 w 6675"/>
                  <a:gd name="connsiteY0" fmla="*/ 2388 h 2387"/>
                  <a:gd name="connsiteX1" fmla="*/ 6676 w 6675"/>
                  <a:gd name="connsiteY1" fmla="*/ 0 h 2387"/>
                  <a:gd name="connsiteX2" fmla="*/ 0 w 6675"/>
                  <a:gd name="connsiteY2" fmla="*/ 2388 h 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75" h="2387">
                    <a:moveTo>
                      <a:pt x="0" y="2388"/>
                    </a:moveTo>
                    <a:cubicBezTo>
                      <a:pt x="2082" y="1244"/>
                      <a:pt x="4334" y="438"/>
                      <a:pt x="6676" y="0"/>
                    </a:cubicBezTo>
                    <a:cubicBezTo>
                      <a:pt x="5181" y="1095"/>
                      <a:pt x="1893" y="1194"/>
                      <a:pt x="0" y="238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5" name="Freeform: Shape 2444">
                <a:extLst>
                  <a:ext uri="{FF2B5EF4-FFF2-40B4-BE49-F238E27FC236}">
                    <a16:creationId xmlns:a16="http://schemas.microsoft.com/office/drawing/2014/main" id="{00FD24ED-4F8B-43C4-9E60-5DDCF34F58F0}"/>
                  </a:ext>
                </a:extLst>
              </p:cNvPr>
              <p:cNvSpPr/>
              <p:nvPr/>
            </p:nvSpPr>
            <p:spPr>
              <a:xfrm>
                <a:off x="2205553" y="2662916"/>
                <a:ext cx="2605" cy="9053"/>
              </a:xfrm>
              <a:custGeom>
                <a:avLst/>
                <a:gdLst>
                  <a:gd name="connsiteX0" fmla="*/ 0 w 2605"/>
                  <a:gd name="connsiteY0" fmla="*/ 9053 h 9053"/>
                  <a:gd name="connsiteX1" fmla="*/ 2392 w 2605"/>
                  <a:gd name="connsiteY1" fmla="*/ 0 h 9053"/>
                  <a:gd name="connsiteX2" fmla="*/ 0 w 2605"/>
                  <a:gd name="connsiteY2" fmla="*/ 9053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5" h="9053">
                    <a:moveTo>
                      <a:pt x="0" y="9053"/>
                    </a:moveTo>
                    <a:cubicBezTo>
                      <a:pt x="1266" y="6178"/>
                      <a:pt x="2073" y="3124"/>
                      <a:pt x="2392" y="0"/>
                    </a:cubicBezTo>
                    <a:cubicBezTo>
                      <a:pt x="3049" y="3223"/>
                      <a:pt x="2172" y="6576"/>
                      <a:pt x="0" y="905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6" name="Freeform: Shape 2445">
                <a:extLst>
                  <a:ext uri="{FF2B5EF4-FFF2-40B4-BE49-F238E27FC236}">
                    <a16:creationId xmlns:a16="http://schemas.microsoft.com/office/drawing/2014/main" id="{2D355F75-4DE5-493E-8D77-4AC3A1C8957B}"/>
                  </a:ext>
                </a:extLst>
              </p:cNvPr>
              <p:cNvSpPr/>
              <p:nvPr/>
            </p:nvSpPr>
            <p:spPr>
              <a:xfrm>
                <a:off x="2208144" y="2656946"/>
                <a:ext cx="8071" cy="5969"/>
              </a:xfrm>
              <a:custGeom>
                <a:avLst/>
                <a:gdLst>
                  <a:gd name="connsiteX0" fmla="*/ 0 w 8071"/>
                  <a:gd name="connsiteY0" fmla="*/ 5969 h 5969"/>
                  <a:gd name="connsiteX1" fmla="*/ 8071 w 8071"/>
                  <a:gd name="connsiteY1" fmla="*/ 0 h 5969"/>
                  <a:gd name="connsiteX2" fmla="*/ 0 w 8071"/>
                  <a:gd name="connsiteY2" fmla="*/ 5969 h 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71" h="5969">
                    <a:moveTo>
                      <a:pt x="0" y="5969"/>
                    </a:moveTo>
                    <a:lnTo>
                      <a:pt x="8071" y="0"/>
                    </a:lnTo>
                    <a:cubicBezTo>
                      <a:pt x="5759" y="2457"/>
                      <a:pt x="3019" y="4477"/>
                      <a:pt x="0" y="596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7" name="Freeform: Shape 2446">
                <a:extLst>
                  <a:ext uri="{FF2B5EF4-FFF2-40B4-BE49-F238E27FC236}">
                    <a16:creationId xmlns:a16="http://schemas.microsoft.com/office/drawing/2014/main" id="{70573280-155B-417C-9EF6-7AA71DE26E42}"/>
                  </a:ext>
                </a:extLst>
              </p:cNvPr>
              <p:cNvSpPr/>
              <p:nvPr/>
            </p:nvSpPr>
            <p:spPr>
              <a:xfrm>
                <a:off x="2210037" y="2643914"/>
                <a:ext cx="6975" cy="7461"/>
              </a:xfrm>
              <a:custGeom>
                <a:avLst/>
                <a:gdLst>
                  <a:gd name="connsiteX0" fmla="*/ 6975 w 6975"/>
                  <a:gd name="connsiteY0" fmla="*/ 7462 h 7461"/>
                  <a:gd name="connsiteX1" fmla="*/ 0 w 6975"/>
                  <a:gd name="connsiteY1" fmla="*/ 0 h 7461"/>
                  <a:gd name="connsiteX2" fmla="*/ 6975 w 6975"/>
                  <a:gd name="connsiteY2" fmla="*/ 7462 h 7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75" h="7461">
                    <a:moveTo>
                      <a:pt x="6975" y="7462"/>
                    </a:moveTo>
                    <a:cubicBezTo>
                      <a:pt x="5002" y="4676"/>
                      <a:pt x="2650" y="2159"/>
                      <a:pt x="0" y="0"/>
                    </a:cubicBezTo>
                    <a:cubicBezTo>
                      <a:pt x="2939" y="1840"/>
                      <a:pt x="5341" y="4407"/>
                      <a:pt x="6975" y="746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8" name="Freeform: Shape 2447">
                <a:extLst>
                  <a:ext uri="{FF2B5EF4-FFF2-40B4-BE49-F238E27FC236}">
                    <a16:creationId xmlns:a16="http://schemas.microsoft.com/office/drawing/2014/main" id="{D73AB1B4-8F7D-43AD-A057-74253C801A7D}"/>
                  </a:ext>
                </a:extLst>
              </p:cNvPr>
              <p:cNvSpPr/>
              <p:nvPr/>
            </p:nvSpPr>
            <p:spPr>
              <a:xfrm>
                <a:off x="2203361" y="2679431"/>
                <a:ext cx="8606" cy="11739"/>
              </a:xfrm>
              <a:custGeom>
                <a:avLst/>
                <a:gdLst>
                  <a:gd name="connsiteX0" fmla="*/ 8570 w 8606"/>
                  <a:gd name="connsiteY0" fmla="*/ 11242 h 11739"/>
                  <a:gd name="connsiteX1" fmla="*/ 8570 w 8606"/>
                  <a:gd name="connsiteY1" fmla="*/ 11739 h 11739"/>
                  <a:gd name="connsiteX2" fmla="*/ 0 w 8606"/>
                  <a:gd name="connsiteY2" fmla="*/ 0 h 11739"/>
                  <a:gd name="connsiteX3" fmla="*/ 8570 w 8606"/>
                  <a:gd name="connsiteY3" fmla="*/ 11242 h 11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06" h="11739">
                    <a:moveTo>
                      <a:pt x="8570" y="11242"/>
                    </a:moveTo>
                    <a:cubicBezTo>
                      <a:pt x="8619" y="11401"/>
                      <a:pt x="8619" y="11580"/>
                      <a:pt x="8570" y="11739"/>
                    </a:cubicBezTo>
                    <a:cubicBezTo>
                      <a:pt x="6377" y="7382"/>
                      <a:pt x="3478" y="3422"/>
                      <a:pt x="0" y="0"/>
                    </a:cubicBezTo>
                    <a:cubicBezTo>
                      <a:pt x="3468" y="3243"/>
                      <a:pt x="6367" y="7043"/>
                      <a:pt x="8570" y="1124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49" name="Freeform: Shape 2448">
                <a:extLst>
                  <a:ext uri="{FF2B5EF4-FFF2-40B4-BE49-F238E27FC236}">
                    <a16:creationId xmlns:a16="http://schemas.microsoft.com/office/drawing/2014/main" id="{63B57966-E7BC-40DF-945C-7AC3FC094B41}"/>
                  </a:ext>
                </a:extLst>
              </p:cNvPr>
              <p:cNvSpPr/>
              <p:nvPr/>
            </p:nvSpPr>
            <p:spPr>
              <a:xfrm>
                <a:off x="2220699" y="2622225"/>
                <a:ext cx="5580" cy="1162"/>
              </a:xfrm>
              <a:custGeom>
                <a:avLst/>
                <a:gdLst>
                  <a:gd name="connsiteX0" fmla="*/ 0 w 5580"/>
                  <a:gd name="connsiteY0" fmla="*/ 1094 h 1162"/>
                  <a:gd name="connsiteX1" fmla="*/ 5580 w 5580"/>
                  <a:gd name="connsiteY1" fmla="*/ 0 h 1162"/>
                  <a:gd name="connsiteX2" fmla="*/ 0 w 5580"/>
                  <a:gd name="connsiteY2" fmla="*/ 1094 h 1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80" h="1162">
                    <a:moveTo>
                      <a:pt x="0" y="1094"/>
                    </a:moveTo>
                    <a:cubicBezTo>
                      <a:pt x="1823" y="577"/>
                      <a:pt x="3697" y="209"/>
                      <a:pt x="5580" y="0"/>
                    </a:cubicBezTo>
                    <a:cubicBezTo>
                      <a:pt x="3886" y="945"/>
                      <a:pt x="1933" y="1333"/>
                      <a:pt x="0" y="109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0" name="Freeform: Shape 2449">
                <a:extLst>
                  <a:ext uri="{FF2B5EF4-FFF2-40B4-BE49-F238E27FC236}">
                    <a16:creationId xmlns:a16="http://schemas.microsoft.com/office/drawing/2014/main" id="{B3099E40-1323-4B3B-9EF9-9A3BF363E54F}"/>
                  </a:ext>
                </a:extLst>
              </p:cNvPr>
              <p:cNvSpPr/>
              <p:nvPr/>
            </p:nvSpPr>
            <p:spPr>
              <a:xfrm>
                <a:off x="2224884" y="2603621"/>
                <a:ext cx="2309" cy="7461"/>
              </a:xfrm>
              <a:custGeom>
                <a:avLst/>
                <a:gdLst>
                  <a:gd name="connsiteX0" fmla="*/ 2292 w 2309"/>
                  <a:gd name="connsiteY0" fmla="*/ 0 h 7461"/>
                  <a:gd name="connsiteX1" fmla="*/ 0 w 2309"/>
                  <a:gd name="connsiteY1" fmla="*/ 7462 h 7461"/>
                  <a:gd name="connsiteX2" fmla="*/ 2292 w 2309"/>
                  <a:gd name="connsiteY2" fmla="*/ 0 h 7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09" h="7461">
                    <a:moveTo>
                      <a:pt x="2292" y="0"/>
                    </a:moveTo>
                    <a:cubicBezTo>
                      <a:pt x="2441" y="2676"/>
                      <a:pt x="1634" y="5323"/>
                      <a:pt x="0" y="7462"/>
                    </a:cubicBezTo>
                    <a:cubicBezTo>
                      <a:pt x="1365" y="5203"/>
                      <a:pt x="2152" y="2637"/>
                      <a:pt x="229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1" name="Freeform: Shape 2450">
                <a:extLst>
                  <a:ext uri="{FF2B5EF4-FFF2-40B4-BE49-F238E27FC236}">
                    <a16:creationId xmlns:a16="http://schemas.microsoft.com/office/drawing/2014/main" id="{D1E1AFB0-FAE0-45C7-96F6-C0653DDF1B0A}"/>
                  </a:ext>
                </a:extLst>
              </p:cNvPr>
              <p:cNvSpPr/>
              <p:nvPr/>
            </p:nvSpPr>
            <p:spPr>
              <a:xfrm>
                <a:off x="2226179" y="2612774"/>
                <a:ext cx="2391" cy="6068"/>
              </a:xfrm>
              <a:custGeom>
                <a:avLst/>
                <a:gdLst>
                  <a:gd name="connsiteX0" fmla="*/ 0 w 2391"/>
                  <a:gd name="connsiteY0" fmla="*/ 0 h 6068"/>
                  <a:gd name="connsiteX1" fmla="*/ 2391 w 2391"/>
                  <a:gd name="connsiteY1" fmla="*/ 6069 h 6068"/>
                  <a:gd name="connsiteX2" fmla="*/ 0 w 2391"/>
                  <a:gd name="connsiteY2" fmla="*/ 0 h 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1" h="6068">
                    <a:moveTo>
                      <a:pt x="0" y="0"/>
                    </a:moveTo>
                    <a:cubicBezTo>
                      <a:pt x="1455" y="1701"/>
                      <a:pt x="2302" y="3830"/>
                      <a:pt x="2391" y="6069"/>
                    </a:cubicBezTo>
                    <a:cubicBezTo>
                      <a:pt x="2113" y="3880"/>
                      <a:pt x="1295" y="179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2" name="Freeform: Shape 2451">
                <a:extLst>
                  <a:ext uri="{FF2B5EF4-FFF2-40B4-BE49-F238E27FC236}">
                    <a16:creationId xmlns:a16="http://schemas.microsoft.com/office/drawing/2014/main" id="{8CA3251A-D290-45B7-9F8A-CCA056C50441}"/>
                  </a:ext>
                </a:extLst>
              </p:cNvPr>
              <p:cNvSpPr/>
              <p:nvPr/>
            </p:nvSpPr>
            <p:spPr>
              <a:xfrm>
                <a:off x="2233553" y="2598050"/>
                <a:ext cx="34676" cy="962"/>
              </a:xfrm>
              <a:custGeom>
                <a:avLst/>
                <a:gdLst>
                  <a:gd name="connsiteX0" fmla="*/ 0 w 34676"/>
                  <a:gd name="connsiteY0" fmla="*/ 0 h 962"/>
                  <a:gd name="connsiteX1" fmla="*/ 34677 w 34676"/>
                  <a:gd name="connsiteY1" fmla="*/ 0 h 962"/>
                  <a:gd name="connsiteX2" fmla="*/ 0 w 34676"/>
                  <a:gd name="connsiteY2" fmla="*/ 0 h 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676" h="962">
                    <a:moveTo>
                      <a:pt x="0" y="0"/>
                    </a:moveTo>
                    <a:cubicBezTo>
                      <a:pt x="11260" y="0"/>
                      <a:pt x="22918" y="0"/>
                      <a:pt x="34677" y="0"/>
                    </a:cubicBezTo>
                    <a:cubicBezTo>
                      <a:pt x="23158" y="1283"/>
                      <a:pt x="11519" y="128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3" name="Freeform: Shape 2452">
                <a:extLst>
                  <a:ext uri="{FF2B5EF4-FFF2-40B4-BE49-F238E27FC236}">
                    <a16:creationId xmlns:a16="http://schemas.microsoft.com/office/drawing/2014/main" id="{0D2E9B20-9AA3-4CAA-8111-86E1EBE7D625}"/>
                  </a:ext>
                </a:extLst>
              </p:cNvPr>
              <p:cNvSpPr/>
              <p:nvPr/>
            </p:nvSpPr>
            <p:spPr>
              <a:xfrm>
                <a:off x="2296528" y="2597846"/>
                <a:ext cx="49822" cy="104"/>
              </a:xfrm>
              <a:custGeom>
                <a:avLst/>
                <a:gdLst>
                  <a:gd name="connsiteX0" fmla="*/ 0 w 49822"/>
                  <a:gd name="connsiteY0" fmla="*/ 105 h 104"/>
                  <a:gd name="connsiteX1" fmla="*/ 49822 w 49822"/>
                  <a:gd name="connsiteY1" fmla="*/ 105 h 104"/>
                  <a:gd name="connsiteX2" fmla="*/ 1295 w 49822"/>
                  <a:gd name="connsiteY2" fmla="*/ 105 h 104"/>
                  <a:gd name="connsiteX3" fmla="*/ 0 w 49822"/>
                  <a:gd name="connsiteY3" fmla="*/ 105 h 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22" h="104">
                    <a:moveTo>
                      <a:pt x="0" y="105"/>
                    </a:moveTo>
                    <a:lnTo>
                      <a:pt x="49822" y="105"/>
                    </a:lnTo>
                    <a:lnTo>
                      <a:pt x="1295" y="105"/>
                    </a:lnTo>
                    <a:cubicBezTo>
                      <a:pt x="877" y="-35"/>
                      <a:pt x="418" y="-35"/>
                      <a:pt x="0" y="10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4" name="Freeform: Shape 2453">
                <a:extLst>
                  <a:ext uri="{FF2B5EF4-FFF2-40B4-BE49-F238E27FC236}">
                    <a16:creationId xmlns:a16="http://schemas.microsoft.com/office/drawing/2014/main" id="{DF9E2BDA-1F5A-4E16-893B-350DF30B62E7}"/>
                  </a:ext>
                </a:extLst>
              </p:cNvPr>
              <p:cNvSpPr/>
              <p:nvPr/>
            </p:nvSpPr>
            <p:spPr>
              <a:xfrm>
                <a:off x="2393283" y="2829458"/>
                <a:ext cx="996" cy="1989"/>
              </a:xfrm>
              <a:custGeom>
                <a:avLst/>
                <a:gdLst>
                  <a:gd name="connsiteX0" fmla="*/ 0 w 996"/>
                  <a:gd name="connsiteY0" fmla="*/ 0 h 1989"/>
                  <a:gd name="connsiteX1" fmla="*/ 996 w 996"/>
                  <a:gd name="connsiteY1" fmla="*/ 1990 h 1989"/>
                  <a:gd name="connsiteX2" fmla="*/ 996 w 996"/>
                  <a:gd name="connsiteY2" fmla="*/ 1990 h 1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" h="1989">
                    <a:moveTo>
                      <a:pt x="0" y="0"/>
                    </a:moveTo>
                    <a:lnTo>
                      <a:pt x="996" y="1990"/>
                    </a:lnTo>
                    <a:lnTo>
                      <a:pt x="996" y="199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5" name="Freeform: Shape 2454">
                <a:extLst>
                  <a:ext uri="{FF2B5EF4-FFF2-40B4-BE49-F238E27FC236}">
                    <a16:creationId xmlns:a16="http://schemas.microsoft.com/office/drawing/2014/main" id="{AF17EC1D-58EA-435E-AFC1-A0BB0A97B285}"/>
                  </a:ext>
                </a:extLst>
              </p:cNvPr>
              <p:cNvSpPr/>
              <p:nvPr/>
            </p:nvSpPr>
            <p:spPr>
              <a:xfrm>
                <a:off x="2412215" y="2592280"/>
                <a:ext cx="2094" cy="5969"/>
              </a:xfrm>
              <a:custGeom>
                <a:avLst/>
                <a:gdLst>
                  <a:gd name="connsiteX0" fmla="*/ 0 w 2094"/>
                  <a:gd name="connsiteY0" fmla="*/ 5969 h 5969"/>
                  <a:gd name="connsiteX1" fmla="*/ 2093 w 2094"/>
                  <a:gd name="connsiteY1" fmla="*/ 0 h 5969"/>
                  <a:gd name="connsiteX2" fmla="*/ 0 w 2094"/>
                  <a:gd name="connsiteY2" fmla="*/ 5969 h 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94" h="5969">
                    <a:moveTo>
                      <a:pt x="0" y="5969"/>
                    </a:moveTo>
                    <a:cubicBezTo>
                      <a:pt x="1146" y="4169"/>
                      <a:pt x="1863" y="2129"/>
                      <a:pt x="2093" y="0"/>
                    </a:cubicBezTo>
                    <a:cubicBezTo>
                      <a:pt x="2132" y="2179"/>
                      <a:pt x="1395" y="4298"/>
                      <a:pt x="0" y="596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6" name="Freeform: Shape 2455">
                <a:extLst>
                  <a:ext uri="{FF2B5EF4-FFF2-40B4-BE49-F238E27FC236}">
                    <a16:creationId xmlns:a16="http://schemas.microsoft.com/office/drawing/2014/main" id="{F7C65293-35B6-40B5-97D0-CEC877BBD37D}"/>
                  </a:ext>
                </a:extLst>
              </p:cNvPr>
              <p:cNvSpPr/>
              <p:nvPr/>
            </p:nvSpPr>
            <p:spPr>
              <a:xfrm>
                <a:off x="2616685" y="2831514"/>
                <a:ext cx="92170" cy="928"/>
              </a:xfrm>
              <a:custGeom>
                <a:avLst/>
                <a:gdLst>
                  <a:gd name="connsiteX0" fmla="*/ 92171 w 92170"/>
                  <a:gd name="connsiteY0" fmla="*/ 929 h 928"/>
                  <a:gd name="connsiteX1" fmla="*/ 0 w 92170"/>
                  <a:gd name="connsiteY1" fmla="*/ 929 h 928"/>
                  <a:gd name="connsiteX2" fmla="*/ 14747 w 92170"/>
                  <a:gd name="connsiteY2" fmla="*/ 929 h 928"/>
                  <a:gd name="connsiteX3" fmla="*/ 92171 w 92170"/>
                  <a:gd name="connsiteY3" fmla="*/ 929 h 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70" h="928">
                    <a:moveTo>
                      <a:pt x="92171" y="929"/>
                    </a:moveTo>
                    <a:cubicBezTo>
                      <a:pt x="61480" y="929"/>
                      <a:pt x="30760" y="929"/>
                      <a:pt x="0" y="929"/>
                    </a:cubicBezTo>
                    <a:lnTo>
                      <a:pt x="14747" y="929"/>
                    </a:lnTo>
                    <a:cubicBezTo>
                      <a:pt x="57395" y="929"/>
                      <a:pt x="79715" y="-1161"/>
                      <a:pt x="92171" y="92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7" name="Freeform: Shape 2456">
                <a:extLst>
                  <a:ext uri="{FF2B5EF4-FFF2-40B4-BE49-F238E27FC236}">
                    <a16:creationId xmlns:a16="http://schemas.microsoft.com/office/drawing/2014/main" id="{8356DEBF-D57D-4AD8-9B23-81378BC23E96}"/>
                  </a:ext>
                </a:extLst>
              </p:cNvPr>
              <p:cNvSpPr/>
              <p:nvPr/>
            </p:nvSpPr>
            <p:spPr>
              <a:xfrm>
                <a:off x="2752400" y="2579545"/>
                <a:ext cx="107217" cy="3780"/>
              </a:xfrm>
              <a:custGeom>
                <a:avLst/>
                <a:gdLst>
                  <a:gd name="connsiteX0" fmla="*/ 0 w 107217"/>
                  <a:gd name="connsiteY0" fmla="*/ 0 h 3780"/>
                  <a:gd name="connsiteX1" fmla="*/ 107217 w 107217"/>
                  <a:gd name="connsiteY1" fmla="*/ 3781 h 3780"/>
                  <a:gd name="connsiteX2" fmla="*/ 0 w 107217"/>
                  <a:gd name="connsiteY2" fmla="*/ 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7217" h="3780">
                    <a:moveTo>
                      <a:pt x="0" y="0"/>
                    </a:moveTo>
                    <a:cubicBezTo>
                      <a:pt x="35872" y="0"/>
                      <a:pt x="72242" y="1691"/>
                      <a:pt x="107217" y="3781"/>
                    </a:cubicBezTo>
                    <a:cubicBezTo>
                      <a:pt x="71445" y="2487"/>
                      <a:pt x="35772" y="11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8" name="Freeform: Shape 2457">
                <a:extLst>
                  <a:ext uri="{FF2B5EF4-FFF2-40B4-BE49-F238E27FC236}">
                    <a16:creationId xmlns:a16="http://schemas.microsoft.com/office/drawing/2014/main" id="{793DF908-EC75-43C0-962C-ECECA65CDFE6}"/>
                  </a:ext>
                </a:extLst>
              </p:cNvPr>
              <p:cNvSpPr/>
              <p:nvPr/>
            </p:nvSpPr>
            <p:spPr>
              <a:xfrm>
                <a:off x="2887318" y="2791354"/>
                <a:ext cx="3288" cy="3581"/>
              </a:xfrm>
              <a:custGeom>
                <a:avLst/>
                <a:gdLst>
                  <a:gd name="connsiteX0" fmla="*/ 3288 w 3288"/>
                  <a:gd name="connsiteY0" fmla="*/ 0 h 3581"/>
                  <a:gd name="connsiteX1" fmla="*/ 0 w 3288"/>
                  <a:gd name="connsiteY1" fmla="*/ 3581 h 3581"/>
                  <a:gd name="connsiteX2" fmla="*/ 3288 w 3288"/>
                  <a:gd name="connsiteY2" fmla="*/ 0 h 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88" h="3581">
                    <a:moveTo>
                      <a:pt x="3288" y="0"/>
                    </a:moveTo>
                    <a:cubicBezTo>
                      <a:pt x="2043" y="1044"/>
                      <a:pt x="937" y="2248"/>
                      <a:pt x="0" y="3581"/>
                    </a:cubicBezTo>
                    <a:cubicBezTo>
                      <a:pt x="788" y="2139"/>
                      <a:pt x="1913" y="905"/>
                      <a:pt x="328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59" name="Freeform: Shape 2458">
                <a:extLst>
                  <a:ext uri="{FF2B5EF4-FFF2-40B4-BE49-F238E27FC236}">
                    <a16:creationId xmlns:a16="http://schemas.microsoft.com/office/drawing/2014/main" id="{D76FE933-45DA-4B56-9908-71542DED8759}"/>
                  </a:ext>
                </a:extLst>
              </p:cNvPr>
              <p:cNvSpPr/>
              <p:nvPr/>
            </p:nvSpPr>
            <p:spPr>
              <a:xfrm>
                <a:off x="2894990" y="2790458"/>
                <a:ext cx="3986" cy="2188"/>
              </a:xfrm>
              <a:custGeom>
                <a:avLst/>
                <a:gdLst>
                  <a:gd name="connsiteX0" fmla="*/ 0 w 3986"/>
                  <a:gd name="connsiteY0" fmla="*/ 0 h 2188"/>
                  <a:gd name="connsiteX1" fmla="*/ 3986 w 3986"/>
                  <a:gd name="connsiteY1" fmla="*/ 2189 h 2188"/>
                  <a:gd name="connsiteX2" fmla="*/ 0 w 3986"/>
                  <a:gd name="connsiteY2" fmla="*/ 0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86" h="2188">
                    <a:moveTo>
                      <a:pt x="0" y="0"/>
                    </a:moveTo>
                    <a:cubicBezTo>
                      <a:pt x="1584" y="120"/>
                      <a:pt x="3039" y="915"/>
                      <a:pt x="3986" y="2189"/>
                    </a:cubicBezTo>
                    <a:cubicBezTo>
                      <a:pt x="2501" y="1801"/>
                      <a:pt x="1126" y="104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60" name="Freeform: Shape 2459">
                <a:extLst>
                  <a:ext uri="{FF2B5EF4-FFF2-40B4-BE49-F238E27FC236}">
                    <a16:creationId xmlns:a16="http://schemas.microsoft.com/office/drawing/2014/main" id="{74B6E123-7D76-40C0-96E7-7BB49119AB69}"/>
                  </a:ext>
                </a:extLst>
              </p:cNvPr>
              <p:cNvSpPr/>
              <p:nvPr/>
            </p:nvSpPr>
            <p:spPr>
              <a:xfrm>
                <a:off x="2913425" y="2785186"/>
                <a:ext cx="5978" cy="3880"/>
              </a:xfrm>
              <a:custGeom>
                <a:avLst/>
                <a:gdLst>
                  <a:gd name="connsiteX0" fmla="*/ 0 w 5978"/>
                  <a:gd name="connsiteY0" fmla="*/ 3880 h 3880"/>
                  <a:gd name="connsiteX1" fmla="*/ 5978 w 5978"/>
                  <a:gd name="connsiteY1" fmla="*/ 0 h 3880"/>
                  <a:gd name="connsiteX2" fmla="*/ 0 w 5978"/>
                  <a:gd name="connsiteY2" fmla="*/ 3880 h 3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8" h="3880">
                    <a:moveTo>
                      <a:pt x="0" y="3880"/>
                    </a:moveTo>
                    <a:cubicBezTo>
                      <a:pt x="2192" y="2388"/>
                      <a:pt x="4285" y="995"/>
                      <a:pt x="5978" y="0"/>
                    </a:cubicBezTo>
                    <a:cubicBezTo>
                      <a:pt x="4185" y="1194"/>
                      <a:pt x="2192" y="2686"/>
                      <a:pt x="0" y="388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61" name="Freeform: Shape 2460">
                <a:extLst>
                  <a:ext uri="{FF2B5EF4-FFF2-40B4-BE49-F238E27FC236}">
                    <a16:creationId xmlns:a16="http://schemas.microsoft.com/office/drawing/2014/main" id="{D9ABD617-0B6A-47E1-8845-204575068423}"/>
                  </a:ext>
                </a:extLst>
              </p:cNvPr>
              <p:cNvSpPr/>
              <p:nvPr/>
            </p:nvSpPr>
            <p:spPr>
              <a:xfrm>
                <a:off x="2918071" y="2774341"/>
                <a:ext cx="1730" cy="4775"/>
              </a:xfrm>
              <a:custGeom>
                <a:avLst/>
                <a:gdLst>
                  <a:gd name="connsiteX0" fmla="*/ 37 w 1730"/>
                  <a:gd name="connsiteY0" fmla="*/ 4776 h 4775"/>
                  <a:gd name="connsiteX1" fmla="*/ 1731 w 1730"/>
                  <a:gd name="connsiteY1" fmla="*/ 0 h 4775"/>
                  <a:gd name="connsiteX2" fmla="*/ 37 w 1730"/>
                  <a:gd name="connsiteY2" fmla="*/ 4776 h 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30" h="4775">
                    <a:moveTo>
                      <a:pt x="37" y="4776"/>
                    </a:moveTo>
                    <a:cubicBezTo>
                      <a:pt x="-163" y="3005"/>
                      <a:pt x="455" y="1244"/>
                      <a:pt x="1731" y="0"/>
                    </a:cubicBezTo>
                    <a:cubicBezTo>
                      <a:pt x="555" y="1303"/>
                      <a:pt x="-53" y="3025"/>
                      <a:pt x="37" y="47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62" name="Freeform: Shape 2461">
                <a:extLst>
                  <a:ext uri="{FF2B5EF4-FFF2-40B4-BE49-F238E27FC236}">
                    <a16:creationId xmlns:a16="http://schemas.microsoft.com/office/drawing/2014/main" id="{29F7E8AE-1130-4A77-98AF-C5DB63E34594}"/>
                  </a:ext>
                </a:extLst>
              </p:cNvPr>
              <p:cNvSpPr/>
              <p:nvPr/>
            </p:nvSpPr>
            <p:spPr>
              <a:xfrm>
                <a:off x="2913524" y="2583425"/>
                <a:ext cx="49025" cy="1791"/>
              </a:xfrm>
              <a:custGeom>
                <a:avLst/>
                <a:gdLst>
                  <a:gd name="connsiteX0" fmla="*/ 0 w 49025"/>
                  <a:gd name="connsiteY0" fmla="*/ 1095 h 1791"/>
                  <a:gd name="connsiteX1" fmla="*/ 49025 w 49025"/>
                  <a:gd name="connsiteY1" fmla="*/ 0 h 1791"/>
                  <a:gd name="connsiteX2" fmla="*/ 47730 w 49025"/>
                  <a:gd name="connsiteY2" fmla="*/ 1791 h 1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025" h="1791">
                    <a:moveTo>
                      <a:pt x="0" y="1095"/>
                    </a:moveTo>
                    <a:cubicBezTo>
                      <a:pt x="16342" y="1095"/>
                      <a:pt x="32783" y="498"/>
                      <a:pt x="49025" y="0"/>
                    </a:cubicBezTo>
                    <a:cubicBezTo>
                      <a:pt x="48527" y="547"/>
                      <a:pt x="48098" y="1144"/>
                      <a:pt x="47730" y="179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63" name="Freeform: Shape 2462">
                <a:extLst>
                  <a:ext uri="{FF2B5EF4-FFF2-40B4-BE49-F238E27FC236}">
                    <a16:creationId xmlns:a16="http://schemas.microsoft.com/office/drawing/2014/main" id="{3A710973-CE24-4F0C-81D9-68D091214674}"/>
                  </a:ext>
                </a:extLst>
              </p:cNvPr>
              <p:cNvSpPr/>
              <p:nvPr/>
            </p:nvSpPr>
            <p:spPr>
              <a:xfrm>
                <a:off x="3096770" y="2670278"/>
                <a:ext cx="1274" cy="9948"/>
              </a:xfrm>
              <a:custGeom>
                <a:avLst/>
                <a:gdLst>
                  <a:gd name="connsiteX0" fmla="*/ 498 w 1274"/>
                  <a:gd name="connsiteY0" fmla="*/ 0 h 9948"/>
                  <a:gd name="connsiteX1" fmla="*/ 0 w 1274"/>
                  <a:gd name="connsiteY1" fmla="*/ 9949 h 9948"/>
                  <a:gd name="connsiteX2" fmla="*/ 498 w 1274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4" h="9948">
                    <a:moveTo>
                      <a:pt x="498" y="0"/>
                    </a:moveTo>
                    <a:cubicBezTo>
                      <a:pt x="1684" y="3243"/>
                      <a:pt x="1505" y="6835"/>
                      <a:pt x="0" y="9949"/>
                    </a:cubicBezTo>
                    <a:cubicBezTo>
                      <a:pt x="1455" y="6825"/>
                      <a:pt x="1634" y="3253"/>
                      <a:pt x="4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64" name="Freeform: Shape 2463">
                <a:extLst>
                  <a:ext uri="{FF2B5EF4-FFF2-40B4-BE49-F238E27FC236}">
                    <a16:creationId xmlns:a16="http://schemas.microsoft.com/office/drawing/2014/main" id="{88BB746E-216A-43C3-A393-E4587B29F7B7}"/>
                  </a:ext>
                </a:extLst>
              </p:cNvPr>
              <p:cNvSpPr/>
              <p:nvPr/>
            </p:nvSpPr>
            <p:spPr>
              <a:xfrm>
                <a:off x="3117596" y="2664706"/>
                <a:ext cx="3287" cy="4178"/>
              </a:xfrm>
              <a:custGeom>
                <a:avLst/>
                <a:gdLst>
                  <a:gd name="connsiteX0" fmla="*/ 0 w 3287"/>
                  <a:gd name="connsiteY0" fmla="*/ 4178 h 4178"/>
                  <a:gd name="connsiteX1" fmla="*/ 3288 w 3287"/>
                  <a:gd name="connsiteY1" fmla="*/ 0 h 4178"/>
                  <a:gd name="connsiteX2" fmla="*/ 0 w 3287"/>
                  <a:gd name="connsiteY2" fmla="*/ 4178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87" h="4178">
                    <a:moveTo>
                      <a:pt x="0" y="4178"/>
                    </a:moveTo>
                    <a:cubicBezTo>
                      <a:pt x="887" y="2627"/>
                      <a:pt x="1992" y="1224"/>
                      <a:pt x="3288" y="0"/>
                    </a:cubicBezTo>
                    <a:cubicBezTo>
                      <a:pt x="2042" y="1273"/>
                      <a:pt x="937" y="2666"/>
                      <a:pt x="0" y="417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65" name="Freeform: Shape 2464">
                <a:extLst>
                  <a:ext uri="{FF2B5EF4-FFF2-40B4-BE49-F238E27FC236}">
                    <a16:creationId xmlns:a16="http://schemas.microsoft.com/office/drawing/2014/main" id="{7D5FF6E1-BD5D-49CD-B289-2F0604106324}"/>
                  </a:ext>
                </a:extLst>
              </p:cNvPr>
              <p:cNvSpPr/>
              <p:nvPr/>
            </p:nvSpPr>
            <p:spPr>
              <a:xfrm>
                <a:off x="3158649" y="2660329"/>
                <a:ext cx="4882" cy="395"/>
              </a:xfrm>
              <a:custGeom>
                <a:avLst/>
                <a:gdLst>
                  <a:gd name="connsiteX0" fmla="*/ 4882 w 4882"/>
                  <a:gd name="connsiteY0" fmla="*/ 0 h 395"/>
                  <a:gd name="connsiteX1" fmla="*/ 0 w 4882"/>
                  <a:gd name="connsiteY1" fmla="*/ 0 h 395"/>
                  <a:gd name="connsiteX2" fmla="*/ 4882 w 4882"/>
                  <a:gd name="connsiteY2" fmla="*/ 0 h 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82" h="395">
                    <a:moveTo>
                      <a:pt x="4882" y="0"/>
                    </a:moveTo>
                    <a:cubicBezTo>
                      <a:pt x="3298" y="527"/>
                      <a:pt x="1584" y="527"/>
                      <a:pt x="0" y="0"/>
                    </a:cubicBezTo>
                    <a:cubicBezTo>
                      <a:pt x="1594" y="458"/>
                      <a:pt x="3288" y="458"/>
                      <a:pt x="488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66" name="Freeform: Shape 2465">
                <a:extLst>
                  <a:ext uri="{FF2B5EF4-FFF2-40B4-BE49-F238E27FC236}">
                    <a16:creationId xmlns:a16="http://schemas.microsoft.com/office/drawing/2014/main" id="{AA544EFF-C23D-46CB-985C-A561E847A8C4}"/>
                  </a:ext>
                </a:extLst>
              </p:cNvPr>
              <p:cNvSpPr/>
              <p:nvPr/>
            </p:nvSpPr>
            <p:spPr>
              <a:xfrm>
                <a:off x="3211079" y="2589594"/>
                <a:ext cx="1278" cy="13629"/>
              </a:xfrm>
              <a:custGeom>
                <a:avLst/>
                <a:gdLst>
                  <a:gd name="connsiteX0" fmla="*/ 1278 w 1278"/>
                  <a:gd name="connsiteY0" fmla="*/ 13630 h 13629"/>
                  <a:gd name="connsiteX1" fmla="*/ 1278 w 1278"/>
                  <a:gd name="connsiteY1" fmla="*/ 0 h 13629"/>
                  <a:gd name="connsiteX2" fmla="*/ 1278 w 1278"/>
                  <a:gd name="connsiteY2" fmla="*/ 13630 h 13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8" h="13629">
                    <a:moveTo>
                      <a:pt x="1278" y="13630"/>
                    </a:moveTo>
                    <a:cubicBezTo>
                      <a:pt x="-426" y="9242"/>
                      <a:pt x="-426" y="4387"/>
                      <a:pt x="1278" y="0"/>
                    </a:cubicBezTo>
                    <a:cubicBezTo>
                      <a:pt x="431" y="4507"/>
                      <a:pt x="431" y="9123"/>
                      <a:pt x="1278" y="1363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67" name="Freeform: Shape 2466">
                <a:extLst>
                  <a:ext uri="{FF2B5EF4-FFF2-40B4-BE49-F238E27FC236}">
                    <a16:creationId xmlns:a16="http://schemas.microsoft.com/office/drawing/2014/main" id="{D87B325A-F36D-4FE4-8543-67B745FF655A}"/>
                  </a:ext>
                </a:extLst>
              </p:cNvPr>
              <p:cNvSpPr/>
              <p:nvPr/>
            </p:nvSpPr>
            <p:spPr>
              <a:xfrm>
                <a:off x="3214748" y="2583326"/>
                <a:ext cx="796" cy="895"/>
              </a:xfrm>
              <a:custGeom>
                <a:avLst/>
                <a:gdLst>
                  <a:gd name="connsiteX0" fmla="*/ 797 w 796"/>
                  <a:gd name="connsiteY0" fmla="*/ 0 h 895"/>
                  <a:gd name="connsiteX1" fmla="*/ 0 w 796"/>
                  <a:gd name="connsiteY1" fmla="*/ 895 h 895"/>
                  <a:gd name="connsiteX2" fmla="*/ 0 w 796"/>
                  <a:gd name="connsiteY2" fmla="*/ 895 h 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6" h="895">
                    <a:moveTo>
                      <a:pt x="797" y="0"/>
                    </a:moveTo>
                    <a:cubicBezTo>
                      <a:pt x="478" y="249"/>
                      <a:pt x="209" y="547"/>
                      <a:pt x="0" y="895"/>
                    </a:cubicBezTo>
                    <a:lnTo>
                      <a:pt x="0" y="895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03" name="Graphic 231">
              <a:extLst>
                <a:ext uri="{FF2B5EF4-FFF2-40B4-BE49-F238E27FC236}">
                  <a16:creationId xmlns:a16="http://schemas.microsoft.com/office/drawing/2014/main" id="{305FB197-48D6-419E-91E3-1FDB9CDF2A4D}"/>
                </a:ext>
              </a:extLst>
            </p:cNvPr>
            <p:cNvGrpSpPr/>
            <p:nvPr/>
          </p:nvGrpSpPr>
          <p:grpSpPr>
            <a:xfrm>
              <a:off x="1658405" y="3134884"/>
              <a:ext cx="566678" cy="465203"/>
              <a:chOff x="1658405" y="3134884"/>
              <a:chExt cx="566678" cy="465203"/>
            </a:xfrm>
            <a:solidFill>
              <a:srgbClr val="ECE8E4"/>
            </a:solidFill>
          </p:grpSpPr>
          <p:sp>
            <p:nvSpPr>
              <p:cNvPr id="2415" name="Freeform: Shape 2414">
                <a:extLst>
                  <a:ext uri="{FF2B5EF4-FFF2-40B4-BE49-F238E27FC236}">
                    <a16:creationId xmlns:a16="http://schemas.microsoft.com/office/drawing/2014/main" id="{9E18EC05-6285-4E2E-85E3-1F51F5578711}"/>
                  </a:ext>
                </a:extLst>
              </p:cNvPr>
              <p:cNvSpPr/>
              <p:nvPr/>
            </p:nvSpPr>
            <p:spPr>
              <a:xfrm>
                <a:off x="1658405" y="3261731"/>
                <a:ext cx="500" cy="15420"/>
              </a:xfrm>
              <a:custGeom>
                <a:avLst/>
                <a:gdLst>
                  <a:gd name="connsiteX0" fmla="*/ 501 w 500"/>
                  <a:gd name="connsiteY0" fmla="*/ 0 h 15420"/>
                  <a:gd name="connsiteX1" fmla="*/ 501 w 500"/>
                  <a:gd name="connsiteY1" fmla="*/ 15420 h 15420"/>
                  <a:gd name="connsiteX2" fmla="*/ 501 w 500"/>
                  <a:gd name="connsiteY2" fmla="*/ 0 h 15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0" h="15420">
                    <a:moveTo>
                      <a:pt x="501" y="0"/>
                    </a:moveTo>
                    <a:lnTo>
                      <a:pt x="501" y="15420"/>
                    </a:lnTo>
                    <a:cubicBezTo>
                      <a:pt x="-167" y="10307"/>
                      <a:pt x="-167" y="5123"/>
                      <a:pt x="50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16" name="Freeform: Shape 2415">
                <a:extLst>
                  <a:ext uri="{FF2B5EF4-FFF2-40B4-BE49-F238E27FC236}">
                    <a16:creationId xmlns:a16="http://schemas.microsoft.com/office/drawing/2014/main" id="{55D523AE-CE36-4F51-89F2-2289FE3B3C27}"/>
                  </a:ext>
                </a:extLst>
              </p:cNvPr>
              <p:cNvSpPr/>
              <p:nvPr/>
            </p:nvSpPr>
            <p:spPr>
              <a:xfrm>
                <a:off x="1662792" y="3288493"/>
                <a:ext cx="13053" cy="9053"/>
              </a:xfrm>
              <a:custGeom>
                <a:avLst/>
                <a:gdLst>
                  <a:gd name="connsiteX0" fmla="*/ 13053 w 13053"/>
                  <a:gd name="connsiteY0" fmla="*/ 9053 h 9053"/>
                  <a:gd name="connsiteX1" fmla="*/ 0 w 13053"/>
                  <a:gd name="connsiteY1" fmla="*/ 0 h 9053"/>
                  <a:gd name="connsiteX2" fmla="*/ 13053 w 13053"/>
                  <a:gd name="connsiteY2" fmla="*/ 9053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053" h="9053">
                    <a:moveTo>
                      <a:pt x="13053" y="9053"/>
                    </a:moveTo>
                    <a:cubicBezTo>
                      <a:pt x="7573" y="8108"/>
                      <a:pt x="2800" y="4795"/>
                      <a:pt x="0" y="0"/>
                    </a:cubicBezTo>
                    <a:cubicBezTo>
                      <a:pt x="3249" y="4357"/>
                      <a:pt x="7832" y="7541"/>
                      <a:pt x="13053" y="905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17" name="Freeform: Shape 2416">
                <a:extLst>
                  <a:ext uri="{FF2B5EF4-FFF2-40B4-BE49-F238E27FC236}">
                    <a16:creationId xmlns:a16="http://schemas.microsoft.com/office/drawing/2014/main" id="{BBE2A8EC-CF10-4CFF-89C6-D74A1403DC61}"/>
                  </a:ext>
                </a:extLst>
              </p:cNvPr>
              <p:cNvSpPr/>
              <p:nvPr/>
            </p:nvSpPr>
            <p:spPr>
              <a:xfrm>
                <a:off x="1681226" y="3308390"/>
                <a:ext cx="4882" cy="10943"/>
              </a:xfrm>
              <a:custGeom>
                <a:avLst/>
                <a:gdLst>
                  <a:gd name="connsiteX0" fmla="*/ 4882 w 4882"/>
                  <a:gd name="connsiteY0" fmla="*/ 10943 h 10943"/>
                  <a:gd name="connsiteX1" fmla="*/ 0 w 4882"/>
                  <a:gd name="connsiteY1" fmla="*/ 0 h 10943"/>
                  <a:gd name="connsiteX2" fmla="*/ 1594 w 4882"/>
                  <a:gd name="connsiteY2" fmla="*/ 3084 h 10943"/>
                  <a:gd name="connsiteX3" fmla="*/ 4882 w 4882"/>
                  <a:gd name="connsiteY3" fmla="*/ 10943 h 10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2" h="10943">
                    <a:moveTo>
                      <a:pt x="4882" y="10943"/>
                    </a:moveTo>
                    <a:cubicBezTo>
                      <a:pt x="3288" y="7462"/>
                      <a:pt x="1694" y="3681"/>
                      <a:pt x="0" y="0"/>
                    </a:cubicBezTo>
                    <a:lnTo>
                      <a:pt x="1594" y="3084"/>
                    </a:lnTo>
                    <a:cubicBezTo>
                      <a:pt x="2870" y="5631"/>
                      <a:pt x="3966" y="8257"/>
                      <a:pt x="4882" y="1094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18" name="Freeform: Shape 2417">
                <a:extLst>
                  <a:ext uri="{FF2B5EF4-FFF2-40B4-BE49-F238E27FC236}">
                    <a16:creationId xmlns:a16="http://schemas.microsoft.com/office/drawing/2014/main" id="{A4564291-7F3E-4A78-A738-DA52B3605CF7}"/>
                  </a:ext>
                </a:extLst>
              </p:cNvPr>
              <p:cNvSpPr/>
              <p:nvPr/>
            </p:nvSpPr>
            <p:spPr>
              <a:xfrm>
                <a:off x="1676941" y="3585065"/>
                <a:ext cx="11359" cy="15022"/>
              </a:xfrm>
              <a:custGeom>
                <a:avLst/>
                <a:gdLst>
                  <a:gd name="connsiteX0" fmla="*/ 5879 w 11359"/>
                  <a:gd name="connsiteY0" fmla="*/ 8954 h 15022"/>
                  <a:gd name="connsiteX1" fmla="*/ 11359 w 11359"/>
                  <a:gd name="connsiteY1" fmla="*/ 0 h 15022"/>
                  <a:gd name="connsiteX2" fmla="*/ 8868 w 11359"/>
                  <a:gd name="connsiteY2" fmla="*/ 5969 h 15022"/>
                  <a:gd name="connsiteX3" fmla="*/ 0 w 11359"/>
                  <a:gd name="connsiteY3" fmla="*/ 15022 h 15022"/>
                  <a:gd name="connsiteX4" fmla="*/ 5879 w 11359"/>
                  <a:gd name="connsiteY4" fmla="*/ 8954 h 15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59" h="15022">
                    <a:moveTo>
                      <a:pt x="5879" y="8954"/>
                    </a:moveTo>
                    <a:cubicBezTo>
                      <a:pt x="7952" y="6128"/>
                      <a:pt x="9785" y="3134"/>
                      <a:pt x="11359" y="0"/>
                    </a:cubicBezTo>
                    <a:cubicBezTo>
                      <a:pt x="10413" y="1940"/>
                      <a:pt x="9586" y="3930"/>
                      <a:pt x="8868" y="5969"/>
                    </a:cubicBezTo>
                    <a:cubicBezTo>
                      <a:pt x="6198" y="9252"/>
                      <a:pt x="3229" y="12277"/>
                      <a:pt x="0" y="15022"/>
                    </a:cubicBezTo>
                    <a:cubicBezTo>
                      <a:pt x="1794" y="12844"/>
                      <a:pt x="3756" y="10814"/>
                      <a:pt x="5879" y="895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19" name="Freeform: Shape 2418">
                <a:extLst>
                  <a:ext uri="{FF2B5EF4-FFF2-40B4-BE49-F238E27FC236}">
                    <a16:creationId xmlns:a16="http://schemas.microsoft.com/office/drawing/2014/main" id="{0BD6D2B8-1836-431F-9D5F-565B34198E26}"/>
                  </a:ext>
                </a:extLst>
              </p:cNvPr>
              <p:cNvSpPr/>
              <p:nvPr/>
            </p:nvSpPr>
            <p:spPr>
              <a:xfrm>
                <a:off x="1688002" y="3348782"/>
                <a:ext cx="8669" cy="5869"/>
              </a:xfrm>
              <a:custGeom>
                <a:avLst/>
                <a:gdLst>
                  <a:gd name="connsiteX0" fmla="*/ 8669 w 8669"/>
                  <a:gd name="connsiteY0" fmla="*/ 5870 h 5869"/>
                  <a:gd name="connsiteX1" fmla="*/ 0 w 8669"/>
                  <a:gd name="connsiteY1" fmla="*/ 0 h 5869"/>
                  <a:gd name="connsiteX2" fmla="*/ 8669 w 8669"/>
                  <a:gd name="connsiteY2" fmla="*/ 5870 h 5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69" h="5869">
                    <a:moveTo>
                      <a:pt x="8669" y="5870"/>
                    </a:moveTo>
                    <a:cubicBezTo>
                      <a:pt x="5082" y="5223"/>
                      <a:pt x="1933" y="3084"/>
                      <a:pt x="0" y="0"/>
                    </a:cubicBezTo>
                    <a:cubicBezTo>
                      <a:pt x="2342" y="2666"/>
                      <a:pt x="5321" y="4686"/>
                      <a:pt x="8669" y="587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0" name="Freeform: Shape 2419">
                <a:extLst>
                  <a:ext uri="{FF2B5EF4-FFF2-40B4-BE49-F238E27FC236}">
                    <a16:creationId xmlns:a16="http://schemas.microsoft.com/office/drawing/2014/main" id="{6E22A6AD-91DC-4C7A-9F8D-756A645BBDA3}"/>
                  </a:ext>
                </a:extLst>
              </p:cNvPr>
              <p:cNvSpPr/>
              <p:nvPr/>
            </p:nvSpPr>
            <p:spPr>
              <a:xfrm>
                <a:off x="1691888" y="3572032"/>
                <a:ext cx="5081" cy="6466"/>
              </a:xfrm>
              <a:custGeom>
                <a:avLst/>
                <a:gdLst>
                  <a:gd name="connsiteX0" fmla="*/ 0 w 5081"/>
                  <a:gd name="connsiteY0" fmla="*/ 6467 h 6466"/>
                  <a:gd name="connsiteX1" fmla="*/ 5082 w 5081"/>
                  <a:gd name="connsiteY1" fmla="*/ 0 h 6466"/>
                  <a:gd name="connsiteX2" fmla="*/ 0 w 5081"/>
                  <a:gd name="connsiteY2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1" h="6466">
                    <a:moveTo>
                      <a:pt x="0" y="6467"/>
                    </a:moveTo>
                    <a:cubicBezTo>
                      <a:pt x="1415" y="4109"/>
                      <a:pt x="3129" y="1940"/>
                      <a:pt x="5082" y="0"/>
                    </a:cubicBezTo>
                    <a:cubicBezTo>
                      <a:pt x="3587" y="1890"/>
                      <a:pt x="1893" y="3581"/>
                      <a:pt x="0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1" name="Freeform: Shape 2420">
                <a:extLst>
                  <a:ext uri="{FF2B5EF4-FFF2-40B4-BE49-F238E27FC236}">
                    <a16:creationId xmlns:a16="http://schemas.microsoft.com/office/drawing/2014/main" id="{8607EC51-0FFF-4C93-B620-938EE5303E91}"/>
                  </a:ext>
                </a:extLst>
              </p:cNvPr>
              <p:cNvSpPr/>
              <p:nvPr/>
            </p:nvSpPr>
            <p:spPr>
              <a:xfrm>
                <a:off x="1698763" y="3495526"/>
                <a:ext cx="2291" cy="9451"/>
              </a:xfrm>
              <a:custGeom>
                <a:avLst/>
                <a:gdLst>
                  <a:gd name="connsiteX0" fmla="*/ 2292 w 2291"/>
                  <a:gd name="connsiteY0" fmla="*/ 9451 h 9451"/>
                  <a:gd name="connsiteX1" fmla="*/ 0 w 2291"/>
                  <a:gd name="connsiteY1" fmla="*/ 0 h 9451"/>
                  <a:gd name="connsiteX2" fmla="*/ 2292 w 2291"/>
                  <a:gd name="connsiteY2" fmla="*/ 9451 h 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91" h="9451">
                    <a:moveTo>
                      <a:pt x="2292" y="9451"/>
                    </a:moveTo>
                    <a:cubicBezTo>
                      <a:pt x="2003" y="6208"/>
                      <a:pt x="1225" y="3014"/>
                      <a:pt x="0" y="0"/>
                    </a:cubicBezTo>
                    <a:cubicBezTo>
                      <a:pt x="1415" y="2955"/>
                      <a:pt x="2202" y="6178"/>
                      <a:pt x="2292" y="945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2" name="Freeform: Shape 2421">
                <a:extLst>
                  <a:ext uri="{FF2B5EF4-FFF2-40B4-BE49-F238E27FC236}">
                    <a16:creationId xmlns:a16="http://schemas.microsoft.com/office/drawing/2014/main" id="{8A754D8A-C977-4396-9B9C-3CBE80C84BD6}"/>
                  </a:ext>
                </a:extLst>
              </p:cNvPr>
              <p:cNvSpPr/>
              <p:nvPr/>
            </p:nvSpPr>
            <p:spPr>
              <a:xfrm>
                <a:off x="1699062" y="3533530"/>
                <a:ext cx="2094" cy="6765"/>
              </a:xfrm>
              <a:custGeom>
                <a:avLst/>
                <a:gdLst>
                  <a:gd name="connsiteX0" fmla="*/ 1794 w 2094"/>
                  <a:gd name="connsiteY0" fmla="*/ 6765 h 6765"/>
                  <a:gd name="connsiteX1" fmla="*/ 0 w 2094"/>
                  <a:gd name="connsiteY1" fmla="*/ 0 h 6765"/>
                  <a:gd name="connsiteX2" fmla="*/ 1794 w 2094"/>
                  <a:gd name="connsiteY2" fmla="*/ 6765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94" h="6765">
                    <a:moveTo>
                      <a:pt x="1794" y="6765"/>
                    </a:moveTo>
                    <a:cubicBezTo>
                      <a:pt x="1465" y="4447"/>
                      <a:pt x="857" y="2179"/>
                      <a:pt x="0" y="0"/>
                    </a:cubicBezTo>
                    <a:cubicBezTo>
                      <a:pt x="1853" y="1721"/>
                      <a:pt x="2551" y="4358"/>
                      <a:pt x="1794" y="67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3" name="Freeform: Shape 2422">
                <a:extLst>
                  <a:ext uri="{FF2B5EF4-FFF2-40B4-BE49-F238E27FC236}">
                    <a16:creationId xmlns:a16="http://schemas.microsoft.com/office/drawing/2014/main" id="{FE992E7C-4DDD-426F-A46A-15D32B7E7E78}"/>
                  </a:ext>
                </a:extLst>
              </p:cNvPr>
              <p:cNvSpPr/>
              <p:nvPr/>
            </p:nvSpPr>
            <p:spPr>
              <a:xfrm>
                <a:off x="1700557" y="3486473"/>
                <a:ext cx="3387" cy="6665"/>
              </a:xfrm>
              <a:custGeom>
                <a:avLst/>
                <a:gdLst>
                  <a:gd name="connsiteX0" fmla="*/ 0 w 3387"/>
                  <a:gd name="connsiteY0" fmla="*/ 6665 h 6665"/>
                  <a:gd name="connsiteX1" fmla="*/ 3388 w 3387"/>
                  <a:gd name="connsiteY1" fmla="*/ 0 h 6665"/>
                  <a:gd name="connsiteX2" fmla="*/ 0 w 3387"/>
                  <a:gd name="connsiteY2" fmla="*/ 6665 h 6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7" h="6665">
                    <a:moveTo>
                      <a:pt x="0" y="6665"/>
                    </a:moveTo>
                    <a:cubicBezTo>
                      <a:pt x="1196" y="4676"/>
                      <a:pt x="2292" y="2288"/>
                      <a:pt x="3388" y="0"/>
                    </a:cubicBezTo>
                    <a:cubicBezTo>
                      <a:pt x="2830" y="2467"/>
                      <a:pt x="1664" y="4755"/>
                      <a:pt x="0" y="66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4" name="Freeform: Shape 2423">
                <a:extLst>
                  <a:ext uri="{FF2B5EF4-FFF2-40B4-BE49-F238E27FC236}">
                    <a16:creationId xmlns:a16="http://schemas.microsoft.com/office/drawing/2014/main" id="{68C2A4D2-2E12-42F4-937D-FA7889DFABDE}"/>
                  </a:ext>
                </a:extLst>
              </p:cNvPr>
              <p:cNvSpPr/>
              <p:nvPr/>
            </p:nvSpPr>
            <p:spPr>
              <a:xfrm>
                <a:off x="1701254" y="3544175"/>
                <a:ext cx="999" cy="18703"/>
              </a:xfrm>
              <a:custGeom>
                <a:avLst/>
                <a:gdLst>
                  <a:gd name="connsiteX0" fmla="*/ 0 w 999"/>
                  <a:gd name="connsiteY0" fmla="*/ 0 h 18703"/>
                  <a:gd name="connsiteX1" fmla="*/ 498 w 999"/>
                  <a:gd name="connsiteY1" fmla="*/ 18704 h 18703"/>
                  <a:gd name="connsiteX2" fmla="*/ 498 w 999"/>
                  <a:gd name="connsiteY2" fmla="*/ 6069 h 18703"/>
                  <a:gd name="connsiteX3" fmla="*/ 0 w 999"/>
                  <a:gd name="connsiteY3" fmla="*/ 0 h 18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9" h="18703">
                    <a:moveTo>
                      <a:pt x="0" y="0"/>
                    </a:moveTo>
                    <a:cubicBezTo>
                      <a:pt x="1136" y="6168"/>
                      <a:pt x="1305" y="12486"/>
                      <a:pt x="498" y="18704"/>
                    </a:cubicBezTo>
                    <a:lnTo>
                      <a:pt x="498" y="6069"/>
                    </a:lnTo>
                    <a:cubicBezTo>
                      <a:pt x="299" y="4179"/>
                      <a:pt x="100" y="208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5" name="Freeform: Shape 2424">
                <a:extLst>
                  <a:ext uri="{FF2B5EF4-FFF2-40B4-BE49-F238E27FC236}">
                    <a16:creationId xmlns:a16="http://schemas.microsoft.com/office/drawing/2014/main" id="{B8BD9A0F-7280-4F27-AFF7-917C8A1433E8}"/>
                  </a:ext>
                </a:extLst>
              </p:cNvPr>
              <p:cNvSpPr/>
              <p:nvPr/>
            </p:nvSpPr>
            <p:spPr>
              <a:xfrm>
                <a:off x="1720685" y="3431158"/>
                <a:ext cx="1096" cy="4079"/>
              </a:xfrm>
              <a:custGeom>
                <a:avLst/>
                <a:gdLst>
                  <a:gd name="connsiteX0" fmla="*/ 0 w 1096"/>
                  <a:gd name="connsiteY0" fmla="*/ 2786 h 4079"/>
                  <a:gd name="connsiteX1" fmla="*/ 1096 w 1096"/>
                  <a:gd name="connsiteY1" fmla="*/ 0 h 4079"/>
                  <a:gd name="connsiteX2" fmla="*/ 1096 w 1096"/>
                  <a:gd name="connsiteY2" fmla="*/ 4079 h 4079"/>
                  <a:gd name="connsiteX3" fmla="*/ 0 w 1096"/>
                  <a:gd name="connsiteY3" fmla="*/ 2786 h 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6" h="4079">
                    <a:moveTo>
                      <a:pt x="0" y="2786"/>
                    </a:moveTo>
                    <a:cubicBezTo>
                      <a:pt x="0" y="1791"/>
                      <a:pt x="797" y="995"/>
                      <a:pt x="1096" y="0"/>
                    </a:cubicBezTo>
                    <a:cubicBezTo>
                      <a:pt x="847" y="1353"/>
                      <a:pt x="847" y="2726"/>
                      <a:pt x="1096" y="4079"/>
                    </a:cubicBezTo>
                    <a:cubicBezTo>
                      <a:pt x="787" y="3611"/>
                      <a:pt x="419" y="3174"/>
                      <a:pt x="0" y="27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6" name="Freeform: Shape 2425">
                <a:extLst>
                  <a:ext uri="{FF2B5EF4-FFF2-40B4-BE49-F238E27FC236}">
                    <a16:creationId xmlns:a16="http://schemas.microsoft.com/office/drawing/2014/main" id="{292DF872-E356-4897-9228-0A63AD4252C2}"/>
                  </a:ext>
                </a:extLst>
              </p:cNvPr>
              <p:cNvSpPr/>
              <p:nvPr/>
            </p:nvSpPr>
            <p:spPr>
              <a:xfrm>
                <a:off x="1722678" y="3408574"/>
                <a:ext cx="9964" cy="9948"/>
              </a:xfrm>
              <a:custGeom>
                <a:avLst/>
                <a:gdLst>
                  <a:gd name="connsiteX0" fmla="*/ 0 w 9964"/>
                  <a:gd name="connsiteY0" fmla="*/ 0 h 9948"/>
                  <a:gd name="connsiteX1" fmla="*/ 0 w 9964"/>
                  <a:gd name="connsiteY1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64" h="9948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7" name="Freeform: Shape 2426">
                <a:extLst>
                  <a:ext uri="{FF2B5EF4-FFF2-40B4-BE49-F238E27FC236}">
                    <a16:creationId xmlns:a16="http://schemas.microsoft.com/office/drawing/2014/main" id="{D762ECF7-8F1E-436F-9A18-905A4B6C8F2B}"/>
                  </a:ext>
                </a:extLst>
              </p:cNvPr>
              <p:cNvSpPr/>
              <p:nvPr/>
            </p:nvSpPr>
            <p:spPr>
              <a:xfrm>
                <a:off x="1722603" y="3402008"/>
                <a:ext cx="74" cy="4974"/>
              </a:xfrm>
              <a:custGeom>
                <a:avLst/>
                <a:gdLst>
                  <a:gd name="connsiteX0" fmla="*/ 75 w 74"/>
                  <a:gd name="connsiteY0" fmla="*/ 4974 h 4974"/>
                  <a:gd name="connsiteX1" fmla="*/ 75 w 74"/>
                  <a:gd name="connsiteY1" fmla="*/ 0 h 4974"/>
                  <a:gd name="connsiteX2" fmla="*/ 75 w 74"/>
                  <a:gd name="connsiteY2" fmla="*/ 4974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" h="4974">
                    <a:moveTo>
                      <a:pt x="75" y="4974"/>
                    </a:moveTo>
                    <a:cubicBezTo>
                      <a:pt x="-25" y="3313"/>
                      <a:pt x="-25" y="1652"/>
                      <a:pt x="75" y="0"/>
                    </a:cubicBezTo>
                    <a:cubicBezTo>
                      <a:pt x="-25" y="1652"/>
                      <a:pt x="-25" y="3313"/>
                      <a:pt x="75" y="49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8" name="Freeform: Shape 2427">
                <a:extLst>
                  <a:ext uri="{FF2B5EF4-FFF2-40B4-BE49-F238E27FC236}">
                    <a16:creationId xmlns:a16="http://schemas.microsoft.com/office/drawing/2014/main" id="{3774AFF4-9906-4C1E-891F-EA4743E0491E}"/>
                  </a:ext>
                </a:extLst>
              </p:cNvPr>
              <p:cNvSpPr/>
              <p:nvPr/>
            </p:nvSpPr>
            <p:spPr>
              <a:xfrm>
                <a:off x="1722977" y="3408574"/>
                <a:ext cx="9964" cy="4576"/>
              </a:xfrm>
              <a:custGeom>
                <a:avLst/>
                <a:gdLst>
                  <a:gd name="connsiteX0" fmla="*/ 0 w 9964"/>
                  <a:gd name="connsiteY0" fmla="*/ 4577 h 4576"/>
                  <a:gd name="connsiteX1" fmla="*/ 0 w 9964"/>
                  <a:gd name="connsiteY1" fmla="*/ 0 h 4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64" h="4576">
                    <a:moveTo>
                      <a:pt x="0" y="4577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29" name="Freeform: Shape 2428">
                <a:extLst>
                  <a:ext uri="{FF2B5EF4-FFF2-40B4-BE49-F238E27FC236}">
                    <a16:creationId xmlns:a16="http://schemas.microsoft.com/office/drawing/2014/main" id="{BD5793F3-B8E4-49A0-849B-095A064FC4CD}"/>
                  </a:ext>
                </a:extLst>
              </p:cNvPr>
              <p:cNvSpPr/>
              <p:nvPr/>
            </p:nvSpPr>
            <p:spPr>
              <a:xfrm>
                <a:off x="1722678" y="3439515"/>
                <a:ext cx="996" cy="3183"/>
              </a:xfrm>
              <a:custGeom>
                <a:avLst/>
                <a:gdLst>
                  <a:gd name="connsiteX0" fmla="*/ 0 w 996"/>
                  <a:gd name="connsiteY0" fmla="*/ 0 h 3183"/>
                  <a:gd name="connsiteX1" fmla="*/ 997 w 996"/>
                  <a:gd name="connsiteY1" fmla="*/ 1293 h 3183"/>
                  <a:gd name="connsiteX2" fmla="*/ 0 w 996"/>
                  <a:gd name="connsiteY2" fmla="*/ 3184 h 3183"/>
                  <a:gd name="connsiteX3" fmla="*/ 0 w 996"/>
                  <a:gd name="connsiteY3" fmla="*/ 0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" h="3183">
                    <a:moveTo>
                      <a:pt x="0" y="0"/>
                    </a:moveTo>
                    <a:lnTo>
                      <a:pt x="997" y="1293"/>
                    </a:lnTo>
                    <a:cubicBezTo>
                      <a:pt x="708" y="1940"/>
                      <a:pt x="369" y="2577"/>
                      <a:pt x="0" y="3184"/>
                    </a:cubicBezTo>
                    <a:cubicBezTo>
                      <a:pt x="199" y="2129"/>
                      <a:pt x="199" y="105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30" name="Freeform: Shape 2429">
                <a:extLst>
                  <a:ext uri="{FF2B5EF4-FFF2-40B4-BE49-F238E27FC236}">
                    <a16:creationId xmlns:a16="http://schemas.microsoft.com/office/drawing/2014/main" id="{DEBEFB03-9433-4B48-9369-235C0BC396C1}"/>
                  </a:ext>
                </a:extLst>
              </p:cNvPr>
              <p:cNvSpPr/>
              <p:nvPr/>
            </p:nvSpPr>
            <p:spPr>
              <a:xfrm>
                <a:off x="1723076" y="3417229"/>
                <a:ext cx="597" cy="7660"/>
              </a:xfrm>
              <a:custGeom>
                <a:avLst/>
                <a:gdLst>
                  <a:gd name="connsiteX0" fmla="*/ 99 w 597"/>
                  <a:gd name="connsiteY0" fmla="*/ 0 h 7660"/>
                  <a:gd name="connsiteX1" fmla="*/ 598 w 597"/>
                  <a:gd name="connsiteY1" fmla="*/ 4676 h 7660"/>
                  <a:gd name="connsiteX2" fmla="*/ 0 w 597"/>
                  <a:gd name="connsiteY2" fmla="*/ 7661 h 7660"/>
                  <a:gd name="connsiteX3" fmla="*/ 99 w 597"/>
                  <a:gd name="connsiteY3" fmla="*/ 0 h 7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7" h="7660">
                    <a:moveTo>
                      <a:pt x="99" y="0"/>
                    </a:moveTo>
                    <a:cubicBezTo>
                      <a:pt x="99" y="1791"/>
                      <a:pt x="99" y="3383"/>
                      <a:pt x="598" y="4676"/>
                    </a:cubicBezTo>
                    <a:lnTo>
                      <a:pt x="0" y="7661"/>
                    </a:lnTo>
                    <a:cubicBezTo>
                      <a:pt x="179" y="5114"/>
                      <a:pt x="219" y="2557"/>
                      <a:pt x="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31" name="Freeform: Shape 2430">
                <a:extLst>
                  <a:ext uri="{FF2B5EF4-FFF2-40B4-BE49-F238E27FC236}">
                    <a16:creationId xmlns:a16="http://schemas.microsoft.com/office/drawing/2014/main" id="{1438E302-9FA2-4F8C-A81E-7AFA44297AF9}"/>
                  </a:ext>
                </a:extLst>
              </p:cNvPr>
              <p:cNvSpPr/>
              <p:nvPr/>
            </p:nvSpPr>
            <p:spPr>
              <a:xfrm>
                <a:off x="1961824" y="3424193"/>
                <a:ext cx="6476" cy="5670"/>
              </a:xfrm>
              <a:custGeom>
                <a:avLst/>
                <a:gdLst>
                  <a:gd name="connsiteX0" fmla="*/ 6477 w 6476"/>
                  <a:gd name="connsiteY0" fmla="*/ 0 h 5670"/>
                  <a:gd name="connsiteX1" fmla="*/ 0 w 6476"/>
                  <a:gd name="connsiteY1" fmla="*/ 5671 h 5670"/>
                  <a:gd name="connsiteX2" fmla="*/ 6477 w 6476"/>
                  <a:gd name="connsiteY2" fmla="*/ 0 h 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76" h="5670">
                    <a:moveTo>
                      <a:pt x="6477" y="0"/>
                    </a:moveTo>
                    <a:cubicBezTo>
                      <a:pt x="4813" y="2388"/>
                      <a:pt x="2591" y="4328"/>
                      <a:pt x="0" y="5671"/>
                    </a:cubicBezTo>
                    <a:cubicBezTo>
                      <a:pt x="2521" y="4238"/>
                      <a:pt x="4723" y="2308"/>
                      <a:pt x="647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32" name="Freeform: Shape 2431">
                <a:extLst>
                  <a:ext uri="{FF2B5EF4-FFF2-40B4-BE49-F238E27FC236}">
                    <a16:creationId xmlns:a16="http://schemas.microsoft.com/office/drawing/2014/main" id="{E5D3B7DD-B17F-47DC-871A-3CB0DFE1BE52}"/>
                  </a:ext>
                </a:extLst>
              </p:cNvPr>
              <p:cNvSpPr/>
              <p:nvPr/>
            </p:nvSpPr>
            <p:spPr>
              <a:xfrm>
                <a:off x="1963696" y="3407878"/>
                <a:ext cx="1515" cy="4377"/>
              </a:xfrm>
              <a:custGeom>
                <a:avLst/>
                <a:gdLst>
                  <a:gd name="connsiteX0" fmla="*/ 1017 w 1515"/>
                  <a:gd name="connsiteY0" fmla="*/ 0 h 4377"/>
                  <a:gd name="connsiteX1" fmla="*/ 1515 w 1515"/>
                  <a:gd name="connsiteY1" fmla="*/ 4377 h 4377"/>
                  <a:gd name="connsiteX2" fmla="*/ 121 w 1515"/>
                  <a:gd name="connsiteY2" fmla="*/ 1194 h 4377"/>
                  <a:gd name="connsiteX3" fmla="*/ 1017 w 1515"/>
                  <a:gd name="connsiteY3" fmla="*/ 0 h 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5" h="4377">
                    <a:moveTo>
                      <a:pt x="1017" y="0"/>
                    </a:moveTo>
                    <a:cubicBezTo>
                      <a:pt x="828" y="1482"/>
                      <a:pt x="997" y="2985"/>
                      <a:pt x="1515" y="4377"/>
                    </a:cubicBezTo>
                    <a:cubicBezTo>
                      <a:pt x="1515" y="3283"/>
                      <a:pt x="619" y="2388"/>
                      <a:pt x="121" y="1194"/>
                    </a:cubicBezTo>
                    <a:cubicBezTo>
                      <a:pt x="-378" y="0"/>
                      <a:pt x="818" y="298"/>
                      <a:pt x="101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33" name="Freeform: Shape 2432">
                <a:extLst>
                  <a:ext uri="{FF2B5EF4-FFF2-40B4-BE49-F238E27FC236}">
                    <a16:creationId xmlns:a16="http://schemas.microsoft.com/office/drawing/2014/main" id="{C5CA790D-D9BD-4BC4-83E0-F7B967EE7C86}"/>
                  </a:ext>
                </a:extLst>
              </p:cNvPr>
              <p:cNvSpPr/>
              <p:nvPr/>
            </p:nvSpPr>
            <p:spPr>
              <a:xfrm>
                <a:off x="1962421" y="3390069"/>
                <a:ext cx="5181" cy="2188"/>
              </a:xfrm>
              <a:custGeom>
                <a:avLst/>
                <a:gdLst>
                  <a:gd name="connsiteX0" fmla="*/ 5181 w 5181"/>
                  <a:gd name="connsiteY0" fmla="*/ 696 h 2188"/>
                  <a:gd name="connsiteX1" fmla="*/ 0 w 5181"/>
                  <a:gd name="connsiteY1" fmla="*/ 2189 h 2188"/>
                  <a:gd name="connsiteX2" fmla="*/ 1395 w 5181"/>
                  <a:gd name="connsiteY2" fmla="*/ 0 h 2188"/>
                  <a:gd name="connsiteX3" fmla="*/ 5181 w 5181"/>
                  <a:gd name="connsiteY3" fmla="*/ 696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81" h="2188">
                    <a:moveTo>
                      <a:pt x="5181" y="696"/>
                    </a:moveTo>
                    <a:cubicBezTo>
                      <a:pt x="3388" y="945"/>
                      <a:pt x="1644" y="1452"/>
                      <a:pt x="0" y="2189"/>
                    </a:cubicBezTo>
                    <a:cubicBezTo>
                      <a:pt x="428" y="1432"/>
                      <a:pt x="887" y="706"/>
                      <a:pt x="1395" y="0"/>
                    </a:cubicBezTo>
                    <a:cubicBezTo>
                      <a:pt x="2601" y="478"/>
                      <a:pt x="3886" y="716"/>
                      <a:pt x="5181" y="6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34" name="Freeform: Shape 2433">
                <a:extLst>
                  <a:ext uri="{FF2B5EF4-FFF2-40B4-BE49-F238E27FC236}">
                    <a16:creationId xmlns:a16="http://schemas.microsoft.com/office/drawing/2014/main" id="{88CE3B0A-6737-4BB7-BE4D-B7400C6D2948}"/>
                  </a:ext>
                </a:extLst>
              </p:cNvPr>
              <p:cNvSpPr/>
              <p:nvPr/>
            </p:nvSpPr>
            <p:spPr>
              <a:xfrm>
                <a:off x="1965311" y="3399123"/>
                <a:ext cx="2491" cy="3282"/>
              </a:xfrm>
              <a:custGeom>
                <a:avLst/>
                <a:gdLst>
                  <a:gd name="connsiteX0" fmla="*/ 0 w 2491"/>
                  <a:gd name="connsiteY0" fmla="*/ 0 h 3282"/>
                  <a:gd name="connsiteX1" fmla="*/ 2491 w 2491"/>
                  <a:gd name="connsiteY1" fmla="*/ 1890 h 3282"/>
                  <a:gd name="connsiteX2" fmla="*/ 1594 w 2491"/>
                  <a:gd name="connsiteY2" fmla="*/ 3283 h 3282"/>
                  <a:gd name="connsiteX3" fmla="*/ 0 w 2491"/>
                  <a:gd name="connsiteY3" fmla="*/ 0 h 3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1" h="3282">
                    <a:moveTo>
                      <a:pt x="0" y="0"/>
                    </a:moveTo>
                    <a:lnTo>
                      <a:pt x="2491" y="1890"/>
                    </a:lnTo>
                    <a:lnTo>
                      <a:pt x="1594" y="3283"/>
                    </a:lnTo>
                    <a:cubicBezTo>
                      <a:pt x="1465" y="2039"/>
                      <a:pt x="897" y="87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35" name="Freeform: Shape 2434">
                <a:extLst>
                  <a:ext uri="{FF2B5EF4-FFF2-40B4-BE49-F238E27FC236}">
                    <a16:creationId xmlns:a16="http://schemas.microsoft.com/office/drawing/2014/main" id="{4A9DFDB7-2D32-44F6-A3DB-7E7FD47323C0}"/>
                  </a:ext>
                </a:extLst>
              </p:cNvPr>
              <p:cNvSpPr/>
              <p:nvPr/>
            </p:nvSpPr>
            <p:spPr>
              <a:xfrm>
                <a:off x="2023105" y="3134884"/>
                <a:ext cx="8270" cy="7660"/>
              </a:xfrm>
              <a:custGeom>
                <a:avLst/>
                <a:gdLst>
                  <a:gd name="connsiteX0" fmla="*/ 8271 w 8270"/>
                  <a:gd name="connsiteY0" fmla="*/ 7660 h 7660"/>
                  <a:gd name="connsiteX1" fmla="*/ 0 w 8270"/>
                  <a:gd name="connsiteY1" fmla="*/ 0 h 7660"/>
                  <a:gd name="connsiteX2" fmla="*/ 8271 w 8270"/>
                  <a:gd name="connsiteY2" fmla="*/ 7660 h 7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70" h="7660">
                    <a:moveTo>
                      <a:pt x="8271" y="7660"/>
                    </a:moveTo>
                    <a:cubicBezTo>
                      <a:pt x="5879" y="4735"/>
                      <a:pt x="3099" y="2159"/>
                      <a:pt x="0" y="0"/>
                    </a:cubicBezTo>
                    <a:cubicBezTo>
                      <a:pt x="3498" y="1612"/>
                      <a:pt x="6397" y="4298"/>
                      <a:pt x="8271" y="766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36" name="Freeform: Shape 2435">
                <a:extLst>
                  <a:ext uri="{FF2B5EF4-FFF2-40B4-BE49-F238E27FC236}">
                    <a16:creationId xmlns:a16="http://schemas.microsoft.com/office/drawing/2014/main" id="{92331F4D-6611-486D-946C-89C77DC9444D}"/>
                  </a:ext>
                </a:extLst>
              </p:cNvPr>
              <p:cNvSpPr/>
              <p:nvPr/>
            </p:nvSpPr>
            <p:spPr>
              <a:xfrm>
                <a:off x="2188215" y="3459213"/>
                <a:ext cx="4484" cy="19897"/>
              </a:xfrm>
              <a:custGeom>
                <a:avLst/>
                <a:gdLst>
                  <a:gd name="connsiteX0" fmla="*/ 0 w 4484"/>
                  <a:gd name="connsiteY0" fmla="*/ 10446 h 19897"/>
                  <a:gd name="connsiteX1" fmla="*/ 4484 w 4484"/>
                  <a:gd name="connsiteY1" fmla="*/ 0 h 19897"/>
                  <a:gd name="connsiteX2" fmla="*/ 1395 w 4484"/>
                  <a:gd name="connsiteY2" fmla="*/ 19897 h 19897"/>
                  <a:gd name="connsiteX3" fmla="*/ 0 w 4484"/>
                  <a:gd name="connsiteY3" fmla="*/ 10446 h 1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84" h="19897">
                    <a:moveTo>
                      <a:pt x="0" y="10446"/>
                    </a:moveTo>
                    <a:cubicBezTo>
                      <a:pt x="1495" y="7263"/>
                      <a:pt x="2989" y="3880"/>
                      <a:pt x="4484" y="0"/>
                    </a:cubicBezTo>
                    <a:cubicBezTo>
                      <a:pt x="2292" y="6397"/>
                      <a:pt x="1246" y="13132"/>
                      <a:pt x="1395" y="19897"/>
                    </a:cubicBezTo>
                    <a:cubicBezTo>
                      <a:pt x="708" y="16784"/>
                      <a:pt x="249" y="13630"/>
                      <a:pt x="0" y="1044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37" name="Freeform: Shape 2436">
                <a:extLst>
                  <a:ext uri="{FF2B5EF4-FFF2-40B4-BE49-F238E27FC236}">
                    <a16:creationId xmlns:a16="http://schemas.microsoft.com/office/drawing/2014/main" id="{F3FC44FC-9E6C-476A-AA55-1F5F74BAE091}"/>
                  </a:ext>
                </a:extLst>
              </p:cNvPr>
              <p:cNvSpPr/>
              <p:nvPr/>
            </p:nvSpPr>
            <p:spPr>
              <a:xfrm>
                <a:off x="2196186" y="3497317"/>
                <a:ext cx="6377" cy="6963"/>
              </a:xfrm>
              <a:custGeom>
                <a:avLst/>
                <a:gdLst>
                  <a:gd name="connsiteX0" fmla="*/ 6377 w 6377"/>
                  <a:gd name="connsiteY0" fmla="*/ 6964 h 6963"/>
                  <a:gd name="connsiteX1" fmla="*/ 0 w 6377"/>
                  <a:gd name="connsiteY1" fmla="*/ 0 h 6963"/>
                  <a:gd name="connsiteX2" fmla="*/ 6377 w 6377"/>
                  <a:gd name="connsiteY2" fmla="*/ 6964 h 6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77" h="6963">
                    <a:moveTo>
                      <a:pt x="6377" y="6964"/>
                    </a:moveTo>
                    <a:cubicBezTo>
                      <a:pt x="3896" y="4984"/>
                      <a:pt x="1754" y="2636"/>
                      <a:pt x="0" y="0"/>
                    </a:cubicBezTo>
                    <a:cubicBezTo>
                      <a:pt x="2571" y="1870"/>
                      <a:pt x="4743" y="4238"/>
                      <a:pt x="6377" y="696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38" name="Freeform: Shape 2437">
                <a:extLst>
                  <a:ext uri="{FF2B5EF4-FFF2-40B4-BE49-F238E27FC236}">
                    <a16:creationId xmlns:a16="http://schemas.microsoft.com/office/drawing/2014/main" id="{20FBB59E-E4B3-4796-9D9C-80CBFBAD5349}"/>
                  </a:ext>
                </a:extLst>
              </p:cNvPr>
              <p:cNvSpPr/>
              <p:nvPr/>
            </p:nvSpPr>
            <p:spPr>
              <a:xfrm>
                <a:off x="2216016" y="3538206"/>
                <a:ext cx="9067" cy="10147"/>
              </a:xfrm>
              <a:custGeom>
                <a:avLst/>
                <a:gdLst>
                  <a:gd name="connsiteX0" fmla="*/ 9068 w 9067"/>
                  <a:gd name="connsiteY0" fmla="*/ 10148 h 10147"/>
                  <a:gd name="connsiteX1" fmla="*/ 897 w 9067"/>
                  <a:gd name="connsiteY1" fmla="*/ 5174 h 10147"/>
                  <a:gd name="connsiteX2" fmla="*/ 0 w 9067"/>
                  <a:gd name="connsiteY2" fmla="*/ 0 h 10147"/>
                  <a:gd name="connsiteX3" fmla="*/ 9068 w 9067"/>
                  <a:gd name="connsiteY3" fmla="*/ 10148 h 10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67" h="10147">
                    <a:moveTo>
                      <a:pt x="9068" y="10148"/>
                    </a:moveTo>
                    <a:cubicBezTo>
                      <a:pt x="6058" y="9004"/>
                      <a:pt x="3288" y="7312"/>
                      <a:pt x="897" y="5174"/>
                    </a:cubicBezTo>
                    <a:cubicBezTo>
                      <a:pt x="707" y="3432"/>
                      <a:pt x="408" y="1701"/>
                      <a:pt x="0" y="0"/>
                    </a:cubicBezTo>
                    <a:cubicBezTo>
                      <a:pt x="1963" y="4198"/>
                      <a:pt x="5112" y="7730"/>
                      <a:pt x="9068" y="1014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504" name="Freeform: Shape 1503">
              <a:extLst>
                <a:ext uri="{FF2B5EF4-FFF2-40B4-BE49-F238E27FC236}">
                  <a16:creationId xmlns:a16="http://schemas.microsoft.com/office/drawing/2014/main" id="{66711304-25F0-485B-B381-399677B0B48B}"/>
                </a:ext>
              </a:extLst>
            </p:cNvPr>
            <p:cNvSpPr/>
            <p:nvPr/>
          </p:nvSpPr>
          <p:spPr>
            <a:xfrm>
              <a:off x="4004726" y="1187915"/>
              <a:ext cx="437357" cy="745359"/>
            </a:xfrm>
            <a:custGeom>
              <a:avLst/>
              <a:gdLst>
                <a:gd name="connsiteX0" fmla="*/ 436242 w 437357"/>
                <a:gd name="connsiteY0" fmla="*/ 637217 h 745359"/>
                <a:gd name="connsiteX1" fmla="*/ 424285 w 437357"/>
                <a:gd name="connsiteY1" fmla="*/ 639306 h 745359"/>
                <a:gd name="connsiteX2" fmla="*/ 422292 w 437357"/>
                <a:gd name="connsiteY2" fmla="*/ 646171 h 745359"/>
                <a:gd name="connsiteX3" fmla="*/ 436242 w 437357"/>
                <a:gd name="connsiteY3" fmla="*/ 637217 h 745359"/>
                <a:gd name="connsiteX4" fmla="*/ 261267 w 437357"/>
                <a:gd name="connsiteY4" fmla="*/ 84365 h 745359"/>
                <a:gd name="connsiteX5" fmla="*/ 262861 w 437357"/>
                <a:gd name="connsiteY5" fmla="*/ 95607 h 745359"/>
                <a:gd name="connsiteX6" fmla="*/ 261865 w 437357"/>
                <a:gd name="connsiteY6" fmla="*/ 85062 h 745359"/>
                <a:gd name="connsiteX7" fmla="*/ 260071 w 437357"/>
                <a:gd name="connsiteY7" fmla="*/ 129334 h 745359"/>
                <a:gd name="connsiteX8" fmla="*/ 260868 w 437357"/>
                <a:gd name="connsiteY8" fmla="*/ 128140 h 745359"/>
                <a:gd name="connsiteX9" fmla="*/ 260868 w 437357"/>
                <a:gd name="connsiteY9" fmla="*/ 126747 h 745359"/>
                <a:gd name="connsiteX10" fmla="*/ 260071 w 437357"/>
                <a:gd name="connsiteY10" fmla="*/ 129334 h 745359"/>
                <a:gd name="connsiteX11" fmla="*/ 262861 w 437357"/>
                <a:gd name="connsiteY11" fmla="*/ 95906 h 745359"/>
                <a:gd name="connsiteX12" fmla="*/ 259672 w 437357"/>
                <a:gd name="connsiteY12" fmla="*/ 115803 h 745359"/>
                <a:gd name="connsiteX13" fmla="*/ 262861 w 437357"/>
                <a:gd name="connsiteY13" fmla="*/ 95607 h 745359"/>
                <a:gd name="connsiteX14" fmla="*/ 257580 w 437357"/>
                <a:gd name="connsiteY14" fmla="*/ 37208 h 745359"/>
                <a:gd name="connsiteX15" fmla="*/ 258876 w 437357"/>
                <a:gd name="connsiteY15" fmla="*/ 33627 h 745359"/>
                <a:gd name="connsiteX16" fmla="*/ 257879 w 437357"/>
                <a:gd name="connsiteY16" fmla="*/ 32731 h 745359"/>
                <a:gd name="connsiteX17" fmla="*/ 257580 w 437357"/>
                <a:gd name="connsiteY17" fmla="*/ 36910 h 745359"/>
                <a:gd name="connsiteX18" fmla="*/ 257580 w 437357"/>
                <a:gd name="connsiteY18" fmla="*/ 497 h 745359"/>
                <a:gd name="connsiteX19" fmla="*/ 257580 w 437357"/>
                <a:gd name="connsiteY19" fmla="*/ 9750 h 745359"/>
                <a:gd name="connsiteX20" fmla="*/ 257979 w 437357"/>
                <a:gd name="connsiteY20" fmla="*/ 0 h 745359"/>
                <a:gd name="connsiteX21" fmla="*/ 254491 w 437357"/>
                <a:gd name="connsiteY21" fmla="*/ 75411 h 745359"/>
                <a:gd name="connsiteX22" fmla="*/ 255687 w 437357"/>
                <a:gd name="connsiteY22" fmla="*/ 76804 h 745359"/>
                <a:gd name="connsiteX23" fmla="*/ 252598 w 437357"/>
                <a:gd name="connsiteY23" fmla="*/ 69641 h 745359"/>
                <a:gd name="connsiteX24" fmla="*/ 254890 w 437357"/>
                <a:gd name="connsiteY24" fmla="*/ 75113 h 745359"/>
                <a:gd name="connsiteX25" fmla="*/ 253495 w 437357"/>
                <a:gd name="connsiteY25" fmla="*/ 26762 h 745359"/>
                <a:gd name="connsiteX26" fmla="*/ 256385 w 437357"/>
                <a:gd name="connsiteY26" fmla="*/ 31737 h 745359"/>
                <a:gd name="connsiteX27" fmla="*/ 253894 w 437357"/>
                <a:gd name="connsiteY27" fmla="*/ 26464 h 745359"/>
                <a:gd name="connsiteX28" fmla="*/ 253495 w 437357"/>
                <a:gd name="connsiteY28" fmla="*/ 21589 h 745359"/>
                <a:gd name="connsiteX29" fmla="*/ 255786 w 437357"/>
                <a:gd name="connsiteY29" fmla="*/ 15321 h 745359"/>
                <a:gd name="connsiteX30" fmla="*/ 254192 w 437357"/>
                <a:gd name="connsiteY30" fmla="*/ 21290 h 745359"/>
                <a:gd name="connsiteX31" fmla="*/ 252099 w 437357"/>
                <a:gd name="connsiteY31" fmla="*/ 61881 h 745359"/>
                <a:gd name="connsiteX32" fmla="*/ 254192 w 437357"/>
                <a:gd name="connsiteY32" fmla="*/ 49943 h 745359"/>
                <a:gd name="connsiteX33" fmla="*/ 252797 w 437357"/>
                <a:gd name="connsiteY33" fmla="*/ 61583 h 745359"/>
                <a:gd name="connsiteX34" fmla="*/ 252099 w 437357"/>
                <a:gd name="connsiteY34" fmla="*/ 198975 h 745359"/>
                <a:gd name="connsiteX35" fmla="*/ 252099 w 437357"/>
                <a:gd name="connsiteY35" fmla="*/ 207133 h 745359"/>
                <a:gd name="connsiteX36" fmla="*/ 252996 w 437357"/>
                <a:gd name="connsiteY36" fmla="*/ 198975 h 745359"/>
                <a:gd name="connsiteX37" fmla="*/ 255986 w 437357"/>
                <a:gd name="connsiteY37" fmla="*/ 134109 h 745359"/>
                <a:gd name="connsiteX38" fmla="*/ 249110 w 437357"/>
                <a:gd name="connsiteY38" fmla="*/ 151420 h 745359"/>
                <a:gd name="connsiteX39" fmla="*/ 256883 w 437357"/>
                <a:gd name="connsiteY39" fmla="*/ 133811 h 745359"/>
                <a:gd name="connsiteX40" fmla="*/ 251701 w 437357"/>
                <a:gd name="connsiteY40" fmla="*/ 193801 h 745359"/>
                <a:gd name="connsiteX41" fmla="*/ 249608 w 437357"/>
                <a:gd name="connsiteY41" fmla="*/ 188330 h 745359"/>
                <a:gd name="connsiteX42" fmla="*/ 252598 w 437357"/>
                <a:gd name="connsiteY42" fmla="*/ 193006 h 745359"/>
                <a:gd name="connsiteX43" fmla="*/ 247915 w 437357"/>
                <a:gd name="connsiteY43" fmla="*/ 172312 h 745359"/>
                <a:gd name="connsiteX44" fmla="*/ 246221 w 437357"/>
                <a:gd name="connsiteY44" fmla="*/ 168830 h 745359"/>
                <a:gd name="connsiteX45" fmla="*/ 248812 w 437357"/>
                <a:gd name="connsiteY45" fmla="*/ 171516 h 745359"/>
                <a:gd name="connsiteX46" fmla="*/ 237950 w 437357"/>
                <a:gd name="connsiteY46" fmla="*/ 497437 h 745359"/>
                <a:gd name="connsiteX47" fmla="*/ 236256 w 437357"/>
                <a:gd name="connsiteY47" fmla="*/ 503705 h 745359"/>
                <a:gd name="connsiteX48" fmla="*/ 239246 w 437357"/>
                <a:gd name="connsiteY48" fmla="*/ 509674 h 745359"/>
                <a:gd name="connsiteX49" fmla="*/ 238648 w 437357"/>
                <a:gd name="connsiteY49" fmla="*/ 496641 h 745359"/>
                <a:gd name="connsiteX50" fmla="*/ 209850 w 437357"/>
                <a:gd name="connsiteY50" fmla="*/ 668755 h 745359"/>
                <a:gd name="connsiteX51" fmla="*/ 218121 w 437357"/>
                <a:gd name="connsiteY51" fmla="*/ 663482 h 745359"/>
                <a:gd name="connsiteX52" fmla="*/ 212342 w 437357"/>
                <a:gd name="connsiteY52" fmla="*/ 666864 h 745359"/>
                <a:gd name="connsiteX53" fmla="*/ 210548 w 437357"/>
                <a:gd name="connsiteY53" fmla="*/ 667959 h 745359"/>
                <a:gd name="connsiteX54" fmla="*/ 215232 w 437357"/>
                <a:gd name="connsiteY54" fmla="*/ 680096 h 745359"/>
                <a:gd name="connsiteX55" fmla="*/ 209751 w 437357"/>
                <a:gd name="connsiteY55" fmla="*/ 671938 h 745359"/>
                <a:gd name="connsiteX56" fmla="*/ 216228 w 437357"/>
                <a:gd name="connsiteY56" fmla="*/ 679300 h 745359"/>
                <a:gd name="connsiteX57" fmla="*/ 181452 w 437357"/>
                <a:gd name="connsiteY57" fmla="*/ 709942 h 745359"/>
                <a:gd name="connsiteX58" fmla="*/ 184840 w 437357"/>
                <a:gd name="connsiteY58" fmla="*/ 699994 h 745359"/>
                <a:gd name="connsiteX59" fmla="*/ 177366 w 437357"/>
                <a:gd name="connsiteY59" fmla="*/ 718001 h 745359"/>
                <a:gd name="connsiteX60" fmla="*/ 182150 w 437357"/>
                <a:gd name="connsiteY60" fmla="*/ 708947 h 745359"/>
                <a:gd name="connsiteX61" fmla="*/ 165509 w 437357"/>
                <a:gd name="connsiteY61" fmla="*/ 741679 h 745359"/>
                <a:gd name="connsiteX62" fmla="*/ 166306 w 437357"/>
                <a:gd name="connsiteY62" fmla="*/ 740186 h 745359"/>
                <a:gd name="connsiteX63" fmla="*/ 164712 w 437357"/>
                <a:gd name="connsiteY63" fmla="*/ 742276 h 745359"/>
                <a:gd name="connsiteX64" fmla="*/ 166406 w 437357"/>
                <a:gd name="connsiteY64" fmla="*/ 740684 h 745359"/>
                <a:gd name="connsiteX65" fmla="*/ 161623 w 437357"/>
                <a:gd name="connsiteY65" fmla="*/ 743669 h 745359"/>
                <a:gd name="connsiteX66" fmla="*/ 154748 w 437357"/>
                <a:gd name="connsiteY66" fmla="*/ 745360 h 745359"/>
                <a:gd name="connsiteX67" fmla="*/ 162321 w 437357"/>
                <a:gd name="connsiteY67" fmla="*/ 742674 h 745359"/>
                <a:gd name="connsiteX68" fmla="*/ 79417 w 437357"/>
                <a:gd name="connsiteY68" fmla="*/ 615429 h 745359"/>
                <a:gd name="connsiteX69" fmla="*/ 74035 w 437357"/>
                <a:gd name="connsiteY69" fmla="*/ 614335 h 745359"/>
                <a:gd name="connsiteX70" fmla="*/ 80114 w 437357"/>
                <a:gd name="connsiteY70" fmla="*/ 614434 h 745359"/>
                <a:gd name="connsiteX71" fmla="*/ 3089 w 437357"/>
                <a:gd name="connsiteY71" fmla="*/ 519822 h 745359"/>
                <a:gd name="connsiteX72" fmla="*/ 0 w 437357"/>
                <a:gd name="connsiteY72" fmla="*/ 519822 h 745359"/>
                <a:gd name="connsiteX73" fmla="*/ 9964 w 437357"/>
                <a:gd name="connsiteY73" fmla="*/ 525393 h 745359"/>
                <a:gd name="connsiteX74" fmla="*/ 3787 w 437357"/>
                <a:gd name="connsiteY74" fmla="*/ 518827 h 745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437357" h="745359">
                  <a:moveTo>
                    <a:pt x="436242" y="637217"/>
                  </a:moveTo>
                  <a:lnTo>
                    <a:pt x="424285" y="639306"/>
                  </a:lnTo>
                  <a:lnTo>
                    <a:pt x="422292" y="646171"/>
                  </a:lnTo>
                  <a:cubicBezTo>
                    <a:pt x="426576" y="644281"/>
                    <a:pt x="441523" y="646668"/>
                    <a:pt x="436242" y="637217"/>
                  </a:cubicBezTo>
                  <a:close/>
                  <a:moveTo>
                    <a:pt x="261267" y="84365"/>
                  </a:moveTo>
                  <a:cubicBezTo>
                    <a:pt x="262791" y="87907"/>
                    <a:pt x="263340" y="91787"/>
                    <a:pt x="262861" y="95607"/>
                  </a:cubicBezTo>
                  <a:cubicBezTo>
                    <a:pt x="263320" y="92066"/>
                    <a:pt x="262981" y="88454"/>
                    <a:pt x="261865" y="85062"/>
                  </a:cubicBezTo>
                  <a:close/>
                  <a:moveTo>
                    <a:pt x="260071" y="129334"/>
                  </a:moveTo>
                  <a:lnTo>
                    <a:pt x="260868" y="128140"/>
                  </a:lnTo>
                  <a:cubicBezTo>
                    <a:pt x="260829" y="127672"/>
                    <a:pt x="260829" y="127215"/>
                    <a:pt x="260868" y="126747"/>
                  </a:cubicBezTo>
                  <a:cubicBezTo>
                    <a:pt x="260759" y="127652"/>
                    <a:pt x="260490" y="128528"/>
                    <a:pt x="260071" y="129334"/>
                  </a:cubicBezTo>
                  <a:close/>
                  <a:moveTo>
                    <a:pt x="262861" y="95906"/>
                  </a:moveTo>
                  <a:cubicBezTo>
                    <a:pt x="262164" y="102372"/>
                    <a:pt x="259872" y="108740"/>
                    <a:pt x="259672" y="115803"/>
                  </a:cubicBezTo>
                  <a:cubicBezTo>
                    <a:pt x="260270" y="109436"/>
                    <a:pt x="262463" y="102273"/>
                    <a:pt x="262861" y="95607"/>
                  </a:cubicBezTo>
                  <a:close/>
                  <a:moveTo>
                    <a:pt x="257580" y="37208"/>
                  </a:moveTo>
                  <a:cubicBezTo>
                    <a:pt x="257939" y="35985"/>
                    <a:pt x="258367" y="34791"/>
                    <a:pt x="258876" y="33627"/>
                  </a:cubicBezTo>
                  <a:cubicBezTo>
                    <a:pt x="258497" y="33388"/>
                    <a:pt x="258158" y="33080"/>
                    <a:pt x="257879" y="32731"/>
                  </a:cubicBezTo>
                  <a:cubicBezTo>
                    <a:pt x="257869" y="34124"/>
                    <a:pt x="257769" y="35527"/>
                    <a:pt x="257580" y="36910"/>
                  </a:cubicBezTo>
                  <a:close/>
                  <a:moveTo>
                    <a:pt x="257580" y="497"/>
                  </a:moveTo>
                  <a:cubicBezTo>
                    <a:pt x="257012" y="3552"/>
                    <a:pt x="257012" y="6696"/>
                    <a:pt x="257580" y="9750"/>
                  </a:cubicBezTo>
                  <a:cubicBezTo>
                    <a:pt x="257988" y="6516"/>
                    <a:pt x="258118" y="3253"/>
                    <a:pt x="257979" y="0"/>
                  </a:cubicBezTo>
                  <a:close/>
                  <a:moveTo>
                    <a:pt x="254491" y="75411"/>
                  </a:moveTo>
                  <a:lnTo>
                    <a:pt x="255687" y="76804"/>
                  </a:lnTo>
                  <a:cubicBezTo>
                    <a:pt x="254411" y="74536"/>
                    <a:pt x="253375" y="72128"/>
                    <a:pt x="252598" y="69641"/>
                  </a:cubicBezTo>
                  <a:cubicBezTo>
                    <a:pt x="253026" y="71591"/>
                    <a:pt x="253804" y="73442"/>
                    <a:pt x="254890" y="75113"/>
                  </a:cubicBezTo>
                  <a:close/>
                  <a:moveTo>
                    <a:pt x="253495" y="26762"/>
                  </a:moveTo>
                  <a:cubicBezTo>
                    <a:pt x="253684" y="28762"/>
                    <a:pt x="254740" y="30582"/>
                    <a:pt x="256385" y="31737"/>
                  </a:cubicBezTo>
                  <a:cubicBezTo>
                    <a:pt x="255228" y="30155"/>
                    <a:pt x="254381" y="28364"/>
                    <a:pt x="253894" y="26464"/>
                  </a:cubicBezTo>
                  <a:close/>
                  <a:moveTo>
                    <a:pt x="253495" y="21589"/>
                  </a:moveTo>
                  <a:cubicBezTo>
                    <a:pt x="254511" y="19599"/>
                    <a:pt x="255278" y="17490"/>
                    <a:pt x="255786" y="15321"/>
                  </a:cubicBezTo>
                  <a:cubicBezTo>
                    <a:pt x="255059" y="17251"/>
                    <a:pt x="254521" y="19251"/>
                    <a:pt x="254192" y="21290"/>
                  </a:cubicBezTo>
                  <a:close/>
                  <a:moveTo>
                    <a:pt x="252099" y="61881"/>
                  </a:moveTo>
                  <a:cubicBezTo>
                    <a:pt x="252897" y="58300"/>
                    <a:pt x="253495" y="54022"/>
                    <a:pt x="254192" y="49943"/>
                  </a:cubicBezTo>
                  <a:cubicBezTo>
                    <a:pt x="253405" y="53783"/>
                    <a:pt x="252947" y="57673"/>
                    <a:pt x="252797" y="61583"/>
                  </a:cubicBezTo>
                  <a:close/>
                  <a:moveTo>
                    <a:pt x="252099" y="198975"/>
                  </a:moveTo>
                  <a:cubicBezTo>
                    <a:pt x="251502" y="201661"/>
                    <a:pt x="251502" y="204447"/>
                    <a:pt x="252099" y="207133"/>
                  </a:cubicBezTo>
                  <a:cubicBezTo>
                    <a:pt x="252149" y="204387"/>
                    <a:pt x="252449" y="201661"/>
                    <a:pt x="252996" y="198975"/>
                  </a:cubicBezTo>
                  <a:close/>
                  <a:moveTo>
                    <a:pt x="255986" y="134109"/>
                  </a:moveTo>
                  <a:cubicBezTo>
                    <a:pt x="252568" y="139362"/>
                    <a:pt x="250226" y="145252"/>
                    <a:pt x="249110" y="151420"/>
                  </a:cubicBezTo>
                  <a:cubicBezTo>
                    <a:pt x="251003" y="145272"/>
                    <a:pt x="253614" y="139362"/>
                    <a:pt x="256883" y="133811"/>
                  </a:cubicBezTo>
                  <a:close/>
                  <a:moveTo>
                    <a:pt x="251701" y="193801"/>
                  </a:moveTo>
                  <a:cubicBezTo>
                    <a:pt x="251422" y="191842"/>
                    <a:pt x="250705" y="189971"/>
                    <a:pt x="249608" y="188330"/>
                  </a:cubicBezTo>
                  <a:cubicBezTo>
                    <a:pt x="250496" y="189961"/>
                    <a:pt x="251492" y="191523"/>
                    <a:pt x="252598" y="193006"/>
                  </a:cubicBezTo>
                  <a:close/>
                  <a:moveTo>
                    <a:pt x="247915" y="172312"/>
                  </a:moveTo>
                  <a:cubicBezTo>
                    <a:pt x="247666" y="171029"/>
                    <a:pt x="247078" y="169825"/>
                    <a:pt x="246221" y="168830"/>
                  </a:cubicBezTo>
                  <a:cubicBezTo>
                    <a:pt x="246819" y="169954"/>
                    <a:pt x="247715" y="170880"/>
                    <a:pt x="248812" y="171516"/>
                  </a:cubicBezTo>
                  <a:close/>
                  <a:moveTo>
                    <a:pt x="237950" y="497437"/>
                  </a:moveTo>
                  <a:lnTo>
                    <a:pt x="236256" y="503705"/>
                  </a:lnTo>
                  <a:cubicBezTo>
                    <a:pt x="236256" y="503705"/>
                    <a:pt x="237652" y="510768"/>
                    <a:pt x="239246" y="509674"/>
                  </a:cubicBezTo>
                  <a:cubicBezTo>
                    <a:pt x="237900" y="505456"/>
                    <a:pt x="237691" y="500959"/>
                    <a:pt x="238648" y="496641"/>
                  </a:cubicBezTo>
                  <a:close/>
                  <a:moveTo>
                    <a:pt x="209850" y="668755"/>
                  </a:moveTo>
                  <a:cubicBezTo>
                    <a:pt x="211545" y="667461"/>
                    <a:pt x="214634" y="665670"/>
                    <a:pt x="218121" y="663482"/>
                  </a:cubicBezTo>
                  <a:lnTo>
                    <a:pt x="212342" y="666864"/>
                  </a:lnTo>
                  <a:cubicBezTo>
                    <a:pt x="211674" y="667103"/>
                    <a:pt x="211066" y="667481"/>
                    <a:pt x="210548" y="667959"/>
                  </a:cubicBezTo>
                  <a:close/>
                  <a:moveTo>
                    <a:pt x="215232" y="680096"/>
                  </a:moveTo>
                  <a:cubicBezTo>
                    <a:pt x="213567" y="677271"/>
                    <a:pt x="211734" y="674545"/>
                    <a:pt x="209751" y="671938"/>
                  </a:cubicBezTo>
                  <a:cubicBezTo>
                    <a:pt x="211664" y="674594"/>
                    <a:pt x="213836" y="677062"/>
                    <a:pt x="216228" y="679300"/>
                  </a:cubicBezTo>
                  <a:close/>
                  <a:moveTo>
                    <a:pt x="181452" y="709942"/>
                  </a:moveTo>
                  <a:cubicBezTo>
                    <a:pt x="182847" y="705863"/>
                    <a:pt x="184043" y="702580"/>
                    <a:pt x="184840" y="699994"/>
                  </a:cubicBezTo>
                  <a:cubicBezTo>
                    <a:pt x="182698" y="706132"/>
                    <a:pt x="180207" y="712151"/>
                    <a:pt x="177366" y="718001"/>
                  </a:cubicBezTo>
                  <a:cubicBezTo>
                    <a:pt x="179359" y="714021"/>
                    <a:pt x="180755" y="711435"/>
                    <a:pt x="182150" y="708947"/>
                  </a:cubicBezTo>
                  <a:close/>
                  <a:moveTo>
                    <a:pt x="165509" y="741679"/>
                  </a:moveTo>
                  <a:cubicBezTo>
                    <a:pt x="165808" y="741201"/>
                    <a:pt x="166077" y="740704"/>
                    <a:pt x="166306" y="740186"/>
                  </a:cubicBezTo>
                  <a:cubicBezTo>
                    <a:pt x="165847" y="740933"/>
                    <a:pt x="165310" y="741639"/>
                    <a:pt x="164712" y="742276"/>
                  </a:cubicBezTo>
                  <a:cubicBezTo>
                    <a:pt x="164712" y="742276"/>
                    <a:pt x="166406" y="740883"/>
                    <a:pt x="166406" y="740684"/>
                  </a:cubicBezTo>
                  <a:close/>
                  <a:moveTo>
                    <a:pt x="161623" y="743669"/>
                  </a:moveTo>
                  <a:cubicBezTo>
                    <a:pt x="159261" y="743917"/>
                    <a:pt x="156950" y="744484"/>
                    <a:pt x="154748" y="745360"/>
                  </a:cubicBezTo>
                  <a:cubicBezTo>
                    <a:pt x="157836" y="743768"/>
                    <a:pt x="160228" y="743370"/>
                    <a:pt x="162321" y="742674"/>
                  </a:cubicBezTo>
                  <a:close/>
                  <a:moveTo>
                    <a:pt x="79417" y="615429"/>
                  </a:moveTo>
                  <a:cubicBezTo>
                    <a:pt x="77772" y="614534"/>
                    <a:pt x="75899" y="614156"/>
                    <a:pt x="74035" y="614335"/>
                  </a:cubicBezTo>
                  <a:cubicBezTo>
                    <a:pt x="76058" y="614514"/>
                    <a:pt x="78091" y="614544"/>
                    <a:pt x="80114" y="614434"/>
                  </a:cubicBezTo>
                  <a:close/>
                  <a:moveTo>
                    <a:pt x="3089" y="519822"/>
                  </a:moveTo>
                  <a:lnTo>
                    <a:pt x="0" y="519822"/>
                  </a:lnTo>
                  <a:cubicBezTo>
                    <a:pt x="3836" y="520568"/>
                    <a:pt x="7324" y="522518"/>
                    <a:pt x="9964" y="525393"/>
                  </a:cubicBezTo>
                  <a:cubicBezTo>
                    <a:pt x="9267" y="521215"/>
                    <a:pt x="6975" y="518727"/>
                    <a:pt x="3787" y="51882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05" name="Freeform: Shape 1504">
              <a:extLst>
                <a:ext uri="{FF2B5EF4-FFF2-40B4-BE49-F238E27FC236}">
                  <a16:creationId xmlns:a16="http://schemas.microsoft.com/office/drawing/2014/main" id="{6356A30F-A029-43F1-B0D3-24A19D32FE68}"/>
                </a:ext>
              </a:extLst>
            </p:cNvPr>
            <p:cNvSpPr/>
            <p:nvPr/>
          </p:nvSpPr>
          <p:spPr>
            <a:xfrm>
              <a:off x="2115475" y="904475"/>
              <a:ext cx="864810" cy="850617"/>
            </a:xfrm>
            <a:custGeom>
              <a:avLst/>
              <a:gdLst>
                <a:gd name="connsiteX0" fmla="*/ 729195 w 864810"/>
                <a:gd name="connsiteY0" fmla="*/ 121872 h 850617"/>
                <a:gd name="connsiteX1" fmla="*/ 733181 w 864810"/>
                <a:gd name="connsiteY1" fmla="*/ 137691 h 850617"/>
                <a:gd name="connsiteX2" fmla="*/ 762078 w 864810"/>
                <a:gd name="connsiteY2" fmla="*/ 143660 h 850617"/>
                <a:gd name="connsiteX3" fmla="*/ 729195 w 864810"/>
                <a:gd name="connsiteY3" fmla="*/ 121872 h 850617"/>
                <a:gd name="connsiteX4" fmla="*/ 537879 w 864810"/>
                <a:gd name="connsiteY4" fmla="*/ 273988 h 850617"/>
                <a:gd name="connsiteX5" fmla="*/ 535886 w 864810"/>
                <a:gd name="connsiteY5" fmla="*/ 281052 h 850617"/>
                <a:gd name="connsiteX6" fmla="*/ 560797 w 864810"/>
                <a:gd name="connsiteY6" fmla="*/ 260060 h 850617"/>
                <a:gd name="connsiteX7" fmla="*/ 537879 w 864810"/>
                <a:gd name="connsiteY7" fmla="*/ 273988 h 850617"/>
                <a:gd name="connsiteX8" fmla="*/ 816882 w 864810"/>
                <a:gd name="connsiteY8" fmla="*/ 848429 h 850617"/>
                <a:gd name="connsiteX9" fmla="*/ 864811 w 864810"/>
                <a:gd name="connsiteY9" fmla="*/ 846539 h 850617"/>
                <a:gd name="connsiteX10" fmla="*/ 816583 w 864810"/>
                <a:gd name="connsiteY10" fmla="*/ 848429 h 850617"/>
                <a:gd name="connsiteX11" fmla="*/ 757993 w 864810"/>
                <a:gd name="connsiteY11" fmla="*/ 850618 h 850617"/>
                <a:gd name="connsiteX12" fmla="*/ 793366 w 864810"/>
                <a:gd name="connsiteY12" fmla="*/ 849424 h 850617"/>
                <a:gd name="connsiteX13" fmla="*/ 790277 w 864810"/>
                <a:gd name="connsiteY13" fmla="*/ 849424 h 850617"/>
                <a:gd name="connsiteX14" fmla="*/ 344270 w 864810"/>
                <a:gd name="connsiteY14" fmla="*/ 258667 h 850617"/>
                <a:gd name="connsiteX15" fmla="*/ 351345 w 864810"/>
                <a:gd name="connsiteY15" fmla="*/ 264239 h 850617"/>
                <a:gd name="connsiteX16" fmla="*/ 343971 w 864810"/>
                <a:gd name="connsiteY16" fmla="*/ 258667 h 850617"/>
                <a:gd name="connsiteX17" fmla="*/ 337494 w 864810"/>
                <a:gd name="connsiteY17" fmla="*/ 244540 h 850617"/>
                <a:gd name="connsiteX18" fmla="*/ 341879 w 864810"/>
                <a:gd name="connsiteY18" fmla="*/ 255086 h 850617"/>
                <a:gd name="connsiteX19" fmla="*/ 337195 w 864810"/>
                <a:gd name="connsiteY19" fmla="*/ 244540 h 850617"/>
                <a:gd name="connsiteX20" fmla="*/ 320953 w 864810"/>
                <a:gd name="connsiteY20" fmla="*/ 218275 h 850617"/>
                <a:gd name="connsiteX21" fmla="*/ 330918 w 864810"/>
                <a:gd name="connsiteY21" fmla="*/ 218275 h 850617"/>
                <a:gd name="connsiteX22" fmla="*/ 320655 w 864810"/>
                <a:gd name="connsiteY22" fmla="*/ 218275 h 850617"/>
                <a:gd name="connsiteX23" fmla="*/ 303914 w 864810"/>
                <a:gd name="connsiteY23" fmla="*/ 140675 h 850617"/>
                <a:gd name="connsiteX24" fmla="*/ 306704 w 864810"/>
                <a:gd name="connsiteY24" fmla="*/ 142765 h 850617"/>
                <a:gd name="connsiteX25" fmla="*/ 303615 w 864810"/>
                <a:gd name="connsiteY25" fmla="*/ 140675 h 850617"/>
                <a:gd name="connsiteX26" fmla="*/ 293950 w 864810"/>
                <a:gd name="connsiteY26" fmla="*/ 124757 h 850617"/>
                <a:gd name="connsiteX27" fmla="*/ 289964 w 864810"/>
                <a:gd name="connsiteY27" fmla="*/ 118788 h 850617"/>
                <a:gd name="connsiteX28" fmla="*/ 293751 w 864810"/>
                <a:gd name="connsiteY28" fmla="*/ 124757 h 850617"/>
                <a:gd name="connsiteX29" fmla="*/ 287971 w 864810"/>
                <a:gd name="connsiteY29" fmla="*/ 133910 h 850617"/>
                <a:gd name="connsiteX30" fmla="*/ 288968 w 864810"/>
                <a:gd name="connsiteY30" fmla="*/ 138089 h 850617"/>
                <a:gd name="connsiteX31" fmla="*/ 287772 w 864810"/>
                <a:gd name="connsiteY31" fmla="*/ 134209 h 850617"/>
                <a:gd name="connsiteX32" fmla="*/ 268042 w 864810"/>
                <a:gd name="connsiteY32" fmla="*/ 109436 h 850617"/>
                <a:gd name="connsiteX33" fmla="*/ 281195 w 864810"/>
                <a:gd name="connsiteY33" fmla="*/ 111923 h 850617"/>
                <a:gd name="connsiteX34" fmla="*/ 267544 w 864810"/>
                <a:gd name="connsiteY34" fmla="*/ 109436 h 850617"/>
                <a:gd name="connsiteX35" fmla="*/ 252399 w 864810"/>
                <a:gd name="connsiteY35" fmla="*/ 105855 h 850617"/>
                <a:gd name="connsiteX36" fmla="*/ 236355 w 864810"/>
                <a:gd name="connsiteY36" fmla="*/ 99487 h 850617"/>
                <a:gd name="connsiteX37" fmla="*/ 252099 w 864810"/>
                <a:gd name="connsiteY37" fmla="*/ 105855 h 850617"/>
                <a:gd name="connsiteX38" fmla="*/ 226491 w 864810"/>
                <a:gd name="connsiteY38" fmla="*/ 103865 h 850617"/>
                <a:gd name="connsiteX39" fmla="*/ 227686 w 864810"/>
                <a:gd name="connsiteY39" fmla="*/ 101776 h 850617"/>
                <a:gd name="connsiteX40" fmla="*/ 222206 w 864810"/>
                <a:gd name="connsiteY40" fmla="*/ 104362 h 850617"/>
                <a:gd name="connsiteX41" fmla="*/ 225993 w 864810"/>
                <a:gd name="connsiteY41" fmla="*/ 104362 h 850617"/>
                <a:gd name="connsiteX42" fmla="*/ 209352 w 864810"/>
                <a:gd name="connsiteY42" fmla="*/ 98294 h 850617"/>
                <a:gd name="connsiteX43" fmla="*/ 204171 w 864810"/>
                <a:gd name="connsiteY43" fmla="*/ 98294 h 850617"/>
                <a:gd name="connsiteX44" fmla="*/ 208854 w 864810"/>
                <a:gd name="connsiteY44" fmla="*/ 98294 h 850617"/>
                <a:gd name="connsiteX45" fmla="*/ 198391 w 864810"/>
                <a:gd name="connsiteY45" fmla="*/ 96602 h 850617"/>
                <a:gd name="connsiteX46" fmla="*/ 184242 w 864810"/>
                <a:gd name="connsiteY46" fmla="*/ 87450 h 850617"/>
                <a:gd name="connsiteX47" fmla="*/ 197893 w 864810"/>
                <a:gd name="connsiteY47" fmla="*/ 96602 h 850617"/>
                <a:gd name="connsiteX48" fmla="*/ 32882 w 864810"/>
                <a:gd name="connsiteY48" fmla="*/ 30244 h 850617"/>
                <a:gd name="connsiteX49" fmla="*/ 26804 w 864810"/>
                <a:gd name="connsiteY49" fmla="*/ 16117 h 850617"/>
                <a:gd name="connsiteX50" fmla="*/ 32882 w 864810"/>
                <a:gd name="connsiteY50" fmla="*/ 30244 h 850617"/>
                <a:gd name="connsiteX51" fmla="*/ 21822 w 864810"/>
                <a:gd name="connsiteY51" fmla="*/ 10347 h 850617"/>
                <a:gd name="connsiteX52" fmla="*/ 17438 w 864810"/>
                <a:gd name="connsiteY52" fmla="*/ 8456 h 850617"/>
                <a:gd name="connsiteX53" fmla="*/ 21922 w 864810"/>
                <a:gd name="connsiteY53" fmla="*/ 10645 h 850617"/>
                <a:gd name="connsiteX54" fmla="*/ 11260 w 864810"/>
                <a:gd name="connsiteY54" fmla="*/ 4079 h 850617"/>
                <a:gd name="connsiteX55" fmla="*/ 14448 w 864810"/>
                <a:gd name="connsiteY55" fmla="*/ 6765 h 850617"/>
                <a:gd name="connsiteX56" fmla="*/ 11359 w 864810"/>
                <a:gd name="connsiteY56" fmla="*/ 4875 h 850617"/>
                <a:gd name="connsiteX57" fmla="*/ 8071 w 864810"/>
                <a:gd name="connsiteY57" fmla="*/ 3084 h 850617"/>
                <a:gd name="connsiteX58" fmla="*/ 4085 w 864810"/>
                <a:gd name="connsiteY58" fmla="*/ 4178 h 850617"/>
                <a:gd name="connsiteX59" fmla="*/ 8171 w 864810"/>
                <a:gd name="connsiteY59" fmla="*/ 3383 h 850617"/>
                <a:gd name="connsiteX60" fmla="*/ 1694 w 864810"/>
                <a:gd name="connsiteY60" fmla="*/ 3084 h 850617"/>
                <a:gd name="connsiteX61" fmla="*/ 0 w 864810"/>
                <a:gd name="connsiteY61" fmla="*/ 0 h 850617"/>
                <a:gd name="connsiteX62" fmla="*/ 1794 w 864810"/>
                <a:gd name="connsiteY62" fmla="*/ 3383 h 85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864810" h="850617">
                  <a:moveTo>
                    <a:pt x="729195" y="121872"/>
                  </a:moveTo>
                  <a:cubicBezTo>
                    <a:pt x="722120" y="127045"/>
                    <a:pt x="729195" y="133214"/>
                    <a:pt x="733181" y="137691"/>
                  </a:cubicBezTo>
                  <a:cubicBezTo>
                    <a:pt x="739957" y="146048"/>
                    <a:pt x="756199" y="160971"/>
                    <a:pt x="762078" y="143660"/>
                  </a:cubicBezTo>
                  <a:cubicBezTo>
                    <a:pt x="751815" y="137492"/>
                    <a:pt x="736369" y="132517"/>
                    <a:pt x="729195" y="121872"/>
                  </a:cubicBezTo>
                  <a:close/>
                  <a:moveTo>
                    <a:pt x="537879" y="273988"/>
                  </a:moveTo>
                  <a:lnTo>
                    <a:pt x="535886" y="281052"/>
                  </a:lnTo>
                  <a:cubicBezTo>
                    <a:pt x="547345" y="287320"/>
                    <a:pt x="559103" y="270009"/>
                    <a:pt x="560797" y="260060"/>
                  </a:cubicBezTo>
                  <a:cubicBezTo>
                    <a:pt x="551032" y="242053"/>
                    <a:pt x="542761" y="266825"/>
                    <a:pt x="537879" y="273988"/>
                  </a:cubicBezTo>
                  <a:close/>
                  <a:moveTo>
                    <a:pt x="816882" y="848429"/>
                  </a:moveTo>
                  <a:cubicBezTo>
                    <a:pt x="833124" y="848429"/>
                    <a:pt x="849167" y="847235"/>
                    <a:pt x="864811" y="846539"/>
                  </a:cubicBezTo>
                  <a:cubicBezTo>
                    <a:pt x="848709" y="846171"/>
                    <a:pt x="832606" y="846797"/>
                    <a:pt x="816583" y="848429"/>
                  </a:cubicBezTo>
                  <a:close/>
                  <a:moveTo>
                    <a:pt x="757993" y="850618"/>
                  </a:moveTo>
                  <a:cubicBezTo>
                    <a:pt x="769751" y="850618"/>
                    <a:pt x="781608" y="849722"/>
                    <a:pt x="793366" y="849424"/>
                  </a:cubicBezTo>
                  <a:cubicBezTo>
                    <a:pt x="792340" y="849483"/>
                    <a:pt x="791303" y="849483"/>
                    <a:pt x="790277" y="849424"/>
                  </a:cubicBezTo>
                  <a:close/>
                  <a:moveTo>
                    <a:pt x="344270" y="258667"/>
                  </a:moveTo>
                  <a:cubicBezTo>
                    <a:pt x="345795" y="261393"/>
                    <a:pt x="348336" y="263393"/>
                    <a:pt x="351345" y="264239"/>
                  </a:cubicBezTo>
                  <a:cubicBezTo>
                    <a:pt x="348515" y="262935"/>
                    <a:pt x="345994" y="261035"/>
                    <a:pt x="343971" y="258667"/>
                  </a:cubicBezTo>
                  <a:close/>
                  <a:moveTo>
                    <a:pt x="337494" y="244540"/>
                  </a:moveTo>
                  <a:cubicBezTo>
                    <a:pt x="336588" y="248629"/>
                    <a:pt x="338342" y="252837"/>
                    <a:pt x="341879" y="255086"/>
                  </a:cubicBezTo>
                  <a:cubicBezTo>
                    <a:pt x="338461" y="252728"/>
                    <a:pt x="336647" y="248659"/>
                    <a:pt x="337195" y="244540"/>
                  </a:cubicBezTo>
                  <a:close/>
                  <a:moveTo>
                    <a:pt x="320953" y="218275"/>
                  </a:moveTo>
                  <a:cubicBezTo>
                    <a:pt x="324142" y="218275"/>
                    <a:pt x="327730" y="218275"/>
                    <a:pt x="330918" y="218275"/>
                  </a:cubicBezTo>
                  <a:cubicBezTo>
                    <a:pt x="327430" y="218275"/>
                    <a:pt x="323046" y="218375"/>
                    <a:pt x="320655" y="218275"/>
                  </a:cubicBezTo>
                  <a:close/>
                  <a:moveTo>
                    <a:pt x="303914" y="140675"/>
                  </a:moveTo>
                  <a:cubicBezTo>
                    <a:pt x="304990" y="141143"/>
                    <a:pt x="305947" y="141859"/>
                    <a:pt x="306704" y="142765"/>
                  </a:cubicBezTo>
                  <a:cubicBezTo>
                    <a:pt x="305887" y="141799"/>
                    <a:pt x="304821" y="141073"/>
                    <a:pt x="303615" y="140675"/>
                  </a:cubicBezTo>
                  <a:close/>
                  <a:moveTo>
                    <a:pt x="293950" y="124757"/>
                  </a:moveTo>
                  <a:cubicBezTo>
                    <a:pt x="292944" y="122569"/>
                    <a:pt x="291598" y="120559"/>
                    <a:pt x="289964" y="118788"/>
                  </a:cubicBezTo>
                  <a:cubicBezTo>
                    <a:pt x="291489" y="120599"/>
                    <a:pt x="292764" y="122608"/>
                    <a:pt x="293751" y="124757"/>
                  </a:cubicBezTo>
                  <a:close/>
                  <a:moveTo>
                    <a:pt x="287971" y="133910"/>
                  </a:moveTo>
                  <a:cubicBezTo>
                    <a:pt x="287334" y="135373"/>
                    <a:pt x="287742" y="137074"/>
                    <a:pt x="288968" y="138089"/>
                  </a:cubicBezTo>
                  <a:cubicBezTo>
                    <a:pt x="287911" y="137104"/>
                    <a:pt x="287453" y="135621"/>
                    <a:pt x="287772" y="134209"/>
                  </a:cubicBezTo>
                  <a:close/>
                  <a:moveTo>
                    <a:pt x="268042" y="109436"/>
                  </a:moveTo>
                  <a:cubicBezTo>
                    <a:pt x="272576" y="108929"/>
                    <a:pt x="277160" y="109804"/>
                    <a:pt x="281195" y="111923"/>
                  </a:cubicBezTo>
                  <a:cubicBezTo>
                    <a:pt x="277031" y="109645"/>
                    <a:pt x="272247" y="108780"/>
                    <a:pt x="267544" y="109436"/>
                  </a:cubicBezTo>
                  <a:close/>
                  <a:moveTo>
                    <a:pt x="252399" y="105855"/>
                  </a:moveTo>
                  <a:cubicBezTo>
                    <a:pt x="247556" y="102641"/>
                    <a:pt x="242085" y="100472"/>
                    <a:pt x="236355" y="99487"/>
                  </a:cubicBezTo>
                  <a:cubicBezTo>
                    <a:pt x="241846" y="100950"/>
                    <a:pt x="247137" y="103089"/>
                    <a:pt x="252099" y="105855"/>
                  </a:cubicBezTo>
                  <a:close/>
                  <a:moveTo>
                    <a:pt x="226491" y="103865"/>
                  </a:moveTo>
                  <a:lnTo>
                    <a:pt x="227686" y="101776"/>
                  </a:lnTo>
                  <a:lnTo>
                    <a:pt x="222206" y="104362"/>
                  </a:lnTo>
                  <a:cubicBezTo>
                    <a:pt x="223432" y="104760"/>
                    <a:pt x="224767" y="104760"/>
                    <a:pt x="225993" y="104362"/>
                  </a:cubicBezTo>
                  <a:close/>
                  <a:moveTo>
                    <a:pt x="209352" y="98294"/>
                  </a:moveTo>
                  <a:cubicBezTo>
                    <a:pt x="207628" y="98194"/>
                    <a:pt x="205894" y="98194"/>
                    <a:pt x="204171" y="98294"/>
                  </a:cubicBezTo>
                  <a:cubicBezTo>
                    <a:pt x="205705" y="98702"/>
                    <a:pt x="207319" y="98702"/>
                    <a:pt x="208854" y="98294"/>
                  </a:cubicBezTo>
                  <a:close/>
                  <a:moveTo>
                    <a:pt x="198391" y="96602"/>
                  </a:moveTo>
                  <a:cubicBezTo>
                    <a:pt x="193867" y="93269"/>
                    <a:pt x="189144" y="90205"/>
                    <a:pt x="184242" y="87450"/>
                  </a:cubicBezTo>
                  <a:cubicBezTo>
                    <a:pt x="188606" y="90772"/>
                    <a:pt x="193160" y="93827"/>
                    <a:pt x="197893" y="96602"/>
                  </a:cubicBezTo>
                  <a:close/>
                  <a:moveTo>
                    <a:pt x="32882" y="30244"/>
                  </a:moveTo>
                  <a:cubicBezTo>
                    <a:pt x="31507" y="25280"/>
                    <a:pt x="29465" y="20524"/>
                    <a:pt x="26804" y="16117"/>
                  </a:cubicBezTo>
                  <a:cubicBezTo>
                    <a:pt x="28897" y="20196"/>
                    <a:pt x="31089" y="25469"/>
                    <a:pt x="32882" y="30244"/>
                  </a:cubicBezTo>
                  <a:close/>
                  <a:moveTo>
                    <a:pt x="21822" y="10347"/>
                  </a:moveTo>
                  <a:cubicBezTo>
                    <a:pt x="20556" y="9332"/>
                    <a:pt x="19042" y="8685"/>
                    <a:pt x="17438" y="8456"/>
                  </a:cubicBezTo>
                  <a:cubicBezTo>
                    <a:pt x="18872" y="9302"/>
                    <a:pt x="20377" y="10028"/>
                    <a:pt x="21922" y="10645"/>
                  </a:cubicBezTo>
                  <a:close/>
                  <a:moveTo>
                    <a:pt x="11260" y="4079"/>
                  </a:moveTo>
                  <a:cubicBezTo>
                    <a:pt x="12236" y="5074"/>
                    <a:pt x="13302" y="5979"/>
                    <a:pt x="14448" y="6765"/>
                  </a:cubicBezTo>
                  <a:cubicBezTo>
                    <a:pt x="13611" y="5870"/>
                    <a:pt x="12545" y="5213"/>
                    <a:pt x="11359" y="4875"/>
                  </a:cubicBezTo>
                  <a:close/>
                  <a:moveTo>
                    <a:pt x="8071" y="3084"/>
                  </a:moveTo>
                  <a:cubicBezTo>
                    <a:pt x="6676" y="3164"/>
                    <a:pt x="5321" y="3542"/>
                    <a:pt x="4085" y="4178"/>
                  </a:cubicBezTo>
                  <a:cubicBezTo>
                    <a:pt x="5500" y="4377"/>
                    <a:pt x="6935" y="4099"/>
                    <a:pt x="8171" y="3383"/>
                  </a:cubicBezTo>
                  <a:close/>
                  <a:moveTo>
                    <a:pt x="1694" y="3084"/>
                  </a:moveTo>
                  <a:cubicBezTo>
                    <a:pt x="1275" y="1980"/>
                    <a:pt x="707" y="945"/>
                    <a:pt x="0" y="0"/>
                  </a:cubicBezTo>
                  <a:cubicBezTo>
                    <a:pt x="70" y="1333"/>
                    <a:pt x="727" y="2567"/>
                    <a:pt x="1794" y="3383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06" name="Freeform: Shape 1505">
              <a:extLst>
                <a:ext uri="{FF2B5EF4-FFF2-40B4-BE49-F238E27FC236}">
                  <a16:creationId xmlns:a16="http://schemas.microsoft.com/office/drawing/2014/main" id="{B1304DD7-AFFB-47D1-A490-59C14ABF49CB}"/>
                </a:ext>
              </a:extLst>
            </p:cNvPr>
            <p:cNvSpPr/>
            <p:nvPr/>
          </p:nvSpPr>
          <p:spPr>
            <a:xfrm>
              <a:off x="-1258672" y="1289591"/>
              <a:ext cx="1893" cy="4277"/>
            </a:xfrm>
            <a:custGeom>
              <a:avLst/>
              <a:gdLst>
                <a:gd name="connsiteX0" fmla="*/ 0 w 1893"/>
                <a:gd name="connsiteY0" fmla="*/ 4278 h 4277"/>
                <a:gd name="connsiteX1" fmla="*/ 1893 w 1893"/>
                <a:gd name="connsiteY1" fmla="*/ 0 h 4277"/>
                <a:gd name="connsiteX2" fmla="*/ 0 w 1893"/>
                <a:gd name="connsiteY2" fmla="*/ 4278 h 4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3" h="4277">
                  <a:moveTo>
                    <a:pt x="0" y="4278"/>
                  </a:moveTo>
                  <a:cubicBezTo>
                    <a:pt x="847" y="2955"/>
                    <a:pt x="1485" y="1512"/>
                    <a:pt x="1893" y="0"/>
                  </a:cubicBezTo>
                  <a:cubicBezTo>
                    <a:pt x="1674" y="1572"/>
                    <a:pt x="1026" y="3054"/>
                    <a:pt x="0" y="4278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07" name="Freeform: Shape 1506">
              <a:extLst>
                <a:ext uri="{FF2B5EF4-FFF2-40B4-BE49-F238E27FC236}">
                  <a16:creationId xmlns:a16="http://schemas.microsoft.com/office/drawing/2014/main" id="{0093A1A9-55C8-4540-9714-D1E06A751156}"/>
                </a:ext>
              </a:extLst>
            </p:cNvPr>
            <p:cNvSpPr/>
            <p:nvPr/>
          </p:nvSpPr>
          <p:spPr>
            <a:xfrm>
              <a:off x="-1254487" y="1302723"/>
              <a:ext cx="1269" cy="6765"/>
            </a:xfrm>
            <a:custGeom>
              <a:avLst/>
              <a:gdLst>
                <a:gd name="connsiteX0" fmla="*/ 598 w 1269"/>
                <a:gd name="connsiteY0" fmla="*/ 0 h 6765"/>
                <a:gd name="connsiteX1" fmla="*/ 0 w 1269"/>
                <a:gd name="connsiteY1" fmla="*/ 6765 h 6765"/>
                <a:gd name="connsiteX2" fmla="*/ 598 w 1269"/>
                <a:gd name="connsiteY2" fmla="*/ 0 h 6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69" h="6765">
                  <a:moveTo>
                    <a:pt x="598" y="0"/>
                  </a:moveTo>
                  <a:cubicBezTo>
                    <a:pt x="1674" y="2189"/>
                    <a:pt x="1445" y="4795"/>
                    <a:pt x="0" y="6765"/>
                  </a:cubicBezTo>
                  <a:cubicBezTo>
                    <a:pt x="658" y="4576"/>
                    <a:pt x="857" y="2268"/>
                    <a:pt x="598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08" name="Freeform: Shape 1507">
              <a:extLst>
                <a:ext uri="{FF2B5EF4-FFF2-40B4-BE49-F238E27FC236}">
                  <a16:creationId xmlns:a16="http://schemas.microsoft.com/office/drawing/2014/main" id="{08A4229B-B590-4DE0-9799-6DDBBCB3CFCB}"/>
                </a:ext>
              </a:extLst>
            </p:cNvPr>
            <p:cNvSpPr/>
            <p:nvPr/>
          </p:nvSpPr>
          <p:spPr>
            <a:xfrm>
              <a:off x="-1244822" y="1313767"/>
              <a:ext cx="4284" cy="2885"/>
            </a:xfrm>
            <a:custGeom>
              <a:avLst/>
              <a:gdLst>
                <a:gd name="connsiteX0" fmla="*/ 1096 w 4284"/>
                <a:gd name="connsiteY0" fmla="*/ 0 h 2885"/>
                <a:gd name="connsiteX1" fmla="*/ 4285 w 4284"/>
                <a:gd name="connsiteY1" fmla="*/ 2885 h 2885"/>
                <a:gd name="connsiteX2" fmla="*/ 0 w 4284"/>
                <a:gd name="connsiteY2" fmla="*/ 1094 h 2885"/>
                <a:gd name="connsiteX3" fmla="*/ 1096 w 4284"/>
                <a:gd name="connsiteY3" fmla="*/ 0 h 2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4" h="2885">
                  <a:moveTo>
                    <a:pt x="1096" y="0"/>
                  </a:moveTo>
                  <a:lnTo>
                    <a:pt x="4285" y="2885"/>
                  </a:lnTo>
                  <a:cubicBezTo>
                    <a:pt x="3099" y="1821"/>
                    <a:pt x="1594" y="1194"/>
                    <a:pt x="0" y="1094"/>
                  </a:cubicBezTo>
                  <a:cubicBezTo>
                    <a:pt x="418" y="786"/>
                    <a:pt x="787" y="418"/>
                    <a:pt x="1096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09" name="Freeform: Shape 1508">
              <a:extLst>
                <a:ext uri="{FF2B5EF4-FFF2-40B4-BE49-F238E27FC236}">
                  <a16:creationId xmlns:a16="http://schemas.microsoft.com/office/drawing/2014/main" id="{41521C5F-88B7-4581-B459-44ECA56B193D}"/>
                </a:ext>
              </a:extLst>
            </p:cNvPr>
            <p:cNvSpPr/>
            <p:nvPr/>
          </p:nvSpPr>
          <p:spPr>
            <a:xfrm>
              <a:off x="-1236352" y="937207"/>
              <a:ext cx="1893" cy="4576"/>
            </a:xfrm>
            <a:custGeom>
              <a:avLst/>
              <a:gdLst>
                <a:gd name="connsiteX0" fmla="*/ 1893 w 1893"/>
                <a:gd name="connsiteY0" fmla="*/ 0 h 4576"/>
                <a:gd name="connsiteX1" fmla="*/ 0 w 1893"/>
                <a:gd name="connsiteY1" fmla="*/ 4576 h 4576"/>
                <a:gd name="connsiteX2" fmla="*/ 1893 w 1893"/>
                <a:gd name="connsiteY2" fmla="*/ 0 h 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93" h="4576">
                  <a:moveTo>
                    <a:pt x="1893" y="0"/>
                  </a:moveTo>
                  <a:cubicBezTo>
                    <a:pt x="1465" y="1602"/>
                    <a:pt x="827" y="3144"/>
                    <a:pt x="0" y="4576"/>
                  </a:cubicBezTo>
                  <a:cubicBezTo>
                    <a:pt x="399" y="3482"/>
                    <a:pt x="1196" y="1990"/>
                    <a:pt x="1893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0" name="Freeform: Shape 1509">
              <a:extLst>
                <a:ext uri="{FF2B5EF4-FFF2-40B4-BE49-F238E27FC236}">
                  <a16:creationId xmlns:a16="http://schemas.microsoft.com/office/drawing/2014/main" id="{94156291-0189-4036-888A-4422F1C39293}"/>
                </a:ext>
              </a:extLst>
            </p:cNvPr>
            <p:cNvSpPr/>
            <p:nvPr/>
          </p:nvSpPr>
          <p:spPr>
            <a:xfrm>
              <a:off x="-1238544" y="1230993"/>
              <a:ext cx="7074" cy="10844"/>
            </a:xfrm>
            <a:custGeom>
              <a:avLst/>
              <a:gdLst>
                <a:gd name="connsiteX0" fmla="*/ 2790 w 7074"/>
                <a:gd name="connsiteY0" fmla="*/ 3184 h 10844"/>
                <a:gd name="connsiteX1" fmla="*/ 7075 w 7074"/>
                <a:gd name="connsiteY1" fmla="*/ 0 h 10844"/>
                <a:gd name="connsiteX2" fmla="*/ 0 w 7074"/>
                <a:gd name="connsiteY2" fmla="*/ 10844 h 10844"/>
                <a:gd name="connsiteX3" fmla="*/ 2790 w 7074"/>
                <a:gd name="connsiteY3" fmla="*/ 3184 h 10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74" h="10844">
                  <a:moveTo>
                    <a:pt x="2790" y="3184"/>
                  </a:moveTo>
                  <a:cubicBezTo>
                    <a:pt x="4135" y="2020"/>
                    <a:pt x="5570" y="955"/>
                    <a:pt x="7075" y="0"/>
                  </a:cubicBezTo>
                  <a:cubicBezTo>
                    <a:pt x="4055" y="3134"/>
                    <a:pt x="1654" y="6815"/>
                    <a:pt x="0" y="10844"/>
                  </a:cubicBezTo>
                  <a:cubicBezTo>
                    <a:pt x="897" y="8158"/>
                    <a:pt x="1794" y="5571"/>
                    <a:pt x="2790" y="318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1" name="Freeform: Shape 1510">
              <a:extLst>
                <a:ext uri="{FF2B5EF4-FFF2-40B4-BE49-F238E27FC236}">
                  <a16:creationId xmlns:a16="http://schemas.microsoft.com/office/drawing/2014/main" id="{3F5ACAA7-8A88-489D-9AE7-78978D6D1D08}"/>
                </a:ext>
              </a:extLst>
            </p:cNvPr>
            <p:cNvSpPr/>
            <p:nvPr/>
          </p:nvSpPr>
          <p:spPr>
            <a:xfrm>
              <a:off x="-1224985" y="1320731"/>
              <a:ext cx="889" cy="5272"/>
            </a:xfrm>
            <a:custGeom>
              <a:avLst/>
              <a:gdLst>
                <a:gd name="connsiteX0" fmla="*/ 192 w 889"/>
                <a:gd name="connsiteY0" fmla="*/ 0 h 5272"/>
                <a:gd name="connsiteX1" fmla="*/ 889 w 889"/>
                <a:gd name="connsiteY1" fmla="*/ 5273 h 5272"/>
                <a:gd name="connsiteX2" fmla="*/ 192 w 889"/>
                <a:gd name="connsiteY2" fmla="*/ 0 h 5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" h="5272">
                  <a:moveTo>
                    <a:pt x="192" y="0"/>
                  </a:moveTo>
                  <a:lnTo>
                    <a:pt x="889" y="5273"/>
                  </a:lnTo>
                  <a:cubicBezTo>
                    <a:pt x="33" y="3651"/>
                    <a:pt x="-217" y="1781"/>
                    <a:pt x="192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2" name="Freeform: Shape 1511">
              <a:extLst>
                <a:ext uri="{FF2B5EF4-FFF2-40B4-BE49-F238E27FC236}">
                  <a16:creationId xmlns:a16="http://schemas.microsoft.com/office/drawing/2014/main" id="{BFB3B242-9AEE-43C1-8C1F-E43321D94D13}"/>
                </a:ext>
              </a:extLst>
            </p:cNvPr>
            <p:cNvSpPr/>
            <p:nvPr/>
          </p:nvSpPr>
          <p:spPr>
            <a:xfrm>
              <a:off x="-1224295" y="985956"/>
              <a:ext cx="1494" cy="3780"/>
            </a:xfrm>
            <a:custGeom>
              <a:avLst/>
              <a:gdLst>
                <a:gd name="connsiteX0" fmla="*/ 0 w 1494"/>
                <a:gd name="connsiteY0" fmla="*/ 3781 h 3780"/>
                <a:gd name="connsiteX1" fmla="*/ 1495 w 1494"/>
                <a:gd name="connsiteY1" fmla="*/ 0 h 3780"/>
                <a:gd name="connsiteX2" fmla="*/ 0 w 1494"/>
                <a:gd name="connsiteY2" fmla="*/ 3781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94" h="3780">
                  <a:moveTo>
                    <a:pt x="0" y="3781"/>
                  </a:moveTo>
                  <a:cubicBezTo>
                    <a:pt x="279" y="2447"/>
                    <a:pt x="787" y="1164"/>
                    <a:pt x="1495" y="0"/>
                  </a:cubicBezTo>
                  <a:cubicBezTo>
                    <a:pt x="897" y="1592"/>
                    <a:pt x="399" y="2985"/>
                    <a:pt x="0" y="3781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3" name="Freeform: Shape 1512">
              <a:extLst>
                <a:ext uri="{FF2B5EF4-FFF2-40B4-BE49-F238E27FC236}">
                  <a16:creationId xmlns:a16="http://schemas.microsoft.com/office/drawing/2014/main" id="{9C7C55CE-68E7-4280-BB00-FB68052979B3}"/>
                </a:ext>
              </a:extLst>
            </p:cNvPr>
            <p:cNvSpPr/>
            <p:nvPr/>
          </p:nvSpPr>
          <p:spPr>
            <a:xfrm>
              <a:off x="-1227284" y="953523"/>
              <a:ext cx="3487" cy="8854"/>
            </a:xfrm>
            <a:custGeom>
              <a:avLst/>
              <a:gdLst>
                <a:gd name="connsiteX0" fmla="*/ 3388 w 3487"/>
                <a:gd name="connsiteY0" fmla="*/ 8854 h 8854"/>
                <a:gd name="connsiteX1" fmla="*/ 0 w 3487"/>
                <a:gd name="connsiteY1" fmla="*/ 0 h 8854"/>
                <a:gd name="connsiteX2" fmla="*/ 3488 w 3487"/>
                <a:gd name="connsiteY2" fmla="*/ 7064 h 8854"/>
                <a:gd name="connsiteX3" fmla="*/ 3388 w 3487"/>
                <a:gd name="connsiteY3" fmla="*/ 8854 h 8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87" h="8854">
                  <a:moveTo>
                    <a:pt x="3388" y="8854"/>
                  </a:moveTo>
                  <a:cubicBezTo>
                    <a:pt x="2790" y="5731"/>
                    <a:pt x="1634" y="2736"/>
                    <a:pt x="0" y="0"/>
                  </a:cubicBezTo>
                  <a:cubicBezTo>
                    <a:pt x="1505" y="2169"/>
                    <a:pt x="2680" y="4556"/>
                    <a:pt x="3488" y="7064"/>
                  </a:cubicBezTo>
                  <a:cubicBezTo>
                    <a:pt x="3398" y="7661"/>
                    <a:pt x="3368" y="8257"/>
                    <a:pt x="3388" y="885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4" name="Freeform: Shape 1513">
              <a:extLst>
                <a:ext uri="{FF2B5EF4-FFF2-40B4-BE49-F238E27FC236}">
                  <a16:creationId xmlns:a16="http://schemas.microsoft.com/office/drawing/2014/main" id="{8E705076-DF9B-45CE-9349-2C89219D4666}"/>
                </a:ext>
              </a:extLst>
            </p:cNvPr>
            <p:cNvSpPr/>
            <p:nvPr/>
          </p:nvSpPr>
          <p:spPr>
            <a:xfrm>
              <a:off x="-1224096" y="992522"/>
              <a:ext cx="1594" cy="1890"/>
            </a:xfrm>
            <a:custGeom>
              <a:avLst/>
              <a:gdLst>
                <a:gd name="connsiteX0" fmla="*/ 1594 w 1594"/>
                <a:gd name="connsiteY0" fmla="*/ 1890 h 1890"/>
                <a:gd name="connsiteX1" fmla="*/ 0 w 1594"/>
                <a:gd name="connsiteY1" fmla="*/ 0 h 1890"/>
                <a:gd name="connsiteX2" fmla="*/ 1594 w 1594"/>
                <a:gd name="connsiteY2" fmla="*/ 1890 h 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4" h="1890">
                  <a:moveTo>
                    <a:pt x="1594" y="1890"/>
                  </a:moveTo>
                  <a:cubicBezTo>
                    <a:pt x="927" y="1393"/>
                    <a:pt x="379" y="746"/>
                    <a:pt x="0" y="0"/>
                  </a:cubicBezTo>
                  <a:cubicBezTo>
                    <a:pt x="648" y="527"/>
                    <a:pt x="1186" y="1164"/>
                    <a:pt x="1594" y="189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5" name="Freeform: Shape 1514">
              <a:extLst>
                <a:ext uri="{FF2B5EF4-FFF2-40B4-BE49-F238E27FC236}">
                  <a16:creationId xmlns:a16="http://schemas.microsoft.com/office/drawing/2014/main" id="{9177A529-25B0-41CE-A57E-3E23B2030514}"/>
                </a:ext>
              </a:extLst>
            </p:cNvPr>
            <p:cNvSpPr/>
            <p:nvPr/>
          </p:nvSpPr>
          <p:spPr>
            <a:xfrm>
              <a:off x="-1219612" y="975310"/>
              <a:ext cx="498" cy="1094"/>
            </a:xfrm>
            <a:custGeom>
              <a:avLst/>
              <a:gdLst>
                <a:gd name="connsiteX0" fmla="*/ 0 w 498"/>
                <a:gd name="connsiteY0" fmla="*/ 1094 h 1094"/>
                <a:gd name="connsiteX1" fmla="*/ 0 w 498"/>
                <a:gd name="connsiteY1" fmla="*/ 0 h 1094"/>
                <a:gd name="connsiteX2" fmla="*/ 498 w 498"/>
                <a:gd name="connsiteY2" fmla="*/ 0 h 1094"/>
                <a:gd name="connsiteX3" fmla="*/ 0 w 498"/>
                <a:gd name="connsiteY3" fmla="*/ 1094 h 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" h="1094">
                  <a:moveTo>
                    <a:pt x="0" y="1094"/>
                  </a:moveTo>
                  <a:cubicBezTo>
                    <a:pt x="100" y="736"/>
                    <a:pt x="100" y="358"/>
                    <a:pt x="0" y="0"/>
                  </a:cubicBezTo>
                  <a:lnTo>
                    <a:pt x="498" y="0"/>
                  </a:lnTo>
                  <a:cubicBezTo>
                    <a:pt x="428" y="398"/>
                    <a:pt x="249" y="776"/>
                    <a:pt x="0" y="109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6" name="Freeform: Shape 1515">
              <a:extLst>
                <a:ext uri="{FF2B5EF4-FFF2-40B4-BE49-F238E27FC236}">
                  <a16:creationId xmlns:a16="http://schemas.microsoft.com/office/drawing/2014/main" id="{57B9F818-F27E-4859-96D9-7EDDA8A18E22}"/>
                </a:ext>
              </a:extLst>
            </p:cNvPr>
            <p:cNvSpPr/>
            <p:nvPr/>
          </p:nvSpPr>
          <p:spPr>
            <a:xfrm>
              <a:off x="-1222900" y="1221542"/>
              <a:ext cx="4483" cy="3780"/>
            </a:xfrm>
            <a:custGeom>
              <a:avLst/>
              <a:gdLst>
                <a:gd name="connsiteX0" fmla="*/ 4484 w 4483"/>
                <a:gd name="connsiteY0" fmla="*/ 0 h 3780"/>
                <a:gd name="connsiteX1" fmla="*/ 3089 w 4483"/>
                <a:gd name="connsiteY1" fmla="*/ 2686 h 3780"/>
                <a:gd name="connsiteX2" fmla="*/ 0 w 4483"/>
                <a:gd name="connsiteY2" fmla="*/ 3780 h 3780"/>
                <a:gd name="connsiteX3" fmla="*/ 4484 w 4483"/>
                <a:gd name="connsiteY3" fmla="*/ 0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3" h="3780">
                  <a:moveTo>
                    <a:pt x="4484" y="0"/>
                  </a:moveTo>
                  <a:lnTo>
                    <a:pt x="3089" y="2686"/>
                  </a:lnTo>
                  <a:cubicBezTo>
                    <a:pt x="2043" y="2995"/>
                    <a:pt x="1006" y="3353"/>
                    <a:pt x="0" y="3780"/>
                  </a:cubicBezTo>
                  <a:cubicBezTo>
                    <a:pt x="1604" y="2646"/>
                    <a:pt x="3099" y="1383"/>
                    <a:pt x="4484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7" name="Freeform: Shape 1516">
              <a:extLst>
                <a:ext uri="{FF2B5EF4-FFF2-40B4-BE49-F238E27FC236}">
                  <a16:creationId xmlns:a16="http://schemas.microsoft.com/office/drawing/2014/main" id="{BB3D5FDD-4F83-4E80-9BF4-2F777DC293A6}"/>
                </a:ext>
              </a:extLst>
            </p:cNvPr>
            <p:cNvSpPr/>
            <p:nvPr/>
          </p:nvSpPr>
          <p:spPr>
            <a:xfrm>
              <a:off x="-1216622" y="1009236"/>
              <a:ext cx="5779" cy="12833"/>
            </a:xfrm>
            <a:custGeom>
              <a:avLst/>
              <a:gdLst>
                <a:gd name="connsiteX0" fmla="*/ 5779 w 5779"/>
                <a:gd name="connsiteY0" fmla="*/ 12834 h 12833"/>
                <a:gd name="connsiteX1" fmla="*/ 0 w 5779"/>
                <a:gd name="connsiteY1" fmla="*/ 0 h 12833"/>
                <a:gd name="connsiteX2" fmla="*/ 5779 w 5779"/>
                <a:gd name="connsiteY2" fmla="*/ 12834 h 12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79" h="12833">
                  <a:moveTo>
                    <a:pt x="5779" y="12834"/>
                  </a:moveTo>
                  <a:cubicBezTo>
                    <a:pt x="3607" y="8675"/>
                    <a:pt x="1674" y="4387"/>
                    <a:pt x="0" y="0"/>
                  </a:cubicBezTo>
                  <a:cubicBezTo>
                    <a:pt x="2182" y="4159"/>
                    <a:pt x="4105" y="8447"/>
                    <a:pt x="5779" y="1283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8" name="Freeform: Shape 1517">
              <a:extLst>
                <a:ext uri="{FF2B5EF4-FFF2-40B4-BE49-F238E27FC236}">
                  <a16:creationId xmlns:a16="http://schemas.microsoft.com/office/drawing/2014/main" id="{48861147-04D9-4798-8DE0-4C6C766D61BF}"/>
                </a:ext>
              </a:extLst>
            </p:cNvPr>
            <p:cNvSpPr/>
            <p:nvPr/>
          </p:nvSpPr>
          <p:spPr>
            <a:xfrm>
              <a:off x="-1218017" y="1330083"/>
              <a:ext cx="3381" cy="5372"/>
            </a:xfrm>
            <a:custGeom>
              <a:avLst/>
              <a:gdLst>
                <a:gd name="connsiteX0" fmla="*/ 3189 w 3381"/>
                <a:gd name="connsiteY0" fmla="*/ 5372 h 5372"/>
                <a:gd name="connsiteX1" fmla="*/ 0 w 3381"/>
                <a:gd name="connsiteY1" fmla="*/ 0 h 5372"/>
                <a:gd name="connsiteX2" fmla="*/ 3189 w 3381"/>
                <a:gd name="connsiteY2" fmla="*/ 5372 h 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81" h="5372">
                  <a:moveTo>
                    <a:pt x="3189" y="5372"/>
                  </a:moveTo>
                  <a:cubicBezTo>
                    <a:pt x="3268" y="3114"/>
                    <a:pt x="2023" y="1015"/>
                    <a:pt x="0" y="0"/>
                  </a:cubicBezTo>
                  <a:cubicBezTo>
                    <a:pt x="2192" y="1293"/>
                    <a:pt x="3986" y="3184"/>
                    <a:pt x="3189" y="5372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19" name="Freeform: Shape 1518">
              <a:extLst>
                <a:ext uri="{FF2B5EF4-FFF2-40B4-BE49-F238E27FC236}">
                  <a16:creationId xmlns:a16="http://schemas.microsoft.com/office/drawing/2014/main" id="{E86BFD02-D6CF-4C93-8A6E-9BEB3F2264B3}"/>
                </a:ext>
              </a:extLst>
            </p:cNvPr>
            <p:cNvSpPr/>
            <p:nvPr/>
          </p:nvSpPr>
          <p:spPr>
            <a:xfrm>
              <a:off x="-1213733" y="1211494"/>
              <a:ext cx="697" cy="1193"/>
            </a:xfrm>
            <a:custGeom>
              <a:avLst/>
              <a:gdLst>
                <a:gd name="connsiteX0" fmla="*/ 698 w 697"/>
                <a:gd name="connsiteY0" fmla="*/ 0 h 1193"/>
                <a:gd name="connsiteX1" fmla="*/ 0 w 697"/>
                <a:gd name="connsiteY1" fmla="*/ 1194 h 1193"/>
                <a:gd name="connsiteX2" fmla="*/ 698 w 697"/>
                <a:gd name="connsiteY2" fmla="*/ 0 h 1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7" h="1193">
                  <a:moveTo>
                    <a:pt x="698" y="0"/>
                  </a:moveTo>
                  <a:cubicBezTo>
                    <a:pt x="428" y="378"/>
                    <a:pt x="199" y="776"/>
                    <a:pt x="0" y="1194"/>
                  </a:cubicBezTo>
                  <a:cubicBezTo>
                    <a:pt x="199" y="776"/>
                    <a:pt x="428" y="378"/>
                    <a:pt x="698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0" name="Freeform: Shape 1519">
              <a:extLst>
                <a:ext uri="{FF2B5EF4-FFF2-40B4-BE49-F238E27FC236}">
                  <a16:creationId xmlns:a16="http://schemas.microsoft.com/office/drawing/2014/main" id="{F9E839BF-9EED-4C95-A536-FEF812A8EDFF}"/>
                </a:ext>
              </a:extLst>
            </p:cNvPr>
            <p:cNvSpPr/>
            <p:nvPr/>
          </p:nvSpPr>
          <p:spPr>
            <a:xfrm>
              <a:off x="-1213334" y="1202540"/>
              <a:ext cx="3686" cy="8953"/>
            </a:xfrm>
            <a:custGeom>
              <a:avLst/>
              <a:gdLst>
                <a:gd name="connsiteX0" fmla="*/ 3687 w 3686"/>
                <a:gd name="connsiteY0" fmla="*/ 0 h 8953"/>
                <a:gd name="connsiteX1" fmla="*/ 0 w 3686"/>
                <a:gd name="connsiteY1" fmla="*/ 8954 h 8953"/>
                <a:gd name="connsiteX2" fmla="*/ 3687 w 3686"/>
                <a:gd name="connsiteY2" fmla="*/ 0 h 8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86" h="8953">
                  <a:moveTo>
                    <a:pt x="3687" y="0"/>
                  </a:moveTo>
                  <a:cubicBezTo>
                    <a:pt x="2760" y="3104"/>
                    <a:pt x="1525" y="6098"/>
                    <a:pt x="0" y="8954"/>
                  </a:cubicBezTo>
                  <a:cubicBezTo>
                    <a:pt x="1495" y="6367"/>
                    <a:pt x="2890" y="2985"/>
                    <a:pt x="3687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1" name="Freeform: Shape 1520">
              <a:extLst>
                <a:ext uri="{FF2B5EF4-FFF2-40B4-BE49-F238E27FC236}">
                  <a16:creationId xmlns:a16="http://schemas.microsoft.com/office/drawing/2014/main" id="{E4392823-1DF6-4943-8033-2FA3812FBABF}"/>
                </a:ext>
              </a:extLst>
            </p:cNvPr>
            <p:cNvSpPr/>
            <p:nvPr/>
          </p:nvSpPr>
          <p:spPr>
            <a:xfrm>
              <a:off x="-1215128" y="1212687"/>
              <a:ext cx="1395" cy="2686"/>
            </a:xfrm>
            <a:custGeom>
              <a:avLst/>
              <a:gdLst>
                <a:gd name="connsiteX0" fmla="*/ 299 w 1395"/>
                <a:gd name="connsiteY0" fmla="*/ 1592 h 2686"/>
                <a:gd name="connsiteX1" fmla="*/ 1395 w 1395"/>
                <a:gd name="connsiteY1" fmla="*/ 0 h 2686"/>
                <a:gd name="connsiteX2" fmla="*/ 0 w 1395"/>
                <a:gd name="connsiteY2" fmla="*/ 2686 h 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5" h="2686">
                  <a:moveTo>
                    <a:pt x="299" y="1592"/>
                  </a:moveTo>
                  <a:cubicBezTo>
                    <a:pt x="698" y="1084"/>
                    <a:pt x="1066" y="557"/>
                    <a:pt x="1395" y="0"/>
                  </a:cubicBezTo>
                  <a:lnTo>
                    <a:pt x="0" y="2686"/>
                  </a:ln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2" name="Freeform: Shape 1521">
              <a:extLst>
                <a:ext uri="{FF2B5EF4-FFF2-40B4-BE49-F238E27FC236}">
                  <a16:creationId xmlns:a16="http://schemas.microsoft.com/office/drawing/2014/main" id="{EBA7EC30-15E2-437D-B27F-18F3B8665A9F}"/>
                </a:ext>
              </a:extLst>
            </p:cNvPr>
            <p:cNvSpPr/>
            <p:nvPr/>
          </p:nvSpPr>
          <p:spPr>
            <a:xfrm>
              <a:off x="-1209847" y="1179260"/>
              <a:ext cx="2690" cy="5571"/>
            </a:xfrm>
            <a:custGeom>
              <a:avLst/>
              <a:gdLst>
                <a:gd name="connsiteX0" fmla="*/ 997 w 2690"/>
                <a:gd name="connsiteY0" fmla="*/ 1293 h 5571"/>
                <a:gd name="connsiteX1" fmla="*/ 2690 w 2690"/>
                <a:gd name="connsiteY1" fmla="*/ 0 h 5571"/>
                <a:gd name="connsiteX2" fmla="*/ 0 w 2690"/>
                <a:gd name="connsiteY2" fmla="*/ 5571 h 5571"/>
                <a:gd name="connsiteX3" fmla="*/ 997 w 2690"/>
                <a:gd name="connsiteY3" fmla="*/ 1293 h 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0" h="5571">
                  <a:moveTo>
                    <a:pt x="997" y="1293"/>
                  </a:moveTo>
                  <a:lnTo>
                    <a:pt x="2690" y="0"/>
                  </a:lnTo>
                  <a:cubicBezTo>
                    <a:pt x="1495" y="1701"/>
                    <a:pt x="588" y="3582"/>
                    <a:pt x="0" y="5571"/>
                  </a:cubicBezTo>
                  <a:cubicBezTo>
                    <a:pt x="110" y="4099"/>
                    <a:pt x="448" y="2656"/>
                    <a:pt x="997" y="1293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3" name="Freeform: Shape 1522">
              <a:extLst>
                <a:ext uri="{FF2B5EF4-FFF2-40B4-BE49-F238E27FC236}">
                  <a16:creationId xmlns:a16="http://schemas.microsoft.com/office/drawing/2014/main" id="{35A8219E-D05B-4291-8E7F-852A497CDF6A}"/>
                </a:ext>
              </a:extLst>
            </p:cNvPr>
            <p:cNvSpPr/>
            <p:nvPr/>
          </p:nvSpPr>
          <p:spPr>
            <a:xfrm>
              <a:off x="-1203768" y="1033511"/>
              <a:ext cx="4185" cy="3183"/>
            </a:xfrm>
            <a:custGeom>
              <a:avLst/>
              <a:gdLst>
                <a:gd name="connsiteX0" fmla="*/ 1893 w 4185"/>
                <a:gd name="connsiteY0" fmla="*/ 2786 h 3183"/>
                <a:gd name="connsiteX1" fmla="*/ 0 w 4185"/>
                <a:gd name="connsiteY1" fmla="*/ 0 h 3183"/>
                <a:gd name="connsiteX2" fmla="*/ 4185 w 4185"/>
                <a:gd name="connsiteY2" fmla="*/ 3184 h 3183"/>
                <a:gd name="connsiteX3" fmla="*/ 1893 w 4185"/>
                <a:gd name="connsiteY3" fmla="*/ 2786 h 3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85" h="3183">
                  <a:moveTo>
                    <a:pt x="1893" y="2786"/>
                  </a:moveTo>
                  <a:cubicBezTo>
                    <a:pt x="1295" y="1791"/>
                    <a:pt x="598" y="995"/>
                    <a:pt x="0" y="0"/>
                  </a:cubicBezTo>
                  <a:cubicBezTo>
                    <a:pt x="1236" y="1263"/>
                    <a:pt x="2641" y="2338"/>
                    <a:pt x="4185" y="3184"/>
                  </a:cubicBezTo>
                  <a:cubicBezTo>
                    <a:pt x="3458" y="2895"/>
                    <a:pt x="2680" y="2766"/>
                    <a:pt x="1893" y="2786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4" name="Freeform: Shape 1523">
              <a:extLst>
                <a:ext uri="{FF2B5EF4-FFF2-40B4-BE49-F238E27FC236}">
                  <a16:creationId xmlns:a16="http://schemas.microsoft.com/office/drawing/2014/main" id="{AAA61A9E-55AE-40D9-8224-169265C41694}"/>
                </a:ext>
              </a:extLst>
            </p:cNvPr>
            <p:cNvSpPr/>
            <p:nvPr/>
          </p:nvSpPr>
          <p:spPr>
            <a:xfrm>
              <a:off x="-1202473" y="1165928"/>
              <a:ext cx="4284" cy="7760"/>
            </a:xfrm>
            <a:custGeom>
              <a:avLst/>
              <a:gdLst>
                <a:gd name="connsiteX0" fmla="*/ 0 w 4284"/>
                <a:gd name="connsiteY0" fmla="*/ 7760 h 7760"/>
                <a:gd name="connsiteX1" fmla="*/ 4285 w 4284"/>
                <a:gd name="connsiteY1" fmla="*/ 0 h 7760"/>
                <a:gd name="connsiteX2" fmla="*/ 1594 w 4284"/>
                <a:gd name="connsiteY2" fmla="*/ 6566 h 7760"/>
                <a:gd name="connsiteX3" fmla="*/ 0 w 4284"/>
                <a:gd name="connsiteY3" fmla="*/ 7760 h 7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4" h="7760">
                  <a:moveTo>
                    <a:pt x="0" y="7760"/>
                  </a:moveTo>
                  <a:cubicBezTo>
                    <a:pt x="1644" y="5303"/>
                    <a:pt x="3079" y="2706"/>
                    <a:pt x="4285" y="0"/>
                  </a:cubicBezTo>
                  <a:cubicBezTo>
                    <a:pt x="3388" y="2388"/>
                    <a:pt x="2491" y="4676"/>
                    <a:pt x="1594" y="6566"/>
                  </a:cubicBezTo>
                  <a:cubicBezTo>
                    <a:pt x="1016" y="6895"/>
                    <a:pt x="478" y="7302"/>
                    <a:pt x="0" y="776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5" name="Freeform: Shape 1524">
              <a:extLst>
                <a:ext uri="{FF2B5EF4-FFF2-40B4-BE49-F238E27FC236}">
                  <a16:creationId xmlns:a16="http://schemas.microsoft.com/office/drawing/2014/main" id="{EC7B9D9E-8372-41F6-8DBF-8E9642B80567}"/>
                </a:ext>
              </a:extLst>
            </p:cNvPr>
            <p:cNvSpPr/>
            <p:nvPr/>
          </p:nvSpPr>
          <p:spPr>
            <a:xfrm>
              <a:off x="-1197092" y="1038186"/>
              <a:ext cx="3886" cy="2387"/>
            </a:xfrm>
            <a:custGeom>
              <a:avLst/>
              <a:gdLst>
                <a:gd name="connsiteX0" fmla="*/ 2192 w 3886"/>
                <a:gd name="connsiteY0" fmla="*/ 497 h 2387"/>
                <a:gd name="connsiteX1" fmla="*/ 3886 w 3886"/>
                <a:gd name="connsiteY1" fmla="*/ 2388 h 2387"/>
                <a:gd name="connsiteX2" fmla="*/ 0 w 3886"/>
                <a:gd name="connsiteY2" fmla="*/ 0 h 2387"/>
                <a:gd name="connsiteX3" fmla="*/ 2192 w 3886"/>
                <a:gd name="connsiteY3" fmla="*/ 497 h 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86" h="2387">
                  <a:moveTo>
                    <a:pt x="2192" y="497"/>
                  </a:moveTo>
                  <a:cubicBezTo>
                    <a:pt x="2700" y="1174"/>
                    <a:pt x="3268" y="1801"/>
                    <a:pt x="3886" y="2388"/>
                  </a:cubicBezTo>
                  <a:lnTo>
                    <a:pt x="0" y="0"/>
                  </a:lnTo>
                  <a:cubicBezTo>
                    <a:pt x="707" y="269"/>
                    <a:pt x="1445" y="438"/>
                    <a:pt x="2192" y="49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6" name="Freeform: Shape 1525">
              <a:extLst>
                <a:ext uri="{FF2B5EF4-FFF2-40B4-BE49-F238E27FC236}">
                  <a16:creationId xmlns:a16="http://schemas.microsoft.com/office/drawing/2014/main" id="{A41B2B20-6233-41CB-B7E4-80E4F1787A0E}"/>
                </a:ext>
              </a:extLst>
            </p:cNvPr>
            <p:cNvSpPr/>
            <p:nvPr/>
          </p:nvSpPr>
          <p:spPr>
            <a:xfrm>
              <a:off x="-1190715" y="1133794"/>
              <a:ext cx="2291" cy="9948"/>
            </a:xfrm>
            <a:custGeom>
              <a:avLst/>
              <a:gdLst>
                <a:gd name="connsiteX0" fmla="*/ 997 w 2291"/>
                <a:gd name="connsiteY0" fmla="*/ 4377 h 9948"/>
                <a:gd name="connsiteX1" fmla="*/ 2292 w 2291"/>
                <a:gd name="connsiteY1" fmla="*/ 0 h 9948"/>
                <a:gd name="connsiteX2" fmla="*/ 0 w 2291"/>
                <a:gd name="connsiteY2" fmla="*/ 9949 h 9948"/>
                <a:gd name="connsiteX3" fmla="*/ 997 w 2291"/>
                <a:gd name="connsiteY3" fmla="*/ 4377 h 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1" h="9948">
                  <a:moveTo>
                    <a:pt x="997" y="4377"/>
                  </a:moveTo>
                  <a:cubicBezTo>
                    <a:pt x="997" y="2885"/>
                    <a:pt x="1794" y="1393"/>
                    <a:pt x="2292" y="0"/>
                  </a:cubicBezTo>
                  <a:cubicBezTo>
                    <a:pt x="1694" y="2786"/>
                    <a:pt x="897" y="6168"/>
                    <a:pt x="0" y="9949"/>
                  </a:cubicBezTo>
                  <a:cubicBezTo>
                    <a:pt x="199" y="7163"/>
                    <a:pt x="997" y="5372"/>
                    <a:pt x="997" y="437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7" name="Freeform: Shape 1526">
              <a:extLst>
                <a:ext uri="{FF2B5EF4-FFF2-40B4-BE49-F238E27FC236}">
                  <a16:creationId xmlns:a16="http://schemas.microsoft.com/office/drawing/2014/main" id="{D47BF0E2-C244-454E-B977-21AAE9E822F0}"/>
                </a:ext>
              </a:extLst>
            </p:cNvPr>
            <p:cNvSpPr/>
            <p:nvPr/>
          </p:nvSpPr>
          <p:spPr>
            <a:xfrm>
              <a:off x="-1188921" y="1043260"/>
              <a:ext cx="8469" cy="3979"/>
            </a:xfrm>
            <a:custGeom>
              <a:avLst/>
              <a:gdLst>
                <a:gd name="connsiteX0" fmla="*/ 0 w 8469"/>
                <a:gd name="connsiteY0" fmla="*/ 0 h 3979"/>
                <a:gd name="connsiteX1" fmla="*/ 8470 w 8469"/>
                <a:gd name="connsiteY1" fmla="*/ 3979 h 3979"/>
                <a:gd name="connsiteX2" fmla="*/ 0 w 8469"/>
                <a:gd name="connsiteY2" fmla="*/ 0 h 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69" h="3979">
                  <a:moveTo>
                    <a:pt x="0" y="0"/>
                  </a:moveTo>
                  <a:cubicBezTo>
                    <a:pt x="2730" y="1502"/>
                    <a:pt x="5560" y="2835"/>
                    <a:pt x="8470" y="3979"/>
                  </a:cubicBezTo>
                  <a:cubicBezTo>
                    <a:pt x="5361" y="3383"/>
                    <a:pt x="2441" y="2010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8" name="Freeform: Shape 1527">
              <a:extLst>
                <a:ext uri="{FF2B5EF4-FFF2-40B4-BE49-F238E27FC236}">
                  <a16:creationId xmlns:a16="http://schemas.microsoft.com/office/drawing/2014/main" id="{F76CC796-8568-445E-B6F3-B2B7EE705146}"/>
                </a:ext>
              </a:extLst>
            </p:cNvPr>
            <p:cNvSpPr/>
            <p:nvPr/>
          </p:nvSpPr>
          <p:spPr>
            <a:xfrm>
              <a:off x="-1173277" y="1051319"/>
              <a:ext cx="4301" cy="9948"/>
            </a:xfrm>
            <a:custGeom>
              <a:avLst/>
              <a:gdLst>
                <a:gd name="connsiteX0" fmla="*/ 0 w 4301"/>
                <a:gd name="connsiteY0" fmla="*/ 0 h 9948"/>
                <a:gd name="connsiteX1" fmla="*/ 4285 w 4301"/>
                <a:gd name="connsiteY1" fmla="*/ 9949 h 9948"/>
                <a:gd name="connsiteX2" fmla="*/ 0 w 4301"/>
                <a:gd name="connsiteY2" fmla="*/ 0 h 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01" h="9948">
                  <a:moveTo>
                    <a:pt x="0" y="0"/>
                  </a:moveTo>
                  <a:cubicBezTo>
                    <a:pt x="2900" y="2467"/>
                    <a:pt x="4484" y="6148"/>
                    <a:pt x="4285" y="9949"/>
                  </a:cubicBezTo>
                  <a:cubicBezTo>
                    <a:pt x="3248" y="6477"/>
                    <a:pt x="1814" y="3134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29" name="Freeform: Shape 1528">
              <a:extLst>
                <a:ext uri="{FF2B5EF4-FFF2-40B4-BE49-F238E27FC236}">
                  <a16:creationId xmlns:a16="http://schemas.microsoft.com/office/drawing/2014/main" id="{73B87D12-649C-47F1-B6E1-A5A6C5AB2AF6}"/>
                </a:ext>
              </a:extLst>
            </p:cNvPr>
            <p:cNvSpPr/>
            <p:nvPr/>
          </p:nvSpPr>
          <p:spPr>
            <a:xfrm>
              <a:off x="-1165405" y="1078578"/>
              <a:ext cx="2989" cy="5770"/>
            </a:xfrm>
            <a:custGeom>
              <a:avLst/>
              <a:gdLst>
                <a:gd name="connsiteX0" fmla="*/ 0 w 2989"/>
                <a:gd name="connsiteY0" fmla="*/ 5770 h 5770"/>
                <a:gd name="connsiteX1" fmla="*/ 2989 w 2989"/>
                <a:gd name="connsiteY1" fmla="*/ 0 h 5770"/>
                <a:gd name="connsiteX2" fmla="*/ 0 w 2989"/>
                <a:gd name="connsiteY2" fmla="*/ 5770 h 5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89" h="5770">
                  <a:moveTo>
                    <a:pt x="0" y="5770"/>
                  </a:moveTo>
                  <a:cubicBezTo>
                    <a:pt x="1096" y="3781"/>
                    <a:pt x="2092" y="1890"/>
                    <a:pt x="2989" y="0"/>
                  </a:cubicBezTo>
                  <a:cubicBezTo>
                    <a:pt x="2910" y="2278"/>
                    <a:pt x="1813" y="4397"/>
                    <a:pt x="0" y="577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0" name="Freeform: Shape 1529">
              <a:extLst>
                <a:ext uri="{FF2B5EF4-FFF2-40B4-BE49-F238E27FC236}">
                  <a16:creationId xmlns:a16="http://schemas.microsoft.com/office/drawing/2014/main" id="{9E43FC73-041A-4D56-B4EA-37992C6162AF}"/>
                </a:ext>
              </a:extLst>
            </p:cNvPr>
            <p:cNvSpPr/>
            <p:nvPr/>
          </p:nvSpPr>
          <p:spPr>
            <a:xfrm>
              <a:off x="-1065662" y="735745"/>
              <a:ext cx="9266" cy="7163"/>
            </a:xfrm>
            <a:custGeom>
              <a:avLst/>
              <a:gdLst>
                <a:gd name="connsiteX0" fmla="*/ 9267 w 9266"/>
                <a:gd name="connsiteY0" fmla="*/ 0 h 7163"/>
                <a:gd name="connsiteX1" fmla="*/ 0 w 9266"/>
                <a:gd name="connsiteY1" fmla="*/ 7163 h 7163"/>
                <a:gd name="connsiteX2" fmla="*/ 9267 w 9266"/>
                <a:gd name="connsiteY2" fmla="*/ 0 h 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66" h="7163">
                  <a:moveTo>
                    <a:pt x="9267" y="0"/>
                  </a:moveTo>
                  <a:cubicBezTo>
                    <a:pt x="3288" y="2487"/>
                    <a:pt x="598" y="4875"/>
                    <a:pt x="0" y="7163"/>
                  </a:cubicBezTo>
                  <a:cubicBezTo>
                    <a:pt x="299" y="4477"/>
                    <a:pt x="2989" y="2089"/>
                    <a:pt x="9267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1" name="Freeform: Shape 1530">
              <a:extLst>
                <a:ext uri="{FF2B5EF4-FFF2-40B4-BE49-F238E27FC236}">
                  <a16:creationId xmlns:a16="http://schemas.microsoft.com/office/drawing/2014/main" id="{0E2C93D4-8E20-4572-AA1C-742ACA86BCC3}"/>
                </a:ext>
              </a:extLst>
            </p:cNvPr>
            <p:cNvSpPr/>
            <p:nvPr/>
          </p:nvSpPr>
          <p:spPr>
            <a:xfrm>
              <a:off x="-946487" y="871545"/>
              <a:ext cx="7672" cy="986"/>
            </a:xfrm>
            <a:custGeom>
              <a:avLst/>
              <a:gdLst>
                <a:gd name="connsiteX0" fmla="*/ 7672 w 7672"/>
                <a:gd name="connsiteY0" fmla="*/ 597 h 986"/>
                <a:gd name="connsiteX1" fmla="*/ 0 w 7672"/>
                <a:gd name="connsiteY1" fmla="*/ 0 h 986"/>
                <a:gd name="connsiteX2" fmla="*/ 7672 w 7672"/>
                <a:gd name="connsiteY2" fmla="*/ 597 h 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72" h="986">
                  <a:moveTo>
                    <a:pt x="7672" y="597"/>
                  </a:moveTo>
                  <a:cubicBezTo>
                    <a:pt x="5122" y="1273"/>
                    <a:pt x="2411" y="1065"/>
                    <a:pt x="0" y="0"/>
                  </a:cubicBezTo>
                  <a:cubicBezTo>
                    <a:pt x="2491" y="726"/>
                    <a:pt x="5102" y="935"/>
                    <a:pt x="7672" y="59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2" name="Freeform: Shape 1531">
              <a:extLst>
                <a:ext uri="{FF2B5EF4-FFF2-40B4-BE49-F238E27FC236}">
                  <a16:creationId xmlns:a16="http://schemas.microsoft.com/office/drawing/2014/main" id="{A9EC9943-19BF-4C27-AC4C-007E5388B828}"/>
                </a:ext>
              </a:extLst>
            </p:cNvPr>
            <p:cNvSpPr/>
            <p:nvPr/>
          </p:nvSpPr>
          <p:spPr>
            <a:xfrm>
              <a:off x="-919135" y="1069028"/>
              <a:ext cx="2640" cy="6466"/>
            </a:xfrm>
            <a:custGeom>
              <a:avLst/>
              <a:gdLst>
                <a:gd name="connsiteX0" fmla="*/ 2641 w 2640"/>
                <a:gd name="connsiteY0" fmla="*/ 0 h 6466"/>
                <a:gd name="connsiteX1" fmla="*/ 149 w 2640"/>
                <a:gd name="connsiteY1" fmla="*/ 6467 h 6466"/>
                <a:gd name="connsiteX2" fmla="*/ 149 w 2640"/>
                <a:gd name="connsiteY2" fmla="*/ 995 h 6466"/>
                <a:gd name="connsiteX3" fmla="*/ 2641 w 2640"/>
                <a:gd name="connsiteY3" fmla="*/ 0 h 6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40" h="6466">
                  <a:moveTo>
                    <a:pt x="2641" y="0"/>
                  </a:moveTo>
                  <a:cubicBezTo>
                    <a:pt x="1395" y="1970"/>
                    <a:pt x="548" y="4168"/>
                    <a:pt x="149" y="6467"/>
                  </a:cubicBezTo>
                  <a:cubicBezTo>
                    <a:pt x="-50" y="4646"/>
                    <a:pt x="-50" y="2815"/>
                    <a:pt x="149" y="995"/>
                  </a:cubicBezTo>
                  <a:cubicBezTo>
                    <a:pt x="1056" y="885"/>
                    <a:pt x="1913" y="537"/>
                    <a:pt x="2641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3" name="Freeform: Shape 1532">
              <a:extLst>
                <a:ext uri="{FF2B5EF4-FFF2-40B4-BE49-F238E27FC236}">
                  <a16:creationId xmlns:a16="http://schemas.microsoft.com/office/drawing/2014/main" id="{EBFE2D6F-9DCD-44D8-AA35-640B3B760658}"/>
                </a:ext>
              </a:extLst>
            </p:cNvPr>
            <p:cNvSpPr/>
            <p:nvPr/>
          </p:nvSpPr>
          <p:spPr>
            <a:xfrm>
              <a:off x="-917590" y="1081165"/>
              <a:ext cx="6875" cy="7262"/>
            </a:xfrm>
            <a:custGeom>
              <a:avLst/>
              <a:gdLst>
                <a:gd name="connsiteX0" fmla="*/ 6875 w 6875"/>
                <a:gd name="connsiteY0" fmla="*/ 7263 h 7262"/>
                <a:gd name="connsiteX1" fmla="*/ 0 w 6875"/>
                <a:gd name="connsiteY1" fmla="*/ 0 h 7262"/>
                <a:gd name="connsiteX2" fmla="*/ 6875 w 6875"/>
                <a:gd name="connsiteY2" fmla="*/ 7263 h 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75" h="7262">
                  <a:moveTo>
                    <a:pt x="6875" y="7263"/>
                  </a:moveTo>
                  <a:cubicBezTo>
                    <a:pt x="3677" y="5890"/>
                    <a:pt x="1196" y="3263"/>
                    <a:pt x="0" y="0"/>
                  </a:cubicBezTo>
                  <a:cubicBezTo>
                    <a:pt x="1853" y="2796"/>
                    <a:pt x="4185" y="5253"/>
                    <a:pt x="6875" y="7263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4" name="Freeform: Shape 1533">
              <a:extLst>
                <a:ext uri="{FF2B5EF4-FFF2-40B4-BE49-F238E27FC236}">
                  <a16:creationId xmlns:a16="http://schemas.microsoft.com/office/drawing/2014/main" id="{F4B9B5DF-38C5-4EE8-865B-7D10CC57290E}"/>
                </a:ext>
              </a:extLst>
            </p:cNvPr>
            <p:cNvSpPr/>
            <p:nvPr/>
          </p:nvSpPr>
          <p:spPr>
            <a:xfrm>
              <a:off x="-917491" y="1033312"/>
              <a:ext cx="10960" cy="5372"/>
            </a:xfrm>
            <a:custGeom>
              <a:avLst/>
              <a:gdLst>
                <a:gd name="connsiteX0" fmla="*/ 0 w 10960"/>
                <a:gd name="connsiteY0" fmla="*/ 5372 h 5372"/>
                <a:gd name="connsiteX1" fmla="*/ 10961 w 10960"/>
                <a:gd name="connsiteY1" fmla="*/ 0 h 5372"/>
                <a:gd name="connsiteX2" fmla="*/ 0 w 10960"/>
                <a:gd name="connsiteY2" fmla="*/ 5372 h 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60" h="5372">
                  <a:moveTo>
                    <a:pt x="0" y="5372"/>
                  </a:moveTo>
                  <a:cubicBezTo>
                    <a:pt x="2959" y="2427"/>
                    <a:pt x="6816" y="537"/>
                    <a:pt x="10961" y="0"/>
                  </a:cubicBezTo>
                  <a:cubicBezTo>
                    <a:pt x="7085" y="1303"/>
                    <a:pt x="3398" y="3104"/>
                    <a:pt x="0" y="5372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5" name="Freeform: Shape 1534">
              <a:extLst>
                <a:ext uri="{FF2B5EF4-FFF2-40B4-BE49-F238E27FC236}">
                  <a16:creationId xmlns:a16="http://schemas.microsoft.com/office/drawing/2014/main" id="{C42768B0-0F06-4C21-A24C-A2047E68E09E}"/>
                </a:ext>
              </a:extLst>
            </p:cNvPr>
            <p:cNvSpPr/>
            <p:nvPr/>
          </p:nvSpPr>
          <p:spPr>
            <a:xfrm>
              <a:off x="-915099" y="985259"/>
              <a:ext cx="3886" cy="3183"/>
            </a:xfrm>
            <a:custGeom>
              <a:avLst/>
              <a:gdLst>
                <a:gd name="connsiteX0" fmla="*/ 0 w 3886"/>
                <a:gd name="connsiteY0" fmla="*/ 0 h 3183"/>
                <a:gd name="connsiteX1" fmla="*/ 3886 w 3886"/>
                <a:gd name="connsiteY1" fmla="*/ 3184 h 3183"/>
                <a:gd name="connsiteX2" fmla="*/ 0 w 3886"/>
                <a:gd name="connsiteY2" fmla="*/ 0 h 3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86" h="3183">
                  <a:moveTo>
                    <a:pt x="0" y="0"/>
                  </a:moveTo>
                  <a:cubicBezTo>
                    <a:pt x="1644" y="547"/>
                    <a:pt x="3029" y="1681"/>
                    <a:pt x="3886" y="3184"/>
                  </a:cubicBezTo>
                  <a:cubicBezTo>
                    <a:pt x="2392" y="2388"/>
                    <a:pt x="1076" y="1303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6" name="Freeform: Shape 1535">
              <a:extLst>
                <a:ext uri="{FF2B5EF4-FFF2-40B4-BE49-F238E27FC236}">
                  <a16:creationId xmlns:a16="http://schemas.microsoft.com/office/drawing/2014/main" id="{79C6F6EF-0BB5-4694-A340-10C1DADFD607}"/>
                </a:ext>
              </a:extLst>
            </p:cNvPr>
            <p:cNvSpPr/>
            <p:nvPr/>
          </p:nvSpPr>
          <p:spPr>
            <a:xfrm>
              <a:off x="-916793" y="975467"/>
              <a:ext cx="9366" cy="5215"/>
            </a:xfrm>
            <a:custGeom>
              <a:avLst/>
              <a:gdLst>
                <a:gd name="connsiteX0" fmla="*/ 0 w 9366"/>
                <a:gd name="connsiteY0" fmla="*/ 5215 h 5215"/>
                <a:gd name="connsiteX1" fmla="*/ 9367 w 9366"/>
                <a:gd name="connsiteY1" fmla="*/ 42 h 5215"/>
                <a:gd name="connsiteX2" fmla="*/ 0 w 9366"/>
                <a:gd name="connsiteY2" fmla="*/ 5215 h 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66" h="5215">
                  <a:moveTo>
                    <a:pt x="0" y="5215"/>
                  </a:moveTo>
                  <a:cubicBezTo>
                    <a:pt x="0" y="2131"/>
                    <a:pt x="3189" y="-356"/>
                    <a:pt x="9367" y="42"/>
                  </a:cubicBezTo>
                  <a:cubicBezTo>
                    <a:pt x="4384" y="42"/>
                    <a:pt x="797" y="1136"/>
                    <a:pt x="0" y="521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7" name="Freeform: Shape 1536">
              <a:extLst>
                <a:ext uri="{FF2B5EF4-FFF2-40B4-BE49-F238E27FC236}">
                  <a16:creationId xmlns:a16="http://schemas.microsoft.com/office/drawing/2014/main" id="{F9FDC5A5-A437-467F-B1A6-6609EE6FA9EA}"/>
                </a:ext>
              </a:extLst>
            </p:cNvPr>
            <p:cNvSpPr/>
            <p:nvPr/>
          </p:nvSpPr>
          <p:spPr>
            <a:xfrm>
              <a:off x="-909121" y="1005853"/>
              <a:ext cx="4683" cy="6367"/>
            </a:xfrm>
            <a:custGeom>
              <a:avLst/>
              <a:gdLst>
                <a:gd name="connsiteX0" fmla="*/ 0 w 4683"/>
                <a:gd name="connsiteY0" fmla="*/ 0 h 6367"/>
                <a:gd name="connsiteX1" fmla="*/ 4683 w 4683"/>
                <a:gd name="connsiteY1" fmla="*/ 6367 h 6367"/>
                <a:gd name="connsiteX2" fmla="*/ 0 w 4683"/>
                <a:gd name="connsiteY2" fmla="*/ 0 h 6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683" h="6367">
                  <a:moveTo>
                    <a:pt x="0" y="0"/>
                  </a:moveTo>
                  <a:cubicBezTo>
                    <a:pt x="1594" y="2089"/>
                    <a:pt x="3388" y="4278"/>
                    <a:pt x="4683" y="6367"/>
                  </a:cubicBezTo>
                  <a:cubicBezTo>
                    <a:pt x="2670" y="4616"/>
                    <a:pt x="1066" y="2447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8" name="Freeform: Shape 1537">
              <a:extLst>
                <a:ext uri="{FF2B5EF4-FFF2-40B4-BE49-F238E27FC236}">
                  <a16:creationId xmlns:a16="http://schemas.microsoft.com/office/drawing/2014/main" id="{2CA85632-313F-4A28-9EDA-5AF264F718CB}"/>
                </a:ext>
              </a:extLst>
            </p:cNvPr>
            <p:cNvSpPr/>
            <p:nvPr/>
          </p:nvSpPr>
          <p:spPr>
            <a:xfrm>
              <a:off x="-902943" y="1017692"/>
              <a:ext cx="788" cy="5571"/>
            </a:xfrm>
            <a:custGeom>
              <a:avLst/>
              <a:gdLst>
                <a:gd name="connsiteX0" fmla="*/ 598 w 788"/>
                <a:gd name="connsiteY0" fmla="*/ 0 h 5571"/>
                <a:gd name="connsiteX1" fmla="*/ 0 w 788"/>
                <a:gd name="connsiteY1" fmla="*/ 5571 h 5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88" h="5571">
                  <a:moveTo>
                    <a:pt x="598" y="0"/>
                  </a:moveTo>
                  <a:cubicBezTo>
                    <a:pt x="986" y="1870"/>
                    <a:pt x="777" y="3820"/>
                    <a:pt x="0" y="5571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39" name="Freeform: Shape 1538">
              <a:extLst>
                <a:ext uri="{FF2B5EF4-FFF2-40B4-BE49-F238E27FC236}">
                  <a16:creationId xmlns:a16="http://schemas.microsoft.com/office/drawing/2014/main" id="{6B5B3429-4F9E-4F25-ABD0-C95FFD9D8E03}"/>
                </a:ext>
              </a:extLst>
            </p:cNvPr>
            <p:cNvSpPr/>
            <p:nvPr/>
          </p:nvSpPr>
          <p:spPr>
            <a:xfrm>
              <a:off x="-901647" y="1027740"/>
              <a:ext cx="857" cy="2885"/>
            </a:xfrm>
            <a:custGeom>
              <a:avLst/>
              <a:gdLst>
                <a:gd name="connsiteX0" fmla="*/ 0 w 857"/>
                <a:gd name="connsiteY0" fmla="*/ 2885 h 2885"/>
                <a:gd name="connsiteX1" fmla="*/ 797 w 857"/>
                <a:gd name="connsiteY1" fmla="*/ 0 h 2885"/>
                <a:gd name="connsiteX2" fmla="*/ 0 w 857"/>
                <a:gd name="connsiteY2" fmla="*/ 2885 h 2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7" h="2885">
                  <a:moveTo>
                    <a:pt x="0" y="2885"/>
                  </a:moveTo>
                  <a:cubicBezTo>
                    <a:pt x="508" y="2010"/>
                    <a:pt x="777" y="1015"/>
                    <a:pt x="797" y="0"/>
                  </a:cubicBezTo>
                  <a:cubicBezTo>
                    <a:pt x="996" y="1035"/>
                    <a:pt x="697" y="2099"/>
                    <a:pt x="0" y="288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0" name="Freeform: Shape 1539">
              <a:extLst>
                <a:ext uri="{FF2B5EF4-FFF2-40B4-BE49-F238E27FC236}">
                  <a16:creationId xmlns:a16="http://schemas.microsoft.com/office/drawing/2014/main" id="{09DAB0F8-745A-475B-BD63-2B97E4F50978}"/>
                </a:ext>
              </a:extLst>
            </p:cNvPr>
            <p:cNvSpPr/>
            <p:nvPr/>
          </p:nvSpPr>
          <p:spPr>
            <a:xfrm>
              <a:off x="-886501" y="1091910"/>
              <a:ext cx="3288" cy="6466"/>
            </a:xfrm>
            <a:custGeom>
              <a:avLst/>
              <a:gdLst>
                <a:gd name="connsiteX0" fmla="*/ 0 w 3288"/>
                <a:gd name="connsiteY0" fmla="*/ 6467 h 6466"/>
                <a:gd name="connsiteX1" fmla="*/ 3288 w 3288"/>
                <a:gd name="connsiteY1" fmla="*/ 0 h 6466"/>
                <a:gd name="connsiteX2" fmla="*/ 0 w 3288"/>
                <a:gd name="connsiteY2" fmla="*/ 6467 h 6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88" h="6466">
                  <a:moveTo>
                    <a:pt x="0" y="6467"/>
                  </a:moveTo>
                  <a:cubicBezTo>
                    <a:pt x="1694" y="4974"/>
                    <a:pt x="1893" y="2189"/>
                    <a:pt x="3288" y="0"/>
                  </a:cubicBezTo>
                  <a:cubicBezTo>
                    <a:pt x="3298" y="2557"/>
                    <a:pt x="2073" y="4964"/>
                    <a:pt x="0" y="646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1" name="Freeform: Shape 1540">
              <a:extLst>
                <a:ext uri="{FF2B5EF4-FFF2-40B4-BE49-F238E27FC236}">
                  <a16:creationId xmlns:a16="http://schemas.microsoft.com/office/drawing/2014/main" id="{DA9BBDB6-413F-40D7-802C-2D8427CBDC1C}"/>
                </a:ext>
              </a:extLst>
            </p:cNvPr>
            <p:cNvSpPr/>
            <p:nvPr/>
          </p:nvSpPr>
          <p:spPr>
            <a:xfrm>
              <a:off x="-880822" y="1088813"/>
              <a:ext cx="5281" cy="1107"/>
            </a:xfrm>
            <a:custGeom>
              <a:avLst/>
              <a:gdLst>
                <a:gd name="connsiteX0" fmla="*/ 0 w 5281"/>
                <a:gd name="connsiteY0" fmla="*/ 1107 h 1107"/>
                <a:gd name="connsiteX1" fmla="*/ 5281 w 5281"/>
                <a:gd name="connsiteY1" fmla="*/ 13 h 1107"/>
                <a:gd name="connsiteX2" fmla="*/ 0 w 5281"/>
                <a:gd name="connsiteY2" fmla="*/ 1107 h 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81" h="1107">
                  <a:moveTo>
                    <a:pt x="0" y="1107"/>
                  </a:moveTo>
                  <a:cubicBezTo>
                    <a:pt x="1634" y="301"/>
                    <a:pt x="3458" y="-77"/>
                    <a:pt x="5281" y="13"/>
                  </a:cubicBezTo>
                  <a:cubicBezTo>
                    <a:pt x="3607" y="719"/>
                    <a:pt x="1814" y="1087"/>
                    <a:pt x="0" y="110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2" name="Freeform: Shape 1541">
              <a:extLst>
                <a:ext uri="{FF2B5EF4-FFF2-40B4-BE49-F238E27FC236}">
                  <a16:creationId xmlns:a16="http://schemas.microsoft.com/office/drawing/2014/main" id="{A5FFF855-8751-499F-B78F-0E69B3B365B4}"/>
                </a:ext>
              </a:extLst>
            </p:cNvPr>
            <p:cNvSpPr/>
            <p:nvPr/>
          </p:nvSpPr>
          <p:spPr>
            <a:xfrm>
              <a:off x="-870857" y="1077285"/>
              <a:ext cx="9964" cy="8754"/>
            </a:xfrm>
            <a:custGeom>
              <a:avLst/>
              <a:gdLst>
                <a:gd name="connsiteX0" fmla="*/ 0 w 9964"/>
                <a:gd name="connsiteY0" fmla="*/ 8755 h 8754"/>
                <a:gd name="connsiteX1" fmla="*/ 9964 w 9964"/>
                <a:gd name="connsiteY1" fmla="*/ 0 h 8754"/>
                <a:gd name="connsiteX2" fmla="*/ 0 w 9964"/>
                <a:gd name="connsiteY2" fmla="*/ 8755 h 8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64" h="8754">
                  <a:moveTo>
                    <a:pt x="0" y="8755"/>
                  </a:moveTo>
                  <a:cubicBezTo>
                    <a:pt x="2989" y="6268"/>
                    <a:pt x="6676" y="3084"/>
                    <a:pt x="9964" y="0"/>
                  </a:cubicBezTo>
                  <a:cubicBezTo>
                    <a:pt x="6975" y="3283"/>
                    <a:pt x="3637" y="6218"/>
                    <a:pt x="0" y="875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3" name="Freeform: Shape 1542">
              <a:extLst>
                <a:ext uri="{FF2B5EF4-FFF2-40B4-BE49-F238E27FC236}">
                  <a16:creationId xmlns:a16="http://schemas.microsoft.com/office/drawing/2014/main" id="{DDA64512-DA60-4608-ADCC-15C0E83997E1}"/>
                </a:ext>
              </a:extLst>
            </p:cNvPr>
            <p:cNvSpPr/>
            <p:nvPr/>
          </p:nvSpPr>
          <p:spPr>
            <a:xfrm>
              <a:off x="-853419" y="1062760"/>
              <a:ext cx="1095" cy="6267"/>
            </a:xfrm>
            <a:custGeom>
              <a:avLst/>
              <a:gdLst>
                <a:gd name="connsiteX0" fmla="*/ 1095 w 1095"/>
                <a:gd name="connsiteY0" fmla="*/ 0 h 6267"/>
                <a:gd name="connsiteX1" fmla="*/ 298 w 1095"/>
                <a:gd name="connsiteY1" fmla="*/ 6268 h 6267"/>
                <a:gd name="connsiteX2" fmla="*/ 1095 w 1095"/>
                <a:gd name="connsiteY2" fmla="*/ 0 h 6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5" h="6267">
                  <a:moveTo>
                    <a:pt x="1095" y="0"/>
                  </a:moveTo>
                  <a:cubicBezTo>
                    <a:pt x="348" y="2000"/>
                    <a:pt x="79" y="4149"/>
                    <a:pt x="298" y="6268"/>
                  </a:cubicBezTo>
                  <a:cubicBezTo>
                    <a:pt x="-290" y="4159"/>
                    <a:pt x="-1" y="1900"/>
                    <a:pt x="1095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4" name="Freeform: Shape 1543">
              <a:extLst>
                <a:ext uri="{FF2B5EF4-FFF2-40B4-BE49-F238E27FC236}">
                  <a16:creationId xmlns:a16="http://schemas.microsoft.com/office/drawing/2014/main" id="{4CE0D864-9013-42B8-A188-637186B2795C}"/>
                </a:ext>
              </a:extLst>
            </p:cNvPr>
            <p:cNvSpPr/>
            <p:nvPr/>
          </p:nvSpPr>
          <p:spPr>
            <a:xfrm>
              <a:off x="-849533" y="1061168"/>
              <a:ext cx="5878" cy="3780"/>
            </a:xfrm>
            <a:custGeom>
              <a:avLst/>
              <a:gdLst>
                <a:gd name="connsiteX0" fmla="*/ 2392 w 5878"/>
                <a:gd name="connsiteY0" fmla="*/ 0 h 3780"/>
                <a:gd name="connsiteX1" fmla="*/ 5879 w 5878"/>
                <a:gd name="connsiteY1" fmla="*/ 3781 h 3780"/>
                <a:gd name="connsiteX2" fmla="*/ 0 w 5878"/>
                <a:gd name="connsiteY2" fmla="*/ 100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8" h="3780">
                  <a:moveTo>
                    <a:pt x="2392" y="0"/>
                  </a:moveTo>
                  <a:lnTo>
                    <a:pt x="5879" y="3781"/>
                  </a:lnTo>
                  <a:cubicBezTo>
                    <a:pt x="4235" y="2109"/>
                    <a:pt x="2222" y="846"/>
                    <a:pt x="0" y="10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5" name="Freeform: Shape 1544">
              <a:extLst>
                <a:ext uri="{FF2B5EF4-FFF2-40B4-BE49-F238E27FC236}">
                  <a16:creationId xmlns:a16="http://schemas.microsoft.com/office/drawing/2014/main" id="{21135D17-9AE8-42E7-BD2D-E4BE4B1CE1CC}"/>
                </a:ext>
              </a:extLst>
            </p:cNvPr>
            <p:cNvSpPr/>
            <p:nvPr/>
          </p:nvSpPr>
          <p:spPr>
            <a:xfrm>
              <a:off x="-832096" y="1075793"/>
              <a:ext cx="4882" cy="3183"/>
            </a:xfrm>
            <a:custGeom>
              <a:avLst/>
              <a:gdLst>
                <a:gd name="connsiteX0" fmla="*/ 0 w 4882"/>
                <a:gd name="connsiteY0" fmla="*/ 0 h 3183"/>
                <a:gd name="connsiteX1" fmla="*/ 4883 w 4882"/>
                <a:gd name="connsiteY1" fmla="*/ 3184 h 3183"/>
                <a:gd name="connsiteX2" fmla="*/ 0 w 4882"/>
                <a:gd name="connsiteY2" fmla="*/ 0 h 3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882" h="3183">
                  <a:moveTo>
                    <a:pt x="0" y="0"/>
                  </a:moveTo>
                  <a:cubicBezTo>
                    <a:pt x="1544" y="1184"/>
                    <a:pt x="3179" y="2248"/>
                    <a:pt x="4883" y="3184"/>
                  </a:cubicBezTo>
                  <a:cubicBezTo>
                    <a:pt x="3049" y="2467"/>
                    <a:pt x="1395" y="1383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6" name="Freeform: Shape 1545">
              <a:extLst>
                <a:ext uri="{FF2B5EF4-FFF2-40B4-BE49-F238E27FC236}">
                  <a16:creationId xmlns:a16="http://schemas.microsoft.com/office/drawing/2014/main" id="{40847767-836E-4436-8208-12A2119BE067}"/>
                </a:ext>
              </a:extLst>
            </p:cNvPr>
            <p:cNvSpPr/>
            <p:nvPr/>
          </p:nvSpPr>
          <p:spPr>
            <a:xfrm>
              <a:off x="-827214" y="1078976"/>
              <a:ext cx="598" cy="8953"/>
            </a:xfrm>
            <a:custGeom>
              <a:avLst/>
              <a:gdLst>
                <a:gd name="connsiteX0" fmla="*/ 0 w 598"/>
                <a:gd name="connsiteY0" fmla="*/ 0 h 8953"/>
                <a:gd name="connsiteX1" fmla="*/ 598 w 598"/>
                <a:gd name="connsiteY1" fmla="*/ 8954 h 8953"/>
                <a:gd name="connsiteX2" fmla="*/ 0 w 598"/>
                <a:gd name="connsiteY2" fmla="*/ 0 h 8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98" h="8953">
                  <a:moveTo>
                    <a:pt x="0" y="0"/>
                  </a:moveTo>
                  <a:lnTo>
                    <a:pt x="598" y="8954"/>
                  </a:lnTo>
                  <a:cubicBezTo>
                    <a:pt x="190" y="5989"/>
                    <a:pt x="-10" y="2995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7" name="Freeform: Shape 1546">
              <a:extLst>
                <a:ext uri="{FF2B5EF4-FFF2-40B4-BE49-F238E27FC236}">
                  <a16:creationId xmlns:a16="http://schemas.microsoft.com/office/drawing/2014/main" id="{329DBC5A-B26C-4A0C-BE12-C78159A7E5A6}"/>
                </a:ext>
              </a:extLst>
            </p:cNvPr>
            <p:cNvSpPr/>
            <p:nvPr/>
          </p:nvSpPr>
          <p:spPr>
            <a:xfrm>
              <a:off x="-818843" y="1115289"/>
              <a:ext cx="1594" cy="4377"/>
            </a:xfrm>
            <a:custGeom>
              <a:avLst/>
              <a:gdLst>
                <a:gd name="connsiteX0" fmla="*/ 897 w 1594"/>
                <a:gd name="connsiteY0" fmla="*/ 4377 h 4377"/>
                <a:gd name="connsiteX1" fmla="*/ 0 w 1594"/>
                <a:gd name="connsiteY1" fmla="*/ 0 h 4377"/>
                <a:gd name="connsiteX2" fmla="*/ 1594 w 1594"/>
                <a:gd name="connsiteY2" fmla="*/ 2487 h 4377"/>
                <a:gd name="connsiteX3" fmla="*/ 897 w 1594"/>
                <a:gd name="connsiteY3" fmla="*/ 4377 h 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4" h="4377">
                  <a:moveTo>
                    <a:pt x="897" y="4377"/>
                  </a:moveTo>
                  <a:cubicBezTo>
                    <a:pt x="707" y="2895"/>
                    <a:pt x="409" y="1433"/>
                    <a:pt x="0" y="0"/>
                  </a:cubicBezTo>
                  <a:cubicBezTo>
                    <a:pt x="438" y="885"/>
                    <a:pt x="967" y="1721"/>
                    <a:pt x="1594" y="2487"/>
                  </a:cubicBezTo>
                  <a:cubicBezTo>
                    <a:pt x="1315" y="3104"/>
                    <a:pt x="1086" y="3731"/>
                    <a:pt x="897" y="437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8" name="Freeform: Shape 1547">
              <a:extLst>
                <a:ext uri="{FF2B5EF4-FFF2-40B4-BE49-F238E27FC236}">
                  <a16:creationId xmlns:a16="http://schemas.microsoft.com/office/drawing/2014/main" id="{EA1E4AAA-6728-405E-BC76-000B5C4B2260}"/>
                </a:ext>
              </a:extLst>
            </p:cNvPr>
            <p:cNvSpPr/>
            <p:nvPr/>
          </p:nvSpPr>
          <p:spPr>
            <a:xfrm>
              <a:off x="-818245" y="1125636"/>
              <a:ext cx="3288" cy="7063"/>
            </a:xfrm>
            <a:custGeom>
              <a:avLst/>
              <a:gdLst>
                <a:gd name="connsiteX0" fmla="*/ 498 w 3288"/>
                <a:gd name="connsiteY0" fmla="*/ 0 h 7063"/>
                <a:gd name="connsiteX1" fmla="*/ 3288 w 3288"/>
                <a:gd name="connsiteY1" fmla="*/ 7064 h 7063"/>
                <a:gd name="connsiteX2" fmla="*/ 0 w 3288"/>
                <a:gd name="connsiteY2" fmla="*/ 2089 h 7063"/>
                <a:gd name="connsiteX3" fmla="*/ 498 w 3288"/>
                <a:gd name="connsiteY3" fmla="*/ 0 h 7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88" h="7063">
                  <a:moveTo>
                    <a:pt x="498" y="0"/>
                  </a:moveTo>
                  <a:cubicBezTo>
                    <a:pt x="1096" y="2477"/>
                    <a:pt x="2033" y="4855"/>
                    <a:pt x="3288" y="7064"/>
                  </a:cubicBezTo>
                  <a:cubicBezTo>
                    <a:pt x="2093" y="5173"/>
                    <a:pt x="997" y="3482"/>
                    <a:pt x="0" y="2089"/>
                  </a:cubicBezTo>
                  <a:cubicBezTo>
                    <a:pt x="239" y="1413"/>
                    <a:pt x="399" y="706"/>
                    <a:pt x="498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49" name="Freeform: Shape 1548">
              <a:extLst>
                <a:ext uri="{FF2B5EF4-FFF2-40B4-BE49-F238E27FC236}">
                  <a16:creationId xmlns:a16="http://schemas.microsoft.com/office/drawing/2014/main" id="{79933FC5-1FA3-40A0-8237-6A187E489968}"/>
                </a:ext>
              </a:extLst>
            </p:cNvPr>
            <p:cNvSpPr/>
            <p:nvPr/>
          </p:nvSpPr>
          <p:spPr>
            <a:xfrm>
              <a:off x="-809576" y="1141454"/>
              <a:ext cx="2889" cy="4874"/>
            </a:xfrm>
            <a:custGeom>
              <a:avLst/>
              <a:gdLst>
                <a:gd name="connsiteX0" fmla="*/ 2292 w 2889"/>
                <a:gd name="connsiteY0" fmla="*/ 3184 h 4874"/>
                <a:gd name="connsiteX1" fmla="*/ 2890 w 2889"/>
                <a:gd name="connsiteY1" fmla="*/ 4875 h 4874"/>
                <a:gd name="connsiteX2" fmla="*/ 0 w 2889"/>
                <a:gd name="connsiteY2" fmla="*/ 0 h 4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89" h="4874">
                  <a:moveTo>
                    <a:pt x="2292" y="3184"/>
                  </a:moveTo>
                  <a:cubicBezTo>
                    <a:pt x="2421" y="3771"/>
                    <a:pt x="2621" y="4338"/>
                    <a:pt x="2890" y="4875"/>
                  </a:cubicBezTo>
                  <a:cubicBezTo>
                    <a:pt x="1893" y="3184"/>
                    <a:pt x="997" y="1492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0" name="Freeform: Shape 1549">
              <a:extLst>
                <a:ext uri="{FF2B5EF4-FFF2-40B4-BE49-F238E27FC236}">
                  <a16:creationId xmlns:a16="http://schemas.microsoft.com/office/drawing/2014/main" id="{2CF2CE60-D162-4B86-8070-97A442095659}"/>
                </a:ext>
              </a:extLst>
            </p:cNvPr>
            <p:cNvSpPr/>
            <p:nvPr/>
          </p:nvSpPr>
          <p:spPr>
            <a:xfrm>
              <a:off x="-785363" y="1200649"/>
              <a:ext cx="2092" cy="6367"/>
            </a:xfrm>
            <a:custGeom>
              <a:avLst/>
              <a:gdLst>
                <a:gd name="connsiteX0" fmla="*/ 2092 w 2092"/>
                <a:gd name="connsiteY0" fmla="*/ 6367 h 6367"/>
                <a:gd name="connsiteX1" fmla="*/ 0 w 2092"/>
                <a:gd name="connsiteY1" fmla="*/ 1691 h 6367"/>
                <a:gd name="connsiteX2" fmla="*/ 996 w 2092"/>
                <a:gd name="connsiteY2" fmla="*/ 0 h 6367"/>
                <a:gd name="connsiteX3" fmla="*/ 2092 w 2092"/>
                <a:gd name="connsiteY3" fmla="*/ 6367 h 6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2" h="6367">
                  <a:moveTo>
                    <a:pt x="2092" y="6367"/>
                  </a:moveTo>
                  <a:cubicBezTo>
                    <a:pt x="1226" y="4895"/>
                    <a:pt x="518" y="3323"/>
                    <a:pt x="0" y="1691"/>
                  </a:cubicBezTo>
                  <a:cubicBezTo>
                    <a:pt x="409" y="1174"/>
                    <a:pt x="747" y="607"/>
                    <a:pt x="996" y="0"/>
                  </a:cubicBezTo>
                  <a:cubicBezTo>
                    <a:pt x="548" y="2189"/>
                    <a:pt x="937" y="4457"/>
                    <a:pt x="2092" y="636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1" name="Freeform: Shape 1550">
              <a:extLst>
                <a:ext uri="{FF2B5EF4-FFF2-40B4-BE49-F238E27FC236}">
                  <a16:creationId xmlns:a16="http://schemas.microsoft.com/office/drawing/2014/main" id="{6C62E49D-4D0A-4815-BF51-917F3B8D3D5B}"/>
                </a:ext>
              </a:extLst>
            </p:cNvPr>
            <p:cNvSpPr/>
            <p:nvPr/>
          </p:nvSpPr>
          <p:spPr>
            <a:xfrm>
              <a:off x="-782074" y="1186224"/>
              <a:ext cx="1839" cy="9451"/>
            </a:xfrm>
            <a:custGeom>
              <a:avLst/>
              <a:gdLst>
                <a:gd name="connsiteX0" fmla="*/ 897 w 1839"/>
                <a:gd name="connsiteY0" fmla="*/ 8158 h 9451"/>
                <a:gd name="connsiteX1" fmla="*/ 0 w 1839"/>
                <a:gd name="connsiteY1" fmla="*/ 9451 h 9451"/>
                <a:gd name="connsiteX2" fmla="*/ 1794 w 1839"/>
                <a:gd name="connsiteY2" fmla="*/ 0 h 9451"/>
                <a:gd name="connsiteX3" fmla="*/ 897 w 1839"/>
                <a:gd name="connsiteY3" fmla="*/ 8158 h 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9" h="9451">
                  <a:moveTo>
                    <a:pt x="897" y="8158"/>
                  </a:moveTo>
                  <a:lnTo>
                    <a:pt x="0" y="9451"/>
                  </a:lnTo>
                  <a:cubicBezTo>
                    <a:pt x="996" y="6387"/>
                    <a:pt x="1594" y="3213"/>
                    <a:pt x="1794" y="0"/>
                  </a:cubicBezTo>
                  <a:cubicBezTo>
                    <a:pt x="1963" y="2746"/>
                    <a:pt x="1664" y="5512"/>
                    <a:pt x="897" y="8158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2" name="Freeform: Shape 1551">
              <a:extLst>
                <a:ext uri="{FF2B5EF4-FFF2-40B4-BE49-F238E27FC236}">
                  <a16:creationId xmlns:a16="http://schemas.microsoft.com/office/drawing/2014/main" id="{6817E9E2-0E6D-4B1C-9D1B-F7FB03A57D35}"/>
                </a:ext>
              </a:extLst>
            </p:cNvPr>
            <p:cNvSpPr/>
            <p:nvPr/>
          </p:nvSpPr>
          <p:spPr>
            <a:xfrm>
              <a:off x="-782274" y="1208509"/>
              <a:ext cx="8668" cy="6864"/>
            </a:xfrm>
            <a:custGeom>
              <a:avLst/>
              <a:gdLst>
                <a:gd name="connsiteX0" fmla="*/ 0 w 8668"/>
                <a:gd name="connsiteY0" fmla="*/ 0 h 6864"/>
                <a:gd name="connsiteX1" fmla="*/ 8669 w 8668"/>
                <a:gd name="connsiteY1" fmla="*/ 6865 h 6864"/>
                <a:gd name="connsiteX2" fmla="*/ 0 w 8668"/>
                <a:gd name="connsiteY2" fmla="*/ 0 h 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668" h="6864">
                  <a:moveTo>
                    <a:pt x="0" y="0"/>
                  </a:moveTo>
                  <a:cubicBezTo>
                    <a:pt x="2421" y="2825"/>
                    <a:pt x="5371" y="5153"/>
                    <a:pt x="8669" y="6865"/>
                  </a:cubicBezTo>
                  <a:cubicBezTo>
                    <a:pt x="5291" y="5273"/>
                    <a:pt x="2322" y="2925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3" name="Freeform: Shape 1552">
              <a:extLst>
                <a:ext uri="{FF2B5EF4-FFF2-40B4-BE49-F238E27FC236}">
                  <a16:creationId xmlns:a16="http://schemas.microsoft.com/office/drawing/2014/main" id="{CFA5D542-2BEF-42F7-8A75-7510D1361C6F}"/>
                </a:ext>
              </a:extLst>
            </p:cNvPr>
            <p:cNvSpPr/>
            <p:nvPr/>
          </p:nvSpPr>
          <p:spPr>
            <a:xfrm>
              <a:off x="-763242" y="1218132"/>
              <a:ext cx="11957" cy="2813"/>
            </a:xfrm>
            <a:custGeom>
              <a:avLst/>
              <a:gdLst>
                <a:gd name="connsiteX0" fmla="*/ 11957 w 11957"/>
                <a:gd name="connsiteY0" fmla="*/ 2813 h 2813"/>
                <a:gd name="connsiteX1" fmla="*/ 0 w 11957"/>
                <a:gd name="connsiteY1" fmla="*/ 2813 h 2813"/>
                <a:gd name="connsiteX2" fmla="*/ 11957 w 11957"/>
                <a:gd name="connsiteY2" fmla="*/ 2813 h 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57" h="2813">
                  <a:moveTo>
                    <a:pt x="11957" y="2813"/>
                  </a:moveTo>
                  <a:cubicBezTo>
                    <a:pt x="7772" y="127"/>
                    <a:pt x="3487" y="-868"/>
                    <a:pt x="0" y="2813"/>
                  </a:cubicBezTo>
                  <a:cubicBezTo>
                    <a:pt x="2989" y="-1465"/>
                    <a:pt x="7473" y="-371"/>
                    <a:pt x="11957" y="2813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4" name="Freeform: Shape 1553">
              <a:extLst>
                <a:ext uri="{FF2B5EF4-FFF2-40B4-BE49-F238E27FC236}">
                  <a16:creationId xmlns:a16="http://schemas.microsoft.com/office/drawing/2014/main" id="{3DF4361A-7604-41AA-A652-7684EABB2231}"/>
                </a:ext>
              </a:extLst>
            </p:cNvPr>
            <p:cNvSpPr/>
            <p:nvPr/>
          </p:nvSpPr>
          <p:spPr>
            <a:xfrm>
              <a:off x="-710231" y="1291581"/>
              <a:ext cx="5879" cy="3979"/>
            </a:xfrm>
            <a:custGeom>
              <a:avLst/>
              <a:gdLst>
                <a:gd name="connsiteX0" fmla="*/ 0 w 5879"/>
                <a:gd name="connsiteY0" fmla="*/ 3980 h 3979"/>
                <a:gd name="connsiteX1" fmla="*/ 5879 w 5879"/>
                <a:gd name="connsiteY1" fmla="*/ 0 h 3979"/>
                <a:gd name="connsiteX2" fmla="*/ 0 w 5879"/>
                <a:gd name="connsiteY2" fmla="*/ 3980 h 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9" h="3979">
                  <a:moveTo>
                    <a:pt x="0" y="3980"/>
                  </a:moveTo>
                  <a:cubicBezTo>
                    <a:pt x="1784" y="2418"/>
                    <a:pt x="3767" y="1074"/>
                    <a:pt x="5879" y="0"/>
                  </a:cubicBezTo>
                  <a:cubicBezTo>
                    <a:pt x="3986" y="1194"/>
                    <a:pt x="1096" y="3084"/>
                    <a:pt x="0" y="398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5" name="Freeform: Shape 1554">
              <a:extLst>
                <a:ext uri="{FF2B5EF4-FFF2-40B4-BE49-F238E27FC236}">
                  <a16:creationId xmlns:a16="http://schemas.microsoft.com/office/drawing/2014/main" id="{E2ABCBEC-D826-4272-8B7E-D6402CF822CE}"/>
                </a:ext>
              </a:extLst>
            </p:cNvPr>
            <p:cNvSpPr/>
            <p:nvPr/>
          </p:nvSpPr>
          <p:spPr>
            <a:xfrm>
              <a:off x="-642373" y="1263996"/>
              <a:ext cx="10661" cy="2315"/>
            </a:xfrm>
            <a:custGeom>
              <a:avLst/>
              <a:gdLst>
                <a:gd name="connsiteX0" fmla="*/ 10662 w 10661"/>
                <a:gd name="connsiteY0" fmla="*/ 823 h 2315"/>
                <a:gd name="connsiteX1" fmla="*/ 0 w 10661"/>
                <a:gd name="connsiteY1" fmla="*/ 2315 h 2315"/>
                <a:gd name="connsiteX2" fmla="*/ 10662 w 10661"/>
                <a:gd name="connsiteY2" fmla="*/ 823 h 2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61" h="2315">
                  <a:moveTo>
                    <a:pt x="10662" y="823"/>
                  </a:moveTo>
                  <a:cubicBezTo>
                    <a:pt x="7075" y="-430"/>
                    <a:pt x="3099" y="127"/>
                    <a:pt x="0" y="2315"/>
                  </a:cubicBezTo>
                  <a:cubicBezTo>
                    <a:pt x="2890" y="-570"/>
                    <a:pt x="6278" y="-371"/>
                    <a:pt x="10662" y="823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6" name="Freeform: Shape 1555">
              <a:extLst>
                <a:ext uri="{FF2B5EF4-FFF2-40B4-BE49-F238E27FC236}">
                  <a16:creationId xmlns:a16="http://schemas.microsoft.com/office/drawing/2014/main" id="{0098DC5D-E833-4065-BFFC-723369DA38E7}"/>
                </a:ext>
              </a:extLst>
            </p:cNvPr>
            <p:cNvSpPr/>
            <p:nvPr/>
          </p:nvSpPr>
          <p:spPr>
            <a:xfrm>
              <a:off x="-609690" y="1264356"/>
              <a:ext cx="27800" cy="4542"/>
            </a:xfrm>
            <a:custGeom>
              <a:avLst/>
              <a:gdLst>
                <a:gd name="connsiteX0" fmla="*/ 27801 w 27800"/>
                <a:gd name="connsiteY0" fmla="*/ 861 h 4542"/>
                <a:gd name="connsiteX1" fmla="*/ 5480 w 27800"/>
                <a:gd name="connsiteY1" fmla="*/ 3647 h 4542"/>
                <a:gd name="connsiteX2" fmla="*/ 0 w 27800"/>
                <a:gd name="connsiteY2" fmla="*/ 4542 h 4542"/>
                <a:gd name="connsiteX3" fmla="*/ 27801 w 27800"/>
                <a:gd name="connsiteY3" fmla="*/ 861 h 4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800" h="4542">
                  <a:moveTo>
                    <a:pt x="27801" y="861"/>
                  </a:moveTo>
                  <a:cubicBezTo>
                    <a:pt x="20248" y="-163"/>
                    <a:pt x="12555" y="802"/>
                    <a:pt x="5480" y="3647"/>
                  </a:cubicBezTo>
                  <a:cubicBezTo>
                    <a:pt x="3687" y="4134"/>
                    <a:pt x="1853" y="4443"/>
                    <a:pt x="0" y="4542"/>
                  </a:cubicBezTo>
                  <a:cubicBezTo>
                    <a:pt x="9267" y="3149"/>
                    <a:pt x="20327" y="-2024"/>
                    <a:pt x="27801" y="861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7" name="Freeform: Shape 1556">
              <a:extLst>
                <a:ext uri="{FF2B5EF4-FFF2-40B4-BE49-F238E27FC236}">
                  <a16:creationId xmlns:a16="http://schemas.microsoft.com/office/drawing/2014/main" id="{1943DAAF-8DC2-4BB8-A129-294E1B32B456}"/>
                </a:ext>
              </a:extLst>
            </p:cNvPr>
            <p:cNvSpPr/>
            <p:nvPr/>
          </p:nvSpPr>
          <p:spPr>
            <a:xfrm>
              <a:off x="-551996" y="1263916"/>
              <a:ext cx="5878" cy="932"/>
            </a:xfrm>
            <a:custGeom>
              <a:avLst/>
              <a:gdLst>
                <a:gd name="connsiteX0" fmla="*/ 0 w 5878"/>
                <a:gd name="connsiteY0" fmla="*/ 7 h 932"/>
                <a:gd name="connsiteX1" fmla="*/ 5879 w 5878"/>
                <a:gd name="connsiteY1" fmla="*/ 604 h 932"/>
                <a:gd name="connsiteX2" fmla="*/ 997 w 5878"/>
                <a:gd name="connsiteY2" fmla="*/ 604 h 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8" h="932">
                  <a:moveTo>
                    <a:pt x="0" y="7"/>
                  </a:moveTo>
                  <a:cubicBezTo>
                    <a:pt x="1973" y="-42"/>
                    <a:pt x="3956" y="157"/>
                    <a:pt x="5879" y="604"/>
                  </a:cubicBezTo>
                  <a:cubicBezTo>
                    <a:pt x="4285" y="1042"/>
                    <a:pt x="2591" y="1042"/>
                    <a:pt x="997" y="60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8" name="Freeform: Shape 1557">
              <a:extLst>
                <a:ext uri="{FF2B5EF4-FFF2-40B4-BE49-F238E27FC236}">
                  <a16:creationId xmlns:a16="http://schemas.microsoft.com/office/drawing/2014/main" id="{49890936-C1E3-4C76-BEE8-CC9F0BFFFFF4}"/>
                </a:ext>
              </a:extLst>
            </p:cNvPr>
            <p:cNvSpPr/>
            <p:nvPr/>
          </p:nvSpPr>
          <p:spPr>
            <a:xfrm>
              <a:off x="-541334" y="1258054"/>
              <a:ext cx="2790" cy="4377"/>
            </a:xfrm>
            <a:custGeom>
              <a:avLst/>
              <a:gdLst>
                <a:gd name="connsiteX0" fmla="*/ 0 w 2790"/>
                <a:gd name="connsiteY0" fmla="*/ 4377 h 4377"/>
                <a:gd name="connsiteX1" fmla="*/ 2790 w 2790"/>
                <a:gd name="connsiteY1" fmla="*/ 0 h 4377"/>
                <a:gd name="connsiteX2" fmla="*/ 2092 w 2790"/>
                <a:gd name="connsiteY2" fmla="*/ 2089 h 4377"/>
                <a:gd name="connsiteX3" fmla="*/ 0 w 2790"/>
                <a:gd name="connsiteY3" fmla="*/ 4377 h 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0" h="4377">
                  <a:moveTo>
                    <a:pt x="0" y="4377"/>
                  </a:moveTo>
                  <a:cubicBezTo>
                    <a:pt x="1166" y="3084"/>
                    <a:pt x="2112" y="1602"/>
                    <a:pt x="2790" y="0"/>
                  </a:cubicBezTo>
                  <a:lnTo>
                    <a:pt x="2092" y="2089"/>
                  </a:lnTo>
                  <a:cubicBezTo>
                    <a:pt x="1475" y="2925"/>
                    <a:pt x="777" y="3691"/>
                    <a:pt x="0" y="437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59" name="Freeform: Shape 1558">
              <a:extLst>
                <a:ext uri="{FF2B5EF4-FFF2-40B4-BE49-F238E27FC236}">
                  <a16:creationId xmlns:a16="http://schemas.microsoft.com/office/drawing/2014/main" id="{3A054910-3722-4D0A-B475-0CA7D87AD753}"/>
                </a:ext>
              </a:extLst>
            </p:cNvPr>
            <p:cNvSpPr/>
            <p:nvPr/>
          </p:nvSpPr>
          <p:spPr>
            <a:xfrm>
              <a:off x="-532267" y="1230297"/>
              <a:ext cx="13153" cy="11938"/>
            </a:xfrm>
            <a:custGeom>
              <a:avLst/>
              <a:gdLst>
                <a:gd name="connsiteX0" fmla="*/ 10961 w 13153"/>
                <a:gd name="connsiteY0" fmla="*/ 0 h 11938"/>
                <a:gd name="connsiteX1" fmla="*/ 13153 w 13153"/>
                <a:gd name="connsiteY1" fmla="*/ 1492 h 11938"/>
                <a:gd name="connsiteX2" fmla="*/ 0 w 13153"/>
                <a:gd name="connsiteY2" fmla="*/ 11939 h 11938"/>
                <a:gd name="connsiteX3" fmla="*/ 10961 w 13153"/>
                <a:gd name="connsiteY3" fmla="*/ 0 h 1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53" h="11938">
                  <a:moveTo>
                    <a:pt x="10961" y="0"/>
                  </a:moveTo>
                  <a:cubicBezTo>
                    <a:pt x="11738" y="428"/>
                    <a:pt x="12466" y="925"/>
                    <a:pt x="13153" y="1492"/>
                  </a:cubicBezTo>
                  <a:cubicBezTo>
                    <a:pt x="7972" y="-895"/>
                    <a:pt x="4085" y="3184"/>
                    <a:pt x="0" y="11939"/>
                  </a:cubicBezTo>
                  <a:cubicBezTo>
                    <a:pt x="2491" y="5671"/>
                    <a:pt x="5480" y="398"/>
                    <a:pt x="10961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60" name="Freeform: Shape 1559">
              <a:extLst>
                <a:ext uri="{FF2B5EF4-FFF2-40B4-BE49-F238E27FC236}">
                  <a16:creationId xmlns:a16="http://schemas.microsoft.com/office/drawing/2014/main" id="{BCA01E3C-000F-4CC9-B95C-C2A8C65033E4}"/>
                </a:ext>
              </a:extLst>
            </p:cNvPr>
            <p:cNvSpPr/>
            <p:nvPr/>
          </p:nvSpPr>
          <p:spPr>
            <a:xfrm>
              <a:off x="-491213" y="1269893"/>
              <a:ext cx="1594" cy="4178"/>
            </a:xfrm>
            <a:custGeom>
              <a:avLst/>
              <a:gdLst>
                <a:gd name="connsiteX0" fmla="*/ 0 w 1594"/>
                <a:gd name="connsiteY0" fmla="*/ 0 h 4178"/>
                <a:gd name="connsiteX1" fmla="*/ 1594 w 1594"/>
                <a:gd name="connsiteY1" fmla="*/ 4178 h 4178"/>
                <a:gd name="connsiteX2" fmla="*/ 0 w 1594"/>
                <a:gd name="connsiteY2" fmla="*/ 0 h 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4" h="4178">
                  <a:moveTo>
                    <a:pt x="0" y="0"/>
                  </a:moveTo>
                  <a:cubicBezTo>
                    <a:pt x="727" y="1313"/>
                    <a:pt x="1265" y="2716"/>
                    <a:pt x="1594" y="4178"/>
                  </a:cubicBezTo>
                  <a:cubicBezTo>
                    <a:pt x="707" y="2945"/>
                    <a:pt x="159" y="1502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61" name="Freeform: Shape 1560">
              <a:extLst>
                <a:ext uri="{FF2B5EF4-FFF2-40B4-BE49-F238E27FC236}">
                  <a16:creationId xmlns:a16="http://schemas.microsoft.com/office/drawing/2014/main" id="{D06F1871-34A7-456B-A7FF-2A140A453550}"/>
                </a:ext>
              </a:extLst>
            </p:cNvPr>
            <p:cNvSpPr/>
            <p:nvPr/>
          </p:nvSpPr>
          <p:spPr>
            <a:xfrm>
              <a:off x="-487726" y="1275563"/>
              <a:ext cx="3686" cy="1890"/>
            </a:xfrm>
            <a:custGeom>
              <a:avLst/>
              <a:gdLst>
                <a:gd name="connsiteX0" fmla="*/ 3687 w 3686"/>
                <a:gd name="connsiteY0" fmla="*/ 1890 h 1890"/>
                <a:gd name="connsiteX1" fmla="*/ 0 w 3686"/>
                <a:gd name="connsiteY1" fmla="*/ 0 h 1890"/>
                <a:gd name="connsiteX2" fmla="*/ 3687 w 3686"/>
                <a:gd name="connsiteY2" fmla="*/ 1890 h 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86" h="1890">
                  <a:moveTo>
                    <a:pt x="3687" y="1890"/>
                  </a:moveTo>
                  <a:cubicBezTo>
                    <a:pt x="2352" y="1482"/>
                    <a:pt x="1106" y="846"/>
                    <a:pt x="0" y="0"/>
                  </a:cubicBezTo>
                  <a:cubicBezTo>
                    <a:pt x="1445" y="70"/>
                    <a:pt x="2790" y="756"/>
                    <a:pt x="3687" y="189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62" name="Freeform: Shape 1561">
              <a:extLst>
                <a:ext uri="{FF2B5EF4-FFF2-40B4-BE49-F238E27FC236}">
                  <a16:creationId xmlns:a16="http://schemas.microsoft.com/office/drawing/2014/main" id="{AE103CBE-3B72-44AF-8939-94CBCFB3129E}"/>
                </a:ext>
              </a:extLst>
            </p:cNvPr>
            <p:cNvSpPr/>
            <p:nvPr/>
          </p:nvSpPr>
          <p:spPr>
            <a:xfrm>
              <a:off x="2466820" y="3429566"/>
              <a:ext cx="774632" cy="918701"/>
            </a:xfrm>
            <a:custGeom>
              <a:avLst/>
              <a:gdLst>
                <a:gd name="connsiteX0" fmla="*/ 682761 w 774632"/>
                <a:gd name="connsiteY0" fmla="*/ 912598 h 918701"/>
                <a:gd name="connsiteX1" fmla="*/ 693722 w 774632"/>
                <a:gd name="connsiteY1" fmla="*/ 918567 h 918701"/>
                <a:gd name="connsiteX2" fmla="*/ 682761 w 774632"/>
                <a:gd name="connsiteY2" fmla="*/ 912598 h 918701"/>
                <a:gd name="connsiteX3" fmla="*/ 768455 w 774632"/>
                <a:gd name="connsiteY3" fmla="*/ 40093 h 918701"/>
                <a:gd name="connsiteX4" fmla="*/ 766562 w 774632"/>
                <a:gd name="connsiteY4" fmla="*/ 40093 h 918701"/>
                <a:gd name="connsiteX5" fmla="*/ 774633 w 774632"/>
                <a:gd name="connsiteY5" fmla="*/ 41188 h 918701"/>
                <a:gd name="connsiteX6" fmla="*/ 768455 w 774632"/>
                <a:gd name="connsiteY6" fmla="*/ 40093 h 918701"/>
                <a:gd name="connsiteX7" fmla="*/ 761480 w 774632"/>
                <a:gd name="connsiteY7" fmla="*/ 41088 h 918701"/>
                <a:gd name="connsiteX8" fmla="*/ 763672 w 774632"/>
                <a:gd name="connsiteY8" fmla="*/ 40491 h 918701"/>
                <a:gd name="connsiteX9" fmla="*/ 756697 w 774632"/>
                <a:gd name="connsiteY9" fmla="*/ 39994 h 918701"/>
                <a:gd name="connsiteX10" fmla="*/ 761480 w 774632"/>
                <a:gd name="connsiteY10" fmla="*/ 41088 h 918701"/>
                <a:gd name="connsiteX11" fmla="*/ 734078 w 774632"/>
                <a:gd name="connsiteY11" fmla="*/ 32532 h 918701"/>
                <a:gd name="connsiteX12" fmla="*/ 739458 w 774632"/>
                <a:gd name="connsiteY12" fmla="*/ 34621 h 918701"/>
                <a:gd name="connsiteX13" fmla="*/ 736569 w 774632"/>
                <a:gd name="connsiteY13" fmla="*/ 33129 h 918701"/>
                <a:gd name="connsiteX14" fmla="*/ 734078 w 774632"/>
                <a:gd name="connsiteY14" fmla="*/ 32532 h 918701"/>
                <a:gd name="connsiteX15" fmla="*/ 722420 w 774632"/>
                <a:gd name="connsiteY15" fmla="*/ 28652 h 918701"/>
                <a:gd name="connsiteX16" fmla="*/ 717836 w 774632"/>
                <a:gd name="connsiteY16" fmla="*/ 26663 h 918701"/>
                <a:gd name="connsiteX17" fmla="*/ 722420 w 774632"/>
                <a:gd name="connsiteY17" fmla="*/ 28652 h 918701"/>
                <a:gd name="connsiteX18" fmla="*/ 710362 w 774632"/>
                <a:gd name="connsiteY18" fmla="*/ 28056 h 918701"/>
                <a:gd name="connsiteX19" fmla="*/ 717437 w 774632"/>
                <a:gd name="connsiteY19" fmla="*/ 26464 h 918701"/>
                <a:gd name="connsiteX20" fmla="*/ 713651 w 774632"/>
                <a:gd name="connsiteY20" fmla="*/ 25170 h 918701"/>
                <a:gd name="connsiteX21" fmla="*/ 710362 w 774632"/>
                <a:gd name="connsiteY21" fmla="*/ 28056 h 918701"/>
                <a:gd name="connsiteX22" fmla="*/ 701893 w 774632"/>
                <a:gd name="connsiteY22" fmla="*/ 41785 h 918701"/>
                <a:gd name="connsiteX23" fmla="*/ 701893 w 774632"/>
                <a:gd name="connsiteY23" fmla="*/ 52430 h 918701"/>
                <a:gd name="connsiteX24" fmla="*/ 701893 w 774632"/>
                <a:gd name="connsiteY24" fmla="*/ 41785 h 918701"/>
                <a:gd name="connsiteX25" fmla="*/ 679174 w 774632"/>
                <a:gd name="connsiteY25" fmla="*/ 65065 h 918701"/>
                <a:gd name="connsiteX26" fmla="*/ 680469 w 774632"/>
                <a:gd name="connsiteY26" fmla="*/ 75013 h 918701"/>
                <a:gd name="connsiteX27" fmla="*/ 679174 w 774632"/>
                <a:gd name="connsiteY27" fmla="*/ 65065 h 918701"/>
                <a:gd name="connsiteX28" fmla="*/ 433153 w 774632"/>
                <a:gd name="connsiteY28" fmla="*/ 46560 h 918701"/>
                <a:gd name="connsiteX29" fmla="*/ 471615 w 774632"/>
                <a:gd name="connsiteY29" fmla="*/ 48749 h 918701"/>
                <a:gd name="connsiteX30" fmla="*/ 444612 w 774632"/>
                <a:gd name="connsiteY30" fmla="*/ 46858 h 918701"/>
                <a:gd name="connsiteX31" fmla="*/ 346961 w 774632"/>
                <a:gd name="connsiteY31" fmla="*/ 41884 h 918701"/>
                <a:gd name="connsiteX32" fmla="*/ 340882 w 774632"/>
                <a:gd name="connsiteY32" fmla="*/ 33328 h 918701"/>
                <a:gd name="connsiteX33" fmla="*/ 346961 w 774632"/>
                <a:gd name="connsiteY33" fmla="*/ 42083 h 918701"/>
                <a:gd name="connsiteX34" fmla="*/ 337793 w 774632"/>
                <a:gd name="connsiteY34" fmla="*/ 20992 h 918701"/>
                <a:gd name="connsiteX35" fmla="*/ 337793 w 774632"/>
                <a:gd name="connsiteY35" fmla="*/ 17012 h 918701"/>
                <a:gd name="connsiteX36" fmla="*/ 335202 w 774632"/>
                <a:gd name="connsiteY36" fmla="*/ 13630 h 918701"/>
                <a:gd name="connsiteX37" fmla="*/ 337793 w 774632"/>
                <a:gd name="connsiteY37" fmla="*/ 21191 h 918701"/>
                <a:gd name="connsiteX38" fmla="*/ 332014 w 774632"/>
                <a:gd name="connsiteY38" fmla="*/ 9153 h 918701"/>
                <a:gd name="connsiteX39" fmla="*/ 332014 w 774632"/>
                <a:gd name="connsiteY39" fmla="*/ 9153 h 918701"/>
                <a:gd name="connsiteX40" fmla="*/ 330818 w 774632"/>
                <a:gd name="connsiteY40" fmla="*/ 7262 h 918701"/>
                <a:gd name="connsiteX41" fmla="*/ 332014 w 774632"/>
                <a:gd name="connsiteY41" fmla="*/ 9352 h 918701"/>
                <a:gd name="connsiteX42" fmla="*/ 329024 w 774632"/>
                <a:gd name="connsiteY42" fmla="*/ 497 h 918701"/>
                <a:gd name="connsiteX43" fmla="*/ 329024 w 774632"/>
                <a:gd name="connsiteY43" fmla="*/ 497 h 918701"/>
                <a:gd name="connsiteX44" fmla="*/ 329024 w 774632"/>
                <a:gd name="connsiteY44" fmla="*/ 497 h 918701"/>
                <a:gd name="connsiteX45" fmla="*/ 15743 w 774632"/>
                <a:gd name="connsiteY45" fmla="*/ 39795 h 918701"/>
                <a:gd name="connsiteX46" fmla="*/ 1694 w 774632"/>
                <a:gd name="connsiteY46" fmla="*/ 23777 h 918701"/>
                <a:gd name="connsiteX47" fmla="*/ 15743 w 774632"/>
                <a:gd name="connsiteY47" fmla="*/ 39994 h 918701"/>
                <a:gd name="connsiteX48" fmla="*/ 2192 w 774632"/>
                <a:gd name="connsiteY48" fmla="*/ 0 h 918701"/>
                <a:gd name="connsiteX49" fmla="*/ 2889 w 774632"/>
                <a:gd name="connsiteY49" fmla="*/ 4676 h 918701"/>
                <a:gd name="connsiteX50" fmla="*/ 2192 w 774632"/>
                <a:gd name="connsiteY50" fmla="*/ 298 h 918701"/>
                <a:gd name="connsiteX51" fmla="*/ 0 w 774632"/>
                <a:gd name="connsiteY51" fmla="*/ 14923 h 918701"/>
                <a:gd name="connsiteX52" fmla="*/ 2192 w 774632"/>
                <a:gd name="connsiteY52" fmla="*/ 8556 h 918701"/>
                <a:gd name="connsiteX53" fmla="*/ 398 w 774632"/>
                <a:gd name="connsiteY53" fmla="*/ 15222 h 9187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774632" h="918701">
                  <a:moveTo>
                    <a:pt x="682761" y="912598"/>
                  </a:moveTo>
                  <a:cubicBezTo>
                    <a:pt x="681665" y="920358"/>
                    <a:pt x="688640" y="918468"/>
                    <a:pt x="693722" y="918567"/>
                  </a:cubicBezTo>
                  <a:cubicBezTo>
                    <a:pt x="698605" y="908221"/>
                    <a:pt x="688441" y="902152"/>
                    <a:pt x="682761" y="912598"/>
                  </a:cubicBezTo>
                  <a:close/>
                  <a:moveTo>
                    <a:pt x="768455" y="40093"/>
                  </a:moveTo>
                  <a:cubicBezTo>
                    <a:pt x="767827" y="40153"/>
                    <a:pt x="767190" y="40153"/>
                    <a:pt x="766562" y="40093"/>
                  </a:cubicBezTo>
                  <a:cubicBezTo>
                    <a:pt x="769282" y="40193"/>
                    <a:pt x="771983" y="40561"/>
                    <a:pt x="774633" y="41188"/>
                  </a:cubicBezTo>
                  <a:cubicBezTo>
                    <a:pt x="772690" y="40342"/>
                    <a:pt x="770567" y="39964"/>
                    <a:pt x="768455" y="40093"/>
                  </a:cubicBezTo>
                  <a:close/>
                  <a:moveTo>
                    <a:pt x="761480" y="41088"/>
                  </a:moveTo>
                  <a:cubicBezTo>
                    <a:pt x="762178" y="40780"/>
                    <a:pt x="762915" y="40581"/>
                    <a:pt x="763672" y="40491"/>
                  </a:cubicBezTo>
                  <a:cubicBezTo>
                    <a:pt x="761341" y="40521"/>
                    <a:pt x="758999" y="40362"/>
                    <a:pt x="756697" y="39994"/>
                  </a:cubicBezTo>
                  <a:cubicBezTo>
                    <a:pt x="758271" y="40451"/>
                    <a:pt x="759866" y="40820"/>
                    <a:pt x="761480" y="41088"/>
                  </a:cubicBezTo>
                  <a:close/>
                  <a:moveTo>
                    <a:pt x="734078" y="32532"/>
                  </a:moveTo>
                  <a:cubicBezTo>
                    <a:pt x="735821" y="33348"/>
                    <a:pt x="737625" y="34045"/>
                    <a:pt x="739458" y="34621"/>
                  </a:cubicBezTo>
                  <a:cubicBezTo>
                    <a:pt x="738462" y="34184"/>
                    <a:pt x="737496" y="33686"/>
                    <a:pt x="736569" y="33129"/>
                  </a:cubicBezTo>
                  <a:cubicBezTo>
                    <a:pt x="735712" y="33079"/>
                    <a:pt x="734865" y="32881"/>
                    <a:pt x="734078" y="32532"/>
                  </a:cubicBezTo>
                  <a:close/>
                  <a:moveTo>
                    <a:pt x="722420" y="28652"/>
                  </a:moveTo>
                  <a:lnTo>
                    <a:pt x="717836" y="26663"/>
                  </a:lnTo>
                  <a:cubicBezTo>
                    <a:pt x="718832" y="26663"/>
                    <a:pt x="720327" y="27956"/>
                    <a:pt x="722420" y="28652"/>
                  </a:cubicBezTo>
                  <a:close/>
                  <a:moveTo>
                    <a:pt x="710362" y="28056"/>
                  </a:moveTo>
                  <a:cubicBezTo>
                    <a:pt x="713451" y="25568"/>
                    <a:pt x="715145" y="25568"/>
                    <a:pt x="717437" y="26464"/>
                  </a:cubicBezTo>
                  <a:lnTo>
                    <a:pt x="713651" y="25170"/>
                  </a:lnTo>
                  <a:cubicBezTo>
                    <a:pt x="712485" y="26046"/>
                    <a:pt x="711389" y="27011"/>
                    <a:pt x="710362" y="28056"/>
                  </a:cubicBezTo>
                  <a:close/>
                  <a:moveTo>
                    <a:pt x="701893" y="41785"/>
                  </a:moveTo>
                  <a:cubicBezTo>
                    <a:pt x="700796" y="45247"/>
                    <a:pt x="700796" y="48968"/>
                    <a:pt x="701893" y="52430"/>
                  </a:cubicBezTo>
                  <a:cubicBezTo>
                    <a:pt x="701195" y="48918"/>
                    <a:pt x="701195" y="45296"/>
                    <a:pt x="701893" y="41785"/>
                  </a:cubicBezTo>
                  <a:close/>
                  <a:moveTo>
                    <a:pt x="679174" y="65065"/>
                  </a:moveTo>
                  <a:cubicBezTo>
                    <a:pt x="677968" y="68398"/>
                    <a:pt x="678446" y="72098"/>
                    <a:pt x="680469" y="75013"/>
                  </a:cubicBezTo>
                  <a:cubicBezTo>
                    <a:pt x="678496" y="72089"/>
                    <a:pt x="678018" y="68398"/>
                    <a:pt x="679174" y="65065"/>
                  </a:cubicBezTo>
                  <a:close/>
                  <a:moveTo>
                    <a:pt x="433153" y="46560"/>
                  </a:moveTo>
                  <a:lnTo>
                    <a:pt x="471615" y="48749"/>
                  </a:lnTo>
                  <a:cubicBezTo>
                    <a:pt x="462647" y="48251"/>
                    <a:pt x="453579" y="47654"/>
                    <a:pt x="444612" y="46858"/>
                  </a:cubicBezTo>
                  <a:close/>
                  <a:moveTo>
                    <a:pt x="346961" y="41884"/>
                  </a:moveTo>
                  <a:cubicBezTo>
                    <a:pt x="344389" y="39466"/>
                    <a:pt x="342317" y="36551"/>
                    <a:pt x="340882" y="33328"/>
                  </a:cubicBezTo>
                  <a:cubicBezTo>
                    <a:pt x="341988" y="36790"/>
                    <a:pt x="344111" y="39835"/>
                    <a:pt x="346961" y="42083"/>
                  </a:cubicBezTo>
                  <a:close/>
                  <a:moveTo>
                    <a:pt x="337793" y="20992"/>
                  </a:moveTo>
                  <a:cubicBezTo>
                    <a:pt x="337693" y="19669"/>
                    <a:pt x="337693" y="18335"/>
                    <a:pt x="337793" y="17012"/>
                  </a:cubicBezTo>
                  <a:cubicBezTo>
                    <a:pt x="337096" y="16017"/>
                    <a:pt x="336199" y="14824"/>
                    <a:pt x="335202" y="13630"/>
                  </a:cubicBezTo>
                  <a:cubicBezTo>
                    <a:pt x="336368" y="16037"/>
                    <a:pt x="337235" y="18574"/>
                    <a:pt x="337793" y="21191"/>
                  </a:cubicBezTo>
                  <a:close/>
                  <a:moveTo>
                    <a:pt x="332014" y="9153"/>
                  </a:moveTo>
                  <a:lnTo>
                    <a:pt x="332014" y="9153"/>
                  </a:lnTo>
                  <a:cubicBezTo>
                    <a:pt x="331556" y="8556"/>
                    <a:pt x="331157" y="7929"/>
                    <a:pt x="330818" y="7262"/>
                  </a:cubicBezTo>
                  <a:cubicBezTo>
                    <a:pt x="331097" y="8019"/>
                    <a:pt x="331496" y="8725"/>
                    <a:pt x="332014" y="9352"/>
                  </a:cubicBezTo>
                  <a:close/>
                  <a:moveTo>
                    <a:pt x="329024" y="497"/>
                  </a:moveTo>
                  <a:lnTo>
                    <a:pt x="329024" y="497"/>
                  </a:lnTo>
                  <a:lnTo>
                    <a:pt x="329024" y="497"/>
                  </a:lnTo>
                  <a:close/>
                  <a:moveTo>
                    <a:pt x="15743" y="39795"/>
                  </a:moveTo>
                  <a:cubicBezTo>
                    <a:pt x="10662" y="34821"/>
                    <a:pt x="5969" y="29468"/>
                    <a:pt x="1694" y="23777"/>
                  </a:cubicBezTo>
                  <a:cubicBezTo>
                    <a:pt x="5211" y="30085"/>
                    <a:pt x="9994" y="35606"/>
                    <a:pt x="15743" y="39994"/>
                  </a:cubicBezTo>
                  <a:close/>
                  <a:moveTo>
                    <a:pt x="2192" y="0"/>
                  </a:moveTo>
                  <a:lnTo>
                    <a:pt x="2889" y="4676"/>
                  </a:lnTo>
                  <a:cubicBezTo>
                    <a:pt x="2989" y="3184"/>
                    <a:pt x="2750" y="1691"/>
                    <a:pt x="2192" y="298"/>
                  </a:cubicBezTo>
                  <a:close/>
                  <a:moveTo>
                    <a:pt x="0" y="14923"/>
                  </a:moveTo>
                  <a:cubicBezTo>
                    <a:pt x="867" y="12854"/>
                    <a:pt x="1594" y="10725"/>
                    <a:pt x="2192" y="8556"/>
                  </a:cubicBezTo>
                  <a:cubicBezTo>
                    <a:pt x="1076" y="10605"/>
                    <a:pt x="458" y="12893"/>
                    <a:pt x="398" y="15222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563" name="Graphic 231">
              <a:extLst>
                <a:ext uri="{FF2B5EF4-FFF2-40B4-BE49-F238E27FC236}">
                  <a16:creationId xmlns:a16="http://schemas.microsoft.com/office/drawing/2014/main" id="{C2E9B64D-B26F-466C-9C28-826AEE2B5C91}"/>
                </a:ext>
              </a:extLst>
            </p:cNvPr>
            <p:cNvGrpSpPr/>
            <p:nvPr/>
          </p:nvGrpSpPr>
          <p:grpSpPr>
            <a:xfrm>
              <a:off x="-1065662" y="735745"/>
              <a:ext cx="623273" cy="559815"/>
              <a:chOff x="-1065662" y="735745"/>
              <a:chExt cx="623273" cy="559815"/>
            </a:xfrm>
            <a:solidFill>
              <a:srgbClr val="ECE8E4"/>
            </a:solidFill>
          </p:grpSpPr>
          <p:sp>
            <p:nvSpPr>
              <p:cNvPr id="2380" name="Freeform: Shape 2379">
                <a:extLst>
                  <a:ext uri="{FF2B5EF4-FFF2-40B4-BE49-F238E27FC236}">
                    <a16:creationId xmlns:a16="http://schemas.microsoft.com/office/drawing/2014/main" id="{C9068C0B-375D-4EEC-9F24-4E864B13E3B0}"/>
                  </a:ext>
                </a:extLst>
              </p:cNvPr>
              <p:cNvSpPr/>
              <p:nvPr/>
            </p:nvSpPr>
            <p:spPr>
              <a:xfrm>
                <a:off x="-1065662" y="735745"/>
                <a:ext cx="9266" cy="7163"/>
              </a:xfrm>
              <a:custGeom>
                <a:avLst/>
                <a:gdLst>
                  <a:gd name="connsiteX0" fmla="*/ 9267 w 9266"/>
                  <a:gd name="connsiteY0" fmla="*/ 0 h 7163"/>
                  <a:gd name="connsiteX1" fmla="*/ 0 w 9266"/>
                  <a:gd name="connsiteY1" fmla="*/ 7163 h 7163"/>
                  <a:gd name="connsiteX2" fmla="*/ 9267 w 9266"/>
                  <a:gd name="connsiteY2" fmla="*/ 0 h 7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66" h="7163">
                    <a:moveTo>
                      <a:pt x="9267" y="0"/>
                    </a:moveTo>
                    <a:cubicBezTo>
                      <a:pt x="3288" y="2487"/>
                      <a:pt x="598" y="4875"/>
                      <a:pt x="0" y="7163"/>
                    </a:cubicBezTo>
                    <a:cubicBezTo>
                      <a:pt x="299" y="4477"/>
                      <a:pt x="2989" y="2089"/>
                      <a:pt x="926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81" name="Freeform: Shape 2380">
                <a:extLst>
                  <a:ext uri="{FF2B5EF4-FFF2-40B4-BE49-F238E27FC236}">
                    <a16:creationId xmlns:a16="http://schemas.microsoft.com/office/drawing/2014/main" id="{F2682F01-A51F-4860-B805-F89AB764CD15}"/>
                  </a:ext>
                </a:extLst>
              </p:cNvPr>
              <p:cNvSpPr/>
              <p:nvPr/>
            </p:nvSpPr>
            <p:spPr>
              <a:xfrm>
                <a:off x="-946487" y="871545"/>
                <a:ext cx="7672" cy="986"/>
              </a:xfrm>
              <a:custGeom>
                <a:avLst/>
                <a:gdLst>
                  <a:gd name="connsiteX0" fmla="*/ 7672 w 7672"/>
                  <a:gd name="connsiteY0" fmla="*/ 597 h 986"/>
                  <a:gd name="connsiteX1" fmla="*/ 0 w 7672"/>
                  <a:gd name="connsiteY1" fmla="*/ 0 h 986"/>
                  <a:gd name="connsiteX2" fmla="*/ 7672 w 7672"/>
                  <a:gd name="connsiteY2" fmla="*/ 597 h 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" h="986">
                    <a:moveTo>
                      <a:pt x="7672" y="597"/>
                    </a:moveTo>
                    <a:cubicBezTo>
                      <a:pt x="5122" y="1273"/>
                      <a:pt x="2411" y="1065"/>
                      <a:pt x="0" y="0"/>
                    </a:cubicBezTo>
                    <a:cubicBezTo>
                      <a:pt x="2491" y="726"/>
                      <a:pt x="5102" y="935"/>
                      <a:pt x="7672" y="5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82" name="Freeform: Shape 2381">
                <a:extLst>
                  <a:ext uri="{FF2B5EF4-FFF2-40B4-BE49-F238E27FC236}">
                    <a16:creationId xmlns:a16="http://schemas.microsoft.com/office/drawing/2014/main" id="{FAF14967-323C-42C1-BB41-75701BF58105}"/>
                  </a:ext>
                </a:extLst>
              </p:cNvPr>
              <p:cNvSpPr/>
              <p:nvPr/>
            </p:nvSpPr>
            <p:spPr>
              <a:xfrm>
                <a:off x="-919135" y="1069028"/>
                <a:ext cx="2640" cy="6466"/>
              </a:xfrm>
              <a:custGeom>
                <a:avLst/>
                <a:gdLst>
                  <a:gd name="connsiteX0" fmla="*/ 2641 w 2640"/>
                  <a:gd name="connsiteY0" fmla="*/ 0 h 6466"/>
                  <a:gd name="connsiteX1" fmla="*/ 149 w 2640"/>
                  <a:gd name="connsiteY1" fmla="*/ 6467 h 6466"/>
                  <a:gd name="connsiteX2" fmla="*/ 149 w 2640"/>
                  <a:gd name="connsiteY2" fmla="*/ 995 h 6466"/>
                  <a:gd name="connsiteX3" fmla="*/ 2641 w 2640"/>
                  <a:gd name="connsiteY3" fmla="*/ 0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0" h="6466">
                    <a:moveTo>
                      <a:pt x="2641" y="0"/>
                    </a:moveTo>
                    <a:cubicBezTo>
                      <a:pt x="1395" y="1970"/>
                      <a:pt x="548" y="4168"/>
                      <a:pt x="149" y="6467"/>
                    </a:cubicBezTo>
                    <a:cubicBezTo>
                      <a:pt x="-50" y="4646"/>
                      <a:pt x="-50" y="2815"/>
                      <a:pt x="149" y="995"/>
                    </a:cubicBezTo>
                    <a:cubicBezTo>
                      <a:pt x="1056" y="885"/>
                      <a:pt x="1913" y="537"/>
                      <a:pt x="264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83" name="Freeform: Shape 2382">
                <a:extLst>
                  <a:ext uri="{FF2B5EF4-FFF2-40B4-BE49-F238E27FC236}">
                    <a16:creationId xmlns:a16="http://schemas.microsoft.com/office/drawing/2014/main" id="{F84C050E-702F-474F-9CE8-B2EC0E80A3CB}"/>
                  </a:ext>
                </a:extLst>
              </p:cNvPr>
              <p:cNvSpPr/>
              <p:nvPr/>
            </p:nvSpPr>
            <p:spPr>
              <a:xfrm>
                <a:off x="-917590" y="1081165"/>
                <a:ext cx="6875" cy="7262"/>
              </a:xfrm>
              <a:custGeom>
                <a:avLst/>
                <a:gdLst>
                  <a:gd name="connsiteX0" fmla="*/ 6875 w 6875"/>
                  <a:gd name="connsiteY0" fmla="*/ 7263 h 7262"/>
                  <a:gd name="connsiteX1" fmla="*/ 0 w 6875"/>
                  <a:gd name="connsiteY1" fmla="*/ 0 h 7262"/>
                  <a:gd name="connsiteX2" fmla="*/ 6875 w 6875"/>
                  <a:gd name="connsiteY2" fmla="*/ 7263 h 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75" h="7262">
                    <a:moveTo>
                      <a:pt x="6875" y="7263"/>
                    </a:moveTo>
                    <a:cubicBezTo>
                      <a:pt x="3677" y="5890"/>
                      <a:pt x="1196" y="3263"/>
                      <a:pt x="0" y="0"/>
                    </a:cubicBezTo>
                    <a:cubicBezTo>
                      <a:pt x="1853" y="2796"/>
                      <a:pt x="4185" y="5253"/>
                      <a:pt x="6875" y="726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84" name="Freeform: Shape 2383">
                <a:extLst>
                  <a:ext uri="{FF2B5EF4-FFF2-40B4-BE49-F238E27FC236}">
                    <a16:creationId xmlns:a16="http://schemas.microsoft.com/office/drawing/2014/main" id="{84D58FB4-2FB0-4509-A789-60FFC38717B1}"/>
                  </a:ext>
                </a:extLst>
              </p:cNvPr>
              <p:cNvSpPr/>
              <p:nvPr/>
            </p:nvSpPr>
            <p:spPr>
              <a:xfrm>
                <a:off x="-917491" y="1033312"/>
                <a:ext cx="10960" cy="5372"/>
              </a:xfrm>
              <a:custGeom>
                <a:avLst/>
                <a:gdLst>
                  <a:gd name="connsiteX0" fmla="*/ 0 w 10960"/>
                  <a:gd name="connsiteY0" fmla="*/ 5372 h 5372"/>
                  <a:gd name="connsiteX1" fmla="*/ 10961 w 10960"/>
                  <a:gd name="connsiteY1" fmla="*/ 0 h 5372"/>
                  <a:gd name="connsiteX2" fmla="*/ 0 w 10960"/>
                  <a:gd name="connsiteY2" fmla="*/ 5372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60" h="5372">
                    <a:moveTo>
                      <a:pt x="0" y="5372"/>
                    </a:moveTo>
                    <a:cubicBezTo>
                      <a:pt x="2959" y="2427"/>
                      <a:pt x="6816" y="537"/>
                      <a:pt x="10961" y="0"/>
                    </a:cubicBezTo>
                    <a:cubicBezTo>
                      <a:pt x="7085" y="1303"/>
                      <a:pt x="3398" y="3104"/>
                      <a:pt x="0" y="537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85" name="Freeform: Shape 2384">
                <a:extLst>
                  <a:ext uri="{FF2B5EF4-FFF2-40B4-BE49-F238E27FC236}">
                    <a16:creationId xmlns:a16="http://schemas.microsoft.com/office/drawing/2014/main" id="{5B88A9C4-A165-4338-A711-B18FA7295FFB}"/>
                  </a:ext>
                </a:extLst>
              </p:cNvPr>
              <p:cNvSpPr/>
              <p:nvPr/>
            </p:nvSpPr>
            <p:spPr>
              <a:xfrm>
                <a:off x="-915099" y="985259"/>
                <a:ext cx="3886" cy="3183"/>
              </a:xfrm>
              <a:custGeom>
                <a:avLst/>
                <a:gdLst>
                  <a:gd name="connsiteX0" fmla="*/ 0 w 3886"/>
                  <a:gd name="connsiteY0" fmla="*/ 0 h 3183"/>
                  <a:gd name="connsiteX1" fmla="*/ 3886 w 3886"/>
                  <a:gd name="connsiteY1" fmla="*/ 3184 h 3183"/>
                  <a:gd name="connsiteX2" fmla="*/ 0 w 3886"/>
                  <a:gd name="connsiteY2" fmla="*/ 0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86" h="3183">
                    <a:moveTo>
                      <a:pt x="0" y="0"/>
                    </a:moveTo>
                    <a:cubicBezTo>
                      <a:pt x="1644" y="547"/>
                      <a:pt x="3029" y="1681"/>
                      <a:pt x="3886" y="3184"/>
                    </a:cubicBezTo>
                    <a:cubicBezTo>
                      <a:pt x="2392" y="2388"/>
                      <a:pt x="1076" y="130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86" name="Freeform: Shape 2385">
                <a:extLst>
                  <a:ext uri="{FF2B5EF4-FFF2-40B4-BE49-F238E27FC236}">
                    <a16:creationId xmlns:a16="http://schemas.microsoft.com/office/drawing/2014/main" id="{4E81A89B-59E5-4CDB-A224-6DE22F33A920}"/>
                  </a:ext>
                </a:extLst>
              </p:cNvPr>
              <p:cNvSpPr/>
              <p:nvPr/>
            </p:nvSpPr>
            <p:spPr>
              <a:xfrm>
                <a:off x="-916793" y="975467"/>
                <a:ext cx="9366" cy="5215"/>
              </a:xfrm>
              <a:custGeom>
                <a:avLst/>
                <a:gdLst>
                  <a:gd name="connsiteX0" fmla="*/ 0 w 9366"/>
                  <a:gd name="connsiteY0" fmla="*/ 5215 h 5215"/>
                  <a:gd name="connsiteX1" fmla="*/ 9367 w 9366"/>
                  <a:gd name="connsiteY1" fmla="*/ 42 h 5215"/>
                  <a:gd name="connsiteX2" fmla="*/ 0 w 9366"/>
                  <a:gd name="connsiteY2" fmla="*/ 5215 h 5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66" h="5215">
                    <a:moveTo>
                      <a:pt x="0" y="5215"/>
                    </a:moveTo>
                    <a:cubicBezTo>
                      <a:pt x="0" y="2131"/>
                      <a:pt x="3189" y="-356"/>
                      <a:pt x="9367" y="42"/>
                    </a:cubicBezTo>
                    <a:cubicBezTo>
                      <a:pt x="4384" y="42"/>
                      <a:pt x="797" y="1136"/>
                      <a:pt x="0" y="521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87" name="Freeform: Shape 2386">
                <a:extLst>
                  <a:ext uri="{FF2B5EF4-FFF2-40B4-BE49-F238E27FC236}">
                    <a16:creationId xmlns:a16="http://schemas.microsoft.com/office/drawing/2014/main" id="{5BA8E652-EBDF-45BD-9FEE-0867F7FF8949}"/>
                  </a:ext>
                </a:extLst>
              </p:cNvPr>
              <p:cNvSpPr/>
              <p:nvPr/>
            </p:nvSpPr>
            <p:spPr>
              <a:xfrm>
                <a:off x="-909121" y="1005853"/>
                <a:ext cx="4683" cy="6367"/>
              </a:xfrm>
              <a:custGeom>
                <a:avLst/>
                <a:gdLst>
                  <a:gd name="connsiteX0" fmla="*/ 0 w 4683"/>
                  <a:gd name="connsiteY0" fmla="*/ 0 h 6367"/>
                  <a:gd name="connsiteX1" fmla="*/ 4683 w 4683"/>
                  <a:gd name="connsiteY1" fmla="*/ 6367 h 6367"/>
                  <a:gd name="connsiteX2" fmla="*/ 0 w 4683"/>
                  <a:gd name="connsiteY2" fmla="*/ 0 h 6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83" h="6367">
                    <a:moveTo>
                      <a:pt x="0" y="0"/>
                    </a:moveTo>
                    <a:cubicBezTo>
                      <a:pt x="1594" y="2089"/>
                      <a:pt x="3388" y="4278"/>
                      <a:pt x="4683" y="6367"/>
                    </a:cubicBezTo>
                    <a:cubicBezTo>
                      <a:pt x="2670" y="4616"/>
                      <a:pt x="1066" y="244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88" name="Freeform: Shape 2387">
                <a:extLst>
                  <a:ext uri="{FF2B5EF4-FFF2-40B4-BE49-F238E27FC236}">
                    <a16:creationId xmlns:a16="http://schemas.microsoft.com/office/drawing/2014/main" id="{EA4DAE6B-C040-4207-B678-38B24E7C238A}"/>
                  </a:ext>
                </a:extLst>
              </p:cNvPr>
              <p:cNvSpPr/>
              <p:nvPr/>
            </p:nvSpPr>
            <p:spPr>
              <a:xfrm>
                <a:off x="-902943" y="1017692"/>
                <a:ext cx="788" cy="5571"/>
              </a:xfrm>
              <a:custGeom>
                <a:avLst/>
                <a:gdLst>
                  <a:gd name="connsiteX0" fmla="*/ 598 w 788"/>
                  <a:gd name="connsiteY0" fmla="*/ 0 h 5571"/>
                  <a:gd name="connsiteX1" fmla="*/ 0 w 788"/>
                  <a:gd name="connsiteY1" fmla="*/ 5571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88" h="5571">
                    <a:moveTo>
                      <a:pt x="598" y="0"/>
                    </a:moveTo>
                    <a:cubicBezTo>
                      <a:pt x="986" y="1870"/>
                      <a:pt x="777" y="3820"/>
                      <a:pt x="0" y="557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89" name="Freeform: Shape 2388">
                <a:extLst>
                  <a:ext uri="{FF2B5EF4-FFF2-40B4-BE49-F238E27FC236}">
                    <a16:creationId xmlns:a16="http://schemas.microsoft.com/office/drawing/2014/main" id="{611A9E27-DACC-418A-99F8-C2D8AED28FA4}"/>
                  </a:ext>
                </a:extLst>
              </p:cNvPr>
              <p:cNvSpPr/>
              <p:nvPr/>
            </p:nvSpPr>
            <p:spPr>
              <a:xfrm>
                <a:off x="-901647" y="1027740"/>
                <a:ext cx="857" cy="2885"/>
              </a:xfrm>
              <a:custGeom>
                <a:avLst/>
                <a:gdLst>
                  <a:gd name="connsiteX0" fmla="*/ 0 w 857"/>
                  <a:gd name="connsiteY0" fmla="*/ 2885 h 2885"/>
                  <a:gd name="connsiteX1" fmla="*/ 797 w 857"/>
                  <a:gd name="connsiteY1" fmla="*/ 0 h 2885"/>
                  <a:gd name="connsiteX2" fmla="*/ 0 w 857"/>
                  <a:gd name="connsiteY2" fmla="*/ 2885 h 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57" h="2885">
                    <a:moveTo>
                      <a:pt x="0" y="2885"/>
                    </a:moveTo>
                    <a:cubicBezTo>
                      <a:pt x="508" y="2010"/>
                      <a:pt x="777" y="1015"/>
                      <a:pt x="797" y="0"/>
                    </a:cubicBezTo>
                    <a:cubicBezTo>
                      <a:pt x="996" y="1035"/>
                      <a:pt x="697" y="2099"/>
                      <a:pt x="0" y="288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0" name="Freeform: Shape 2389">
                <a:extLst>
                  <a:ext uri="{FF2B5EF4-FFF2-40B4-BE49-F238E27FC236}">
                    <a16:creationId xmlns:a16="http://schemas.microsoft.com/office/drawing/2014/main" id="{4352B38F-CE0D-4ECD-8906-C87ABCE43F1D}"/>
                  </a:ext>
                </a:extLst>
              </p:cNvPr>
              <p:cNvSpPr/>
              <p:nvPr/>
            </p:nvSpPr>
            <p:spPr>
              <a:xfrm>
                <a:off x="-886501" y="1091910"/>
                <a:ext cx="3288" cy="6466"/>
              </a:xfrm>
              <a:custGeom>
                <a:avLst/>
                <a:gdLst>
                  <a:gd name="connsiteX0" fmla="*/ 0 w 3288"/>
                  <a:gd name="connsiteY0" fmla="*/ 6467 h 6466"/>
                  <a:gd name="connsiteX1" fmla="*/ 3288 w 3288"/>
                  <a:gd name="connsiteY1" fmla="*/ 0 h 6466"/>
                  <a:gd name="connsiteX2" fmla="*/ 0 w 3288"/>
                  <a:gd name="connsiteY2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88" h="6466">
                    <a:moveTo>
                      <a:pt x="0" y="6467"/>
                    </a:moveTo>
                    <a:cubicBezTo>
                      <a:pt x="1694" y="4974"/>
                      <a:pt x="1893" y="2189"/>
                      <a:pt x="3288" y="0"/>
                    </a:cubicBezTo>
                    <a:cubicBezTo>
                      <a:pt x="3298" y="2557"/>
                      <a:pt x="2073" y="4964"/>
                      <a:pt x="0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1" name="Freeform: Shape 2390">
                <a:extLst>
                  <a:ext uri="{FF2B5EF4-FFF2-40B4-BE49-F238E27FC236}">
                    <a16:creationId xmlns:a16="http://schemas.microsoft.com/office/drawing/2014/main" id="{02E64BD1-48A6-4235-BCB3-368FCE1A57F2}"/>
                  </a:ext>
                </a:extLst>
              </p:cNvPr>
              <p:cNvSpPr/>
              <p:nvPr/>
            </p:nvSpPr>
            <p:spPr>
              <a:xfrm>
                <a:off x="-880822" y="1088813"/>
                <a:ext cx="5281" cy="1107"/>
              </a:xfrm>
              <a:custGeom>
                <a:avLst/>
                <a:gdLst>
                  <a:gd name="connsiteX0" fmla="*/ 0 w 5281"/>
                  <a:gd name="connsiteY0" fmla="*/ 1107 h 1107"/>
                  <a:gd name="connsiteX1" fmla="*/ 5281 w 5281"/>
                  <a:gd name="connsiteY1" fmla="*/ 13 h 1107"/>
                  <a:gd name="connsiteX2" fmla="*/ 0 w 5281"/>
                  <a:gd name="connsiteY2" fmla="*/ 1107 h 1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1" h="1107">
                    <a:moveTo>
                      <a:pt x="0" y="1107"/>
                    </a:moveTo>
                    <a:cubicBezTo>
                      <a:pt x="1634" y="301"/>
                      <a:pt x="3458" y="-77"/>
                      <a:pt x="5281" y="13"/>
                    </a:cubicBezTo>
                    <a:cubicBezTo>
                      <a:pt x="3607" y="719"/>
                      <a:pt x="1814" y="1087"/>
                      <a:pt x="0" y="110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2" name="Freeform: Shape 2391">
                <a:extLst>
                  <a:ext uri="{FF2B5EF4-FFF2-40B4-BE49-F238E27FC236}">
                    <a16:creationId xmlns:a16="http://schemas.microsoft.com/office/drawing/2014/main" id="{CCD30D82-7198-42EF-9CB7-848589F8A9F2}"/>
                  </a:ext>
                </a:extLst>
              </p:cNvPr>
              <p:cNvSpPr/>
              <p:nvPr/>
            </p:nvSpPr>
            <p:spPr>
              <a:xfrm>
                <a:off x="-870857" y="1077285"/>
                <a:ext cx="9964" cy="8754"/>
              </a:xfrm>
              <a:custGeom>
                <a:avLst/>
                <a:gdLst>
                  <a:gd name="connsiteX0" fmla="*/ 0 w 9964"/>
                  <a:gd name="connsiteY0" fmla="*/ 8755 h 8754"/>
                  <a:gd name="connsiteX1" fmla="*/ 9964 w 9964"/>
                  <a:gd name="connsiteY1" fmla="*/ 0 h 8754"/>
                  <a:gd name="connsiteX2" fmla="*/ 0 w 9964"/>
                  <a:gd name="connsiteY2" fmla="*/ 8755 h 8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8754">
                    <a:moveTo>
                      <a:pt x="0" y="8755"/>
                    </a:moveTo>
                    <a:cubicBezTo>
                      <a:pt x="2989" y="6268"/>
                      <a:pt x="6676" y="3084"/>
                      <a:pt x="9964" y="0"/>
                    </a:cubicBezTo>
                    <a:cubicBezTo>
                      <a:pt x="6975" y="3283"/>
                      <a:pt x="3637" y="6218"/>
                      <a:pt x="0" y="875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3" name="Freeform: Shape 2392">
                <a:extLst>
                  <a:ext uri="{FF2B5EF4-FFF2-40B4-BE49-F238E27FC236}">
                    <a16:creationId xmlns:a16="http://schemas.microsoft.com/office/drawing/2014/main" id="{8EF5BEE3-A39B-4A10-B1DE-B1711285C06A}"/>
                  </a:ext>
                </a:extLst>
              </p:cNvPr>
              <p:cNvSpPr/>
              <p:nvPr/>
            </p:nvSpPr>
            <p:spPr>
              <a:xfrm>
                <a:off x="-853419" y="1062760"/>
                <a:ext cx="1095" cy="6267"/>
              </a:xfrm>
              <a:custGeom>
                <a:avLst/>
                <a:gdLst>
                  <a:gd name="connsiteX0" fmla="*/ 1095 w 1095"/>
                  <a:gd name="connsiteY0" fmla="*/ 0 h 6267"/>
                  <a:gd name="connsiteX1" fmla="*/ 298 w 1095"/>
                  <a:gd name="connsiteY1" fmla="*/ 6268 h 6267"/>
                  <a:gd name="connsiteX2" fmla="*/ 1095 w 1095"/>
                  <a:gd name="connsiteY2" fmla="*/ 0 h 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5" h="6267">
                    <a:moveTo>
                      <a:pt x="1095" y="0"/>
                    </a:moveTo>
                    <a:cubicBezTo>
                      <a:pt x="348" y="2000"/>
                      <a:pt x="79" y="4149"/>
                      <a:pt x="298" y="6268"/>
                    </a:cubicBezTo>
                    <a:cubicBezTo>
                      <a:pt x="-290" y="4159"/>
                      <a:pt x="-1" y="1900"/>
                      <a:pt x="10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4" name="Freeform: Shape 2393">
                <a:extLst>
                  <a:ext uri="{FF2B5EF4-FFF2-40B4-BE49-F238E27FC236}">
                    <a16:creationId xmlns:a16="http://schemas.microsoft.com/office/drawing/2014/main" id="{214D07AC-79C1-4537-9BE7-B1E2E12E40EC}"/>
                  </a:ext>
                </a:extLst>
              </p:cNvPr>
              <p:cNvSpPr/>
              <p:nvPr/>
            </p:nvSpPr>
            <p:spPr>
              <a:xfrm>
                <a:off x="-849533" y="1061168"/>
                <a:ext cx="5878" cy="3780"/>
              </a:xfrm>
              <a:custGeom>
                <a:avLst/>
                <a:gdLst>
                  <a:gd name="connsiteX0" fmla="*/ 2392 w 5878"/>
                  <a:gd name="connsiteY0" fmla="*/ 0 h 3780"/>
                  <a:gd name="connsiteX1" fmla="*/ 5879 w 5878"/>
                  <a:gd name="connsiteY1" fmla="*/ 3781 h 3780"/>
                  <a:gd name="connsiteX2" fmla="*/ 0 w 5878"/>
                  <a:gd name="connsiteY2" fmla="*/ 10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8" h="3780">
                    <a:moveTo>
                      <a:pt x="2392" y="0"/>
                    </a:moveTo>
                    <a:lnTo>
                      <a:pt x="5879" y="3781"/>
                    </a:lnTo>
                    <a:cubicBezTo>
                      <a:pt x="4235" y="2109"/>
                      <a:pt x="2222" y="846"/>
                      <a:pt x="0" y="10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5" name="Freeform: Shape 2394">
                <a:extLst>
                  <a:ext uri="{FF2B5EF4-FFF2-40B4-BE49-F238E27FC236}">
                    <a16:creationId xmlns:a16="http://schemas.microsoft.com/office/drawing/2014/main" id="{467193E5-8C4C-4F89-B0D6-2A787A801E88}"/>
                  </a:ext>
                </a:extLst>
              </p:cNvPr>
              <p:cNvSpPr/>
              <p:nvPr/>
            </p:nvSpPr>
            <p:spPr>
              <a:xfrm>
                <a:off x="-832096" y="1075793"/>
                <a:ext cx="4882" cy="3183"/>
              </a:xfrm>
              <a:custGeom>
                <a:avLst/>
                <a:gdLst>
                  <a:gd name="connsiteX0" fmla="*/ 0 w 4882"/>
                  <a:gd name="connsiteY0" fmla="*/ 0 h 3183"/>
                  <a:gd name="connsiteX1" fmla="*/ 4883 w 4882"/>
                  <a:gd name="connsiteY1" fmla="*/ 3184 h 3183"/>
                  <a:gd name="connsiteX2" fmla="*/ 0 w 4882"/>
                  <a:gd name="connsiteY2" fmla="*/ 0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82" h="3183">
                    <a:moveTo>
                      <a:pt x="0" y="0"/>
                    </a:moveTo>
                    <a:cubicBezTo>
                      <a:pt x="1544" y="1184"/>
                      <a:pt x="3179" y="2248"/>
                      <a:pt x="4883" y="3184"/>
                    </a:cubicBezTo>
                    <a:cubicBezTo>
                      <a:pt x="3049" y="2467"/>
                      <a:pt x="1395" y="138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6" name="Freeform: Shape 2395">
                <a:extLst>
                  <a:ext uri="{FF2B5EF4-FFF2-40B4-BE49-F238E27FC236}">
                    <a16:creationId xmlns:a16="http://schemas.microsoft.com/office/drawing/2014/main" id="{FBA82A33-3B3B-49AC-A156-F59A625BFB53}"/>
                  </a:ext>
                </a:extLst>
              </p:cNvPr>
              <p:cNvSpPr/>
              <p:nvPr/>
            </p:nvSpPr>
            <p:spPr>
              <a:xfrm>
                <a:off x="-827214" y="1078976"/>
                <a:ext cx="598" cy="8953"/>
              </a:xfrm>
              <a:custGeom>
                <a:avLst/>
                <a:gdLst>
                  <a:gd name="connsiteX0" fmla="*/ 0 w 598"/>
                  <a:gd name="connsiteY0" fmla="*/ 0 h 8953"/>
                  <a:gd name="connsiteX1" fmla="*/ 598 w 598"/>
                  <a:gd name="connsiteY1" fmla="*/ 8954 h 8953"/>
                  <a:gd name="connsiteX2" fmla="*/ 0 w 598"/>
                  <a:gd name="connsiteY2" fmla="*/ 0 h 8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8" h="8953">
                    <a:moveTo>
                      <a:pt x="0" y="0"/>
                    </a:moveTo>
                    <a:lnTo>
                      <a:pt x="598" y="8954"/>
                    </a:lnTo>
                    <a:cubicBezTo>
                      <a:pt x="190" y="5989"/>
                      <a:pt x="-10" y="299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7" name="Freeform: Shape 2396">
                <a:extLst>
                  <a:ext uri="{FF2B5EF4-FFF2-40B4-BE49-F238E27FC236}">
                    <a16:creationId xmlns:a16="http://schemas.microsoft.com/office/drawing/2014/main" id="{99FE9986-9747-4685-9E91-34F10510F9DD}"/>
                  </a:ext>
                </a:extLst>
              </p:cNvPr>
              <p:cNvSpPr/>
              <p:nvPr/>
            </p:nvSpPr>
            <p:spPr>
              <a:xfrm>
                <a:off x="-818843" y="1115289"/>
                <a:ext cx="1594" cy="4377"/>
              </a:xfrm>
              <a:custGeom>
                <a:avLst/>
                <a:gdLst>
                  <a:gd name="connsiteX0" fmla="*/ 897 w 1594"/>
                  <a:gd name="connsiteY0" fmla="*/ 4377 h 4377"/>
                  <a:gd name="connsiteX1" fmla="*/ 0 w 1594"/>
                  <a:gd name="connsiteY1" fmla="*/ 0 h 4377"/>
                  <a:gd name="connsiteX2" fmla="*/ 1594 w 1594"/>
                  <a:gd name="connsiteY2" fmla="*/ 2487 h 4377"/>
                  <a:gd name="connsiteX3" fmla="*/ 897 w 1594"/>
                  <a:gd name="connsiteY3" fmla="*/ 4377 h 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94" h="4377">
                    <a:moveTo>
                      <a:pt x="897" y="4377"/>
                    </a:moveTo>
                    <a:cubicBezTo>
                      <a:pt x="707" y="2895"/>
                      <a:pt x="409" y="1433"/>
                      <a:pt x="0" y="0"/>
                    </a:cubicBezTo>
                    <a:cubicBezTo>
                      <a:pt x="438" y="885"/>
                      <a:pt x="967" y="1721"/>
                      <a:pt x="1594" y="2487"/>
                    </a:cubicBezTo>
                    <a:cubicBezTo>
                      <a:pt x="1315" y="3104"/>
                      <a:pt x="1086" y="3731"/>
                      <a:pt x="897" y="437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8" name="Freeform: Shape 2397">
                <a:extLst>
                  <a:ext uri="{FF2B5EF4-FFF2-40B4-BE49-F238E27FC236}">
                    <a16:creationId xmlns:a16="http://schemas.microsoft.com/office/drawing/2014/main" id="{F642ECEB-6FF8-4EB8-A3EB-752EC9A6B0EE}"/>
                  </a:ext>
                </a:extLst>
              </p:cNvPr>
              <p:cNvSpPr/>
              <p:nvPr/>
            </p:nvSpPr>
            <p:spPr>
              <a:xfrm>
                <a:off x="-818245" y="1125636"/>
                <a:ext cx="3288" cy="7063"/>
              </a:xfrm>
              <a:custGeom>
                <a:avLst/>
                <a:gdLst>
                  <a:gd name="connsiteX0" fmla="*/ 498 w 3288"/>
                  <a:gd name="connsiteY0" fmla="*/ 0 h 7063"/>
                  <a:gd name="connsiteX1" fmla="*/ 3288 w 3288"/>
                  <a:gd name="connsiteY1" fmla="*/ 7064 h 7063"/>
                  <a:gd name="connsiteX2" fmla="*/ 0 w 3288"/>
                  <a:gd name="connsiteY2" fmla="*/ 2089 h 7063"/>
                  <a:gd name="connsiteX3" fmla="*/ 498 w 3288"/>
                  <a:gd name="connsiteY3" fmla="*/ 0 h 7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8" h="7063">
                    <a:moveTo>
                      <a:pt x="498" y="0"/>
                    </a:moveTo>
                    <a:cubicBezTo>
                      <a:pt x="1096" y="2477"/>
                      <a:pt x="2033" y="4855"/>
                      <a:pt x="3288" y="7064"/>
                    </a:cubicBezTo>
                    <a:cubicBezTo>
                      <a:pt x="2093" y="5173"/>
                      <a:pt x="997" y="3482"/>
                      <a:pt x="0" y="2089"/>
                    </a:cubicBezTo>
                    <a:cubicBezTo>
                      <a:pt x="239" y="1413"/>
                      <a:pt x="399" y="706"/>
                      <a:pt x="4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99" name="Freeform: Shape 2398">
                <a:extLst>
                  <a:ext uri="{FF2B5EF4-FFF2-40B4-BE49-F238E27FC236}">
                    <a16:creationId xmlns:a16="http://schemas.microsoft.com/office/drawing/2014/main" id="{5F2A4FC9-5C26-4377-BED3-5576A289A59B}"/>
                  </a:ext>
                </a:extLst>
              </p:cNvPr>
              <p:cNvSpPr/>
              <p:nvPr/>
            </p:nvSpPr>
            <p:spPr>
              <a:xfrm>
                <a:off x="-809576" y="1141454"/>
                <a:ext cx="2889" cy="4874"/>
              </a:xfrm>
              <a:custGeom>
                <a:avLst/>
                <a:gdLst>
                  <a:gd name="connsiteX0" fmla="*/ 2292 w 2889"/>
                  <a:gd name="connsiteY0" fmla="*/ 3184 h 4874"/>
                  <a:gd name="connsiteX1" fmla="*/ 2890 w 2889"/>
                  <a:gd name="connsiteY1" fmla="*/ 4875 h 4874"/>
                  <a:gd name="connsiteX2" fmla="*/ 0 w 2889"/>
                  <a:gd name="connsiteY2" fmla="*/ 0 h 4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89" h="4874">
                    <a:moveTo>
                      <a:pt x="2292" y="3184"/>
                    </a:moveTo>
                    <a:cubicBezTo>
                      <a:pt x="2421" y="3771"/>
                      <a:pt x="2621" y="4338"/>
                      <a:pt x="2890" y="4875"/>
                    </a:cubicBezTo>
                    <a:cubicBezTo>
                      <a:pt x="1893" y="3184"/>
                      <a:pt x="997" y="149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0" name="Freeform: Shape 2399">
                <a:extLst>
                  <a:ext uri="{FF2B5EF4-FFF2-40B4-BE49-F238E27FC236}">
                    <a16:creationId xmlns:a16="http://schemas.microsoft.com/office/drawing/2014/main" id="{D43FAF26-A457-4C41-93FA-D91332FF87C5}"/>
                  </a:ext>
                </a:extLst>
              </p:cNvPr>
              <p:cNvSpPr/>
              <p:nvPr/>
            </p:nvSpPr>
            <p:spPr>
              <a:xfrm>
                <a:off x="-785363" y="1200649"/>
                <a:ext cx="2092" cy="6367"/>
              </a:xfrm>
              <a:custGeom>
                <a:avLst/>
                <a:gdLst>
                  <a:gd name="connsiteX0" fmla="*/ 2092 w 2092"/>
                  <a:gd name="connsiteY0" fmla="*/ 6367 h 6367"/>
                  <a:gd name="connsiteX1" fmla="*/ 0 w 2092"/>
                  <a:gd name="connsiteY1" fmla="*/ 1691 h 6367"/>
                  <a:gd name="connsiteX2" fmla="*/ 996 w 2092"/>
                  <a:gd name="connsiteY2" fmla="*/ 0 h 6367"/>
                  <a:gd name="connsiteX3" fmla="*/ 2092 w 2092"/>
                  <a:gd name="connsiteY3" fmla="*/ 6367 h 6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2" h="6367">
                    <a:moveTo>
                      <a:pt x="2092" y="6367"/>
                    </a:moveTo>
                    <a:cubicBezTo>
                      <a:pt x="1226" y="4895"/>
                      <a:pt x="518" y="3323"/>
                      <a:pt x="0" y="1691"/>
                    </a:cubicBezTo>
                    <a:cubicBezTo>
                      <a:pt x="409" y="1174"/>
                      <a:pt x="747" y="607"/>
                      <a:pt x="996" y="0"/>
                    </a:cubicBezTo>
                    <a:cubicBezTo>
                      <a:pt x="548" y="2189"/>
                      <a:pt x="937" y="4457"/>
                      <a:pt x="2092" y="63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1" name="Freeform: Shape 2400">
                <a:extLst>
                  <a:ext uri="{FF2B5EF4-FFF2-40B4-BE49-F238E27FC236}">
                    <a16:creationId xmlns:a16="http://schemas.microsoft.com/office/drawing/2014/main" id="{A780FDE2-E402-4C89-A7AF-A3932FF7E4A6}"/>
                  </a:ext>
                </a:extLst>
              </p:cNvPr>
              <p:cNvSpPr/>
              <p:nvPr/>
            </p:nvSpPr>
            <p:spPr>
              <a:xfrm>
                <a:off x="-782074" y="1186224"/>
                <a:ext cx="1839" cy="9451"/>
              </a:xfrm>
              <a:custGeom>
                <a:avLst/>
                <a:gdLst>
                  <a:gd name="connsiteX0" fmla="*/ 897 w 1839"/>
                  <a:gd name="connsiteY0" fmla="*/ 8158 h 9451"/>
                  <a:gd name="connsiteX1" fmla="*/ 0 w 1839"/>
                  <a:gd name="connsiteY1" fmla="*/ 9451 h 9451"/>
                  <a:gd name="connsiteX2" fmla="*/ 1794 w 1839"/>
                  <a:gd name="connsiteY2" fmla="*/ 0 h 9451"/>
                  <a:gd name="connsiteX3" fmla="*/ 897 w 1839"/>
                  <a:gd name="connsiteY3" fmla="*/ 8158 h 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39" h="9451">
                    <a:moveTo>
                      <a:pt x="897" y="8158"/>
                    </a:moveTo>
                    <a:lnTo>
                      <a:pt x="0" y="9451"/>
                    </a:lnTo>
                    <a:cubicBezTo>
                      <a:pt x="996" y="6387"/>
                      <a:pt x="1594" y="3213"/>
                      <a:pt x="1794" y="0"/>
                    </a:cubicBezTo>
                    <a:cubicBezTo>
                      <a:pt x="1963" y="2746"/>
                      <a:pt x="1664" y="5512"/>
                      <a:pt x="897" y="815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2" name="Freeform: Shape 2401">
                <a:extLst>
                  <a:ext uri="{FF2B5EF4-FFF2-40B4-BE49-F238E27FC236}">
                    <a16:creationId xmlns:a16="http://schemas.microsoft.com/office/drawing/2014/main" id="{1B1F8671-E417-48A8-AAF2-28D4C162C9C2}"/>
                  </a:ext>
                </a:extLst>
              </p:cNvPr>
              <p:cNvSpPr/>
              <p:nvPr/>
            </p:nvSpPr>
            <p:spPr>
              <a:xfrm>
                <a:off x="-782274" y="1208509"/>
                <a:ext cx="8668" cy="6864"/>
              </a:xfrm>
              <a:custGeom>
                <a:avLst/>
                <a:gdLst>
                  <a:gd name="connsiteX0" fmla="*/ 0 w 8668"/>
                  <a:gd name="connsiteY0" fmla="*/ 0 h 6864"/>
                  <a:gd name="connsiteX1" fmla="*/ 8669 w 8668"/>
                  <a:gd name="connsiteY1" fmla="*/ 6865 h 6864"/>
                  <a:gd name="connsiteX2" fmla="*/ 0 w 8668"/>
                  <a:gd name="connsiteY2" fmla="*/ 0 h 6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68" h="6864">
                    <a:moveTo>
                      <a:pt x="0" y="0"/>
                    </a:moveTo>
                    <a:cubicBezTo>
                      <a:pt x="2421" y="2825"/>
                      <a:pt x="5371" y="5153"/>
                      <a:pt x="8669" y="6865"/>
                    </a:cubicBezTo>
                    <a:cubicBezTo>
                      <a:pt x="5291" y="5273"/>
                      <a:pt x="2322" y="292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3" name="Freeform: Shape 2402">
                <a:extLst>
                  <a:ext uri="{FF2B5EF4-FFF2-40B4-BE49-F238E27FC236}">
                    <a16:creationId xmlns:a16="http://schemas.microsoft.com/office/drawing/2014/main" id="{C93FEEA0-ED0F-425D-BD8C-E48B4DB859A5}"/>
                  </a:ext>
                </a:extLst>
              </p:cNvPr>
              <p:cNvSpPr/>
              <p:nvPr/>
            </p:nvSpPr>
            <p:spPr>
              <a:xfrm>
                <a:off x="-763242" y="1218132"/>
                <a:ext cx="11957" cy="2813"/>
              </a:xfrm>
              <a:custGeom>
                <a:avLst/>
                <a:gdLst>
                  <a:gd name="connsiteX0" fmla="*/ 11957 w 11957"/>
                  <a:gd name="connsiteY0" fmla="*/ 2813 h 2813"/>
                  <a:gd name="connsiteX1" fmla="*/ 0 w 11957"/>
                  <a:gd name="connsiteY1" fmla="*/ 2813 h 2813"/>
                  <a:gd name="connsiteX2" fmla="*/ 11957 w 11957"/>
                  <a:gd name="connsiteY2" fmla="*/ 2813 h 2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57" h="2813">
                    <a:moveTo>
                      <a:pt x="11957" y="2813"/>
                    </a:moveTo>
                    <a:cubicBezTo>
                      <a:pt x="7772" y="127"/>
                      <a:pt x="3487" y="-868"/>
                      <a:pt x="0" y="2813"/>
                    </a:cubicBezTo>
                    <a:cubicBezTo>
                      <a:pt x="2989" y="-1465"/>
                      <a:pt x="7473" y="-371"/>
                      <a:pt x="11957" y="281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4" name="Freeform: Shape 2403">
                <a:extLst>
                  <a:ext uri="{FF2B5EF4-FFF2-40B4-BE49-F238E27FC236}">
                    <a16:creationId xmlns:a16="http://schemas.microsoft.com/office/drawing/2014/main" id="{1C15A876-6A60-4152-8870-8A6268B7AAD1}"/>
                  </a:ext>
                </a:extLst>
              </p:cNvPr>
              <p:cNvSpPr/>
              <p:nvPr/>
            </p:nvSpPr>
            <p:spPr>
              <a:xfrm>
                <a:off x="-710231" y="1291581"/>
                <a:ext cx="5879" cy="3979"/>
              </a:xfrm>
              <a:custGeom>
                <a:avLst/>
                <a:gdLst>
                  <a:gd name="connsiteX0" fmla="*/ 0 w 5879"/>
                  <a:gd name="connsiteY0" fmla="*/ 3980 h 3979"/>
                  <a:gd name="connsiteX1" fmla="*/ 5879 w 5879"/>
                  <a:gd name="connsiteY1" fmla="*/ 0 h 3979"/>
                  <a:gd name="connsiteX2" fmla="*/ 0 w 5879"/>
                  <a:gd name="connsiteY2" fmla="*/ 3980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9" h="3979">
                    <a:moveTo>
                      <a:pt x="0" y="3980"/>
                    </a:moveTo>
                    <a:cubicBezTo>
                      <a:pt x="1784" y="2418"/>
                      <a:pt x="3767" y="1074"/>
                      <a:pt x="5879" y="0"/>
                    </a:cubicBezTo>
                    <a:cubicBezTo>
                      <a:pt x="3986" y="1194"/>
                      <a:pt x="1096" y="3084"/>
                      <a:pt x="0" y="398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5" name="Freeform: Shape 2404">
                <a:extLst>
                  <a:ext uri="{FF2B5EF4-FFF2-40B4-BE49-F238E27FC236}">
                    <a16:creationId xmlns:a16="http://schemas.microsoft.com/office/drawing/2014/main" id="{BC78771C-58EB-4C9F-9766-DFB6F2B2C0C7}"/>
                  </a:ext>
                </a:extLst>
              </p:cNvPr>
              <p:cNvSpPr/>
              <p:nvPr/>
            </p:nvSpPr>
            <p:spPr>
              <a:xfrm>
                <a:off x="-642373" y="1263996"/>
                <a:ext cx="10661" cy="2315"/>
              </a:xfrm>
              <a:custGeom>
                <a:avLst/>
                <a:gdLst>
                  <a:gd name="connsiteX0" fmla="*/ 10662 w 10661"/>
                  <a:gd name="connsiteY0" fmla="*/ 823 h 2315"/>
                  <a:gd name="connsiteX1" fmla="*/ 0 w 10661"/>
                  <a:gd name="connsiteY1" fmla="*/ 2315 h 2315"/>
                  <a:gd name="connsiteX2" fmla="*/ 10662 w 10661"/>
                  <a:gd name="connsiteY2" fmla="*/ 823 h 2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661" h="2315">
                    <a:moveTo>
                      <a:pt x="10662" y="823"/>
                    </a:moveTo>
                    <a:cubicBezTo>
                      <a:pt x="7075" y="-430"/>
                      <a:pt x="3099" y="127"/>
                      <a:pt x="0" y="2315"/>
                    </a:cubicBezTo>
                    <a:cubicBezTo>
                      <a:pt x="2890" y="-570"/>
                      <a:pt x="6278" y="-371"/>
                      <a:pt x="10662" y="82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6" name="Freeform: Shape 2405">
                <a:extLst>
                  <a:ext uri="{FF2B5EF4-FFF2-40B4-BE49-F238E27FC236}">
                    <a16:creationId xmlns:a16="http://schemas.microsoft.com/office/drawing/2014/main" id="{7CC21868-662C-4392-B3FA-E46FD6406CAC}"/>
                  </a:ext>
                </a:extLst>
              </p:cNvPr>
              <p:cNvSpPr/>
              <p:nvPr/>
            </p:nvSpPr>
            <p:spPr>
              <a:xfrm>
                <a:off x="-609690" y="1264356"/>
                <a:ext cx="27800" cy="4542"/>
              </a:xfrm>
              <a:custGeom>
                <a:avLst/>
                <a:gdLst>
                  <a:gd name="connsiteX0" fmla="*/ 27801 w 27800"/>
                  <a:gd name="connsiteY0" fmla="*/ 861 h 4542"/>
                  <a:gd name="connsiteX1" fmla="*/ 5480 w 27800"/>
                  <a:gd name="connsiteY1" fmla="*/ 3647 h 4542"/>
                  <a:gd name="connsiteX2" fmla="*/ 0 w 27800"/>
                  <a:gd name="connsiteY2" fmla="*/ 4542 h 4542"/>
                  <a:gd name="connsiteX3" fmla="*/ 27801 w 27800"/>
                  <a:gd name="connsiteY3" fmla="*/ 861 h 4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800" h="4542">
                    <a:moveTo>
                      <a:pt x="27801" y="861"/>
                    </a:moveTo>
                    <a:cubicBezTo>
                      <a:pt x="20248" y="-163"/>
                      <a:pt x="12555" y="802"/>
                      <a:pt x="5480" y="3647"/>
                    </a:cubicBezTo>
                    <a:cubicBezTo>
                      <a:pt x="3687" y="4134"/>
                      <a:pt x="1853" y="4443"/>
                      <a:pt x="0" y="4542"/>
                    </a:cubicBezTo>
                    <a:cubicBezTo>
                      <a:pt x="9267" y="3149"/>
                      <a:pt x="20327" y="-2024"/>
                      <a:pt x="27801" y="86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7" name="Freeform: Shape 2406">
                <a:extLst>
                  <a:ext uri="{FF2B5EF4-FFF2-40B4-BE49-F238E27FC236}">
                    <a16:creationId xmlns:a16="http://schemas.microsoft.com/office/drawing/2014/main" id="{1BA543DE-8FBF-4E98-85B6-2BE6092925BA}"/>
                  </a:ext>
                </a:extLst>
              </p:cNvPr>
              <p:cNvSpPr/>
              <p:nvPr/>
            </p:nvSpPr>
            <p:spPr>
              <a:xfrm>
                <a:off x="-551996" y="1263916"/>
                <a:ext cx="5878" cy="932"/>
              </a:xfrm>
              <a:custGeom>
                <a:avLst/>
                <a:gdLst>
                  <a:gd name="connsiteX0" fmla="*/ 0 w 5878"/>
                  <a:gd name="connsiteY0" fmla="*/ 7 h 932"/>
                  <a:gd name="connsiteX1" fmla="*/ 5879 w 5878"/>
                  <a:gd name="connsiteY1" fmla="*/ 604 h 932"/>
                  <a:gd name="connsiteX2" fmla="*/ 997 w 5878"/>
                  <a:gd name="connsiteY2" fmla="*/ 604 h 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8" h="932">
                    <a:moveTo>
                      <a:pt x="0" y="7"/>
                    </a:moveTo>
                    <a:cubicBezTo>
                      <a:pt x="1973" y="-42"/>
                      <a:pt x="3956" y="157"/>
                      <a:pt x="5879" y="604"/>
                    </a:cubicBezTo>
                    <a:cubicBezTo>
                      <a:pt x="4285" y="1042"/>
                      <a:pt x="2591" y="1042"/>
                      <a:pt x="997" y="60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8" name="Freeform: Shape 2407">
                <a:extLst>
                  <a:ext uri="{FF2B5EF4-FFF2-40B4-BE49-F238E27FC236}">
                    <a16:creationId xmlns:a16="http://schemas.microsoft.com/office/drawing/2014/main" id="{94019E3B-18FD-4537-896B-BEF4C39D6AEC}"/>
                  </a:ext>
                </a:extLst>
              </p:cNvPr>
              <p:cNvSpPr/>
              <p:nvPr/>
            </p:nvSpPr>
            <p:spPr>
              <a:xfrm>
                <a:off x="-541334" y="1258054"/>
                <a:ext cx="2790" cy="4377"/>
              </a:xfrm>
              <a:custGeom>
                <a:avLst/>
                <a:gdLst>
                  <a:gd name="connsiteX0" fmla="*/ 0 w 2790"/>
                  <a:gd name="connsiteY0" fmla="*/ 4377 h 4377"/>
                  <a:gd name="connsiteX1" fmla="*/ 2790 w 2790"/>
                  <a:gd name="connsiteY1" fmla="*/ 0 h 4377"/>
                  <a:gd name="connsiteX2" fmla="*/ 2092 w 2790"/>
                  <a:gd name="connsiteY2" fmla="*/ 2089 h 4377"/>
                  <a:gd name="connsiteX3" fmla="*/ 0 w 2790"/>
                  <a:gd name="connsiteY3" fmla="*/ 4377 h 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90" h="4377">
                    <a:moveTo>
                      <a:pt x="0" y="4377"/>
                    </a:moveTo>
                    <a:cubicBezTo>
                      <a:pt x="1166" y="3084"/>
                      <a:pt x="2112" y="1602"/>
                      <a:pt x="2790" y="0"/>
                    </a:cubicBezTo>
                    <a:lnTo>
                      <a:pt x="2092" y="2089"/>
                    </a:lnTo>
                    <a:cubicBezTo>
                      <a:pt x="1475" y="2925"/>
                      <a:pt x="777" y="3691"/>
                      <a:pt x="0" y="437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09" name="Freeform: Shape 2408">
                <a:extLst>
                  <a:ext uri="{FF2B5EF4-FFF2-40B4-BE49-F238E27FC236}">
                    <a16:creationId xmlns:a16="http://schemas.microsoft.com/office/drawing/2014/main" id="{6D5FF40F-7AD5-434F-A4F2-36A4B4D97771}"/>
                  </a:ext>
                </a:extLst>
              </p:cNvPr>
              <p:cNvSpPr/>
              <p:nvPr/>
            </p:nvSpPr>
            <p:spPr>
              <a:xfrm>
                <a:off x="-532267" y="1230297"/>
                <a:ext cx="13153" cy="11938"/>
              </a:xfrm>
              <a:custGeom>
                <a:avLst/>
                <a:gdLst>
                  <a:gd name="connsiteX0" fmla="*/ 10961 w 13153"/>
                  <a:gd name="connsiteY0" fmla="*/ 0 h 11938"/>
                  <a:gd name="connsiteX1" fmla="*/ 13153 w 13153"/>
                  <a:gd name="connsiteY1" fmla="*/ 1492 h 11938"/>
                  <a:gd name="connsiteX2" fmla="*/ 0 w 13153"/>
                  <a:gd name="connsiteY2" fmla="*/ 11939 h 11938"/>
                  <a:gd name="connsiteX3" fmla="*/ 10961 w 13153"/>
                  <a:gd name="connsiteY3" fmla="*/ 0 h 11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53" h="11938">
                    <a:moveTo>
                      <a:pt x="10961" y="0"/>
                    </a:moveTo>
                    <a:cubicBezTo>
                      <a:pt x="11738" y="428"/>
                      <a:pt x="12466" y="925"/>
                      <a:pt x="13153" y="1492"/>
                    </a:cubicBezTo>
                    <a:cubicBezTo>
                      <a:pt x="7972" y="-895"/>
                      <a:pt x="4085" y="3184"/>
                      <a:pt x="0" y="11939"/>
                    </a:cubicBezTo>
                    <a:cubicBezTo>
                      <a:pt x="2491" y="5671"/>
                      <a:pt x="5480" y="398"/>
                      <a:pt x="1096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10" name="Freeform: Shape 2409">
                <a:extLst>
                  <a:ext uri="{FF2B5EF4-FFF2-40B4-BE49-F238E27FC236}">
                    <a16:creationId xmlns:a16="http://schemas.microsoft.com/office/drawing/2014/main" id="{6E4DABD2-095C-49E1-B13D-83F627D99D25}"/>
                  </a:ext>
                </a:extLst>
              </p:cNvPr>
              <p:cNvSpPr/>
              <p:nvPr/>
            </p:nvSpPr>
            <p:spPr>
              <a:xfrm>
                <a:off x="-491213" y="1269893"/>
                <a:ext cx="1594" cy="4178"/>
              </a:xfrm>
              <a:custGeom>
                <a:avLst/>
                <a:gdLst>
                  <a:gd name="connsiteX0" fmla="*/ 0 w 1594"/>
                  <a:gd name="connsiteY0" fmla="*/ 0 h 4178"/>
                  <a:gd name="connsiteX1" fmla="*/ 1594 w 1594"/>
                  <a:gd name="connsiteY1" fmla="*/ 4178 h 4178"/>
                  <a:gd name="connsiteX2" fmla="*/ 0 w 1594"/>
                  <a:gd name="connsiteY2" fmla="*/ 0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4" h="4178">
                    <a:moveTo>
                      <a:pt x="0" y="0"/>
                    </a:moveTo>
                    <a:cubicBezTo>
                      <a:pt x="727" y="1313"/>
                      <a:pt x="1265" y="2716"/>
                      <a:pt x="1594" y="4178"/>
                    </a:cubicBezTo>
                    <a:cubicBezTo>
                      <a:pt x="707" y="2945"/>
                      <a:pt x="159" y="150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11" name="Freeform: Shape 2410">
                <a:extLst>
                  <a:ext uri="{FF2B5EF4-FFF2-40B4-BE49-F238E27FC236}">
                    <a16:creationId xmlns:a16="http://schemas.microsoft.com/office/drawing/2014/main" id="{E3B98260-1759-4F34-AB8D-A117CD68D791}"/>
                  </a:ext>
                </a:extLst>
              </p:cNvPr>
              <p:cNvSpPr/>
              <p:nvPr/>
            </p:nvSpPr>
            <p:spPr>
              <a:xfrm>
                <a:off x="-487726" y="1275961"/>
                <a:ext cx="3686" cy="1890"/>
              </a:xfrm>
              <a:custGeom>
                <a:avLst/>
                <a:gdLst>
                  <a:gd name="connsiteX0" fmla="*/ 0 w 3686"/>
                  <a:gd name="connsiteY0" fmla="*/ 0 h 1890"/>
                  <a:gd name="connsiteX1" fmla="*/ 3687 w 3686"/>
                  <a:gd name="connsiteY1" fmla="*/ 1890 h 1890"/>
                  <a:gd name="connsiteX2" fmla="*/ 0 w 3686"/>
                  <a:gd name="connsiteY2" fmla="*/ 0 h 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86" h="1890">
                    <a:moveTo>
                      <a:pt x="0" y="0"/>
                    </a:moveTo>
                    <a:cubicBezTo>
                      <a:pt x="1445" y="70"/>
                      <a:pt x="2790" y="756"/>
                      <a:pt x="3687" y="1890"/>
                    </a:cubicBezTo>
                    <a:cubicBezTo>
                      <a:pt x="2352" y="1482"/>
                      <a:pt x="1106" y="84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12" name="Freeform: Shape 2411">
                <a:extLst>
                  <a:ext uri="{FF2B5EF4-FFF2-40B4-BE49-F238E27FC236}">
                    <a16:creationId xmlns:a16="http://schemas.microsoft.com/office/drawing/2014/main" id="{1AFAD50B-E620-485E-99BC-3B9F1F8063BD}"/>
                  </a:ext>
                </a:extLst>
              </p:cNvPr>
              <p:cNvSpPr/>
              <p:nvPr/>
            </p:nvSpPr>
            <p:spPr>
              <a:xfrm>
                <a:off x="-480452" y="1198859"/>
                <a:ext cx="9964" cy="17410"/>
              </a:xfrm>
              <a:custGeom>
                <a:avLst/>
                <a:gdLst>
                  <a:gd name="connsiteX0" fmla="*/ 0 w 9964"/>
                  <a:gd name="connsiteY0" fmla="*/ 10446 h 17410"/>
                  <a:gd name="connsiteX1" fmla="*/ 0 w 9964"/>
                  <a:gd name="connsiteY1" fmla="*/ 0 h 17410"/>
                  <a:gd name="connsiteX2" fmla="*/ 0 w 9964"/>
                  <a:gd name="connsiteY2" fmla="*/ 17410 h 17410"/>
                  <a:gd name="connsiteX3" fmla="*/ 0 w 9964"/>
                  <a:gd name="connsiteY3" fmla="*/ 10446 h 17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4" h="17410">
                    <a:moveTo>
                      <a:pt x="0" y="10446"/>
                    </a:moveTo>
                    <a:lnTo>
                      <a:pt x="0" y="0"/>
                    </a:lnTo>
                    <a:cubicBezTo>
                      <a:pt x="0" y="5671"/>
                      <a:pt x="0" y="11540"/>
                      <a:pt x="0" y="17410"/>
                    </a:cubicBezTo>
                    <a:cubicBezTo>
                      <a:pt x="0" y="15222"/>
                      <a:pt x="0" y="12834"/>
                      <a:pt x="0" y="1044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13" name="Freeform: Shape 2412">
                <a:extLst>
                  <a:ext uri="{FF2B5EF4-FFF2-40B4-BE49-F238E27FC236}">
                    <a16:creationId xmlns:a16="http://schemas.microsoft.com/office/drawing/2014/main" id="{4B59479B-51E6-484E-B857-94B9E47CD5C4}"/>
                  </a:ext>
                </a:extLst>
              </p:cNvPr>
              <p:cNvSpPr/>
              <p:nvPr/>
            </p:nvSpPr>
            <p:spPr>
              <a:xfrm>
                <a:off x="-479954" y="1267505"/>
                <a:ext cx="498" cy="11341"/>
              </a:xfrm>
              <a:custGeom>
                <a:avLst/>
                <a:gdLst>
                  <a:gd name="connsiteX0" fmla="*/ 0 w 498"/>
                  <a:gd name="connsiteY0" fmla="*/ 0 h 11341"/>
                  <a:gd name="connsiteX1" fmla="*/ 498 w 498"/>
                  <a:gd name="connsiteY1" fmla="*/ 11342 h 11341"/>
                  <a:gd name="connsiteX2" fmla="*/ 498 w 498"/>
                  <a:gd name="connsiteY2" fmla="*/ 11342 h 11341"/>
                  <a:gd name="connsiteX3" fmla="*/ 0 w 498"/>
                  <a:gd name="connsiteY3" fmla="*/ 0 h 11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" h="11341">
                    <a:moveTo>
                      <a:pt x="0" y="0"/>
                    </a:moveTo>
                    <a:cubicBezTo>
                      <a:pt x="0" y="3781"/>
                      <a:pt x="0" y="7661"/>
                      <a:pt x="498" y="11342"/>
                    </a:cubicBezTo>
                    <a:lnTo>
                      <a:pt x="498" y="11342"/>
                    </a:lnTo>
                    <a:cubicBezTo>
                      <a:pt x="0" y="7561"/>
                      <a:pt x="0" y="388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414" name="Freeform: Shape 2413">
                <a:extLst>
                  <a:ext uri="{FF2B5EF4-FFF2-40B4-BE49-F238E27FC236}">
                    <a16:creationId xmlns:a16="http://schemas.microsoft.com/office/drawing/2014/main" id="{C5B932BB-15A2-47C5-9FBA-D8B885BF33D5}"/>
                  </a:ext>
                </a:extLst>
              </p:cNvPr>
              <p:cNvSpPr/>
              <p:nvPr/>
            </p:nvSpPr>
            <p:spPr>
              <a:xfrm>
                <a:off x="-477961" y="1185425"/>
                <a:ext cx="35573" cy="799"/>
              </a:xfrm>
              <a:custGeom>
                <a:avLst/>
                <a:gdLst>
                  <a:gd name="connsiteX0" fmla="*/ 35573 w 35573"/>
                  <a:gd name="connsiteY0" fmla="*/ 799 h 799"/>
                  <a:gd name="connsiteX1" fmla="*/ 0 w 35573"/>
                  <a:gd name="connsiteY1" fmla="*/ 103 h 799"/>
                  <a:gd name="connsiteX2" fmla="*/ 35573 w 35573"/>
                  <a:gd name="connsiteY2" fmla="*/ 799 h 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573" h="799">
                    <a:moveTo>
                      <a:pt x="35573" y="799"/>
                    </a:moveTo>
                    <a:cubicBezTo>
                      <a:pt x="23616" y="799"/>
                      <a:pt x="11658" y="799"/>
                      <a:pt x="0" y="103"/>
                    </a:cubicBezTo>
                    <a:cubicBezTo>
                      <a:pt x="8569" y="103"/>
                      <a:pt x="25609" y="-395"/>
                      <a:pt x="35573" y="79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64" name="Graphic 231">
              <a:extLst>
                <a:ext uri="{FF2B5EF4-FFF2-40B4-BE49-F238E27FC236}">
                  <a16:creationId xmlns:a16="http://schemas.microsoft.com/office/drawing/2014/main" id="{56FFCBBF-D8BA-40AF-9303-CED78CE4395B}"/>
                </a:ext>
              </a:extLst>
            </p:cNvPr>
            <p:cNvGrpSpPr/>
            <p:nvPr/>
          </p:nvGrpSpPr>
          <p:grpSpPr>
            <a:xfrm>
              <a:off x="1268301" y="597457"/>
              <a:ext cx="746334" cy="851711"/>
              <a:chOff x="1268301" y="597457"/>
              <a:chExt cx="746334" cy="851711"/>
            </a:xfrm>
            <a:solidFill>
              <a:srgbClr val="ECE8E4"/>
            </a:solidFill>
          </p:grpSpPr>
          <p:sp>
            <p:nvSpPr>
              <p:cNvPr id="2348" name="Freeform: Shape 2347">
                <a:extLst>
                  <a:ext uri="{FF2B5EF4-FFF2-40B4-BE49-F238E27FC236}">
                    <a16:creationId xmlns:a16="http://schemas.microsoft.com/office/drawing/2014/main" id="{A7327EAD-F01F-47C6-ABB8-681D376A21BD}"/>
                  </a:ext>
                </a:extLst>
              </p:cNvPr>
              <p:cNvSpPr/>
              <p:nvPr/>
            </p:nvSpPr>
            <p:spPr>
              <a:xfrm>
                <a:off x="1268301" y="597457"/>
                <a:ext cx="1395" cy="9948"/>
              </a:xfrm>
              <a:custGeom>
                <a:avLst/>
                <a:gdLst>
                  <a:gd name="connsiteX0" fmla="*/ 0 w 1395"/>
                  <a:gd name="connsiteY0" fmla="*/ 9949 h 9948"/>
                  <a:gd name="connsiteX1" fmla="*/ 1395 w 1395"/>
                  <a:gd name="connsiteY1" fmla="*/ 0 h 9948"/>
                  <a:gd name="connsiteX2" fmla="*/ 0 w 1395"/>
                  <a:gd name="connsiteY2" fmla="*/ 9949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5" h="9948">
                    <a:moveTo>
                      <a:pt x="0" y="9949"/>
                    </a:moveTo>
                    <a:cubicBezTo>
                      <a:pt x="598" y="6765"/>
                      <a:pt x="1096" y="3582"/>
                      <a:pt x="1395" y="0"/>
                    </a:cubicBezTo>
                    <a:cubicBezTo>
                      <a:pt x="1236" y="3353"/>
                      <a:pt x="767" y="6686"/>
                      <a:pt x="0" y="99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49" name="Freeform: Shape 2348">
                <a:extLst>
                  <a:ext uri="{FF2B5EF4-FFF2-40B4-BE49-F238E27FC236}">
                    <a16:creationId xmlns:a16="http://schemas.microsoft.com/office/drawing/2014/main" id="{61C3553D-9EA3-42EC-8DD7-8F82792AD5E1}"/>
                  </a:ext>
                </a:extLst>
              </p:cNvPr>
              <p:cNvSpPr/>
              <p:nvPr/>
            </p:nvSpPr>
            <p:spPr>
              <a:xfrm>
                <a:off x="1301084" y="701223"/>
                <a:ext cx="1893" cy="7063"/>
              </a:xfrm>
              <a:custGeom>
                <a:avLst/>
                <a:gdLst>
                  <a:gd name="connsiteX0" fmla="*/ 1096 w 1893"/>
                  <a:gd name="connsiteY0" fmla="*/ 2686 h 7063"/>
                  <a:gd name="connsiteX1" fmla="*/ 1893 w 1893"/>
                  <a:gd name="connsiteY1" fmla="*/ 7064 h 7063"/>
                  <a:gd name="connsiteX2" fmla="*/ 0 w 1893"/>
                  <a:gd name="connsiteY2" fmla="*/ 0 h 7063"/>
                  <a:gd name="connsiteX3" fmla="*/ 1096 w 1893"/>
                  <a:gd name="connsiteY3" fmla="*/ 2686 h 7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93" h="7063">
                    <a:moveTo>
                      <a:pt x="1096" y="2686"/>
                    </a:moveTo>
                    <a:cubicBezTo>
                      <a:pt x="1465" y="4129"/>
                      <a:pt x="1734" y="5591"/>
                      <a:pt x="1893" y="7064"/>
                    </a:cubicBezTo>
                    <a:cubicBezTo>
                      <a:pt x="1295" y="4676"/>
                      <a:pt x="698" y="2388"/>
                      <a:pt x="0" y="0"/>
                    </a:cubicBezTo>
                    <a:cubicBezTo>
                      <a:pt x="299" y="895"/>
                      <a:pt x="299" y="1791"/>
                      <a:pt x="1096" y="26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0" name="Freeform: Shape 2349">
                <a:extLst>
                  <a:ext uri="{FF2B5EF4-FFF2-40B4-BE49-F238E27FC236}">
                    <a16:creationId xmlns:a16="http://schemas.microsoft.com/office/drawing/2014/main" id="{23AB7EE1-DE82-49FE-AADD-8E944A7D97E7}"/>
                  </a:ext>
                </a:extLst>
              </p:cNvPr>
              <p:cNvSpPr/>
              <p:nvPr/>
            </p:nvSpPr>
            <p:spPr>
              <a:xfrm>
                <a:off x="1308158" y="796333"/>
                <a:ext cx="1607" cy="26065"/>
              </a:xfrm>
              <a:custGeom>
                <a:avLst/>
                <a:gdLst>
                  <a:gd name="connsiteX0" fmla="*/ 0 w 1607"/>
                  <a:gd name="connsiteY0" fmla="*/ 26066 h 26065"/>
                  <a:gd name="connsiteX1" fmla="*/ 1196 w 1607"/>
                  <a:gd name="connsiteY1" fmla="*/ 0 h 26065"/>
                  <a:gd name="connsiteX2" fmla="*/ 0 w 1607"/>
                  <a:gd name="connsiteY2" fmla="*/ 26066 h 26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7" h="26065">
                    <a:moveTo>
                      <a:pt x="0" y="26066"/>
                    </a:moveTo>
                    <a:cubicBezTo>
                      <a:pt x="1305" y="17440"/>
                      <a:pt x="1704" y="8705"/>
                      <a:pt x="1196" y="0"/>
                    </a:cubicBezTo>
                    <a:cubicBezTo>
                      <a:pt x="2013" y="8705"/>
                      <a:pt x="1614" y="17480"/>
                      <a:pt x="0" y="2606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1" name="Freeform: Shape 2350">
                <a:extLst>
                  <a:ext uri="{FF2B5EF4-FFF2-40B4-BE49-F238E27FC236}">
                    <a16:creationId xmlns:a16="http://schemas.microsoft.com/office/drawing/2014/main" id="{3DA46398-F74E-47CD-8D04-9026EE172D45}"/>
                  </a:ext>
                </a:extLst>
              </p:cNvPr>
              <p:cNvSpPr/>
              <p:nvPr/>
            </p:nvSpPr>
            <p:spPr>
              <a:xfrm>
                <a:off x="1308158" y="1079872"/>
                <a:ext cx="3387" cy="7362"/>
              </a:xfrm>
              <a:custGeom>
                <a:avLst/>
                <a:gdLst>
                  <a:gd name="connsiteX0" fmla="*/ 0 w 3387"/>
                  <a:gd name="connsiteY0" fmla="*/ 0 h 7362"/>
                  <a:gd name="connsiteX1" fmla="*/ 3388 w 3387"/>
                  <a:gd name="connsiteY1" fmla="*/ 7362 h 7362"/>
                  <a:gd name="connsiteX2" fmla="*/ 0 w 3387"/>
                  <a:gd name="connsiteY2" fmla="*/ 0 h 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7" h="7362">
                    <a:moveTo>
                      <a:pt x="0" y="0"/>
                    </a:moveTo>
                    <a:cubicBezTo>
                      <a:pt x="997" y="2388"/>
                      <a:pt x="2093" y="4875"/>
                      <a:pt x="3388" y="7362"/>
                    </a:cubicBezTo>
                    <a:cubicBezTo>
                      <a:pt x="1953" y="5064"/>
                      <a:pt x="817" y="258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2" name="Freeform: Shape 2351">
                <a:extLst>
                  <a:ext uri="{FF2B5EF4-FFF2-40B4-BE49-F238E27FC236}">
                    <a16:creationId xmlns:a16="http://schemas.microsoft.com/office/drawing/2014/main" id="{2FE7B458-6C64-4BA5-9C34-C26AE1197CFA}"/>
                  </a:ext>
                </a:extLst>
              </p:cNvPr>
              <p:cNvSpPr/>
              <p:nvPr/>
            </p:nvSpPr>
            <p:spPr>
              <a:xfrm>
                <a:off x="1313141" y="865078"/>
                <a:ext cx="654" cy="16415"/>
              </a:xfrm>
              <a:custGeom>
                <a:avLst/>
                <a:gdLst>
                  <a:gd name="connsiteX0" fmla="*/ 498 w 654"/>
                  <a:gd name="connsiteY0" fmla="*/ 16415 h 16415"/>
                  <a:gd name="connsiteX1" fmla="*/ 0 w 654"/>
                  <a:gd name="connsiteY1" fmla="*/ 0 h 16415"/>
                  <a:gd name="connsiteX2" fmla="*/ 498 w 654"/>
                  <a:gd name="connsiteY2" fmla="*/ 16415 h 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4" h="16415">
                    <a:moveTo>
                      <a:pt x="498" y="16415"/>
                    </a:moveTo>
                    <a:cubicBezTo>
                      <a:pt x="498" y="10844"/>
                      <a:pt x="498" y="5173"/>
                      <a:pt x="0" y="0"/>
                    </a:cubicBezTo>
                    <a:cubicBezTo>
                      <a:pt x="648" y="5442"/>
                      <a:pt x="817" y="10944"/>
                      <a:pt x="498" y="1641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3" name="Freeform: Shape 2352">
                <a:extLst>
                  <a:ext uri="{FF2B5EF4-FFF2-40B4-BE49-F238E27FC236}">
                    <a16:creationId xmlns:a16="http://schemas.microsoft.com/office/drawing/2014/main" id="{3EC9198C-1A24-470C-9DE2-922450A7151A}"/>
                  </a:ext>
                </a:extLst>
              </p:cNvPr>
              <p:cNvSpPr/>
              <p:nvPr/>
            </p:nvSpPr>
            <p:spPr>
              <a:xfrm>
                <a:off x="1315134" y="895223"/>
                <a:ext cx="2690" cy="6466"/>
              </a:xfrm>
              <a:custGeom>
                <a:avLst/>
                <a:gdLst>
                  <a:gd name="connsiteX0" fmla="*/ 2690 w 2690"/>
                  <a:gd name="connsiteY0" fmla="*/ 6467 h 6466"/>
                  <a:gd name="connsiteX1" fmla="*/ 0 w 2690"/>
                  <a:gd name="connsiteY1" fmla="*/ 0 h 6466"/>
                  <a:gd name="connsiteX2" fmla="*/ 2690 w 2690"/>
                  <a:gd name="connsiteY2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90" h="6466">
                    <a:moveTo>
                      <a:pt x="2690" y="6467"/>
                    </a:moveTo>
                    <a:cubicBezTo>
                      <a:pt x="1435" y="4477"/>
                      <a:pt x="518" y="2288"/>
                      <a:pt x="0" y="0"/>
                    </a:cubicBezTo>
                    <a:cubicBezTo>
                      <a:pt x="1056" y="2089"/>
                      <a:pt x="1953" y="4248"/>
                      <a:pt x="2690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4" name="Freeform: Shape 2353">
                <a:extLst>
                  <a:ext uri="{FF2B5EF4-FFF2-40B4-BE49-F238E27FC236}">
                    <a16:creationId xmlns:a16="http://schemas.microsoft.com/office/drawing/2014/main" id="{EF0A948B-5118-4C2F-B3EA-B5743A5D345F}"/>
                  </a:ext>
                </a:extLst>
              </p:cNvPr>
              <p:cNvSpPr/>
              <p:nvPr/>
            </p:nvSpPr>
            <p:spPr>
              <a:xfrm>
                <a:off x="1308457" y="1059576"/>
                <a:ext cx="12854" cy="11241"/>
              </a:xfrm>
              <a:custGeom>
                <a:avLst/>
                <a:gdLst>
                  <a:gd name="connsiteX0" fmla="*/ 0 w 12854"/>
                  <a:gd name="connsiteY0" fmla="*/ 11242 h 11241"/>
                  <a:gd name="connsiteX1" fmla="*/ 10662 w 12854"/>
                  <a:gd name="connsiteY1" fmla="*/ 1293 h 11241"/>
                  <a:gd name="connsiteX2" fmla="*/ 12854 w 12854"/>
                  <a:gd name="connsiteY2" fmla="*/ 0 h 11241"/>
                  <a:gd name="connsiteX3" fmla="*/ 0 w 12854"/>
                  <a:gd name="connsiteY3" fmla="*/ 11242 h 11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4" h="11241">
                    <a:moveTo>
                      <a:pt x="0" y="11242"/>
                    </a:moveTo>
                    <a:cubicBezTo>
                      <a:pt x="2302" y="6805"/>
                      <a:pt x="6068" y="3293"/>
                      <a:pt x="10662" y="1293"/>
                    </a:cubicBezTo>
                    <a:cubicBezTo>
                      <a:pt x="11360" y="806"/>
                      <a:pt x="12097" y="378"/>
                      <a:pt x="12854" y="0"/>
                    </a:cubicBezTo>
                    <a:cubicBezTo>
                      <a:pt x="7882" y="2885"/>
                      <a:pt x="3517" y="6705"/>
                      <a:pt x="0" y="1124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5" name="Freeform: Shape 2354">
                <a:extLst>
                  <a:ext uri="{FF2B5EF4-FFF2-40B4-BE49-F238E27FC236}">
                    <a16:creationId xmlns:a16="http://schemas.microsoft.com/office/drawing/2014/main" id="{67D5C3FE-01C5-4760-BCC3-E12BA675E3CD}"/>
                  </a:ext>
                </a:extLst>
              </p:cNvPr>
              <p:cNvSpPr/>
              <p:nvPr/>
            </p:nvSpPr>
            <p:spPr>
              <a:xfrm>
                <a:off x="1319219" y="1101162"/>
                <a:ext cx="6476" cy="8854"/>
              </a:xfrm>
              <a:custGeom>
                <a:avLst/>
                <a:gdLst>
                  <a:gd name="connsiteX0" fmla="*/ 0 w 6476"/>
                  <a:gd name="connsiteY0" fmla="*/ 0 h 8854"/>
                  <a:gd name="connsiteX1" fmla="*/ 6477 w 6476"/>
                  <a:gd name="connsiteY1" fmla="*/ 8854 h 8854"/>
                  <a:gd name="connsiteX2" fmla="*/ 0 w 6476"/>
                  <a:gd name="connsiteY2" fmla="*/ 0 h 8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76" h="8854">
                    <a:moveTo>
                      <a:pt x="0" y="0"/>
                    </a:moveTo>
                    <a:cubicBezTo>
                      <a:pt x="1973" y="3084"/>
                      <a:pt x="4135" y="6039"/>
                      <a:pt x="6477" y="8854"/>
                    </a:cubicBezTo>
                    <a:cubicBezTo>
                      <a:pt x="3358" y="6735"/>
                      <a:pt x="1076" y="361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6" name="Freeform: Shape 2355">
                <a:extLst>
                  <a:ext uri="{FF2B5EF4-FFF2-40B4-BE49-F238E27FC236}">
                    <a16:creationId xmlns:a16="http://schemas.microsoft.com/office/drawing/2014/main" id="{24B676FB-F9D9-41FF-89B0-67C56EE82F7D}"/>
                  </a:ext>
                </a:extLst>
              </p:cNvPr>
              <p:cNvSpPr/>
              <p:nvPr/>
            </p:nvSpPr>
            <p:spPr>
              <a:xfrm>
                <a:off x="1322607" y="1052413"/>
                <a:ext cx="7273" cy="6466"/>
              </a:xfrm>
              <a:custGeom>
                <a:avLst/>
                <a:gdLst>
                  <a:gd name="connsiteX0" fmla="*/ 7274 w 7273"/>
                  <a:gd name="connsiteY0" fmla="*/ 0 h 6466"/>
                  <a:gd name="connsiteX1" fmla="*/ 5480 w 7273"/>
                  <a:gd name="connsiteY1" fmla="*/ 2686 h 6466"/>
                  <a:gd name="connsiteX2" fmla="*/ 0 w 7273"/>
                  <a:gd name="connsiteY2" fmla="*/ 6467 h 6466"/>
                  <a:gd name="connsiteX3" fmla="*/ 7274 w 7273"/>
                  <a:gd name="connsiteY3" fmla="*/ 0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73" h="6466">
                    <a:moveTo>
                      <a:pt x="7274" y="0"/>
                    </a:moveTo>
                    <a:lnTo>
                      <a:pt x="5480" y="2686"/>
                    </a:lnTo>
                    <a:lnTo>
                      <a:pt x="0" y="6467"/>
                    </a:lnTo>
                    <a:cubicBezTo>
                      <a:pt x="2720" y="4666"/>
                      <a:pt x="5162" y="2487"/>
                      <a:pt x="727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7" name="Freeform: Shape 2356">
                <a:extLst>
                  <a:ext uri="{FF2B5EF4-FFF2-40B4-BE49-F238E27FC236}">
                    <a16:creationId xmlns:a16="http://schemas.microsoft.com/office/drawing/2014/main" id="{4CC32A1E-6A23-4CD4-87E3-11D922B50E8C}"/>
                  </a:ext>
                </a:extLst>
              </p:cNvPr>
              <p:cNvSpPr/>
              <p:nvPr/>
            </p:nvSpPr>
            <p:spPr>
              <a:xfrm>
                <a:off x="1331276" y="1112902"/>
                <a:ext cx="14049" cy="5073"/>
              </a:xfrm>
              <a:custGeom>
                <a:avLst/>
                <a:gdLst>
                  <a:gd name="connsiteX0" fmla="*/ 0 w 14049"/>
                  <a:gd name="connsiteY0" fmla="*/ 0 h 5073"/>
                  <a:gd name="connsiteX1" fmla="*/ 14050 w 14049"/>
                  <a:gd name="connsiteY1" fmla="*/ 5074 h 5073"/>
                  <a:gd name="connsiteX2" fmla="*/ 0 w 14049"/>
                  <a:gd name="connsiteY2" fmla="*/ 0 h 5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49" h="5073">
                    <a:moveTo>
                      <a:pt x="0" y="0"/>
                    </a:moveTo>
                    <a:cubicBezTo>
                      <a:pt x="5092" y="239"/>
                      <a:pt x="9984" y="2000"/>
                      <a:pt x="14050" y="5074"/>
                    </a:cubicBezTo>
                    <a:cubicBezTo>
                      <a:pt x="9267" y="3184"/>
                      <a:pt x="4285" y="199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8" name="Freeform: Shape 2357">
                <a:extLst>
                  <a:ext uri="{FF2B5EF4-FFF2-40B4-BE49-F238E27FC236}">
                    <a16:creationId xmlns:a16="http://schemas.microsoft.com/office/drawing/2014/main" id="{54AD1F78-92C4-4761-9FD0-2C0353A7DBDB}"/>
                  </a:ext>
                </a:extLst>
              </p:cNvPr>
              <p:cNvSpPr/>
              <p:nvPr/>
            </p:nvSpPr>
            <p:spPr>
              <a:xfrm>
                <a:off x="1336958" y="948648"/>
                <a:ext cx="794" cy="13629"/>
              </a:xfrm>
              <a:custGeom>
                <a:avLst/>
                <a:gdLst>
                  <a:gd name="connsiteX0" fmla="*/ 795 w 794"/>
                  <a:gd name="connsiteY0" fmla="*/ 13630 h 13629"/>
                  <a:gd name="connsiteX1" fmla="*/ 97 w 794"/>
                  <a:gd name="connsiteY1" fmla="*/ 0 h 13629"/>
                  <a:gd name="connsiteX2" fmla="*/ 795 w 794"/>
                  <a:gd name="connsiteY2" fmla="*/ 13630 h 13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4" h="13629">
                    <a:moveTo>
                      <a:pt x="795" y="13630"/>
                    </a:moveTo>
                    <a:cubicBezTo>
                      <a:pt x="77" y="9123"/>
                      <a:pt x="-152" y="4557"/>
                      <a:pt x="97" y="0"/>
                    </a:cubicBezTo>
                    <a:cubicBezTo>
                      <a:pt x="67" y="4557"/>
                      <a:pt x="307" y="9103"/>
                      <a:pt x="795" y="1363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59" name="Freeform: Shape 2358">
                <a:extLst>
                  <a:ext uri="{FF2B5EF4-FFF2-40B4-BE49-F238E27FC236}">
                    <a16:creationId xmlns:a16="http://schemas.microsoft.com/office/drawing/2014/main" id="{630DE1D4-16AB-45D3-91AF-2AC80DE39BCD}"/>
                  </a:ext>
                </a:extLst>
              </p:cNvPr>
              <p:cNvSpPr/>
              <p:nvPr/>
            </p:nvSpPr>
            <p:spPr>
              <a:xfrm>
                <a:off x="1341240" y="1001774"/>
                <a:ext cx="44" cy="4974"/>
              </a:xfrm>
              <a:custGeom>
                <a:avLst/>
                <a:gdLst>
                  <a:gd name="connsiteX0" fmla="*/ 0 w 44"/>
                  <a:gd name="connsiteY0" fmla="*/ 4974 h 4974"/>
                  <a:gd name="connsiteX1" fmla="*/ 0 w 44"/>
                  <a:gd name="connsiteY1" fmla="*/ 2587 h 4974"/>
                  <a:gd name="connsiteX2" fmla="*/ 0 w 44"/>
                  <a:gd name="connsiteY2" fmla="*/ 0 h 4974"/>
                  <a:gd name="connsiteX3" fmla="*/ 0 w 44"/>
                  <a:gd name="connsiteY3" fmla="*/ 4974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" h="4974">
                    <a:moveTo>
                      <a:pt x="0" y="4974"/>
                    </a:moveTo>
                    <a:cubicBezTo>
                      <a:pt x="40" y="4179"/>
                      <a:pt x="40" y="3383"/>
                      <a:pt x="0" y="2587"/>
                    </a:cubicBezTo>
                    <a:cubicBezTo>
                      <a:pt x="60" y="1721"/>
                      <a:pt x="60" y="866"/>
                      <a:pt x="0" y="0"/>
                    </a:cubicBezTo>
                    <a:cubicBezTo>
                      <a:pt x="0" y="1592"/>
                      <a:pt x="0" y="3383"/>
                      <a:pt x="0" y="49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0" name="Freeform: Shape 2359">
                <a:extLst>
                  <a:ext uri="{FF2B5EF4-FFF2-40B4-BE49-F238E27FC236}">
                    <a16:creationId xmlns:a16="http://schemas.microsoft.com/office/drawing/2014/main" id="{506E8AC2-DBB9-4376-A32A-BC20EB34E53E}"/>
                  </a:ext>
                </a:extLst>
              </p:cNvPr>
              <p:cNvSpPr/>
              <p:nvPr/>
            </p:nvSpPr>
            <p:spPr>
              <a:xfrm>
                <a:off x="1338052" y="1018786"/>
                <a:ext cx="3987" cy="19897"/>
              </a:xfrm>
              <a:custGeom>
                <a:avLst/>
                <a:gdLst>
                  <a:gd name="connsiteX0" fmla="*/ 0 w 3987"/>
                  <a:gd name="connsiteY0" fmla="*/ 19897 h 19897"/>
                  <a:gd name="connsiteX1" fmla="*/ 3886 w 3987"/>
                  <a:gd name="connsiteY1" fmla="*/ 0 h 19897"/>
                  <a:gd name="connsiteX2" fmla="*/ 3886 w 3987"/>
                  <a:gd name="connsiteY2" fmla="*/ 0 h 19897"/>
                  <a:gd name="connsiteX3" fmla="*/ 3886 w 3987"/>
                  <a:gd name="connsiteY3" fmla="*/ 0 h 19897"/>
                  <a:gd name="connsiteX4" fmla="*/ 0 w 3987"/>
                  <a:gd name="connsiteY4" fmla="*/ 19897 h 1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87" h="19897">
                    <a:moveTo>
                      <a:pt x="0" y="19897"/>
                    </a:moveTo>
                    <a:cubicBezTo>
                      <a:pt x="2451" y="13540"/>
                      <a:pt x="3767" y="6805"/>
                      <a:pt x="3886" y="0"/>
                    </a:cubicBezTo>
                    <a:cubicBezTo>
                      <a:pt x="3886" y="0"/>
                      <a:pt x="3886" y="0"/>
                      <a:pt x="3886" y="0"/>
                    </a:cubicBezTo>
                    <a:lnTo>
                      <a:pt x="3886" y="0"/>
                    </a:lnTo>
                    <a:cubicBezTo>
                      <a:pt x="4384" y="6855"/>
                      <a:pt x="3039" y="13729"/>
                      <a:pt x="0" y="198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1" name="Freeform: Shape 2360">
                <a:extLst>
                  <a:ext uri="{FF2B5EF4-FFF2-40B4-BE49-F238E27FC236}">
                    <a16:creationId xmlns:a16="http://schemas.microsoft.com/office/drawing/2014/main" id="{9B7CF9E7-D7E0-4443-88E1-653F2E2A8060}"/>
                  </a:ext>
                </a:extLst>
              </p:cNvPr>
              <p:cNvSpPr/>
              <p:nvPr/>
            </p:nvSpPr>
            <p:spPr>
              <a:xfrm>
                <a:off x="1341639" y="985657"/>
                <a:ext cx="1532" cy="9053"/>
              </a:xfrm>
              <a:custGeom>
                <a:avLst/>
                <a:gdLst>
                  <a:gd name="connsiteX0" fmla="*/ 598 w 1532"/>
                  <a:gd name="connsiteY0" fmla="*/ 9053 h 9053"/>
                  <a:gd name="connsiteX1" fmla="*/ 0 w 1532"/>
                  <a:gd name="connsiteY1" fmla="*/ 0 h 9053"/>
                  <a:gd name="connsiteX2" fmla="*/ 1395 w 1532"/>
                  <a:gd name="connsiteY2" fmla="*/ 5870 h 9053"/>
                  <a:gd name="connsiteX3" fmla="*/ 598 w 1532"/>
                  <a:gd name="connsiteY3" fmla="*/ 9053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2" h="9053">
                    <a:moveTo>
                      <a:pt x="598" y="9053"/>
                    </a:moveTo>
                    <a:cubicBezTo>
                      <a:pt x="598" y="6029"/>
                      <a:pt x="398" y="3005"/>
                      <a:pt x="0" y="0"/>
                    </a:cubicBezTo>
                    <a:cubicBezTo>
                      <a:pt x="0" y="2189"/>
                      <a:pt x="897" y="4079"/>
                      <a:pt x="1395" y="5870"/>
                    </a:cubicBezTo>
                    <a:cubicBezTo>
                      <a:pt x="1893" y="7661"/>
                      <a:pt x="897" y="7760"/>
                      <a:pt x="598" y="905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2" name="Freeform: Shape 2361">
                <a:extLst>
                  <a:ext uri="{FF2B5EF4-FFF2-40B4-BE49-F238E27FC236}">
                    <a16:creationId xmlns:a16="http://schemas.microsoft.com/office/drawing/2014/main" id="{D09715A6-DDA3-4DEA-BF88-302544EAD9D4}"/>
                  </a:ext>
                </a:extLst>
              </p:cNvPr>
              <p:cNvSpPr/>
              <p:nvPr/>
            </p:nvSpPr>
            <p:spPr>
              <a:xfrm>
                <a:off x="1354550" y="1136779"/>
                <a:ext cx="1296" cy="53723"/>
              </a:xfrm>
              <a:custGeom>
                <a:avLst/>
                <a:gdLst>
                  <a:gd name="connsiteX0" fmla="*/ 441 w 1296"/>
                  <a:gd name="connsiteY0" fmla="*/ 53723 h 53723"/>
                  <a:gd name="connsiteX1" fmla="*/ 441 w 1296"/>
                  <a:gd name="connsiteY1" fmla="*/ 0 h 53723"/>
                  <a:gd name="connsiteX2" fmla="*/ 441 w 1296"/>
                  <a:gd name="connsiteY2" fmla="*/ 53723 h 5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6" h="53723">
                    <a:moveTo>
                      <a:pt x="441" y="53723"/>
                    </a:moveTo>
                    <a:cubicBezTo>
                      <a:pt x="-1253" y="42481"/>
                      <a:pt x="2633" y="17808"/>
                      <a:pt x="441" y="0"/>
                    </a:cubicBezTo>
                    <a:cubicBezTo>
                      <a:pt x="3032" y="17311"/>
                      <a:pt x="-1253" y="39994"/>
                      <a:pt x="441" y="5372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3" name="Freeform: Shape 2362">
                <a:extLst>
                  <a:ext uri="{FF2B5EF4-FFF2-40B4-BE49-F238E27FC236}">
                    <a16:creationId xmlns:a16="http://schemas.microsoft.com/office/drawing/2014/main" id="{DFF5EAE6-26EC-4AAE-AB62-0D0346CBAE22}"/>
                  </a:ext>
                </a:extLst>
              </p:cNvPr>
              <p:cNvSpPr/>
              <p:nvPr/>
            </p:nvSpPr>
            <p:spPr>
              <a:xfrm>
                <a:off x="1804191" y="1073902"/>
                <a:ext cx="1589" cy="7959"/>
              </a:xfrm>
              <a:custGeom>
                <a:avLst/>
                <a:gdLst>
                  <a:gd name="connsiteX0" fmla="*/ 95 w 1589"/>
                  <a:gd name="connsiteY0" fmla="*/ 0 h 7959"/>
                  <a:gd name="connsiteX1" fmla="*/ 1590 w 1589"/>
                  <a:gd name="connsiteY1" fmla="*/ 7959 h 7959"/>
                  <a:gd name="connsiteX2" fmla="*/ 95 w 1589"/>
                  <a:gd name="connsiteY2" fmla="*/ 0 h 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89" h="7959">
                    <a:moveTo>
                      <a:pt x="95" y="0"/>
                    </a:moveTo>
                    <a:cubicBezTo>
                      <a:pt x="-54" y="2736"/>
                      <a:pt x="454" y="5462"/>
                      <a:pt x="1590" y="7959"/>
                    </a:cubicBezTo>
                    <a:cubicBezTo>
                      <a:pt x="294" y="5522"/>
                      <a:pt x="-233" y="2746"/>
                      <a:pt x="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4" name="Freeform: Shape 2363">
                <a:extLst>
                  <a:ext uri="{FF2B5EF4-FFF2-40B4-BE49-F238E27FC236}">
                    <a16:creationId xmlns:a16="http://schemas.microsoft.com/office/drawing/2014/main" id="{A1758891-204E-43CC-9C29-D597E24A78C1}"/>
                  </a:ext>
                </a:extLst>
              </p:cNvPr>
              <p:cNvSpPr/>
              <p:nvPr/>
            </p:nvSpPr>
            <p:spPr>
              <a:xfrm>
                <a:off x="1815945" y="1167918"/>
                <a:ext cx="4483" cy="6068"/>
              </a:xfrm>
              <a:custGeom>
                <a:avLst/>
                <a:gdLst>
                  <a:gd name="connsiteX0" fmla="*/ 0 w 4483"/>
                  <a:gd name="connsiteY0" fmla="*/ 6069 h 6068"/>
                  <a:gd name="connsiteX1" fmla="*/ 4484 w 4483"/>
                  <a:gd name="connsiteY1" fmla="*/ 0 h 6068"/>
                  <a:gd name="connsiteX2" fmla="*/ 0 w 4483"/>
                  <a:gd name="connsiteY2" fmla="*/ 6069 h 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3" h="6068">
                    <a:moveTo>
                      <a:pt x="0" y="6069"/>
                    </a:moveTo>
                    <a:cubicBezTo>
                      <a:pt x="897" y="4974"/>
                      <a:pt x="2989" y="2288"/>
                      <a:pt x="4484" y="0"/>
                    </a:cubicBezTo>
                    <a:cubicBezTo>
                      <a:pt x="3597" y="2407"/>
                      <a:pt x="2043" y="4507"/>
                      <a:pt x="0" y="606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5" name="Freeform: Shape 2364">
                <a:extLst>
                  <a:ext uri="{FF2B5EF4-FFF2-40B4-BE49-F238E27FC236}">
                    <a16:creationId xmlns:a16="http://schemas.microsoft.com/office/drawing/2014/main" id="{E230446F-1839-4E49-B0AF-C3A633093543}"/>
                  </a:ext>
                </a:extLst>
              </p:cNvPr>
              <p:cNvSpPr/>
              <p:nvPr/>
            </p:nvSpPr>
            <p:spPr>
              <a:xfrm>
                <a:off x="1822521" y="1089820"/>
                <a:ext cx="4982" cy="7163"/>
              </a:xfrm>
              <a:custGeom>
                <a:avLst/>
                <a:gdLst>
                  <a:gd name="connsiteX0" fmla="*/ 0 w 4982"/>
                  <a:gd name="connsiteY0" fmla="*/ 0 h 7163"/>
                  <a:gd name="connsiteX1" fmla="*/ 4982 w 4982"/>
                  <a:gd name="connsiteY1" fmla="*/ 7163 h 7163"/>
                  <a:gd name="connsiteX2" fmla="*/ 0 w 4982"/>
                  <a:gd name="connsiteY2" fmla="*/ 0 h 7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82" h="7163">
                    <a:moveTo>
                      <a:pt x="0" y="0"/>
                    </a:moveTo>
                    <a:cubicBezTo>
                      <a:pt x="2172" y="1990"/>
                      <a:pt x="3876" y="4437"/>
                      <a:pt x="4982" y="7163"/>
                    </a:cubicBezTo>
                    <a:cubicBezTo>
                      <a:pt x="3587" y="4974"/>
                      <a:pt x="1893" y="248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6" name="Freeform: Shape 2365">
                <a:extLst>
                  <a:ext uri="{FF2B5EF4-FFF2-40B4-BE49-F238E27FC236}">
                    <a16:creationId xmlns:a16="http://schemas.microsoft.com/office/drawing/2014/main" id="{848566A1-6E8A-4AE5-9D55-60D10729506D}"/>
                  </a:ext>
                </a:extLst>
              </p:cNvPr>
              <p:cNvSpPr/>
              <p:nvPr/>
            </p:nvSpPr>
            <p:spPr>
              <a:xfrm>
                <a:off x="1819731" y="1130212"/>
                <a:ext cx="5081" cy="9948"/>
              </a:xfrm>
              <a:custGeom>
                <a:avLst/>
                <a:gdLst>
                  <a:gd name="connsiteX0" fmla="*/ 1594 w 5081"/>
                  <a:gd name="connsiteY0" fmla="*/ 3482 h 9948"/>
                  <a:gd name="connsiteX1" fmla="*/ 5082 w 5081"/>
                  <a:gd name="connsiteY1" fmla="*/ 0 h 9948"/>
                  <a:gd name="connsiteX2" fmla="*/ 0 w 5081"/>
                  <a:gd name="connsiteY2" fmla="*/ 9949 h 9948"/>
                  <a:gd name="connsiteX3" fmla="*/ 1594 w 5081"/>
                  <a:gd name="connsiteY3" fmla="*/ 3482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1" h="9948">
                    <a:moveTo>
                      <a:pt x="1594" y="3482"/>
                    </a:moveTo>
                    <a:cubicBezTo>
                      <a:pt x="2850" y="2428"/>
                      <a:pt x="4026" y="1254"/>
                      <a:pt x="5082" y="0"/>
                    </a:cubicBezTo>
                    <a:cubicBezTo>
                      <a:pt x="2900" y="3044"/>
                      <a:pt x="1186" y="6397"/>
                      <a:pt x="0" y="9949"/>
                    </a:cubicBezTo>
                    <a:cubicBezTo>
                      <a:pt x="239" y="7730"/>
                      <a:pt x="777" y="5551"/>
                      <a:pt x="1594" y="348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7" name="Freeform: Shape 2366">
                <a:extLst>
                  <a:ext uri="{FF2B5EF4-FFF2-40B4-BE49-F238E27FC236}">
                    <a16:creationId xmlns:a16="http://schemas.microsoft.com/office/drawing/2014/main" id="{9C85475F-F506-4246-BCE2-D43BA8913390}"/>
                  </a:ext>
                </a:extLst>
              </p:cNvPr>
              <p:cNvSpPr/>
              <p:nvPr/>
            </p:nvSpPr>
            <p:spPr>
              <a:xfrm>
                <a:off x="1828400" y="1019582"/>
                <a:ext cx="7074" cy="5670"/>
              </a:xfrm>
              <a:custGeom>
                <a:avLst/>
                <a:gdLst>
                  <a:gd name="connsiteX0" fmla="*/ 0 w 7074"/>
                  <a:gd name="connsiteY0" fmla="*/ 5671 h 5670"/>
                  <a:gd name="connsiteX1" fmla="*/ 7075 w 7074"/>
                  <a:gd name="connsiteY1" fmla="*/ 0 h 5670"/>
                  <a:gd name="connsiteX2" fmla="*/ 0 w 7074"/>
                  <a:gd name="connsiteY2" fmla="*/ 5671 h 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74" h="5670">
                    <a:moveTo>
                      <a:pt x="0" y="5671"/>
                    </a:moveTo>
                    <a:cubicBezTo>
                      <a:pt x="2232" y="3621"/>
                      <a:pt x="4594" y="1731"/>
                      <a:pt x="7075" y="0"/>
                    </a:cubicBezTo>
                    <a:cubicBezTo>
                      <a:pt x="4594" y="1731"/>
                      <a:pt x="2232" y="3621"/>
                      <a:pt x="0" y="567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8" name="Freeform: Shape 2367">
                <a:extLst>
                  <a:ext uri="{FF2B5EF4-FFF2-40B4-BE49-F238E27FC236}">
                    <a16:creationId xmlns:a16="http://schemas.microsoft.com/office/drawing/2014/main" id="{6A3BEC0D-0346-431D-BF63-7792F91A4351}"/>
                  </a:ext>
                </a:extLst>
              </p:cNvPr>
              <p:cNvSpPr/>
              <p:nvPr/>
            </p:nvSpPr>
            <p:spPr>
              <a:xfrm>
                <a:off x="1863973" y="1263911"/>
                <a:ext cx="5380" cy="291"/>
              </a:xfrm>
              <a:custGeom>
                <a:avLst/>
                <a:gdLst>
                  <a:gd name="connsiteX0" fmla="*/ 5381 w 5380"/>
                  <a:gd name="connsiteY0" fmla="*/ 112 h 291"/>
                  <a:gd name="connsiteX1" fmla="*/ 0 w 5380"/>
                  <a:gd name="connsiteY1" fmla="*/ 112 h 291"/>
                  <a:gd name="connsiteX2" fmla="*/ 2591 w 5380"/>
                  <a:gd name="connsiteY2" fmla="*/ 112 h 291"/>
                  <a:gd name="connsiteX3" fmla="*/ 5381 w 5380"/>
                  <a:gd name="connsiteY3" fmla="*/ 112 h 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80" h="291">
                    <a:moveTo>
                      <a:pt x="5381" y="112"/>
                    </a:moveTo>
                    <a:cubicBezTo>
                      <a:pt x="3597" y="351"/>
                      <a:pt x="1784" y="351"/>
                      <a:pt x="0" y="112"/>
                    </a:cubicBezTo>
                    <a:lnTo>
                      <a:pt x="2591" y="112"/>
                    </a:lnTo>
                    <a:cubicBezTo>
                      <a:pt x="3517" y="-37"/>
                      <a:pt x="4454" y="-37"/>
                      <a:pt x="5381" y="11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69" name="Freeform: Shape 2368">
                <a:extLst>
                  <a:ext uri="{FF2B5EF4-FFF2-40B4-BE49-F238E27FC236}">
                    <a16:creationId xmlns:a16="http://schemas.microsoft.com/office/drawing/2014/main" id="{B7C3D3D0-F4FF-4DAE-8EE5-78A24F78EB86}"/>
                  </a:ext>
                </a:extLst>
              </p:cNvPr>
              <p:cNvSpPr/>
              <p:nvPr/>
            </p:nvSpPr>
            <p:spPr>
              <a:xfrm>
                <a:off x="1862478" y="1003695"/>
                <a:ext cx="7672" cy="1163"/>
              </a:xfrm>
              <a:custGeom>
                <a:avLst/>
                <a:gdLst>
                  <a:gd name="connsiteX0" fmla="*/ 7672 w 7672"/>
                  <a:gd name="connsiteY0" fmla="*/ 268 h 1163"/>
                  <a:gd name="connsiteX1" fmla="*/ 0 w 7672"/>
                  <a:gd name="connsiteY1" fmla="*/ 1163 h 1163"/>
                  <a:gd name="connsiteX2" fmla="*/ 7672 w 7672"/>
                  <a:gd name="connsiteY2" fmla="*/ 268 h 1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2" h="1163">
                    <a:moveTo>
                      <a:pt x="7672" y="268"/>
                    </a:moveTo>
                    <a:cubicBezTo>
                      <a:pt x="5082" y="-140"/>
                      <a:pt x="2431" y="168"/>
                      <a:pt x="0" y="1163"/>
                    </a:cubicBezTo>
                    <a:cubicBezTo>
                      <a:pt x="2391" y="29"/>
                      <a:pt x="5082" y="-289"/>
                      <a:pt x="7672" y="26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0" name="Freeform: Shape 2369">
                <a:extLst>
                  <a:ext uri="{FF2B5EF4-FFF2-40B4-BE49-F238E27FC236}">
                    <a16:creationId xmlns:a16="http://schemas.microsoft.com/office/drawing/2014/main" id="{DF8914A0-E398-4AA0-89BB-44E9ABE7FE72}"/>
                  </a:ext>
                </a:extLst>
              </p:cNvPr>
              <p:cNvSpPr/>
              <p:nvPr/>
            </p:nvSpPr>
            <p:spPr>
              <a:xfrm>
                <a:off x="1873937" y="1266510"/>
                <a:ext cx="2889" cy="4178"/>
              </a:xfrm>
              <a:custGeom>
                <a:avLst/>
                <a:gdLst>
                  <a:gd name="connsiteX0" fmla="*/ 2192 w 2889"/>
                  <a:gd name="connsiteY0" fmla="*/ 1492 h 4178"/>
                  <a:gd name="connsiteX1" fmla="*/ 2890 w 2889"/>
                  <a:gd name="connsiteY1" fmla="*/ 4179 h 4178"/>
                  <a:gd name="connsiteX2" fmla="*/ 0 w 2889"/>
                  <a:gd name="connsiteY2" fmla="*/ 0 h 4178"/>
                  <a:gd name="connsiteX3" fmla="*/ 2192 w 2889"/>
                  <a:gd name="connsiteY3" fmla="*/ 1492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" h="4178">
                    <a:moveTo>
                      <a:pt x="2192" y="1492"/>
                    </a:moveTo>
                    <a:cubicBezTo>
                      <a:pt x="2282" y="2418"/>
                      <a:pt x="2521" y="3323"/>
                      <a:pt x="2890" y="4179"/>
                    </a:cubicBezTo>
                    <a:cubicBezTo>
                      <a:pt x="2152" y="2646"/>
                      <a:pt x="1176" y="1234"/>
                      <a:pt x="0" y="0"/>
                    </a:cubicBezTo>
                    <a:cubicBezTo>
                      <a:pt x="897" y="995"/>
                      <a:pt x="1594" y="995"/>
                      <a:pt x="2192" y="149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1" name="Freeform: Shape 2370">
                <a:extLst>
                  <a:ext uri="{FF2B5EF4-FFF2-40B4-BE49-F238E27FC236}">
                    <a16:creationId xmlns:a16="http://schemas.microsoft.com/office/drawing/2014/main" id="{0B84A8D8-B75C-4D97-A134-86CA8EB12C3C}"/>
                  </a:ext>
                </a:extLst>
              </p:cNvPr>
              <p:cNvSpPr/>
              <p:nvPr/>
            </p:nvSpPr>
            <p:spPr>
              <a:xfrm>
                <a:off x="1879318" y="1276359"/>
                <a:ext cx="8071" cy="7461"/>
              </a:xfrm>
              <a:custGeom>
                <a:avLst/>
                <a:gdLst>
                  <a:gd name="connsiteX0" fmla="*/ 8071 w 8071"/>
                  <a:gd name="connsiteY0" fmla="*/ 7462 h 7461"/>
                  <a:gd name="connsiteX1" fmla="*/ 0 w 8071"/>
                  <a:gd name="connsiteY1" fmla="*/ 1094 h 7461"/>
                  <a:gd name="connsiteX2" fmla="*/ 0 w 8071"/>
                  <a:gd name="connsiteY2" fmla="*/ 0 h 7461"/>
                  <a:gd name="connsiteX3" fmla="*/ 8071 w 8071"/>
                  <a:gd name="connsiteY3" fmla="*/ 7462 h 7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71" h="7461">
                    <a:moveTo>
                      <a:pt x="8071" y="7462"/>
                    </a:moveTo>
                    <a:cubicBezTo>
                      <a:pt x="4952" y="5949"/>
                      <a:pt x="2202" y="3771"/>
                      <a:pt x="0" y="1094"/>
                    </a:cubicBezTo>
                    <a:cubicBezTo>
                      <a:pt x="30" y="726"/>
                      <a:pt x="30" y="368"/>
                      <a:pt x="0" y="0"/>
                    </a:cubicBezTo>
                    <a:cubicBezTo>
                      <a:pt x="2033" y="3114"/>
                      <a:pt x="4803" y="5681"/>
                      <a:pt x="8071" y="746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2" name="Freeform: Shape 2371">
                <a:extLst>
                  <a:ext uri="{FF2B5EF4-FFF2-40B4-BE49-F238E27FC236}">
                    <a16:creationId xmlns:a16="http://schemas.microsoft.com/office/drawing/2014/main" id="{831CB36F-4006-4146-95DC-6D6F9C0366E7}"/>
                  </a:ext>
                </a:extLst>
              </p:cNvPr>
              <p:cNvSpPr/>
              <p:nvPr/>
            </p:nvSpPr>
            <p:spPr>
              <a:xfrm>
                <a:off x="1879318" y="884777"/>
                <a:ext cx="9964" cy="2011"/>
              </a:xfrm>
              <a:custGeom>
                <a:avLst/>
                <a:gdLst>
                  <a:gd name="connsiteX0" fmla="*/ 9964 w 9964"/>
                  <a:gd name="connsiteY0" fmla="*/ 0 h 2011"/>
                  <a:gd name="connsiteX1" fmla="*/ 0 w 9964"/>
                  <a:gd name="connsiteY1" fmla="*/ 1194 h 2011"/>
                  <a:gd name="connsiteX2" fmla="*/ 9964 w 9964"/>
                  <a:gd name="connsiteY2" fmla="*/ 0 h 2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2011">
                    <a:moveTo>
                      <a:pt x="9964" y="0"/>
                    </a:moveTo>
                    <a:cubicBezTo>
                      <a:pt x="7105" y="2159"/>
                      <a:pt x="3298" y="2617"/>
                      <a:pt x="0" y="1194"/>
                    </a:cubicBezTo>
                    <a:cubicBezTo>
                      <a:pt x="3298" y="2617"/>
                      <a:pt x="7105" y="2159"/>
                      <a:pt x="996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3" name="Freeform: Shape 2372">
                <a:extLst>
                  <a:ext uri="{FF2B5EF4-FFF2-40B4-BE49-F238E27FC236}">
                    <a16:creationId xmlns:a16="http://schemas.microsoft.com/office/drawing/2014/main" id="{A1236737-D7E4-4A1A-B7D1-32F31C460B5A}"/>
                  </a:ext>
                </a:extLst>
              </p:cNvPr>
              <p:cNvSpPr/>
              <p:nvPr/>
            </p:nvSpPr>
            <p:spPr>
              <a:xfrm>
                <a:off x="1919575" y="1299242"/>
                <a:ext cx="6974" cy="12734"/>
              </a:xfrm>
              <a:custGeom>
                <a:avLst/>
                <a:gdLst>
                  <a:gd name="connsiteX0" fmla="*/ 6377 w 6974"/>
                  <a:gd name="connsiteY0" fmla="*/ 8058 h 12734"/>
                  <a:gd name="connsiteX1" fmla="*/ 6975 w 6974"/>
                  <a:gd name="connsiteY1" fmla="*/ 12734 h 12734"/>
                  <a:gd name="connsiteX2" fmla="*/ 0 w 6974"/>
                  <a:gd name="connsiteY2" fmla="*/ 0 h 12734"/>
                  <a:gd name="connsiteX3" fmla="*/ 6377 w 6974"/>
                  <a:gd name="connsiteY3" fmla="*/ 8058 h 12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4" h="12734">
                    <a:moveTo>
                      <a:pt x="6377" y="8058"/>
                    </a:moveTo>
                    <a:cubicBezTo>
                      <a:pt x="6387" y="9630"/>
                      <a:pt x="6586" y="11202"/>
                      <a:pt x="6975" y="12734"/>
                    </a:cubicBezTo>
                    <a:cubicBezTo>
                      <a:pt x="5679" y="8009"/>
                      <a:pt x="3288" y="3641"/>
                      <a:pt x="0" y="0"/>
                    </a:cubicBezTo>
                    <a:cubicBezTo>
                      <a:pt x="2800" y="2079"/>
                      <a:pt x="4992" y="4865"/>
                      <a:pt x="6377" y="805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4" name="Freeform: Shape 2373">
                <a:extLst>
                  <a:ext uri="{FF2B5EF4-FFF2-40B4-BE49-F238E27FC236}">
                    <a16:creationId xmlns:a16="http://schemas.microsoft.com/office/drawing/2014/main" id="{4F513F5E-81E7-4205-841F-53C62C6A60F2}"/>
                  </a:ext>
                </a:extLst>
              </p:cNvPr>
              <p:cNvSpPr/>
              <p:nvPr/>
            </p:nvSpPr>
            <p:spPr>
              <a:xfrm>
                <a:off x="1972486" y="1357740"/>
                <a:ext cx="9964" cy="2785"/>
              </a:xfrm>
              <a:custGeom>
                <a:avLst/>
                <a:gdLst>
                  <a:gd name="connsiteX0" fmla="*/ 0 w 9964"/>
                  <a:gd name="connsiteY0" fmla="*/ 0 h 2785"/>
                  <a:gd name="connsiteX1" fmla="*/ 9964 w 9964"/>
                  <a:gd name="connsiteY1" fmla="*/ 2786 h 2785"/>
                  <a:gd name="connsiteX2" fmla="*/ 0 w 9964"/>
                  <a:gd name="connsiteY2" fmla="*/ 0 h 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2785">
                    <a:moveTo>
                      <a:pt x="0" y="0"/>
                    </a:moveTo>
                    <a:cubicBezTo>
                      <a:pt x="3497" y="129"/>
                      <a:pt x="6905" y="1084"/>
                      <a:pt x="9964" y="2786"/>
                    </a:cubicBezTo>
                    <a:cubicBezTo>
                      <a:pt x="6477" y="1990"/>
                      <a:pt x="3288" y="11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5" name="Freeform: Shape 2374">
                <a:extLst>
                  <a:ext uri="{FF2B5EF4-FFF2-40B4-BE49-F238E27FC236}">
                    <a16:creationId xmlns:a16="http://schemas.microsoft.com/office/drawing/2014/main" id="{14BF2D89-9E6E-4798-96ED-9CD3C0C1F748}"/>
                  </a:ext>
                </a:extLst>
              </p:cNvPr>
              <p:cNvSpPr/>
              <p:nvPr/>
            </p:nvSpPr>
            <p:spPr>
              <a:xfrm>
                <a:off x="1989724" y="1366396"/>
                <a:ext cx="6477" cy="8953"/>
              </a:xfrm>
              <a:custGeom>
                <a:avLst/>
                <a:gdLst>
                  <a:gd name="connsiteX0" fmla="*/ 0 w 6477"/>
                  <a:gd name="connsiteY0" fmla="*/ 0 h 8953"/>
                  <a:gd name="connsiteX1" fmla="*/ 6477 w 6477"/>
                  <a:gd name="connsiteY1" fmla="*/ 8954 h 8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77" h="8953">
                    <a:moveTo>
                      <a:pt x="0" y="0"/>
                    </a:moveTo>
                    <a:cubicBezTo>
                      <a:pt x="2641" y="2607"/>
                      <a:pt x="4823" y="5631"/>
                      <a:pt x="6477" y="895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6" name="Freeform: Shape 2375">
                <a:extLst>
                  <a:ext uri="{FF2B5EF4-FFF2-40B4-BE49-F238E27FC236}">
                    <a16:creationId xmlns:a16="http://schemas.microsoft.com/office/drawing/2014/main" id="{1A2E229C-04D9-4EE6-8AC6-203C491E506F}"/>
                  </a:ext>
                </a:extLst>
              </p:cNvPr>
              <p:cNvSpPr/>
              <p:nvPr/>
            </p:nvSpPr>
            <p:spPr>
              <a:xfrm>
                <a:off x="1997895" y="1377837"/>
                <a:ext cx="8967" cy="14226"/>
              </a:xfrm>
              <a:custGeom>
                <a:avLst/>
                <a:gdLst>
                  <a:gd name="connsiteX0" fmla="*/ 0 w 8967"/>
                  <a:gd name="connsiteY0" fmla="*/ 0 h 14226"/>
                  <a:gd name="connsiteX1" fmla="*/ 8968 w 8967"/>
                  <a:gd name="connsiteY1" fmla="*/ 14227 h 14226"/>
                  <a:gd name="connsiteX2" fmla="*/ 0 w 8967"/>
                  <a:gd name="connsiteY2" fmla="*/ 0 h 1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7" h="14226">
                    <a:moveTo>
                      <a:pt x="0" y="0"/>
                    </a:moveTo>
                    <a:cubicBezTo>
                      <a:pt x="3776" y="4198"/>
                      <a:pt x="6806" y="9014"/>
                      <a:pt x="8968" y="14227"/>
                    </a:cubicBezTo>
                    <a:cubicBezTo>
                      <a:pt x="6407" y="9223"/>
                      <a:pt x="3408" y="446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7" name="Freeform: Shape 2376">
                <a:extLst>
                  <a:ext uri="{FF2B5EF4-FFF2-40B4-BE49-F238E27FC236}">
                    <a16:creationId xmlns:a16="http://schemas.microsoft.com/office/drawing/2014/main" id="{88F11CAB-1F68-4BEC-8575-C8BF4137294E}"/>
                  </a:ext>
                </a:extLst>
              </p:cNvPr>
              <p:cNvSpPr/>
              <p:nvPr/>
            </p:nvSpPr>
            <p:spPr>
              <a:xfrm>
                <a:off x="2008856" y="1425193"/>
                <a:ext cx="3188" cy="11142"/>
              </a:xfrm>
              <a:custGeom>
                <a:avLst/>
                <a:gdLst>
                  <a:gd name="connsiteX0" fmla="*/ 0 w 3188"/>
                  <a:gd name="connsiteY0" fmla="*/ 0 h 11142"/>
                  <a:gd name="connsiteX1" fmla="*/ 3189 w 3188"/>
                  <a:gd name="connsiteY1" fmla="*/ 11143 h 11142"/>
                  <a:gd name="connsiteX2" fmla="*/ 0 w 3188"/>
                  <a:gd name="connsiteY2" fmla="*/ 0 h 1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88" h="11142">
                    <a:moveTo>
                      <a:pt x="0" y="0"/>
                    </a:moveTo>
                    <a:cubicBezTo>
                      <a:pt x="847" y="3771"/>
                      <a:pt x="1913" y="7491"/>
                      <a:pt x="3189" y="11143"/>
                    </a:cubicBezTo>
                    <a:cubicBezTo>
                      <a:pt x="1335" y="7700"/>
                      <a:pt x="249" y="390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8" name="Freeform: Shape 2377">
                <a:extLst>
                  <a:ext uri="{FF2B5EF4-FFF2-40B4-BE49-F238E27FC236}">
                    <a16:creationId xmlns:a16="http://schemas.microsoft.com/office/drawing/2014/main" id="{92821DE4-EBE0-4F4A-ABFC-10D6EAF7AEAE}"/>
                  </a:ext>
                </a:extLst>
              </p:cNvPr>
              <p:cNvSpPr/>
              <p:nvPr/>
            </p:nvSpPr>
            <p:spPr>
              <a:xfrm>
                <a:off x="2008457" y="1406787"/>
                <a:ext cx="1536" cy="11540"/>
              </a:xfrm>
              <a:custGeom>
                <a:avLst/>
                <a:gdLst>
                  <a:gd name="connsiteX0" fmla="*/ 1495 w 1536"/>
                  <a:gd name="connsiteY0" fmla="*/ 0 h 11540"/>
                  <a:gd name="connsiteX1" fmla="*/ 0 w 1536"/>
                  <a:gd name="connsiteY1" fmla="*/ 11541 h 11540"/>
                  <a:gd name="connsiteX2" fmla="*/ 1495 w 1536"/>
                  <a:gd name="connsiteY2" fmla="*/ 0 h 11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36" h="11540">
                    <a:moveTo>
                      <a:pt x="1495" y="0"/>
                    </a:moveTo>
                    <a:cubicBezTo>
                      <a:pt x="1694" y="3910"/>
                      <a:pt x="1186" y="7810"/>
                      <a:pt x="0" y="11541"/>
                    </a:cubicBezTo>
                    <a:cubicBezTo>
                      <a:pt x="399" y="7163"/>
                      <a:pt x="897" y="3283"/>
                      <a:pt x="14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79" name="Freeform: Shape 2378">
                <a:extLst>
                  <a:ext uri="{FF2B5EF4-FFF2-40B4-BE49-F238E27FC236}">
                    <a16:creationId xmlns:a16="http://schemas.microsoft.com/office/drawing/2014/main" id="{94422A2F-D49D-4C65-9BC3-9DE895AE3296}"/>
                  </a:ext>
                </a:extLst>
              </p:cNvPr>
              <p:cNvSpPr/>
              <p:nvPr/>
            </p:nvSpPr>
            <p:spPr>
              <a:xfrm>
                <a:off x="2013738" y="1443996"/>
                <a:ext cx="896" cy="5173"/>
              </a:xfrm>
              <a:custGeom>
                <a:avLst/>
                <a:gdLst>
                  <a:gd name="connsiteX0" fmla="*/ 897 w 896"/>
                  <a:gd name="connsiteY0" fmla="*/ 5173 h 5173"/>
                  <a:gd name="connsiteX1" fmla="*/ 0 w 896"/>
                  <a:gd name="connsiteY1" fmla="*/ 5173 h 5173"/>
                  <a:gd name="connsiteX2" fmla="*/ 0 w 896"/>
                  <a:gd name="connsiteY2" fmla="*/ 0 h 5173"/>
                  <a:gd name="connsiteX3" fmla="*/ 897 w 896"/>
                  <a:gd name="connsiteY3" fmla="*/ 5173 h 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6" h="5173">
                    <a:moveTo>
                      <a:pt x="897" y="5173"/>
                    </a:moveTo>
                    <a:lnTo>
                      <a:pt x="0" y="5173"/>
                    </a:lnTo>
                    <a:cubicBezTo>
                      <a:pt x="100" y="3452"/>
                      <a:pt x="100" y="1721"/>
                      <a:pt x="0" y="0"/>
                    </a:cubicBezTo>
                    <a:cubicBezTo>
                      <a:pt x="438" y="1701"/>
                      <a:pt x="737" y="3432"/>
                      <a:pt x="897" y="517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65" name="Graphic 231">
              <a:extLst>
                <a:ext uri="{FF2B5EF4-FFF2-40B4-BE49-F238E27FC236}">
                  <a16:creationId xmlns:a16="http://schemas.microsoft.com/office/drawing/2014/main" id="{0595E2F2-655F-4682-9585-37E163CA1B88}"/>
                </a:ext>
              </a:extLst>
            </p:cNvPr>
            <p:cNvGrpSpPr/>
            <p:nvPr/>
          </p:nvGrpSpPr>
          <p:grpSpPr>
            <a:xfrm>
              <a:off x="651504" y="1535126"/>
              <a:ext cx="837408" cy="502908"/>
              <a:chOff x="651504" y="1535126"/>
              <a:chExt cx="837408" cy="502908"/>
            </a:xfrm>
            <a:solidFill>
              <a:srgbClr val="ECE8E4"/>
            </a:solidFill>
          </p:grpSpPr>
          <p:sp>
            <p:nvSpPr>
              <p:cNvPr id="2326" name="Freeform: Shape 2325">
                <a:extLst>
                  <a:ext uri="{FF2B5EF4-FFF2-40B4-BE49-F238E27FC236}">
                    <a16:creationId xmlns:a16="http://schemas.microsoft.com/office/drawing/2014/main" id="{7D54534B-7C09-4074-A78C-8B682ECA5B8D}"/>
                  </a:ext>
                </a:extLst>
              </p:cNvPr>
              <p:cNvSpPr/>
              <p:nvPr/>
            </p:nvSpPr>
            <p:spPr>
              <a:xfrm>
                <a:off x="651504" y="1907209"/>
                <a:ext cx="9964" cy="130825"/>
              </a:xfrm>
              <a:custGeom>
                <a:avLst/>
                <a:gdLst>
                  <a:gd name="connsiteX0" fmla="*/ 0 w 9964"/>
                  <a:gd name="connsiteY0" fmla="*/ 0 h 130825"/>
                  <a:gd name="connsiteX1" fmla="*/ 0 w 9964"/>
                  <a:gd name="connsiteY1" fmla="*/ 130826 h 130825"/>
                  <a:gd name="connsiteX2" fmla="*/ 0 w 9964"/>
                  <a:gd name="connsiteY2" fmla="*/ 130826 h 130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130825">
                    <a:moveTo>
                      <a:pt x="0" y="0"/>
                    </a:moveTo>
                    <a:cubicBezTo>
                      <a:pt x="0" y="43645"/>
                      <a:pt x="0" y="87251"/>
                      <a:pt x="0" y="130826"/>
                    </a:cubicBezTo>
                    <a:lnTo>
                      <a:pt x="0" y="130826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27" name="Freeform: Shape 2326">
                <a:extLst>
                  <a:ext uri="{FF2B5EF4-FFF2-40B4-BE49-F238E27FC236}">
                    <a16:creationId xmlns:a16="http://schemas.microsoft.com/office/drawing/2014/main" id="{07AA1522-4EDA-466B-8EC0-91EB5BDACC28}"/>
                  </a:ext>
                </a:extLst>
              </p:cNvPr>
              <p:cNvSpPr/>
              <p:nvPr/>
            </p:nvSpPr>
            <p:spPr>
              <a:xfrm>
                <a:off x="1003247" y="1536121"/>
                <a:ext cx="34277" cy="843"/>
              </a:xfrm>
              <a:custGeom>
                <a:avLst/>
                <a:gdLst>
                  <a:gd name="connsiteX0" fmla="*/ 0 w 34277"/>
                  <a:gd name="connsiteY0" fmla="*/ 0 h 843"/>
                  <a:gd name="connsiteX1" fmla="*/ 34278 w 34277"/>
                  <a:gd name="connsiteY1" fmla="*/ 0 h 843"/>
                  <a:gd name="connsiteX2" fmla="*/ 0 w 34277"/>
                  <a:gd name="connsiteY2" fmla="*/ 0 h 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77" h="843">
                    <a:moveTo>
                      <a:pt x="0" y="0"/>
                    </a:moveTo>
                    <a:lnTo>
                      <a:pt x="34278" y="0"/>
                    </a:lnTo>
                    <a:cubicBezTo>
                      <a:pt x="22878" y="1124"/>
                      <a:pt x="11399" y="112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28" name="Freeform: Shape 2327">
                <a:extLst>
                  <a:ext uri="{FF2B5EF4-FFF2-40B4-BE49-F238E27FC236}">
                    <a16:creationId xmlns:a16="http://schemas.microsoft.com/office/drawing/2014/main" id="{5DC4BA59-4F60-4816-8428-D67E78A7FDBF}"/>
                  </a:ext>
                </a:extLst>
              </p:cNvPr>
              <p:cNvSpPr/>
              <p:nvPr/>
            </p:nvSpPr>
            <p:spPr>
              <a:xfrm>
                <a:off x="1085255" y="1535126"/>
                <a:ext cx="15771" cy="6466"/>
              </a:xfrm>
              <a:custGeom>
                <a:avLst/>
                <a:gdLst>
                  <a:gd name="connsiteX0" fmla="*/ 15644 w 15771"/>
                  <a:gd name="connsiteY0" fmla="*/ 6467 h 6466"/>
                  <a:gd name="connsiteX1" fmla="*/ 0 w 15771"/>
                  <a:gd name="connsiteY1" fmla="*/ 0 h 6466"/>
                  <a:gd name="connsiteX2" fmla="*/ 15644 w 15771"/>
                  <a:gd name="connsiteY2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771" h="6466">
                    <a:moveTo>
                      <a:pt x="15644" y="6467"/>
                    </a:moveTo>
                    <a:cubicBezTo>
                      <a:pt x="11449" y="2398"/>
                      <a:pt x="5849" y="80"/>
                      <a:pt x="0" y="0"/>
                    </a:cubicBezTo>
                    <a:cubicBezTo>
                      <a:pt x="9466" y="100"/>
                      <a:pt x="16840" y="1492"/>
                      <a:pt x="15644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29" name="Freeform: Shape 2328">
                <a:extLst>
                  <a:ext uri="{FF2B5EF4-FFF2-40B4-BE49-F238E27FC236}">
                    <a16:creationId xmlns:a16="http://schemas.microsoft.com/office/drawing/2014/main" id="{DC4F69DC-59DC-484C-BD8F-B7C212879E45}"/>
                  </a:ext>
                </a:extLst>
              </p:cNvPr>
              <p:cNvSpPr/>
              <p:nvPr/>
            </p:nvSpPr>
            <p:spPr>
              <a:xfrm>
                <a:off x="1167660" y="1568952"/>
                <a:ext cx="5181" cy="5173"/>
              </a:xfrm>
              <a:custGeom>
                <a:avLst/>
                <a:gdLst>
                  <a:gd name="connsiteX0" fmla="*/ 5182 w 5181"/>
                  <a:gd name="connsiteY0" fmla="*/ 0 h 5173"/>
                  <a:gd name="connsiteX1" fmla="*/ 0 w 5181"/>
                  <a:gd name="connsiteY1" fmla="*/ 5173 h 5173"/>
                  <a:gd name="connsiteX2" fmla="*/ 5182 w 5181"/>
                  <a:gd name="connsiteY2" fmla="*/ 0 h 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1" h="5173">
                    <a:moveTo>
                      <a:pt x="5182" y="0"/>
                    </a:moveTo>
                    <a:cubicBezTo>
                      <a:pt x="3986" y="2189"/>
                      <a:pt x="2192" y="3979"/>
                      <a:pt x="0" y="5173"/>
                    </a:cubicBezTo>
                    <a:cubicBezTo>
                      <a:pt x="2143" y="3930"/>
                      <a:pt x="3936" y="2139"/>
                      <a:pt x="518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0" name="Freeform: Shape 2329">
                <a:extLst>
                  <a:ext uri="{FF2B5EF4-FFF2-40B4-BE49-F238E27FC236}">
                    <a16:creationId xmlns:a16="http://schemas.microsoft.com/office/drawing/2014/main" id="{A6C8F837-F7E3-4675-BCE3-A5F763E1DE19}"/>
                  </a:ext>
                </a:extLst>
              </p:cNvPr>
              <p:cNvSpPr/>
              <p:nvPr/>
            </p:nvSpPr>
            <p:spPr>
              <a:xfrm>
                <a:off x="1291219" y="1580975"/>
                <a:ext cx="7174" cy="1408"/>
              </a:xfrm>
              <a:custGeom>
                <a:avLst/>
                <a:gdLst>
                  <a:gd name="connsiteX0" fmla="*/ 7174 w 7174"/>
                  <a:gd name="connsiteY0" fmla="*/ 214 h 1408"/>
                  <a:gd name="connsiteX1" fmla="*/ 0 w 7174"/>
                  <a:gd name="connsiteY1" fmla="*/ 1408 h 1408"/>
                  <a:gd name="connsiteX2" fmla="*/ 7174 w 7174"/>
                  <a:gd name="connsiteY2" fmla="*/ 214 h 1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4" h="1408">
                    <a:moveTo>
                      <a:pt x="7174" y="214"/>
                    </a:moveTo>
                    <a:cubicBezTo>
                      <a:pt x="4713" y="-94"/>
                      <a:pt x="2222" y="324"/>
                      <a:pt x="0" y="1408"/>
                    </a:cubicBezTo>
                    <a:cubicBezTo>
                      <a:pt x="2152" y="125"/>
                      <a:pt x="4713" y="-303"/>
                      <a:pt x="7174" y="21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1" name="Freeform: Shape 2330">
                <a:extLst>
                  <a:ext uri="{FF2B5EF4-FFF2-40B4-BE49-F238E27FC236}">
                    <a16:creationId xmlns:a16="http://schemas.microsoft.com/office/drawing/2014/main" id="{92DA5172-DF76-4EB7-BDC6-EEDC13690EE8}"/>
                  </a:ext>
                </a:extLst>
              </p:cNvPr>
              <p:cNvSpPr/>
              <p:nvPr/>
            </p:nvSpPr>
            <p:spPr>
              <a:xfrm>
                <a:off x="1302279" y="1582184"/>
                <a:ext cx="8868" cy="4178"/>
              </a:xfrm>
              <a:custGeom>
                <a:avLst/>
                <a:gdLst>
                  <a:gd name="connsiteX0" fmla="*/ 0 w 8868"/>
                  <a:gd name="connsiteY0" fmla="*/ 0 h 4178"/>
                  <a:gd name="connsiteX1" fmla="*/ 8868 w 8868"/>
                  <a:gd name="connsiteY1" fmla="*/ 4178 h 4178"/>
                  <a:gd name="connsiteX2" fmla="*/ 0 w 8868"/>
                  <a:gd name="connsiteY2" fmla="*/ 0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68" h="4178">
                    <a:moveTo>
                      <a:pt x="0" y="0"/>
                    </a:moveTo>
                    <a:cubicBezTo>
                      <a:pt x="3109" y="1035"/>
                      <a:pt x="6088" y="2437"/>
                      <a:pt x="8868" y="4178"/>
                    </a:cubicBezTo>
                    <a:cubicBezTo>
                      <a:pt x="6048" y="2507"/>
                      <a:pt x="3079" y="111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2" name="Freeform: Shape 2331">
                <a:extLst>
                  <a:ext uri="{FF2B5EF4-FFF2-40B4-BE49-F238E27FC236}">
                    <a16:creationId xmlns:a16="http://schemas.microsoft.com/office/drawing/2014/main" id="{79550D6E-0D16-4E98-AC28-343717F7A7E6}"/>
                  </a:ext>
                </a:extLst>
              </p:cNvPr>
              <p:cNvSpPr/>
              <p:nvPr/>
            </p:nvSpPr>
            <p:spPr>
              <a:xfrm>
                <a:off x="1313539" y="1589745"/>
                <a:ext cx="1195" cy="3084"/>
              </a:xfrm>
              <a:custGeom>
                <a:avLst/>
                <a:gdLst>
                  <a:gd name="connsiteX0" fmla="*/ 0 w 1195"/>
                  <a:gd name="connsiteY0" fmla="*/ 0 h 3084"/>
                  <a:gd name="connsiteX1" fmla="*/ 1196 w 1195"/>
                  <a:gd name="connsiteY1" fmla="*/ 3084 h 3084"/>
                  <a:gd name="connsiteX2" fmla="*/ 0 w 1195"/>
                  <a:gd name="connsiteY2" fmla="*/ 0 h 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5" h="3084">
                    <a:moveTo>
                      <a:pt x="0" y="0"/>
                    </a:moveTo>
                    <a:lnTo>
                      <a:pt x="1196" y="3084"/>
                    </a:lnTo>
                    <a:cubicBezTo>
                      <a:pt x="598" y="2149"/>
                      <a:pt x="189" y="10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3" name="Freeform: Shape 2332">
                <a:extLst>
                  <a:ext uri="{FF2B5EF4-FFF2-40B4-BE49-F238E27FC236}">
                    <a16:creationId xmlns:a16="http://schemas.microsoft.com/office/drawing/2014/main" id="{8C3744EF-9858-44DB-8806-B5D958093A72}"/>
                  </a:ext>
                </a:extLst>
              </p:cNvPr>
              <p:cNvSpPr/>
              <p:nvPr/>
            </p:nvSpPr>
            <p:spPr>
              <a:xfrm>
                <a:off x="1315045" y="1592829"/>
                <a:ext cx="88" cy="596"/>
              </a:xfrm>
              <a:custGeom>
                <a:avLst/>
                <a:gdLst>
                  <a:gd name="connsiteX0" fmla="*/ 89 w 88"/>
                  <a:gd name="connsiteY0" fmla="*/ 597 h 596"/>
                  <a:gd name="connsiteX1" fmla="*/ 89 w 88"/>
                  <a:gd name="connsiteY1" fmla="*/ 0 h 596"/>
                  <a:gd name="connsiteX2" fmla="*/ 89 w 88"/>
                  <a:gd name="connsiteY2" fmla="*/ 597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" h="596">
                    <a:moveTo>
                      <a:pt x="89" y="597"/>
                    </a:moveTo>
                    <a:cubicBezTo>
                      <a:pt x="49" y="398"/>
                      <a:pt x="49" y="199"/>
                      <a:pt x="89" y="0"/>
                    </a:cubicBezTo>
                    <a:cubicBezTo>
                      <a:pt x="89" y="0"/>
                      <a:pt x="-111" y="497"/>
                      <a:pt x="89" y="5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4" name="Freeform: Shape 2333">
                <a:extLst>
                  <a:ext uri="{FF2B5EF4-FFF2-40B4-BE49-F238E27FC236}">
                    <a16:creationId xmlns:a16="http://schemas.microsoft.com/office/drawing/2014/main" id="{43AECD67-9307-4B63-8963-B25B4D92C861}"/>
                  </a:ext>
                </a:extLst>
              </p:cNvPr>
              <p:cNvSpPr/>
              <p:nvPr/>
            </p:nvSpPr>
            <p:spPr>
              <a:xfrm>
                <a:off x="1336059" y="1619591"/>
                <a:ext cx="7174" cy="596"/>
              </a:xfrm>
              <a:custGeom>
                <a:avLst/>
                <a:gdLst>
                  <a:gd name="connsiteX0" fmla="*/ 0 w 7174"/>
                  <a:gd name="connsiteY0" fmla="*/ 597 h 596"/>
                  <a:gd name="connsiteX1" fmla="*/ 7174 w 7174"/>
                  <a:gd name="connsiteY1" fmla="*/ 0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74" h="596">
                    <a:moveTo>
                      <a:pt x="0" y="597"/>
                    </a:moveTo>
                    <a:cubicBezTo>
                      <a:pt x="1993" y="597"/>
                      <a:pt x="4683" y="0"/>
                      <a:pt x="717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5" name="Freeform: Shape 2334">
                <a:extLst>
                  <a:ext uri="{FF2B5EF4-FFF2-40B4-BE49-F238E27FC236}">
                    <a16:creationId xmlns:a16="http://schemas.microsoft.com/office/drawing/2014/main" id="{1594165B-0774-4E80-B449-46B37E927607}"/>
                  </a:ext>
                </a:extLst>
              </p:cNvPr>
              <p:cNvSpPr/>
              <p:nvPr/>
            </p:nvSpPr>
            <p:spPr>
              <a:xfrm>
                <a:off x="1347618" y="1620387"/>
                <a:ext cx="1992" cy="2487"/>
              </a:xfrm>
              <a:custGeom>
                <a:avLst/>
                <a:gdLst>
                  <a:gd name="connsiteX0" fmla="*/ 0 w 1992"/>
                  <a:gd name="connsiteY0" fmla="*/ 0 h 2487"/>
                  <a:gd name="connsiteX1" fmla="*/ 1993 w 1992"/>
                  <a:gd name="connsiteY1" fmla="*/ 2487 h 2487"/>
                  <a:gd name="connsiteX2" fmla="*/ 0 w 1992"/>
                  <a:gd name="connsiteY2" fmla="*/ 0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" h="2487">
                    <a:moveTo>
                      <a:pt x="0" y="0"/>
                    </a:moveTo>
                    <a:cubicBezTo>
                      <a:pt x="917" y="587"/>
                      <a:pt x="1624" y="1462"/>
                      <a:pt x="1993" y="2487"/>
                    </a:cubicBezTo>
                    <a:cubicBezTo>
                      <a:pt x="966" y="2029"/>
                      <a:pt x="219" y="110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6" name="Freeform: Shape 2335">
                <a:extLst>
                  <a:ext uri="{FF2B5EF4-FFF2-40B4-BE49-F238E27FC236}">
                    <a16:creationId xmlns:a16="http://schemas.microsoft.com/office/drawing/2014/main" id="{EE242F04-4403-4D6C-8135-339357AFB318}"/>
                  </a:ext>
                </a:extLst>
              </p:cNvPr>
              <p:cNvSpPr/>
              <p:nvPr/>
            </p:nvSpPr>
            <p:spPr>
              <a:xfrm>
                <a:off x="1351703" y="1622874"/>
                <a:ext cx="2989" cy="598"/>
              </a:xfrm>
              <a:custGeom>
                <a:avLst/>
                <a:gdLst>
                  <a:gd name="connsiteX0" fmla="*/ 0 w 2989"/>
                  <a:gd name="connsiteY0" fmla="*/ 597 h 598"/>
                  <a:gd name="connsiteX1" fmla="*/ 2990 w 2989"/>
                  <a:gd name="connsiteY1" fmla="*/ 0 h 598"/>
                  <a:gd name="connsiteX2" fmla="*/ 0 w 2989"/>
                  <a:gd name="connsiteY2" fmla="*/ 597 h 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598">
                    <a:moveTo>
                      <a:pt x="0" y="597"/>
                    </a:moveTo>
                    <a:cubicBezTo>
                      <a:pt x="947" y="209"/>
                      <a:pt x="1963" y="10"/>
                      <a:pt x="2990" y="0"/>
                    </a:cubicBezTo>
                    <a:cubicBezTo>
                      <a:pt x="2053" y="418"/>
                      <a:pt x="1027" y="617"/>
                      <a:pt x="0" y="5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7" name="Freeform: Shape 2336">
                <a:extLst>
                  <a:ext uri="{FF2B5EF4-FFF2-40B4-BE49-F238E27FC236}">
                    <a16:creationId xmlns:a16="http://schemas.microsoft.com/office/drawing/2014/main" id="{1E631C6F-E85A-4A1C-B828-063639CB3083}"/>
                  </a:ext>
                </a:extLst>
              </p:cNvPr>
              <p:cNvSpPr/>
              <p:nvPr/>
            </p:nvSpPr>
            <p:spPr>
              <a:xfrm>
                <a:off x="1361169" y="1642573"/>
                <a:ext cx="6177" cy="13231"/>
              </a:xfrm>
              <a:custGeom>
                <a:avLst/>
                <a:gdLst>
                  <a:gd name="connsiteX0" fmla="*/ 0 w 6177"/>
                  <a:gd name="connsiteY0" fmla="*/ 0 h 13231"/>
                  <a:gd name="connsiteX1" fmla="*/ 6178 w 6177"/>
                  <a:gd name="connsiteY1" fmla="*/ 13232 h 13231"/>
                  <a:gd name="connsiteX2" fmla="*/ 698 w 6177"/>
                  <a:gd name="connsiteY2" fmla="*/ 5571 h 13231"/>
                  <a:gd name="connsiteX3" fmla="*/ 0 w 6177"/>
                  <a:gd name="connsiteY3" fmla="*/ 0 h 1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7" h="13231">
                    <a:moveTo>
                      <a:pt x="0" y="0"/>
                    </a:moveTo>
                    <a:cubicBezTo>
                      <a:pt x="1604" y="4606"/>
                      <a:pt x="3677" y="9043"/>
                      <a:pt x="6178" y="13232"/>
                    </a:cubicBezTo>
                    <a:cubicBezTo>
                      <a:pt x="4384" y="10347"/>
                      <a:pt x="2292" y="7760"/>
                      <a:pt x="698" y="5571"/>
                    </a:cubicBezTo>
                    <a:cubicBezTo>
                      <a:pt x="309" y="3741"/>
                      <a:pt x="70" y="187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8" name="Freeform: Shape 2337">
                <a:extLst>
                  <a:ext uri="{FF2B5EF4-FFF2-40B4-BE49-F238E27FC236}">
                    <a16:creationId xmlns:a16="http://schemas.microsoft.com/office/drawing/2014/main" id="{F23B7A2A-4E34-4369-A747-AA77825BA111}"/>
                  </a:ext>
                </a:extLst>
              </p:cNvPr>
              <p:cNvSpPr/>
              <p:nvPr/>
            </p:nvSpPr>
            <p:spPr>
              <a:xfrm>
                <a:off x="1429922" y="1842144"/>
                <a:ext cx="998" cy="9053"/>
              </a:xfrm>
              <a:custGeom>
                <a:avLst/>
                <a:gdLst>
                  <a:gd name="connsiteX0" fmla="*/ 998 w 998"/>
                  <a:gd name="connsiteY0" fmla="*/ 0 h 9053"/>
                  <a:gd name="connsiteX1" fmla="*/ 2 w 998"/>
                  <a:gd name="connsiteY1" fmla="*/ 9053 h 9053"/>
                  <a:gd name="connsiteX2" fmla="*/ 998 w 998"/>
                  <a:gd name="connsiteY2" fmla="*/ 0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8" h="9053">
                    <a:moveTo>
                      <a:pt x="998" y="0"/>
                    </a:moveTo>
                    <a:cubicBezTo>
                      <a:pt x="998" y="2786"/>
                      <a:pt x="301" y="5870"/>
                      <a:pt x="2" y="9053"/>
                    </a:cubicBezTo>
                    <a:cubicBezTo>
                      <a:pt x="-28" y="6009"/>
                      <a:pt x="311" y="2965"/>
                      <a:pt x="9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39" name="Freeform: Shape 2338">
                <a:extLst>
                  <a:ext uri="{FF2B5EF4-FFF2-40B4-BE49-F238E27FC236}">
                    <a16:creationId xmlns:a16="http://schemas.microsoft.com/office/drawing/2014/main" id="{9CA73B70-3C08-4641-8B03-1B311D666009}"/>
                  </a:ext>
                </a:extLst>
              </p:cNvPr>
              <p:cNvSpPr/>
              <p:nvPr/>
            </p:nvSpPr>
            <p:spPr>
              <a:xfrm>
                <a:off x="1428728" y="1910492"/>
                <a:ext cx="3587" cy="4775"/>
              </a:xfrm>
              <a:custGeom>
                <a:avLst/>
                <a:gdLst>
                  <a:gd name="connsiteX0" fmla="*/ 0 w 3587"/>
                  <a:gd name="connsiteY0" fmla="*/ 4775 h 4775"/>
                  <a:gd name="connsiteX1" fmla="*/ 3587 w 3587"/>
                  <a:gd name="connsiteY1" fmla="*/ 0 h 4775"/>
                  <a:gd name="connsiteX2" fmla="*/ 0 w 3587"/>
                  <a:gd name="connsiteY2" fmla="*/ 4775 h 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87" h="4775">
                    <a:moveTo>
                      <a:pt x="0" y="4775"/>
                    </a:moveTo>
                    <a:cubicBezTo>
                      <a:pt x="1076" y="3104"/>
                      <a:pt x="2282" y="1502"/>
                      <a:pt x="3587" y="0"/>
                    </a:cubicBezTo>
                    <a:cubicBezTo>
                      <a:pt x="2860" y="1890"/>
                      <a:pt x="1614" y="3542"/>
                      <a:pt x="0" y="477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40" name="Freeform: Shape 2339">
                <a:extLst>
                  <a:ext uri="{FF2B5EF4-FFF2-40B4-BE49-F238E27FC236}">
                    <a16:creationId xmlns:a16="http://schemas.microsoft.com/office/drawing/2014/main" id="{1EC5D399-150B-4402-8F67-4D504AF2EB2A}"/>
                  </a:ext>
                </a:extLst>
              </p:cNvPr>
              <p:cNvSpPr/>
              <p:nvPr/>
            </p:nvSpPr>
            <p:spPr>
              <a:xfrm>
                <a:off x="1429724" y="1866121"/>
                <a:ext cx="1793" cy="6466"/>
              </a:xfrm>
              <a:custGeom>
                <a:avLst/>
                <a:gdLst>
                  <a:gd name="connsiteX0" fmla="*/ 1794 w 1793"/>
                  <a:gd name="connsiteY0" fmla="*/ 6467 h 6466"/>
                  <a:gd name="connsiteX1" fmla="*/ 0 w 1793"/>
                  <a:gd name="connsiteY1" fmla="*/ 3781 h 6466"/>
                  <a:gd name="connsiteX2" fmla="*/ 0 w 1793"/>
                  <a:gd name="connsiteY2" fmla="*/ 0 h 6466"/>
                  <a:gd name="connsiteX3" fmla="*/ 1794 w 1793"/>
                  <a:gd name="connsiteY3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3" h="6466">
                    <a:moveTo>
                      <a:pt x="1794" y="6467"/>
                    </a:moveTo>
                    <a:cubicBezTo>
                      <a:pt x="1305" y="5502"/>
                      <a:pt x="698" y="4606"/>
                      <a:pt x="0" y="3781"/>
                    </a:cubicBezTo>
                    <a:cubicBezTo>
                      <a:pt x="0" y="2686"/>
                      <a:pt x="0" y="1293"/>
                      <a:pt x="0" y="0"/>
                    </a:cubicBezTo>
                    <a:cubicBezTo>
                      <a:pt x="349" y="2219"/>
                      <a:pt x="957" y="4387"/>
                      <a:pt x="1794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41" name="Freeform: Shape 2340">
                <a:extLst>
                  <a:ext uri="{FF2B5EF4-FFF2-40B4-BE49-F238E27FC236}">
                    <a16:creationId xmlns:a16="http://schemas.microsoft.com/office/drawing/2014/main" id="{FCB24663-9B45-4E44-A7FB-C5A9BCA8FD25}"/>
                  </a:ext>
                </a:extLst>
              </p:cNvPr>
              <p:cNvSpPr/>
              <p:nvPr/>
            </p:nvSpPr>
            <p:spPr>
              <a:xfrm>
                <a:off x="1432713" y="1897061"/>
                <a:ext cx="1195" cy="6864"/>
              </a:xfrm>
              <a:custGeom>
                <a:avLst/>
                <a:gdLst>
                  <a:gd name="connsiteX0" fmla="*/ 0 w 1195"/>
                  <a:gd name="connsiteY0" fmla="*/ 1691 h 6864"/>
                  <a:gd name="connsiteX1" fmla="*/ 1196 w 1195"/>
                  <a:gd name="connsiteY1" fmla="*/ 0 h 6864"/>
                  <a:gd name="connsiteX2" fmla="*/ 498 w 1195"/>
                  <a:gd name="connsiteY2" fmla="*/ 6865 h 6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5" h="6864">
                    <a:moveTo>
                      <a:pt x="0" y="1691"/>
                    </a:moveTo>
                    <a:lnTo>
                      <a:pt x="1196" y="0"/>
                    </a:lnTo>
                    <a:cubicBezTo>
                      <a:pt x="638" y="2239"/>
                      <a:pt x="399" y="4557"/>
                      <a:pt x="498" y="68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42" name="Freeform: Shape 2341">
                <a:extLst>
                  <a:ext uri="{FF2B5EF4-FFF2-40B4-BE49-F238E27FC236}">
                    <a16:creationId xmlns:a16="http://schemas.microsoft.com/office/drawing/2014/main" id="{E18603F3-98E3-47E0-A975-CBB5A45BEB5F}"/>
                  </a:ext>
                </a:extLst>
              </p:cNvPr>
              <p:cNvSpPr/>
              <p:nvPr/>
            </p:nvSpPr>
            <p:spPr>
              <a:xfrm>
                <a:off x="1433411" y="1884327"/>
                <a:ext cx="697" cy="2686"/>
              </a:xfrm>
              <a:custGeom>
                <a:avLst/>
                <a:gdLst>
                  <a:gd name="connsiteX0" fmla="*/ 698 w 697"/>
                  <a:gd name="connsiteY0" fmla="*/ 0 h 2686"/>
                  <a:gd name="connsiteX1" fmla="*/ 698 w 697"/>
                  <a:gd name="connsiteY1" fmla="*/ 2686 h 2686"/>
                  <a:gd name="connsiteX2" fmla="*/ 0 w 697"/>
                  <a:gd name="connsiteY2" fmla="*/ 1592 h 2686"/>
                  <a:gd name="connsiteX3" fmla="*/ 698 w 697"/>
                  <a:gd name="connsiteY3" fmla="*/ 0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" h="2686">
                    <a:moveTo>
                      <a:pt x="698" y="0"/>
                    </a:moveTo>
                    <a:cubicBezTo>
                      <a:pt x="598" y="895"/>
                      <a:pt x="598" y="1791"/>
                      <a:pt x="698" y="2686"/>
                    </a:cubicBezTo>
                    <a:lnTo>
                      <a:pt x="0" y="1592"/>
                    </a:lnTo>
                    <a:cubicBezTo>
                      <a:pt x="339" y="1114"/>
                      <a:pt x="578" y="577"/>
                      <a:pt x="6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43" name="Freeform: Shape 2342">
                <a:extLst>
                  <a:ext uri="{FF2B5EF4-FFF2-40B4-BE49-F238E27FC236}">
                    <a16:creationId xmlns:a16="http://schemas.microsoft.com/office/drawing/2014/main" id="{3861B8BF-599F-44C6-8EBB-9C8AED41EA5F}"/>
                  </a:ext>
                </a:extLst>
              </p:cNvPr>
              <p:cNvSpPr/>
              <p:nvPr/>
            </p:nvSpPr>
            <p:spPr>
              <a:xfrm>
                <a:off x="1433012" y="1875473"/>
                <a:ext cx="1694" cy="4874"/>
              </a:xfrm>
              <a:custGeom>
                <a:avLst/>
                <a:gdLst>
                  <a:gd name="connsiteX0" fmla="*/ 0 w 1694"/>
                  <a:gd name="connsiteY0" fmla="*/ 0 h 4874"/>
                  <a:gd name="connsiteX1" fmla="*/ 1694 w 1694"/>
                  <a:gd name="connsiteY1" fmla="*/ 2388 h 4874"/>
                  <a:gd name="connsiteX2" fmla="*/ 1196 w 1694"/>
                  <a:gd name="connsiteY2" fmla="*/ 4875 h 4874"/>
                  <a:gd name="connsiteX3" fmla="*/ 0 w 1694"/>
                  <a:gd name="connsiteY3" fmla="*/ 0 h 4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4" h="4874">
                    <a:moveTo>
                      <a:pt x="0" y="0"/>
                    </a:moveTo>
                    <a:cubicBezTo>
                      <a:pt x="508" y="836"/>
                      <a:pt x="1076" y="1632"/>
                      <a:pt x="1694" y="2388"/>
                    </a:cubicBezTo>
                    <a:cubicBezTo>
                      <a:pt x="1485" y="3204"/>
                      <a:pt x="1315" y="4039"/>
                      <a:pt x="1196" y="4875"/>
                    </a:cubicBezTo>
                    <a:cubicBezTo>
                      <a:pt x="1066" y="3194"/>
                      <a:pt x="668" y="155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44" name="Freeform: Shape 2343">
                <a:extLst>
                  <a:ext uri="{FF2B5EF4-FFF2-40B4-BE49-F238E27FC236}">
                    <a16:creationId xmlns:a16="http://schemas.microsoft.com/office/drawing/2014/main" id="{A5366D7F-7189-4F90-808E-DC6A4E7D9FCC}"/>
                  </a:ext>
                </a:extLst>
              </p:cNvPr>
              <p:cNvSpPr/>
              <p:nvPr/>
            </p:nvSpPr>
            <p:spPr>
              <a:xfrm>
                <a:off x="1443246" y="1936856"/>
                <a:ext cx="1488" cy="7063"/>
              </a:xfrm>
              <a:custGeom>
                <a:avLst/>
                <a:gdLst>
                  <a:gd name="connsiteX0" fmla="*/ 1425 w 1488"/>
                  <a:gd name="connsiteY0" fmla="*/ 2686 h 7063"/>
                  <a:gd name="connsiteX1" fmla="*/ 30 w 1488"/>
                  <a:gd name="connsiteY1" fmla="*/ 5671 h 7063"/>
                  <a:gd name="connsiteX2" fmla="*/ 30 w 1488"/>
                  <a:gd name="connsiteY2" fmla="*/ 7064 h 7063"/>
                  <a:gd name="connsiteX3" fmla="*/ 30 w 1488"/>
                  <a:gd name="connsiteY3" fmla="*/ 5671 h 7063"/>
                  <a:gd name="connsiteX4" fmla="*/ 1126 w 1488"/>
                  <a:gd name="connsiteY4" fmla="*/ 0 h 7063"/>
                  <a:gd name="connsiteX5" fmla="*/ 1425 w 1488"/>
                  <a:gd name="connsiteY5" fmla="*/ 2686 h 7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88" h="7063">
                    <a:moveTo>
                      <a:pt x="1425" y="2686"/>
                    </a:moveTo>
                    <a:cubicBezTo>
                      <a:pt x="767" y="3582"/>
                      <a:pt x="289" y="4596"/>
                      <a:pt x="30" y="5671"/>
                    </a:cubicBezTo>
                    <a:cubicBezTo>
                      <a:pt x="-10" y="6138"/>
                      <a:pt x="-10" y="6596"/>
                      <a:pt x="30" y="7064"/>
                    </a:cubicBezTo>
                    <a:cubicBezTo>
                      <a:pt x="30" y="7064"/>
                      <a:pt x="30" y="6168"/>
                      <a:pt x="30" y="5671"/>
                    </a:cubicBezTo>
                    <a:cubicBezTo>
                      <a:pt x="1445" y="4139"/>
                      <a:pt x="1873" y="1940"/>
                      <a:pt x="1126" y="0"/>
                    </a:cubicBezTo>
                    <a:cubicBezTo>
                      <a:pt x="1335" y="875"/>
                      <a:pt x="1445" y="1781"/>
                      <a:pt x="1425" y="26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45" name="Freeform: Shape 2344">
                <a:extLst>
                  <a:ext uri="{FF2B5EF4-FFF2-40B4-BE49-F238E27FC236}">
                    <a16:creationId xmlns:a16="http://schemas.microsoft.com/office/drawing/2014/main" id="{5DCDE1A5-AE7A-41A4-BE6F-22A197689E8D}"/>
                  </a:ext>
                </a:extLst>
              </p:cNvPr>
              <p:cNvSpPr/>
              <p:nvPr/>
            </p:nvSpPr>
            <p:spPr>
              <a:xfrm>
                <a:off x="1470379" y="1996449"/>
                <a:ext cx="3088" cy="1193"/>
              </a:xfrm>
              <a:custGeom>
                <a:avLst/>
                <a:gdLst>
                  <a:gd name="connsiteX0" fmla="*/ 3089 w 3088"/>
                  <a:gd name="connsiteY0" fmla="*/ 1194 h 1193"/>
                  <a:gd name="connsiteX1" fmla="*/ 0 w 3088"/>
                  <a:gd name="connsiteY1" fmla="*/ 0 h 1193"/>
                  <a:gd name="connsiteX2" fmla="*/ 3089 w 3088"/>
                  <a:gd name="connsiteY2" fmla="*/ 1194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88" h="1193">
                    <a:moveTo>
                      <a:pt x="3089" y="1194"/>
                    </a:moveTo>
                    <a:lnTo>
                      <a:pt x="0" y="0"/>
                    </a:lnTo>
                    <a:cubicBezTo>
                      <a:pt x="986" y="507"/>
                      <a:pt x="2023" y="905"/>
                      <a:pt x="3089" y="119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46" name="Freeform: Shape 2345">
                <a:extLst>
                  <a:ext uri="{FF2B5EF4-FFF2-40B4-BE49-F238E27FC236}">
                    <a16:creationId xmlns:a16="http://schemas.microsoft.com/office/drawing/2014/main" id="{FD4B5327-E75E-4361-8050-EC645640E674}"/>
                  </a:ext>
                </a:extLst>
              </p:cNvPr>
              <p:cNvSpPr/>
              <p:nvPr/>
            </p:nvSpPr>
            <p:spPr>
              <a:xfrm>
                <a:off x="1474464" y="1997842"/>
                <a:ext cx="4085" cy="1094"/>
              </a:xfrm>
              <a:custGeom>
                <a:avLst/>
                <a:gdLst>
                  <a:gd name="connsiteX0" fmla="*/ 4085 w 4085"/>
                  <a:gd name="connsiteY0" fmla="*/ 1094 h 1094"/>
                  <a:gd name="connsiteX1" fmla="*/ 0 w 4085"/>
                  <a:gd name="connsiteY1" fmla="*/ 0 h 1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85" h="1094">
                    <a:moveTo>
                      <a:pt x="4085" y="1094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47" name="Freeform: Shape 2346">
                <a:extLst>
                  <a:ext uri="{FF2B5EF4-FFF2-40B4-BE49-F238E27FC236}">
                    <a16:creationId xmlns:a16="http://schemas.microsoft.com/office/drawing/2014/main" id="{7A944167-5060-4894-B8F5-4E7592D63142}"/>
                  </a:ext>
                </a:extLst>
              </p:cNvPr>
              <p:cNvSpPr/>
              <p:nvPr/>
            </p:nvSpPr>
            <p:spPr>
              <a:xfrm>
                <a:off x="1455133" y="2037475"/>
                <a:ext cx="33779" cy="559"/>
              </a:xfrm>
              <a:custGeom>
                <a:avLst/>
                <a:gdLst>
                  <a:gd name="connsiteX0" fmla="*/ 33779 w 33779"/>
                  <a:gd name="connsiteY0" fmla="*/ 560 h 559"/>
                  <a:gd name="connsiteX1" fmla="*/ 0 w 33779"/>
                  <a:gd name="connsiteY1" fmla="*/ 560 h 559"/>
                  <a:gd name="connsiteX2" fmla="*/ 33779 w 33779"/>
                  <a:gd name="connsiteY2" fmla="*/ 560 h 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779" h="559">
                    <a:moveTo>
                      <a:pt x="33779" y="560"/>
                    </a:moveTo>
                    <a:lnTo>
                      <a:pt x="0" y="560"/>
                    </a:lnTo>
                    <a:cubicBezTo>
                      <a:pt x="11250" y="-187"/>
                      <a:pt x="22530" y="-187"/>
                      <a:pt x="33779" y="56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566" name="Freeform: Shape 1565">
              <a:extLst>
                <a:ext uri="{FF2B5EF4-FFF2-40B4-BE49-F238E27FC236}">
                  <a16:creationId xmlns:a16="http://schemas.microsoft.com/office/drawing/2014/main" id="{82E17DDD-F62C-46F8-852D-0F035EA96054}"/>
                </a:ext>
              </a:extLst>
            </p:cNvPr>
            <p:cNvSpPr/>
            <p:nvPr/>
          </p:nvSpPr>
          <p:spPr>
            <a:xfrm>
              <a:off x="-2039583" y="937207"/>
              <a:ext cx="820045" cy="151917"/>
            </a:xfrm>
            <a:custGeom>
              <a:avLst/>
              <a:gdLst>
                <a:gd name="connsiteX0" fmla="*/ 819971 w 820045"/>
                <a:gd name="connsiteY0" fmla="*/ 38104 h 151917"/>
                <a:gd name="connsiteX1" fmla="*/ 819971 w 820045"/>
                <a:gd name="connsiteY1" fmla="*/ 39198 h 151917"/>
                <a:gd name="connsiteX2" fmla="*/ 819971 w 820045"/>
                <a:gd name="connsiteY2" fmla="*/ 38303 h 151917"/>
                <a:gd name="connsiteX3" fmla="*/ 815188 w 820045"/>
                <a:gd name="connsiteY3" fmla="*/ 55315 h 151917"/>
                <a:gd name="connsiteX4" fmla="*/ 816782 w 820045"/>
                <a:gd name="connsiteY4" fmla="*/ 57205 h 151917"/>
                <a:gd name="connsiteX5" fmla="*/ 815487 w 820045"/>
                <a:gd name="connsiteY5" fmla="*/ 55315 h 151917"/>
                <a:gd name="connsiteX6" fmla="*/ 815188 w 820045"/>
                <a:gd name="connsiteY6" fmla="*/ 23379 h 151917"/>
                <a:gd name="connsiteX7" fmla="*/ 811701 w 820045"/>
                <a:gd name="connsiteY7" fmla="*/ 16316 h 151917"/>
                <a:gd name="connsiteX8" fmla="*/ 815089 w 820045"/>
                <a:gd name="connsiteY8" fmla="*/ 25170 h 151917"/>
                <a:gd name="connsiteX9" fmla="*/ 815786 w 820045"/>
                <a:gd name="connsiteY9" fmla="*/ 23379 h 151917"/>
                <a:gd name="connsiteX10" fmla="*/ 814690 w 820045"/>
                <a:gd name="connsiteY10" fmla="*/ 52529 h 151917"/>
                <a:gd name="connsiteX11" fmla="*/ 816185 w 820045"/>
                <a:gd name="connsiteY11" fmla="*/ 48749 h 151917"/>
                <a:gd name="connsiteX12" fmla="*/ 815288 w 820045"/>
                <a:gd name="connsiteY12" fmla="*/ 52529 h 151917"/>
                <a:gd name="connsiteX13" fmla="*/ 804726 w 820045"/>
                <a:gd name="connsiteY13" fmla="*/ 0 h 151917"/>
                <a:gd name="connsiteX14" fmla="*/ 802832 w 820045"/>
                <a:gd name="connsiteY14" fmla="*/ 4576 h 151917"/>
                <a:gd name="connsiteX15" fmla="*/ 805124 w 820045"/>
                <a:gd name="connsiteY15" fmla="*/ 0 h 151917"/>
                <a:gd name="connsiteX16" fmla="*/ 492341 w 820045"/>
                <a:gd name="connsiteY16" fmla="*/ 85062 h 151917"/>
                <a:gd name="connsiteX17" fmla="*/ 497523 w 820045"/>
                <a:gd name="connsiteY17" fmla="*/ 87052 h 151917"/>
                <a:gd name="connsiteX18" fmla="*/ 502007 w 820045"/>
                <a:gd name="connsiteY18" fmla="*/ 86057 h 151917"/>
                <a:gd name="connsiteX19" fmla="*/ 492740 w 820045"/>
                <a:gd name="connsiteY19" fmla="*/ 85062 h 151917"/>
                <a:gd name="connsiteX20" fmla="*/ 482377 w 820045"/>
                <a:gd name="connsiteY20" fmla="*/ 85659 h 151917"/>
                <a:gd name="connsiteX21" fmla="*/ 477096 w 820045"/>
                <a:gd name="connsiteY21" fmla="*/ 92225 h 151917"/>
                <a:gd name="connsiteX22" fmla="*/ 483075 w 820045"/>
                <a:gd name="connsiteY22" fmla="*/ 85659 h 151917"/>
                <a:gd name="connsiteX23" fmla="*/ 467729 w 820045"/>
                <a:gd name="connsiteY23" fmla="*/ 96403 h 151917"/>
                <a:gd name="connsiteX24" fmla="*/ 450591 w 820045"/>
                <a:gd name="connsiteY24" fmla="*/ 98692 h 151917"/>
                <a:gd name="connsiteX25" fmla="*/ 468427 w 820045"/>
                <a:gd name="connsiteY25" fmla="*/ 96403 h 151917"/>
                <a:gd name="connsiteX26" fmla="*/ 423188 w 820045"/>
                <a:gd name="connsiteY26" fmla="*/ 109138 h 151917"/>
                <a:gd name="connsiteX27" fmla="*/ 418306 w 820045"/>
                <a:gd name="connsiteY27" fmla="*/ 110531 h 151917"/>
                <a:gd name="connsiteX28" fmla="*/ 423886 w 820045"/>
                <a:gd name="connsiteY28" fmla="*/ 109138 h 151917"/>
                <a:gd name="connsiteX29" fmla="*/ 353438 w 820045"/>
                <a:gd name="connsiteY29" fmla="*/ 116500 h 151917"/>
                <a:gd name="connsiteX30" fmla="*/ 360413 w 820045"/>
                <a:gd name="connsiteY30" fmla="*/ 117395 h 151917"/>
                <a:gd name="connsiteX31" fmla="*/ 359018 w 820045"/>
                <a:gd name="connsiteY31" fmla="*/ 115903 h 151917"/>
                <a:gd name="connsiteX32" fmla="*/ 353836 w 820045"/>
                <a:gd name="connsiteY32" fmla="*/ 116500 h 151917"/>
                <a:gd name="connsiteX33" fmla="*/ 321751 w 820045"/>
                <a:gd name="connsiteY33" fmla="*/ 133015 h 151917"/>
                <a:gd name="connsiteX34" fmla="*/ 324541 w 820045"/>
                <a:gd name="connsiteY34" fmla="*/ 130428 h 151917"/>
                <a:gd name="connsiteX35" fmla="*/ 321751 w 820045"/>
                <a:gd name="connsiteY35" fmla="*/ 133015 h 151917"/>
                <a:gd name="connsiteX36" fmla="*/ 320555 w 820045"/>
                <a:gd name="connsiteY36" fmla="*/ 133512 h 151917"/>
                <a:gd name="connsiteX37" fmla="*/ 318263 w 820045"/>
                <a:gd name="connsiteY37" fmla="*/ 132816 h 151917"/>
                <a:gd name="connsiteX38" fmla="*/ 320854 w 820045"/>
                <a:gd name="connsiteY38" fmla="*/ 133512 h 151917"/>
                <a:gd name="connsiteX39" fmla="*/ 296142 w 820045"/>
                <a:gd name="connsiteY39" fmla="*/ 134706 h 151917"/>
                <a:gd name="connsiteX40" fmla="*/ 301722 w 820045"/>
                <a:gd name="connsiteY40" fmla="*/ 132617 h 151917"/>
                <a:gd name="connsiteX41" fmla="*/ 297338 w 820045"/>
                <a:gd name="connsiteY41" fmla="*/ 132617 h 151917"/>
                <a:gd name="connsiteX42" fmla="*/ 292356 w 820045"/>
                <a:gd name="connsiteY42" fmla="*/ 138884 h 151917"/>
                <a:gd name="connsiteX43" fmla="*/ 293053 w 820045"/>
                <a:gd name="connsiteY43" fmla="*/ 137591 h 151917"/>
                <a:gd name="connsiteX44" fmla="*/ 288569 w 820045"/>
                <a:gd name="connsiteY44" fmla="*/ 139879 h 151917"/>
                <a:gd name="connsiteX45" fmla="*/ 292655 w 820045"/>
                <a:gd name="connsiteY45" fmla="*/ 138884 h 151917"/>
                <a:gd name="connsiteX46" fmla="*/ 284085 w 820045"/>
                <a:gd name="connsiteY46" fmla="*/ 138884 h 151917"/>
                <a:gd name="connsiteX47" fmla="*/ 280000 w 820045"/>
                <a:gd name="connsiteY47" fmla="*/ 131025 h 151917"/>
                <a:gd name="connsiteX48" fmla="*/ 284384 w 820045"/>
                <a:gd name="connsiteY48" fmla="*/ 138686 h 151917"/>
                <a:gd name="connsiteX49" fmla="*/ 190918 w 820045"/>
                <a:gd name="connsiteY49" fmla="*/ 132915 h 151917"/>
                <a:gd name="connsiteX50" fmla="*/ 198690 w 820045"/>
                <a:gd name="connsiteY50" fmla="*/ 125056 h 151917"/>
                <a:gd name="connsiteX51" fmla="*/ 191217 w 820045"/>
                <a:gd name="connsiteY51" fmla="*/ 132716 h 151917"/>
                <a:gd name="connsiteX52" fmla="*/ 168797 w 820045"/>
                <a:gd name="connsiteY52" fmla="*/ 144953 h 151917"/>
                <a:gd name="connsiteX53" fmla="*/ 172484 w 820045"/>
                <a:gd name="connsiteY53" fmla="*/ 143162 h 151917"/>
                <a:gd name="connsiteX54" fmla="*/ 166206 w 820045"/>
                <a:gd name="connsiteY54" fmla="*/ 144953 h 151917"/>
                <a:gd name="connsiteX55" fmla="*/ 156541 w 820045"/>
                <a:gd name="connsiteY55" fmla="*/ 147739 h 151917"/>
                <a:gd name="connsiteX56" fmla="*/ 162121 w 820045"/>
                <a:gd name="connsiteY56" fmla="*/ 145650 h 151917"/>
                <a:gd name="connsiteX57" fmla="*/ 158833 w 820045"/>
                <a:gd name="connsiteY57" fmla="*/ 145650 h 151917"/>
                <a:gd name="connsiteX58" fmla="*/ 156840 w 820045"/>
                <a:gd name="connsiteY58" fmla="*/ 147540 h 151917"/>
                <a:gd name="connsiteX59" fmla="*/ 148868 w 820045"/>
                <a:gd name="connsiteY59" fmla="*/ 151917 h 151917"/>
                <a:gd name="connsiteX60" fmla="*/ 151359 w 820045"/>
                <a:gd name="connsiteY60" fmla="*/ 150326 h 151917"/>
                <a:gd name="connsiteX61" fmla="*/ 145480 w 820045"/>
                <a:gd name="connsiteY61" fmla="*/ 151718 h 151917"/>
                <a:gd name="connsiteX62" fmla="*/ 149167 w 820045"/>
                <a:gd name="connsiteY62" fmla="*/ 151718 h 151917"/>
                <a:gd name="connsiteX63" fmla="*/ 138406 w 820045"/>
                <a:gd name="connsiteY63" fmla="*/ 149629 h 151917"/>
                <a:gd name="connsiteX64" fmla="*/ 135416 w 820045"/>
                <a:gd name="connsiteY64" fmla="*/ 147739 h 151917"/>
                <a:gd name="connsiteX65" fmla="*/ 138705 w 820045"/>
                <a:gd name="connsiteY65" fmla="*/ 149430 h 151917"/>
                <a:gd name="connsiteX66" fmla="*/ 85893 w 820045"/>
                <a:gd name="connsiteY66" fmla="*/ 127344 h 151917"/>
                <a:gd name="connsiteX67" fmla="*/ 89082 w 820045"/>
                <a:gd name="connsiteY67" fmla="*/ 134109 h 151917"/>
                <a:gd name="connsiteX68" fmla="*/ 97053 w 820045"/>
                <a:gd name="connsiteY68" fmla="*/ 137989 h 151917"/>
                <a:gd name="connsiteX69" fmla="*/ 86192 w 820045"/>
                <a:gd name="connsiteY69" fmla="*/ 127145 h 151917"/>
                <a:gd name="connsiteX70" fmla="*/ 85594 w 820045"/>
                <a:gd name="connsiteY70" fmla="*/ 111426 h 151917"/>
                <a:gd name="connsiteX71" fmla="*/ 85594 w 820045"/>
                <a:gd name="connsiteY71" fmla="*/ 115405 h 151917"/>
                <a:gd name="connsiteX72" fmla="*/ 85594 w 820045"/>
                <a:gd name="connsiteY72" fmla="*/ 112819 h 151917"/>
                <a:gd name="connsiteX73" fmla="*/ 85594 w 820045"/>
                <a:gd name="connsiteY73" fmla="*/ 111426 h 151917"/>
                <a:gd name="connsiteX74" fmla="*/ 83402 w 820045"/>
                <a:gd name="connsiteY74" fmla="*/ 94016 h 151917"/>
                <a:gd name="connsiteX75" fmla="*/ 82206 w 820045"/>
                <a:gd name="connsiteY75" fmla="*/ 90932 h 151917"/>
                <a:gd name="connsiteX76" fmla="*/ 83103 w 820045"/>
                <a:gd name="connsiteY76" fmla="*/ 95906 h 151917"/>
                <a:gd name="connsiteX77" fmla="*/ 82406 w 820045"/>
                <a:gd name="connsiteY77" fmla="*/ 103964 h 151917"/>
                <a:gd name="connsiteX78" fmla="*/ 83502 w 820045"/>
                <a:gd name="connsiteY78" fmla="*/ 105357 h 151917"/>
                <a:gd name="connsiteX79" fmla="*/ 83502 w 820045"/>
                <a:gd name="connsiteY79" fmla="*/ 101577 h 151917"/>
                <a:gd name="connsiteX80" fmla="*/ 82605 w 820045"/>
                <a:gd name="connsiteY80" fmla="*/ 104064 h 151917"/>
                <a:gd name="connsiteX81" fmla="*/ 73537 w 820045"/>
                <a:gd name="connsiteY81" fmla="*/ 64169 h 151917"/>
                <a:gd name="connsiteX82" fmla="*/ 80413 w 820045"/>
                <a:gd name="connsiteY82" fmla="*/ 76904 h 151917"/>
                <a:gd name="connsiteX83" fmla="*/ 73537 w 820045"/>
                <a:gd name="connsiteY83" fmla="*/ 64368 h 151917"/>
                <a:gd name="connsiteX84" fmla="*/ 61480 w 820045"/>
                <a:gd name="connsiteY84" fmla="*/ 50042 h 151917"/>
                <a:gd name="connsiteX85" fmla="*/ 62178 w 820045"/>
                <a:gd name="connsiteY85" fmla="*/ 50042 h 151917"/>
                <a:gd name="connsiteX86" fmla="*/ 54206 w 820045"/>
                <a:gd name="connsiteY86" fmla="*/ 43178 h 151917"/>
                <a:gd name="connsiteX87" fmla="*/ 22819 w 820045"/>
                <a:gd name="connsiteY87" fmla="*/ 41785 h 151917"/>
                <a:gd name="connsiteX88" fmla="*/ 42747 w 820045"/>
                <a:gd name="connsiteY88" fmla="*/ 37009 h 151917"/>
                <a:gd name="connsiteX89" fmla="*/ 41751 w 820045"/>
                <a:gd name="connsiteY89" fmla="*/ 36412 h 151917"/>
                <a:gd name="connsiteX90" fmla="*/ 22819 w 820045"/>
                <a:gd name="connsiteY90" fmla="*/ 41785 h 151917"/>
                <a:gd name="connsiteX91" fmla="*/ 8071 w 820045"/>
                <a:gd name="connsiteY91" fmla="*/ 41785 h 151917"/>
                <a:gd name="connsiteX92" fmla="*/ 4584 w 820045"/>
                <a:gd name="connsiteY92" fmla="*/ 37706 h 151917"/>
                <a:gd name="connsiteX93" fmla="*/ 7972 w 820045"/>
                <a:gd name="connsiteY93" fmla="*/ 41785 h 151917"/>
                <a:gd name="connsiteX94" fmla="*/ 2890 w 820045"/>
                <a:gd name="connsiteY94" fmla="*/ 31836 h 151917"/>
                <a:gd name="connsiteX95" fmla="*/ 2890 w 820045"/>
                <a:gd name="connsiteY95" fmla="*/ 28254 h 151917"/>
                <a:gd name="connsiteX96" fmla="*/ 0 w 820045"/>
                <a:gd name="connsiteY96" fmla="*/ 24573 h 151917"/>
                <a:gd name="connsiteX97" fmla="*/ 2890 w 820045"/>
                <a:gd name="connsiteY97" fmla="*/ 31836 h 151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20045" h="151917">
                  <a:moveTo>
                    <a:pt x="819971" y="38104"/>
                  </a:moveTo>
                  <a:cubicBezTo>
                    <a:pt x="820071" y="38462"/>
                    <a:pt x="820071" y="38840"/>
                    <a:pt x="819971" y="39198"/>
                  </a:cubicBezTo>
                  <a:cubicBezTo>
                    <a:pt x="820021" y="38900"/>
                    <a:pt x="820021" y="38601"/>
                    <a:pt x="819971" y="38303"/>
                  </a:cubicBezTo>
                  <a:close/>
                  <a:moveTo>
                    <a:pt x="815188" y="55315"/>
                  </a:moveTo>
                  <a:cubicBezTo>
                    <a:pt x="815567" y="56061"/>
                    <a:pt x="816115" y="56708"/>
                    <a:pt x="816782" y="57205"/>
                  </a:cubicBezTo>
                  <a:cubicBezTo>
                    <a:pt x="816464" y="56509"/>
                    <a:pt x="816025" y="55862"/>
                    <a:pt x="815487" y="55315"/>
                  </a:cubicBezTo>
                  <a:close/>
                  <a:moveTo>
                    <a:pt x="815188" y="23379"/>
                  </a:moveTo>
                  <a:cubicBezTo>
                    <a:pt x="814381" y="20872"/>
                    <a:pt x="813205" y="18485"/>
                    <a:pt x="811701" y="16316"/>
                  </a:cubicBezTo>
                  <a:cubicBezTo>
                    <a:pt x="813335" y="19052"/>
                    <a:pt x="814491" y="22046"/>
                    <a:pt x="815089" y="25170"/>
                  </a:cubicBezTo>
                  <a:cubicBezTo>
                    <a:pt x="815258" y="24554"/>
                    <a:pt x="815497" y="23956"/>
                    <a:pt x="815786" y="23379"/>
                  </a:cubicBezTo>
                  <a:close/>
                  <a:moveTo>
                    <a:pt x="814690" y="52529"/>
                  </a:moveTo>
                  <a:cubicBezTo>
                    <a:pt x="814690" y="51634"/>
                    <a:pt x="815587" y="50341"/>
                    <a:pt x="816185" y="48749"/>
                  </a:cubicBezTo>
                  <a:cubicBezTo>
                    <a:pt x="815677" y="49953"/>
                    <a:pt x="815378" y="51226"/>
                    <a:pt x="815288" y="52529"/>
                  </a:cubicBezTo>
                  <a:close/>
                  <a:moveTo>
                    <a:pt x="804726" y="0"/>
                  </a:moveTo>
                  <a:cubicBezTo>
                    <a:pt x="804028" y="1791"/>
                    <a:pt x="803231" y="3482"/>
                    <a:pt x="802832" y="4576"/>
                  </a:cubicBezTo>
                  <a:cubicBezTo>
                    <a:pt x="803799" y="3164"/>
                    <a:pt x="804566" y="1622"/>
                    <a:pt x="805124" y="0"/>
                  </a:cubicBezTo>
                  <a:close/>
                  <a:moveTo>
                    <a:pt x="492341" y="85062"/>
                  </a:moveTo>
                  <a:cubicBezTo>
                    <a:pt x="494006" y="85878"/>
                    <a:pt x="495739" y="86544"/>
                    <a:pt x="497523" y="87052"/>
                  </a:cubicBezTo>
                  <a:cubicBezTo>
                    <a:pt x="498988" y="86604"/>
                    <a:pt x="500492" y="86275"/>
                    <a:pt x="502007" y="86057"/>
                  </a:cubicBezTo>
                  <a:cubicBezTo>
                    <a:pt x="498888" y="86285"/>
                    <a:pt x="495739" y="85947"/>
                    <a:pt x="492740" y="85062"/>
                  </a:cubicBezTo>
                  <a:close/>
                  <a:moveTo>
                    <a:pt x="482377" y="85659"/>
                  </a:moveTo>
                  <a:cubicBezTo>
                    <a:pt x="480434" y="87688"/>
                    <a:pt x="478660" y="89887"/>
                    <a:pt x="477096" y="92225"/>
                  </a:cubicBezTo>
                  <a:cubicBezTo>
                    <a:pt x="479647" y="90613"/>
                    <a:pt x="481719" y="88345"/>
                    <a:pt x="483075" y="85659"/>
                  </a:cubicBezTo>
                  <a:close/>
                  <a:moveTo>
                    <a:pt x="467729" y="96403"/>
                  </a:moveTo>
                  <a:cubicBezTo>
                    <a:pt x="461960" y="96672"/>
                    <a:pt x="456230" y="97438"/>
                    <a:pt x="450591" y="98692"/>
                  </a:cubicBezTo>
                  <a:cubicBezTo>
                    <a:pt x="456599" y="98503"/>
                    <a:pt x="462568" y="97736"/>
                    <a:pt x="468427" y="96403"/>
                  </a:cubicBezTo>
                  <a:close/>
                  <a:moveTo>
                    <a:pt x="423188" y="109138"/>
                  </a:moveTo>
                  <a:cubicBezTo>
                    <a:pt x="421475" y="109237"/>
                    <a:pt x="419811" y="109715"/>
                    <a:pt x="418306" y="110531"/>
                  </a:cubicBezTo>
                  <a:cubicBezTo>
                    <a:pt x="420199" y="110232"/>
                    <a:pt x="422072" y="109764"/>
                    <a:pt x="423886" y="109138"/>
                  </a:cubicBezTo>
                  <a:close/>
                  <a:moveTo>
                    <a:pt x="353438" y="116500"/>
                  </a:moveTo>
                  <a:cubicBezTo>
                    <a:pt x="355799" y="115943"/>
                    <a:pt x="358270" y="116261"/>
                    <a:pt x="360413" y="117395"/>
                  </a:cubicBezTo>
                  <a:lnTo>
                    <a:pt x="359018" y="115903"/>
                  </a:lnTo>
                  <a:cubicBezTo>
                    <a:pt x="357264" y="115674"/>
                    <a:pt x="355490" y="115873"/>
                    <a:pt x="353836" y="116500"/>
                  </a:cubicBezTo>
                  <a:close/>
                  <a:moveTo>
                    <a:pt x="321751" y="133015"/>
                  </a:moveTo>
                  <a:cubicBezTo>
                    <a:pt x="322797" y="132288"/>
                    <a:pt x="323734" y="131423"/>
                    <a:pt x="324541" y="130428"/>
                  </a:cubicBezTo>
                  <a:cubicBezTo>
                    <a:pt x="323415" y="131045"/>
                    <a:pt x="322458" y="131940"/>
                    <a:pt x="321751" y="133015"/>
                  </a:cubicBezTo>
                  <a:close/>
                  <a:moveTo>
                    <a:pt x="320555" y="133512"/>
                  </a:moveTo>
                  <a:cubicBezTo>
                    <a:pt x="319828" y="133164"/>
                    <a:pt x="319060" y="132925"/>
                    <a:pt x="318263" y="132816"/>
                  </a:cubicBezTo>
                  <a:cubicBezTo>
                    <a:pt x="318901" y="133552"/>
                    <a:pt x="319927" y="133830"/>
                    <a:pt x="320854" y="133512"/>
                  </a:cubicBezTo>
                  <a:close/>
                  <a:moveTo>
                    <a:pt x="296142" y="134706"/>
                  </a:moveTo>
                  <a:cubicBezTo>
                    <a:pt x="297836" y="133631"/>
                    <a:pt x="299739" y="132915"/>
                    <a:pt x="301722" y="132617"/>
                  </a:cubicBezTo>
                  <a:lnTo>
                    <a:pt x="297338" y="132617"/>
                  </a:lnTo>
                  <a:close/>
                  <a:moveTo>
                    <a:pt x="292356" y="138884"/>
                  </a:moveTo>
                  <a:cubicBezTo>
                    <a:pt x="292485" y="138407"/>
                    <a:pt x="292724" y="137959"/>
                    <a:pt x="293053" y="137591"/>
                  </a:cubicBezTo>
                  <a:cubicBezTo>
                    <a:pt x="291688" y="138586"/>
                    <a:pt x="290174" y="139362"/>
                    <a:pt x="288569" y="139879"/>
                  </a:cubicBezTo>
                  <a:cubicBezTo>
                    <a:pt x="289974" y="139750"/>
                    <a:pt x="291349" y="139412"/>
                    <a:pt x="292655" y="138884"/>
                  </a:cubicBezTo>
                  <a:close/>
                  <a:moveTo>
                    <a:pt x="284085" y="138884"/>
                  </a:moveTo>
                  <a:cubicBezTo>
                    <a:pt x="283458" y="135940"/>
                    <a:pt x="282053" y="133224"/>
                    <a:pt x="280000" y="131025"/>
                  </a:cubicBezTo>
                  <a:cubicBezTo>
                    <a:pt x="282391" y="133910"/>
                    <a:pt x="282890" y="137094"/>
                    <a:pt x="284384" y="138686"/>
                  </a:cubicBezTo>
                  <a:close/>
                  <a:moveTo>
                    <a:pt x="190918" y="132915"/>
                  </a:moveTo>
                  <a:cubicBezTo>
                    <a:pt x="193987" y="130816"/>
                    <a:pt x="196628" y="128150"/>
                    <a:pt x="198690" y="125056"/>
                  </a:cubicBezTo>
                  <a:cubicBezTo>
                    <a:pt x="196468" y="127861"/>
                    <a:pt x="193967" y="130428"/>
                    <a:pt x="191217" y="132716"/>
                  </a:cubicBezTo>
                  <a:close/>
                  <a:moveTo>
                    <a:pt x="168797" y="144953"/>
                  </a:moveTo>
                  <a:lnTo>
                    <a:pt x="172484" y="143162"/>
                  </a:lnTo>
                  <a:cubicBezTo>
                    <a:pt x="170424" y="143889"/>
                    <a:pt x="168332" y="144486"/>
                    <a:pt x="166206" y="144953"/>
                  </a:cubicBezTo>
                  <a:close/>
                  <a:moveTo>
                    <a:pt x="156541" y="147739"/>
                  </a:moveTo>
                  <a:cubicBezTo>
                    <a:pt x="158324" y="146853"/>
                    <a:pt x="160194" y="146157"/>
                    <a:pt x="162121" y="145650"/>
                  </a:cubicBezTo>
                  <a:cubicBezTo>
                    <a:pt x="161030" y="145799"/>
                    <a:pt x="159924" y="145799"/>
                    <a:pt x="158833" y="145650"/>
                  </a:cubicBezTo>
                  <a:cubicBezTo>
                    <a:pt x="158213" y="146326"/>
                    <a:pt x="157547" y="146953"/>
                    <a:pt x="156840" y="147540"/>
                  </a:cubicBezTo>
                  <a:close/>
                  <a:moveTo>
                    <a:pt x="148868" y="151917"/>
                  </a:moveTo>
                  <a:cubicBezTo>
                    <a:pt x="149729" y="151440"/>
                    <a:pt x="150560" y="150903"/>
                    <a:pt x="151359" y="150326"/>
                  </a:cubicBezTo>
                  <a:cubicBezTo>
                    <a:pt x="149496" y="151131"/>
                    <a:pt x="147506" y="151599"/>
                    <a:pt x="145480" y="151718"/>
                  </a:cubicBezTo>
                  <a:cubicBezTo>
                    <a:pt x="146707" y="151828"/>
                    <a:pt x="147941" y="151828"/>
                    <a:pt x="149167" y="151718"/>
                  </a:cubicBezTo>
                  <a:close/>
                  <a:moveTo>
                    <a:pt x="138406" y="149629"/>
                  </a:moveTo>
                  <a:cubicBezTo>
                    <a:pt x="137611" y="148724"/>
                    <a:pt x="136573" y="148067"/>
                    <a:pt x="135416" y="147739"/>
                  </a:cubicBezTo>
                  <a:cubicBezTo>
                    <a:pt x="136448" y="148415"/>
                    <a:pt x="137551" y="148982"/>
                    <a:pt x="138705" y="149430"/>
                  </a:cubicBezTo>
                  <a:close/>
                  <a:moveTo>
                    <a:pt x="85893" y="127344"/>
                  </a:moveTo>
                  <a:cubicBezTo>
                    <a:pt x="86329" y="129841"/>
                    <a:pt x="87430" y="132179"/>
                    <a:pt x="89082" y="134109"/>
                  </a:cubicBezTo>
                  <a:cubicBezTo>
                    <a:pt x="91607" y="135661"/>
                    <a:pt x="94277" y="136954"/>
                    <a:pt x="97053" y="137989"/>
                  </a:cubicBezTo>
                  <a:cubicBezTo>
                    <a:pt x="92032" y="136109"/>
                    <a:pt x="88071" y="132159"/>
                    <a:pt x="86192" y="127145"/>
                  </a:cubicBezTo>
                  <a:close/>
                  <a:moveTo>
                    <a:pt x="85594" y="111426"/>
                  </a:moveTo>
                  <a:cubicBezTo>
                    <a:pt x="85693" y="112749"/>
                    <a:pt x="85693" y="114082"/>
                    <a:pt x="85594" y="115405"/>
                  </a:cubicBezTo>
                  <a:cubicBezTo>
                    <a:pt x="85594" y="114610"/>
                    <a:pt x="85594" y="113714"/>
                    <a:pt x="85594" y="112819"/>
                  </a:cubicBezTo>
                  <a:cubicBezTo>
                    <a:pt x="85525" y="112361"/>
                    <a:pt x="85525" y="111884"/>
                    <a:pt x="85594" y="111426"/>
                  </a:cubicBezTo>
                  <a:close/>
                  <a:moveTo>
                    <a:pt x="83402" y="94016"/>
                  </a:moveTo>
                  <a:cubicBezTo>
                    <a:pt x="83402" y="93021"/>
                    <a:pt x="82605" y="92125"/>
                    <a:pt x="82206" y="90932"/>
                  </a:cubicBezTo>
                  <a:cubicBezTo>
                    <a:pt x="82619" y="92563"/>
                    <a:pt x="82919" y="94224"/>
                    <a:pt x="83103" y="95906"/>
                  </a:cubicBezTo>
                  <a:close/>
                  <a:moveTo>
                    <a:pt x="82406" y="103964"/>
                  </a:moveTo>
                  <a:cubicBezTo>
                    <a:pt x="82824" y="104382"/>
                    <a:pt x="83192" y="104850"/>
                    <a:pt x="83502" y="105357"/>
                  </a:cubicBezTo>
                  <a:cubicBezTo>
                    <a:pt x="83349" y="104104"/>
                    <a:pt x="83349" y="102830"/>
                    <a:pt x="83502" y="101577"/>
                  </a:cubicBezTo>
                  <a:cubicBezTo>
                    <a:pt x="83296" y="102432"/>
                    <a:pt x="82996" y="103268"/>
                    <a:pt x="82605" y="104064"/>
                  </a:cubicBezTo>
                  <a:close/>
                  <a:moveTo>
                    <a:pt x="73537" y="64169"/>
                  </a:moveTo>
                  <a:cubicBezTo>
                    <a:pt x="75256" y="68696"/>
                    <a:pt x="77569" y="72984"/>
                    <a:pt x="80413" y="76904"/>
                  </a:cubicBezTo>
                  <a:cubicBezTo>
                    <a:pt x="78451" y="72556"/>
                    <a:pt x="76152" y="68358"/>
                    <a:pt x="73537" y="64368"/>
                  </a:cubicBezTo>
                  <a:close/>
                  <a:moveTo>
                    <a:pt x="61480" y="50042"/>
                  </a:moveTo>
                  <a:lnTo>
                    <a:pt x="62178" y="50042"/>
                  </a:lnTo>
                  <a:cubicBezTo>
                    <a:pt x="59735" y="47515"/>
                    <a:pt x="57066" y="45217"/>
                    <a:pt x="54206" y="43178"/>
                  </a:cubicBezTo>
                  <a:close/>
                  <a:moveTo>
                    <a:pt x="22819" y="41785"/>
                  </a:moveTo>
                  <a:cubicBezTo>
                    <a:pt x="31388" y="39198"/>
                    <a:pt x="35473" y="34721"/>
                    <a:pt x="42747" y="37009"/>
                  </a:cubicBezTo>
                  <a:cubicBezTo>
                    <a:pt x="42438" y="36771"/>
                    <a:pt x="42104" y="36572"/>
                    <a:pt x="41751" y="36412"/>
                  </a:cubicBezTo>
                  <a:cubicBezTo>
                    <a:pt x="34676" y="34522"/>
                    <a:pt x="28996" y="38900"/>
                    <a:pt x="22819" y="41785"/>
                  </a:cubicBezTo>
                  <a:close/>
                  <a:moveTo>
                    <a:pt x="8071" y="41785"/>
                  </a:moveTo>
                  <a:cubicBezTo>
                    <a:pt x="6679" y="40641"/>
                    <a:pt x="5498" y="39258"/>
                    <a:pt x="4584" y="37706"/>
                  </a:cubicBezTo>
                  <a:cubicBezTo>
                    <a:pt x="5323" y="39347"/>
                    <a:pt x="6494" y="40760"/>
                    <a:pt x="7972" y="41785"/>
                  </a:cubicBezTo>
                  <a:close/>
                  <a:moveTo>
                    <a:pt x="2890" y="31836"/>
                  </a:moveTo>
                  <a:cubicBezTo>
                    <a:pt x="2740" y="30642"/>
                    <a:pt x="2740" y="29448"/>
                    <a:pt x="2890" y="28254"/>
                  </a:cubicBezTo>
                  <a:cubicBezTo>
                    <a:pt x="2064" y="26921"/>
                    <a:pt x="1094" y="25688"/>
                    <a:pt x="0" y="24573"/>
                  </a:cubicBezTo>
                  <a:cubicBezTo>
                    <a:pt x="1297" y="26852"/>
                    <a:pt x="2271" y="29289"/>
                    <a:pt x="2890" y="31836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67" name="Freeform: Shape 1566">
              <a:extLst>
                <a:ext uri="{FF2B5EF4-FFF2-40B4-BE49-F238E27FC236}">
                  <a16:creationId xmlns:a16="http://schemas.microsoft.com/office/drawing/2014/main" id="{6A6F175D-FB09-4675-8F6A-1C7F0F3282A2}"/>
                </a:ext>
              </a:extLst>
            </p:cNvPr>
            <p:cNvSpPr/>
            <p:nvPr/>
          </p:nvSpPr>
          <p:spPr>
            <a:xfrm>
              <a:off x="-1435042" y="3128417"/>
              <a:ext cx="36868" cy="33617"/>
            </a:xfrm>
            <a:custGeom>
              <a:avLst/>
              <a:gdLst>
                <a:gd name="connsiteX0" fmla="*/ 36868 w 36868"/>
                <a:gd name="connsiteY0" fmla="*/ 31936 h 33617"/>
                <a:gd name="connsiteX1" fmla="*/ 0 w 36868"/>
                <a:gd name="connsiteY1" fmla="*/ 2089 h 33617"/>
                <a:gd name="connsiteX2" fmla="*/ 5979 w 36868"/>
                <a:gd name="connsiteY2" fmla="*/ 0 h 33617"/>
                <a:gd name="connsiteX3" fmla="*/ 36868 w 36868"/>
                <a:gd name="connsiteY3" fmla="*/ 31936 h 3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68" h="33617">
                  <a:moveTo>
                    <a:pt x="36868" y="31936"/>
                  </a:moveTo>
                  <a:cubicBezTo>
                    <a:pt x="20626" y="40691"/>
                    <a:pt x="8270" y="12934"/>
                    <a:pt x="0" y="2089"/>
                  </a:cubicBezTo>
                  <a:lnTo>
                    <a:pt x="5979" y="0"/>
                  </a:lnTo>
                  <a:cubicBezTo>
                    <a:pt x="15475" y="11392"/>
                    <a:pt x="25798" y="22066"/>
                    <a:pt x="36868" y="31936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68" name="Freeform: Shape 1567">
              <a:extLst>
                <a:ext uri="{FF2B5EF4-FFF2-40B4-BE49-F238E27FC236}">
                  <a16:creationId xmlns:a16="http://schemas.microsoft.com/office/drawing/2014/main" id="{AC1247C8-F2AD-4D83-B280-D2AC2165733D}"/>
                </a:ext>
              </a:extLst>
            </p:cNvPr>
            <p:cNvSpPr/>
            <p:nvPr/>
          </p:nvSpPr>
          <p:spPr>
            <a:xfrm>
              <a:off x="-1595469" y="2973569"/>
              <a:ext cx="70192" cy="14813"/>
            </a:xfrm>
            <a:custGeom>
              <a:avLst/>
              <a:gdLst>
                <a:gd name="connsiteX0" fmla="*/ 69751 w 70192"/>
                <a:gd name="connsiteY0" fmla="*/ 8602 h 14813"/>
                <a:gd name="connsiteX1" fmla="*/ 45836 w 70192"/>
                <a:gd name="connsiteY1" fmla="*/ 9597 h 14813"/>
                <a:gd name="connsiteX2" fmla="*/ 5979 w 70192"/>
                <a:gd name="connsiteY2" fmla="*/ 12681 h 14813"/>
                <a:gd name="connsiteX3" fmla="*/ 0 w 70192"/>
                <a:gd name="connsiteY3" fmla="*/ 642 h 14813"/>
                <a:gd name="connsiteX4" fmla="*/ 59786 w 70192"/>
                <a:gd name="connsiteY4" fmla="*/ 642 h 14813"/>
                <a:gd name="connsiteX5" fmla="*/ 69751 w 70192"/>
                <a:gd name="connsiteY5" fmla="*/ 8602 h 1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192" h="14813">
                  <a:moveTo>
                    <a:pt x="69751" y="8602"/>
                  </a:moveTo>
                  <a:cubicBezTo>
                    <a:pt x="61849" y="9885"/>
                    <a:pt x="53818" y="10213"/>
                    <a:pt x="45836" y="9597"/>
                  </a:cubicBezTo>
                  <a:cubicBezTo>
                    <a:pt x="32484" y="11089"/>
                    <a:pt x="19431" y="18351"/>
                    <a:pt x="5979" y="12681"/>
                  </a:cubicBezTo>
                  <a:cubicBezTo>
                    <a:pt x="5999" y="7955"/>
                    <a:pt x="3776" y="3488"/>
                    <a:pt x="0" y="642"/>
                  </a:cubicBezTo>
                  <a:cubicBezTo>
                    <a:pt x="16342" y="-1546"/>
                    <a:pt x="41452" y="2732"/>
                    <a:pt x="59786" y="642"/>
                  </a:cubicBezTo>
                  <a:cubicBezTo>
                    <a:pt x="65566" y="1140"/>
                    <a:pt x="71943" y="642"/>
                    <a:pt x="69751" y="8602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69" name="Freeform: Shape 1568">
              <a:extLst>
                <a:ext uri="{FF2B5EF4-FFF2-40B4-BE49-F238E27FC236}">
                  <a16:creationId xmlns:a16="http://schemas.microsoft.com/office/drawing/2014/main" id="{E0FF1CDB-9CCA-4C4C-9345-872313FECF77}"/>
                </a:ext>
              </a:extLst>
            </p:cNvPr>
            <p:cNvSpPr/>
            <p:nvPr/>
          </p:nvSpPr>
          <p:spPr>
            <a:xfrm>
              <a:off x="-1663227" y="2971824"/>
              <a:ext cx="59864" cy="26762"/>
            </a:xfrm>
            <a:custGeom>
              <a:avLst/>
              <a:gdLst>
                <a:gd name="connsiteX0" fmla="*/ 41850 w 59864"/>
                <a:gd name="connsiteY0" fmla="*/ 26762 h 26762"/>
                <a:gd name="connsiteX1" fmla="*/ 31886 w 59864"/>
                <a:gd name="connsiteY1" fmla="*/ 17808 h 26762"/>
                <a:gd name="connsiteX2" fmla="*/ 0 w 59864"/>
                <a:gd name="connsiteY2" fmla="*/ 6865 h 26762"/>
                <a:gd name="connsiteX3" fmla="*/ 10961 w 59864"/>
                <a:gd name="connsiteY3" fmla="*/ 0 h 26762"/>
                <a:gd name="connsiteX4" fmla="*/ 50818 w 59864"/>
                <a:gd name="connsiteY4" fmla="*/ 5870 h 26762"/>
                <a:gd name="connsiteX5" fmla="*/ 41850 w 59864"/>
                <a:gd name="connsiteY5" fmla="*/ 26762 h 2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864" h="26762">
                  <a:moveTo>
                    <a:pt x="41850" y="26762"/>
                  </a:moveTo>
                  <a:cubicBezTo>
                    <a:pt x="37496" y="25180"/>
                    <a:pt x="33919" y="21967"/>
                    <a:pt x="31886" y="17808"/>
                  </a:cubicBezTo>
                  <a:cubicBezTo>
                    <a:pt x="20776" y="15759"/>
                    <a:pt x="10024" y="12068"/>
                    <a:pt x="0" y="6865"/>
                  </a:cubicBezTo>
                  <a:lnTo>
                    <a:pt x="10961" y="0"/>
                  </a:lnTo>
                  <a:cubicBezTo>
                    <a:pt x="23217" y="0"/>
                    <a:pt x="38762" y="10645"/>
                    <a:pt x="50818" y="5870"/>
                  </a:cubicBezTo>
                  <a:cubicBezTo>
                    <a:pt x="68455" y="16813"/>
                    <a:pt x="57495" y="24076"/>
                    <a:pt x="41850" y="26762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0" name="Freeform: Shape 1569">
              <a:extLst>
                <a:ext uri="{FF2B5EF4-FFF2-40B4-BE49-F238E27FC236}">
                  <a16:creationId xmlns:a16="http://schemas.microsoft.com/office/drawing/2014/main" id="{62B29402-335D-4F05-B11B-E65FCD4968F6}"/>
                </a:ext>
              </a:extLst>
            </p:cNvPr>
            <p:cNvSpPr/>
            <p:nvPr/>
          </p:nvSpPr>
          <p:spPr>
            <a:xfrm>
              <a:off x="-2012978" y="489109"/>
              <a:ext cx="60960" cy="70543"/>
            </a:xfrm>
            <a:custGeom>
              <a:avLst/>
              <a:gdLst>
                <a:gd name="connsiteX0" fmla="*/ 0 w 60960"/>
                <a:gd name="connsiteY0" fmla="*/ 20800 h 70543"/>
                <a:gd name="connsiteX1" fmla="*/ 27900 w 60960"/>
                <a:gd name="connsiteY1" fmla="*/ 12841 h 70543"/>
                <a:gd name="connsiteX2" fmla="*/ 37865 w 60960"/>
                <a:gd name="connsiteY2" fmla="*/ 7 h 70543"/>
                <a:gd name="connsiteX3" fmla="*/ 54804 w 60960"/>
                <a:gd name="connsiteY3" fmla="*/ 35723 h 70543"/>
                <a:gd name="connsiteX4" fmla="*/ 52811 w 60960"/>
                <a:gd name="connsiteY4" fmla="*/ 58605 h 70543"/>
                <a:gd name="connsiteX5" fmla="*/ 45836 w 60960"/>
                <a:gd name="connsiteY5" fmla="*/ 70543 h 70543"/>
                <a:gd name="connsiteX6" fmla="*/ 0 w 60960"/>
                <a:gd name="connsiteY6" fmla="*/ 20800 h 70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960" h="70543">
                  <a:moveTo>
                    <a:pt x="0" y="20800"/>
                  </a:moveTo>
                  <a:cubicBezTo>
                    <a:pt x="9720" y="19930"/>
                    <a:pt x="19188" y="17230"/>
                    <a:pt x="27900" y="12841"/>
                  </a:cubicBezTo>
                  <a:cubicBezTo>
                    <a:pt x="29594" y="9359"/>
                    <a:pt x="32584" y="-292"/>
                    <a:pt x="37865" y="7"/>
                  </a:cubicBezTo>
                  <a:cubicBezTo>
                    <a:pt x="50719" y="6274"/>
                    <a:pt x="71345" y="22789"/>
                    <a:pt x="54804" y="35723"/>
                  </a:cubicBezTo>
                  <a:cubicBezTo>
                    <a:pt x="60540" y="42604"/>
                    <a:pt x="59651" y="52815"/>
                    <a:pt x="52811" y="58605"/>
                  </a:cubicBezTo>
                  <a:cubicBezTo>
                    <a:pt x="55203" y="66265"/>
                    <a:pt x="54904" y="70344"/>
                    <a:pt x="45836" y="70543"/>
                  </a:cubicBezTo>
                  <a:cubicBezTo>
                    <a:pt x="13950" y="58605"/>
                    <a:pt x="7972" y="55720"/>
                    <a:pt x="0" y="2080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1" name="Freeform: Shape 1570">
              <a:extLst>
                <a:ext uri="{FF2B5EF4-FFF2-40B4-BE49-F238E27FC236}">
                  <a16:creationId xmlns:a16="http://schemas.microsoft.com/office/drawing/2014/main" id="{64947A66-4D51-484E-8AB2-C38C9BC9664F}"/>
                </a:ext>
              </a:extLst>
            </p:cNvPr>
            <p:cNvSpPr/>
            <p:nvPr/>
          </p:nvSpPr>
          <p:spPr>
            <a:xfrm>
              <a:off x="2069395" y="815573"/>
              <a:ext cx="32845" cy="25771"/>
            </a:xfrm>
            <a:custGeom>
              <a:avLst/>
              <a:gdLst>
                <a:gd name="connsiteX0" fmla="*/ 27944 w 32845"/>
                <a:gd name="connsiteY0" fmla="*/ 1851 h 25771"/>
                <a:gd name="connsiteX1" fmla="*/ 17980 w 32845"/>
                <a:gd name="connsiteY1" fmla="*/ 25628 h 25771"/>
                <a:gd name="connsiteX2" fmla="*/ 8015 w 32845"/>
                <a:gd name="connsiteY2" fmla="*/ 11800 h 25771"/>
                <a:gd name="connsiteX3" fmla="*/ 44 w 32845"/>
                <a:gd name="connsiteY3" fmla="*/ 4736 h 25771"/>
                <a:gd name="connsiteX4" fmla="*/ 27944 w 32845"/>
                <a:gd name="connsiteY4" fmla="*/ 1851 h 25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845" h="25771">
                  <a:moveTo>
                    <a:pt x="27944" y="1851"/>
                  </a:moveTo>
                  <a:cubicBezTo>
                    <a:pt x="35716" y="13690"/>
                    <a:pt x="35517" y="27320"/>
                    <a:pt x="17980" y="25628"/>
                  </a:cubicBezTo>
                  <a:cubicBezTo>
                    <a:pt x="15539" y="20445"/>
                    <a:pt x="12160" y="15759"/>
                    <a:pt x="8015" y="11800"/>
                  </a:cubicBezTo>
                  <a:cubicBezTo>
                    <a:pt x="5126" y="10606"/>
                    <a:pt x="-554" y="8914"/>
                    <a:pt x="44" y="4736"/>
                  </a:cubicBezTo>
                  <a:cubicBezTo>
                    <a:pt x="8444" y="-338"/>
                    <a:pt x="18677" y="-1392"/>
                    <a:pt x="27944" y="1851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2" name="Freeform: Shape 1571">
              <a:extLst>
                <a:ext uri="{FF2B5EF4-FFF2-40B4-BE49-F238E27FC236}">
                  <a16:creationId xmlns:a16="http://schemas.microsoft.com/office/drawing/2014/main" id="{EC4CC8F8-DCAE-48D2-8D99-54DBB1915EF9}"/>
                </a:ext>
              </a:extLst>
            </p:cNvPr>
            <p:cNvSpPr/>
            <p:nvPr/>
          </p:nvSpPr>
          <p:spPr>
            <a:xfrm>
              <a:off x="3170506" y="4341325"/>
              <a:ext cx="19928" cy="12886"/>
            </a:xfrm>
            <a:custGeom>
              <a:avLst/>
              <a:gdLst>
                <a:gd name="connsiteX0" fmla="*/ 19929 w 19928"/>
                <a:gd name="connsiteY0" fmla="*/ 342 h 12886"/>
                <a:gd name="connsiteX1" fmla="*/ 966 w 19928"/>
                <a:gd name="connsiteY1" fmla="*/ 12519 h 12886"/>
                <a:gd name="connsiteX2" fmla="*/ 0 w 19928"/>
                <a:gd name="connsiteY2" fmla="*/ 12281 h 12886"/>
                <a:gd name="connsiteX3" fmla="*/ 996 w 19928"/>
                <a:gd name="connsiteY3" fmla="*/ 5316 h 12886"/>
                <a:gd name="connsiteX4" fmla="*/ 19929 w 19928"/>
                <a:gd name="connsiteY4" fmla="*/ 342 h 12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28" h="12886">
                  <a:moveTo>
                    <a:pt x="19929" y="342"/>
                  </a:moveTo>
                  <a:cubicBezTo>
                    <a:pt x="18065" y="8938"/>
                    <a:pt x="9576" y="14389"/>
                    <a:pt x="966" y="12519"/>
                  </a:cubicBezTo>
                  <a:cubicBezTo>
                    <a:pt x="637" y="12450"/>
                    <a:pt x="319" y="12370"/>
                    <a:pt x="0" y="12281"/>
                  </a:cubicBezTo>
                  <a:lnTo>
                    <a:pt x="996" y="5316"/>
                  </a:lnTo>
                  <a:cubicBezTo>
                    <a:pt x="2690" y="-1946"/>
                    <a:pt x="15046" y="342"/>
                    <a:pt x="19929" y="342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3" name="Freeform: Shape 1572">
              <a:extLst>
                <a:ext uri="{FF2B5EF4-FFF2-40B4-BE49-F238E27FC236}">
                  <a16:creationId xmlns:a16="http://schemas.microsoft.com/office/drawing/2014/main" id="{2FABA931-54AF-464C-B63A-2FC04C8399A4}"/>
                </a:ext>
              </a:extLst>
            </p:cNvPr>
            <p:cNvSpPr/>
            <p:nvPr/>
          </p:nvSpPr>
          <p:spPr>
            <a:xfrm>
              <a:off x="3197411" y="4311200"/>
              <a:ext cx="71743" cy="34943"/>
            </a:xfrm>
            <a:custGeom>
              <a:avLst/>
              <a:gdLst>
                <a:gd name="connsiteX0" fmla="*/ 71743 w 71743"/>
                <a:gd name="connsiteY0" fmla="*/ 17035 h 34943"/>
                <a:gd name="connsiteX1" fmla="*/ 45836 w 71743"/>
                <a:gd name="connsiteY1" fmla="*/ 22010 h 34943"/>
                <a:gd name="connsiteX2" fmla="*/ 0 w 71743"/>
                <a:gd name="connsiteY2" fmla="*/ 34943 h 34943"/>
                <a:gd name="connsiteX3" fmla="*/ 0 w 71743"/>
                <a:gd name="connsiteY3" fmla="*/ 31958 h 34943"/>
                <a:gd name="connsiteX4" fmla="*/ 28896 w 71743"/>
                <a:gd name="connsiteY4" fmla="*/ 9076 h 34943"/>
                <a:gd name="connsiteX5" fmla="*/ 71743 w 71743"/>
                <a:gd name="connsiteY5" fmla="*/ 17035 h 34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743" h="34943">
                  <a:moveTo>
                    <a:pt x="71743" y="17035"/>
                  </a:moveTo>
                  <a:cubicBezTo>
                    <a:pt x="64469" y="19423"/>
                    <a:pt x="53210" y="26984"/>
                    <a:pt x="45836" y="22010"/>
                  </a:cubicBezTo>
                  <a:cubicBezTo>
                    <a:pt x="31687" y="26785"/>
                    <a:pt x="15245" y="34844"/>
                    <a:pt x="0" y="34943"/>
                  </a:cubicBezTo>
                  <a:lnTo>
                    <a:pt x="0" y="31958"/>
                  </a:lnTo>
                  <a:cubicBezTo>
                    <a:pt x="6147" y="20746"/>
                    <a:pt x="16570" y="12499"/>
                    <a:pt x="28896" y="9076"/>
                  </a:cubicBezTo>
                  <a:cubicBezTo>
                    <a:pt x="38562" y="-7936"/>
                    <a:pt x="64569" y="1416"/>
                    <a:pt x="71743" y="1703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4" name="Freeform: Shape 1573">
              <a:extLst>
                <a:ext uri="{FF2B5EF4-FFF2-40B4-BE49-F238E27FC236}">
                  <a16:creationId xmlns:a16="http://schemas.microsoft.com/office/drawing/2014/main" id="{B9F78474-9B99-431E-B430-53B9B2DF859F}"/>
                </a:ext>
              </a:extLst>
            </p:cNvPr>
            <p:cNvSpPr/>
            <p:nvPr/>
          </p:nvSpPr>
          <p:spPr>
            <a:xfrm>
              <a:off x="2708158" y="1037623"/>
              <a:ext cx="42846" cy="45321"/>
            </a:xfrm>
            <a:custGeom>
              <a:avLst/>
              <a:gdLst>
                <a:gd name="connsiteX0" fmla="*/ 42847 w 42846"/>
                <a:gd name="connsiteY0" fmla="*/ 2553 h 45321"/>
                <a:gd name="connsiteX1" fmla="*/ 0 w 42846"/>
                <a:gd name="connsiteY1" fmla="*/ 16482 h 45321"/>
                <a:gd name="connsiteX2" fmla="*/ 42847 w 42846"/>
                <a:gd name="connsiteY2" fmla="*/ 2553 h 4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846" h="45321">
                  <a:moveTo>
                    <a:pt x="42847" y="2553"/>
                  </a:moveTo>
                  <a:cubicBezTo>
                    <a:pt x="33779" y="32399"/>
                    <a:pt x="10562" y="74184"/>
                    <a:pt x="0" y="16482"/>
                  </a:cubicBezTo>
                  <a:cubicBezTo>
                    <a:pt x="19729" y="11010"/>
                    <a:pt x="14050" y="-6500"/>
                    <a:pt x="42847" y="2553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5" name="Freeform: Shape 1574">
              <a:extLst>
                <a:ext uri="{FF2B5EF4-FFF2-40B4-BE49-F238E27FC236}">
                  <a16:creationId xmlns:a16="http://schemas.microsoft.com/office/drawing/2014/main" id="{E739C5D7-52E6-4FC3-BB97-2F1142F9F771}"/>
                </a:ext>
              </a:extLst>
            </p:cNvPr>
            <p:cNvSpPr/>
            <p:nvPr/>
          </p:nvSpPr>
          <p:spPr>
            <a:xfrm>
              <a:off x="2551345" y="1107055"/>
              <a:ext cx="18308" cy="26639"/>
            </a:xfrm>
            <a:custGeom>
              <a:avLst/>
              <a:gdLst>
                <a:gd name="connsiteX0" fmla="*/ 18308 w 18308"/>
                <a:gd name="connsiteY0" fmla="*/ 5747 h 26639"/>
                <a:gd name="connsiteX1" fmla="*/ 6351 w 18308"/>
                <a:gd name="connsiteY1" fmla="*/ 26639 h 26639"/>
                <a:gd name="connsiteX2" fmla="*/ 1369 w 18308"/>
                <a:gd name="connsiteY2" fmla="*/ 3857 h 26639"/>
                <a:gd name="connsiteX3" fmla="*/ 18308 w 18308"/>
                <a:gd name="connsiteY3" fmla="*/ 5747 h 2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308" h="26639">
                  <a:moveTo>
                    <a:pt x="18308" y="5747"/>
                  </a:moveTo>
                  <a:cubicBezTo>
                    <a:pt x="12748" y="11686"/>
                    <a:pt x="8652" y="18840"/>
                    <a:pt x="6351" y="26639"/>
                  </a:cubicBezTo>
                  <a:cubicBezTo>
                    <a:pt x="352" y="20680"/>
                    <a:pt x="-1601" y="11766"/>
                    <a:pt x="1369" y="3857"/>
                  </a:cubicBezTo>
                  <a:cubicBezTo>
                    <a:pt x="7646" y="1768"/>
                    <a:pt x="16116" y="-4600"/>
                    <a:pt x="18308" y="574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6" name="Freeform: Shape 1575">
              <a:extLst>
                <a:ext uri="{FF2B5EF4-FFF2-40B4-BE49-F238E27FC236}">
                  <a16:creationId xmlns:a16="http://schemas.microsoft.com/office/drawing/2014/main" id="{BA069236-971C-4B1B-9994-21F5800AC186}"/>
                </a:ext>
              </a:extLst>
            </p:cNvPr>
            <p:cNvSpPr/>
            <p:nvPr/>
          </p:nvSpPr>
          <p:spPr>
            <a:xfrm>
              <a:off x="2260756" y="599447"/>
              <a:ext cx="105257" cy="70176"/>
            </a:xfrm>
            <a:custGeom>
              <a:avLst/>
              <a:gdLst>
                <a:gd name="connsiteX0" fmla="*/ 0 w 105257"/>
                <a:gd name="connsiteY0" fmla="*/ 62677 h 70176"/>
                <a:gd name="connsiteX1" fmla="*/ 4982 w 105257"/>
                <a:gd name="connsiteY1" fmla="*/ 56708 h 70176"/>
                <a:gd name="connsiteX2" fmla="*/ 55800 w 105257"/>
                <a:gd name="connsiteY2" fmla="*/ 28951 h 70176"/>
                <a:gd name="connsiteX3" fmla="*/ 104626 w 105257"/>
                <a:gd name="connsiteY3" fmla="*/ 0 h 70176"/>
                <a:gd name="connsiteX4" fmla="*/ 88683 w 105257"/>
                <a:gd name="connsiteY4" fmla="*/ 19897 h 70176"/>
                <a:gd name="connsiteX5" fmla="*/ 50818 w 105257"/>
                <a:gd name="connsiteY5" fmla="*/ 45764 h 70176"/>
                <a:gd name="connsiteX6" fmla="*/ 26903 w 105257"/>
                <a:gd name="connsiteY6" fmla="*/ 66657 h 70176"/>
                <a:gd name="connsiteX7" fmla="*/ 0 w 105257"/>
                <a:gd name="connsiteY7" fmla="*/ 62677 h 70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5257" h="70176">
                  <a:moveTo>
                    <a:pt x="0" y="62677"/>
                  </a:moveTo>
                  <a:lnTo>
                    <a:pt x="4982" y="56708"/>
                  </a:lnTo>
                  <a:cubicBezTo>
                    <a:pt x="20397" y="44909"/>
                    <a:pt x="37536" y="35547"/>
                    <a:pt x="55800" y="28951"/>
                  </a:cubicBezTo>
                  <a:cubicBezTo>
                    <a:pt x="69810" y="15918"/>
                    <a:pt x="86461" y="6049"/>
                    <a:pt x="104626" y="0"/>
                  </a:cubicBezTo>
                  <a:cubicBezTo>
                    <a:pt x="108512" y="8456"/>
                    <a:pt x="93366" y="15918"/>
                    <a:pt x="88683" y="19897"/>
                  </a:cubicBezTo>
                  <a:cubicBezTo>
                    <a:pt x="88683" y="37706"/>
                    <a:pt x="63373" y="39795"/>
                    <a:pt x="50818" y="45764"/>
                  </a:cubicBezTo>
                  <a:cubicBezTo>
                    <a:pt x="49124" y="55713"/>
                    <a:pt x="35374" y="63572"/>
                    <a:pt x="26903" y="66657"/>
                  </a:cubicBezTo>
                  <a:cubicBezTo>
                    <a:pt x="18284" y="72596"/>
                    <a:pt x="6526" y="70855"/>
                    <a:pt x="0" y="6267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7" name="Freeform: Shape 1576">
              <a:extLst>
                <a:ext uri="{FF2B5EF4-FFF2-40B4-BE49-F238E27FC236}">
                  <a16:creationId xmlns:a16="http://schemas.microsoft.com/office/drawing/2014/main" id="{37E5403B-921E-4D62-A5E2-9364ABDB86FE}"/>
                </a:ext>
              </a:extLst>
            </p:cNvPr>
            <p:cNvSpPr/>
            <p:nvPr/>
          </p:nvSpPr>
          <p:spPr>
            <a:xfrm>
              <a:off x="4816570" y="1378433"/>
              <a:ext cx="10039" cy="17907"/>
            </a:xfrm>
            <a:custGeom>
              <a:avLst/>
              <a:gdLst>
                <a:gd name="connsiteX0" fmla="*/ 8028 w 10039"/>
                <a:gd name="connsiteY0" fmla="*/ 0 h 17907"/>
                <a:gd name="connsiteX1" fmla="*/ 6035 w 10039"/>
                <a:gd name="connsiteY1" fmla="*/ 17908 h 17907"/>
                <a:gd name="connsiteX2" fmla="*/ 2049 w 10039"/>
                <a:gd name="connsiteY2" fmla="*/ 398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39" h="17907">
                  <a:moveTo>
                    <a:pt x="8028" y="0"/>
                  </a:moveTo>
                  <a:cubicBezTo>
                    <a:pt x="11316" y="5770"/>
                    <a:pt x="10520" y="13003"/>
                    <a:pt x="6035" y="17908"/>
                  </a:cubicBezTo>
                  <a:cubicBezTo>
                    <a:pt x="156" y="14525"/>
                    <a:pt x="-1936" y="9949"/>
                    <a:pt x="2049" y="398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8" name="Freeform: Shape 1577">
              <a:extLst>
                <a:ext uri="{FF2B5EF4-FFF2-40B4-BE49-F238E27FC236}">
                  <a16:creationId xmlns:a16="http://schemas.microsoft.com/office/drawing/2014/main" id="{0C5C8F27-88D5-47B1-B910-788932516AB3}"/>
                </a:ext>
              </a:extLst>
            </p:cNvPr>
            <p:cNvSpPr/>
            <p:nvPr/>
          </p:nvSpPr>
          <p:spPr>
            <a:xfrm>
              <a:off x="-2200309" y="375998"/>
              <a:ext cx="7267540" cy="3952232"/>
            </a:xfrm>
            <a:custGeom>
              <a:avLst/>
              <a:gdLst>
                <a:gd name="connsiteX0" fmla="*/ 7263057 w 7267540"/>
                <a:gd name="connsiteY0" fmla="*/ 827338 h 3952232"/>
                <a:gd name="connsiteX1" fmla="*/ 7226189 w 7267540"/>
                <a:gd name="connsiteY1" fmla="*/ 775604 h 3952232"/>
                <a:gd name="connsiteX2" fmla="*/ 7200281 w 7267540"/>
                <a:gd name="connsiteY2" fmla="*/ 762671 h 3952232"/>
                <a:gd name="connsiteX3" fmla="*/ 7206260 w 7267540"/>
                <a:gd name="connsiteY3" fmla="*/ 743768 h 3952232"/>
                <a:gd name="connsiteX4" fmla="*/ 7208253 w 7267540"/>
                <a:gd name="connsiteY4" fmla="*/ 720886 h 3952232"/>
                <a:gd name="connsiteX5" fmla="*/ 7181349 w 7267540"/>
                <a:gd name="connsiteY5" fmla="*/ 698999 h 3952232"/>
                <a:gd name="connsiteX6" fmla="*/ 7159428 w 7267540"/>
                <a:gd name="connsiteY6" fmla="*/ 689050 h 3952232"/>
                <a:gd name="connsiteX7" fmla="*/ 7159428 w 7267540"/>
                <a:gd name="connsiteY7" fmla="*/ 670247 h 3952232"/>
                <a:gd name="connsiteX8" fmla="*/ 7164410 w 7267540"/>
                <a:gd name="connsiteY8" fmla="*/ 661194 h 3952232"/>
                <a:gd name="connsiteX9" fmla="*/ 7166403 w 7267540"/>
                <a:gd name="connsiteY9" fmla="*/ 645375 h 3952232"/>
                <a:gd name="connsiteX10" fmla="*/ 7161421 w 7267540"/>
                <a:gd name="connsiteY10" fmla="*/ 486195 h 3952232"/>
                <a:gd name="connsiteX11" fmla="*/ 7148466 w 7267540"/>
                <a:gd name="connsiteY11" fmla="*/ 426503 h 3952232"/>
                <a:gd name="connsiteX12" fmla="*/ 7134517 w 7267540"/>
                <a:gd name="connsiteY12" fmla="*/ 408495 h 3952232"/>
                <a:gd name="connsiteX13" fmla="*/ 7087684 w 7267540"/>
                <a:gd name="connsiteY13" fmla="*/ 394567 h 3952232"/>
                <a:gd name="connsiteX14" fmla="*/ 7058787 w 7267540"/>
                <a:gd name="connsiteY14" fmla="*/ 402526 h 3952232"/>
                <a:gd name="connsiteX15" fmla="*/ 7020922 w 7267540"/>
                <a:gd name="connsiteY15" fmla="*/ 415460 h 3952232"/>
                <a:gd name="connsiteX16" fmla="*/ 7003982 w 7267540"/>
                <a:gd name="connsiteY16" fmla="*/ 403521 h 3952232"/>
                <a:gd name="connsiteX17" fmla="*/ 7003982 w 7267540"/>
                <a:gd name="connsiteY17" fmla="*/ 370690 h 3952232"/>
                <a:gd name="connsiteX18" fmla="*/ 6995015 w 7267540"/>
                <a:gd name="connsiteY18" fmla="*/ 367706 h 3952232"/>
                <a:gd name="connsiteX19" fmla="*/ 6937221 w 7267540"/>
                <a:gd name="connsiteY19" fmla="*/ 425408 h 3952232"/>
                <a:gd name="connsiteX20" fmla="*/ 6876438 w 7267540"/>
                <a:gd name="connsiteY20" fmla="*/ 552752 h 3952232"/>
                <a:gd name="connsiteX21" fmla="*/ 6857506 w 7267540"/>
                <a:gd name="connsiteY21" fmla="*/ 576629 h 3952232"/>
                <a:gd name="connsiteX22" fmla="*/ 6851527 w 7267540"/>
                <a:gd name="connsiteY22" fmla="*/ 586578 h 3952232"/>
                <a:gd name="connsiteX23" fmla="*/ 6853520 w 7267540"/>
                <a:gd name="connsiteY23" fmla="*/ 605580 h 3952232"/>
                <a:gd name="connsiteX24" fmla="*/ 6844552 w 7267540"/>
                <a:gd name="connsiteY24" fmla="*/ 619409 h 3952232"/>
                <a:gd name="connsiteX25" fmla="*/ 6843556 w 7267540"/>
                <a:gd name="connsiteY25" fmla="*/ 637316 h 3952232"/>
                <a:gd name="connsiteX26" fmla="*/ 6850531 w 7267540"/>
                <a:gd name="connsiteY26" fmla="*/ 650349 h 3952232"/>
                <a:gd name="connsiteX27" fmla="*/ 6834588 w 7267540"/>
                <a:gd name="connsiteY27" fmla="*/ 679101 h 3952232"/>
                <a:gd name="connsiteX28" fmla="*/ 6791741 w 7267540"/>
                <a:gd name="connsiteY28" fmla="*/ 718896 h 3952232"/>
                <a:gd name="connsiteX29" fmla="*/ 6803698 w 7267540"/>
                <a:gd name="connsiteY29" fmla="*/ 741778 h 3952232"/>
                <a:gd name="connsiteX30" fmla="*/ 6791741 w 7267540"/>
                <a:gd name="connsiteY30" fmla="*/ 738794 h 3952232"/>
                <a:gd name="connsiteX31" fmla="*/ 6784765 w 7267540"/>
                <a:gd name="connsiteY31" fmla="*/ 732824 h 3952232"/>
                <a:gd name="connsiteX32" fmla="*/ 6781776 w 7267540"/>
                <a:gd name="connsiteY32" fmla="*/ 742773 h 3952232"/>
                <a:gd name="connsiteX33" fmla="*/ 6781776 w 7267540"/>
                <a:gd name="connsiteY33" fmla="*/ 754811 h 3952232"/>
                <a:gd name="connsiteX34" fmla="*/ 6776794 w 7267540"/>
                <a:gd name="connsiteY34" fmla="*/ 768640 h 3952232"/>
                <a:gd name="connsiteX35" fmla="*/ 6755869 w 7267540"/>
                <a:gd name="connsiteY35" fmla="*/ 748742 h 3952232"/>
                <a:gd name="connsiteX36" fmla="*/ 6746901 w 7267540"/>
                <a:gd name="connsiteY36" fmla="*/ 755707 h 3952232"/>
                <a:gd name="connsiteX37" fmla="*/ 6721990 w 7267540"/>
                <a:gd name="connsiteY37" fmla="*/ 756701 h 3952232"/>
                <a:gd name="connsiteX38" fmla="*/ 6702061 w 7267540"/>
                <a:gd name="connsiteY38" fmla="*/ 767645 h 3952232"/>
                <a:gd name="connsiteX39" fmla="*/ 6694090 w 7267540"/>
                <a:gd name="connsiteY39" fmla="*/ 807440 h 3952232"/>
                <a:gd name="connsiteX40" fmla="*/ 6691100 w 7267540"/>
                <a:gd name="connsiteY40" fmla="*/ 814703 h 3952232"/>
                <a:gd name="connsiteX41" fmla="*/ 6695086 w 7267540"/>
                <a:gd name="connsiteY41" fmla="*/ 825348 h 3952232"/>
                <a:gd name="connsiteX42" fmla="*/ 6693193 w 7267540"/>
                <a:gd name="connsiteY42" fmla="*/ 829427 h 3952232"/>
                <a:gd name="connsiteX43" fmla="*/ 6686118 w 7267540"/>
                <a:gd name="connsiteY43" fmla="*/ 844350 h 3952232"/>
                <a:gd name="connsiteX44" fmla="*/ 6685221 w 7267540"/>
                <a:gd name="connsiteY44" fmla="*/ 845046 h 3952232"/>
                <a:gd name="connsiteX45" fmla="*/ 6680039 w 7267540"/>
                <a:gd name="connsiteY45" fmla="*/ 853005 h 3952232"/>
                <a:gd name="connsiteX46" fmla="*/ 6681036 w 7267540"/>
                <a:gd name="connsiteY46" fmla="*/ 861959 h 3952232"/>
                <a:gd name="connsiteX47" fmla="*/ 6678147 w 7267540"/>
                <a:gd name="connsiteY47" fmla="*/ 855194 h 3952232"/>
                <a:gd name="connsiteX48" fmla="*/ 6680039 w 7267540"/>
                <a:gd name="connsiteY48" fmla="*/ 853005 h 3952232"/>
                <a:gd name="connsiteX49" fmla="*/ 6685221 w 7267540"/>
                <a:gd name="connsiteY49" fmla="*/ 845046 h 3952232"/>
                <a:gd name="connsiteX50" fmla="*/ 6693193 w 7267540"/>
                <a:gd name="connsiteY50" fmla="*/ 829427 h 3952232"/>
                <a:gd name="connsiteX51" fmla="*/ 6691100 w 7267540"/>
                <a:gd name="connsiteY51" fmla="*/ 814703 h 3952232"/>
                <a:gd name="connsiteX52" fmla="*/ 6694090 w 7267540"/>
                <a:gd name="connsiteY52" fmla="*/ 807440 h 3952232"/>
                <a:gd name="connsiteX53" fmla="*/ 6481848 w 7267540"/>
                <a:gd name="connsiteY53" fmla="*/ 807440 h 3952232"/>
                <a:gd name="connsiteX54" fmla="*/ 6463015 w 7267540"/>
                <a:gd name="connsiteY54" fmla="*/ 812016 h 3952232"/>
                <a:gd name="connsiteX55" fmla="*/ 6463015 w 7267540"/>
                <a:gd name="connsiteY55" fmla="*/ 808435 h 3952232"/>
                <a:gd name="connsiteX56" fmla="*/ 6275684 w 7267540"/>
                <a:gd name="connsiteY56" fmla="*/ 807440 h 3952232"/>
                <a:gd name="connsiteX57" fmla="*/ 6158104 w 7267540"/>
                <a:gd name="connsiteY57" fmla="*/ 895984 h 3952232"/>
                <a:gd name="connsiteX58" fmla="*/ 6135186 w 7267540"/>
                <a:gd name="connsiteY58" fmla="*/ 924835 h 3952232"/>
                <a:gd name="connsiteX59" fmla="*/ 6116254 w 7267540"/>
                <a:gd name="connsiteY59" fmla="*/ 933888 h 3952232"/>
                <a:gd name="connsiteX60" fmla="*/ 6108282 w 7267540"/>
                <a:gd name="connsiteY60" fmla="*/ 943837 h 3952232"/>
                <a:gd name="connsiteX61" fmla="*/ 6092339 w 7267540"/>
                <a:gd name="connsiteY61" fmla="*/ 950702 h 3952232"/>
                <a:gd name="connsiteX62" fmla="*/ 6081378 w 7267540"/>
                <a:gd name="connsiteY62" fmla="*/ 980548 h 3952232"/>
                <a:gd name="connsiteX63" fmla="*/ 6093136 w 7267540"/>
                <a:gd name="connsiteY63" fmla="*/ 988308 h 3952232"/>
                <a:gd name="connsiteX64" fmla="*/ 6093336 w 7267540"/>
                <a:gd name="connsiteY64" fmla="*/ 990497 h 3952232"/>
                <a:gd name="connsiteX65" fmla="*/ 6073407 w 7267540"/>
                <a:gd name="connsiteY65" fmla="*/ 1006415 h 3952232"/>
                <a:gd name="connsiteX66" fmla="*/ 6102303 w 7267540"/>
                <a:gd name="connsiteY66" fmla="*/ 1029297 h 3952232"/>
                <a:gd name="connsiteX67" fmla="*/ 6082374 w 7267540"/>
                <a:gd name="connsiteY67" fmla="*/ 1068197 h 3952232"/>
                <a:gd name="connsiteX68" fmla="*/ 6082374 w 7267540"/>
                <a:gd name="connsiteY68" fmla="*/ 1069092 h 3952232"/>
                <a:gd name="connsiteX69" fmla="*/ 6049492 w 7267540"/>
                <a:gd name="connsiteY69" fmla="*/ 1088094 h 3952232"/>
                <a:gd name="connsiteX70" fmla="*/ 6037535 w 7267540"/>
                <a:gd name="connsiteY70" fmla="*/ 1100928 h 3952232"/>
                <a:gd name="connsiteX71" fmla="*/ 6002659 w 7267540"/>
                <a:gd name="connsiteY71" fmla="*/ 1112966 h 3952232"/>
                <a:gd name="connsiteX72" fmla="*/ 5939884 w 7267540"/>
                <a:gd name="connsiteY72" fmla="*/ 1115851 h 3952232"/>
                <a:gd name="connsiteX73" fmla="*/ 5907001 w 7267540"/>
                <a:gd name="connsiteY73" fmla="*/ 1100928 h 3952232"/>
                <a:gd name="connsiteX74" fmla="*/ 5742588 w 7267540"/>
                <a:gd name="connsiteY74" fmla="*/ 1113861 h 3952232"/>
                <a:gd name="connsiteX75" fmla="*/ 5743585 w 7267540"/>
                <a:gd name="connsiteY75" fmla="*/ 1137838 h 3952232"/>
                <a:gd name="connsiteX76" fmla="*/ 5750560 w 7267540"/>
                <a:gd name="connsiteY76" fmla="*/ 1149677 h 3952232"/>
                <a:gd name="connsiteX77" fmla="*/ 5762517 w 7267540"/>
                <a:gd name="connsiteY77" fmla="*/ 1170569 h 3952232"/>
                <a:gd name="connsiteX78" fmla="*/ 5768496 w 7267540"/>
                <a:gd name="connsiteY78" fmla="*/ 1188477 h 3952232"/>
                <a:gd name="connsiteX79" fmla="*/ 5745578 w 7267540"/>
                <a:gd name="connsiteY79" fmla="*/ 1212453 h 3952232"/>
                <a:gd name="connsiteX80" fmla="*/ 5734617 w 7267540"/>
                <a:gd name="connsiteY80" fmla="*/ 1233246 h 3952232"/>
                <a:gd name="connsiteX81" fmla="*/ 5715684 w 7267540"/>
                <a:gd name="connsiteY81" fmla="*/ 1243195 h 3952232"/>
                <a:gd name="connsiteX82" fmla="*/ 5655898 w 7267540"/>
                <a:gd name="connsiteY82" fmla="*/ 1283985 h 3952232"/>
                <a:gd name="connsiteX83" fmla="*/ 5614047 w 7267540"/>
                <a:gd name="connsiteY83" fmla="*/ 1299903 h 3952232"/>
                <a:gd name="connsiteX84" fmla="*/ 5560240 w 7267540"/>
                <a:gd name="connsiteY84" fmla="*/ 1333728 h 3952232"/>
                <a:gd name="connsiteX85" fmla="*/ 5463585 w 7267540"/>
                <a:gd name="connsiteY85" fmla="*/ 1369544 h 3952232"/>
                <a:gd name="connsiteX86" fmla="*/ 5419741 w 7267540"/>
                <a:gd name="connsiteY86" fmla="*/ 1407349 h 3952232"/>
                <a:gd name="connsiteX87" fmla="*/ 5397819 w 7267540"/>
                <a:gd name="connsiteY87" fmla="*/ 1414313 h 3952232"/>
                <a:gd name="connsiteX88" fmla="*/ 5378887 w 7267540"/>
                <a:gd name="connsiteY88" fmla="*/ 1413318 h 3952232"/>
                <a:gd name="connsiteX89" fmla="*/ 5350987 w 7267540"/>
                <a:gd name="connsiteY89" fmla="*/ 1418293 h 3952232"/>
                <a:gd name="connsiteX90" fmla="*/ 5328069 w 7267540"/>
                <a:gd name="connsiteY90" fmla="*/ 1426351 h 3952232"/>
                <a:gd name="connsiteX91" fmla="*/ 5284226 w 7267540"/>
                <a:gd name="connsiteY91" fmla="*/ 1406454 h 3952232"/>
                <a:gd name="connsiteX92" fmla="*/ 5239386 w 7267540"/>
                <a:gd name="connsiteY92" fmla="*/ 1397401 h 3952232"/>
                <a:gd name="connsiteX93" fmla="*/ 5219457 w 7267540"/>
                <a:gd name="connsiteY93" fmla="*/ 1389442 h 3952232"/>
                <a:gd name="connsiteX94" fmla="*/ 5196539 w 7267540"/>
                <a:gd name="connsiteY94" fmla="*/ 1381582 h 3952232"/>
                <a:gd name="connsiteX95" fmla="*/ 5180695 w 7267540"/>
                <a:gd name="connsiteY95" fmla="*/ 1375016 h 3952232"/>
                <a:gd name="connsiteX96" fmla="*/ 5191557 w 7267540"/>
                <a:gd name="connsiteY96" fmla="*/ 1375016 h 3952232"/>
                <a:gd name="connsiteX97" fmla="*/ 5198531 w 7267540"/>
                <a:gd name="connsiteY97" fmla="*/ 1355118 h 3952232"/>
                <a:gd name="connsiteX98" fmla="*/ 5207500 w 7267540"/>
                <a:gd name="connsiteY98" fmla="*/ 1343180 h 3952232"/>
                <a:gd name="connsiteX99" fmla="*/ 5224439 w 7267540"/>
                <a:gd name="connsiteY99" fmla="*/ 1321293 h 3952232"/>
                <a:gd name="connsiteX100" fmla="*/ 5231414 w 7267540"/>
                <a:gd name="connsiteY100" fmla="*/ 1300400 h 3952232"/>
                <a:gd name="connsiteX101" fmla="*/ 5254332 w 7267540"/>
                <a:gd name="connsiteY101" fmla="*/ 1271549 h 3952232"/>
                <a:gd name="connsiteX102" fmla="*/ 5266290 w 7267540"/>
                <a:gd name="connsiteY102" fmla="*/ 1238718 h 3952232"/>
                <a:gd name="connsiteX103" fmla="*/ 5285222 w 7267540"/>
                <a:gd name="connsiteY103" fmla="*/ 1230759 h 3952232"/>
                <a:gd name="connsiteX104" fmla="*/ 5288211 w 7267540"/>
                <a:gd name="connsiteY104" fmla="*/ 1241703 h 3952232"/>
                <a:gd name="connsiteX105" fmla="*/ 5322090 w 7267540"/>
                <a:gd name="connsiteY105" fmla="*/ 1159128 h 3952232"/>
                <a:gd name="connsiteX106" fmla="*/ 5299172 w 7267540"/>
                <a:gd name="connsiteY106" fmla="*/ 1059641 h 3952232"/>
                <a:gd name="connsiteX107" fmla="*/ 5257322 w 7267540"/>
                <a:gd name="connsiteY107" fmla="*/ 974181 h 3952232"/>
                <a:gd name="connsiteX108" fmla="*/ 5242375 w 7267540"/>
                <a:gd name="connsiteY108" fmla="*/ 984130 h 3952232"/>
                <a:gd name="connsiteX109" fmla="*/ 5215471 w 7267540"/>
                <a:gd name="connsiteY109" fmla="*/ 990994 h 3952232"/>
                <a:gd name="connsiteX110" fmla="*/ 5197535 w 7267540"/>
                <a:gd name="connsiteY110" fmla="*/ 1000943 h 3952232"/>
                <a:gd name="connsiteX111" fmla="*/ 5184582 w 7267540"/>
                <a:gd name="connsiteY111" fmla="*/ 1030789 h 3952232"/>
                <a:gd name="connsiteX112" fmla="*/ 5162660 w 7267540"/>
                <a:gd name="connsiteY112" fmla="*/ 1057651 h 3952232"/>
                <a:gd name="connsiteX113" fmla="*/ 5133763 w 7267540"/>
                <a:gd name="connsiteY113" fmla="*/ 1043822 h 3952232"/>
                <a:gd name="connsiteX114" fmla="*/ 5131770 w 7267540"/>
                <a:gd name="connsiteY114" fmla="*/ 1025815 h 3952232"/>
                <a:gd name="connsiteX115" fmla="*/ 5160667 w 7267540"/>
                <a:gd name="connsiteY115" fmla="*/ 989104 h 3952232"/>
                <a:gd name="connsiteX116" fmla="*/ 5174617 w 7267540"/>
                <a:gd name="connsiteY116" fmla="*/ 977066 h 3952232"/>
                <a:gd name="connsiteX117" fmla="*/ 5182589 w 7267540"/>
                <a:gd name="connsiteY117" fmla="*/ 941251 h 3952232"/>
                <a:gd name="connsiteX118" fmla="*/ 5197535 w 7267540"/>
                <a:gd name="connsiteY118" fmla="*/ 934386 h 3952232"/>
                <a:gd name="connsiteX119" fmla="*/ 5208496 w 7267540"/>
                <a:gd name="connsiteY119" fmla="*/ 879668 h 3952232"/>
                <a:gd name="connsiteX120" fmla="*/ 5208496 w 7267540"/>
                <a:gd name="connsiteY120" fmla="*/ 835794 h 3952232"/>
                <a:gd name="connsiteX121" fmla="*/ 5193549 w 7267540"/>
                <a:gd name="connsiteY121" fmla="*/ 820871 h 3952232"/>
                <a:gd name="connsiteX122" fmla="*/ 5214475 w 7267540"/>
                <a:gd name="connsiteY122" fmla="*/ 805948 h 3952232"/>
                <a:gd name="connsiteX123" fmla="*/ 5197535 w 7267540"/>
                <a:gd name="connsiteY123" fmla="*/ 770232 h 3952232"/>
                <a:gd name="connsiteX124" fmla="*/ 5186575 w 7267540"/>
                <a:gd name="connsiteY124" fmla="*/ 747250 h 3952232"/>
                <a:gd name="connsiteX125" fmla="*/ 5142731 w 7267540"/>
                <a:gd name="connsiteY125" fmla="*/ 733322 h 3952232"/>
                <a:gd name="connsiteX126" fmla="*/ 5110845 w 7267540"/>
                <a:gd name="connsiteY126" fmla="*/ 721383 h 3952232"/>
                <a:gd name="connsiteX127" fmla="*/ 5069991 w 7267540"/>
                <a:gd name="connsiteY127" fmla="*/ 690642 h 3952232"/>
                <a:gd name="connsiteX128" fmla="*/ 5053051 w 7267540"/>
                <a:gd name="connsiteY128" fmla="*/ 685667 h 3952232"/>
                <a:gd name="connsiteX129" fmla="*/ 4995258 w 7267540"/>
                <a:gd name="connsiteY129" fmla="*/ 674624 h 3952232"/>
                <a:gd name="connsiteX130" fmla="*/ 5000240 w 7267540"/>
                <a:gd name="connsiteY130" fmla="*/ 687558 h 3952232"/>
                <a:gd name="connsiteX131" fmla="*/ 4981307 w 7267540"/>
                <a:gd name="connsiteY131" fmla="*/ 709445 h 3952232"/>
                <a:gd name="connsiteX132" fmla="*/ 5007215 w 7267540"/>
                <a:gd name="connsiteY132" fmla="*/ 737301 h 3952232"/>
                <a:gd name="connsiteX133" fmla="*/ 4972340 w 7267540"/>
                <a:gd name="connsiteY133" fmla="*/ 746255 h 3952232"/>
                <a:gd name="connsiteX134" fmla="*/ 4931485 w 7267540"/>
                <a:gd name="connsiteY134" fmla="*/ 815001 h 3952232"/>
                <a:gd name="connsiteX135" fmla="*/ 4927500 w 7267540"/>
                <a:gd name="connsiteY135" fmla="*/ 773117 h 3952232"/>
                <a:gd name="connsiteX136" fmla="*/ 4902589 w 7267540"/>
                <a:gd name="connsiteY136" fmla="*/ 800973 h 3952232"/>
                <a:gd name="connsiteX137" fmla="*/ 4879670 w 7267540"/>
                <a:gd name="connsiteY137" fmla="*/ 815896 h 3952232"/>
                <a:gd name="connsiteX138" fmla="*/ 4859741 w 7267540"/>
                <a:gd name="connsiteY138" fmla="*/ 856686 h 3952232"/>
                <a:gd name="connsiteX139" fmla="*/ 4842802 w 7267540"/>
                <a:gd name="connsiteY139" fmla="*/ 887527 h 3952232"/>
                <a:gd name="connsiteX140" fmla="*/ 4838816 w 7267540"/>
                <a:gd name="connsiteY140" fmla="*/ 916379 h 3952232"/>
                <a:gd name="connsiteX141" fmla="*/ 4805934 w 7267540"/>
                <a:gd name="connsiteY141" fmla="*/ 976071 h 3952232"/>
                <a:gd name="connsiteX142" fmla="*/ 4815898 w 7267540"/>
                <a:gd name="connsiteY142" fmla="*/ 1017856 h 3952232"/>
                <a:gd name="connsiteX143" fmla="*/ 4802945 w 7267540"/>
                <a:gd name="connsiteY143" fmla="*/ 1048797 h 3952232"/>
                <a:gd name="connsiteX144" fmla="*/ 4836823 w 7267540"/>
                <a:gd name="connsiteY144" fmla="*/ 1139231 h 3952232"/>
                <a:gd name="connsiteX145" fmla="*/ 4824866 w 7267540"/>
                <a:gd name="connsiteY145" fmla="*/ 1288462 h 3952232"/>
                <a:gd name="connsiteX146" fmla="*/ 4784012 w 7267540"/>
                <a:gd name="connsiteY146" fmla="*/ 1358103 h 3952232"/>
                <a:gd name="connsiteX147" fmla="*/ 4767073 w 7267540"/>
                <a:gd name="connsiteY147" fmla="*/ 1370041 h 3952232"/>
                <a:gd name="connsiteX148" fmla="*/ 4699315 w 7267540"/>
                <a:gd name="connsiteY148" fmla="*/ 1392923 h 3952232"/>
                <a:gd name="connsiteX149" fmla="*/ 4679386 w 7267540"/>
                <a:gd name="connsiteY149" fmla="*/ 1378995 h 3952232"/>
                <a:gd name="connsiteX150" fmla="*/ 4679386 w 7267540"/>
                <a:gd name="connsiteY150" fmla="*/ 1386059 h 3952232"/>
                <a:gd name="connsiteX151" fmla="*/ 4678390 w 7267540"/>
                <a:gd name="connsiteY151" fmla="*/ 1373026 h 3952232"/>
                <a:gd name="connsiteX152" fmla="*/ 4668425 w 7267540"/>
                <a:gd name="connsiteY152" fmla="*/ 1349149 h 3952232"/>
                <a:gd name="connsiteX153" fmla="*/ 4661450 w 7267540"/>
                <a:gd name="connsiteY153" fmla="*/ 1325272 h 3952232"/>
                <a:gd name="connsiteX154" fmla="*/ 4644510 w 7267540"/>
                <a:gd name="connsiteY154" fmla="*/ 1295426 h 3952232"/>
                <a:gd name="connsiteX155" fmla="*/ 4644510 w 7267540"/>
                <a:gd name="connsiteY155" fmla="*/ 1246677 h 3952232"/>
                <a:gd name="connsiteX156" fmla="*/ 4648496 w 7267540"/>
                <a:gd name="connsiteY156" fmla="*/ 1196933 h 3952232"/>
                <a:gd name="connsiteX157" fmla="*/ 4632553 w 7267540"/>
                <a:gd name="connsiteY157" fmla="*/ 1157138 h 3952232"/>
                <a:gd name="connsiteX158" fmla="*/ 4631557 w 7267540"/>
                <a:gd name="connsiteY158" fmla="*/ 1138335 h 3952232"/>
                <a:gd name="connsiteX159" fmla="*/ 4633550 w 7267540"/>
                <a:gd name="connsiteY159" fmla="*/ 1106400 h 3952232"/>
                <a:gd name="connsiteX160" fmla="*/ 4645507 w 7267540"/>
                <a:gd name="connsiteY160" fmla="*/ 1074564 h 3952232"/>
                <a:gd name="connsiteX161" fmla="*/ 4656468 w 7267540"/>
                <a:gd name="connsiteY161" fmla="*/ 1042728 h 3952232"/>
                <a:gd name="connsiteX162" fmla="*/ 4657464 w 7267540"/>
                <a:gd name="connsiteY162" fmla="*/ 1026810 h 3952232"/>
                <a:gd name="connsiteX163" fmla="*/ 4653479 w 7267540"/>
                <a:gd name="connsiteY163" fmla="*/ 1005917 h 3952232"/>
                <a:gd name="connsiteX164" fmla="*/ 4669422 w 7267540"/>
                <a:gd name="connsiteY164" fmla="*/ 963138 h 3952232"/>
                <a:gd name="connsiteX165" fmla="*/ 4681379 w 7267540"/>
                <a:gd name="connsiteY165" fmla="*/ 950204 h 3952232"/>
                <a:gd name="connsiteX166" fmla="*/ 4698319 w 7267540"/>
                <a:gd name="connsiteY166" fmla="*/ 867630 h 3952232"/>
                <a:gd name="connsiteX167" fmla="*/ 4719244 w 7267540"/>
                <a:gd name="connsiteY167" fmla="*/ 830819 h 3952232"/>
                <a:gd name="connsiteX168" fmla="*/ 4727215 w 7267540"/>
                <a:gd name="connsiteY168" fmla="*/ 807937 h 3952232"/>
                <a:gd name="connsiteX169" fmla="*/ 4739172 w 7267540"/>
                <a:gd name="connsiteY169" fmla="*/ 777096 h 3952232"/>
                <a:gd name="connsiteX170" fmla="*/ 4738176 w 7267540"/>
                <a:gd name="connsiteY170" fmla="*/ 758194 h 3952232"/>
                <a:gd name="connsiteX171" fmla="*/ 4723230 w 7267540"/>
                <a:gd name="connsiteY171" fmla="*/ 780180 h 3952232"/>
                <a:gd name="connsiteX172" fmla="*/ 4712268 w 7267540"/>
                <a:gd name="connsiteY172" fmla="*/ 795999 h 3952232"/>
                <a:gd name="connsiteX173" fmla="*/ 4689350 w 7267540"/>
                <a:gd name="connsiteY173" fmla="*/ 830819 h 3952232"/>
                <a:gd name="connsiteX174" fmla="*/ 4654475 w 7267540"/>
                <a:gd name="connsiteY174" fmla="*/ 859770 h 3952232"/>
                <a:gd name="connsiteX175" fmla="*/ 4636539 w 7267540"/>
                <a:gd name="connsiteY175" fmla="*/ 879668 h 3952232"/>
                <a:gd name="connsiteX176" fmla="*/ 4626575 w 7267540"/>
                <a:gd name="connsiteY176" fmla="*/ 893497 h 3952232"/>
                <a:gd name="connsiteX177" fmla="*/ 4619599 w 7267540"/>
                <a:gd name="connsiteY177" fmla="*/ 879668 h 3952232"/>
                <a:gd name="connsiteX178" fmla="*/ 4631557 w 7267540"/>
                <a:gd name="connsiteY178" fmla="*/ 842758 h 3952232"/>
                <a:gd name="connsiteX179" fmla="*/ 4639528 w 7267540"/>
                <a:gd name="connsiteY179" fmla="*/ 832809 h 3952232"/>
                <a:gd name="connsiteX180" fmla="*/ 4642517 w 7267540"/>
                <a:gd name="connsiteY180" fmla="*/ 818881 h 3952232"/>
                <a:gd name="connsiteX181" fmla="*/ 4671415 w 7267540"/>
                <a:gd name="connsiteY181" fmla="*/ 794009 h 3952232"/>
                <a:gd name="connsiteX182" fmla="*/ 4667130 w 7267540"/>
                <a:gd name="connsiteY182" fmla="*/ 793313 h 3952232"/>
                <a:gd name="connsiteX183" fmla="*/ 4676397 w 7267540"/>
                <a:gd name="connsiteY183" fmla="*/ 776101 h 3952232"/>
                <a:gd name="connsiteX184" fmla="*/ 4709279 w 7267540"/>
                <a:gd name="connsiteY184" fmla="*/ 721383 h 3952232"/>
                <a:gd name="connsiteX185" fmla="*/ 4736183 w 7267540"/>
                <a:gd name="connsiteY185" fmla="*/ 682583 h 3952232"/>
                <a:gd name="connsiteX186" fmla="*/ 4774048 w 7267540"/>
                <a:gd name="connsiteY186" fmla="*/ 665770 h 3952232"/>
                <a:gd name="connsiteX187" fmla="*/ 4789991 w 7267540"/>
                <a:gd name="connsiteY187" fmla="*/ 679599 h 3952232"/>
                <a:gd name="connsiteX188" fmla="*/ 4784341 w 7267540"/>
                <a:gd name="connsiteY188" fmla="*/ 707167 h 3952232"/>
                <a:gd name="connsiteX189" fmla="*/ 4790987 w 7267540"/>
                <a:gd name="connsiteY189" fmla="*/ 713424 h 3952232"/>
                <a:gd name="connsiteX190" fmla="*/ 4835827 w 7267540"/>
                <a:gd name="connsiteY190" fmla="*/ 641793 h 3952232"/>
                <a:gd name="connsiteX191" fmla="*/ 4881663 w 7267540"/>
                <a:gd name="connsiteY191" fmla="*/ 645872 h 3952232"/>
                <a:gd name="connsiteX192" fmla="*/ 4908567 w 7267540"/>
                <a:gd name="connsiteY192" fmla="*/ 638809 h 3952232"/>
                <a:gd name="connsiteX193" fmla="*/ 4928496 w 7267540"/>
                <a:gd name="connsiteY193" fmla="*/ 616922 h 3952232"/>
                <a:gd name="connsiteX194" fmla="*/ 4977322 w 7267540"/>
                <a:gd name="connsiteY194" fmla="*/ 621896 h 3952232"/>
                <a:gd name="connsiteX195" fmla="*/ 5034119 w 7267540"/>
                <a:gd name="connsiteY195" fmla="*/ 658706 h 3952232"/>
                <a:gd name="connsiteX196" fmla="*/ 5051058 w 7267540"/>
                <a:gd name="connsiteY196" fmla="*/ 640898 h 3952232"/>
                <a:gd name="connsiteX197" fmla="*/ 5074973 w 7267540"/>
                <a:gd name="connsiteY197" fmla="*/ 643783 h 3952232"/>
                <a:gd name="connsiteX198" fmla="*/ 5133763 w 7267540"/>
                <a:gd name="connsiteY198" fmla="*/ 637814 h 3952232"/>
                <a:gd name="connsiteX199" fmla="*/ 5165649 w 7267540"/>
                <a:gd name="connsiteY199" fmla="*/ 640898 h 3952232"/>
                <a:gd name="connsiteX200" fmla="*/ 5187571 w 7267540"/>
                <a:gd name="connsiteY200" fmla="*/ 631845 h 3952232"/>
                <a:gd name="connsiteX201" fmla="*/ 5157678 w 7267540"/>
                <a:gd name="connsiteY201" fmla="*/ 612942 h 3952232"/>
                <a:gd name="connsiteX202" fmla="*/ 5137749 w 7267540"/>
                <a:gd name="connsiteY202" fmla="*/ 623886 h 3952232"/>
                <a:gd name="connsiteX203" fmla="*/ 5107855 w 7267540"/>
                <a:gd name="connsiteY203" fmla="*/ 600009 h 3952232"/>
                <a:gd name="connsiteX204" fmla="*/ 5104866 w 7267540"/>
                <a:gd name="connsiteY204" fmla="*/ 564193 h 3952232"/>
                <a:gd name="connsiteX205" fmla="*/ 5085934 w 7267540"/>
                <a:gd name="connsiteY205" fmla="*/ 542306 h 3952232"/>
                <a:gd name="connsiteX206" fmla="*/ 5060026 w 7267540"/>
                <a:gd name="connsiteY206" fmla="*/ 551359 h 3952232"/>
                <a:gd name="connsiteX207" fmla="*/ 5037108 w 7267540"/>
                <a:gd name="connsiteY207" fmla="*/ 543301 h 3952232"/>
                <a:gd name="connsiteX208" fmla="*/ 5015187 w 7267540"/>
                <a:gd name="connsiteY208" fmla="*/ 548275 h 3952232"/>
                <a:gd name="connsiteX209" fmla="*/ 5001236 w 7267540"/>
                <a:gd name="connsiteY209" fmla="*/ 490572 h 3952232"/>
                <a:gd name="connsiteX210" fmla="*/ 4936468 w 7267540"/>
                <a:gd name="connsiteY210" fmla="*/ 507485 h 3952232"/>
                <a:gd name="connsiteX211" fmla="*/ 4800952 w 7267540"/>
                <a:gd name="connsiteY211" fmla="*/ 543301 h 3952232"/>
                <a:gd name="connsiteX212" fmla="*/ 4783016 w 7267540"/>
                <a:gd name="connsiteY212" fmla="*/ 530367 h 3952232"/>
                <a:gd name="connsiteX213" fmla="*/ 4748141 w 7267540"/>
                <a:gd name="connsiteY213" fmla="*/ 535342 h 3952232"/>
                <a:gd name="connsiteX214" fmla="*/ 4699315 w 7267540"/>
                <a:gd name="connsiteY214" fmla="*/ 539321 h 3952232"/>
                <a:gd name="connsiteX215" fmla="*/ 4673408 w 7267540"/>
                <a:gd name="connsiteY215" fmla="*/ 500521 h 3952232"/>
                <a:gd name="connsiteX216" fmla="*/ 4631557 w 7267540"/>
                <a:gd name="connsiteY216" fmla="*/ 465701 h 3952232"/>
                <a:gd name="connsiteX217" fmla="*/ 4601664 w 7267540"/>
                <a:gd name="connsiteY217" fmla="*/ 454757 h 3952232"/>
                <a:gd name="connsiteX218" fmla="*/ 4558817 w 7267540"/>
                <a:gd name="connsiteY218" fmla="*/ 476744 h 3952232"/>
                <a:gd name="connsiteX219" fmla="*/ 4576753 w 7267540"/>
                <a:gd name="connsiteY219" fmla="*/ 433865 h 3952232"/>
                <a:gd name="connsiteX220" fmla="*/ 4594688 w 7267540"/>
                <a:gd name="connsiteY220" fmla="*/ 409988 h 3952232"/>
                <a:gd name="connsiteX221" fmla="*/ 4617606 w 7267540"/>
                <a:gd name="connsiteY221" fmla="*/ 392179 h 3952232"/>
                <a:gd name="connsiteX222" fmla="*/ 4626754 w 7267540"/>
                <a:gd name="connsiteY222" fmla="*/ 377983 h 3952232"/>
                <a:gd name="connsiteX223" fmla="*/ 4626575 w 7267540"/>
                <a:gd name="connsiteY223" fmla="*/ 377256 h 3952232"/>
                <a:gd name="connsiteX224" fmla="*/ 4659457 w 7267540"/>
                <a:gd name="connsiteY224" fmla="*/ 364223 h 3952232"/>
                <a:gd name="connsiteX225" fmla="*/ 4545863 w 7267540"/>
                <a:gd name="connsiteY225" fmla="*/ 404018 h 3952232"/>
                <a:gd name="connsiteX226" fmla="*/ 4507998 w 7267540"/>
                <a:gd name="connsiteY226" fmla="*/ 430880 h 3952232"/>
                <a:gd name="connsiteX227" fmla="*/ 4490062 w 7267540"/>
                <a:gd name="connsiteY227" fmla="*/ 448788 h 3952232"/>
                <a:gd name="connsiteX228" fmla="*/ 4465151 w 7267540"/>
                <a:gd name="connsiteY228" fmla="*/ 464706 h 3952232"/>
                <a:gd name="connsiteX229" fmla="*/ 4403372 w 7267540"/>
                <a:gd name="connsiteY229" fmla="*/ 480624 h 3952232"/>
                <a:gd name="connsiteX230" fmla="*/ 4362518 w 7267540"/>
                <a:gd name="connsiteY230" fmla="*/ 509475 h 3952232"/>
                <a:gd name="connsiteX231" fmla="*/ 4315685 w 7267540"/>
                <a:gd name="connsiteY231" fmla="*/ 528378 h 3952232"/>
                <a:gd name="connsiteX232" fmla="*/ 4315685 w 7267540"/>
                <a:gd name="connsiteY232" fmla="*/ 529273 h 3952232"/>
                <a:gd name="connsiteX233" fmla="*/ 4317379 w 7267540"/>
                <a:gd name="connsiteY233" fmla="*/ 532357 h 3952232"/>
                <a:gd name="connsiteX234" fmla="*/ 4319770 w 7267540"/>
                <a:gd name="connsiteY234" fmla="*/ 533452 h 3952232"/>
                <a:gd name="connsiteX235" fmla="*/ 4323756 w 7267540"/>
                <a:gd name="connsiteY235" fmla="*/ 532357 h 3952232"/>
                <a:gd name="connsiteX236" fmla="*/ 4319770 w 7267540"/>
                <a:gd name="connsiteY236" fmla="*/ 533452 h 3952232"/>
                <a:gd name="connsiteX237" fmla="*/ 4318375 w 7267540"/>
                <a:gd name="connsiteY237" fmla="*/ 534347 h 3952232"/>
                <a:gd name="connsiteX238" fmla="*/ 4317379 w 7267540"/>
                <a:gd name="connsiteY238" fmla="*/ 532357 h 3952232"/>
                <a:gd name="connsiteX239" fmla="*/ 4315685 w 7267540"/>
                <a:gd name="connsiteY239" fmla="*/ 529273 h 3952232"/>
                <a:gd name="connsiteX240" fmla="*/ 4312397 w 7267540"/>
                <a:gd name="connsiteY240" fmla="*/ 529273 h 3952232"/>
                <a:gd name="connsiteX241" fmla="*/ 4296454 w 7267540"/>
                <a:gd name="connsiteY241" fmla="*/ 525294 h 3952232"/>
                <a:gd name="connsiteX242" fmla="*/ 4274532 w 7267540"/>
                <a:gd name="connsiteY242" fmla="*/ 505396 h 3952232"/>
                <a:gd name="connsiteX243" fmla="*/ 4263571 w 7267540"/>
                <a:gd name="connsiteY243" fmla="*/ 519324 h 3952232"/>
                <a:gd name="connsiteX244" fmla="*/ 4247628 w 7267540"/>
                <a:gd name="connsiteY244" fmla="*/ 523304 h 3952232"/>
                <a:gd name="connsiteX245" fmla="*/ 4260582 w 7267540"/>
                <a:gd name="connsiteY245" fmla="*/ 504401 h 3952232"/>
                <a:gd name="connsiteX246" fmla="*/ 4267557 w 7267540"/>
                <a:gd name="connsiteY246" fmla="*/ 481619 h 3952232"/>
                <a:gd name="connsiteX247" fmla="*/ 4266561 w 7267540"/>
                <a:gd name="connsiteY247" fmla="*/ 460627 h 3952232"/>
                <a:gd name="connsiteX248" fmla="*/ 4242646 w 7267540"/>
                <a:gd name="connsiteY248" fmla="*/ 451772 h 3952232"/>
                <a:gd name="connsiteX249" fmla="*/ 4220724 w 7267540"/>
                <a:gd name="connsiteY249" fmla="*/ 477540 h 3952232"/>
                <a:gd name="connsiteX250" fmla="*/ 4209763 w 7267540"/>
                <a:gd name="connsiteY250" fmla="*/ 478535 h 3952232"/>
                <a:gd name="connsiteX251" fmla="*/ 4196810 w 7267540"/>
                <a:gd name="connsiteY251" fmla="*/ 485499 h 3952232"/>
                <a:gd name="connsiteX252" fmla="*/ 4177877 w 7267540"/>
                <a:gd name="connsiteY252" fmla="*/ 493458 h 3952232"/>
                <a:gd name="connsiteX253" fmla="*/ 4160938 w 7267540"/>
                <a:gd name="connsiteY253" fmla="*/ 497437 h 3952232"/>
                <a:gd name="connsiteX254" fmla="*/ 4114105 w 7267540"/>
                <a:gd name="connsiteY254" fmla="*/ 502412 h 3952232"/>
                <a:gd name="connsiteX255" fmla="*/ 4140012 w 7267540"/>
                <a:gd name="connsiteY255" fmla="*/ 460627 h 3952232"/>
                <a:gd name="connsiteX256" fmla="*/ 4208767 w 7267540"/>
                <a:gd name="connsiteY256" fmla="*/ 397054 h 3952232"/>
                <a:gd name="connsiteX257" fmla="*/ 4314390 w 7267540"/>
                <a:gd name="connsiteY257" fmla="*/ 312490 h 3952232"/>
                <a:gd name="connsiteX258" fmla="*/ 4431969 w 7267540"/>
                <a:gd name="connsiteY258" fmla="*/ 260657 h 3952232"/>
                <a:gd name="connsiteX259" fmla="*/ 4399087 w 7267540"/>
                <a:gd name="connsiteY259" fmla="*/ 258667 h 3952232"/>
                <a:gd name="connsiteX260" fmla="*/ 4371187 w 7267540"/>
                <a:gd name="connsiteY260" fmla="*/ 259662 h 3952232"/>
                <a:gd name="connsiteX261" fmla="*/ 4350262 w 7267540"/>
                <a:gd name="connsiteY261" fmla="*/ 241754 h 3952232"/>
                <a:gd name="connsiteX262" fmla="*/ 4296454 w 7267540"/>
                <a:gd name="connsiteY262" fmla="*/ 239765 h 3952232"/>
                <a:gd name="connsiteX263" fmla="*/ 4261578 w 7267540"/>
                <a:gd name="connsiteY263" fmla="*/ 216883 h 3952232"/>
                <a:gd name="connsiteX264" fmla="*/ 4210760 w 7267540"/>
                <a:gd name="connsiteY264" fmla="*/ 246729 h 3952232"/>
                <a:gd name="connsiteX265" fmla="*/ 4173891 w 7267540"/>
                <a:gd name="connsiteY265" fmla="*/ 252798 h 3952232"/>
                <a:gd name="connsiteX266" fmla="*/ 4154959 w 7267540"/>
                <a:gd name="connsiteY266" fmla="*/ 240760 h 3952232"/>
                <a:gd name="connsiteX267" fmla="*/ 4143998 w 7267540"/>
                <a:gd name="connsiteY267" fmla="*/ 224842 h 3952232"/>
                <a:gd name="connsiteX268" fmla="*/ 4118091 w 7267540"/>
                <a:gd name="connsiteY268" fmla="*/ 215888 h 3952232"/>
                <a:gd name="connsiteX269" fmla="*/ 4095173 w 7267540"/>
                <a:gd name="connsiteY269" fmla="*/ 194995 h 3952232"/>
                <a:gd name="connsiteX270" fmla="*/ 4079229 w 7267540"/>
                <a:gd name="connsiteY270" fmla="*/ 201960 h 3952232"/>
                <a:gd name="connsiteX271" fmla="*/ 4069265 w 7267540"/>
                <a:gd name="connsiteY271" fmla="*/ 221857 h 3952232"/>
                <a:gd name="connsiteX272" fmla="*/ 4058304 w 7267540"/>
                <a:gd name="connsiteY272" fmla="*/ 185047 h 3952232"/>
                <a:gd name="connsiteX273" fmla="*/ 4051329 w 7267540"/>
                <a:gd name="connsiteY273" fmla="*/ 178182 h 3952232"/>
                <a:gd name="connsiteX274" fmla="*/ 4033393 w 7267540"/>
                <a:gd name="connsiteY274" fmla="*/ 175098 h 3952232"/>
                <a:gd name="connsiteX275" fmla="*/ 4036383 w 7267540"/>
                <a:gd name="connsiteY275" fmla="*/ 160175 h 3952232"/>
                <a:gd name="connsiteX276" fmla="*/ 3972610 w 7267540"/>
                <a:gd name="connsiteY276" fmla="*/ 145252 h 3952232"/>
                <a:gd name="connsiteX277" fmla="*/ 3943713 w 7267540"/>
                <a:gd name="connsiteY277" fmla="*/ 149231 h 3952232"/>
                <a:gd name="connsiteX278" fmla="*/ 3931756 w 7267540"/>
                <a:gd name="connsiteY278" fmla="*/ 160175 h 3952232"/>
                <a:gd name="connsiteX279" fmla="*/ 3887913 w 7267540"/>
                <a:gd name="connsiteY279" fmla="*/ 164154 h 3952232"/>
                <a:gd name="connsiteX280" fmla="*/ 3853038 w 7267540"/>
                <a:gd name="connsiteY280" fmla="*/ 141272 h 3952232"/>
                <a:gd name="connsiteX281" fmla="*/ 3833109 w 7267540"/>
                <a:gd name="connsiteY281" fmla="*/ 139282 h 3952232"/>
                <a:gd name="connsiteX282" fmla="*/ 3829123 w 7267540"/>
                <a:gd name="connsiteY282" fmla="*/ 129334 h 3952232"/>
                <a:gd name="connsiteX283" fmla="*/ 3808198 w 7267540"/>
                <a:gd name="connsiteY283" fmla="*/ 132318 h 3952232"/>
                <a:gd name="connsiteX284" fmla="*/ 3777308 w 7267540"/>
                <a:gd name="connsiteY284" fmla="*/ 113515 h 3952232"/>
                <a:gd name="connsiteX285" fmla="*/ 3770333 w 7267540"/>
                <a:gd name="connsiteY285" fmla="*/ 73720 h 3952232"/>
                <a:gd name="connsiteX286" fmla="*/ 3761365 w 7267540"/>
                <a:gd name="connsiteY286" fmla="*/ 11938 h 3952232"/>
                <a:gd name="connsiteX287" fmla="*/ 3744425 w 7267540"/>
                <a:gd name="connsiteY287" fmla="*/ 2985 h 3952232"/>
                <a:gd name="connsiteX288" fmla="*/ 3719514 w 7267540"/>
                <a:gd name="connsiteY288" fmla="*/ 0 h 3952232"/>
                <a:gd name="connsiteX289" fmla="*/ 3719514 w 7267540"/>
                <a:gd name="connsiteY289" fmla="*/ 73720 h 3952232"/>
                <a:gd name="connsiteX290" fmla="*/ 419502 w 7267540"/>
                <a:gd name="connsiteY290" fmla="*/ 73720 h 3952232"/>
                <a:gd name="connsiteX291" fmla="*/ 240142 w 7267540"/>
                <a:gd name="connsiteY291" fmla="*/ 84564 h 3952232"/>
                <a:gd name="connsiteX292" fmla="*/ 252099 w 7267540"/>
                <a:gd name="connsiteY292" fmla="*/ 113515 h 3952232"/>
                <a:gd name="connsiteX293" fmla="*/ 261067 w 7267540"/>
                <a:gd name="connsiteY293" fmla="*/ 163259 h 3952232"/>
                <a:gd name="connsiteX294" fmla="*/ 259075 w 7267540"/>
                <a:gd name="connsiteY294" fmla="*/ 184052 h 3952232"/>
                <a:gd name="connsiteX295" fmla="*/ 248114 w 7267540"/>
                <a:gd name="connsiteY295" fmla="*/ 213898 h 3952232"/>
                <a:gd name="connsiteX296" fmla="*/ 267046 w 7267540"/>
                <a:gd name="connsiteY296" fmla="*/ 257772 h 3952232"/>
                <a:gd name="connsiteX297" fmla="*/ 271032 w 7267540"/>
                <a:gd name="connsiteY297" fmla="*/ 272695 h 3952232"/>
                <a:gd name="connsiteX298" fmla="*/ 255089 w 7267540"/>
                <a:gd name="connsiteY298" fmla="*/ 267721 h 3952232"/>
                <a:gd name="connsiteX299" fmla="*/ 238149 w 7267540"/>
                <a:gd name="connsiteY299" fmla="*/ 237874 h 3952232"/>
                <a:gd name="connsiteX300" fmla="*/ 199288 w 7267540"/>
                <a:gd name="connsiteY300" fmla="*/ 229816 h 3952232"/>
                <a:gd name="connsiteX301" fmla="*/ 125552 w 7267540"/>
                <a:gd name="connsiteY301" fmla="*/ 232900 h 3952232"/>
                <a:gd name="connsiteX302" fmla="*/ 84697 w 7267540"/>
                <a:gd name="connsiteY302" fmla="*/ 229816 h 3952232"/>
                <a:gd name="connsiteX303" fmla="*/ 59786 w 7267540"/>
                <a:gd name="connsiteY303" fmla="*/ 213003 h 3952232"/>
                <a:gd name="connsiteX304" fmla="*/ 0 w 7267540"/>
                <a:gd name="connsiteY304" fmla="*/ 190021 h 3952232"/>
                <a:gd name="connsiteX305" fmla="*/ 996 w 7267540"/>
                <a:gd name="connsiteY305" fmla="*/ 233795 h 3952232"/>
                <a:gd name="connsiteX306" fmla="*/ 12954 w 7267540"/>
                <a:gd name="connsiteY306" fmla="*/ 283539 h 3952232"/>
                <a:gd name="connsiteX307" fmla="*/ 51815 w 7267540"/>
                <a:gd name="connsiteY307" fmla="*/ 383027 h 3952232"/>
                <a:gd name="connsiteX308" fmla="*/ 67758 w 7267540"/>
                <a:gd name="connsiteY308" fmla="*/ 419837 h 3952232"/>
                <a:gd name="connsiteX309" fmla="*/ 68754 w 7267540"/>
                <a:gd name="connsiteY309" fmla="*/ 462617 h 3952232"/>
                <a:gd name="connsiteX310" fmla="*/ 81708 w 7267540"/>
                <a:gd name="connsiteY310" fmla="*/ 497437 h 3952232"/>
                <a:gd name="connsiteX311" fmla="*/ 82705 w 7267540"/>
                <a:gd name="connsiteY311" fmla="*/ 516439 h 3952232"/>
                <a:gd name="connsiteX312" fmla="*/ 81708 w 7267540"/>
                <a:gd name="connsiteY312" fmla="*/ 582996 h 3952232"/>
                <a:gd name="connsiteX313" fmla="*/ 107616 w 7267540"/>
                <a:gd name="connsiteY313" fmla="*/ 587971 h 3952232"/>
                <a:gd name="connsiteX314" fmla="*/ 115587 w 7267540"/>
                <a:gd name="connsiteY314" fmla="*/ 580012 h 3952232"/>
                <a:gd name="connsiteX315" fmla="*/ 125552 w 7267540"/>
                <a:gd name="connsiteY315" fmla="*/ 578022 h 3952232"/>
                <a:gd name="connsiteX316" fmla="*/ 133523 w 7267540"/>
                <a:gd name="connsiteY316" fmla="*/ 582996 h 3952232"/>
                <a:gd name="connsiteX317" fmla="*/ 152156 w 7267540"/>
                <a:gd name="connsiteY317" fmla="*/ 583593 h 3952232"/>
                <a:gd name="connsiteX318" fmla="*/ 143487 w 7267540"/>
                <a:gd name="connsiteY318" fmla="*/ 589961 h 3952232"/>
                <a:gd name="connsiteX319" fmla="*/ 121566 w 7267540"/>
                <a:gd name="connsiteY319" fmla="*/ 592945 h 3952232"/>
                <a:gd name="connsiteX320" fmla="*/ 91673 w 7267540"/>
                <a:gd name="connsiteY320" fmla="*/ 588966 h 3952232"/>
                <a:gd name="connsiteX321" fmla="*/ 96655 w 7267540"/>
                <a:gd name="connsiteY321" fmla="*/ 605978 h 3952232"/>
                <a:gd name="connsiteX322" fmla="*/ 100641 w 7267540"/>
                <a:gd name="connsiteY322" fmla="*/ 623786 h 3952232"/>
                <a:gd name="connsiteX323" fmla="*/ 92669 w 7267540"/>
                <a:gd name="connsiteY323" fmla="*/ 640799 h 3952232"/>
                <a:gd name="connsiteX324" fmla="*/ 95658 w 7267540"/>
                <a:gd name="connsiteY324" fmla="*/ 670645 h 3952232"/>
                <a:gd name="connsiteX325" fmla="*/ 99644 w 7267540"/>
                <a:gd name="connsiteY325" fmla="*/ 683479 h 3952232"/>
                <a:gd name="connsiteX326" fmla="*/ 97651 w 7267540"/>
                <a:gd name="connsiteY326" fmla="*/ 709345 h 3952232"/>
                <a:gd name="connsiteX327" fmla="*/ 93665 w 7267540"/>
                <a:gd name="connsiteY327" fmla="*/ 748145 h 3952232"/>
                <a:gd name="connsiteX328" fmla="*/ 83701 w 7267540"/>
                <a:gd name="connsiteY328" fmla="*/ 862556 h 3952232"/>
                <a:gd name="connsiteX329" fmla="*/ 55801 w 7267540"/>
                <a:gd name="connsiteY329" fmla="*/ 1084413 h 3952232"/>
                <a:gd name="connsiteX330" fmla="*/ 43843 w 7267540"/>
                <a:gd name="connsiteY330" fmla="*/ 1113364 h 3952232"/>
                <a:gd name="connsiteX331" fmla="*/ 21922 w 7267540"/>
                <a:gd name="connsiteY331" fmla="*/ 1186885 h 3952232"/>
                <a:gd name="connsiteX332" fmla="*/ 39858 w 7267540"/>
                <a:gd name="connsiteY332" fmla="*/ 1218721 h 3952232"/>
                <a:gd name="connsiteX333" fmla="*/ 37865 w 7267540"/>
                <a:gd name="connsiteY333" fmla="*/ 1270454 h 3952232"/>
                <a:gd name="connsiteX334" fmla="*/ 45836 w 7267540"/>
                <a:gd name="connsiteY334" fmla="*/ 1299306 h 3952232"/>
                <a:gd name="connsiteX335" fmla="*/ 64769 w 7267540"/>
                <a:gd name="connsiteY335" fmla="*/ 1330147 h 3952232"/>
                <a:gd name="connsiteX336" fmla="*/ 60783 w 7267540"/>
                <a:gd name="connsiteY336" fmla="*/ 1364968 h 3952232"/>
                <a:gd name="connsiteX337" fmla="*/ 73737 w 7267540"/>
                <a:gd name="connsiteY337" fmla="*/ 1378896 h 3952232"/>
                <a:gd name="connsiteX338" fmla="*/ 82705 w 7267540"/>
                <a:gd name="connsiteY338" fmla="*/ 1419686 h 3952232"/>
                <a:gd name="connsiteX339" fmla="*/ 71744 w 7267540"/>
                <a:gd name="connsiteY339" fmla="*/ 1483358 h 3952232"/>
                <a:gd name="connsiteX340" fmla="*/ 42847 w 7267540"/>
                <a:gd name="connsiteY340" fmla="*/ 1579860 h 3952232"/>
                <a:gd name="connsiteX341" fmla="*/ 46833 w 7267540"/>
                <a:gd name="connsiteY341" fmla="*/ 1608712 h 3952232"/>
                <a:gd name="connsiteX342" fmla="*/ 58790 w 7267540"/>
                <a:gd name="connsiteY342" fmla="*/ 1632589 h 3952232"/>
                <a:gd name="connsiteX343" fmla="*/ 73737 w 7267540"/>
                <a:gd name="connsiteY343" fmla="*/ 1643532 h 3952232"/>
                <a:gd name="connsiteX344" fmla="*/ 82705 w 7267540"/>
                <a:gd name="connsiteY344" fmla="*/ 1659450 h 3952232"/>
                <a:gd name="connsiteX345" fmla="*/ 110605 w 7267540"/>
                <a:gd name="connsiteY345" fmla="*/ 1690391 h 3952232"/>
                <a:gd name="connsiteX346" fmla="*/ 117580 w 7267540"/>
                <a:gd name="connsiteY346" fmla="*/ 1714168 h 3952232"/>
                <a:gd name="connsiteX347" fmla="*/ 114591 w 7267540"/>
                <a:gd name="connsiteY347" fmla="*/ 1752969 h 3952232"/>
                <a:gd name="connsiteX348" fmla="*/ 130534 w 7267540"/>
                <a:gd name="connsiteY348" fmla="*/ 1821615 h 3952232"/>
                <a:gd name="connsiteX349" fmla="*/ 132150 w 7267540"/>
                <a:gd name="connsiteY349" fmla="*/ 1844775 h 3952232"/>
                <a:gd name="connsiteX350" fmla="*/ 134520 w 7267540"/>
                <a:gd name="connsiteY350" fmla="*/ 1846487 h 3952232"/>
                <a:gd name="connsiteX351" fmla="*/ 175374 w 7267540"/>
                <a:gd name="connsiteY351" fmla="*/ 1895236 h 3952232"/>
                <a:gd name="connsiteX352" fmla="*/ 210249 w 7267540"/>
                <a:gd name="connsiteY352" fmla="*/ 1938015 h 3952232"/>
                <a:gd name="connsiteX353" fmla="*/ 219217 w 7267540"/>
                <a:gd name="connsiteY353" fmla="*/ 1947964 h 3952232"/>
                <a:gd name="connsiteX354" fmla="*/ 216228 w 7267540"/>
                <a:gd name="connsiteY354" fmla="*/ 1985769 h 3952232"/>
                <a:gd name="connsiteX355" fmla="*/ 225196 w 7267540"/>
                <a:gd name="connsiteY355" fmla="*/ 1980795 h 3952232"/>
                <a:gd name="connsiteX356" fmla="*/ 248114 w 7267540"/>
                <a:gd name="connsiteY356" fmla="*/ 1996713 h 3952232"/>
                <a:gd name="connsiteX357" fmla="*/ 258078 w 7267540"/>
                <a:gd name="connsiteY357" fmla="*/ 2000692 h 3952232"/>
                <a:gd name="connsiteX358" fmla="*/ 275018 w 7267540"/>
                <a:gd name="connsiteY358" fmla="*/ 2012631 h 3952232"/>
                <a:gd name="connsiteX359" fmla="*/ 281993 w 7267540"/>
                <a:gd name="connsiteY359" fmla="*/ 1998802 h 3952232"/>
                <a:gd name="connsiteX360" fmla="*/ 280000 w 7267540"/>
                <a:gd name="connsiteY360" fmla="*/ 1980795 h 3952232"/>
                <a:gd name="connsiteX361" fmla="*/ 292954 w 7267540"/>
                <a:gd name="connsiteY361" fmla="*/ 1962887 h 3952232"/>
                <a:gd name="connsiteX362" fmla="*/ 309893 w 7267540"/>
                <a:gd name="connsiteY362" fmla="*/ 1977810 h 3952232"/>
                <a:gd name="connsiteX363" fmla="*/ 296939 w 7267540"/>
                <a:gd name="connsiteY363" fmla="*/ 1984774 h 3952232"/>
                <a:gd name="connsiteX364" fmla="*/ 289964 w 7267540"/>
                <a:gd name="connsiteY364" fmla="*/ 1992733 h 3952232"/>
                <a:gd name="connsiteX365" fmla="*/ 300925 w 7267540"/>
                <a:gd name="connsiteY365" fmla="*/ 2000692 h 3952232"/>
                <a:gd name="connsiteX366" fmla="*/ 304911 w 7267540"/>
                <a:gd name="connsiteY366" fmla="*/ 2012631 h 3952232"/>
                <a:gd name="connsiteX367" fmla="*/ 302180 w 7267540"/>
                <a:gd name="connsiteY367" fmla="*/ 2019416 h 3952232"/>
                <a:gd name="connsiteX368" fmla="*/ 303914 w 7267540"/>
                <a:gd name="connsiteY368" fmla="*/ 2021585 h 3952232"/>
                <a:gd name="connsiteX369" fmla="*/ 311886 w 7267540"/>
                <a:gd name="connsiteY369" fmla="*/ 2029544 h 3952232"/>
                <a:gd name="connsiteX370" fmla="*/ 322847 w 7267540"/>
                <a:gd name="connsiteY370" fmla="*/ 2038597 h 3952232"/>
                <a:gd name="connsiteX371" fmla="*/ 324840 w 7267540"/>
                <a:gd name="connsiteY371" fmla="*/ 2052426 h 3952232"/>
                <a:gd name="connsiteX372" fmla="*/ 321850 w 7267540"/>
                <a:gd name="connsiteY372" fmla="*/ 2064364 h 3952232"/>
                <a:gd name="connsiteX373" fmla="*/ 293950 w 7267540"/>
                <a:gd name="connsiteY373" fmla="*/ 2032528 h 3952232"/>
                <a:gd name="connsiteX374" fmla="*/ 295943 w 7267540"/>
                <a:gd name="connsiteY374" fmla="*/ 2027554 h 3952232"/>
                <a:gd name="connsiteX375" fmla="*/ 292954 w 7267540"/>
                <a:gd name="connsiteY375" fmla="*/ 2016610 h 3952232"/>
                <a:gd name="connsiteX376" fmla="*/ 278903 w 7267540"/>
                <a:gd name="connsiteY376" fmla="*/ 2026250 h 3952232"/>
                <a:gd name="connsiteX377" fmla="*/ 280996 w 7267540"/>
                <a:gd name="connsiteY377" fmla="*/ 2035513 h 3952232"/>
                <a:gd name="connsiteX378" fmla="*/ 280996 w 7267540"/>
                <a:gd name="connsiteY378" fmla="*/ 2066354 h 3952232"/>
                <a:gd name="connsiteX379" fmla="*/ 292954 w 7267540"/>
                <a:gd name="connsiteY379" fmla="*/ 2091226 h 3952232"/>
                <a:gd name="connsiteX380" fmla="*/ 292954 w 7267540"/>
                <a:gd name="connsiteY380" fmla="*/ 2115103 h 3952232"/>
                <a:gd name="connsiteX381" fmla="*/ 334804 w 7267540"/>
                <a:gd name="connsiteY381" fmla="*/ 2151913 h 3952232"/>
                <a:gd name="connsiteX382" fmla="*/ 354733 w 7267540"/>
                <a:gd name="connsiteY382" fmla="*/ 2148929 h 3952232"/>
                <a:gd name="connsiteX383" fmla="*/ 360712 w 7267540"/>
                <a:gd name="connsiteY383" fmla="*/ 2205636 h 3952232"/>
                <a:gd name="connsiteX384" fmla="*/ 356726 w 7267540"/>
                <a:gd name="connsiteY384" fmla="*/ 2253391 h 3952232"/>
                <a:gd name="connsiteX385" fmla="*/ 390605 w 7267540"/>
                <a:gd name="connsiteY385" fmla="*/ 2285226 h 3952232"/>
                <a:gd name="connsiteX386" fmla="*/ 407544 w 7267540"/>
                <a:gd name="connsiteY386" fmla="*/ 2305124 h 3952232"/>
                <a:gd name="connsiteX387" fmla="*/ 427473 w 7267540"/>
                <a:gd name="connsiteY387" fmla="*/ 2333975 h 3952232"/>
                <a:gd name="connsiteX388" fmla="*/ 454377 w 7267540"/>
                <a:gd name="connsiteY388" fmla="*/ 2366905 h 3952232"/>
                <a:gd name="connsiteX389" fmla="*/ 484270 w 7267540"/>
                <a:gd name="connsiteY389" fmla="*/ 2409586 h 3952232"/>
                <a:gd name="connsiteX390" fmla="*/ 488256 w 7267540"/>
                <a:gd name="connsiteY390" fmla="*/ 2423514 h 3952232"/>
                <a:gd name="connsiteX391" fmla="*/ 505195 w 7267540"/>
                <a:gd name="connsiteY391" fmla="*/ 2427494 h 3952232"/>
                <a:gd name="connsiteX392" fmla="*/ 515160 w 7267540"/>
                <a:gd name="connsiteY392" fmla="*/ 2442417 h 3952232"/>
                <a:gd name="connsiteX393" fmla="*/ 510178 w 7267540"/>
                <a:gd name="connsiteY393" fmla="*/ 2469278 h 3952232"/>
                <a:gd name="connsiteX394" fmla="*/ 516156 w 7267540"/>
                <a:gd name="connsiteY394" fmla="*/ 2495145 h 3952232"/>
                <a:gd name="connsiteX395" fmla="*/ 513167 w 7267540"/>
                <a:gd name="connsiteY395" fmla="*/ 2519022 h 3952232"/>
                <a:gd name="connsiteX396" fmla="*/ 520102 w 7267540"/>
                <a:gd name="connsiteY396" fmla="*/ 2522474 h 3952232"/>
                <a:gd name="connsiteX397" fmla="*/ 521139 w 7267540"/>
                <a:gd name="connsiteY397" fmla="*/ 2522007 h 3952232"/>
                <a:gd name="connsiteX398" fmla="*/ 530107 w 7267540"/>
                <a:gd name="connsiteY398" fmla="*/ 2527976 h 3952232"/>
                <a:gd name="connsiteX399" fmla="*/ 558007 w 7267540"/>
                <a:gd name="connsiteY399" fmla="*/ 2536034 h 3952232"/>
                <a:gd name="connsiteX400" fmla="*/ 597865 w 7267540"/>
                <a:gd name="connsiteY400" fmla="*/ 2539914 h 3952232"/>
                <a:gd name="connsiteX401" fmla="*/ 621779 w 7267540"/>
                <a:gd name="connsiteY401" fmla="*/ 2543894 h 3952232"/>
                <a:gd name="connsiteX402" fmla="*/ 634733 w 7267540"/>
                <a:gd name="connsiteY402" fmla="*/ 2544889 h 3952232"/>
                <a:gd name="connsiteX403" fmla="*/ 662633 w 7267540"/>
                <a:gd name="connsiteY403" fmla="*/ 2549863 h 3952232"/>
                <a:gd name="connsiteX404" fmla="*/ 691530 w 7267540"/>
                <a:gd name="connsiteY404" fmla="*/ 2582694 h 3952232"/>
                <a:gd name="connsiteX405" fmla="*/ 745338 w 7267540"/>
                <a:gd name="connsiteY405" fmla="*/ 2606571 h 3952232"/>
                <a:gd name="connsiteX406" fmla="*/ 781210 w 7267540"/>
                <a:gd name="connsiteY406" fmla="*/ 2602591 h 3952232"/>
                <a:gd name="connsiteX407" fmla="*/ 814092 w 7267540"/>
                <a:gd name="connsiteY407" fmla="*/ 2652335 h 3952232"/>
                <a:gd name="connsiteX408" fmla="*/ 845978 w 7267540"/>
                <a:gd name="connsiteY408" fmla="*/ 2659299 h 3952232"/>
                <a:gd name="connsiteX409" fmla="*/ 869893 w 7267540"/>
                <a:gd name="connsiteY409" fmla="*/ 2675316 h 3952232"/>
                <a:gd name="connsiteX410" fmla="*/ 938647 w 7267540"/>
                <a:gd name="connsiteY410" fmla="*/ 2780674 h 3952232"/>
                <a:gd name="connsiteX411" fmla="*/ 937651 w 7267540"/>
                <a:gd name="connsiteY411" fmla="*/ 2779778 h 3952232"/>
                <a:gd name="connsiteX412" fmla="*/ 939644 w 7267540"/>
                <a:gd name="connsiteY412" fmla="*/ 2789727 h 3952232"/>
                <a:gd name="connsiteX413" fmla="*/ 940640 w 7267540"/>
                <a:gd name="connsiteY413" fmla="*/ 2807535 h 3952232"/>
                <a:gd name="connsiteX414" fmla="*/ 956583 w 7267540"/>
                <a:gd name="connsiteY414" fmla="*/ 2827433 h 3952232"/>
                <a:gd name="connsiteX415" fmla="*/ 1223629 w 7267540"/>
                <a:gd name="connsiteY415" fmla="*/ 2802561 h 3952232"/>
                <a:gd name="connsiteX416" fmla="*/ 1259302 w 7267540"/>
                <a:gd name="connsiteY416" fmla="*/ 2798482 h 3952232"/>
                <a:gd name="connsiteX417" fmla="*/ 1260498 w 7267540"/>
                <a:gd name="connsiteY417" fmla="*/ 2796592 h 3952232"/>
                <a:gd name="connsiteX418" fmla="*/ 1266676 w 7267540"/>
                <a:gd name="connsiteY418" fmla="*/ 2797587 h 3952232"/>
                <a:gd name="connsiteX419" fmla="*/ 1265480 w 7267540"/>
                <a:gd name="connsiteY419" fmla="*/ 2797587 h 3952232"/>
                <a:gd name="connsiteX420" fmla="*/ 1259302 w 7267540"/>
                <a:gd name="connsiteY420" fmla="*/ 2798482 h 3952232"/>
                <a:gd name="connsiteX421" fmla="*/ 1253523 w 7267540"/>
                <a:gd name="connsiteY421" fmla="*/ 2810520 h 3952232"/>
                <a:gd name="connsiteX422" fmla="*/ 1248540 w 7267540"/>
                <a:gd name="connsiteY422" fmla="*/ 2818479 h 3952232"/>
                <a:gd name="connsiteX423" fmla="*/ 1249537 w 7267540"/>
                <a:gd name="connsiteY423" fmla="*/ 2824548 h 3952232"/>
                <a:gd name="connsiteX424" fmla="*/ 1246547 w 7267540"/>
                <a:gd name="connsiteY424" fmla="*/ 2833402 h 3952232"/>
                <a:gd name="connsiteX425" fmla="*/ 1381067 w 7267540"/>
                <a:gd name="connsiteY425" fmla="*/ 2881156 h 3952232"/>
                <a:gd name="connsiteX426" fmla="*/ 1554448 w 7267540"/>
                <a:gd name="connsiteY426" fmla="*/ 2944828 h 3952232"/>
                <a:gd name="connsiteX427" fmla="*/ 1716868 w 7267540"/>
                <a:gd name="connsiteY427" fmla="*/ 3005515 h 3952232"/>
                <a:gd name="connsiteX428" fmla="*/ 1971957 w 7267540"/>
                <a:gd name="connsiteY428" fmla="*/ 3005515 h 3952232"/>
                <a:gd name="connsiteX429" fmla="*/ 2077579 w 7267540"/>
                <a:gd name="connsiteY429" fmla="*/ 3004521 h 3952232"/>
                <a:gd name="connsiteX430" fmla="*/ 2077579 w 7267540"/>
                <a:gd name="connsiteY430" fmla="*/ 2938958 h 3952232"/>
                <a:gd name="connsiteX431" fmla="*/ 2288526 w 7267540"/>
                <a:gd name="connsiteY431" fmla="*/ 2938958 h 3952232"/>
                <a:gd name="connsiteX432" fmla="*/ 2287729 w 7267540"/>
                <a:gd name="connsiteY432" fmla="*/ 2938361 h 3952232"/>
                <a:gd name="connsiteX433" fmla="*/ 2281949 w 7267540"/>
                <a:gd name="connsiteY433" fmla="*/ 2933685 h 3952232"/>
                <a:gd name="connsiteX434" fmla="*/ 2287729 w 7267540"/>
                <a:gd name="connsiteY434" fmla="*/ 2938361 h 3952232"/>
                <a:gd name="connsiteX435" fmla="*/ 2288825 w 7267540"/>
                <a:gd name="connsiteY435" fmla="*/ 2938958 h 3952232"/>
                <a:gd name="connsiteX436" fmla="*/ 2288825 w 7267540"/>
                <a:gd name="connsiteY436" fmla="*/ 2938958 h 3952232"/>
                <a:gd name="connsiteX437" fmla="*/ 2295102 w 7267540"/>
                <a:gd name="connsiteY437" fmla="*/ 2943932 h 3952232"/>
                <a:gd name="connsiteX438" fmla="*/ 2303074 w 7267540"/>
                <a:gd name="connsiteY438" fmla="*/ 2942838 h 3952232"/>
                <a:gd name="connsiteX439" fmla="*/ 2318020 w 7267540"/>
                <a:gd name="connsiteY439" fmla="*/ 2962736 h 3952232"/>
                <a:gd name="connsiteX440" fmla="*/ 2345921 w 7267540"/>
                <a:gd name="connsiteY440" fmla="*/ 2995566 h 3952232"/>
                <a:gd name="connsiteX441" fmla="*/ 2361864 w 7267540"/>
                <a:gd name="connsiteY441" fmla="*/ 3000541 h 3952232"/>
                <a:gd name="connsiteX442" fmla="*/ 2371828 w 7267540"/>
                <a:gd name="connsiteY442" fmla="*/ 3011485 h 3952232"/>
                <a:gd name="connsiteX443" fmla="*/ 2383785 w 7267540"/>
                <a:gd name="connsiteY443" fmla="*/ 3029392 h 3952232"/>
                <a:gd name="connsiteX444" fmla="*/ 2411686 w 7267540"/>
                <a:gd name="connsiteY444" fmla="*/ 3055259 h 3952232"/>
                <a:gd name="connsiteX445" fmla="*/ 2431614 w 7267540"/>
                <a:gd name="connsiteY445" fmla="*/ 3070182 h 3952232"/>
                <a:gd name="connsiteX446" fmla="*/ 2453536 w 7267540"/>
                <a:gd name="connsiteY446" fmla="*/ 3083215 h 3952232"/>
                <a:gd name="connsiteX447" fmla="*/ 2473465 w 7267540"/>
                <a:gd name="connsiteY447" fmla="*/ 3100028 h 3952232"/>
                <a:gd name="connsiteX448" fmla="*/ 2485423 w 7267540"/>
                <a:gd name="connsiteY448" fmla="*/ 3110972 h 3952232"/>
                <a:gd name="connsiteX449" fmla="*/ 2499373 w 7267540"/>
                <a:gd name="connsiteY449" fmla="*/ 3142907 h 3952232"/>
                <a:gd name="connsiteX450" fmla="*/ 2520298 w 7267540"/>
                <a:gd name="connsiteY450" fmla="*/ 3183598 h 3952232"/>
                <a:gd name="connsiteX451" fmla="*/ 2529266 w 7267540"/>
                <a:gd name="connsiteY451" fmla="*/ 3222497 h 3952232"/>
                <a:gd name="connsiteX452" fmla="*/ 2550191 w 7267540"/>
                <a:gd name="connsiteY452" fmla="*/ 3257318 h 3952232"/>
                <a:gd name="connsiteX453" fmla="*/ 2568127 w 7267540"/>
                <a:gd name="connsiteY453" fmla="*/ 3268162 h 3952232"/>
                <a:gd name="connsiteX454" fmla="*/ 2589052 w 7267540"/>
                <a:gd name="connsiteY454" fmla="*/ 3289054 h 3952232"/>
                <a:gd name="connsiteX455" fmla="*/ 2632896 w 7267540"/>
                <a:gd name="connsiteY455" fmla="*/ 3307062 h 3952232"/>
                <a:gd name="connsiteX456" fmla="*/ 2658803 w 7267540"/>
                <a:gd name="connsiteY456" fmla="*/ 3321985 h 3952232"/>
                <a:gd name="connsiteX457" fmla="*/ 2687700 w 7267540"/>
                <a:gd name="connsiteY457" fmla="*/ 3340788 h 3952232"/>
                <a:gd name="connsiteX458" fmla="*/ 2716597 w 7267540"/>
                <a:gd name="connsiteY458" fmla="*/ 3346857 h 3952232"/>
                <a:gd name="connsiteX459" fmla="*/ 2743501 w 7267540"/>
                <a:gd name="connsiteY459" fmla="*/ 3317010 h 3952232"/>
                <a:gd name="connsiteX460" fmla="*/ 2746490 w 7267540"/>
                <a:gd name="connsiteY460" fmla="*/ 3302983 h 3952232"/>
                <a:gd name="connsiteX461" fmla="*/ 2755458 w 7267540"/>
                <a:gd name="connsiteY461" fmla="*/ 3286070 h 3952232"/>
                <a:gd name="connsiteX462" fmla="*/ 2757451 w 7267540"/>
                <a:gd name="connsiteY462" fmla="*/ 3269157 h 3952232"/>
                <a:gd name="connsiteX463" fmla="*/ 2773394 w 7267540"/>
                <a:gd name="connsiteY463" fmla="*/ 3237420 h 3952232"/>
                <a:gd name="connsiteX464" fmla="*/ 2789337 w 7267540"/>
                <a:gd name="connsiteY464" fmla="*/ 3235331 h 3952232"/>
                <a:gd name="connsiteX465" fmla="*/ 2809266 w 7267540"/>
                <a:gd name="connsiteY465" fmla="*/ 3233342 h 3952232"/>
                <a:gd name="connsiteX466" fmla="*/ 2821223 w 7267540"/>
                <a:gd name="connsiteY466" fmla="*/ 3217523 h 3952232"/>
                <a:gd name="connsiteX467" fmla="*/ 2844141 w 7267540"/>
                <a:gd name="connsiteY467" fmla="*/ 3229362 h 3952232"/>
                <a:gd name="connsiteX468" fmla="*/ 2863074 w 7267540"/>
                <a:gd name="connsiteY468" fmla="*/ 3227472 h 3952232"/>
                <a:gd name="connsiteX469" fmla="*/ 2913892 w 7267540"/>
                <a:gd name="connsiteY469" fmla="*/ 3229362 h 3952232"/>
                <a:gd name="connsiteX470" fmla="*/ 2938803 w 7267540"/>
                <a:gd name="connsiteY470" fmla="*/ 3248265 h 3952232"/>
                <a:gd name="connsiteX471" fmla="*/ 2952753 w 7267540"/>
                <a:gd name="connsiteY471" fmla="*/ 3269157 h 3952232"/>
                <a:gd name="connsiteX472" fmla="*/ 2967700 w 7267540"/>
                <a:gd name="connsiteY472" fmla="*/ 3276121 h 3952232"/>
                <a:gd name="connsiteX473" fmla="*/ 2984639 w 7267540"/>
                <a:gd name="connsiteY473" fmla="*/ 3292138 h 3952232"/>
                <a:gd name="connsiteX474" fmla="*/ 3009550 w 7267540"/>
                <a:gd name="connsiteY474" fmla="*/ 3310942 h 3952232"/>
                <a:gd name="connsiteX475" fmla="*/ 3018518 w 7267540"/>
                <a:gd name="connsiteY475" fmla="*/ 3325865 h 3952232"/>
                <a:gd name="connsiteX476" fmla="*/ 3028483 w 7267540"/>
                <a:gd name="connsiteY476" fmla="*/ 3349742 h 3952232"/>
                <a:gd name="connsiteX477" fmla="*/ 3043429 w 7267540"/>
                <a:gd name="connsiteY477" fmla="*/ 3371728 h 3952232"/>
                <a:gd name="connsiteX478" fmla="*/ 3047415 w 7267540"/>
                <a:gd name="connsiteY478" fmla="*/ 3392522 h 3952232"/>
                <a:gd name="connsiteX479" fmla="*/ 3060369 w 7267540"/>
                <a:gd name="connsiteY479" fmla="*/ 3404460 h 3952232"/>
                <a:gd name="connsiteX480" fmla="*/ 3064354 w 7267540"/>
                <a:gd name="connsiteY480" fmla="*/ 3418388 h 3952232"/>
                <a:gd name="connsiteX481" fmla="*/ 3085280 w 7267540"/>
                <a:gd name="connsiteY481" fmla="*/ 3459178 h 3952232"/>
                <a:gd name="connsiteX482" fmla="*/ 3107202 w 7267540"/>
                <a:gd name="connsiteY482" fmla="*/ 3476190 h 3952232"/>
                <a:gd name="connsiteX483" fmla="*/ 3119159 w 7267540"/>
                <a:gd name="connsiteY483" fmla="*/ 3491113 h 3952232"/>
                <a:gd name="connsiteX484" fmla="*/ 3135102 w 7267540"/>
                <a:gd name="connsiteY484" fmla="*/ 3523845 h 3952232"/>
                <a:gd name="connsiteX485" fmla="*/ 3147059 w 7267540"/>
                <a:gd name="connsiteY485" fmla="*/ 3535883 h 3952232"/>
                <a:gd name="connsiteX486" fmla="*/ 3165991 w 7267540"/>
                <a:gd name="connsiteY486" fmla="*/ 3541753 h 3952232"/>
                <a:gd name="connsiteX487" fmla="*/ 3173963 w 7267540"/>
                <a:gd name="connsiteY487" fmla="*/ 3557670 h 3952232"/>
                <a:gd name="connsiteX488" fmla="*/ 3169977 w 7267540"/>
                <a:gd name="connsiteY488" fmla="*/ 3585626 h 3952232"/>
                <a:gd name="connsiteX489" fmla="*/ 3179942 w 7267540"/>
                <a:gd name="connsiteY489" fmla="*/ 3624327 h 3952232"/>
                <a:gd name="connsiteX490" fmla="*/ 3194888 w 7267540"/>
                <a:gd name="connsiteY490" fmla="*/ 3645319 h 3952232"/>
                <a:gd name="connsiteX491" fmla="*/ 3205849 w 7267540"/>
                <a:gd name="connsiteY491" fmla="*/ 3658153 h 3952232"/>
                <a:gd name="connsiteX492" fmla="*/ 3214817 w 7267540"/>
                <a:gd name="connsiteY492" fmla="*/ 3691978 h 3952232"/>
                <a:gd name="connsiteX493" fmla="*/ 3224781 w 7267540"/>
                <a:gd name="connsiteY493" fmla="*/ 3701927 h 3952232"/>
                <a:gd name="connsiteX494" fmla="*/ 3231757 w 7267540"/>
                <a:gd name="connsiteY494" fmla="*/ 3710881 h 3952232"/>
                <a:gd name="connsiteX495" fmla="*/ 3249692 w 7267540"/>
                <a:gd name="connsiteY495" fmla="*/ 3718840 h 3952232"/>
                <a:gd name="connsiteX496" fmla="*/ 3260653 w 7267540"/>
                <a:gd name="connsiteY496" fmla="*/ 3716850 h 3952232"/>
                <a:gd name="connsiteX497" fmla="*/ 3273607 w 7267540"/>
                <a:gd name="connsiteY497" fmla="*/ 3731773 h 3952232"/>
                <a:gd name="connsiteX498" fmla="*/ 3284568 w 7267540"/>
                <a:gd name="connsiteY498" fmla="*/ 3733763 h 3952232"/>
                <a:gd name="connsiteX499" fmla="*/ 3306490 w 7267540"/>
                <a:gd name="connsiteY499" fmla="*/ 3740728 h 3952232"/>
                <a:gd name="connsiteX500" fmla="*/ 3350333 w 7267540"/>
                <a:gd name="connsiteY500" fmla="*/ 3760625 h 3952232"/>
                <a:gd name="connsiteX501" fmla="*/ 3360297 w 7267540"/>
                <a:gd name="connsiteY501" fmla="*/ 3759729 h 3952232"/>
                <a:gd name="connsiteX502" fmla="*/ 3392184 w 7267540"/>
                <a:gd name="connsiteY502" fmla="*/ 3764704 h 3952232"/>
                <a:gd name="connsiteX503" fmla="*/ 3419087 w 7267540"/>
                <a:gd name="connsiteY503" fmla="*/ 3779627 h 3952232"/>
                <a:gd name="connsiteX504" fmla="*/ 3430048 w 7267540"/>
                <a:gd name="connsiteY504" fmla="*/ 3785497 h 3952232"/>
                <a:gd name="connsiteX505" fmla="*/ 3441009 w 7267540"/>
                <a:gd name="connsiteY505" fmla="*/ 3791466 h 3952232"/>
                <a:gd name="connsiteX506" fmla="*/ 3461934 w 7267540"/>
                <a:gd name="connsiteY506" fmla="*/ 3774652 h 3952232"/>
                <a:gd name="connsiteX507" fmla="*/ 3468909 w 7267540"/>
                <a:gd name="connsiteY507" fmla="*/ 3772563 h 3952232"/>
                <a:gd name="connsiteX508" fmla="*/ 3440013 w 7267540"/>
                <a:gd name="connsiteY508" fmla="*/ 3620447 h 3952232"/>
                <a:gd name="connsiteX509" fmla="*/ 3505778 w 7267540"/>
                <a:gd name="connsiteY509" fmla="*/ 3478080 h 3952232"/>
                <a:gd name="connsiteX510" fmla="*/ 3564568 w 7267540"/>
                <a:gd name="connsiteY510" fmla="*/ 3432317 h 3952232"/>
                <a:gd name="connsiteX511" fmla="*/ 3675173 w 7267540"/>
                <a:gd name="connsiteY511" fmla="*/ 3368644 h 3952232"/>
                <a:gd name="connsiteX512" fmla="*/ 3691116 w 7267540"/>
                <a:gd name="connsiteY512" fmla="*/ 3362675 h 3952232"/>
                <a:gd name="connsiteX513" fmla="*/ 3724995 w 7267540"/>
                <a:gd name="connsiteY513" fmla="*/ 3332829 h 3952232"/>
                <a:gd name="connsiteX514" fmla="*/ 3773820 w 7267540"/>
                <a:gd name="connsiteY514" fmla="*/ 3296019 h 3952232"/>
                <a:gd name="connsiteX515" fmla="*/ 3789763 w 7267540"/>
                <a:gd name="connsiteY515" fmla="*/ 3276121 h 3952232"/>
                <a:gd name="connsiteX516" fmla="*/ 3857521 w 7267540"/>
                <a:gd name="connsiteY516" fmla="*/ 3247369 h 3952232"/>
                <a:gd name="connsiteX517" fmla="*/ 3884027 w 7267540"/>
                <a:gd name="connsiteY517" fmla="*/ 3241897 h 3952232"/>
                <a:gd name="connsiteX518" fmla="*/ 3885422 w 7267540"/>
                <a:gd name="connsiteY518" fmla="*/ 3244285 h 3952232"/>
                <a:gd name="connsiteX519" fmla="*/ 3980084 w 7267540"/>
                <a:gd name="connsiteY519" fmla="*/ 3236326 h 3952232"/>
                <a:gd name="connsiteX520" fmla="*/ 4096667 w 7267540"/>
                <a:gd name="connsiteY520" fmla="*/ 3260203 h 3952232"/>
                <a:gd name="connsiteX521" fmla="*/ 4152468 w 7267540"/>
                <a:gd name="connsiteY521" fmla="*/ 3262292 h 3952232"/>
                <a:gd name="connsiteX522" fmla="*/ 4161436 w 7267540"/>
                <a:gd name="connsiteY522" fmla="*/ 3253239 h 3952232"/>
                <a:gd name="connsiteX523" fmla="*/ 4175396 w 7267540"/>
                <a:gd name="connsiteY523" fmla="*/ 3264193 h 3952232"/>
                <a:gd name="connsiteX524" fmla="*/ 4175386 w 7267540"/>
                <a:gd name="connsiteY524" fmla="*/ 3267267 h 3952232"/>
                <a:gd name="connsiteX525" fmla="*/ 4184354 w 7267540"/>
                <a:gd name="connsiteY525" fmla="*/ 3276121 h 3952232"/>
                <a:gd name="connsiteX526" fmla="*/ 4192325 w 7267540"/>
                <a:gd name="connsiteY526" fmla="*/ 3272241 h 3952232"/>
                <a:gd name="connsiteX527" fmla="*/ 4196311 w 7267540"/>
                <a:gd name="connsiteY527" fmla="*/ 3283085 h 3952232"/>
                <a:gd name="connsiteX528" fmla="*/ 4209265 w 7267540"/>
                <a:gd name="connsiteY528" fmla="*/ 3292138 h 3952232"/>
                <a:gd name="connsiteX529" fmla="*/ 4200297 w 7267540"/>
                <a:gd name="connsiteY529" fmla="*/ 3300993 h 3952232"/>
                <a:gd name="connsiteX530" fmla="*/ 4259087 w 7267540"/>
                <a:gd name="connsiteY530" fmla="*/ 3335814 h 3952232"/>
                <a:gd name="connsiteX531" fmla="*/ 4285991 w 7267540"/>
                <a:gd name="connsiteY531" fmla="*/ 3335814 h 3952232"/>
                <a:gd name="connsiteX532" fmla="*/ 4339799 w 7267540"/>
                <a:gd name="connsiteY532" fmla="*/ 3331933 h 3952232"/>
                <a:gd name="connsiteX533" fmla="*/ 4387628 w 7267540"/>
                <a:gd name="connsiteY533" fmla="*/ 3298008 h 3952232"/>
                <a:gd name="connsiteX534" fmla="*/ 4413536 w 7267540"/>
                <a:gd name="connsiteY534" fmla="*/ 3302087 h 3952232"/>
                <a:gd name="connsiteX535" fmla="*/ 4422503 w 7267540"/>
                <a:gd name="connsiteY535" fmla="*/ 3308952 h 3952232"/>
                <a:gd name="connsiteX536" fmla="*/ 4444425 w 7267540"/>
                <a:gd name="connsiteY536" fmla="*/ 3325865 h 3952232"/>
                <a:gd name="connsiteX537" fmla="*/ 4443429 w 7267540"/>
                <a:gd name="connsiteY537" fmla="*/ 3341882 h 3952232"/>
                <a:gd name="connsiteX538" fmla="*/ 4443429 w 7267540"/>
                <a:gd name="connsiteY538" fmla="*/ 3353721 h 3952232"/>
                <a:gd name="connsiteX539" fmla="*/ 4476311 w 7267540"/>
                <a:gd name="connsiteY539" fmla="*/ 3344767 h 3952232"/>
                <a:gd name="connsiteX540" fmla="*/ 4492254 w 7267540"/>
                <a:gd name="connsiteY540" fmla="*/ 3319896 h 3952232"/>
                <a:gd name="connsiteX541" fmla="*/ 4479300 w 7267540"/>
                <a:gd name="connsiteY541" fmla="*/ 3312036 h 3952232"/>
                <a:gd name="connsiteX542" fmla="*/ 4468340 w 7267540"/>
                <a:gd name="connsiteY542" fmla="*/ 3294029 h 3952232"/>
                <a:gd name="connsiteX543" fmla="*/ 4454389 w 7267540"/>
                <a:gd name="connsiteY543" fmla="*/ 3288060 h 3952232"/>
                <a:gd name="connsiteX544" fmla="*/ 4426489 w 7267540"/>
                <a:gd name="connsiteY544" fmla="*/ 3281096 h 3952232"/>
                <a:gd name="connsiteX545" fmla="*/ 4418518 w 7267540"/>
                <a:gd name="connsiteY545" fmla="*/ 3256224 h 3952232"/>
                <a:gd name="connsiteX546" fmla="*/ 4430475 w 7267540"/>
                <a:gd name="connsiteY546" fmla="*/ 3253239 h 3952232"/>
                <a:gd name="connsiteX547" fmla="*/ 4443429 w 7267540"/>
                <a:gd name="connsiteY547" fmla="*/ 3233342 h 3952232"/>
                <a:gd name="connsiteX548" fmla="*/ 4459372 w 7267540"/>
                <a:gd name="connsiteY548" fmla="*/ 3235331 h 3952232"/>
                <a:gd name="connsiteX549" fmla="*/ 4464354 w 7267540"/>
                <a:gd name="connsiteY549" fmla="*/ 3217523 h 3952232"/>
                <a:gd name="connsiteX550" fmla="*/ 4470333 w 7267540"/>
                <a:gd name="connsiteY550" fmla="*/ 3177728 h 3952232"/>
                <a:gd name="connsiteX551" fmla="*/ 4450404 w 7267540"/>
                <a:gd name="connsiteY551" fmla="*/ 3190562 h 3952232"/>
                <a:gd name="connsiteX552" fmla="*/ 4421507 w 7267540"/>
                <a:gd name="connsiteY552" fmla="*/ 3201506 h 3952232"/>
                <a:gd name="connsiteX553" fmla="*/ 4412539 w 7267540"/>
                <a:gd name="connsiteY553" fmla="*/ 3219413 h 3952232"/>
                <a:gd name="connsiteX554" fmla="*/ 4393607 w 7267540"/>
                <a:gd name="connsiteY554" fmla="*/ 3209464 h 3952232"/>
                <a:gd name="connsiteX555" fmla="*/ 4387628 w 7267540"/>
                <a:gd name="connsiteY555" fmla="*/ 3197625 h 3952232"/>
                <a:gd name="connsiteX556" fmla="*/ 4395599 w 7267540"/>
                <a:gd name="connsiteY556" fmla="*/ 3193547 h 3952232"/>
                <a:gd name="connsiteX557" fmla="*/ 4427486 w 7267540"/>
                <a:gd name="connsiteY557" fmla="*/ 3173649 h 3952232"/>
                <a:gd name="connsiteX558" fmla="*/ 4425692 w 7267540"/>
                <a:gd name="connsiteY558" fmla="*/ 3172754 h 3952232"/>
                <a:gd name="connsiteX559" fmla="*/ 4417521 w 7267540"/>
                <a:gd name="connsiteY559" fmla="*/ 3167779 h 3952232"/>
                <a:gd name="connsiteX560" fmla="*/ 4416625 w 7267540"/>
                <a:gd name="connsiteY560" fmla="*/ 3162606 h 3952232"/>
                <a:gd name="connsiteX561" fmla="*/ 4408852 w 7267540"/>
                <a:gd name="connsiteY561" fmla="*/ 3141117 h 3952232"/>
                <a:gd name="connsiteX562" fmla="*/ 4416625 w 7267540"/>
                <a:gd name="connsiteY562" fmla="*/ 3162606 h 3952232"/>
                <a:gd name="connsiteX563" fmla="*/ 4425692 w 7267540"/>
                <a:gd name="connsiteY563" fmla="*/ 3172555 h 3952232"/>
                <a:gd name="connsiteX564" fmla="*/ 4450404 w 7267540"/>
                <a:gd name="connsiteY564" fmla="*/ 3156537 h 3952232"/>
                <a:gd name="connsiteX565" fmla="*/ 4483286 w 7267540"/>
                <a:gd name="connsiteY565" fmla="*/ 3145594 h 3952232"/>
                <a:gd name="connsiteX566" fmla="*/ 4519158 w 7267540"/>
                <a:gd name="connsiteY566" fmla="*/ 3147683 h 3952232"/>
                <a:gd name="connsiteX567" fmla="*/ 4531115 w 7267540"/>
                <a:gd name="connsiteY567" fmla="*/ 3149573 h 3952232"/>
                <a:gd name="connsiteX568" fmla="*/ 4542076 w 7267540"/>
                <a:gd name="connsiteY568" fmla="*/ 3147683 h 3952232"/>
                <a:gd name="connsiteX569" fmla="*/ 4554033 w 7267540"/>
                <a:gd name="connsiteY569" fmla="*/ 3149573 h 3952232"/>
                <a:gd name="connsiteX570" fmla="*/ 4563002 w 7267540"/>
                <a:gd name="connsiteY570" fmla="*/ 3148578 h 3952232"/>
                <a:gd name="connsiteX571" fmla="*/ 4569877 w 7267540"/>
                <a:gd name="connsiteY571" fmla="*/ 3143703 h 3952232"/>
                <a:gd name="connsiteX572" fmla="*/ 4569877 w 7267540"/>
                <a:gd name="connsiteY572" fmla="*/ 3131566 h 3952232"/>
                <a:gd name="connsiteX573" fmla="*/ 4569877 w 7267540"/>
                <a:gd name="connsiteY573" fmla="*/ 3120722 h 3952232"/>
                <a:gd name="connsiteX574" fmla="*/ 4569180 w 7267540"/>
                <a:gd name="connsiteY574" fmla="*/ 3101720 h 3952232"/>
                <a:gd name="connsiteX575" fmla="*/ 4570375 w 7267540"/>
                <a:gd name="connsiteY575" fmla="*/ 3131566 h 3952232"/>
                <a:gd name="connsiteX576" fmla="*/ 4570375 w 7267540"/>
                <a:gd name="connsiteY576" fmla="*/ 3143703 h 3952232"/>
                <a:gd name="connsiteX577" fmla="*/ 4570375 w 7267540"/>
                <a:gd name="connsiteY577" fmla="*/ 3145594 h 3952232"/>
                <a:gd name="connsiteX578" fmla="*/ 4587315 w 7267540"/>
                <a:gd name="connsiteY578" fmla="*/ 3153553 h 3952232"/>
                <a:gd name="connsiteX579" fmla="*/ 4603258 w 7267540"/>
                <a:gd name="connsiteY579" fmla="*/ 3152657 h 3952232"/>
                <a:gd name="connsiteX580" fmla="*/ 4628169 w 7267540"/>
                <a:gd name="connsiteY580" fmla="*/ 3104804 h 3952232"/>
                <a:gd name="connsiteX581" fmla="*/ 4628169 w 7267540"/>
                <a:gd name="connsiteY581" fmla="*/ 3128681 h 3952232"/>
                <a:gd name="connsiteX582" fmla="*/ 4633151 w 7267540"/>
                <a:gd name="connsiteY582" fmla="*/ 3164496 h 3952232"/>
                <a:gd name="connsiteX583" fmla="*/ 4680980 w 7267540"/>
                <a:gd name="connsiteY583" fmla="*/ 3158527 h 3952232"/>
                <a:gd name="connsiteX584" fmla="*/ 4895215 w 7267540"/>
                <a:gd name="connsiteY584" fmla="*/ 3173450 h 3952232"/>
                <a:gd name="connsiteX585" fmla="*/ 4936069 w 7267540"/>
                <a:gd name="connsiteY585" fmla="*/ 3205286 h 3952232"/>
                <a:gd name="connsiteX586" fmla="*/ 4948027 w 7267540"/>
                <a:gd name="connsiteY586" fmla="*/ 3210261 h 3952232"/>
                <a:gd name="connsiteX587" fmla="*/ 4953009 w 7267540"/>
                <a:gd name="connsiteY587" fmla="*/ 3249061 h 3952232"/>
                <a:gd name="connsiteX588" fmla="*/ 4991870 w 7267540"/>
                <a:gd name="connsiteY588" fmla="*/ 3259009 h 3952232"/>
                <a:gd name="connsiteX589" fmla="*/ 5025749 w 7267540"/>
                <a:gd name="connsiteY589" fmla="*/ 3244086 h 3952232"/>
                <a:gd name="connsiteX590" fmla="*/ 5046674 w 7267540"/>
                <a:gd name="connsiteY590" fmla="*/ 3230158 h 3952232"/>
                <a:gd name="connsiteX591" fmla="*/ 5050660 w 7267540"/>
                <a:gd name="connsiteY591" fmla="*/ 3215235 h 3952232"/>
                <a:gd name="connsiteX592" fmla="*/ 5079556 w 7267540"/>
                <a:gd name="connsiteY592" fmla="*/ 3214240 h 3952232"/>
                <a:gd name="connsiteX593" fmla="*/ 5076567 w 7267540"/>
                <a:gd name="connsiteY593" fmla="*/ 3198322 h 3952232"/>
                <a:gd name="connsiteX594" fmla="*/ 5100482 w 7267540"/>
                <a:gd name="connsiteY594" fmla="*/ 3188373 h 3952232"/>
                <a:gd name="connsiteX595" fmla="*/ 5124396 w 7267540"/>
                <a:gd name="connsiteY595" fmla="*/ 3186384 h 3952232"/>
                <a:gd name="connsiteX596" fmla="*/ 5163258 w 7267540"/>
                <a:gd name="connsiteY596" fmla="*/ 3211255 h 3952232"/>
                <a:gd name="connsiteX597" fmla="*/ 5197137 w 7267540"/>
                <a:gd name="connsiteY597" fmla="*/ 3248066 h 3952232"/>
                <a:gd name="connsiteX598" fmla="*/ 5210090 w 7267540"/>
                <a:gd name="connsiteY598" fmla="*/ 3275922 h 3952232"/>
                <a:gd name="connsiteX599" fmla="*/ 5219058 w 7267540"/>
                <a:gd name="connsiteY599" fmla="*/ 3281991 h 3952232"/>
                <a:gd name="connsiteX600" fmla="*/ 5227030 w 7267540"/>
                <a:gd name="connsiteY600" fmla="*/ 3301888 h 3952232"/>
                <a:gd name="connsiteX601" fmla="*/ 5241977 w 7267540"/>
                <a:gd name="connsiteY601" fmla="*/ 3324671 h 3952232"/>
                <a:gd name="connsiteX602" fmla="*/ 5248951 w 7267540"/>
                <a:gd name="connsiteY602" fmla="*/ 3317707 h 3952232"/>
                <a:gd name="connsiteX603" fmla="*/ 5270873 w 7267540"/>
                <a:gd name="connsiteY603" fmla="*/ 3329645 h 3952232"/>
                <a:gd name="connsiteX604" fmla="*/ 5278844 w 7267540"/>
                <a:gd name="connsiteY604" fmla="*/ 3342579 h 3952232"/>
                <a:gd name="connsiteX605" fmla="*/ 5287813 w 7267540"/>
                <a:gd name="connsiteY605" fmla="*/ 3357502 h 3952232"/>
                <a:gd name="connsiteX606" fmla="*/ 5284823 w 7267540"/>
                <a:gd name="connsiteY606" fmla="*/ 3372425 h 3952232"/>
                <a:gd name="connsiteX607" fmla="*/ 5290802 w 7267540"/>
                <a:gd name="connsiteY607" fmla="*/ 3387348 h 3952232"/>
                <a:gd name="connsiteX608" fmla="*/ 5282830 w 7267540"/>
                <a:gd name="connsiteY608" fmla="*/ 3440077 h 3952232"/>
                <a:gd name="connsiteX609" fmla="*/ 5270873 w 7267540"/>
                <a:gd name="connsiteY609" fmla="*/ 3483851 h 3952232"/>
                <a:gd name="connsiteX610" fmla="*/ 5282830 w 7267540"/>
                <a:gd name="connsiteY610" fmla="*/ 3541554 h 3952232"/>
                <a:gd name="connsiteX611" fmla="*/ 5304752 w 7267540"/>
                <a:gd name="connsiteY611" fmla="*/ 3507728 h 3952232"/>
                <a:gd name="connsiteX612" fmla="*/ 5309734 w 7267540"/>
                <a:gd name="connsiteY612" fmla="*/ 3528620 h 3952232"/>
                <a:gd name="connsiteX613" fmla="*/ 5280837 w 7267540"/>
                <a:gd name="connsiteY613" fmla="*/ 3553492 h 3952232"/>
                <a:gd name="connsiteX614" fmla="*/ 5341621 w 7267540"/>
                <a:gd name="connsiteY614" fmla="*/ 3661933 h 3952232"/>
                <a:gd name="connsiteX615" fmla="*/ 5365535 w 7267540"/>
                <a:gd name="connsiteY615" fmla="*/ 3709787 h 3952232"/>
                <a:gd name="connsiteX616" fmla="*/ 5384468 w 7267540"/>
                <a:gd name="connsiteY616" fmla="*/ 3707698 h 3952232"/>
                <a:gd name="connsiteX617" fmla="*/ 5415357 w 7267540"/>
                <a:gd name="connsiteY617" fmla="*/ 3788283 h 3952232"/>
                <a:gd name="connsiteX618" fmla="*/ 5452225 w 7267540"/>
                <a:gd name="connsiteY618" fmla="*/ 3799325 h 3952232"/>
                <a:gd name="connsiteX619" fmla="*/ 5464183 w 7267540"/>
                <a:gd name="connsiteY619" fmla="*/ 3814249 h 3952232"/>
                <a:gd name="connsiteX620" fmla="*/ 5482119 w 7267540"/>
                <a:gd name="connsiteY620" fmla="*/ 3850959 h 3952232"/>
                <a:gd name="connsiteX621" fmla="*/ 5479129 w 7267540"/>
                <a:gd name="connsiteY621" fmla="*/ 3873941 h 3952232"/>
                <a:gd name="connsiteX622" fmla="*/ 5499058 w 7267540"/>
                <a:gd name="connsiteY622" fmla="*/ 3889760 h 3952232"/>
                <a:gd name="connsiteX623" fmla="*/ 5531941 w 7267540"/>
                <a:gd name="connsiteY623" fmla="*/ 3886775 h 3952232"/>
                <a:gd name="connsiteX624" fmla="*/ 5563827 w 7267540"/>
                <a:gd name="connsiteY624" fmla="*/ 3879811 h 3952232"/>
                <a:gd name="connsiteX625" fmla="*/ 5482119 w 7267540"/>
                <a:gd name="connsiteY625" fmla="*/ 3947462 h 3952232"/>
                <a:gd name="connsiteX626" fmla="*/ 5543898 w 7267540"/>
                <a:gd name="connsiteY626" fmla="*/ 3926570 h 3952232"/>
                <a:gd name="connsiteX627" fmla="*/ 5603685 w 7267540"/>
                <a:gd name="connsiteY627" fmla="*/ 3835041 h 3952232"/>
                <a:gd name="connsiteX628" fmla="*/ 5586745 w 7267540"/>
                <a:gd name="connsiteY628" fmla="*/ 3854044 h 3952232"/>
                <a:gd name="connsiteX629" fmla="*/ 5597705 w 7267540"/>
                <a:gd name="connsiteY629" fmla="*/ 3806190 h 3952232"/>
                <a:gd name="connsiteX630" fmla="*/ 5606674 w 7267540"/>
                <a:gd name="connsiteY630" fmla="*/ 3815144 h 3952232"/>
                <a:gd name="connsiteX631" fmla="*/ 5612652 w 7267540"/>
                <a:gd name="connsiteY631" fmla="*/ 3756446 h 3952232"/>
                <a:gd name="connsiteX632" fmla="*/ 5622617 w 7267540"/>
                <a:gd name="connsiteY632" fmla="*/ 3660043 h 3952232"/>
                <a:gd name="connsiteX633" fmla="*/ 5551869 w 7267540"/>
                <a:gd name="connsiteY633" fmla="*/ 3461068 h 3952232"/>
                <a:gd name="connsiteX634" fmla="*/ 5552866 w 7267540"/>
                <a:gd name="connsiteY634" fmla="*/ 3401376 h 3952232"/>
                <a:gd name="connsiteX635" fmla="*/ 5466176 w 7267540"/>
                <a:gd name="connsiteY635" fmla="*/ 3216230 h 3952232"/>
                <a:gd name="connsiteX636" fmla="*/ 5446247 w 7267540"/>
                <a:gd name="connsiteY636" fmla="*/ 3123706 h 3952232"/>
                <a:gd name="connsiteX637" fmla="*/ 5442759 w 7267540"/>
                <a:gd name="connsiteY637" fmla="*/ 3095452 h 3952232"/>
                <a:gd name="connsiteX638" fmla="*/ 5444254 w 7267540"/>
                <a:gd name="connsiteY638" fmla="*/ 3095452 h 3952232"/>
                <a:gd name="connsiteX639" fmla="*/ 5449236 w 7267540"/>
                <a:gd name="connsiteY639" fmla="*/ 3066601 h 3952232"/>
                <a:gd name="connsiteX640" fmla="*/ 5447243 w 7267540"/>
                <a:gd name="connsiteY640" fmla="*/ 3050683 h 3952232"/>
                <a:gd name="connsiteX641" fmla="*/ 5450232 w 7267540"/>
                <a:gd name="connsiteY641" fmla="*/ 3034765 h 3952232"/>
                <a:gd name="connsiteX642" fmla="*/ 5462190 w 7267540"/>
                <a:gd name="connsiteY642" fmla="*/ 3022926 h 3952232"/>
                <a:gd name="connsiteX643" fmla="*/ 5465179 w 7267540"/>
                <a:gd name="connsiteY643" fmla="*/ 3001934 h 3952232"/>
                <a:gd name="connsiteX644" fmla="*/ 5483115 w 7267540"/>
                <a:gd name="connsiteY644" fmla="*/ 2949205 h 3952232"/>
                <a:gd name="connsiteX645" fmla="*/ 5508026 w 7267540"/>
                <a:gd name="connsiteY645" fmla="*/ 2919359 h 3952232"/>
                <a:gd name="connsiteX646" fmla="*/ 5515101 w 7267540"/>
                <a:gd name="connsiteY646" fmla="*/ 2900059 h 3952232"/>
                <a:gd name="connsiteX647" fmla="*/ 5515101 w 7267540"/>
                <a:gd name="connsiteY647" fmla="*/ 2900059 h 3952232"/>
                <a:gd name="connsiteX648" fmla="*/ 5508823 w 7267540"/>
                <a:gd name="connsiteY648" fmla="*/ 2897273 h 3952232"/>
                <a:gd name="connsiteX649" fmla="*/ 5508126 w 7267540"/>
                <a:gd name="connsiteY649" fmla="*/ 2897273 h 3952232"/>
                <a:gd name="connsiteX650" fmla="*/ 5507528 w 7267540"/>
                <a:gd name="connsiteY650" fmla="*/ 2897273 h 3952232"/>
                <a:gd name="connsiteX651" fmla="*/ 5503243 w 7267540"/>
                <a:gd name="connsiteY651" fmla="*/ 2894587 h 3952232"/>
                <a:gd name="connsiteX652" fmla="*/ 5507528 w 7267540"/>
                <a:gd name="connsiteY652" fmla="*/ 2897273 h 3952232"/>
                <a:gd name="connsiteX653" fmla="*/ 5508823 w 7267540"/>
                <a:gd name="connsiteY653" fmla="*/ 2897969 h 3952232"/>
                <a:gd name="connsiteX654" fmla="*/ 5515201 w 7267540"/>
                <a:gd name="connsiteY654" fmla="*/ 2900357 h 3952232"/>
                <a:gd name="connsiteX655" fmla="*/ 5524069 w 7267540"/>
                <a:gd name="connsiteY655" fmla="*/ 2889811 h 3952232"/>
                <a:gd name="connsiteX656" fmla="*/ 5530047 w 7267540"/>
                <a:gd name="connsiteY656" fmla="*/ 2862950 h 3952232"/>
                <a:gd name="connsiteX657" fmla="*/ 5550972 w 7267540"/>
                <a:gd name="connsiteY657" fmla="*/ 2865934 h 3952232"/>
                <a:gd name="connsiteX658" fmla="*/ 5583855 w 7267540"/>
                <a:gd name="connsiteY658" fmla="*/ 2835093 h 3952232"/>
                <a:gd name="connsiteX659" fmla="*/ 5616738 w 7267540"/>
                <a:gd name="connsiteY659" fmla="*/ 2816191 h 3952232"/>
                <a:gd name="connsiteX660" fmla="*/ 5630688 w 7267540"/>
                <a:gd name="connsiteY660" fmla="*/ 2811216 h 3952232"/>
                <a:gd name="connsiteX661" fmla="*/ 5642645 w 7267540"/>
                <a:gd name="connsiteY661" fmla="*/ 2797288 h 3952232"/>
                <a:gd name="connsiteX662" fmla="*/ 5664567 w 7267540"/>
                <a:gd name="connsiteY662" fmla="*/ 2779480 h 3952232"/>
                <a:gd name="connsiteX663" fmla="*/ 5686489 w 7267540"/>
                <a:gd name="connsiteY663" fmla="*/ 2752519 h 3952232"/>
                <a:gd name="connsiteX664" fmla="*/ 5706418 w 7267540"/>
                <a:gd name="connsiteY664" fmla="*/ 2756498 h 3952232"/>
                <a:gd name="connsiteX665" fmla="*/ 5710403 w 7267540"/>
                <a:gd name="connsiteY665" fmla="*/ 2743565 h 3952232"/>
                <a:gd name="connsiteX666" fmla="*/ 5730332 w 7267540"/>
                <a:gd name="connsiteY666" fmla="*/ 2726652 h 3952232"/>
                <a:gd name="connsiteX667" fmla="*/ 5810047 w 7267540"/>
                <a:gd name="connsiteY667" fmla="*/ 2629154 h 3952232"/>
                <a:gd name="connsiteX668" fmla="*/ 5806859 w 7267540"/>
                <a:gd name="connsiteY668" fmla="*/ 2625971 h 3952232"/>
                <a:gd name="connsiteX669" fmla="*/ 5829976 w 7267540"/>
                <a:gd name="connsiteY669" fmla="*/ 2621195 h 3952232"/>
                <a:gd name="connsiteX670" fmla="*/ 5860866 w 7267540"/>
                <a:gd name="connsiteY670" fmla="*/ 2620300 h 3952232"/>
                <a:gd name="connsiteX671" fmla="*/ 5890759 w 7267540"/>
                <a:gd name="connsiteY671" fmla="*/ 2605377 h 3952232"/>
                <a:gd name="connsiteX672" fmla="*/ 5963499 w 7267540"/>
                <a:gd name="connsiteY672" fmla="*/ 2525787 h 3952232"/>
                <a:gd name="connsiteX673" fmla="*/ 6062147 w 7267540"/>
                <a:gd name="connsiteY673" fmla="*/ 2517728 h 3952232"/>
                <a:gd name="connsiteX674" fmla="*/ 6174745 w 7267540"/>
                <a:gd name="connsiteY674" fmla="*/ 2420231 h 3952232"/>
                <a:gd name="connsiteX675" fmla="*/ 6193677 w 7267540"/>
                <a:gd name="connsiteY675" fmla="*/ 2394364 h 3952232"/>
                <a:gd name="connsiteX676" fmla="*/ 6172752 w 7267540"/>
                <a:gd name="connsiteY676" fmla="*/ 2296966 h 3952232"/>
                <a:gd name="connsiteX677" fmla="*/ 6149834 w 7267540"/>
                <a:gd name="connsiteY677" fmla="*/ 2232299 h 3952232"/>
                <a:gd name="connsiteX678" fmla="*/ 6139869 w 7267540"/>
                <a:gd name="connsiteY678" fmla="*/ 2214292 h 3952232"/>
                <a:gd name="connsiteX679" fmla="*/ 6126019 w 7267540"/>
                <a:gd name="connsiteY679" fmla="*/ 2214292 h 3952232"/>
                <a:gd name="connsiteX680" fmla="*/ 6139869 w 7267540"/>
                <a:gd name="connsiteY680" fmla="*/ 2214292 h 3952232"/>
                <a:gd name="connsiteX681" fmla="*/ 6145947 w 7267540"/>
                <a:gd name="connsiteY681" fmla="*/ 2214292 h 3952232"/>
                <a:gd name="connsiteX682" fmla="*/ 6096125 w 7267540"/>
                <a:gd name="connsiteY682" fmla="*/ 2149625 h 3952232"/>
                <a:gd name="connsiteX683" fmla="*/ 6092139 w 7267540"/>
                <a:gd name="connsiteY683" fmla="*/ 2125748 h 3952232"/>
                <a:gd name="connsiteX684" fmla="*/ 6080183 w 7267540"/>
                <a:gd name="connsiteY684" fmla="*/ 2108835 h 3952232"/>
                <a:gd name="connsiteX685" fmla="*/ 6074204 w 7267540"/>
                <a:gd name="connsiteY685" fmla="*/ 2083963 h 3952232"/>
                <a:gd name="connsiteX686" fmla="*/ 6095129 w 7267540"/>
                <a:gd name="connsiteY686" fmla="*/ 2094907 h 3952232"/>
                <a:gd name="connsiteX687" fmla="*/ 6094132 w 7267540"/>
                <a:gd name="connsiteY687" fmla="*/ 2046158 h 3952232"/>
                <a:gd name="connsiteX688" fmla="*/ 6090147 w 7267540"/>
                <a:gd name="connsiteY688" fmla="*/ 2030240 h 3952232"/>
                <a:gd name="connsiteX689" fmla="*/ 6098118 w 7267540"/>
                <a:gd name="connsiteY689" fmla="*/ 2012332 h 3952232"/>
                <a:gd name="connsiteX690" fmla="*/ 6075200 w 7267540"/>
                <a:gd name="connsiteY690" fmla="*/ 1989450 h 3952232"/>
                <a:gd name="connsiteX691" fmla="*/ 6054275 w 7267540"/>
                <a:gd name="connsiteY691" fmla="*/ 1968657 h 3952232"/>
                <a:gd name="connsiteX692" fmla="*/ 6024382 w 7267540"/>
                <a:gd name="connsiteY692" fmla="*/ 1959604 h 3952232"/>
                <a:gd name="connsiteX693" fmla="*/ 6008439 w 7267540"/>
                <a:gd name="connsiteY693" fmla="*/ 1951645 h 3952232"/>
                <a:gd name="connsiteX694" fmla="*/ 6000467 w 7267540"/>
                <a:gd name="connsiteY694" fmla="*/ 1937717 h 3952232"/>
                <a:gd name="connsiteX695" fmla="*/ 5997478 w 7267540"/>
                <a:gd name="connsiteY695" fmla="*/ 1927768 h 3952232"/>
                <a:gd name="connsiteX696" fmla="*/ 5963599 w 7267540"/>
                <a:gd name="connsiteY696" fmla="*/ 1910855 h 3952232"/>
                <a:gd name="connsiteX697" fmla="*/ 5987513 w 7267540"/>
                <a:gd name="connsiteY697" fmla="*/ 1884093 h 3952232"/>
                <a:gd name="connsiteX698" fmla="*/ 5980538 w 7267540"/>
                <a:gd name="connsiteY698" fmla="*/ 1889963 h 3952232"/>
                <a:gd name="connsiteX699" fmla="*/ 5972566 w 7267540"/>
                <a:gd name="connsiteY699" fmla="*/ 1899911 h 3952232"/>
                <a:gd name="connsiteX700" fmla="*/ 5994488 w 7267540"/>
                <a:gd name="connsiteY700" fmla="*/ 1917819 h 3952232"/>
                <a:gd name="connsiteX701" fmla="*/ 6006446 w 7267540"/>
                <a:gd name="connsiteY701" fmla="*/ 1929758 h 3952232"/>
                <a:gd name="connsiteX702" fmla="*/ 6020396 w 7267540"/>
                <a:gd name="connsiteY702" fmla="*/ 1942691 h 3952232"/>
                <a:gd name="connsiteX703" fmla="*/ 6061250 w 7267540"/>
                <a:gd name="connsiteY703" fmla="*/ 1961594 h 3952232"/>
                <a:gd name="connsiteX704" fmla="*/ 6075200 w 7267540"/>
                <a:gd name="connsiteY704" fmla="*/ 1966568 h 3952232"/>
                <a:gd name="connsiteX705" fmla="*/ 6089150 w 7267540"/>
                <a:gd name="connsiteY705" fmla="*/ 1979501 h 3952232"/>
                <a:gd name="connsiteX706" fmla="*/ 6089150 w 7267540"/>
                <a:gd name="connsiteY706" fmla="*/ 1963683 h 3952232"/>
                <a:gd name="connsiteX707" fmla="*/ 6080183 w 7267540"/>
                <a:gd name="connsiteY707" fmla="*/ 1947665 h 3952232"/>
                <a:gd name="connsiteX708" fmla="*/ 6079186 w 7267540"/>
                <a:gd name="connsiteY708" fmla="*/ 1935727 h 3952232"/>
                <a:gd name="connsiteX709" fmla="*/ 6080183 w 7267540"/>
                <a:gd name="connsiteY709" fmla="*/ 1923888 h 3952232"/>
                <a:gd name="connsiteX710" fmla="*/ 6063243 w 7267540"/>
                <a:gd name="connsiteY710" fmla="*/ 1879118 h 3952232"/>
                <a:gd name="connsiteX711" fmla="*/ 6068225 w 7267540"/>
                <a:gd name="connsiteY711" fmla="*/ 1851163 h 3952232"/>
                <a:gd name="connsiteX712" fmla="*/ 6064239 w 7267540"/>
                <a:gd name="connsiteY712" fmla="*/ 1849272 h 3952232"/>
                <a:gd name="connsiteX713" fmla="*/ 6073207 w 7267540"/>
                <a:gd name="connsiteY713" fmla="*/ 1835244 h 3952232"/>
                <a:gd name="connsiteX714" fmla="*/ 6080183 w 7267540"/>
                <a:gd name="connsiteY714" fmla="*/ 1823306 h 3952232"/>
                <a:gd name="connsiteX715" fmla="*/ 6063243 w 7267540"/>
                <a:gd name="connsiteY715" fmla="*/ 1796444 h 3952232"/>
                <a:gd name="connsiteX716" fmla="*/ 6080183 w 7267540"/>
                <a:gd name="connsiteY716" fmla="*/ 1787491 h 3952232"/>
                <a:gd name="connsiteX717" fmla="*/ 6128012 w 7267540"/>
                <a:gd name="connsiteY717" fmla="*/ 1751675 h 3952232"/>
                <a:gd name="connsiteX718" fmla="*/ 6109079 w 7267540"/>
                <a:gd name="connsiteY718" fmla="*/ 1770578 h 3952232"/>
                <a:gd name="connsiteX719" fmla="*/ 6094132 w 7267540"/>
                <a:gd name="connsiteY719" fmla="*/ 1801419 h 3952232"/>
                <a:gd name="connsiteX720" fmla="*/ 6100111 w 7267540"/>
                <a:gd name="connsiteY720" fmla="*/ 1822311 h 3952232"/>
                <a:gd name="connsiteX721" fmla="*/ 6082175 w 7267540"/>
                <a:gd name="connsiteY721" fmla="*/ 1849272 h 3952232"/>
                <a:gd name="connsiteX722" fmla="*/ 6104097 w 7267540"/>
                <a:gd name="connsiteY722" fmla="*/ 1837234 h 3952232"/>
                <a:gd name="connsiteX723" fmla="*/ 6095129 w 7267540"/>
                <a:gd name="connsiteY723" fmla="*/ 1849272 h 3952232"/>
                <a:gd name="connsiteX724" fmla="*/ 6080183 w 7267540"/>
                <a:gd name="connsiteY724" fmla="*/ 1864195 h 3952232"/>
                <a:gd name="connsiteX725" fmla="*/ 6086161 w 7267540"/>
                <a:gd name="connsiteY725" fmla="*/ 1876034 h 3952232"/>
                <a:gd name="connsiteX726" fmla="*/ 6099115 w 7267540"/>
                <a:gd name="connsiteY726" fmla="*/ 1871060 h 3952232"/>
                <a:gd name="connsiteX727" fmla="*/ 6107086 w 7267540"/>
                <a:gd name="connsiteY727" fmla="*/ 1878024 h 3952232"/>
                <a:gd name="connsiteX728" fmla="*/ 6109079 w 7267540"/>
                <a:gd name="connsiteY728" fmla="*/ 1887973 h 3952232"/>
                <a:gd name="connsiteX729" fmla="*/ 6087157 w 7267540"/>
                <a:gd name="connsiteY729" fmla="*/ 1906876 h 3952232"/>
                <a:gd name="connsiteX730" fmla="*/ 6098118 w 7267540"/>
                <a:gd name="connsiteY730" fmla="*/ 1927768 h 3952232"/>
                <a:gd name="connsiteX731" fmla="*/ 6100360 w 7267540"/>
                <a:gd name="connsiteY731" fmla="*/ 1936055 h 3952232"/>
                <a:gd name="connsiteX732" fmla="*/ 6102104 w 7267540"/>
                <a:gd name="connsiteY732" fmla="*/ 1936722 h 3952232"/>
                <a:gd name="connsiteX733" fmla="*/ 6118047 w 7267540"/>
                <a:gd name="connsiteY733" fmla="*/ 1954629 h 3952232"/>
                <a:gd name="connsiteX734" fmla="*/ 6125541 w 7267540"/>
                <a:gd name="connsiteY734" fmla="*/ 1972696 h 3952232"/>
                <a:gd name="connsiteX735" fmla="*/ 6129008 w 7267540"/>
                <a:gd name="connsiteY735" fmla="*/ 1973632 h 3952232"/>
                <a:gd name="connsiteX736" fmla="*/ 6125022 w 7267540"/>
                <a:gd name="connsiteY736" fmla="*/ 1944681 h 3952232"/>
                <a:gd name="connsiteX737" fmla="*/ 6146944 w 7267540"/>
                <a:gd name="connsiteY737" fmla="*/ 1953734 h 3952232"/>
                <a:gd name="connsiteX738" fmla="*/ 6136979 w 7267540"/>
                <a:gd name="connsiteY738" fmla="*/ 1965573 h 3952232"/>
                <a:gd name="connsiteX739" fmla="*/ 6146944 w 7267540"/>
                <a:gd name="connsiteY739" fmla="*/ 1976517 h 3952232"/>
                <a:gd name="connsiteX740" fmla="*/ 6142958 w 7267540"/>
                <a:gd name="connsiteY740" fmla="*/ 1999399 h 3952232"/>
                <a:gd name="connsiteX741" fmla="*/ 6156908 w 7267540"/>
                <a:gd name="connsiteY741" fmla="*/ 1990445 h 3952232"/>
                <a:gd name="connsiteX742" fmla="*/ 6171456 w 7267540"/>
                <a:gd name="connsiteY742" fmla="*/ 1991838 h 3952232"/>
                <a:gd name="connsiteX743" fmla="*/ 6159898 w 7267540"/>
                <a:gd name="connsiteY743" fmla="*/ 2001787 h 3952232"/>
                <a:gd name="connsiteX744" fmla="*/ 6152923 w 7267540"/>
                <a:gd name="connsiteY744" fmla="*/ 2025664 h 3952232"/>
                <a:gd name="connsiteX745" fmla="*/ 6126019 w 7267540"/>
                <a:gd name="connsiteY745" fmla="*/ 2099284 h 3952232"/>
                <a:gd name="connsiteX746" fmla="*/ 6136979 w 7267540"/>
                <a:gd name="connsiteY746" fmla="*/ 2130125 h 3952232"/>
                <a:gd name="connsiteX747" fmla="*/ 6156908 w 7267540"/>
                <a:gd name="connsiteY747" fmla="*/ 2097295 h 3952232"/>
                <a:gd name="connsiteX748" fmla="*/ 6164880 w 7267540"/>
                <a:gd name="connsiteY748" fmla="*/ 2085356 h 3952232"/>
                <a:gd name="connsiteX749" fmla="*/ 6170858 w 7267540"/>
                <a:gd name="connsiteY749" fmla="*/ 2068543 h 3952232"/>
                <a:gd name="connsiteX750" fmla="*/ 6185805 w 7267540"/>
                <a:gd name="connsiteY750" fmla="*/ 2026659 h 3952232"/>
                <a:gd name="connsiteX751" fmla="*/ 6224666 w 7267540"/>
                <a:gd name="connsiteY751" fmla="*/ 1981889 h 3952232"/>
                <a:gd name="connsiteX752" fmla="*/ 6215798 w 7267540"/>
                <a:gd name="connsiteY752" fmla="*/ 1982486 h 3952232"/>
                <a:gd name="connsiteX753" fmla="*/ 6191684 w 7267540"/>
                <a:gd name="connsiteY753" fmla="*/ 1985471 h 3952232"/>
                <a:gd name="connsiteX754" fmla="*/ 6173848 w 7267540"/>
                <a:gd name="connsiteY754" fmla="*/ 1990943 h 3952232"/>
                <a:gd name="connsiteX755" fmla="*/ 6176837 w 7267540"/>
                <a:gd name="connsiteY755" fmla="*/ 1986864 h 3952232"/>
                <a:gd name="connsiteX756" fmla="*/ 6191684 w 7267540"/>
                <a:gd name="connsiteY756" fmla="*/ 1985471 h 3952232"/>
                <a:gd name="connsiteX757" fmla="*/ 6215798 w 7267540"/>
                <a:gd name="connsiteY757" fmla="*/ 1982486 h 3952232"/>
                <a:gd name="connsiteX758" fmla="*/ 6232638 w 7267540"/>
                <a:gd name="connsiteY758" fmla="*/ 1964976 h 3952232"/>
                <a:gd name="connsiteX759" fmla="*/ 6248581 w 7267540"/>
                <a:gd name="connsiteY759" fmla="*/ 1914337 h 3952232"/>
                <a:gd name="connsiteX760" fmla="*/ 6243599 w 7267540"/>
                <a:gd name="connsiteY760" fmla="*/ 1858525 h 3952232"/>
                <a:gd name="connsiteX761" fmla="*/ 6216694 w 7267540"/>
                <a:gd name="connsiteY761" fmla="*/ 1839722 h 3952232"/>
                <a:gd name="connsiteX762" fmla="*/ 6205734 w 7267540"/>
                <a:gd name="connsiteY762" fmla="*/ 1816740 h 3952232"/>
                <a:gd name="connsiteX763" fmla="*/ 6189791 w 7267540"/>
                <a:gd name="connsiteY763" fmla="*/ 1763017 h 3952232"/>
                <a:gd name="connsiteX764" fmla="*/ 6188794 w 7267540"/>
                <a:gd name="connsiteY764" fmla="*/ 1739140 h 3952232"/>
                <a:gd name="connsiteX765" fmla="*/ 6188794 w 7267540"/>
                <a:gd name="connsiteY765" fmla="*/ 1738344 h 3952232"/>
                <a:gd name="connsiteX766" fmla="*/ 6189691 w 7267540"/>
                <a:gd name="connsiteY766" fmla="*/ 1734166 h 3952232"/>
                <a:gd name="connsiteX767" fmla="*/ 6188296 w 7267540"/>
                <a:gd name="connsiteY767" fmla="*/ 1730882 h 3952232"/>
                <a:gd name="connsiteX768" fmla="*/ 6190389 w 7267540"/>
                <a:gd name="connsiteY768" fmla="*/ 1732176 h 3952232"/>
                <a:gd name="connsiteX769" fmla="*/ 6189691 w 7267540"/>
                <a:gd name="connsiteY769" fmla="*/ 1734166 h 3952232"/>
                <a:gd name="connsiteX770" fmla="*/ 6188794 w 7267540"/>
                <a:gd name="connsiteY770" fmla="*/ 1738344 h 3952232"/>
                <a:gd name="connsiteX771" fmla="*/ 6187400 w 7267540"/>
                <a:gd name="connsiteY771" fmla="*/ 1751078 h 3952232"/>
                <a:gd name="connsiteX772" fmla="*/ 6199357 w 7267540"/>
                <a:gd name="connsiteY772" fmla="*/ 1760132 h 3952232"/>
                <a:gd name="connsiteX773" fmla="*/ 6213307 w 7267540"/>
                <a:gd name="connsiteY773" fmla="*/ 1771971 h 3952232"/>
                <a:gd name="connsiteX774" fmla="*/ 6237222 w 7267540"/>
                <a:gd name="connsiteY774" fmla="*/ 1795848 h 3952232"/>
                <a:gd name="connsiteX775" fmla="*/ 6254639 w 7267540"/>
                <a:gd name="connsiteY775" fmla="*/ 1794485 h 3952232"/>
                <a:gd name="connsiteX776" fmla="*/ 6255158 w 7267540"/>
                <a:gd name="connsiteY776" fmla="*/ 1794952 h 3952232"/>
                <a:gd name="connsiteX777" fmla="*/ 6272097 w 7267540"/>
                <a:gd name="connsiteY777" fmla="*/ 1835643 h 3952232"/>
                <a:gd name="connsiteX778" fmla="*/ 6307969 w 7267540"/>
                <a:gd name="connsiteY778" fmla="*/ 1781919 h 3952232"/>
                <a:gd name="connsiteX779" fmla="*/ 6328894 w 7267540"/>
                <a:gd name="connsiteY779" fmla="*/ 1766996 h 3952232"/>
                <a:gd name="connsiteX780" fmla="*/ 6367755 w 7267540"/>
                <a:gd name="connsiteY780" fmla="*/ 1702329 h 3952232"/>
                <a:gd name="connsiteX781" fmla="*/ 6382702 w 7267540"/>
                <a:gd name="connsiteY781" fmla="*/ 1616770 h 3952232"/>
                <a:gd name="connsiteX782" fmla="*/ 6374730 w 7267540"/>
                <a:gd name="connsiteY782" fmla="*/ 1593888 h 3952232"/>
                <a:gd name="connsiteX783" fmla="*/ 6354802 w 7267540"/>
                <a:gd name="connsiteY783" fmla="*/ 1591003 h 3952232"/>
                <a:gd name="connsiteX784" fmla="*/ 6347826 w 7267540"/>
                <a:gd name="connsiteY784" fmla="*/ 1579960 h 3952232"/>
                <a:gd name="connsiteX785" fmla="*/ 6373734 w 7267540"/>
                <a:gd name="connsiteY785" fmla="*/ 1564042 h 3952232"/>
                <a:gd name="connsiteX786" fmla="*/ 6408609 w 7267540"/>
                <a:gd name="connsiteY786" fmla="*/ 1566131 h 3952232"/>
                <a:gd name="connsiteX787" fmla="*/ 6453449 w 7267540"/>
                <a:gd name="connsiteY787" fmla="*/ 1562052 h 3952232"/>
                <a:gd name="connsiteX788" fmla="*/ 6480353 w 7267540"/>
                <a:gd name="connsiteY788" fmla="*/ 1559068 h 3952232"/>
                <a:gd name="connsiteX789" fmla="*/ 6537150 w 7267540"/>
                <a:gd name="connsiteY789" fmla="*/ 1537180 h 3952232"/>
                <a:gd name="connsiteX790" fmla="*/ 6649748 w 7267540"/>
                <a:gd name="connsiteY790" fmla="*/ 1486541 h 3952232"/>
                <a:gd name="connsiteX791" fmla="*/ 6625834 w 7267540"/>
                <a:gd name="connsiteY791" fmla="*/ 1494401 h 3952232"/>
                <a:gd name="connsiteX792" fmla="*/ 6621559 w 7267540"/>
                <a:gd name="connsiteY792" fmla="*/ 1480990 h 3952232"/>
                <a:gd name="connsiteX793" fmla="*/ 6621848 w 7267540"/>
                <a:gd name="connsiteY793" fmla="*/ 1480472 h 3952232"/>
                <a:gd name="connsiteX794" fmla="*/ 6604908 w 7267540"/>
                <a:gd name="connsiteY794" fmla="*/ 1491516 h 3952232"/>
                <a:gd name="connsiteX795" fmla="*/ 6607897 w 7267540"/>
                <a:gd name="connsiteY795" fmla="*/ 1465549 h 3952232"/>
                <a:gd name="connsiteX796" fmla="*/ 6492310 w 7267540"/>
                <a:gd name="connsiteY796" fmla="*/ 1502360 h 3952232"/>
                <a:gd name="connsiteX797" fmla="*/ 6487328 w 7267540"/>
                <a:gd name="connsiteY797" fmla="*/ 1509324 h 3952232"/>
                <a:gd name="connsiteX798" fmla="*/ 6476368 w 7267540"/>
                <a:gd name="connsiteY798" fmla="*/ 1513303 h 3952232"/>
                <a:gd name="connsiteX799" fmla="*/ 6451457 w 7267540"/>
                <a:gd name="connsiteY799" fmla="*/ 1508329 h 3952232"/>
                <a:gd name="connsiteX800" fmla="*/ 6443485 w 7267540"/>
                <a:gd name="connsiteY800" fmla="*/ 1511413 h 3952232"/>
                <a:gd name="connsiteX801" fmla="*/ 6409606 w 7267540"/>
                <a:gd name="connsiteY801" fmla="*/ 1517283 h 3952232"/>
                <a:gd name="connsiteX802" fmla="*/ 6423556 w 7267540"/>
                <a:gd name="connsiteY802" fmla="*/ 1500370 h 3952232"/>
                <a:gd name="connsiteX803" fmla="*/ 6421464 w 7267540"/>
                <a:gd name="connsiteY803" fmla="*/ 1491715 h 3952232"/>
                <a:gd name="connsiteX804" fmla="*/ 6415983 w 7267540"/>
                <a:gd name="connsiteY804" fmla="*/ 1483557 h 3952232"/>
                <a:gd name="connsiteX805" fmla="*/ 6421464 w 7267540"/>
                <a:gd name="connsiteY805" fmla="*/ 1491715 h 3952232"/>
                <a:gd name="connsiteX806" fmla="*/ 6423556 w 7267540"/>
                <a:gd name="connsiteY806" fmla="*/ 1500370 h 3952232"/>
                <a:gd name="connsiteX807" fmla="*/ 6447471 w 7267540"/>
                <a:gd name="connsiteY807" fmla="*/ 1489426 h 3952232"/>
                <a:gd name="connsiteX808" fmla="*/ 6459428 w 7267540"/>
                <a:gd name="connsiteY808" fmla="*/ 1480472 h 3952232"/>
                <a:gd name="connsiteX809" fmla="*/ 6481350 w 7267540"/>
                <a:gd name="connsiteY809" fmla="*/ 1471618 h 3952232"/>
                <a:gd name="connsiteX810" fmla="*/ 6492310 w 7267540"/>
                <a:gd name="connsiteY810" fmla="*/ 1472513 h 3952232"/>
                <a:gd name="connsiteX811" fmla="*/ 6504268 w 7267540"/>
                <a:gd name="connsiteY811" fmla="*/ 1463560 h 3952232"/>
                <a:gd name="connsiteX812" fmla="*/ 6521207 w 7267540"/>
                <a:gd name="connsiteY812" fmla="*/ 1457590 h 3952232"/>
                <a:gd name="connsiteX813" fmla="*/ 6533164 w 7267540"/>
                <a:gd name="connsiteY813" fmla="*/ 1453611 h 3952232"/>
                <a:gd name="connsiteX814" fmla="*/ 6550104 w 7267540"/>
                <a:gd name="connsiteY814" fmla="*/ 1453611 h 3952232"/>
                <a:gd name="connsiteX815" fmla="*/ 6565050 w 7267540"/>
                <a:gd name="connsiteY815" fmla="*/ 1455601 h 3952232"/>
                <a:gd name="connsiteX816" fmla="*/ 6583983 w 7267540"/>
                <a:gd name="connsiteY816" fmla="*/ 1453611 h 3952232"/>
                <a:gd name="connsiteX817" fmla="*/ 6606901 w 7267540"/>
                <a:gd name="connsiteY817" fmla="*/ 1444657 h 3952232"/>
                <a:gd name="connsiteX818" fmla="*/ 6619855 w 7267540"/>
                <a:gd name="connsiteY818" fmla="*/ 1445652 h 3952232"/>
                <a:gd name="connsiteX819" fmla="*/ 6649748 w 7267540"/>
                <a:gd name="connsiteY819" fmla="*/ 1444657 h 3952232"/>
                <a:gd name="connsiteX820" fmla="*/ 6649748 w 7267540"/>
                <a:gd name="connsiteY820" fmla="*/ 1445652 h 3952232"/>
                <a:gd name="connsiteX821" fmla="*/ 6687613 w 7267540"/>
                <a:gd name="connsiteY821" fmla="*/ 1435703 h 3952232"/>
                <a:gd name="connsiteX822" fmla="*/ 6703556 w 7267540"/>
                <a:gd name="connsiteY822" fmla="*/ 1421874 h 3952232"/>
                <a:gd name="connsiteX823" fmla="*/ 6721492 w 7267540"/>
                <a:gd name="connsiteY823" fmla="*/ 1415806 h 3952232"/>
                <a:gd name="connsiteX824" fmla="*/ 6741421 w 7267540"/>
                <a:gd name="connsiteY824" fmla="*/ 1406653 h 3952232"/>
                <a:gd name="connsiteX825" fmla="*/ 6742417 w 7267540"/>
                <a:gd name="connsiteY825" fmla="*/ 1414811 h 3952232"/>
                <a:gd name="connsiteX826" fmla="*/ 6769321 w 7267540"/>
                <a:gd name="connsiteY826" fmla="*/ 1400883 h 3952232"/>
                <a:gd name="connsiteX827" fmla="*/ 6787257 w 7267540"/>
                <a:gd name="connsiteY827" fmla="*/ 1390934 h 3952232"/>
                <a:gd name="connsiteX828" fmla="*/ 6764339 w 7267540"/>
                <a:gd name="connsiteY828" fmla="*/ 1429734 h 3952232"/>
                <a:gd name="connsiteX829" fmla="*/ 6824125 w 7267540"/>
                <a:gd name="connsiteY829" fmla="*/ 1404862 h 3952232"/>
                <a:gd name="connsiteX830" fmla="*/ 6850033 w 7267540"/>
                <a:gd name="connsiteY830" fmla="*/ 1394913 h 3952232"/>
                <a:gd name="connsiteX831" fmla="*/ 6882915 w 7267540"/>
                <a:gd name="connsiteY831" fmla="*/ 1384965 h 3952232"/>
                <a:gd name="connsiteX832" fmla="*/ 6881918 w 7267540"/>
                <a:gd name="connsiteY832" fmla="*/ 1406951 h 3952232"/>
                <a:gd name="connsiteX833" fmla="*/ 6885904 w 7267540"/>
                <a:gd name="connsiteY833" fmla="*/ 1339200 h 3952232"/>
                <a:gd name="connsiteX834" fmla="*/ 6866753 w 7267540"/>
                <a:gd name="connsiteY834" fmla="*/ 1315940 h 3952232"/>
                <a:gd name="connsiteX835" fmla="*/ 6853022 w 7267540"/>
                <a:gd name="connsiteY835" fmla="*/ 1319303 h 3952232"/>
                <a:gd name="connsiteX836" fmla="*/ 6864979 w 7267540"/>
                <a:gd name="connsiteY836" fmla="*/ 1325272 h 3952232"/>
                <a:gd name="connsiteX837" fmla="*/ 6882915 w 7267540"/>
                <a:gd name="connsiteY837" fmla="*/ 1355118 h 3952232"/>
                <a:gd name="connsiteX838" fmla="*/ 6856011 w 7267540"/>
                <a:gd name="connsiteY838" fmla="*/ 1373026 h 3952232"/>
                <a:gd name="connsiteX839" fmla="*/ 6821136 w 7267540"/>
                <a:gd name="connsiteY839" fmla="*/ 1368052 h 3952232"/>
                <a:gd name="connsiteX840" fmla="*/ 6815157 w 7267540"/>
                <a:gd name="connsiteY840" fmla="*/ 1361088 h 3952232"/>
                <a:gd name="connsiteX841" fmla="*/ 6810175 w 7267540"/>
                <a:gd name="connsiteY841" fmla="*/ 1338205 h 3952232"/>
                <a:gd name="connsiteX842" fmla="*/ 6798218 w 7267540"/>
                <a:gd name="connsiteY842" fmla="*/ 1329252 h 3952232"/>
                <a:gd name="connsiteX843" fmla="*/ 6798218 w 7267540"/>
                <a:gd name="connsiteY843" fmla="*/ 1308359 h 3952232"/>
                <a:gd name="connsiteX844" fmla="*/ 6784267 w 7267540"/>
                <a:gd name="connsiteY844" fmla="*/ 1287566 h 3952232"/>
                <a:gd name="connsiteX845" fmla="*/ 6762346 w 7267540"/>
                <a:gd name="connsiteY845" fmla="*/ 1284482 h 3952232"/>
                <a:gd name="connsiteX846" fmla="*/ 6761349 w 7267540"/>
                <a:gd name="connsiteY846" fmla="*/ 1269559 h 3952232"/>
                <a:gd name="connsiteX847" fmla="*/ 6769321 w 7267540"/>
                <a:gd name="connsiteY847" fmla="*/ 1257720 h 3952232"/>
                <a:gd name="connsiteX848" fmla="*/ 6777292 w 7267540"/>
                <a:gd name="connsiteY848" fmla="*/ 1236728 h 3952232"/>
                <a:gd name="connsiteX849" fmla="*/ 6808182 w 7267540"/>
                <a:gd name="connsiteY849" fmla="*/ 1214841 h 3952232"/>
                <a:gd name="connsiteX850" fmla="*/ 6786260 w 7267540"/>
                <a:gd name="connsiteY850" fmla="*/ 1208872 h 3952232"/>
                <a:gd name="connsiteX851" fmla="*/ 6781278 w 7267540"/>
                <a:gd name="connsiteY851" fmla="*/ 1182010 h 3952232"/>
                <a:gd name="connsiteX852" fmla="*/ 6774004 w 7267540"/>
                <a:gd name="connsiteY852" fmla="*/ 1181413 h 3952232"/>
                <a:gd name="connsiteX853" fmla="*/ 6781278 w 7267540"/>
                <a:gd name="connsiteY853" fmla="*/ 1182010 h 3952232"/>
                <a:gd name="connsiteX854" fmla="*/ 6795229 w 7267540"/>
                <a:gd name="connsiteY854" fmla="*/ 1149179 h 3952232"/>
                <a:gd name="connsiteX855" fmla="*/ 6811171 w 7267540"/>
                <a:gd name="connsiteY855" fmla="*/ 1121323 h 3952232"/>
                <a:gd name="connsiteX856" fmla="*/ 6814161 w 7267540"/>
                <a:gd name="connsiteY856" fmla="*/ 1104410 h 3952232"/>
                <a:gd name="connsiteX857" fmla="*/ 6818147 w 7267540"/>
                <a:gd name="connsiteY857" fmla="*/ 1100431 h 3952232"/>
                <a:gd name="connsiteX858" fmla="*/ 6842061 w 7267540"/>
                <a:gd name="connsiteY858" fmla="*/ 1080533 h 3952232"/>
                <a:gd name="connsiteX859" fmla="*/ 6838075 w 7267540"/>
                <a:gd name="connsiteY859" fmla="*/ 1068694 h 3952232"/>
                <a:gd name="connsiteX860" fmla="*/ 6858004 w 7267540"/>
                <a:gd name="connsiteY860" fmla="*/ 1063720 h 3952232"/>
                <a:gd name="connsiteX861" fmla="*/ 6859997 w 7267540"/>
                <a:gd name="connsiteY861" fmla="*/ 1048797 h 3952232"/>
                <a:gd name="connsiteX862" fmla="*/ 6871954 w 7267540"/>
                <a:gd name="connsiteY862" fmla="*/ 1043822 h 3952232"/>
                <a:gd name="connsiteX863" fmla="*/ 6885904 w 7267540"/>
                <a:gd name="connsiteY863" fmla="*/ 1030789 h 3952232"/>
                <a:gd name="connsiteX864" fmla="*/ 6900851 w 7267540"/>
                <a:gd name="connsiteY864" fmla="*/ 1028899 h 3952232"/>
                <a:gd name="connsiteX865" fmla="*/ 6904837 w 7267540"/>
                <a:gd name="connsiteY865" fmla="*/ 1038848 h 3952232"/>
                <a:gd name="connsiteX866" fmla="*/ 6914801 w 7267540"/>
                <a:gd name="connsiteY866" fmla="*/ 1030789 h 3952232"/>
                <a:gd name="connsiteX867" fmla="*/ 6921776 w 7267540"/>
                <a:gd name="connsiteY867" fmla="*/ 1021835 h 3952232"/>
                <a:gd name="connsiteX868" fmla="*/ 6936723 w 7267540"/>
                <a:gd name="connsiteY868" fmla="*/ 1017856 h 3952232"/>
                <a:gd name="connsiteX869" fmla="*/ 6945691 w 7267540"/>
                <a:gd name="connsiteY869" fmla="*/ 1014871 h 3952232"/>
                <a:gd name="connsiteX870" fmla="*/ 6959641 w 7267540"/>
                <a:gd name="connsiteY870" fmla="*/ 994078 h 3952232"/>
                <a:gd name="connsiteX871" fmla="*/ 6968609 w 7267540"/>
                <a:gd name="connsiteY871" fmla="*/ 1011887 h 3952232"/>
                <a:gd name="connsiteX872" fmla="*/ 6978573 w 7267540"/>
                <a:gd name="connsiteY872" fmla="*/ 1000943 h 3952232"/>
                <a:gd name="connsiteX873" fmla="*/ 6987542 w 7267540"/>
                <a:gd name="connsiteY873" fmla="*/ 990994 h 3952232"/>
                <a:gd name="connsiteX874" fmla="*/ 7000495 w 7267540"/>
                <a:gd name="connsiteY874" fmla="*/ 980051 h 3952232"/>
                <a:gd name="connsiteX875" fmla="*/ 6999499 w 7267540"/>
                <a:gd name="connsiteY875" fmla="*/ 964232 h 3952232"/>
                <a:gd name="connsiteX876" fmla="*/ 7015442 w 7267540"/>
                <a:gd name="connsiteY876" fmla="*/ 948215 h 3952232"/>
                <a:gd name="connsiteX877" fmla="*/ 7017435 w 7267540"/>
                <a:gd name="connsiteY877" fmla="*/ 964232 h 3952232"/>
                <a:gd name="connsiteX878" fmla="*/ 7025406 w 7267540"/>
                <a:gd name="connsiteY878" fmla="*/ 982040 h 3952232"/>
                <a:gd name="connsiteX879" fmla="*/ 7051313 w 7267540"/>
                <a:gd name="connsiteY879" fmla="*/ 973087 h 3952232"/>
                <a:gd name="connsiteX880" fmla="*/ 7052310 w 7267540"/>
                <a:gd name="connsiteY880" fmla="*/ 986020 h 3952232"/>
                <a:gd name="connsiteX881" fmla="*/ 7061278 w 7267540"/>
                <a:gd name="connsiteY881" fmla="*/ 974181 h 3952232"/>
                <a:gd name="connsiteX882" fmla="*/ 7093164 w 7267540"/>
                <a:gd name="connsiteY882" fmla="*/ 968112 h 3952232"/>
                <a:gd name="connsiteX883" fmla="*/ 7113093 w 7267540"/>
                <a:gd name="connsiteY883" fmla="*/ 947220 h 3952232"/>
                <a:gd name="connsiteX884" fmla="*/ 7113093 w 7267540"/>
                <a:gd name="connsiteY884" fmla="*/ 929412 h 3952232"/>
                <a:gd name="connsiteX885" fmla="*/ 7119072 w 7267540"/>
                <a:gd name="connsiteY885" fmla="*/ 918368 h 3952232"/>
                <a:gd name="connsiteX886" fmla="*/ 7129036 w 7267540"/>
                <a:gd name="connsiteY886" fmla="*/ 928317 h 3952232"/>
                <a:gd name="connsiteX887" fmla="*/ 7142986 w 7267540"/>
                <a:gd name="connsiteY887" fmla="*/ 914488 h 3952232"/>
                <a:gd name="connsiteX888" fmla="*/ 7152950 w 7267540"/>
                <a:gd name="connsiteY888" fmla="*/ 913394 h 3952232"/>
                <a:gd name="connsiteX889" fmla="*/ 7178858 w 7267540"/>
                <a:gd name="connsiteY889" fmla="*/ 894591 h 3952232"/>
                <a:gd name="connsiteX890" fmla="*/ 7187826 w 7267540"/>
                <a:gd name="connsiteY890" fmla="*/ 911404 h 3952232"/>
                <a:gd name="connsiteX891" fmla="*/ 7197790 w 7267540"/>
                <a:gd name="connsiteY891" fmla="*/ 903445 h 3952232"/>
                <a:gd name="connsiteX892" fmla="*/ 7207974 w 7267540"/>
                <a:gd name="connsiteY892" fmla="*/ 881329 h 3952232"/>
                <a:gd name="connsiteX893" fmla="*/ 7210744 w 7267540"/>
                <a:gd name="connsiteY893" fmla="*/ 880563 h 3952232"/>
                <a:gd name="connsiteX894" fmla="*/ 7223698 w 7267540"/>
                <a:gd name="connsiteY894" fmla="*/ 881558 h 3952232"/>
                <a:gd name="connsiteX895" fmla="*/ 7267541 w 7267540"/>
                <a:gd name="connsiteY895" fmla="*/ 842758 h 3952232"/>
                <a:gd name="connsiteX896" fmla="*/ 7263057 w 7267540"/>
                <a:gd name="connsiteY896" fmla="*/ 827338 h 3952232"/>
                <a:gd name="connsiteX897" fmla="*/ 6245691 w 7267540"/>
                <a:gd name="connsiteY897" fmla="*/ 1515890 h 3952232"/>
                <a:gd name="connsiteX898" fmla="*/ 6243400 w 7267540"/>
                <a:gd name="connsiteY898" fmla="*/ 1522158 h 3952232"/>
                <a:gd name="connsiteX899" fmla="*/ 6245691 w 7267540"/>
                <a:gd name="connsiteY899" fmla="*/ 1515890 h 3952232"/>
                <a:gd name="connsiteX900" fmla="*/ 6253165 w 7267540"/>
                <a:gd name="connsiteY900" fmla="*/ 1409140 h 3952232"/>
                <a:gd name="connsiteX901" fmla="*/ 6248680 w 7267540"/>
                <a:gd name="connsiteY901" fmla="*/ 1401479 h 3952232"/>
                <a:gd name="connsiteX902" fmla="*/ 6248680 w 7267540"/>
                <a:gd name="connsiteY902" fmla="*/ 1389242 h 3952232"/>
                <a:gd name="connsiteX903" fmla="*/ 6253165 w 7267540"/>
                <a:gd name="connsiteY903" fmla="*/ 1408842 h 3952232"/>
                <a:gd name="connsiteX904" fmla="*/ 6184909 w 7267540"/>
                <a:gd name="connsiteY904" fmla="*/ 1329550 h 3952232"/>
                <a:gd name="connsiteX905" fmla="*/ 6205734 w 7267540"/>
                <a:gd name="connsiteY905" fmla="*/ 1330545 h 3952232"/>
                <a:gd name="connsiteX906" fmla="*/ 6208823 w 7267540"/>
                <a:gd name="connsiteY906" fmla="*/ 1330545 h 3952232"/>
                <a:gd name="connsiteX907" fmla="*/ 6216196 w 7267540"/>
                <a:gd name="connsiteY907" fmla="*/ 1336116 h 3952232"/>
                <a:gd name="connsiteX908" fmla="*/ 6220780 w 7267540"/>
                <a:gd name="connsiteY908" fmla="*/ 1348453 h 3952232"/>
                <a:gd name="connsiteX909" fmla="*/ 6216196 w 7267540"/>
                <a:gd name="connsiteY909" fmla="*/ 1336116 h 3952232"/>
                <a:gd name="connsiteX910" fmla="*/ 6206232 w 7267540"/>
                <a:gd name="connsiteY910" fmla="*/ 1330545 h 3952232"/>
                <a:gd name="connsiteX911" fmla="*/ 6108481 w 7267540"/>
                <a:gd name="connsiteY911" fmla="*/ 1329550 h 3952232"/>
                <a:gd name="connsiteX912" fmla="*/ 6157008 w 7267540"/>
                <a:gd name="connsiteY912" fmla="*/ 1707602 h 3952232"/>
                <a:gd name="connsiteX913" fmla="*/ 6155214 w 7267540"/>
                <a:gd name="connsiteY913" fmla="*/ 1707602 h 3952232"/>
                <a:gd name="connsiteX914" fmla="*/ 6157506 w 7267540"/>
                <a:gd name="connsiteY914" fmla="*/ 1706508 h 3952232"/>
                <a:gd name="connsiteX915" fmla="*/ 6161193 w 7267540"/>
                <a:gd name="connsiteY915" fmla="*/ 1700141 h 3952232"/>
                <a:gd name="connsiteX916" fmla="*/ 6157506 w 7267540"/>
                <a:gd name="connsiteY916" fmla="*/ 1706508 h 3952232"/>
                <a:gd name="connsiteX917" fmla="*/ 6157008 w 7267540"/>
                <a:gd name="connsiteY917" fmla="*/ 1707801 h 3952232"/>
                <a:gd name="connsiteX918" fmla="*/ 6171855 w 7267540"/>
                <a:gd name="connsiteY918" fmla="*/ 1691784 h 3952232"/>
                <a:gd name="connsiteX919" fmla="*/ 6161392 w 7267540"/>
                <a:gd name="connsiteY919" fmla="*/ 1699842 h 3952232"/>
                <a:gd name="connsiteX920" fmla="*/ 6163983 w 7267540"/>
                <a:gd name="connsiteY920" fmla="*/ 1696659 h 3952232"/>
                <a:gd name="connsiteX921" fmla="*/ 6172154 w 7267540"/>
                <a:gd name="connsiteY921" fmla="*/ 1691983 h 3952232"/>
                <a:gd name="connsiteX922" fmla="*/ 5831969 w 7267540"/>
                <a:gd name="connsiteY922" fmla="*/ 1329550 h 3952232"/>
                <a:gd name="connsiteX923" fmla="*/ 5655798 w 7267540"/>
                <a:gd name="connsiteY923" fmla="*/ 1329550 h 3952232"/>
                <a:gd name="connsiteX924" fmla="*/ 5988211 w 7267540"/>
                <a:gd name="connsiteY924" fmla="*/ 1836936 h 3952232"/>
                <a:gd name="connsiteX925" fmla="*/ 5994190 w 7267540"/>
                <a:gd name="connsiteY925" fmla="*/ 1843104 h 3952232"/>
                <a:gd name="connsiteX926" fmla="*/ 5988211 w 7267540"/>
                <a:gd name="connsiteY926" fmla="*/ 1836936 h 3952232"/>
                <a:gd name="connsiteX927" fmla="*/ 5987613 w 7267540"/>
                <a:gd name="connsiteY927" fmla="*/ 1836339 h 3952232"/>
                <a:gd name="connsiteX928" fmla="*/ 5987613 w 7267540"/>
                <a:gd name="connsiteY928" fmla="*/ 1835742 h 3952232"/>
                <a:gd name="connsiteX929" fmla="*/ 5987613 w 7267540"/>
                <a:gd name="connsiteY929" fmla="*/ 1836339 h 3952232"/>
                <a:gd name="connsiteX930" fmla="*/ 5988211 w 7267540"/>
                <a:gd name="connsiteY930" fmla="*/ 1836637 h 3952232"/>
                <a:gd name="connsiteX931" fmla="*/ 5942474 w 7267540"/>
                <a:gd name="connsiteY931" fmla="*/ 1787192 h 3952232"/>
                <a:gd name="connsiteX932" fmla="*/ 5933406 w 7267540"/>
                <a:gd name="connsiteY932" fmla="*/ 1779532 h 3952232"/>
                <a:gd name="connsiteX933" fmla="*/ 5932809 w 7267540"/>
                <a:gd name="connsiteY933" fmla="*/ 1779532 h 3952232"/>
                <a:gd name="connsiteX934" fmla="*/ 5931115 w 7267540"/>
                <a:gd name="connsiteY934" fmla="*/ 1778238 h 3952232"/>
                <a:gd name="connsiteX935" fmla="*/ 5933406 w 7267540"/>
                <a:gd name="connsiteY935" fmla="*/ 1779731 h 3952232"/>
                <a:gd name="connsiteX936" fmla="*/ 5942474 w 7267540"/>
                <a:gd name="connsiteY936" fmla="*/ 1787391 h 3952232"/>
                <a:gd name="connsiteX937" fmla="*/ 5944766 w 7267540"/>
                <a:gd name="connsiteY937" fmla="*/ 1789481 h 3952232"/>
                <a:gd name="connsiteX938" fmla="*/ 5943371 w 7267540"/>
                <a:gd name="connsiteY938" fmla="*/ 1791669 h 3952232"/>
                <a:gd name="connsiteX939" fmla="*/ 5939086 w 7267540"/>
                <a:gd name="connsiteY939" fmla="*/ 1797837 h 3952232"/>
                <a:gd name="connsiteX940" fmla="*/ 5936994 w 7267540"/>
                <a:gd name="connsiteY940" fmla="*/ 1801320 h 3952232"/>
                <a:gd name="connsiteX941" fmla="*/ 5936994 w 7267540"/>
                <a:gd name="connsiteY941" fmla="*/ 1799429 h 3952232"/>
                <a:gd name="connsiteX942" fmla="*/ 5939286 w 7267540"/>
                <a:gd name="connsiteY942" fmla="*/ 1797837 h 3952232"/>
                <a:gd name="connsiteX943" fmla="*/ 5943570 w 7267540"/>
                <a:gd name="connsiteY943" fmla="*/ 1791669 h 3952232"/>
                <a:gd name="connsiteX944" fmla="*/ 5942972 w 7267540"/>
                <a:gd name="connsiteY944" fmla="*/ 1787391 h 3952232"/>
                <a:gd name="connsiteX945" fmla="*/ 5494076 w 7267540"/>
                <a:gd name="connsiteY945" fmla="*/ 2447789 h 3952232"/>
                <a:gd name="connsiteX946" fmla="*/ 5492980 w 7267540"/>
                <a:gd name="connsiteY946" fmla="*/ 2441322 h 3952232"/>
                <a:gd name="connsiteX947" fmla="*/ 5494674 w 7267540"/>
                <a:gd name="connsiteY947" fmla="*/ 2434159 h 3952232"/>
                <a:gd name="connsiteX948" fmla="*/ 5494076 w 7267540"/>
                <a:gd name="connsiteY948" fmla="*/ 2431871 h 3952232"/>
                <a:gd name="connsiteX949" fmla="*/ 5488994 w 7267540"/>
                <a:gd name="connsiteY949" fmla="*/ 2430578 h 3952232"/>
                <a:gd name="connsiteX950" fmla="*/ 5494076 w 7267540"/>
                <a:gd name="connsiteY950" fmla="*/ 2430578 h 3952232"/>
                <a:gd name="connsiteX951" fmla="*/ 5494674 w 7267540"/>
                <a:gd name="connsiteY951" fmla="*/ 2433761 h 3952232"/>
                <a:gd name="connsiteX952" fmla="*/ 5492980 w 7267540"/>
                <a:gd name="connsiteY952" fmla="*/ 2440924 h 3952232"/>
                <a:gd name="connsiteX953" fmla="*/ 5494574 w 7267540"/>
                <a:gd name="connsiteY953" fmla="*/ 2447988 h 3952232"/>
                <a:gd name="connsiteX954" fmla="*/ 5436083 w 7267540"/>
                <a:gd name="connsiteY954" fmla="*/ 2757593 h 3952232"/>
                <a:gd name="connsiteX955" fmla="*/ 5429706 w 7267540"/>
                <a:gd name="connsiteY955" fmla="*/ 2749037 h 3952232"/>
                <a:gd name="connsiteX956" fmla="*/ 5436283 w 7267540"/>
                <a:gd name="connsiteY956" fmla="*/ 2755205 h 3952232"/>
                <a:gd name="connsiteX957" fmla="*/ 5436283 w 7267540"/>
                <a:gd name="connsiteY957" fmla="*/ 2757593 h 3952232"/>
                <a:gd name="connsiteX958" fmla="*/ 5436880 w 7267540"/>
                <a:gd name="connsiteY958" fmla="*/ 2763562 h 3952232"/>
                <a:gd name="connsiteX959" fmla="*/ 5438176 w 7267540"/>
                <a:gd name="connsiteY959" fmla="*/ 2767541 h 3952232"/>
                <a:gd name="connsiteX960" fmla="*/ 5436481 w 7267540"/>
                <a:gd name="connsiteY960" fmla="*/ 2765154 h 3952232"/>
                <a:gd name="connsiteX961" fmla="*/ 5436481 w 7267540"/>
                <a:gd name="connsiteY961" fmla="*/ 2763562 h 3952232"/>
                <a:gd name="connsiteX962" fmla="*/ 5436382 w 7267540"/>
                <a:gd name="connsiteY962" fmla="*/ 2757792 h 3952232"/>
                <a:gd name="connsiteX963" fmla="*/ 5400410 w 7267540"/>
                <a:gd name="connsiteY963" fmla="*/ 2725160 h 3952232"/>
                <a:gd name="connsiteX964" fmla="*/ 5404396 w 7267540"/>
                <a:gd name="connsiteY964" fmla="*/ 2734412 h 3952232"/>
                <a:gd name="connsiteX965" fmla="*/ 5418346 w 7267540"/>
                <a:gd name="connsiteY965" fmla="*/ 2741973 h 3952232"/>
                <a:gd name="connsiteX966" fmla="*/ 5404396 w 7267540"/>
                <a:gd name="connsiteY966" fmla="*/ 2734412 h 3952232"/>
                <a:gd name="connsiteX967" fmla="*/ 5400710 w 7267540"/>
                <a:gd name="connsiteY967" fmla="*/ 2725359 h 3952232"/>
                <a:gd name="connsiteX968" fmla="*/ 5368823 w 7267540"/>
                <a:gd name="connsiteY968" fmla="*/ 3105998 h 3952232"/>
                <a:gd name="connsiteX969" fmla="*/ 5371514 w 7267540"/>
                <a:gd name="connsiteY969" fmla="*/ 3111370 h 3952232"/>
                <a:gd name="connsiteX970" fmla="*/ 5369122 w 7267540"/>
                <a:gd name="connsiteY970" fmla="*/ 3106196 h 3952232"/>
                <a:gd name="connsiteX971" fmla="*/ 5351186 w 7267540"/>
                <a:gd name="connsiteY971" fmla="*/ 2662383 h 3952232"/>
                <a:gd name="connsiteX972" fmla="*/ 5358659 w 7267540"/>
                <a:gd name="connsiteY972" fmla="*/ 2667855 h 3952232"/>
                <a:gd name="connsiteX973" fmla="*/ 5359855 w 7267540"/>
                <a:gd name="connsiteY973" fmla="*/ 2667855 h 3952232"/>
                <a:gd name="connsiteX974" fmla="*/ 5366731 w 7267540"/>
                <a:gd name="connsiteY974" fmla="*/ 2672432 h 3952232"/>
                <a:gd name="connsiteX975" fmla="*/ 5358659 w 7267540"/>
                <a:gd name="connsiteY975" fmla="*/ 2667756 h 3952232"/>
                <a:gd name="connsiteX976" fmla="*/ 5351186 w 7267540"/>
                <a:gd name="connsiteY976" fmla="*/ 2662383 h 3952232"/>
                <a:gd name="connsiteX977" fmla="*/ 4683073 w 7267540"/>
                <a:gd name="connsiteY977" fmla="*/ 3093860 h 3952232"/>
                <a:gd name="connsiteX978" fmla="*/ 4695230 w 7267540"/>
                <a:gd name="connsiteY978" fmla="*/ 3103809 h 3952232"/>
                <a:gd name="connsiteX979" fmla="*/ 4683073 w 7267540"/>
                <a:gd name="connsiteY979" fmla="*/ 3093761 h 3952232"/>
                <a:gd name="connsiteX980" fmla="*/ 4594589 w 7267540"/>
                <a:gd name="connsiteY980" fmla="*/ 2455051 h 3952232"/>
                <a:gd name="connsiteX981" fmla="*/ 4594589 w 7267540"/>
                <a:gd name="connsiteY981" fmla="*/ 2455847 h 3952232"/>
                <a:gd name="connsiteX982" fmla="*/ 4599571 w 7267540"/>
                <a:gd name="connsiteY982" fmla="*/ 2465100 h 3952232"/>
                <a:gd name="connsiteX983" fmla="*/ 4594589 w 7267540"/>
                <a:gd name="connsiteY983" fmla="*/ 2455847 h 3952232"/>
                <a:gd name="connsiteX984" fmla="*/ 4594589 w 7267540"/>
                <a:gd name="connsiteY984" fmla="*/ 2455051 h 3952232"/>
                <a:gd name="connsiteX985" fmla="*/ 4593692 w 7267540"/>
                <a:gd name="connsiteY985" fmla="*/ 2453062 h 3952232"/>
                <a:gd name="connsiteX986" fmla="*/ 4403372 w 7267540"/>
                <a:gd name="connsiteY986" fmla="*/ 2303532 h 3952232"/>
                <a:gd name="connsiteX987" fmla="*/ 4412240 w 7267540"/>
                <a:gd name="connsiteY987" fmla="*/ 2314774 h 3952232"/>
                <a:gd name="connsiteX988" fmla="*/ 4412240 w 7267540"/>
                <a:gd name="connsiteY988" fmla="*/ 2315271 h 3952232"/>
                <a:gd name="connsiteX989" fmla="*/ 4412240 w 7267540"/>
                <a:gd name="connsiteY989" fmla="*/ 2316863 h 3952232"/>
                <a:gd name="connsiteX990" fmla="*/ 4409948 w 7267540"/>
                <a:gd name="connsiteY990" fmla="*/ 2317560 h 3952232"/>
                <a:gd name="connsiteX991" fmla="*/ 4403272 w 7267540"/>
                <a:gd name="connsiteY991" fmla="*/ 2319947 h 3952232"/>
                <a:gd name="connsiteX992" fmla="*/ 4409948 w 7267540"/>
                <a:gd name="connsiteY992" fmla="*/ 2317560 h 3952232"/>
                <a:gd name="connsiteX993" fmla="*/ 4411941 w 7267540"/>
                <a:gd name="connsiteY993" fmla="*/ 2315271 h 3952232"/>
                <a:gd name="connsiteX994" fmla="*/ 4403372 w 7267540"/>
                <a:gd name="connsiteY994" fmla="*/ 2303532 h 3952232"/>
                <a:gd name="connsiteX995" fmla="*/ 4395799 w 7267540"/>
                <a:gd name="connsiteY995" fmla="*/ 2300050 h 3952232"/>
                <a:gd name="connsiteX996" fmla="*/ 4381151 w 7267540"/>
                <a:gd name="connsiteY996" fmla="*/ 2300050 h 3952232"/>
                <a:gd name="connsiteX997" fmla="*/ 4395799 w 7267540"/>
                <a:gd name="connsiteY997" fmla="*/ 2300050 h 3952232"/>
                <a:gd name="connsiteX998" fmla="*/ 4405763 w 7267540"/>
                <a:gd name="connsiteY998" fmla="*/ 2296070 h 3952232"/>
                <a:gd name="connsiteX999" fmla="*/ 4408155 w 7267540"/>
                <a:gd name="connsiteY999" fmla="*/ 2287017 h 3952232"/>
                <a:gd name="connsiteX1000" fmla="*/ 4416226 w 7267540"/>
                <a:gd name="connsiteY1000" fmla="*/ 2281048 h 3952232"/>
                <a:gd name="connsiteX1001" fmla="*/ 4417222 w 7267540"/>
                <a:gd name="connsiteY1001" fmla="*/ 2275476 h 3952232"/>
                <a:gd name="connsiteX1002" fmla="*/ 4410247 w 7267540"/>
                <a:gd name="connsiteY1002" fmla="*/ 2268015 h 3952232"/>
                <a:gd name="connsiteX1003" fmla="*/ 4417222 w 7267540"/>
                <a:gd name="connsiteY1003" fmla="*/ 2275476 h 3952232"/>
                <a:gd name="connsiteX1004" fmla="*/ 4419116 w 7267540"/>
                <a:gd name="connsiteY1004" fmla="*/ 2278959 h 3952232"/>
                <a:gd name="connsiteX1005" fmla="*/ 4416226 w 7267540"/>
                <a:gd name="connsiteY1005" fmla="*/ 2281048 h 3952232"/>
                <a:gd name="connsiteX1006" fmla="*/ 4408155 w 7267540"/>
                <a:gd name="connsiteY1006" fmla="*/ 2287017 h 3952232"/>
                <a:gd name="connsiteX1007" fmla="*/ 4405763 w 7267540"/>
                <a:gd name="connsiteY1007" fmla="*/ 2296070 h 3952232"/>
                <a:gd name="connsiteX1008" fmla="*/ 4401180 w 7267540"/>
                <a:gd name="connsiteY1008" fmla="*/ 2299851 h 3952232"/>
                <a:gd name="connsiteX1009" fmla="*/ 4403372 w 7267540"/>
                <a:gd name="connsiteY1009" fmla="*/ 2303433 h 3952232"/>
                <a:gd name="connsiteX1010" fmla="*/ 4402276 w 7267540"/>
                <a:gd name="connsiteY1010" fmla="*/ 3053070 h 3952232"/>
                <a:gd name="connsiteX1011" fmla="*/ 4393009 w 7267540"/>
                <a:gd name="connsiteY1011" fmla="*/ 3082916 h 3952232"/>
                <a:gd name="connsiteX1012" fmla="*/ 4402276 w 7267540"/>
                <a:gd name="connsiteY1012" fmla="*/ 3052971 h 3952232"/>
                <a:gd name="connsiteX1013" fmla="*/ 4165023 w 7267540"/>
                <a:gd name="connsiteY1013" fmla="*/ 3031979 h 3952232"/>
                <a:gd name="connsiteX1014" fmla="*/ 4167215 w 7267540"/>
                <a:gd name="connsiteY1014" fmla="*/ 3026507 h 3952232"/>
                <a:gd name="connsiteX1015" fmla="*/ 4165621 w 7267540"/>
                <a:gd name="connsiteY1015" fmla="*/ 3023224 h 3952232"/>
                <a:gd name="connsiteX1016" fmla="*/ 4168112 w 7267540"/>
                <a:gd name="connsiteY1016" fmla="*/ 3025114 h 3952232"/>
                <a:gd name="connsiteX1017" fmla="*/ 4167215 w 7267540"/>
                <a:gd name="connsiteY1017" fmla="*/ 3026507 h 3952232"/>
                <a:gd name="connsiteX1018" fmla="*/ 4165023 w 7267540"/>
                <a:gd name="connsiteY1018" fmla="*/ 3031979 h 3952232"/>
                <a:gd name="connsiteX1019" fmla="*/ 4165521 w 7267540"/>
                <a:gd name="connsiteY1019" fmla="*/ 3036356 h 3952232"/>
                <a:gd name="connsiteX1020" fmla="*/ 4164126 w 7267540"/>
                <a:gd name="connsiteY1020" fmla="*/ 3033173 h 3952232"/>
                <a:gd name="connsiteX1021" fmla="*/ 4165023 w 7267540"/>
                <a:gd name="connsiteY1021" fmla="*/ 3031880 h 3952232"/>
                <a:gd name="connsiteX1022" fmla="*/ 4169308 w 7267540"/>
                <a:gd name="connsiteY1022" fmla="*/ 3043918 h 3952232"/>
                <a:gd name="connsiteX1023" fmla="*/ 4169308 w 7267540"/>
                <a:gd name="connsiteY1023" fmla="*/ 3047400 h 3952232"/>
                <a:gd name="connsiteX1024" fmla="*/ 4169308 w 7267540"/>
                <a:gd name="connsiteY1024" fmla="*/ 3043818 h 3952232"/>
                <a:gd name="connsiteX1025" fmla="*/ 3804710 w 7267540"/>
                <a:gd name="connsiteY1025" fmla="*/ 2613535 h 3952232"/>
                <a:gd name="connsiteX1026" fmla="*/ 3804710 w 7267540"/>
                <a:gd name="connsiteY1026" fmla="*/ 2639103 h 3952232"/>
                <a:gd name="connsiteX1027" fmla="*/ 3804212 w 7267540"/>
                <a:gd name="connsiteY1027" fmla="*/ 2644575 h 3952232"/>
                <a:gd name="connsiteX1028" fmla="*/ 3804710 w 7267540"/>
                <a:gd name="connsiteY1028" fmla="*/ 2639103 h 3952232"/>
                <a:gd name="connsiteX1029" fmla="*/ 3804710 w 7267540"/>
                <a:gd name="connsiteY1029" fmla="*/ 2613435 h 3952232"/>
                <a:gd name="connsiteX1030" fmla="*/ 3805707 w 7267540"/>
                <a:gd name="connsiteY1030" fmla="*/ 2578018 h 3952232"/>
                <a:gd name="connsiteX1031" fmla="*/ 3806404 w 7267540"/>
                <a:gd name="connsiteY1031" fmla="*/ 2538223 h 3952232"/>
                <a:gd name="connsiteX1032" fmla="*/ 3806404 w 7267540"/>
                <a:gd name="connsiteY1032" fmla="*/ 2529965 h 3952232"/>
                <a:gd name="connsiteX1033" fmla="*/ 3807201 w 7267540"/>
                <a:gd name="connsiteY1033" fmla="*/ 2505094 h 3952232"/>
                <a:gd name="connsiteX1034" fmla="*/ 3806404 w 7267540"/>
                <a:gd name="connsiteY1034" fmla="*/ 2538223 h 3952232"/>
                <a:gd name="connsiteX1035" fmla="*/ 3805707 w 7267540"/>
                <a:gd name="connsiteY1035" fmla="*/ 2578018 h 3952232"/>
                <a:gd name="connsiteX1036" fmla="*/ 3805707 w 7267540"/>
                <a:gd name="connsiteY1036" fmla="*/ 2604283 h 3952232"/>
                <a:gd name="connsiteX1037" fmla="*/ 3805109 w 7267540"/>
                <a:gd name="connsiteY1037" fmla="*/ 2609456 h 3952232"/>
                <a:gd name="connsiteX1038" fmla="*/ 3805707 w 7267540"/>
                <a:gd name="connsiteY1038" fmla="*/ 2577918 h 3952232"/>
                <a:gd name="connsiteX1039" fmla="*/ 3807400 w 7267540"/>
                <a:gd name="connsiteY1039" fmla="*/ 2371681 h 3952232"/>
                <a:gd name="connsiteX1040" fmla="*/ 3810390 w 7267540"/>
                <a:gd name="connsiteY1040" fmla="*/ 2394364 h 3952232"/>
                <a:gd name="connsiteX1041" fmla="*/ 3810390 w 7267540"/>
                <a:gd name="connsiteY1041" fmla="*/ 2417843 h 3952232"/>
                <a:gd name="connsiteX1042" fmla="*/ 3809792 w 7267540"/>
                <a:gd name="connsiteY1042" fmla="*/ 2445103 h 3952232"/>
                <a:gd name="connsiteX1043" fmla="*/ 3809792 w 7267540"/>
                <a:gd name="connsiteY1043" fmla="*/ 2454355 h 3952232"/>
                <a:gd name="connsiteX1044" fmla="*/ 3810788 w 7267540"/>
                <a:gd name="connsiteY1044" fmla="*/ 2417843 h 3952232"/>
                <a:gd name="connsiteX1045" fmla="*/ 3807400 w 7267540"/>
                <a:gd name="connsiteY1045" fmla="*/ 2371581 h 3952232"/>
                <a:gd name="connsiteX1046" fmla="*/ 3793151 w 7267540"/>
                <a:gd name="connsiteY1046" fmla="*/ 2272193 h 3952232"/>
                <a:gd name="connsiteX1047" fmla="*/ 3786475 w 7267540"/>
                <a:gd name="connsiteY1047" fmla="*/ 2222450 h 3952232"/>
                <a:gd name="connsiteX1048" fmla="*/ 3786475 w 7267540"/>
                <a:gd name="connsiteY1048" fmla="*/ 2202552 h 3952232"/>
                <a:gd name="connsiteX1049" fmla="*/ 3786475 w 7267540"/>
                <a:gd name="connsiteY1049" fmla="*/ 2144750 h 3952232"/>
                <a:gd name="connsiteX1050" fmla="*/ 3448383 w 7267540"/>
                <a:gd name="connsiteY1050" fmla="*/ 2143855 h 3952232"/>
                <a:gd name="connsiteX1051" fmla="*/ 3786475 w 7267540"/>
                <a:gd name="connsiteY1051" fmla="*/ 2144750 h 3952232"/>
                <a:gd name="connsiteX1052" fmla="*/ 3786973 w 7267540"/>
                <a:gd name="connsiteY1052" fmla="*/ 2112616 h 3952232"/>
                <a:gd name="connsiteX1053" fmla="*/ 3786973 w 7267540"/>
                <a:gd name="connsiteY1053" fmla="*/ 1943487 h 3952232"/>
                <a:gd name="connsiteX1054" fmla="*/ 3786973 w 7267540"/>
                <a:gd name="connsiteY1054" fmla="*/ 2112616 h 3952232"/>
                <a:gd name="connsiteX1055" fmla="*/ 3786973 w 7267540"/>
                <a:gd name="connsiteY1055" fmla="*/ 2202154 h 3952232"/>
                <a:gd name="connsiteX1056" fmla="*/ 3788269 w 7267540"/>
                <a:gd name="connsiteY1056" fmla="*/ 2222052 h 3952232"/>
                <a:gd name="connsiteX1057" fmla="*/ 3793151 w 7267540"/>
                <a:gd name="connsiteY1057" fmla="*/ 2271597 h 3952232"/>
                <a:gd name="connsiteX1058" fmla="*/ 3465023 w 7267540"/>
                <a:gd name="connsiteY1058" fmla="*/ 2627861 h 3952232"/>
                <a:gd name="connsiteX1059" fmla="*/ 3465023 w 7267540"/>
                <a:gd name="connsiteY1059" fmla="*/ 2633233 h 3952232"/>
                <a:gd name="connsiteX1060" fmla="*/ 3465023 w 7267540"/>
                <a:gd name="connsiteY1060" fmla="*/ 2627264 h 3952232"/>
                <a:gd name="connsiteX1061" fmla="*/ 2963614 w 7267540"/>
                <a:gd name="connsiteY1061" fmla="*/ 2145049 h 3952232"/>
                <a:gd name="connsiteX1062" fmla="*/ 3369564 w 7267540"/>
                <a:gd name="connsiteY1062" fmla="*/ 2144352 h 3952232"/>
                <a:gd name="connsiteX1063" fmla="*/ 2963614 w 7267540"/>
                <a:gd name="connsiteY1063" fmla="*/ 2145049 h 3952232"/>
                <a:gd name="connsiteX1064" fmla="*/ 1283515 w 7267540"/>
                <a:gd name="connsiteY1064" fmla="*/ 1330247 h 3952232"/>
                <a:gd name="connsiteX1065" fmla="*/ 1501138 w 7267540"/>
                <a:gd name="connsiteY1065" fmla="*/ 1330247 h 3952232"/>
                <a:gd name="connsiteX1066" fmla="*/ 1344199 w 7267540"/>
                <a:gd name="connsiteY1066" fmla="*/ 1330843 h 3952232"/>
                <a:gd name="connsiteX1067" fmla="*/ 1260498 w 7267540"/>
                <a:gd name="connsiteY1067" fmla="*/ 2702178 h 3952232"/>
                <a:gd name="connsiteX1068" fmla="*/ 1258505 w 7267540"/>
                <a:gd name="connsiteY1068" fmla="*/ 2696607 h 3952232"/>
                <a:gd name="connsiteX1069" fmla="*/ 1260498 w 7267540"/>
                <a:gd name="connsiteY1069" fmla="*/ 2702178 h 3952232"/>
                <a:gd name="connsiteX1070" fmla="*/ 1270462 w 7267540"/>
                <a:gd name="connsiteY1070" fmla="*/ 2464105 h 3952232"/>
                <a:gd name="connsiteX1071" fmla="*/ 1270462 w 7267540"/>
                <a:gd name="connsiteY1071" fmla="*/ 2459329 h 3952232"/>
                <a:gd name="connsiteX1072" fmla="*/ 1270462 w 7267540"/>
                <a:gd name="connsiteY1072" fmla="*/ 2462811 h 3952232"/>
                <a:gd name="connsiteX1073" fmla="*/ 1270462 w 7267540"/>
                <a:gd name="connsiteY1073" fmla="*/ 2464105 h 3952232"/>
                <a:gd name="connsiteX1074" fmla="*/ 1270462 w 7267540"/>
                <a:gd name="connsiteY1074" fmla="*/ 2470671 h 3952232"/>
                <a:gd name="connsiteX1075" fmla="*/ 1273551 w 7267540"/>
                <a:gd name="connsiteY1075" fmla="*/ 2478331 h 3952232"/>
                <a:gd name="connsiteX1076" fmla="*/ 1282818 w 7267540"/>
                <a:gd name="connsiteY1076" fmla="*/ 2490170 h 3952232"/>
                <a:gd name="connsiteX1077" fmla="*/ 1273551 w 7267540"/>
                <a:gd name="connsiteY1077" fmla="*/ 2478331 h 3952232"/>
                <a:gd name="connsiteX1078" fmla="*/ 1270063 w 7267540"/>
                <a:gd name="connsiteY1078" fmla="*/ 2473755 h 3952232"/>
                <a:gd name="connsiteX1079" fmla="*/ 1270063 w 7267540"/>
                <a:gd name="connsiteY1079" fmla="*/ 2470671 h 3952232"/>
                <a:gd name="connsiteX1080" fmla="*/ 1270163 w 7267540"/>
                <a:gd name="connsiteY1080" fmla="*/ 2464204 h 3952232"/>
                <a:gd name="connsiteX1081" fmla="*/ 1265679 w 7267540"/>
                <a:gd name="connsiteY1081" fmla="*/ 2357753 h 3952232"/>
                <a:gd name="connsiteX1082" fmla="*/ 1262789 w 7267540"/>
                <a:gd name="connsiteY1082" fmla="*/ 2354370 h 3952232"/>
                <a:gd name="connsiteX1083" fmla="*/ 1262789 w 7267540"/>
                <a:gd name="connsiteY1083" fmla="*/ 2350788 h 3952232"/>
                <a:gd name="connsiteX1084" fmla="*/ 1265878 w 7267540"/>
                <a:gd name="connsiteY1084" fmla="*/ 2357753 h 3952232"/>
                <a:gd name="connsiteX1085" fmla="*/ 1267971 w 7267540"/>
                <a:gd name="connsiteY1085" fmla="*/ 2360339 h 3952232"/>
                <a:gd name="connsiteX1086" fmla="*/ 1267373 w 7267540"/>
                <a:gd name="connsiteY1086" fmla="*/ 2363921 h 3952232"/>
                <a:gd name="connsiteX1087" fmla="*/ 1266078 w 7267540"/>
                <a:gd name="connsiteY1087" fmla="*/ 2377053 h 3952232"/>
                <a:gd name="connsiteX1088" fmla="*/ 1266078 w 7267540"/>
                <a:gd name="connsiteY1088" fmla="*/ 2385211 h 3952232"/>
                <a:gd name="connsiteX1089" fmla="*/ 1270661 w 7267540"/>
                <a:gd name="connsiteY1089" fmla="*/ 2392275 h 3952232"/>
                <a:gd name="connsiteX1090" fmla="*/ 1275644 w 7267540"/>
                <a:gd name="connsiteY1090" fmla="*/ 2412172 h 3952232"/>
                <a:gd name="connsiteX1091" fmla="*/ 1270661 w 7267540"/>
                <a:gd name="connsiteY1091" fmla="*/ 2392275 h 3952232"/>
                <a:gd name="connsiteX1092" fmla="*/ 1266078 w 7267540"/>
                <a:gd name="connsiteY1092" fmla="*/ 2385211 h 3952232"/>
                <a:gd name="connsiteX1093" fmla="*/ 1266078 w 7267540"/>
                <a:gd name="connsiteY1093" fmla="*/ 2377053 h 3952232"/>
                <a:gd name="connsiteX1094" fmla="*/ 1267373 w 7267540"/>
                <a:gd name="connsiteY1094" fmla="*/ 2363921 h 3952232"/>
                <a:gd name="connsiteX1095" fmla="*/ 1265380 w 7267540"/>
                <a:gd name="connsiteY1095" fmla="*/ 2357852 h 3952232"/>
                <a:gd name="connsiteX1096" fmla="*/ 595074 w 7267540"/>
                <a:gd name="connsiteY1096" fmla="*/ 1527232 h 3952232"/>
                <a:gd name="connsiteX1097" fmla="*/ 595074 w 7267540"/>
                <a:gd name="connsiteY1097" fmla="*/ 1466942 h 3952232"/>
                <a:gd name="connsiteX1098" fmla="*/ 595074 w 7267540"/>
                <a:gd name="connsiteY1098" fmla="*/ 1453312 h 3952232"/>
                <a:gd name="connsiteX1099" fmla="*/ 594775 w 7267540"/>
                <a:gd name="connsiteY1099" fmla="*/ 1527331 h 3952232"/>
                <a:gd name="connsiteX1100" fmla="*/ 977807 w 7267540"/>
                <a:gd name="connsiteY1100" fmla="*/ 609858 h 3952232"/>
                <a:gd name="connsiteX1101" fmla="*/ 976313 w 7267540"/>
                <a:gd name="connsiteY1101" fmla="*/ 613639 h 3952232"/>
                <a:gd name="connsiteX1102" fmla="*/ 977508 w 7267540"/>
                <a:gd name="connsiteY1102" fmla="*/ 609957 h 3952232"/>
                <a:gd name="connsiteX1103" fmla="*/ 977807 w 7267540"/>
                <a:gd name="connsiteY1103" fmla="*/ 618314 h 3952232"/>
                <a:gd name="connsiteX1104" fmla="*/ 976213 w 7267540"/>
                <a:gd name="connsiteY1104" fmla="*/ 616424 h 3952232"/>
                <a:gd name="connsiteX1105" fmla="*/ 977807 w 7267540"/>
                <a:gd name="connsiteY1105" fmla="*/ 618414 h 3952232"/>
                <a:gd name="connsiteX1106" fmla="*/ 976113 w 7267540"/>
                <a:gd name="connsiteY1106" fmla="*/ 616325 h 3952232"/>
                <a:gd name="connsiteX1107" fmla="*/ 976113 w 7267540"/>
                <a:gd name="connsiteY1107" fmla="*/ 613738 h 3952232"/>
                <a:gd name="connsiteX1108" fmla="*/ 976113 w 7267540"/>
                <a:gd name="connsiteY1108" fmla="*/ 616424 h 3952232"/>
                <a:gd name="connsiteX1109" fmla="*/ 1134647 w 7267540"/>
                <a:gd name="connsiteY1109" fmla="*/ 368501 h 3952232"/>
                <a:gd name="connsiteX1110" fmla="*/ 1138832 w 7267540"/>
                <a:gd name="connsiteY1110" fmla="*/ 374172 h 3952232"/>
                <a:gd name="connsiteX1111" fmla="*/ 1134647 w 7267540"/>
                <a:gd name="connsiteY1111" fmla="*/ 368601 h 3952232"/>
                <a:gd name="connsiteX1112" fmla="*/ 1281323 w 7267540"/>
                <a:gd name="connsiteY1112" fmla="*/ 699397 h 3952232"/>
                <a:gd name="connsiteX1113" fmla="*/ 1281323 w 7267540"/>
                <a:gd name="connsiteY1113" fmla="*/ 693925 h 3952232"/>
                <a:gd name="connsiteX1114" fmla="*/ 1283715 w 7267540"/>
                <a:gd name="connsiteY1114" fmla="*/ 692930 h 3952232"/>
                <a:gd name="connsiteX1115" fmla="*/ 1281323 w 7267540"/>
                <a:gd name="connsiteY1115" fmla="*/ 699496 h 3952232"/>
                <a:gd name="connsiteX1116" fmla="*/ 1282818 w 7267540"/>
                <a:gd name="connsiteY1116" fmla="*/ 662885 h 3952232"/>
                <a:gd name="connsiteX1117" fmla="*/ 1293779 w 7267540"/>
                <a:gd name="connsiteY1117" fmla="*/ 657512 h 3952232"/>
                <a:gd name="connsiteX1118" fmla="*/ 1298462 w 7267540"/>
                <a:gd name="connsiteY1118" fmla="*/ 654727 h 3952232"/>
                <a:gd name="connsiteX1119" fmla="*/ 1296369 w 7267540"/>
                <a:gd name="connsiteY1119" fmla="*/ 657115 h 3952232"/>
                <a:gd name="connsiteX1120" fmla="*/ 1293779 w 7267540"/>
                <a:gd name="connsiteY1120" fmla="*/ 657115 h 3952232"/>
                <a:gd name="connsiteX1121" fmla="*/ 1282818 w 7267540"/>
                <a:gd name="connsiteY1121" fmla="*/ 662686 h 3952232"/>
                <a:gd name="connsiteX1122" fmla="*/ 1297964 w 7267540"/>
                <a:gd name="connsiteY1122" fmla="*/ 641595 h 3952232"/>
                <a:gd name="connsiteX1123" fmla="*/ 1297366 w 7267540"/>
                <a:gd name="connsiteY1123" fmla="*/ 647166 h 3952232"/>
                <a:gd name="connsiteX1124" fmla="*/ 1299359 w 7267540"/>
                <a:gd name="connsiteY1124" fmla="*/ 650946 h 3952232"/>
                <a:gd name="connsiteX1125" fmla="*/ 1297366 w 7267540"/>
                <a:gd name="connsiteY1125" fmla="*/ 647166 h 3952232"/>
                <a:gd name="connsiteX1126" fmla="*/ 1295871 w 7267540"/>
                <a:gd name="connsiteY1126" fmla="*/ 636123 h 3952232"/>
                <a:gd name="connsiteX1127" fmla="*/ 1291188 w 7267540"/>
                <a:gd name="connsiteY1127" fmla="*/ 629755 h 3952232"/>
                <a:gd name="connsiteX1128" fmla="*/ 1295871 w 7267540"/>
                <a:gd name="connsiteY1128" fmla="*/ 636222 h 3952232"/>
                <a:gd name="connsiteX1129" fmla="*/ 1290291 w 7267540"/>
                <a:gd name="connsiteY1129" fmla="*/ 616225 h 3952232"/>
                <a:gd name="connsiteX1130" fmla="*/ 1289594 w 7267540"/>
                <a:gd name="connsiteY1130" fmla="*/ 612942 h 3952232"/>
                <a:gd name="connsiteX1131" fmla="*/ 1285708 w 7267540"/>
                <a:gd name="connsiteY1131" fmla="*/ 609758 h 3952232"/>
                <a:gd name="connsiteX1132" fmla="*/ 1289594 w 7267540"/>
                <a:gd name="connsiteY1132" fmla="*/ 612942 h 3952232"/>
                <a:gd name="connsiteX1133" fmla="*/ 1291886 w 7267540"/>
                <a:gd name="connsiteY1133" fmla="*/ 613937 h 3952232"/>
                <a:gd name="connsiteX1134" fmla="*/ 1290291 w 7267540"/>
                <a:gd name="connsiteY1134" fmla="*/ 616225 h 3952232"/>
                <a:gd name="connsiteX1135" fmla="*/ 1290989 w 7267540"/>
                <a:gd name="connsiteY1135" fmla="*/ 629457 h 3952232"/>
                <a:gd name="connsiteX1136" fmla="*/ 1288398 w 7267540"/>
                <a:gd name="connsiteY1136" fmla="*/ 625477 h 3952232"/>
                <a:gd name="connsiteX1137" fmla="*/ 1289394 w 7267540"/>
                <a:gd name="connsiteY1137" fmla="*/ 622592 h 3952232"/>
                <a:gd name="connsiteX1138" fmla="*/ 1290989 w 7267540"/>
                <a:gd name="connsiteY1138" fmla="*/ 629457 h 3952232"/>
                <a:gd name="connsiteX1139" fmla="*/ 1299459 w 7267540"/>
                <a:gd name="connsiteY1139" fmla="*/ 651742 h 3952232"/>
                <a:gd name="connsiteX1140" fmla="*/ 1298661 w 7267540"/>
                <a:gd name="connsiteY1140" fmla="*/ 654627 h 3952232"/>
                <a:gd name="connsiteX1141" fmla="*/ 1299558 w 7267540"/>
                <a:gd name="connsiteY1141" fmla="*/ 651742 h 3952232"/>
                <a:gd name="connsiteX1142" fmla="*/ 1298861 w 7267540"/>
                <a:gd name="connsiteY1142" fmla="*/ 540913 h 3952232"/>
                <a:gd name="connsiteX1143" fmla="*/ 1304740 w 7267540"/>
                <a:gd name="connsiteY1143" fmla="*/ 537730 h 3952232"/>
                <a:gd name="connsiteX1144" fmla="*/ 1298861 w 7267540"/>
                <a:gd name="connsiteY1144" fmla="*/ 540913 h 3952232"/>
                <a:gd name="connsiteX1145" fmla="*/ 1292882 w 7267540"/>
                <a:gd name="connsiteY1145" fmla="*/ 599511 h 3952232"/>
                <a:gd name="connsiteX1146" fmla="*/ 1283515 w 7267540"/>
                <a:gd name="connsiteY1146" fmla="*/ 604685 h 3952232"/>
                <a:gd name="connsiteX1147" fmla="*/ 1292882 w 7267540"/>
                <a:gd name="connsiteY1147" fmla="*/ 599511 h 3952232"/>
                <a:gd name="connsiteX1148" fmla="*/ 1280227 w 7267540"/>
                <a:gd name="connsiteY1148" fmla="*/ 672635 h 3952232"/>
                <a:gd name="connsiteX1149" fmla="*/ 1278434 w 7267540"/>
                <a:gd name="connsiteY1149" fmla="*/ 670346 h 3952232"/>
                <a:gd name="connsiteX1150" fmla="*/ 1282519 w 7267540"/>
                <a:gd name="connsiteY1150" fmla="*/ 663283 h 3952232"/>
                <a:gd name="connsiteX1151" fmla="*/ 1280227 w 7267540"/>
                <a:gd name="connsiteY1151" fmla="*/ 672635 h 3952232"/>
                <a:gd name="connsiteX1152" fmla="*/ 946419 w 7267540"/>
                <a:gd name="connsiteY1152" fmla="*/ 926825 h 3952232"/>
                <a:gd name="connsiteX1153" fmla="*/ 945822 w 7267540"/>
                <a:gd name="connsiteY1153" fmla="*/ 933590 h 3952232"/>
                <a:gd name="connsiteX1154" fmla="*/ 948113 w 7267540"/>
                <a:gd name="connsiteY1154" fmla="*/ 939062 h 3952232"/>
                <a:gd name="connsiteX1155" fmla="*/ 945622 w 7267540"/>
                <a:gd name="connsiteY1155" fmla="*/ 933988 h 3952232"/>
                <a:gd name="connsiteX1156" fmla="*/ 945622 w 7267540"/>
                <a:gd name="connsiteY1156" fmla="*/ 933988 h 3952232"/>
                <a:gd name="connsiteX1157" fmla="*/ 946419 w 7267540"/>
                <a:gd name="connsiteY1157" fmla="*/ 926725 h 3952232"/>
                <a:gd name="connsiteX1158" fmla="*/ 943928 w 7267540"/>
                <a:gd name="connsiteY1158" fmla="*/ 911106 h 3952232"/>
                <a:gd name="connsiteX1159" fmla="*/ 943928 w 7267540"/>
                <a:gd name="connsiteY1159" fmla="*/ 902053 h 3952232"/>
                <a:gd name="connsiteX1160" fmla="*/ 943928 w 7267540"/>
                <a:gd name="connsiteY1160" fmla="*/ 911404 h 3952232"/>
                <a:gd name="connsiteX1161" fmla="*/ 955487 w 7267540"/>
                <a:gd name="connsiteY1161" fmla="*/ 938962 h 3952232"/>
                <a:gd name="connsiteX1162" fmla="*/ 956583 w 7267540"/>
                <a:gd name="connsiteY1162" fmla="*/ 937868 h 3952232"/>
                <a:gd name="connsiteX1163" fmla="*/ 959772 w 7267540"/>
                <a:gd name="connsiteY1163" fmla="*/ 940753 h 3952232"/>
                <a:gd name="connsiteX1164" fmla="*/ 955487 w 7267540"/>
                <a:gd name="connsiteY1164" fmla="*/ 938962 h 3952232"/>
                <a:gd name="connsiteX1165" fmla="*/ 951701 w 7267540"/>
                <a:gd name="connsiteY1165" fmla="*/ 939858 h 3952232"/>
                <a:gd name="connsiteX1166" fmla="*/ 955487 w 7267540"/>
                <a:gd name="connsiteY1166" fmla="*/ 938863 h 3952232"/>
                <a:gd name="connsiteX1167" fmla="*/ 982291 w 7267540"/>
                <a:gd name="connsiteY1167" fmla="*/ 954184 h 3952232"/>
                <a:gd name="connsiteX1168" fmla="*/ 985480 w 7267540"/>
                <a:gd name="connsiteY1168" fmla="*/ 959556 h 3952232"/>
                <a:gd name="connsiteX1169" fmla="*/ 982291 w 7267540"/>
                <a:gd name="connsiteY1169" fmla="*/ 954084 h 3952232"/>
                <a:gd name="connsiteX1170" fmla="*/ 976512 w 7267540"/>
                <a:gd name="connsiteY1170" fmla="*/ 951796 h 3952232"/>
                <a:gd name="connsiteX1171" fmla="*/ 976512 w 7267540"/>
                <a:gd name="connsiteY1171" fmla="*/ 950204 h 3952232"/>
                <a:gd name="connsiteX1172" fmla="*/ 979501 w 7267540"/>
                <a:gd name="connsiteY1172" fmla="*/ 952692 h 3952232"/>
                <a:gd name="connsiteX1173" fmla="*/ 976512 w 7267540"/>
                <a:gd name="connsiteY1173" fmla="*/ 951697 h 3952232"/>
                <a:gd name="connsiteX1174" fmla="*/ 975516 w 7267540"/>
                <a:gd name="connsiteY1174" fmla="*/ 944832 h 3952232"/>
                <a:gd name="connsiteX1175" fmla="*/ 976213 w 7267540"/>
                <a:gd name="connsiteY1175" fmla="*/ 950105 h 3952232"/>
                <a:gd name="connsiteX1176" fmla="*/ 975516 w 7267540"/>
                <a:gd name="connsiteY1176" fmla="*/ 944733 h 3952232"/>
                <a:gd name="connsiteX1177" fmla="*/ 1011686 w 7267540"/>
                <a:gd name="connsiteY1177" fmla="*/ 757398 h 3952232"/>
                <a:gd name="connsiteX1178" fmla="*/ 1009395 w 7267540"/>
                <a:gd name="connsiteY1178" fmla="*/ 767347 h 3952232"/>
                <a:gd name="connsiteX1179" fmla="*/ 1010391 w 7267540"/>
                <a:gd name="connsiteY1179" fmla="*/ 762273 h 3952232"/>
                <a:gd name="connsiteX1180" fmla="*/ 1011686 w 7267540"/>
                <a:gd name="connsiteY1180" fmla="*/ 757895 h 3952232"/>
                <a:gd name="connsiteX1181" fmla="*/ 1012384 w 7267540"/>
                <a:gd name="connsiteY1181" fmla="*/ 754314 h 3952232"/>
                <a:gd name="connsiteX1182" fmla="*/ 1015473 w 7267540"/>
                <a:gd name="connsiteY1182" fmla="*/ 747947 h 3952232"/>
                <a:gd name="connsiteX1183" fmla="*/ 1011686 w 7267540"/>
                <a:gd name="connsiteY1183" fmla="*/ 757298 h 3952232"/>
                <a:gd name="connsiteX1184" fmla="*/ 1001722 w 7267540"/>
                <a:gd name="connsiteY1184" fmla="*/ 789731 h 3952232"/>
                <a:gd name="connsiteX1185" fmla="*/ 1008697 w 7267540"/>
                <a:gd name="connsiteY1185" fmla="*/ 767545 h 3952232"/>
                <a:gd name="connsiteX1186" fmla="*/ 1002220 w 7267540"/>
                <a:gd name="connsiteY1186" fmla="*/ 789632 h 3952232"/>
                <a:gd name="connsiteX1187" fmla="*/ 998932 w 7267540"/>
                <a:gd name="connsiteY1187" fmla="*/ 796596 h 3952232"/>
                <a:gd name="connsiteX1188" fmla="*/ 997338 w 7267540"/>
                <a:gd name="connsiteY1188" fmla="*/ 797790 h 3952232"/>
                <a:gd name="connsiteX1189" fmla="*/ 992654 w 7267540"/>
                <a:gd name="connsiteY1189" fmla="*/ 803361 h 3952232"/>
                <a:gd name="connsiteX1190" fmla="*/ 989964 w 7267540"/>
                <a:gd name="connsiteY1190" fmla="*/ 808932 h 3952232"/>
                <a:gd name="connsiteX1191" fmla="*/ 990960 w 7267540"/>
                <a:gd name="connsiteY1191" fmla="*/ 804654 h 3952232"/>
                <a:gd name="connsiteX1192" fmla="*/ 992654 w 7267540"/>
                <a:gd name="connsiteY1192" fmla="*/ 803361 h 3952232"/>
                <a:gd name="connsiteX1193" fmla="*/ 997338 w 7267540"/>
                <a:gd name="connsiteY1193" fmla="*/ 797790 h 3952232"/>
                <a:gd name="connsiteX1194" fmla="*/ 1001622 w 7267540"/>
                <a:gd name="connsiteY1194" fmla="*/ 790030 h 3952232"/>
                <a:gd name="connsiteX1195" fmla="*/ 999430 w 7267540"/>
                <a:gd name="connsiteY1195" fmla="*/ 796496 h 3952232"/>
                <a:gd name="connsiteX1196" fmla="*/ 989864 w 7267540"/>
                <a:gd name="connsiteY1196" fmla="*/ 815299 h 3952232"/>
                <a:gd name="connsiteX1197" fmla="*/ 988968 w 7267540"/>
                <a:gd name="connsiteY1197" fmla="*/ 813509 h 3952232"/>
                <a:gd name="connsiteX1198" fmla="*/ 989864 w 7267540"/>
                <a:gd name="connsiteY1198" fmla="*/ 809131 h 3952232"/>
                <a:gd name="connsiteX1199" fmla="*/ 990661 w 7267540"/>
                <a:gd name="connsiteY1199" fmla="*/ 815200 h 3952232"/>
                <a:gd name="connsiteX1200" fmla="*/ 990462 w 7267540"/>
                <a:gd name="connsiteY1200" fmla="*/ 826641 h 3952232"/>
                <a:gd name="connsiteX1201" fmla="*/ 991160 w 7267540"/>
                <a:gd name="connsiteY1201" fmla="*/ 820572 h 3952232"/>
                <a:gd name="connsiteX1202" fmla="*/ 991957 w 7267540"/>
                <a:gd name="connsiteY1202" fmla="*/ 822463 h 3952232"/>
                <a:gd name="connsiteX1203" fmla="*/ 990462 w 7267540"/>
                <a:gd name="connsiteY1203" fmla="*/ 826641 h 3952232"/>
                <a:gd name="connsiteX1204" fmla="*/ 986775 w 7267540"/>
                <a:gd name="connsiteY1204" fmla="*/ 835595 h 3952232"/>
                <a:gd name="connsiteX1205" fmla="*/ 990661 w 7267540"/>
                <a:gd name="connsiteY1205" fmla="*/ 826542 h 3952232"/>
                <a:gd name="connsiteX1206" fmla="*/ 984683 w 7267540"/>
                <a:gd name="connsiteY1206" fmla="*/ 839475 h 3952232"/>
                <a:gd name="connsiteX1207" fmla="*/ 981395 w 7267540"/>
                <a:gd name="connsiteY1207" fmla="*/ 845643 h 3952232"/>
                <a:gd name="connsiteX1208" fmla="*/ 979999 w 7267540"/>
                <a:gd name="connsiteY1208" fmla="*/ 848329 h 3952232"/>
                <a:gd name="connsiteX1209" fmla="*/ 976911 w 7267540"/>
                <a:gd name="connsiteY1209" fmla="*/ 849424 h 3952232"/>
                <a:gd name="connsiteX1210" fmla="*/ 968341 w 7267540"/>
                <a:gd name="connsiteY1210" fmla="*/ 855094 h 3952232"/>
                <a:gd name="connsiteX1211" fmla="*/ 961266 w 7267540"/>
                <a:gd name="connsiteY1211" fmla="*/ 865939 h 3952232"/>
                <a:gd name="connsiteX1212" fmla="*/ 952697 w 7267540"/>
                <a:gd name="connsiteY1212" fmla="*/ 888522 h 3952232"/>
                <a:gd name="connsiteX1213" fmla="*/ 961266 w 7267540"/>
                <a:gd name="connsiteY1213" fmla="*/ 865939 h 3952232"/>
                <a:gd name="connsiteX1214" fmla="*/ 964057 w 7267540"/>
                <a:gd name="connsiteY1214" fmla="*/ 858278 h 3952232"/>
                <a:gd name="connsiteX1215" fmla="*/ 968341 w 7267540"/>
                <a:gd name="connsiteY1215" fmla="*/ 855094 h 3952232"/>
                <a:gd name="connsiteX1216" fmla="*/ 976911 w 7267540"/>
                <a:gd name="connsiteY1216" fmla="*/ 849424 h 3952232"/>
                <a:gd name="connsiteX1217" fmla="*/ 981395 w 7267540"/>
                <a:gd name="connsiteY1217" fmla="*/ 845643 h 3952232"/>
                <a:gd name="connsiteX1218" fmla="*/ 984683 w 7267540"/>
                <a:gd name="connsiteY1218" fmla="*/ 839475 h 3952232"/>
                <a:gd name="connsiteX1219" fmla="*/ 984683 w 7267540"/>
                <a:gd name="connsiteY1219" fmla="*/ 838381 h 3952232"/>
                <a:gd name="connsiteX1220" fmla="*/ 985779 w 7267540"/>
                <a:gd name="connsiteY1220" fmla="*/ 836789 h 3952232"/>
                <a:gd name="connsiteX1221" fmla="*/ 943032 w 7267540"/>
                <a:gd name="connsiteY1221" fmla="*/ 913693 h 3952232"/>
                <a:gd name="connsiteX1222" fmla="*/ 941138 w 7267540"/>
                <a:gd name="connsiteY1222" fmla="*/ 917971 h 3952232"/>
                <a:gd name="connsiteX1223" fmla="*/ 945921 w 7267540"/>
                <a:gd name="connsiteY1223" fmla="*/ 926725 h 3952232"/>
                <a:gd name="connsiteX1224" fmla="*/ 941138 w 7267540"/>
                <a:gd name="connsiteY1224" fmla="*/ 917971 h 3952232"/>
                <a:gd name="connsiteX1225" fmla="*/ 943530 w 7267540"/>
                <a:gd name="connsiteY1225" fmla="*/ 913593 h 3952232"/>
                <a:gd name="connsiteX1226" fmla="*/ 1301750 w 7267540"/>
                <a:gd name="connsiteY1226" fmla="*/ 2278561 h 3952232"/>
                <a:gd name="connsiteX1227" fmla="*/ 1299757 w 7267540"/>
                <a:gd name="connsiteY1227" fmla="*/ 2277864 h 3952232"/>
                <a:gd name="connsiteX1228" fmla="*/ 1301451 w 7267540"/>
                <a:gd name="connsiteY1228" fmla="*/ 2277864 h 3952232"/>
                <a:gd name="connsiteX1229" fmla="*/ 1301451 w 7267540"/>
                <a:gd name="connsiteY1229" fmla="*/ 2278461 h 3952232"/>
                <a:gd name="connsiteX1230" fmla="*/ 1305138 w 7267540"/>
                <a:gd name="connsiteY1230" fmla="*/ 2282839 h 3952232"/>
                <a:gd name="connsiteX1231" fmla="*/ 1305736 w 7267540"/>
                <a:gd name="connsiteY1231" fmla="*/ 2285326 h 3952232"/>
                <a:gd name="connsiteX1232" fmla="*/ 1302647 w 7267540"/>
                <a:gd name="connsiteY1232" fmla="*/ 2278461 h 3952232"/>
                <a:gd name="connsiteX1233" fmla="*/ 1292782 w 7267540"/>
                <a:gd name="connsiteY1233" fmla="*/ 2279854 h 3952232"/>
                <a:gd name="connsiteX1234" fmla="*/ 1291487 w 7267540"/>
                <a:gd name="connsiteY1234" fmla="*/ 2280948 h 3952232"/>
                <a:gd name="connsiteX1235" fmla="*/ 1289793 w 7267540"/>
                <a:gd name="connsiteY1235" fmla="*/ 2280352 h 3952232"/>
                <a:gd name="connsiteX1236" fmla="*/ 1292782 w 7267540"/>
                <a:gd name="connsiteY1236" fmla="*/ 2280352 h 3952232"/>
                <a:gd name="connsiteX1237" fmla="*/ 1298263 w 7267540"/>
                <a:gd name="connsiteY1237" fmla="*/ 2278461 h 3952232"/>
                <a:gd name="connsiteX1238" fmla="*/ 1293679 w 7267540"/>
                <a:gd name="connsiteY1238" fmla="*/ 2279755 h 3952232"/>
                <a:gd name="connsiteX1239" fmla="*/ 1281423 w 7267540"/>
                <a:gd name="connsiteY1239" fmla="*/ 2490369 h 3952232"/>
                <a:gd name="connsiteX1240" fmla="*/ 1286505 w 7267540"/>
                <a:gd name="connsiteY1240" fmla="*/ 2496836 h 3952232"/>
                <a:gd name="connsiteX1241" fmla="*/ 1287501 w 7267540"/>
                <a:gd name="connsiteY1241" fmla="*/ 2279953 h 3952232"/>
                <a:gd name="connsiteX1242" fmla="*/ 1286206 w 7267540"/>
                <a:gd name="connsiteY1242" fmla="*/ 2278959 h 3952232"/>
                <a:gd name="connsiteX1243" fmla="*/ 1276241 w 7267540"/>
                <a:gd name="connsiteY1243" fmla="*/ 2277068 h 3952232"/>
                <a:gd name="connsiteX1244" fmla="*/ 1275245 w 7267540"/>
                <a:gd name="connsiteY1244" fmla="*/ 2277068 h 3952232"/>
                <a:gd name="connsiteX1245" fmla="*/ 1263985 w 7267540"/>
                <a:gd name="connsiteY1245" fmla="*/ 2281446 h 3952232"/>
                <a:gd name="connsiteX1246" fmla="*/ 1275245 w 7267540"/>
                <a:gd name="connsiteY1246" fmla="*/ 2277068 h 3952232"/>
                <a:gd name="connsiteX1247" fmla="*/ 1285907 w 7267540"/>
                <a:gd name="connsiteY1247" fmla="*/ 2278959 h 3952232"/>
                <a:gd name="connsiteX1248" fmla="*/ 1289295 w 7267540"/>
                <a:gd name="connsiteY1248" fmla="*/ 2280352 h 3952232"/>
                <a:gd name="connsiteX1249" fmla="*/ 1288398 w 7267540"/>
                <a:gd name="connsiteY1249" fmla="*/ 2279854 h 3952232"/>
                <a:gd name="connsiteX1250" fmla="*/ 1276341 w 7267540"/>
                <a:gd name="connsiteY1250" fmla="*/ 2433562 h 3952232"/>
                <a:gd name="connsiteX1251" fmla="*/ 1276939 w 7267540"/>
                <a:gd name="connsiteY1251" fmla="*/ 2430080 h 3952232"/>
                <a:gd name="connsiteX1252" fmla="*/ 1275743 w 7267540"/>
                <a:gd name="connsiteY1252" fmla="*/ 2418241 h 3952232"/>
                <a:gd name="connsiteX1253" fmla="*/ 1276939 w 7267540"/>
                <a:gd name="connsiteY1253" fmla="*/ 2430080 h 3952232"/>
                <a:gd name="connsiteX1254" fmla="*/ 1277437 w 7267540"/>
                <a:gd name="connsiteY1254" fmla="*/ 2433164 h 3952232"/>
                <a:gd name="connsiteX1255" fmla="*/ 1276341 w 7267540"/>
                <a:gd name="connsiteY1255" fmla="*/ 2433164 h 3952232"/>
                <a:gd name="connsiteX1256" fmla="*/ 1273053 w 7267540"/>
                <a:gd name="connsiteY1256" fmla="*/ 2435850 h 3952232"/>
                <a:gd name="connsiteX1257" fmla="*/ 1270861 w 7267540"/>
                <a:gd name="connsiteY1257" fmla="*/ 2440228 h 3952232"/>
                <a:gd name="connsiteX1258" fmla="*/ 1271458 w 7267540"/>
                <a:gd name="connsiteY1258" fmla="*/ 2435850 h 3952232"/>
                <a:gd name="connsiteX1259" fmla="*/ 1273053 w 7267540"/>
                <a:gd name="connsiteY1259" fmla="*/ 2435850 h 3952232"/>
                <a:gd name="connsiteX1260" fmla="*/ 1276341 w 7267540"/>
                <a:gd name="connsiteY1260" fmla="*/ 2433562 h 3952232"/>
                <a:gd name="connsiteX1261" fmla="*/ 1275145 w 7267540"/>
                <a:gd name="connsiteY1261" fmla="*/ 2413167 h 3952232"/>
                <a:gd name="connsiteX1262" fmla="*/ 1275145 w 7267540"/>
                <a:gd name="connsiteY1262" fmla="*/ 2414262 h 3952232"/>
                <a:gd name="connsiteX1263" fmla="*/ 1275145 w 7267540"/>
                <a:gd name="connsiteY1263" fmla="*/ 2417246 h 3952232"/>
                <a:gd name="connsiteX1264" fmla="*/ 1275145 w 7267540"/>
                <a:gd name="connsiteY1264" fmla="*/ 2413068 h 3952232"/>
                <a:gd name="connsiteX1265" fmla="*/ 1256512 w 7267540"/>
                <a:gd name="connsiteY1265" fmla="*/ 2283834 h 3952232"/>
                <a:gd name="connsiteX1266" fmla="*/ 1255914 w 7267540"/>
                <a:gd name="connsiteY1266" fmla="*/ 2287315 h 3952232"/>
                <a:gd name="connsiteX1267" fmla="*/ 1256512 w 7267540"/>
                <a:gd name="connsiteY1267" fmla="*/ 2283834 h 3952232"/>
                <a:gd name="connsiteX1268" fmla="*/ 1265081 w 7267540"/>
                <a:gd name="connsiteY1268" fmla="*/ 2281346 h 3952232"/>
                <a:gd name="connsiteX1269" fmla="*/ 1256512 w 7267540"/>
                <a:gd name="connsiteY1269" fmla="*/ 2284331 h 3952232"/>
                <a:gd name="connsiteX1270" fmla="*/ 1265480 w 7267540"/>
                <a:gd name="connsiteY1270" fmla="*/ 2320644 h 3952232"/>
                <a:gd name="connsiteX1271" fmla="*/ 1260896 w 7267540"/>
                <a:gd name="connsiteY1271" fmla="*/ 2332582 h 3952232"/>
                <a:gd name="connsiteX1272" fmla="*/ 1265480 w 7267540"/>
                <a:gd name="connsiteY1272" fmla="*/ 2320644 h 3952232"/>
                <a:gd name="connsiteX1273" fmla="*/ 1255515 w 7267540"/>
                <a:gd name="connsiteY1273" fmla="*/ 2297563 h 3952232"/>
                <a:gd name="connsiteX1274" fmla="*/ 1255515 w 7267540"/>
                <a:gd name="connsiteY1274" fmla="*/ 2301244 h 3952232"/>
                <a:gd name="connsiteX1275" fmla="*/ 1255515 w 7267540"/>
                <a:gd name="connsiteY1275" fmla="*/ 2298757 h 3952232"/>
                <a:gd name="connsiteX1276" fmla="*/ 1260896 w 7267540"/>
                <a:gd name="connsiteY1276" fmla="*/ 2332682 h 3952232"/>
                <a:gd name="connsiteX1277" fmla="*/ 1262192 w 7267540"/>
                <a:gd name="connsiteY1277" fmla="*/ 2350590 h 3952232"/>
                <a:gd name="connsiteX1278" fmla="*/ 1260896 w 7267540"/>
                <a:gd name="connsiteY1278" fmla="*/ 2332682 h 3952232"/>
                <a:gd name="connsiteX1279" fmla="*/ 1284412 w 7267540"/>
                <a:gd name="connsiteY1279" fmla="*/ 2753414 h 3952232"/>
                <a:gd name="connsiteX1280" fmla="*/ 1285010 w 7267540"/>
                <a:gd name="connsiteY1280" fmla="*/ 2754309 h 3952232"/>
                <a:gd name="connsiteX1281" fmla="*/ 1280128 w 7267540"/>
                <a:gd name="connsiteY1281" fmla="*/ 2752320 h 3952232"/>
                <a:gd name="connsiteX1282" fmla="*/ 1284412 w 7267540"/>
                <a:gd name="connsiteY1282" fmla="*/ 2753414 h 3952232"/>
                <a:gd name="connsiteX1283" fmla="*/ 1288398 w 7267540"/>
                <a:gd name="connsiteY1283" fmla="*/ 2761373 h 3952232"/>
                <a:gd name="connsiteX1284" fmla="*/ 1285110 w 7267540"/>
                <a:gd name="connsiteY1284" fmla="*/ 2754509 h 3952232"/>
                <a:gd name="connsiteX1285" fmla="*/ 1288398 w 7267540"/>
                <a:gd name="connsiteY1285" fmla="*/ 2761871 h 3952232"/>
                <a:gd name="connsiteX1286" fmla="*/ 1290391 w 7267540"/>
                <a:gd name="connsiteY1286" fmla="*/ 2770426 h 3952232"/>
                <a:gd name="connsiteX1287" fmla="*/ 1288398 w 7267540"/>
                <a:gd name="connsiteY1287" fmla="*/ 2761572 h 3952232"/>
                <a:gd name="connsiteX1288" fmla="*/ 1290391 w 7267540"/>
                <a:gd name="connsiteY1288" fmla="*/ 2770426 h 3952232"/>
                <a:gd name="connsiteX1289" fmla="*/ 1307829 w 7267540"/>
                <a:gd name="connsiteY1289" fmla="*/ 2539914 h 3952232"/>
                <a:gd name="connsiteX1290" fmla="*/ 1314106 w 7267540"/>
                <a:gd name="connsiteY1290" fmla="*/ 2543297 h 3952232"/>
                <a:gd name="connsiteX1291" fmla="*/ 1307829 w 7267540"/>
                <a:gd name="connsiteY1291" fmla="*/ 2539914 h 3952232"/>
                <a:gd name="connsiteX1292" fmla="*/ 1322576 w 7267540"/>
                <a:gd name="connsiteY1292" fmla="*/ 2297563 h 3952232"/>
                <a:gd name="connsiteX1293" fmla="*/ 1326861 w 7267540"/>
                <a:gd name="connsiteY1293" fmla="*/ 2297563 h 3952232"/>
                <a:gd name="connsiteX1294" fmla="*/ 1322576 w 7267540"/>
                <a:gd name="connsiteY1294" fmla="*/ 2297563 h 3952232"/>
                <a:gd name="connsiteX1295" fmla="*/ 1331245 w 7267540"/>
                <a:gd name="connsiteY1295" fmla="*/ 2560508 h 3952232"/>
                <a:gd name="connsiteX1296" fmla="*/ 1323772 w 7267540"/>
                <a:gd name="connsiteY1296" fmla="*/ 2551753 h 3952232"/>
                <a:gd name="connsiteX1297" fmla="*/ 1331245 w 7267540"/>
                <a:gd name="connsiteY1297" fmla="*/ 2560508 h 3952232"/>
                <a:gd name="connsiteX1298" fmla="*/ 1327060 w 7267540"/>
                <a:gd name="connsiteY1298" fmla="*/ 2297563 h 3952232"/>
                <a:gd name="connsiteX1299" fmla="*/ 1331046 w 7267540"/>
                <a:gd name="connsiteY1299" fmla="*/ 2294578 h 3952232"/>
                <a:gd name="connsiteX1300" fmla="*/ 1330249 w 7267540"/>
                <a:gd name="connsiteY1300" fmla="*/ 2296866 h 3952232"/>
                <a:gd name="connsiteX1301" fmla="*/ 1327060 w 7267540"/>
                <a:gd name="connsiteY1301" fmla="*/ 2297563 h 3952232"/>
                <a:gd name="connsiteX1302" fmla="*/ 1416740 w 7267540"/>
                <a:gd name="connsiteY1302" fmla="*/ 831019 h 3952232"/>
                <a:gd name="connsiteX1303" fmla="*/ 1414647 w 7267540"/>
                <a:gd name="connsiteY1303" fmla="*/ 826343 h 3952232"/>
                <a:gd name="connsiteX1304" fmla="*/ 1415643 w 7267540"/>
                <a:gd name="connsiteY1304" fmla="*/ 824651 h 3952232"/>
                <a:gd name="connsiteX1305" fmla="*/ 1417038 w 7267540"/>
                <a:gd name="connsiteY1305" fmla="*/ 831019 h 3952232"/>
                <a:gd name="connsiteX1306" fmla="*/ 1971658 w 7267540"/>
                <a:gd name="connsiteY1306" fmla="*/ 1497584 h 3952232"/>
                <a:gd name="connsiteX1307" fmla="*/ 1948640 w 7267540"/>
                <a:gd name="connsiteY1307" fmla="*/ 1497584 h 3952232"/>
                <a:gd name="connsiteX1308" fmla="*/ 1971658 w 7267540"/>
                <a:gd name="connsiteY1308" fmla="*/ 1497584 h 3952232"/>
                <a:gd name="connsiteX1309" fmla="*/ 3470205 w 7267540"/>
                <a:gd name="connsiteY1309" fmla="*/ 208227 h 3952232"/>
                <a:gd name="connsiteX1310" fmla="*/ 3469607 w 7267540"/>
                <a:gd name="connsiteY1310" fmla="*/ 197682 h 3952232"/>
                <a:gd name="connsiteX1311" fmla="*/ 3469607 w 7267540"/>
                <a:gd name="connsiteY1311" fmla="*/ 189325 h 3952232"/>
                <a:gd name="connsiteX1312" fmla="*/ 3470205 w 7267540"/>
                <a:gd name="connsiteY1312" fmla="*/ 208227 h 3952232"/>
                <a:gd name="connsiteX1313" fmla="*/ 3470205 w 7267540"/>
                <a:gd name="connsiteY1313" fmla="*/ 221658 h 3952232"/>
                <a:gd name="connsiteX1314" fmla="*/ 3468810 w 7267540"/>
                <a:gd name="connsiteY1314" fmla="*/ 231607 h 3952232"/>
                <a:gd name="connsiteX1315" fmla="*/ 3470006 w 7267540"/>
                <a:gd name="connsiteY1315" fmla="*/ 221658 h 3952232"/>
                <a:gd name="connsiteX1316" fmla="*/ 3514148 w 7267540"/>
                <a:gd name="connsiteY1316" fmla="*/ 505496 h 3952232"/>
                <a:gd name="connsiteX1317" fmla="*/ 3513650 w 7267540"/>
                <a:gd name="connsiteY1317" fmla="*/ 489080 h 3952232"/>
                <a:gd name="connsiteX1318" fmla="*/ 3513949 w 7267540"/>
                <a:gd name="connsiteY1318" fmla="*/ 505496 h 3952232"/>
                <a:gd name="connsiteX1319" fmla="*/ 3541550 w 7267540"/>
                <a:gd name="connsiteY1319" fmla="*/ 630750 h 3952232"/>
                <a:gd name="connsiteX1320" fmla="*/ 3541550 w 7267540"/>
                <a:gd name="connsiteY1320" fmla="*/ 628363 h 3952232"/>
                <a:gd name="connsiteX1321" fmla="*/ 3541550 w 7267540"/>
                <a:gd name="connsiteY1321" fmla="*/ 625776 h 3952232"/>
                <a:gd name="connsiteX1322" fmla="*/ 3541550 w 7267540"/>
                <a:gd name="connsiteY1322" fmla="*/ 630750 h 3952232"/>
                <a:gd name="connsiteX1323" fmla="*/ 3542248 w 7267540"/>
                <a:gd name="connsiteY1323" fmla="*/ 641992 h 3952232"/>
                <a:gd name="connsiteX1324" fmla="*/ 3542248 w 7267540"/>
                <a:gd name="connsiteY1324" fmla="*/ 641992 h 3952232"/>
                <a:gd name="connsiteX1325" fmla="*/ 3538262 w 7267540"/>
                <a:gd name="connsiteY1325" fmla="*/ 661890 h 3952232"/>
                <a:gd name="connsiteX1326" fmla="*/ 3542148 w 7267540"/>
                <a:gd name="connsiteY1326" fmla="*/ 641992 h 3952232"/>
                <a:gd name="connsiteX1327" fmla="*/ 3542148 w 7267540"/>
                <a:gd name="connsiteY1327" fmla="*/ 641992 h 3952232"/>
                <a:gd name="connsiteX1328" fmla="*/ 3541550 w 7267540"/>
                <a:gd name="connsiteY1328" fmla="*/ 630750 h 3952232"/>
                <a:gd name="connsiteX1329" fmla="*/ 3508369 w 7267540"/>
                <a:gd name="connsiteY1329" fmla="*/ 703874 h 3952232"/>
                <a:gd name="connsiteX1330" fmla="*/ 3511757 w 7267540"/>
                <a:gd name="connsiteY1330" fmla="*/ 711236 h 3952232"/>
                <a:gd name="connsiteX1331" fmla="*/ 3519329 w 7267540"/>
                <a:gd name="connsiteY1331" fmla="*/ 724965 h 3952232"/>
                <a:gd name="connsiteX1332" fmla="*/ 3511757 w 7267540"/>
                <a:gd name="connsiteY1332" fmla="*/ 711236 h 3952232"/>
                <a:gd name="connsiteX1333" fmla="*/ 3508369 w 7267540"/>
                <a:gd name="connsiteY1333" fmla="*/ 703874 h 3952232"/>
                <a:gd name="connsiteX1334" fmla="*/ 3506376 w 7267540"/>
                <a:gd name="connsiteY1334" fmla="*/ 698999 h 3952232"/>
                <a:gd name="connsiteX1335" fmla="*/ 3508668 w 7267540"/>
                <a:gd name="connsiteY1335" fmla="*/ 694820 h 3952232"/>
                <a:gd name="connsiteX1336" fmla="*/ 3519329 w 7267540"/>
                <a:gd name="connsiteY1336" fmla="*/ 684871 h 3952232"/>
                <a:gd name="connsiteX1337" fmla="*/ 3521521 w 7267540"/>
                <a:gd name="connsiteY1337" fmla="*/ 683578 h 3952232"/>
                <a:gd name="connsiteX1338" fmla="*/ 3508668 w 7267540"/>
                <a:gd name="connsiteY1338" fmla="*/ 694522 h 3952232"/>
                <a:gd name="connsiteX1339" fmla="*/ 3508468 w 7267540"/>
                <a:gd name="connsiteY1339" fmla="*/ 703874 h 3952232"/>
                <a:gd name="connsiteX1340" fmla="*/ 4020539 w 7267540"/>
                <a:gd name="connsiteY1340" fmla="*/ 710937 h 3952232"/>
                <a:gd name="connsiteX1341" fmla="*/ 4022731 w 7267540"/>
                <a:gd name="connsiteY1341" fmla="*/ 713822 h 3952232"/>
                <a:gd name="connsiteX1342" fmla="*/ 4027714 w 7267540"/>
                <a:gd name="connsiteY1342" fmla="*/ 720985 h 3952232"/>
                <a:gd name="connsiteX1343" fmla="*/ 4031500 w 7267540"/>
                <a:gd name="connsiteY1343" fmla="*/ 728149 h 3952232"/>
                <a:gd name="connsiteX1344" fmla="*/ 4029507 w 7267540"/>
                <a:gd name="connsiteY1344" fmla="*/ 725860 h 3952232"/>
                <a:gd name="connsiteX1345" fmla="*/ 4027714 w 7267540"/>
                <a:gd name="connsiteY1345" fmla="*/ 720985 h 3952232"/>
                <a:gd name="connsiteX1346" fmla="*/ 4022731 w 7267540"/>
                <a:gd name="connsiteY1346" fmla="*/ 713822 h 3952232"/>
                <a:gd name="connsiteX1347" fmla="*/ 4015557 w 7267540"/>
                <a:gd name="connsiteY1347" fmla="*/ 710340 h 3952232"/>
                <a:gd name="connsiteX1348" fmla="*/ 4020639 w 7267540"/>
                <a:gd name="connsiteY1348" fmla="*/ 710937 h 3952232"/>
                <a:gd name="connsiteX1349" fmla="*/ 4077037 w 7267540"/>
                <a:gd name="connsiteY1349" fmla="*/ 894691 h 3952232"/>
                <a:gd name="connsiteX1350" fmla="*/ 4079030 w 7267540"/>
                <a:gd name="connsiteY1350" fmla="*/ 899764 h 3952232"/>
                <a:gd name="connsiteX1351" fmla="*/ 4077037 w 7267540"/>
                <a:gd name="connsiteY1351" fmla="*/ 894691 h 3952232"/>
                <a:gd name="connsiteX1352" fmla="*/ 4074148 w 7267540"/>
                <a:gd name="connsiteY1352" fmla="*/ 890512 h 3952232"/>
                <a:gd name="connsiteX1353" fmla="*/ 4069166 w 7267540"/>
                <a:gd name="connsiteY1353" fmla="*/ 888025 h 3952232"/>
                <a:gd name="connsiteX1354" fmla="*/ 4063785 w 7267540"/>
                <a:gd name="connsiteY1354" fmla="*/ 888025 h 3952232"/>
                <a:gd name="connsiteX1355" fmla="*/ 4066376 w 7267540"/>
                <a:gd name="connsiteY1355" fmla="*/ 888025 h 3952232"/>
                <a:gd name="connsiteX1356" fmla="*/ 4069166 w 7267540"/>
                <a:gd name="connsiteY1356" fmla="*/ 888025 h 3952232"/>
                <a:gd name="connsiteX1357" fmla="*/ 4070361 w 7267540"/>
                <a:gd name="connsiteY1357" fmla="*/ 888025 h 3952232"/>
                <a:gd name="connsiteX1358" fmla="*/ 4074148 w 7267540"/>
                <a:gd name="connsiteY1358" fmla="*/ 890512 h 3952232"/>
                <a:gd name="connsiteX1359" fmla="*/ 4076340 w 7267540"/>
                <a:gd name="connsiteY1359" fmla="*/ 892004 h 3952232"/>
                <a:gd name="connsiteX1360" fmla="*/ 4077137 w 7267540"/>
                <a:gd name="connsiteY1360" fmla="*/ 894691 h 3952232"/>
                <a:gd name="connsiteX1361" fmla="*/ 4056311 w 7267540"/>
                <a:gd name="connsiteY1361" fmla="*/ 887328 h 3952232"/>
                <a:gd name="connsiteX1362" fmla="*/ 4045450 w 7267540"/>
                <a:gd name="connsiteY1362" fmla="*/ 882951 h 3952232"/>
                <a:gd name="connsiteX1363" fmla="*/ 4056411 w 7267540"/>
                <a:gd name="connsiteY1363" fmla="*/ 887328 h 3952232"/>
                <a:gd name="connsiteX1364" fmla="*/ 4020340 w 7267540"/>
                <a:gd name="connsiteY1364" fmla="*/ 777892 h 3952232"/>
                <a:gd name="connsiteX1365" fmla="*/ 4019543 w 7267540"/>
                <a:gd name="connsiteY1365" fmla="*/ 772619 h 3952232"/>
                <a:gd name="connsiteX1366" fmla="*/ 4019543 w 7267540"/>
                <a:gd name="connsiteY1366" fmla="*/ 764163 h 3952232"/>
                <a:gd name="connsiteX1367" fmla="*/ 4021137 w 7267540"/>
                <a:gd name="connsiteY1367" fmla="*/ 757696 h 3952232"/>
                <a:gd name="connsiteX1368" fmla="*/ 4024625 w 7267540"/>
                <a:gd name="connsiteY1368" fmla="*/ 754214 h 3952232"/>
                <a:gd name="connsiteX1369" fmla="*/ 4019543 w 7267540"/>
                <a:gd name="connsiteY1369" fmla="*/ 764163 h 3952232"/>
                <a:gd name="connsiteX1370" fmla="*/ 4020439 w 7267540"/>
                <a:gd name="connsiteY1370" fmla="*/ 777892 h 3952232"/>
                <a:gd name="connsiteX1371" fmla="*/ 4020340 w 7267540"/>
                <a:gd name="connsiteY1371" fmla="*/ 791920 h 3952232"/>
                <a:gd name="connsiteX1372" fmla="*/ 4021037 w 7267540"/>
                <a:gd name="connsiteY1372" fmla="*/ 783961 h 3952232"/>
                <a:gd name="connsiteX1373" fmla="*/ 4022233 w 7267540"/>
                <a:gd name="connsiteY1373" fmla="*/ 788537 h 3952232"/>
                <a:gd name="connsiteX1374" fmla="*/ 4020340 w 7267540"/>
                <a:gd name="connsiteY1374" fmla="*/ 791920 h 3952232"/>
                <a:gd name="connsiteX1375" fmla="*/ 4015856 w 7267540"/>
                <a:gd name="connsiteY1375" fmla="*/ 797989 h 3952232"/>
                <a:gd name="connsiteX1376" fmla="*/ 4020738 w 7267540"/>
                <a:gd name="connsiteY1376" fmla="*/ 792019 h 3952232"/>
                <a:gd name="connsiteX1377" fmla="*/ 4024924 w 7267540"/>
                <a:gd name="connsiteY1377" fmla="*/ 753816 h 3952232"/>
                <a:gd name="connsiteX1378" fmla="*/ 4032297 w 7267540"/>
                <a:gd name="connsiteY1378" fmla="*/ 741778 h 3952232"/>
                <a:gd name="connsiteX1379" fmla="*/ 4025322 w 7267540"/>
                <a:gd name="connsiteY1379" fmla="*/ 753816 h 3952232"/>
                <a:gd name="connsiteX1380" fmla="*/ 4079628 w 7267540"/>
                <a:gd name="connsiteY1380" fmla="*/ 899864 h 3952232"/>
                <a:gd name="connsiteX1381" fmla="*/ 4088098 w 7267540"/>
                <a:gd name="connsiteY1381" fmla="*/ 907823 h 3952232"/>
                <a:gd name="connsiteX1382" fmla="*/ 4079628 w 7267540"/>
                <a:gd name="connsiteY1382" fmla="*/ 901456 h 3952232"/>
                <a:gd name="connsiteX1383" fmla="*/ 4079628 w 7267540"/>
                <a:gd name="connsiteY1383" fmla="*/ 899864 h 3952232"/>
                <a:gd name="connsiteX1384" fmla="*/ 4220724 w 7267540"/>
                <a:gd name="connsiteY1384" fmla="*/ 1155845 h 3952232"/>
                <a:gd name="connsiteX1385" fmla="*/ 4220724 w 7267540"/>
                <a:gd name="connsiteY1385" fmla="*/ 1141121 h 3952232"/>
                <a:gd name="connsiteX1386" fmla="*/ 4220326 w 7267540"/>
                <a:gd name="connsiteY1386" fmla="*/ 1155845 h 3952232"/>
                <a:gd name="connsiteX1387" fmla="*/ 4350859 w 7267540"/>
                <a:gd name="connsiteY1387" fmla="*/ 1330744 h 3952232"/>
                <a:gd name="connsiteX1388" fmla="*/ 4348069 w 7267540"/>
                <a:gd name="connsiteY1388" fmla="*/ 1343379 h 3952232"/>
                <a:gd name="connsiteX1389" fmla="*/ 4350859 w 7267540"/>
                <a:gd name="connsiteY1389" fmla="*/ 1330744 h 3952232"/>
                <a:gd name="connsiteX1390" fmla="*/ 4347671 w 7267540"/>
                <a:gd name="connsiteY1390" fmla="*/ 1316617 h 3952232"/>
                <a:gd name="connsiteX1391" fmla="*/ 4343884 w 7267540"/>
                <a:gd name="connsiteY1391" fmla="*/ 1306668 h 3952232"/>
                <a:gd name="connsiteX1392" fmla="*/ 4347870 w 7267540"/>
                <a:gd name="connsiteY1392" fmla="*/ 1312040 h 3952232"/>
                <a:gd name="connsiteX1393" fmla="*/ 4347870 w 7267540"/>
                <a:gd name="connsiteY1393" fmla="*/ 1316716 h 3952232"/>
                <a:gd name="connsiteX1394" fmla="*/ 4350461 w 7267540"/>
                <a:gd name="connsiteY1394" fmla="*/ 1330744 h 3952232"/>
                <a:gd name="connsiteX1395" fmla="*/ 4614418 w 7267540"/>
                <a:gd name="connsiteY1395" fmla="*/ 2014919 h 3952232"/>
                <a:gd name="connsiteX1396" fmla="*/ 4611827 w 7267540"/>
                <a:gd name="connsiteY1396" fmla="*/ 2009347 h 3952232"/>
                <a:gd name="connsiteX1397" fmla="*/ 4610930 w 7267540"/>
                <a:gd name="connsiteY1397" fmla="*/ 2008353 h 3952232"/>
                <a:gd name="connsiteX1398" fmla="*/ 4611927 w 7267540"/>
                <a:gd name="connsiteY1398" fmla="*/ 2007258 h 3952232"/>
                <a:gd name="connsiteX1399" fmla="*/ 4613820 w 7267540"/>
                <a:gd name="connsiteY1399" fmla="*/ 2004771 h 3952232"/>
                <a:gd name="connsiteX1400" fmla="*/ 4611927 w 7267540"/>
                <a:gd name="connsiteY1400" fmla="*/ 2007258 h 3952232"/>
                <a:gd name="connsiteX1401" fmla="*/ 4611927 w 7267540"/>
                <a:gd name="connsiteY1401" fmla="*/ 2009347 h 3952232"/>
                <a:gd name="connsiteX1402" fmla="*/ 4614518 w 7267540"/>
                <a:gd name="connsiteY1402" fmla="*/ 2014919 h 3952232"/>
                <a:gd name="connsiteX1403" fmla="*/ 4619599 w 7267540"/>
                <a:gd name="connsiteY1403" fmla="*/ 2018600 h 3952232"/>
                <a:gd name="connsiteX1404" fmla="*/ 4616012 w 7267540"/>
                <a:gd name="connsiteY1404" fmla="*/ 2017207 h 3952232"/>
                <a:gd name="connsiteX1405" fmla="*/ 4614318 w 7267540"/>
                <a:gd name="connsiteY1405" fmla="*/ 2021585 h 3952232"/>
                <a:gd name="connsiteX1406" fmla="*/ 4614019 w 7267540"/>
                <a:gd name="connsiteY1406" fmla="*/ 2014919 h 3952232"/>
                <a:gd name="connsiteX1407" fmla="*/ 5282033 w 7267540"/>
                <a:gd name="connsiteY1407" fmla="*/ 2126643 h 3952232"/>
                <a:gd name="connsiteX1408" fmla="*/ 5286318 w 7267540"/>
                <a:gd name="connsiteY1408" fmla="*/ 2124057 h 3952232"/>
                <a:gd name="connsiteX1409" fmla="*/ 5300667 w 7267540"/>
                <a:gd name="connsiteY1409" fmla="*/ 2114108 h 3952232"/>
                <a:gd name="connsiteX1410" fmla="*/ 5286318 w 7267540"/>
                <a:gd name="connsiteY1410" fmla="*/ 2124057 h 3952232"/>
                <a:gd name="connsiteX1411" fmla="*/ 5282531 w 7267540"/>
                <a:gd name="connsiteY1411" fmla="*/ 2132115 h 3952232"/>
                <a:gd name="connsiteX1412" fmla="*/ 5282133 w 7267540"/>
                <a:gd name="connsiteY1412" fmla="*/ 2126643 h 3952232"/>
                <a:gd name="connsiteX1413" fmla="*/ 5329663 w 7267540"/>
                <a:gd name="connsiteY1413" fmla="*/ 2019694 h 3952232"/>
                <a:gd name="connsiteX1414" fmla="*/ 5335044 w 7267540"/>
                <a:gd name="connsiteY1414" fmla="*/ 2029643 h 3952232"/>
                <a:gd name="connsiteX1415" fmla="*/ 5329663 w 7267540"/>
                <a:gd name="connsiteY1415" fmla="*/ 2019694 h 3952232"/>
                <a:gd name="connsiteX1416" fmla="*/ 5326873 w 7267540"/>
                <a:gd name="connsiteY1416" fmla="*/ 2017207 h 3952232"/>
                <a:gd name="connsiteX1417" fmla="*/ 5325977 w 7267540"/>
                <a:gd name="connsiteY1417" fmla="*/ 2014322 h 3952232"/>
                <a:gd name="connsiteX1418" fmla="*/ 5322290 w 7267540"/>
                <a:gd name="connsiteY1418" fmla="*/ 2008651 h 3952232"/>
                <a:gd name="connsiteX1419" fmla="*/ 5318204 w 7267540"/>
                <a:gd name="connsiteY1419" fmla="*/ 2004373 h 3952232"/>
                <a:gd name="connsiteX1420" fmla="*/ 5320895 w 7267540"/>
                <a:gd name="connsiteY1420" fmla="*/ 2006263 h 3952232"/>
                <a:gd name="connsiteX1421" fmla="*/ 5322290 w 7267540"/>
                <a:gd name="connsiteY1421" fmla="*/ 2008651 h 3952232"/>
                <a:gd name="connsiteX1422" fmla="*/ 5325977 w 7267540"/>
                <a:gd name="connsiteY1422" fmla="*/ 2014322 h 3952232"/>
                <a:gd name="connsiteX1423" fmla="*/ 5405194 w 7267540"/>
                <a:gd name="connsiteY1423" fmla="*/ 1800822 h 3952232"/>
                <a:gd name="connsiteX1424" fmla="*/ 5406588 w 7267540"/>
                <a:gd name="connsiteY1424" fmla="*/ 1808483 h 3952232"/>
                <a:gd name="connsiteX1425" fmla="*/ 5404894 w 7267540"/>
                <a:gd name="connsiteY1425" fmla="*/ 1800623 h 3952232"/>
                <a:gd name="connsiteX1426" fmla="*/ 5897833 w 7267540"/>
                <a:gd name="connsiteY1426" fmla="*/ 1729987 h 3952232"/>
                <a:gd name="connsiteX1427" fmla="*/ 5900026 w 7267540"/>
                <a:gd name="connsiteY1427" fmla="*/ 1742224 h 3952232"/>
                <a:gd name="connsiteX1428" fmla="*/ 5897933 w 7267540"/>
                <a:gd name="connsiteY1428" fmla="*/ 1729788 h 3952232"/>
                <a:gd name="connsiteX1429" fmla="*/ 5874517 w 7267540"/>
                <a:gd name="connsiteY1429" fmla="*/ 1725311 h 3952232"/>
                <a:gd name="connsiteX1430" fmla="*/ 5880097 w 7267540"/>
                <a:gd name="connsiteY1430" fmla="*/ 1727301 h 3952232"/>
                <a:gd name="connsiteX1431" fmla="*/ 5890061 w 7267540"/>
                <a:gd name="connsiteY1431" fmla="*/ 1728097 h 3952232"/>
                <a:gd name="connsiteX1432" fmla="*/ 5880097 w 7267540"/>
                <a:gd name="connsiteY1432" fmla="*/ 1727301 h 3952232"/>
                <a:gd name="connsiteX1433" fmla="*/ 5875912 w 7267540"/>
                <a:gd name="connsiteY1433" fmla="*/ 1727898 h 3952232"/>
                <a:gd name="connsiteX1434" fmla="*/ 5874517 w 7267540"/>
                <a:gd name="connsiteY1434" fmla="*/ 1725311 h 3952232"/>
                <a:gd name="connsiteX1435" fmla="*/ 5868638 w 7267540"/>
                <a:gd name="connsiteY1435" fmla="*/ 1718844 h 3952232"/>
                <a:gd name="connsiteX1436" fmla="*/ 5874617 w 7267540"/>
                <a:gd name="connsiteY1436" fmla="*/ 1725112 h 3952232"/>
                <a:gd name="connsiteX1437" fmla="*/ 5861264 w 7267540"/>
                <a:gd name="connsiteY1437" fmla="*/ 1716656 h 3952232"/>
                <a:gd name="connsiteX1438" fmla="*/ 5845820 w 7267540"/>
                <a:gd name="connsiteY1438" fmla="*/ 1719143 h 3952232"/>
                <a:gd name="connsiteX1439" fmla="*/ 5849008 w 7267540"/>
                <a:gd name="connsiteY1439" fmla="*/ 1717949 h 3952232"/>
                <a:gd name="connsiteX1440" fmla="*/ 5861264 w 7267540"/>
                <a:gd name="connsiteY1440" fmla="*/ 1716656 h 3952232"/>
                <a:gd name="connsiteX1441" fmla="*/ 5866944 w 7267540"/>
                <a:gd name="connsiteY1441" fmla="*/ 1715959 h 3952232"/>
                <a:gd name="connsiteX1442" fmla="*/ 5868638 w 7267540"/>
                <a:gd name="connsiteY1442" fmla="*/ 1718844 h 3952232"/>
                <a:gd name="connsiteX1443" fmla="*/ 5861364 w 7267540"/>
                <a:gd name="connsiteY1443" fmla="*/ 1716457 h 3952232"/>
                <a:gd name="connsiteX1444" fmla="*/ 5563129 w 7267540"/>
                <a:gd name="connsiteY1444" fmla="*/ 2074810 h 3952232"/>
                <a:gd name="connsiteX1445" fmla="*/ 5572197 w 7267540"/>
                <a:gd name="connsiteY1445" fmla="*/ 2073716 h 3952232"/>
                <a:gd name="connsiteX1446" fmla="*/ 5563229 w 7267540"/>
                <a:gd name="connsiteY1446" fmla="*/ 2074313 h 3952232"/>
                <a:gd name="connsiteX1447" fmla="*/ 5650218 w 7267540"/>
                <a:gd name="connsiteY1447" fmla="*/ 1938612 h 3952232"/>
                <a:gd name="connsiteX1448" fmla="*/ 5651713 w 7267540"/>
                <a:gd name="connsiteY1448" fmla="*/ 1942094 h 3952232"/>
                <a:gd name="connsiteX1449" fmla="*/ 5650318 w 7267540"/>
                <a:gd name="connsiteY1449" fmla="*/ 1938115 h 3952232"/>
                <a:gd name="connsiteX1450" fmla="*/ 5593919 w 7267540"/>
                <a:gd name="connsiteY1450" fmla="*/ 2048048 h 3952232"/>
                <a:gd name="connsiteX1451" fmla="*/ 5589535 w 7267540"/>
                <a:gd name="connsiteY1451" fmla="*/ 2054515 h 3952232"/>
                <a:gd name="connsiteX1452" fmla="*/ 5594218 w 7267540"/>
                <a:gd name="connsiteY1452" fmla="*/ 2047451 h 3952232"/>
                <a:gd name="connsiteX1453" fmla="*/ 5690076 w 7267540"/>
                <a:gd name="connsiteY1453" fmla="*/ 1780129 h 3952232"/>
                <a:gd name="connsiteX1454" fmla="*/ 5690076 w 7267540"/>
                <a:gd name="connsiteY1454" fmla="*/ 1750282 h 3952232"/>
                <a:gd name="connsiteX1455" fmla="*/ 5690076 w 7267540"/>
                <a:gd name="connsiteY1455" fmla="*/ 1770180 h 3952232"/>
                <a:gd name="connsiteX1456" fmla="*/ 5014290 w 7267540"/>
                <a:gd name="connsiteY1456" fmla="*/ 1836637 h 3952232"/>
                <a:gd name="connsiteX1457" fmla="*/ 5016681 w 7267540"/>
                <a:gd name="connsiteY1457" fmla="*/ 1832061 h 3952232"/>
                <a:gd name="connsiteX1458" fmla="*/ 5014290 w 7267540"/>
                <a:gd name="connsiteY1458" fmla="*/ 1836637 h 3952232"/>
                <a:gd name="connsiteX1459" fmla="*/ 4941250 w 7267540"/>
                <a:gd name="connsiteY1459" fmla="*/ 1881506 h 3952232"/>
                <a:gd name="connsiteX1460" fmla="*/ 4941250 w 7267540"/>
                <a:gd name="connsiteY1460" fmla="*/ 1887675 h 3952232"/>
                <a:gd name="connsiteX1461" fmla="*/ 4942048 w 7267540"/>
                <a:gd name="connsiteY1461" fmla="*/ 1891952 h 3952232"/>
                <a:gd name="connsiteX1462" fmla="*/ 4941151 w 7267540"/>
                <a:gd name="connsiteY1462" fmla="*/ 1890162 h 3952232"/>
                <a:gd name="connsiteX1463" fmla="*/ 4941151 w 7267540"/>
                <a:gd name="connsiteY1463" fmla="*/ 1887675 h 3952232"/>
                <a:gd name="connsiteX1464" fmla="*/ 4941250 w 7267540"/>
                <a:gd name="connsiteY1464" fmla="*/ 1881208 h 3952232"/>
                <a:gd name="connsiteX1465" fmla="*/ 4940752 w 7267540"/>
                <a:gd name="connsiteY1465" fmla="*/ 1874045 h 3952232"/>
                <a:gd name="connsiteX1466" fmla="*/ 4940752 w 7267540"/>
                <a:gd name="connsiteY1466" fmla="*/ 1878920 h 3952232"/>
                <a:gd name="connsiteX1467" fmla="*/ 4940752 w 7267540"/>
                <a:gd name="connsiteY1467" fmla="*/ 1873746 h 3952232"/>
                <a:gd name="connsiteX1468" fmla="*/ 4941350 w 7267540"/>
                <a:gd name="connsiteY1468" fmla="*/ 1880213 h 3952232"/>
                <a:gd name="connsiteX1469" fmla="*/ 4941350 w 7267540"/>
                <a:gd name="connsiteY1469" fmla="*/ 1881208 h 3952232"/>
                <a:gd name="connsiteX1470" fmla="*/ 4941350 w 7267540"/>
                <a:gd name="connsiteY1470" fmla="*/ 1879318 h 3952232"/>
                <a:gd name="connsiteX1471" fmla="*/ 4941350 w 7267540"/>
                <a:gd name="connsiteY1471" fmla="*/ 1879915 h 3952232"/>
                <a:gd name="connsiteX1472" fmla="*/ 4942147 w 7267540"/>
                <a:gd name="connsiteY1472" fmla="*/ 1870264 h 3952232"/>
                <a:gd name="connsiteX1473" fmla="*/ 4940752 w 7267540"/>
                <a:gd name="connsiteY1473" fmla="*/ 1873547 h 3952232"/>
                <a:gd name="connsiteX1474" fmla="*/ 4940752 w 7267540"/>
                <a:gd name="connsiteY1474" fmla="*/ 1870961 h 3952232"/>
                <a:gd name="connsiteX1475" fmla="*/ 4942546 w 7267540"/>
                <a:gd name="connsiteY1475" fmla="*/ 1870264 h 3952232"/>
                <a:gd name="connsiteX1476" fmla="*/ 4946731 w 7267540"/>
                <a:gd name="connsiteY1476" fmla="*/ 1867976 h 3952232"/>
                <a:gd name="connsiteX1477" fmla="*/ 4950218 w 7267540"/>
                <a:gd name="connsiteY1477" fmla="*/ 1867976 h 3952232"/>
                <a:gd name="connsiteX1478" fmla="*/ 4960183 w 7267540"/>
                <a:gd name="connsiteY1478" fmla="*/ 1867976 h 3952232"/>
                <a:gd name="connsiteX1479" fmla="*/ 4950218 w 7267540"/>
                <a:gd name="connsiteY1479" fmla="*/ 1867976 h 3952232"/>
                <a:gd name="connsiteX1480" fmla="*/ 4942147 w 7267540"/>
                <a:gd name="connsiteY1480" fmla="*/ 1870264 h 3952232"/>
                <a:gd name="connsiteX1481" fmla="*/ 4943642 w 7267540"/>
                <a:gd name="connsiteY1481" fmla="*/ 1899116 h 3952232"/>
                <a:gd name="connsiteX1482" fmla="*/ 4943642 w 7267540"/>
                <a:gd name="connsiteY1482" fmla="*/ 1896230 h 3952232"/>
                <a:gd name="connsiteX1483" fmla="*/ 4944240 w 7267540"/>
                <a:gd name="connsiteY1483" fmla="*/ 1897822 h 3952232"/>
                <a:gd name="connsiteX1484" fmla="*/ 4943542 w 7267540"/>
                <a:gd name="connsiteY1484" fmla="*/ 1899116 h 3952232"/>
                <a:gd name="connsiteX1485" fmla="*/ 4942247 w 7267540"/>
                <a:gd name="connsiteY1485" fmla="*/ 1901802 h 3952232"/>
                <a:gd name="connsiteX1486" fmla="*/ 4935471 w 7267540"/>
                <a:gd name="connsiteY1486" fmla="*/ 1907373 h 3952232"/>
                <a:gd name="connsiteX1487" fmla="*/ 4943642 w 7267540"/>
                <a:gd name="connsiteY1487" fmla="*/ 1899116 h 3952232"/>
                <a:gd name="connsiteX1488" fmla="*/ 4913749 w 7267540"/>
                <a:gd name="connsiteY1488" fmla="*/ 1932543 h 3952232"/>
                <a:gd name="connsiteX1489" fmla="*/ 4916539 w 7267540"/>
                <a:gd name="connsiteY1489" fmla="*/ 1923789 h 3952232"/>
                <a:gd name="connsiteX1490" fmla="*/ 4914147 w 7267540"/>
                <a:gd name="connsiteY1490" fmla="*/ 1932543 h 3952232"/>
                <a:gd name="connsiteX1491" fmla="*/ 4917037 w 7267540"/>
                <a:gd name="connsiteY1491" fmla="*/ 1922595 h 3952232"/>
                <a:gd name="connsiteX1492" fmla="*/ 4918034 w 7267540"/>
                <a:gd name="connsiteY1492" fmla="*/ 1919212 h 3952232"/>
                <a:gd name="connsiteX1493" fmla="*/ 4919827 w 7267540"/>
                <a:gd name="connsiteY1493" fmla="*/ 1916725 h 3952232"/>
                <a:gd name="connsiteX1494" fmla="*/ 4917436 w 7267540"/>
                <a:gd name="connsiteY1494" fmla="*/ 1922197 h 3952232"/>
                <a:gd name="connsiteX1495" fmla="*/ 4920525 w 7267540"/>
                <a:gd name="connsiteY1495" fmla="*/ 1916029 h 3952232"/>
                <a:gd name="connsiteX1496" fmla="*/ 4922019 w 7267540"/>
                <a:gd name="connsiteY1496" fmla="*/ 1914238 h 3952232"/>
                <a:gd name="connsiteX1497" fmla="*/ 4924112 w 7267540"/>
                <a:gd name="connsiteY1497" fmla="*/ 1914238 h 3952232"/>
                <a:gd name="connsiteX1498" fmla="*/ 4929393 w 7267540"/>
                <a:gd name="connsiteY1498" fmla="*/ 1912447 h 3952232"/>
                <a:gd name="connsiteX1499" fmla="*/ 4934973 w 7267540"/>
                <a:gd name="connsiteY1499" fmla="*/ 1908467 h 3952232"/>
                <a:gd name="connsiteX1500" fmla="*/ 4932980 w 7267540"/>
                <a:gd name="connsiteY1500" fmla="*/ 1911551 h 3952232"/>
                <a:gd name="connsiteX1501" fmla="*/ 4929393 w 7267540"/>
                <a:gd name="connsiteY1501" fmla="*/ 1912447 h 3952232"/>
                <a:gd name="connsiteX1502" fmla="*/ 4924112 w 7267540"/>
                <a:gd name="connsiteY1502" fmla="*/ 1914238 h 3952232"/>
                <a:gd name="connsiteX1503" fmla="*/ 4920923 w 7267540"/>
                <a:gd name="connsiteY1503" fmla="*/ 1915631 h 3952232"/>
                <a:gd name="connsiteX1504" fmla="*/ 5060026 w 7267540"/>
                <a:gd name="connsiteY1504" fmla="*/ 2207726 h 3952232"/>
                <a:gd name="connsiteX1505" fmla="*/ 4952809 w 7267540"/>
                <a:gd name="connsiteY1505" fmla="*/ 2203945 h 3952232"/>
                <a:gd name="connsiteX1506" fmla="*/ 5059927 w 7267540"/>
                <a:gd name="connsiteY1506" fmla="*/ 2207328 h 3952232"/>
                <a:gd name="connsiteX1507" fmla="*/ 5163656 w 7267540"/>
                <a:gd name="connsiteY1507" fmla="*/ 2206631 h 3952232"/>
                <a:gd name="connsiteX1508" fmla="*/ 5165051 w 7267540"/>
                <a:gd name="connsiteY1508" fmla="*/ 2205636 h 3952232"/>
                <a:gd name="connsiteX1509" fmla="*/ 5164055 w 7267540"/>
                <a:gd name="connsiteY1509" fmla="*/ 2206631 h 3952232"/>
                <a:gd name="connsiteX1510" fmla="*/ 5198233 w 7267540"/>
                <a:gd name="connsiteY1510" fmla="*/ 2194394 h 3952232"/>
                <a:gd name="connsiteX1511" fmla="*/ 5210688 w 7267540"/>
                <a:gd name="connsiteY1511" fmla="*/ 2189619 h 3952232"/>
                <a:gd name="connsiteX1512" fmla="*/ 5198133 w 7267540"/>
                <a:gd name="connsiteY1512" fmla="*/ 2193997 h 3952232"/>
                <a:gd name="connsiteX1513" fmla="*/ 5287912 w 7267540"/>
                <a:gd name="connsiteY1513" fmla="*/ 2435452 h 3952232"/>
                <a:gd name="connsiteX1514" fmla="*/ 5295286 w 7267540"/>
                <a:gd name="connsiteY1514" fmla="*/ 2433562 h 3952232"/>
                <a:gd name="connsiteX1515" fmla="*/ 5285919 w 7267540"/>
                <a:gd name="connsiteY1515" fmla="*/ 2437044 h 3952232"/>
                <a:gd name="connsiteX1516" fmla="*/ 5297877 w 7267540"/>
                <a:gd name="connsiteY1516" fmla="*/ 2294379 h 3952232"/>
                <a:gd name="connsiteX1517" fmla="*/ 5297379 w 7267540"/>
                <a:gd name="connsiteY1517" fmla="*/ 2304328 h 3952232"/>
                <a:gd name="connsiteX1518" fmla="*/ 5297578 w 7267540"/>
                <a:gd name="connsiteY1518" fmla="*/ 2294280 h 3952232"/>
                <a:gd name="connsiteX1519" fmla="*/ 5410176 w 7267540"/>
                <a:gd name="connsiteY1519" fmla="*/ 2244636 h 3952232"/>
                <a:gd name="connsiteX1520" fmla="*/ 5409279 w 7267540"/>
                <a:gd name="connsiteY1520" fmla="*/ 2234687 h 3952232"/>
                <a:gd name="connsiteX1521" fmla="*/ 5409877 w 7267540"/>
                <a:gd name="connsiteY1521" fmla="*/ 2244536 h 3952232"/>
                <a:gd name="connsiteX1522" fmla="*/ 5363841 w 7267540"/>
                <a:gd name="connsiteY1522" fmla="*/ 2284331 h 3952232"/>
                <a:gd name="connsiteX1523" fmla="*/ 5358959 w 7267540"/>
                <a:gd name="connsiteY1523" fmla="*/ 2284331 h 3952232"/>
                <a:gd name="connsiteX1524" fmla="*/ 5363841 w 7267540"/>
                <a:gd name="connsiteY1524" fmla="*/ 2284331 h 3952232"/>
                <a:gd name="connsiteX1525" fmla="*/ 5357763 w 7267540"/>
                <a:gd name="connsiteY1525" fmla="*/ 2283336 h 3952232"/>
                <a:gd name="connsiteX1526" fmla="*/ 5355870 w 7267540"/>
                <a:gd name="connsiteY1526" fmla="*/ 2279357 h 3952232"/>
                <a:gd name="connsiteX1527" fmla="*/ 5357763 w 7267540"/>
                <a:gd name="connsiteY1527" fmla="*/ 2282839 h 3952232"/>
                <a:gd name="connsiteX1528" fmla="*/ 5321193 w 7267540"/>
                <a:gd name="connsiteY1528" fmla="*/ 2289206 h 3952232"/>
                <a:gd name="connsiteX1529" fmla="*/ 5317905 w 7267540"/>
                <a:gd name="connsiteY1529" fmla="*/ 2293384 h 3952232"/>
                <a:gd name="connsiteX1530" fmla="*/ 5321193 w 7267540"/>
                <a:gd name="connsiteY1530" fmla="*/ 2288708 h 3952232"/>
                <a:gd name="connsiteX1531" fmla="*/ 5349891 w 7267540"/>
                <a:gd name="connsiteY1531" fmla="*/ 2084361 h 3952232"/>
                <a:gd name="connsiteX1532" fmla="*/ 5373606 w 7267540"/>
                <a:gd name="connsiteY1532" fmla="*/ 2063568 h 3952232"/>
                <a:gd name="connsiteX1533" fmla="*/ 5349891 w 7267540"/>
                <a:gd name="connsiteY1533" fmla="*/ 2083864 h 3952232"/>
                <a:gd name="connsiteX1534" fmla="*/ 5334944 w 7267540"/>
                <a:gd name="connsiteY1534" fmla="*/ 2097295 h 3952232"/>
                <a:gd name="connsiteX1535" fmla="*/ 5320595 w 7267540"/>
                <a:gd name="connsiteY1535" fmla="*/ 2105154 h 3952232"/>
                <a:gd name="connsiteX1536" fmla="*/ 5349692 w 7267540"/>
                <a:gd name="connsiteY1536" fmla="*/ 2084660 h 3952232"/>
                <a:gd name="connsiteX1537" fmla="*/ 5335144 w 7267540"/>
                <a:gd name="connsiteY1537" fmla="*/ 2096797 h 3952232"/>
                <a:gd name="connsiteX1538" fmla="*/ 5301065 w 7267540"/>
                <a:gd name="connsiteY1538" fmla="*/ 2114605 h 3952232"/>
                <a:gd name="connsiteX1539" fmla="*/ 5304055 w 7267540"/>
                <a:gd name="connsiteY1539" fmla="*/ 2113312 h 3952232"/>
                <a:gd name="connsiteX1540" fmla="*/ 5301065 w 7267540"/>
                <a:gd name="connsiteY1540" fmla="*/ 2114108 h 3952232"/>
                <a:gd name="connsiteX1541" fmla="*/ 5168638 w 7267540"/>
                <a:gd name="connsiteY1541" fmla="*/ 2203050 h 3952232"/>
                <a:gd name="connsiteX1542" fmla="*/ 5170531 w 7267540"/>
                <a:gd name="connsiteY1542" fmla="*/ 2201757 h 3952232"/>
                <a:gd name="connsiteX1543" fmla="*/ 5176211 w 7267540"/>
                <a:gd name="connsiteY1543" fmla="*/ 2199170 h 3952232"/>
                <a:gd name="connsiteX1544" fmla="*/ 5168638 w 7267540"/>
                <a:gd name="connsiteY1544" fmla="*/ 2202552 h 3952232"/>
                <a:gd name="connsiteX1545" fmla="*/ 5087528 w 7267540"/>
                <a:gd name="connsiteY1545" fmla="*/ 2419634 h 3952232"/>
                <a:gd name="connsiteX1546" fmla="*/ 5086831 w 7267540"/>
                <a:gd name="connsiteY1546" fmla="*/ 2423613 h 3952232"/>
                <a:gd name="connsiteX1547" fmla="*/ 5087528 w 7267540"/>
                <a:gd name="connsiteY1547" fmla="*/ 2419136 h 3952232"/>
                <a:gd name="connsiteX1548" fmla="*/ 5118517 w 7267540"/>
                <a:gd name="connsiteY1548" fmla="*/ 2404711 h 3952232"/>
                <a:gd name="connsiteX1549" fmla="*/ 5119713 w 7267540"/>
                <a:gd name="connsiteY1549" fmla="*/ 2409685 h 3952232"/>
                <a:gd name="connsiteX1550" fmla="*/ 5113735 w 7267540"/>
                <a:gd name="connsiteY1550" fmla="*/ 2413565 h 3952232"/>
                <a:gd name="connsiteX1551" fmla="*/ 5119713 w 7267540"/>
                <a:gd name="connsiteY1551" fmla="*/ 2409685 h 3952232"/>
                <a:gd name="connsiteX1552" fmla="*/ 5118517 w 7267540"/>
                <a:gd name="connsiteY1552" fmla="*/ 2404213 h 3952232"/>
                <a:gd name="connsiteX1553" fmla="*/ 5118517 w 7267540"/>
                <a:gd name="connsiteY1553" fmla="*/ 2403616 h 3952232"/>
                <a:gd name="connsiteX1554" fmla="*/ 5120211 w 7267540"/>
                <a:gd name="connsiteY1554" fmla="*/ 2398841 h 3952232"/>
                <a:gd name="connsiteX1555" fmla="*/ 5118418 w 7267540"/>
                <a:gd name="connsiteY1555" fmla="*/ 2403119 h 3952232"/>
                <a:gd name="connsiteX1556" fmla="*/ 5113934 w 7267540"/>
                <a:gd name="connsiteY1556" fmla="*/ 2209019 h 3952232"/>
                <a:gd name="connsiteX1557" fmla="*/ 5162958 w 7267540"/>
                <a:gd name="connsiteY1557" fmla="*/ 2207925 h 3952232"/>
                <a:gd name="connsiteX1558" fmla="*/ 5161664 w 7267540"/>
                <a:gd name="connsiteY1558" fmla="*/ 2209715 h 3952232"/>
                <a:gd name="connsiteX1559" fmla="*/ 5105962 w 7267540"/>
                <a:gd name="connsiteY1559" fmla="*/ 2416550 h 3952232"/>
                <a:gd name="connsiteX1560" fmla="*/ 5099685 w 7267540"/>
                <a:gd name="connsiteY1560" fmla="*/ 2417147 h 3952232"/>
                <a:gd name="connsiteX1561" fmla="*/ 5099685 w 7267540"/>
                <a:gd name="connsiteY1561" fmla="*/ 2416649 h 3952232"/>
                <a:gd name="connsiteX1562" fmla="*/ 5095699 w 7267540"/>
                <a:gd name="connsiteY1562" fmla="*/ 2414460 h 3952232"/>
                <a:gd name="connsiteX1563" fmla="*/ 5091315 w 7267540"/>
                <a:gd name="connsiteY1563" fmla="*/ 2415356 h 3952232"/>
                <a:gd name="connsiteX1564" fmla="*/ 5088026 w 7267540"/>
                <a:gd name="connsiteY1564" fmla="*/ 2418937 h 3952232"/>
                <a:gd name="connsiteX1565" fmla="*/ 5091315 w 7267540"/>
                <a:gd name="connsiteY1565" fmla="*/ 2415356 h 3952232"/>
                <a:gd name="connsiteX1566" fmla="*/ 5094204 w 7267540"/>
                <a:gd name="connsiteY1566" fmla="*/ 2413167 h 3952232"/>
                <a:gd name="connsiteX1567" fmla="*/ 5095699 w 7267540"/>
                <a:gd name="connsiteY1567" fmla="*/ 2414460 h 3952232"/>
                <a:gd name="connsiteX1568" fmla="*/ 5099685 w 7267540"/>
                <a:gd name="connsiteY1568" fmla="*/ 2416649 h 3952232"/>
                <a:gd name="connsiteX1569" fmla="*/ 5105962 w 7267540"/>
                <a:gd name="connsiteY1569" fmla="*/ 2416550 h 3952232"/>
                <a:gd name="connsiteX1570" fmla="*/ 5271471 w 7267540"/>
                <a:gd name="connsiteY1570" fmla="*/ 2442417 h 3952232"/>
                <a:gd name="connsiteX1571" fmla="*/ 5275058 w 7267540"/>
                <a:gd name="connsiteY1571" fmla="*/ 2441123 h 3952232"/>
                <a:gd name="connsiteX1572" fmla="*/ 5276353 w 7267540"/>
                <a:gd name="connsiteY1572" fmla="*/ 2441819 h 3952232"/>
                <a:gd name="connsiteX1573" fmla="*/ 5271471 w 7267540"/>
                <a:gd name="connsiteY1573" fmla="*/ 2442417 h 3952232"/>
                <a:gd name="connsiteX1574" fmla="*/ 5257919 w 7267540"/>
                <a:gd name="connsiteY1574" fmla="*/ 2446893 h 3952232"/>
                <a:gd name="connsiteX1575" fmla="*/ 5271571 w 7267540"/>
                <a:gd name="connsiteY1575" fmla="*/ 2442417 h 3952232"/>
                <a:gd name="connsiteX1576" fmla="*/ 5285322 w 7267540"/>
                <a:gd name="connsiteY1576" fmla="*/ 2437442 h 3952232"/>
                <a:gd name="connsiteX1577" fmla="*/ 5278147 w 7267540"/>
                <a:gd name="connsiteY1577" fmla="*/ 2441919 h 3952232"/>
                <a:gd name="connsiteX1578" fmla="*/ 5285322 w 7267540"/>
                <a:gd name="connsiteY1578" fmla="*/ 2437442 h 3952232"/>
                <a:gd name="connsiteX1579" fmla="*/ 5329862 w 7267540"/>
                <a:gd name="connsiteY1579" fmla="*/ 2424111 h 3952232"/>
                <a:gd name="connsiteX1580" fmla="*/ 5318104 w 7267540"/>
                <a:gd name="connsiteY1580" fmla="*/ 2425603 h 3952232"/>
                <a:gd name="connsiteX1581" fmla="*/ 5300667 w 7267540"/>
                <a:gd name="connsiteY1581" fmla="*/ 2432169 h 3952232"/>
                <a:gd name="connsiteX1582" fmla="*/ 5318104 w 7267540"/>
                <a:gd name="connsiteY1582" fmla="*/ 2425603 h 3952232"/>
                <a:gd name="connsiteX1583" fmla="*/ 5321891 w 7267540"/>
                <a:gd name="connsiteY1583" fmla="*/ 2423116 h 3952232"/>
                <a:gd name="connsiteX1584" fmla="*/ 5338532 w 7267540"/>
                <a:gd name="connsiteY1584" fmla="*/ 2424409 h 3952232"/>
                <a:gd name="connsiteX1585" fmla="*/ 5333748 w 7267540"/>
                <a:gd name="connsiteY1585" fmla="*/ 2635820 h 3952232"/>
                <a:gd name="connsiteX1586" fmla="*/ 5324781 w 7267540"/>
                <a:gd name="connsiteY1586" fmla="*/ 2629453 h 3952232"/>
                <a:gd name="connsiteX1587" fmla="*/ 5333848 w 7267540"/>
                <a:gd name="connsiteY1587" fmla="*/ 2635820 h 3952232"/>
                <a:gd name="connsiteX1588" fmla="*/ 5389649 w 7267540"/>
                <a:gd name="connsiteY1588" fmla="*/ 2426200 h 3952232"/>
                <a:gd name="connsiteX1589" fmla="*/ 5405592 w 7267540"/>
                <a:gd name="connsiteY1589" fmla="*/ 2426996 h 3952232"/>
                <a:gd name="connsiteX1590" fmla="*/ 5373008 w 7267540"/>
                <a:gd name="connsiteY1590" fmla="*/ 2425703 h 3952232"/>
                <a:gd name="connsiteX1591" fmla="*/ 5389748 w 7267540"/>
                <a:gd name="connsiteY1591" fmla="*/ 2426200 h 3952232"/>
                <a:gd name="connsiteX1592" fmla="*/ 5412567 w 7267540"/>
                <a:gd name="connsiteY1592" fmla="*/ 2227225 h 3952232"/>
                <a:gd name="connsiteX1593" fmla="*/ 5412567 w 7267540"/>
                <a:gd name="connsiteY1593" fmla="*/ 2213596 h 3952232"/>
                <a:gd name="connsiteX1594" fmla="*/ 5415058 w 7267540"/>
                <a:gd name="connsiteY1594" fmla="*/ 2208223 h 3952232"/>
                <a:gd name="connsiteX1595" fmla="*/ 5415058 w 7267540"/>
                <a:gd name="connsiteY1595" fmla="*/ 2208223 h 3952232"/>
                <a:gd name="connsiteX1596" fmla="*/ 5416254 w 7267540"/>
                <a:gd name="connsiteY1596" fmla="*/ 2207328 h 3952232"/>
                <a:gd name="connsiteX1597" fmla="*/ 5415457 w 7267540"/>
                <a:gd name="connsiteY1597" fmla="*/ 2208223 h 3952232"/>
                <a:gd name="connsiteX1598" fmla="*/ 5423827 w 7267540"/>
                <a:gd name="connsiteY1598" fmla="*/ 2208223 h 3952232"/>
                <a:gd name="connsiteX1599" fmla="*/ 5412966 w 7267540"/>
                <a:gd name="connsiteY1599" fmla="*/ 2213198 h 3952232"/>
                <a:gd name="connsiteX1600" fmla="*/ 5412667 w 7267540"/>
                <a:gd name="connsiteY1600" fmla="*/ 2227225 h 3952232"/>
                <a:gd name="connsiteX1601" fmla="*/ 5455314 w 7267540"/>
                <a:gd name="connsiteY1601" fmla="*/ 2210213 h 3952232"/>
                <a:gd name="connsiteX1602" fmla="*/ 5431499 w 7267540"/>
                <a:gd name="connsiteY1602" fmla="*/ 2209118 h 3952232"/>
                <a:gd name="connsiteX1603" fmla="*/ 5377193 w 7267540"/>
                <a:gd name="connsiteY1603" fmla="*/ 2059489 h 3952232"/>
                <a:gd name="connsiteX1604" fmla="*/ 5375599 w 7267540"/>
                <a:gd name="connsiteY1604" fmla="*/ 2059489 h 3952232"/>
                <a:gd name="connsiteX1605" fmla="*/ 5369222 w 7267540"/>
                <a:gd name="connsiteY1605" fmla="*/ 2058594 h 3952232"/>
                <a:gd name="connsiteX1606" fmla="*/ 5365734 w 7267540"/>
                <a:gd name="connsiteY1606" fmla="*/ 2058594 h 3952232"/>
                <a:gd name="connsiteX1607" fmla="*/ 5359656 w 7267540"/>
                <a:gd name="connsiteY1607" fmla="*/ 2053719 h 3952232"/>
                <a:gd name="connsiteX1608" fmla="*/ 5369621 w 7267540"/>
                <a:gd name="connsiteY1608" fmla="*/ 2058693 h 3952232"/>
                <a:gd name="connsiteX1609" fmla="*/ 5375997 w 7267540"/>
                <a:gd name="connsiteY1609" fmla="*/ 2059589 h 3952232"/>
                <a:gd name="connsiteX1610" fmla="*/ 5378090 w 7267540"/>
                <a:gd name="connsiteY1610" fmla="*/ 2059589 h 3952232"/>
                <a:gd name="connsiteX1611" fmla="*/ 5348396 w 7267540"/>
                <a:gd name="connsiteY1611" fmla="*/ 2043770 h 3952232"/>
                <a:gd name="connsiteX1612" fmla="*/ 5358361 w 7267540"/>
                <a:gd name="connsiteY1612" fmla="*/ 2052525 h 3952232"/>
                <a:gd name="connsiteX1613" fmla="*/ 5348496 w 7267540"/>
                <a:gd name="connsiteY1613" fmla="*/ 2043770 h 3952232"/>
                <a:gd name="connsiteX1614" fmla="*/ 5336837 w 7267540"/>
                <a:gd name="connsiteY1614" fmla="*/ 2035115 h 3952232"/>
                <a:gd name="connsiteX1615" fmla="*/ 5346104 w 7267540"/>
                <a:gd name="connsiteY1615" fmla="*/ 2041681 h 3952232"/>
                <a:gd name="connsiteX1616" fmla="*/ 5336937 w 7267540"/>
                <a:gd name="connsiteY1616" fmla="*/ 2035612 h 3952232"/>
                <a:gd name="connsiteX1617" fmla="*/ 5313720 w 7267540"/>
                <a:gd name="connsiteY1617" fmla="*/ 1997310 h 3952232"/>
                <a:gd name="connsiteX1618" fmla="*/ 5318104 w 7267540"/>
                <a:gd name="connsiteY1618" fmla="*/ 2004274 h 3952232"/>
                <a:gd name="connsiteX1619" fmla="*/ 5313820 w 7267540"/>
                <a:gd name="connsiteY1619" fmla="*/ 1997310 h 3952232"/>
                <a:gd name="connsiteX1620" fmla="*/ 5313720 w 7267540"/>
                <a:gd name="connsiteY1620" fmla="*/ 1997310 h 3952232"/>
                <a:gd name="connsiteX1621" fmla="*/ 5314916 w 7267540"/>
                <a:gd name="connsiteY1621" fmla="*/ 1989450 h 3952232"/>
                <a:gd name="connsiteX1622" fmla="*/ 5308639 w 7267540"/>
                <a:gd name="connsiteY1622" fmla="*/ 1980695 h 3952232"/>
                <a:gd name="connsiteX1623" fmla="*/ 5314916 w 7267540"/>
                <a:gd name="connsiteY1623" fmla="*/ 1989450 h 3952232"/>
                <a:gd name="connsiteX1624" fmla="*/ 5313820 w 7267540"/>
                <a:gd name="connsiteY1624" fmla="*/ 1997210 h 3952232"/>
                <a:gd name="connsiteX1625" fmla="*/ 5298574 w 7267540"/>
                <a:gd name="connsiteY1625" fmla="*/ 1968458 h 3952232"/>
                <a:gd name="connsiteX1626" fmla="*/ 5308539 w 7267540"/>
                <a:gd name="connsiteY1626" fmla="*/ 1980098 h 3952232"/>
                <a:gd name="connsiteX1627" fmla="*/ 5298674 w 7267540"/>
                <a:gd name="connsiteY1627" fmla="*/ 1968359 h 3952232"/>
                <a:gd name="connsiteX1628" fmla="*/ 5301464 w 7267540"/>
                <a:gd name="connsiteY1628" fmla="*/ 1940801 h 3952232"/>
                <a:gd name="connsiteX1629" fmla="*/ 5300368 w 7267540"/>
                <a:gd name="connsiteY1629" fmla="*/ 1946671 h 3952232"/>
                <a:gd name="connsiteX1630" fmla="*/ 5299770 w 7267540"/>
                <a:gd name="connsiteY1630" fmla="*/ 1949456 h 3952232"/>
                <a:gd name="connsiteX1631" fmla="*/ 5299770 w 7267540"/>
                <a:gd name="connsiteY1631" fmla="*/ 1947665 h 3952232"/>
                <a:gd name="connsiteX1632" fmla="*/ 5299770 w 7267540"/>
                <a:gd name="connsiteY1632" fmla="*/ 1946671 h 3952232"/>
                <a:gd name="connsiteX1633" fmla="*/ 5300866 w 7267540"/>
                <a:gd name="connsiteY1633" fmla="*/ 1940801 h 3952232"/>
                <a:gd name="connsiteX1634" fmla="*/ 5300069 w 7267540"/>
                <a:gd name="connsiteY1634" fmla="*/ 1933936 h 3952232"/>
                <a:gd name="connsiteX1635" fmla="*/ 5298275 w 7267540"/>
                <a:gd name="connsiteY1635" fmla="*/ 1924883 h 3952232"/>
                <a:gd name="connsiteX1636" fmla="*/ 5300069 w 7267540"/>
                <a:gd name="connsiteY1636" fmla="*/ 1933936 h 3952232"/>
                <a:gd name="connsiteX1637" fmla="*/ 5301364 w 7267540"/>
                <a:gd name="connsiteY1637" fmla="*/ 1935727 h 3952232"/>
                <a:gd name="connsiteX1638" fmla="*/ 5301564 w 7267540"/>
                <a:gd name="connsiteY1638" fmla="*/ 1940701 h 3952232"/>
                <a:gd name="connsiteX1639" fmla="*/ 5298873 w 7267540"/>
                <a:gd name="connsiteY1639" fmla="*/ 1924584 h 3952232"/>
                <a:gd name="connsiteX1640" fmla="*/ 5298873 w 7267540"/>
                <a:gd name="connsiteY1640" fmla="*/ 1918416 h 3952232"/>
                <a:gd name="connsiteX1641" fmla="*/ 5298973 w 7267540"/>
                <a:gd name="connsiteY1641" fmla="*/ 1924485 h 3952232"/>
                <a:gd name="connsiteX1642" fmla="*/ 5298873 w 7267540"/>
                <a:gd name="connsiteY1642" fmla="*/ 1954431 h 3952232"/>
                <a:gd name="connsiteX1643" fmla="*/ 5299571 w 7267540"/>
                <a:gd name="connsiteY1643" fmla="*/ 1951744 h 3952232"/>
                <a:gd name="connsiteX1644" fmla="*/ 5299571 w 7267540"/>
                <a:gd name="connsiteY1644" fmla="*/ 1954033 h 3952232"/>
                <a:gd name="connsiteX1645" fmla="*/ 5299571 w 7267540"/>
                <a:gd name="connsiteY1645" fmla="*/ 1954033 h 3952232"/>
                <a:gd name="connsiteX1646" fmla="*/ 5297179 w 7267540"/>
                <a:gd name="connsiteY1646" fmla="*/ 1961096 h 3952232"/>
                <a:gd name="connsiteX1647" fmla="*/ 5299371 w 7267540"/>
                <a:gd name="connsiteY1647" fmla="*/ 1968259 h 3952232"/>
                <a:gd name="connsiteX1648" fmla="*/ 5295884 w 7267540"/>
                <a:gd name="connsiteY1648" fmla="*/ 1964479 h 3952232"/>
                <a:gd name="connsiteX1649" fmla="*/ 5297179 w 7267540"/>
                <a:gd name="connsiteY1649" fmla="*/ 1961096 h 3952232"/>
                <a:gd name="connsiteX1650" fmla="*/ 5298773 w 7267540"/>
                <a:gd name="connsiteY1650" fmla="*/ 1954033 h 3952232"/>
                <a:gd name="connsiteX1651" fmla="*/ 5278944 w 7267540"/>
                <a:gd name="connsiteY1651" fmla="*/ 2140970 h 3952232"/>
                <a:gd name="connsiteX1652" fmla="*/ 5276951 w 7267540"/>
                <a:gd name="connsiteY1652" fmla="*/ 2140970 h 3952232"/>
                <a:gd name="connsiteX1653" fmla="*/ 5281037 w 7267540"/>
                <a:gd name="connsiteY1653" fmla="*/ 2137786 h 3952232"/>
                <a:gd name="connsiteX1654" fmla="*/ 5279144 w 7267540"/>
                <a:gd name="connsiteY1654" fmla="*/ 2140571 h 3952232"/>
                <a:gd name="connsiteX1655" fmla="*/ 5270973 w 7267540"/>
                <a:gd name="connsiteY1655" fmla="*/ 2143059 h 3952232"/>
                <a:gd name="connsiteX1656" fmla="*/ 5265193 w 7267540"/>
                <a:gd name="connsiteY1656" fmla="*/ 2148730 h 3952232"/>
                <a:gd name="connsiteX1657" fmla="*/ 5270973 w 7267540"/>
                <a:gd name="connsiteY1657" fmla="*/ 2143059 h 3952232"/>
                <a:gd name="connsiteX1658" fmla="*/ 5276852 w 7267540"/>
                <a:gd name="connsiteY1658" fmla="*/ 2141268 h 3952232"/>
                <a:gd name="connsiteX1659" fmla="*/ 5271172 w 7267540"/>
                <a:gd name="connsiteY1659" fmla="*/ 2142661 h 3952232"/>
                <a:gd name="connsiteX1660" fmla="*/ 5261008 w 7267540"/>
                <a:gd name="connsiteY1660" fmla="*/ 2162956 h 3952232"/>
                <a:gd name="connsiteX1661" fmla="*/ 5260510 w 7267540"/>
                <a:gd name="connsiteY1661" fmla="*/ 2162956 h 3952232"/>
                <a:gd name="connsiteX1662" fmla="*/ 5261308 w 7267540"/>
                <a:gd name="connsiteY1662" fmla="*/ 2162260 h 3952232"/>
                <a:gd name="connsiteX1663" fmla="*/ 5261208 w 7267540"/>
                <a:gd name="connsiteY1663" fmla="*/ 2162558 h 3952232"/>
                <a:gd name="connsiteX1664" fmla="*/ 5235998 w 7267540"/>
                <a:gd name="connsiteY1664" fmla="*/ 2171811 h 3952232"/>
                <a:gd name="connsiteX1665" fmla="*/ 5238090 w 7267540"/>
                <a:gd name="connsiteY1665" fmla="*/ 2167931 h 3952232"/>
                <a:gd name="connsiteX1666" fmla="*/ 5244766 w 7267540"/>
                <a:gd name="connsiteY1666" fmla="*/ 2167334 h 3952232"/>
                <a:gd name="connsiteX1667" fmla="*/ 5236197 w 7267540"/>
                <a:gd name="connsiteY1667" fmla="*/ 2171413 h 3952232"/>
                <a:gd name="connsiteX1668" fmla="*/ 5231115 w 7267540"/>
                <a:gd name="connsiteY1668" fmla="*/ 2184744 h 3952232"/>
                <a:gd name="connsiteX1669" fmla="*/ 5227827 w 7267540"/>
                <a:gd name="connsiteY1669" fmla="*/ 2184744 h 3952232"/>
                <a:gd name="connsiteX1670" fmla="*/ 5219955 w 7267540"/>
                <a:gd name="connsiteY1670" fmla="*/ 2186336 h 3952232"/>
                <a:gd name="connsiteX1671" fmla="*/ 5227827 w 7267540"/>
                <a:gd name="connsiteY1671" fmla="*/ 2184744 h 3952232"/>
                <a:gd name="connsiteX1672" fmla="*/ 5231613 w 7267540"/>
                <a:gd name="connsiteY1672" fmla="*/ 2180864 h 3952232"/>
                <a:gd name="connsiteX1673" fmla="*/ 5231315 w 7267540"/>
                <a:gd name="connsiteY1673" fmla="*/ 2184844 h 3952232"/>
                <a:gd name="connsiteX1674" fmla="*/ 5193251 w 7267540"/>
                <a:gd name="connsiteY1674" fmla="*/ 2196683 h 3952232"/>
                <a:gd name="connsiteX1675" fmla="*/ 5189862 w 7267540"/>
                <a:gd name="connsiteY1675" fmla="*/ 2196683 h 3952232"/>
                <a:gd name="connsiteX1676" fmla="*/ 5197635 w 7267540"/>
                <a:gd name="connsiteY1676" fmla="*/ 2194693 h 3952232"/>
                <a:gd name="connsiteX1677" fmla="*/ 5183984 w 7267540"/>
                <a:gd name="connsiteY1677" fmla="*/ 2196683 h 3952232"/>
                <a:gd name="connsiteX1678" fmla="*/ 5189663 w 7267540"/>
                <a:gd name="connsiteY1678" fmla="*/ 2196683 h 3952232"/>
                <a:gd name="connsiteX1679" fmla="*/ 5183984 w 7267540"/>
                <a:gd name="connsiteY1679" fmla="*/ 2196683 h 3952232"/>
                <a:gd name="connsiteX1680" fmla="*/ 5177008 w 7267540"/>
                <a:gd name="connsiteY1680" fmla="*/ 2198374 h 3952232"/>
                <a:gd name="connsiteX1681" fmla="*/ 5181293 w 7267540"/>
                <a:gd name="connsiteY1681" fmla="*/ 2196484 h 3952232"/>
                <a:gd name="connsiteX1682" fmla="*/ 5151798 w 7267540"/>
                <a:gd name="connsiteY1682" fmla="*/ 1880213 h 3952232"/>
                <a:gd name="connsiteX1683" fmla="*/ 5155186 w 7267540"/>
                <a:gd name="connsiteY1683" fmla="*/ 1882899 h 3952232"/>
                <a:gd name="connsiteX1684" fmla="*/ 5151998 w 7267540"/>
                <a:gd name="connsiteY1684" fmla="*/ 1880014 h 3952232"/>
                <a:gd name="connsiteX1685" fmla="*/ 5092610 w 7267540"/>
                <a:gd name="connsiteY1685" fmla="*/ 1844696 h 3952232"/>
                <a:gd name="connsiteX1686" fmla="*/ 5092610 w 7267540"/>
                <a:gd name="connsiteY1686" fmla="*/ 1843701 h 3952232"/>
                <a:gd name="connsiteX1687" fmla="*/ 5092610 w 7267540"/>
                <a:gd name="connsiteY1687" fmla="*/ 1844397 h 3952232"/>
                <a:gd name="connsiteX1688" fmla="*/ 5088724 w 7267540"/>
                <a:gd name="connsiteY1688" fmla="*/ 1837732 h 3952232"/>
                <a:gd name="connsiteX1689" fmla="*/ 5092112 w 7267540"/>
                <a:gd name="connsiteY1689" fmla="*/ 1843502 h 3952232"/>
                <a:gd name="connsiteX1690" fmla="*/ 5088923 w 7267540"/>
                <a:gd name="connsiteY1690" fmla="*/ 1837533 h 3952232"/>
                <a:gd name="connsiteX1691" fmla="*/ 5085635 w 7267540"/>
                <a:gd name="connsiteY1691" fmla="*/ 1832360 h 3952232"/>
                <a:gd name="connsiteX1692" fmla="*/ 5085635 w 7267540"/>
                <a:gd name="connsiteY1692" fmla="*/ 1830171 h 3952232"/>
                <a:gd name="connsiteX1693" fmla="*/ 5082446 w 7267540"/>
                <a:gd name="connsiteY1693" fmla="*/ 1823306 h 3952232"/>
                <a:gd name="connsiteX1694" fmla="*/ 5085635 w 7267540"/>
                <a:gd name="connsiteY1694" fmla="*/ 1830171 h 3952232"/>
                <a:gd name="connsiteX1695" fmla="*/ 5088824 w 7267540"/>
                <a:gd name="connsiteY1695" fmla="*/ 1837334 h 3952232"/>
                <a:gd name="connsiteX1696" fmla="*/ 5086033 w 7267540"/>
                <a:gd name="connsiteY1696" fmla="*/ 1832160 h 3952232"/>
                <a:gd name="connsiteX1697" fmla="*/ 5071685 w 7267540"/>
                <a:gd name="connsiteY1697" fmla="*/ 1817436 h 3952232"/>
                <a:gd name="connsiteX1698" fmla="*/ 5070688 w 7267540"/>
                <a:gd name="connsiteY1698" fmla="*/ 1815845 h 3952232"/>
                <a:gd name="connsiteX1699" fmla="*/ 5067699 w 7267540"/>
                <a:gd name="connsiteY1699" fmla="*/ 1811467 h 3952232"/>
                <a:gd name="connsiteX1700" fmla="*/ 5067699 w 7267540"/>
                <a:gd name="connsiteY1700" fmla="*/ 1810373 h 3952232"/>
                <a:gd name="connsiteX1701" fmla="*/ 5070987 w 7267540"/>
                <a:gd name="connsiteY1701" fmla="*/ 1815845 h 3952232"/>
                <a:gd name="connsiteX1702" fmla="*/ 5074774 w 7267540"/>
                <a:gd name="connsiteY1702" fmla="*/ 1818033 h 3952232"/>
                <a:gd name="connsiteX1703" fmla="*/ 5071884 w 7267540"/>
                <a:gd name="connsiteY1703" fmla="*/ 1817237 h 3952232"/>
                <a:gd name="connsiteX1704" fmla="*/ 5064411 w 7267540"/>
                <a:gd name="connsiteY1704" fmla="*/ 1806095 h 3952232"/>
                <a:gd name="connsiteX1705" fmla="*/ 5060923 w 7267540"/>
                <a:gd name="connsiteY1705" fmla="*/ 1807189 h 3952232"/>
                <a:gd name="connsiteX1706" fmla="*/ 5064411 w 7267540"/>
                <a:gd name="connsiteY1706" fmla="*/ 1806095 h 3952232"/>
                <a:gd name="connsiteX1707" fmla="*/ 5065507 w 7267540"/>
                <a:gd name="connsiteY1707" fmla="*/ 1806891 h 3952232"/>
                <a:gd name="connsiteX1708" fmla="*/ 5064610 w 7267540"/>
                <a:gd name="connsiteY1708" fmla="*/ 1805896 h 3952232"/>
                <a:gd name="connsiteX1709" fmla="*/ 5059727 w 7267540"/>
                <a:gd name="connsiteY1709" fmla="*/ 1808483 h 3952232"/>
                <a:gd name="connsiteX1710" fmla="*/ 5057037 w 7267540"/>
                <a:gd name="connsiteY1710" fmla="*/ 1808483 h 3952232"/>
                <a:gd name="connsiteX1711" fmla="*/ 5060724 w 7267540"/>
                <a:gd name="connsiteY1711" fmla="*/ 1807289 h 3952232"/>
                <a:gd name="connsiteX1712" fmla="*/ 5059927 w 7267540"/>
                <a:gd name="connsiteY1712" fmla="*/ 1808283 h 3952232"/>
                <a:gd name="connsiteX1713" fmla="*/ 5048567 w 7267540"/>
                <a:gd name="connsiteY1713" fmla="*/ 1812064 h 3952232"/>
                <a:gd name="connsiteX1714" fmla="*/ 5052752 w 7267540"/>
                <a:gd name="connsiteY1714" fmla="*/ 1809577 h 3952232"/>
                <a:gd name="connsiteX1715" fmla="*/ 5055044 w 7267540"/>
                <a:gd name="connsiteY1715" fmla="*/ 1808980 h 3952232"/>
                <a:gd name="connsiteX1716" fmla="*/ 5048767 w 7267540"/>
                <a:gd name="connsiteY1716" fmla="*/ 1811865 h 3952232"/>
                <a:gd name="connsiteX1717" fmla="*/ 5039798 w 7267540"/>
                <a:gd name="connsiteY1717" fmla="*/ 1810870 h 3952232"/>
                <a:gd name="connsiteX1718" fmla="*/ 5033720 w 7267540"/>
                <a:gd name="connsiteY1718" fmla="*/ 1805299 h 3952232"/>
                <a:gd name="connsiteX1719" fmla="*/ 5039798 w 7267540"/>
                <a:gd name="connsiteY1719" fmla="*/ 1810870 h 3952232"/>
                <a:gd name="connsiteX1720" fmla="*/ 5043784 w 7267540"/>
                <a:gd name="connsiteY1720" fmla="*/ 1812462 h 3952232"/>
                <a:gd name="connsiteX1721" fmla="*/ 5045080 w 7267540"/>
                <a:gd name="connsiteY1721" fmla="*/ 1812462 h 3952232"/>
                <a:gd name="connsiteX1722" fmla="*/ 5039998 w 7267540"/>
                <a:gd name="connsiteY1722" fmla="*/ 1810671 h 3952232"/>
                <a:gd name="connsiteX1723" fmla="*/ 5028140 w 7267540"/>
                <a:gd name="connsiteY1723" fmla="*/ 1802513 h 3952232"/>
                <a:gd name="connsiteX1724" fmla="*/ 5032823 w 7267540"/>
                <a:gd name="connsiteY1724" fmla="*/ 1803508 h 3952232"/>
                <a:gd name="connsiteX1725" fmla="*/ 5033621 w 7267540"/>
                <a:gd name="connsiteY1725" fmla="*/ 1805001 h 3952232"/>
                <a:gd name="connsiteX1726" fmla="*/ 5028340 w 7267540"/>
                <a:gd name="connsiteY1726" fmla="*/ 1802314 h 3952232"/>
                <a:gd name="connsiteX1727" fmla="*/ 5022560 w 7267540"/>
                <a:gd name="connsiteY1727" fmla="*/ 1805001 h 3952232"/>
                <a:gd name="connsiteX1728" fmla="*/ 5027642 w 7267540"/>
                <a:gd name="connsiteY1728" fmla="*/ 1802513 h 3952232"/>
                <a:gd name="connsiteX1729" fmla="*/ 5022760 w 7267540"/>
                <a:gd name="connsiteY1729" fmla="*/ 1804801 h 3952232"/>
                <a:gd name="connsiteX1730" fmla="*/ 5018873 w 7267540"/>
                <a:gd name="connsiteY1730" fmla="*/ 1808483 h 3952232"/>
                <a:gd name="connsiteX1731" fmla="*/ 5018873 w 7267540"/>
                <a:gd name="connsiteY1731" fmla="*/ 1808483 h 3952232"/>
                <a:gd name="connsiteX1732" fmla="*/ 5013592 w 7267540"/>
                <a:gd name="connsiteY1732" fmla="*/ 1813357 h 3952232"/>
                <a:gd name="connsiteX1733" fmla="*/ 5018873 w 7267540"/>
                <a:gd name="connsiteY1733" fmla="*/ 1802513 h 3952232"/>
                <a:gd name="connsiteX1734" fmla="*/ 5018873 w 7267540"/>
                <a:gd name="connsiteY1734" fmla="*/ 1788983 h 3952232"/>
                <a:gd name="connsiteX1735" fmla="*/ 5018873 w 7267540"/>
                <a:gd name="connsiteY1735" fmla="*/ 1781621 h 3952232"/>
                <a:gd name="connsiteX1736" fmla="*/ 5018873 w 7267540"/>
                <a:gd name="connsiteY1736" fmla="*/ 1765206 h 3952232"/>
                <a:gd name="connsiteX1737" fmla="*/ 5018873 w 7267540"/>
                <a:gd name="connsiteY1737" fmla="*/ 1781621 h 3952232"/>
                <a:gd name="connsiteX1738" fmla="*/ 5018873 w 7267540"/>
                <a:gd name="connsiteY1738" fmla="*/ 1802513 h 3952232"/>
                <a:gd name="connsiteX1739" fmla="*/ 5018873 w 7267540"/>
                <a:gd name="connsiteY1739" fmla="*/ 1808483 h 3952232"/>
                <a:gd name="connsiteX1740" fmla="*/ 5021265 w 7267540"/>
                <a:gd name="connsiteY1740" fmla="*/ 1806393 h 3952232"/>
                <a:gd name="connsiteX1741" fmla="*/ 5019073 w 7267540"/>
                <a:gd name="connsiteY1741" fmla="*/ 1808283 h 3952232"/>
                <a:gd name="connsiteX1742" fmla="*/ 5018873 w 7267540"/>
                <a:gd name="connsiteY1742" fmla="*/ 1764211 h 3952232"/>
                <a:gd name="connsiteX1743" fmla="*/ 5019770 w 7267540"/>
                <a:gd name="connsiteY1743" fmla="*/ 1693276 h 3952232"/>
                <a:gd name="connsiteX1744" fmla="*/ 5019770 w 7267540"/>
                <a:gd name="connsiteY1744" fmla="*/ 1761723 h 3952232"/>
                <a:gd name="connsiteX1745" fmla="*/ 5019471 w 7267540"/>
                <a:gd name="connsiteY1745" fmla="*/ 1764012 h 3952232"/>
                <a:gd name="connsiteX1746" fmla="*/ 4904881 w 7267540"/>
                <a:gd name="connsiteY1746" fmla="*/ 1941398 h 3952232"/>
                <a:gd name="connsiteX1747" fmla="*/ 4895912 w 7267540"/>
                <a:gd name="connsiteY1747" fmla="*/ 1942094 h 3952232"/>
                <a:gd name="connsiteX1748" fmla="*/ 4905478 w 7267540"/>
                <a:gd name="connsiteY1748" fmla="*/ 1941199 h 3952232"/>
                <a:gd name="connsiteX1749" fmla="*/ 4605948 w 7267540"/>
                <a:gd name="connsiteY1749" fmla="*/ 2056405 h 3952232"/>
                <a:gd name="connsiteX1750" fmla="*/ 4602162 w 7267540"/>
                <a:gd name="connsiteY1750" fmla="*/ 2053321 h 3952232"/>
                <a:gd name="connsiteX1751" fmla="*/ 4600866 w 7267540"/>
                <a:gd name="connsiteY1751" fmla="*/ 2047949 h 3952232"/>
                <a:gd name="connsiteX1752" fmla="*/ 4606347 w 7267540"/>
                <a:gd name="connsiteY1752" fmla="*/ 2056206 h 3952232"/>
                <a:gd name="connsiteX1753" fmla="*/ 4605948 w 7267540"/>
                <a:gd name="connsiteY1753" fmla="*/ 2056405 h 3952232"/>
                <a:gd name="connsiteX1754" fmla="*/ 4611030 w 7267540"/>
                <a:gd name="connsiteY1754" fmla="*/ 2067050 h 3952232"/>
                <a:gd name="connsiteX1755" fmla="*/ 4606446 w 7267540"/>
                <a:gd name="connsiteY1755" fmla="*/ 2056306 h 3952232"/>
                <a:gd name="connsiteX1756" fmla="*/ 4629464 w 7267540"/>
                <a:gd name="connsiteY1756" fmla="*/ 2011835 h 3952232"/>
                <a:gd name="connsiteX1757" fmla="*/ 4630959 w 7267540"/>
                <a:gd name="connsiteY1757" fmla="*/ 2014322 h 3952232"/>
                <a:gd name="connsiteX1758" fmla="*/ 4628268 w 7267540"/>
                <a:gd name="connsiteY1758" fmla="*/ 2018102 h 3952232"/>
                <a:gd name="connsiteX1759" fmla="*/ 4629962 w 7267540"/>
                <a:gd name="connsiteY1759" fmla="*/ 2011735 h 3952232"/>
                <a:gd name="connsiteX1760" fmla="*/ 4627671 w 7267540"/>
                <a:gd name="connsiteY1760" fmla="*/ 2005766 h 3952232"/>
                <a:gd name="connsiteX1761" fmla="*/ 4629464 w 7267540"/>
                <a:gd name="connsiteY1761" fmla="*/ 2011735 h 3952232"/>
                <a:gd name="connsiteX1762" fmla="*/ 4627671 w 7267540"/>
                <a:gd name="connsiteY1762" fmla="*/ 2005766 h 3952232"/>
                <a:gd name="connsiteX1763" fmla="*/ 4630361 w 7267540"/>
                <a:gd name="connsiteY1763" fmla="*/ 1999896 h 3952232"/>
                <a:gd name="connsiteX1764" fmla="*/ 4627671 w 7267540"/>
                <a:gd name="connsiteY1764" fmla="*/ 2005766 h 3952232"/>
                <a:gd name="connsiteX1765" fmla="*/ 4627671 w 7267540"/>
                <a:gd name="connsiteY1765" fmla="*/ 2018799 h 3952232"/>
                <a:gd name="connsiteX1766" fmla="*/ 4626973 w 7267540"/>
                <a:gd name="connsiteY1766" fmla="*/ 2019396 h 3952232"/>
                <a:gd name="connsiteX1767" fmla="*/ 4623386 w 7267540"/>
                <a:gd name="connsiteY1767" fmla="*/ 2019993 h 3952232"/>
                <a:gd name="connsiteX1768" fmla="*/ 4628169 w 7267540"/>
                <a:gd name="connsiteY1768" fmla="*/ 2018600 h 3952232"/>
                <a:gd name="connsiteX1769" fmla="*/ 4614717 w 7267540"/>
                <a:gd name="connsiteY1769" fmla="*/ 2214690 h 3952232"/>
                <a:gd name="connsiteX1770" fmla="*/ 4613023 w 7267540"/>
                <a:gd name="connsiteY1770" fmla="*/ 2203746 h 3952232"/>
                <a:gd name="connsiteX1771" fmla="*/ 4614717 w 7267540"/>
                <a:gd name="connsiteY1771" fmla="*/ 2214690 h 3952232"/>
                <a:gd name="connsiteX1772" fmla="*/ 4676895 w 7267540"/>
                <a:gd name="connsiteY1772" fmla="*/ 1844099 h 3952232"/>
                <a:gd name="connsiteX1773" fmla="*/ 4678290 w 7267540"/>
                <a:gd name="connsiteY1773" fmla="*/ 1830071 h 3952232"/>
                <a:gd name="connsiteX1774" fmla="*/ 4676895 w 7267540"/>
                <a:gd name="connsiteY1774" fmla="*/ 1844199 h 3952232"/>
                <a:gd name="connsiteX1775" fmla="*/ 4623884 w 7267540"/>
                <a:gd name="connsiteY1775" fmla="*/ 1956022 h 3952232"/>
                <a:gd name="connsiteX1776" fmla="*/ 4623884 w 7267540"/>
                <a:gd name="connsiteY1776" fmla="*/ 1948064 h 3952232"/>
                <a:gd name="connsiteX1777" fmla="*/ 4623884 w 7267540"/>
                <a:gd name="connsiteY1777" fmla="*/ 1956022 h 3952232"/>
                <a:gd name="connsiteX1778" fmla="*/ 4627173 w 7267540"/>
                <a:gd name="connsiteY1778" fmla="*/ 1964479 h 3952232"/>
                <a:gd name="connsiteX1779" fmla="*/ 4620497 w 7267540"/>
                <a:gd name="connsiteY1779" fmla="*/ 1976915 h 3952232"/>
                <a:gd name="connsiteX1780" fmla="*/ 4619699 w 7267540"/>
                <a:gd name="connsiteY1780" fmla="*/ 1976915 h 3952232"/>
                <a:gd name="connsiteX1781" fmla="*/ 4616909 w 7267540"/>
                <a:gd name="connsiteY1781" fmla="*/ 1979601 h 3952232"/>
                <a:gd name="connsiteX1782" fmla="*/ 4616112 w 7267540"/>
                <a:gd name="connsiteY1782" fmla="*/ 1982685 h 3952232"/>
                <a:gd name="connsiteX1783" fmla="*/ 4615514 w 7267540"/>
                <a:gd name="connsiteY1783" fmla="*/ 1980496 h 3952232"/>
                <a:gd name="connsiteX1784" fmla="*/ 4616909 w 7267540"/>
                <a:gd name="connsiteY1784" fmla="*/ 1979601 h 3952232"/>
                <a:gd name="connsiteX1785" fmla="*/ 4619699 w 7267540"/>
                <a:gd name="connsiteY1785" fmla="*/ 1976915 h 3952232"/>
                <a:gd name="connsiteX1786" fmla="*/ 4627671 w 7267540"/>
                <a:gd name="connsiteY1786" fmla="*/ 1963981 h 3952232"/>
                <a:gd name="connsiteX1787" fmla="*/ 4617208 w 7267540"/>
                <a:gd name="connsiteY1787" fmla="*/ 1988256 h 3952232"/>
                <a:gd name="connsiteX1788" fmla="*/ 4617906 w 7267540"/>
                <a:gd name="connsiteY1788" fmla="*/ 1991838 h 3952232"/>
                <a:gd name="connsiteX1789" fmla="*/ 4617009 w 7267540"/>
                <a:gd name="connsiteY1789" fmla="*/ 1995419 h 3952232"/>
                <a:gd name="connsiteX1790" fmla="*/ 4616809 w 7267540"/>
                <a:gd name="connsiteY1790" fmla="*/ 1987759 h 3952232"/>
                <a:gd name="connsiteX1791" fmla="*/ 4617208 w 7267540"/>
                <a:gd name="connsiteY1791" fmla="*/ 1995917 h 3952232"/>
                <a:gd name="connsiteX1792" fmla="*/ 4614817 w 7267540"/>
                <a:gd name="connsiteY1792" fmla="*/ 2003876 h 3952232"/>
                <a:gd name="connsiteX1793" fmla="*/ 4616511 w 7267540"/>
                <a:gd name="connsiteY1793" fmla="*/ 1995817 h 3952232"/>
                <a:gd name="connsiteX1794" fmla="*/ 4601265 w 7267540"/>
                <a:gd name="connsiteY1794" fmla="*/ 2038696 h 3952232"/>
                <a:gd name="connsiteX1795" fmla="*/ 4601863 w 7267540"/>
                <a:gd name="connsiteY1795" fmla="*/ 2048048 h 3952232"/>
                <a:gd name="connsiteX1796" fmla="*/ 4601265 w 7267540"/>
                <a:gd name="connsiteY1796" fmla="*/ 2038696 h 3952232"/>
                <a:gd name="connsiteX1797" fmla="*/ 4603258 w 7267540"/>
                <a:gd name="connsiteY1797" fmla="*/ 2034617 h 3952232"/>
                <a:gd name="connsiteX1798" fmla="*/ 4603955 w 7267540"/>
                <a:gd name="connsiteY1798" fmla="*/ 2034120 h 3952232"/>
                <a:gd name="connsiteX1799" fmla="*/ 4600568 w 7267540"/>
                <a:gd name="connsiteY1799" fmla="*/ 2038199 h 3952232"/>
                <a:gd name="connsiteX1800" fmla="*/ 4481692 w 7267540"/>
                <a:gd name="connsiteY1800" fmla="*/ 2153107 h 3952232"/>
                <a:gd name="connsiteX1801" fmla="*/ 4481692 w 7267540"/>
                <a:gd name="connsiteY1801" fmla="*/ 2154301 h 3952232"/>
                <a:gd name="connsiteX1802" fmla="*/ 4481692 w 7267540"/>
                <a:gd name="connsiteY1802" fmla="*/ 2152013 h 3952232"/>
                <a:gd name="connsiteX1803" fmla="*/ 4481692 w 7267540"/>
                <a:gd name="connsiteY1803" fmla="*/ 2150819 h 3952232"/>
                <a:gd name="connsiteX1804" fmla="*/ 4481692 w 7267540"/>
                <a:gd name="connsiteY1804" fmla="*/ 2150819 h 3952232"/>
                <a:gd name="connsiteX1805" fmla="*/ 4481692 w 7267540"/>
                <a:gd name="connsiteY1805" fmla="*/ 2151814 h 3952232"/>
                <a:gd name="connsiteX1806" fmla="*/ 4480995 w 7267540"/>
                <a:gd name="connsiteY1806" fmla="*/ 2152610 h 3952232"/>
                <a:gd name="connsiteX1807" fmla="*/ 4407258 w 7267540"/>
                <a:gd name="connsiteY1807" fmla="*/ 2017705 h 3952232"/>
                <a:gd name="connsiteX1808" fmla="*/ 4403571 w 7267540"/>
                <a:gd name="connsiteY1808" fmla="*/ 2013825 h 3952232"/>
                <a:gd name="connsiteX1809" fmla="*/ 4406959 w 7267540"/>
                <a:gd name="connsiteY1809" fmla="*/ 2015715 h 3952232"/>
                <a:gd name="connsiteX1810" fmla="*/ 4406959 w 7267540"/>
                <a:gd name="connsiteY1810" fmla="*/ 2017705 h 3952232"/>
                <a:gd name="connsiteX1811" fmla="*/ 4409251 w 7267540"/>
                <a:gd name="connsiteY1811" fmla="*/ 2022679 h 3952232"/>
                <a:gd name="connsiteX1812" fmla="*/ 4412838 w 7267540"/>
                <a:gd name="connsiteY1812" fmla="*/ 2026260 h 3952232"/>
                <a:gd name="connsiteX1813" fmla="*/ 4409649 w 7267540"/>
                <a:gd name="connsiteY1813" fmla="*/ 2024669 h 3952232"/>
                <a:gd name="connsiteX1814" fmla="*/ 4409649 w 7267540"/>
                <a:gd name="connsiteY1814" fmla="*/ 2022679 h 3952232"/>
                <a:gd name="connsiteX1815" fmla="*/ 4406560 w 7267540"/>
                <a:gd name="connsiteY1815" fmla="*/ 2017207 h 3952232"/>
                <a:gd name="connsiteX1816" fmla="*/ 4295756 w 7267540"/>
                <a:gd name="connsiteY1816" fmla="*/ 2515142 h 3952232"/>
                <a:gd name="connsiteX1817" fmla="*/ 4297450 w 7267540"/>
                <a:gd name="connsiteY1817" fmla="*/ 2518922 h 3952232"/>
                <a:gd name="connsiteX1818" fmla="*/ 4299343 w 7267540"/>
                <a:gd name="connsiteY1818" fmla="*/ 2521409 h 3952232"/>
                <a:gd name="connsiteX1819" fmla="*/ 4297649 w 7267540"/>
                <a:gd name="connsiteY1819" fmla="*/ 2524593 h 3952232"/>
                <a:gd name="connsiteX1820" fmla="*/ 4297649 w 7267540"/>
                <a:gd name="connsiteY1820" fmla="*/ 2518922 h 3952232"/>
                <a:gd name="connsiteX1821" fmla="*/ 4295955 w 7267540"/>
                <a:gd name="connsiteY1821" fmla="*/ 2515142 h 3952232"/>
                <a:gd name="connsiteX1822" fmla="*/ 4294561 w 7267540"/>
                <a:gd name="connsiteY1822" fmla="*/ 2513351 h 3952232"/>
                <a:gd name="connsiteX1823" fmla="*/ 4296354 w 7267540"/>
                <a:gd name="connsiteY1823" fmla="*/ 2511560 h 3952232"/>
                <a:gd name="connsiteX1824" fmla="*/ 4298745 w 7267540"/>
                <a:gd name="connsiteY1824" fmla="*/ 2507382 h 3952232"/>
                <a:gd name="connsiteX1825" fmla="*/ 4299343 w 7267540"/>
                <a:gd name="connsiteY1825" fmla="*/ 2505392 h 3952232"/>
                <a:gd name="connsiteX1826" fmla="*/ 4299343 w 7267540"/>
                <a:gd name="connsiteY1826" fmla="*/ 2506486 h 3952232"/>
                <a:gd name="connsiteX1827" fmla="*/ 4298546 w 7267540"/>
                <a:gd name="connsiteY1827" fmla="*/ 2507382 h 3952232"/>
                <a:gd name="connsiteX1828" fmla="*/ 4296155 w 7267540"/>
                <a:gd name="connsiteY1828" fmla="*/ 2511560 h 3952232"/>
                <a:gd name="connsiteX1829" fmla="*/ 4295059 w 7267540"/>
                <a:gd name="connsiteY1829" fmla="*/ 2514445 h 3952232"/>
                <a:gd name="connsiteX1830" fmla="*/ 4232681 w 7267540"/>
                <a:gd name="connsiteY1830" fmla="*/ 2767740 h 3952232"/>
                <a:gd name="connsiteX1831" fmla="*/ 4233578 w 7267540"/>
                <a:gd name="connsiteY1831" fmla="*/ 2775102 h 3952232"/>
                <a:gd name="connsiteX1832" fmla="*/ 4231984 w 7267540"/>
                <a:gd name="connsiteY1832" fmla="*/ 2767044 h 3952232"/>
                <a:gd name="connsiteX1833" fmla="*/ 4186247 w 7267540"/>
                <a:gd name="connsiteY1833" fmla="*/ 1668902 h 3952232"/>
                <a:gd name="connsiteX1834" fmla="*/ 4187742 w 7267540"/>
                <a:gd name="connsiteY1834" fmla="*/ 1688799 h 3952232"/>
                <a:gd name="connsiteX1835" fmla="*/ 4192325 w 7267540"/>
                <a:gd name="connsiteY1835" fmla="*/ 1692679 h 3952232"/>
                <a:gd name="connsiteX1836" fmla="*/ 4187742 w 7267540"/>
                <a:gd name="connsiteY1836" fmla="*/ 1688799 h 3952232"/>
                <a:gd name="connsiteX1837" fmla="*/ 4185550 w 7267540"/>
                <a:gd name="connsiteY1837" fmla="*/ 1668205 h 3952232"/>
                <a:gd name="connsiteX1838" fmla="*/ 4164724 w 7267540"/>
                <a:gd name="connsiteY1838" fmla="*/ 1575582 h 3952232"/>
                <a:gd name="connsiteX1839" fmla="*/ 4165920 w 7267540"/>
                <a:gd name="connsiteY1839" fmla="*/ 1580059 h 3952232"/>
                <a:gd name="connsiteX1840" fmla="*/ 4169407 w 7267540"/>
                <a:gd name="connsiteY1840" fmla="*/ 1584934 h 3952232"/>
                <a:gd name="connsiteX1841" fmla="*/ 4165820 w 7267540"/>
                <a:gd name="connsiteY1841" fmla="*/ 1581253 h 3952232"/>
                <a:gd name="connsiteX1842" fmla="*/ 4165820 w 7267540"/>
                <a:gd name="connsiteY1842" fmla="*/ 1580059 h 3952232"/>
                <a:gd name="connsiteX1843" fmla="*/ 4164027 w 7267540"/>
                <a:gd name="connsiteY1843" fmla="*/ 1574886 h 3952232"/>
                <a:gd name="connsiteX1844" fmla="*/ 2852511 w 7267540"/>
                <a:gd name="connsiteY1844" fmla="*/ 1662733 h 3952232"/>
                <a:gd name="connsiteX1845" fmla="*/ 2852511 w 7267540"/>
                <a:gd name="connsiteY1845" fmla="*/ 1531211 h 3952232"/>
                <a:gd name="connsiteX1846" fmla="*/ 2852511 w 7267540"/>
                <a:gd name="connsiteY1846" fmla="*/ 1662037 h 3952232"/>
                <a:gd name="connsiteX1847" fmla="*/ 3301906 w 7267540"/>
                <a:gd name="connsiteY1847" fmla="*/ 1166291 h 3952232"/>
                <a:gd name="connsiteX1848" fmla="*/ 3286262 w 7267540"/>
                <a:gd name="connsiteY1848" fmla="*/ 1159825 h 3952232"/>
                <a:gd name="connsiteX1849" fmla="*/ 3301209 w 7267540"/>
                <a:gd name="connsiteY1849" fmla="*/ 1165595 h 3952232"/>
                <a:gd name="connsiteX1850" fmla="*/ 3204255 w 7267540"/>
                <a:gd name="connsiteY1850" fmla="*/ 1160322 h 3952232"/>
                <a:gd name="connsiteX1851" fmla="*/ 3238532 w 7267540"/>
                <a:gd name="connsiteY1851" fmla="*/ 1160322 h 3952232"/>
                <a:gd name="connsiteX1852" fmla="*/ 3285863 w 7267540"/>
                <a:gd name="connsiteY1852" fmla="*/ 1160322 h 3952232"/>
                <a:gd name="connsiteX1853" fmla="*/ 3255970 w 7267540"/>
                <a:gd name="connsiteY1853" fmla="*/ 1160322 h 3952232"/>
                <a:gd name="connsiteX1854" fmla="*/ 3238433 w 7267540"/>
                <a:gd name="connsiteY1854" fmla="*/ 1160322 h 3952232"/>
                <a:gd name="connsiteX1855" fmla="*/ 3203557 w 7267540"/>
                <a:gd name="connsiteY1855" fmla="*/ 1160123 h 3952232"/>
                <a:gd name="connsiteX1856" fmla="*/ 3368667 w 7267540"/>
                <a:gd name="connsiteY1856" fmla="*/ 1198824 h 3952232"/>
                <a:gd name="connsiteX1857" fmla="*/ 3373849 w 7267540"/>
                <a:gd name="connsiteY1857" fmla="*/ 1193650 h 3952232"/>
                <a:gd name="connsiteX1858" fmla="*/ 3367970 w 7267540"/>
                <a:gd name="connsiteY1858" fmla="*/ 1198127 h 3952232"/>
                <a:gd name="connsiteX1859" fmla="*/ 3435130 w 7267540"/>
                <a:gd name="connsiteY1859" fmla="*/ 1184000 h 3952232"/>
                <a:gd name="connsiteX1860" fmla="*/ 3443998 w 7267540"/>
                <a:gd name="connsiteY1860" fmla="*/ 1184000 h 3952232"/>
                <a:gd name="connsiteX1861" fmla="*/ 3434433 w 7267540"/>
                <a:gd name="connsiteY1861" fmla="*/ 1183304 h 3952232"/>
                <a:gd name="connsiteX1862" fmla="*/ 3492226 w 7267540"/>
                <a:gd name="connsiteY1862" fmla="*/ 1207081 h 3952232"/>
                <a:gd name="connsiteX1863" fmla="*/ 3499400 w 7267540"/>
                <a:gd name="connsiteY1863" fmla="*/ 1205887 h 3952232"/>
                <a:gd name="connsiteX1864" fmla="*/ 3491728 w 7267540"/>
                <a:gd name="connsiteY1864" fmla="*/ 1206385 h 3952232"/>
                <a:gd name="connsiteX1865" fmla="*/ 3503287 w 7267540"/>
                <a:gd name="connsiteY1865" fmla="*/ 1207081 h 3952232"/>
                <a:gd name="connsiteX1866" fmla="*/ 3512155 w 7267540"/>
                <a:gd name="connsiteY1866" fmla="*/ 1211259 h 3952232"/>
                <a:gd name="connsiteX1867" fmla="*/ 3502589 w 7267540"/>
                <a:gd name="connsiteY1867" fmla="*/ 1206186 h 3952232"/>
                <a:gd name="connsiteX1868" fmla="*/ 3513251 w 7267540"/>
                <a:gd name="connsiteY1868" fmla="*/ 1211558 h 3952232"/>
                <a:gd name="connsiteX1869" fmla="*/ 3514746 w 7267540"/>
                <a:gd name="connsiteY1869" fmla="*/ 1214642 h 3952232"/>
                <a:gd name="connsiteX1870" fmla="*/ 3515941 w 7267540"/>
                <a:gd name="connsiteY1870" fmla="*/ 1217726 h 3952232"/>
                <a:gd name="connsiteX1871" fmla="*/ 3514746 w 7267540"/>
                <a:gd name="connsiteY1871" fmla="*/ 1214642 h 3952232"/>
                <a:gd name="connsiteX1872" fmla="*/ 3512354 w 7267540"/>
                <a:gd name="connsiteY1872" fmla="*/ 1210663 h 3952232"/>
                <a:gd name="connsiteX1873" fmla="*/ 3549023 w 7267540"/>
                <a:gd name="connsiteY1873" fmla="*/ 1164301 h 3952232"/>
                <a:gd name="connsiteX1874" fmla="*/ 3548226 w 7267540"/>
                <a:gd name="connsiteY1874" fmla="*/ 1163605 h 3952232"/>
                <a:gd name="connsiteX1875" fmla="*/ 3549223 w 7267540"/>
                <a:gd name="connsiteY1875" fmla="*/ 1162909 h 3952232"/>
                <a:gd name="connsiteX1876" fmla="*/ 3549223 w 7267540"/>
                <a:gd name="connsiteY1876" fmla="*/ 1164301 h 3952232"/>
                <a:gd name="connsiteX1877" fmla="*/ 3550618 w 7267540"/>
                <a:gd name="connsiteY1877" fmla="*/ 1166789 h 3952232"/>
                <a:gd name="connsiteX1878" fmla="*/ 3551415 w 7267540"/>
                <a:gd name="connsiteY1878" fmla="*/ 1167485 h 3952232"/>
                <a:gd name="connsiteX1879" fmla="*/ 3550119 w 7267540"/>
                <a:gd name="connsiteY1879" fmla="*/ 1168778 h 3952232"/>
                <a:gd name="connsiteX1880" fmla="*/ 3550618 w 7267540"/>
                <a:gd name="connsiteY1880" fmla="*/ 1166789 h 3952232"/>
                <a:gd name="connsiteX1881" fmla="*/ 3548127 w 7267540"/>
                <a:gd name="connsiteY1881" fmla="*/ 1163406 h 3952232"/>
                <a:gd name="connsiteX1882" fmla="*/ 3634418 w 7267540"/>
                <a:gd name="connsiteY1882" fmla="*/ 1508329 h 3952232"/>
                <a:gd name="connsiteX1883" fmla="*/ 3634418 w 7267540"/>
                <a:gd name="connsiteY1883" fmla="*/ 1511015 h 3952232"/>
                <a:gd name="connsiteX1884" fmla="*/ 3635714 w 7267540"/>
                <a:gd name="connsiteY1884" fmla="*/ 1514398 h 3952232"/>
                <a:gd name="connsiteX1885" fmla="*/ 3634418 w 7267540"/>
                <a:gd name="connsiteY1885" fmla="*/ 1511015 h 3952232"/>
                <a:gd name="connsiteX1886" fmla="*/ 3633721 w 7267540"/>
                <a:gd name="connsiteY1886" fmla="*/ 1509921 h 3952232"/>
                <a:gd name="connsiteX1887" fmla="*/ 3633721 w 7267540"/>
                <a:gd name="connsiteY1887" fmla="*/ 1508329 h 3952232"/>
                <a:gd name="connsiteX1888" fmla="*/ 3633721 w 7267540"/>
                <a:gd name="connsiteY1888" fmla="*/ 1504449 h 3952232"/>
                <a:gd name="connsiteX1889" fmla="*/ 3632525 w 7267540"/>
                <a:gd name="connsiteY1889" fmla="*/ 1499574 h 3952232"/>
                <a:gd name="connsiteX1890" fmla="*/ 3634219 w 7267540"/>
                <a:gd name="connsiteY1890" fmla="*/ 1501962 h 3952232"/>
                <a:gd name="connsiteX1891" fmla="*/ 3633721 w 7267540"/>
                <a:gd name="connsiteY1891" fmla="*/ 1504449 h 3952232"/>
                <a:gd name="connsiteX1892" fmla="*/ 3634418 w 7267540"/>
                <a:gd name="connsiteY1892" fmla="*/ 1508329 h 3952232"/>
                <a:gd name="connsiteX1893" fmla="*/ 3630134 w 7267540"/>
                <a:gd name="connsiteY1893" fmla="*/ 1490023 h 3952232"/>
                <a:gd name="connsiteX1894" fmla="*/ 3630134 w 7267540"/>
                <a:gd name="connsiteY1894" fmla="*/ 1475896 h 3952232"/>
                <a:gd name="connsiteX1895" fmla="*/ 3630134 w 7267540"/>
                <a:gd name="connsiteY1895" fmla="*/ 1489924 h 3952232"/>
                <a:gd name="connsiteX1896" fmla="*/ 3633023 w 7267540"/>
                <a:gd name="connsiteY1896" fmla="*/ 1522854 h 3952232"/>
                <a:gd name="connsiteX1897" fmla="*/ 3634219 w 7267540"/>
                <a:gd name="connsiteY1897" fmla="*/ 1521163 h 3952232"/>
                <a:gd name="connsiteX1898" fmla="*/ 3633522 w 7267540"/>
                <a:gd name="connsiteY1898" fmla="*/ 1528027 h 3952232"/>
                <a:gd name="connsiteX1899" fmla="*/ 3633522 w 7267540"/>
                <a:gd name="connsiteY1899" fmla="*/ 1532803 h 3952232"/>
                <a:gd name="connsiteX1900" fmla="*/ 3632126 w 7267540"/>
                <a:gd name="connsiteY1900" fmla="*/ 1534594 h 3952232"/>
                <a:gd name="connsiteX1901" fmla="*/ 3628539 w 7267540"/>
                <a:gd name="connsiteY1901" fmla="*/ 1539369 h 3952232"/>
                <a:gd name="connsiteX1902" fmla="*/ 3632126 w 7267540"/>
                <a:gd name="connsiteY1902" fmla="*/ 1534594 h 3952232"/>
                <a:gd name="connsiteX1903" fmla="*/ 3633023 w 7267540"/>
                <a:gd name="connsiteY1903" fmla="*/ 1528027 h 3952232"/>
                <a:gd name="connsiteX1904" fmla="*/ 3628938 w 7267540"/>
                <a:gd name="connsiteY1904" fmla="*/ 1544841 h 3952232"/>
                <a:gd name="connsiteX1905" fmla="*/ 3627045 w 7267540"/>
                <a:gd name="connsiteY1905" fmla="*/ 1540861 h 3952232"/>
                <a:gd name="connsiteX1906" fmla="*/ 3628938 w 7267540"/>
                <a:gd name="connsiteY1906" fmla="*/ 1539568 h 3952232"/>
                <a:gd name="connsiteX1907" fmla="*/ 3628938 w 7267540"/>
                <a:gd name="connsiteY1907" fmla="*/ 1544741 h 3952232"/>
                <a:gd name="connsiteX1908" fmla="*/ 3643785 w 7267540"/>
                <a:gd name="connsiteY1908" fmla="*/ 1560162 h 3952232"/>
                <a:gd name="connsiteX1909" fmla="*/ 3635913 w 7267540"/>
                <a:gd name="connsiteY1909" fmla="*/ 1551705 h 3952232"/>
                <a:gd name="connsiteX1910" fmla="*/ 3643785 w 7267540"/>
                <a:gd name="connsiteY1910" fmla="*/ 1560062 h 3952232"/>
                <a:gd name="connsiteX1911" fmla="*/ 3630034 w 7267540"/>
                <a:gd name="connsiteY1911" fmla="*/ 1494003 h 3952232"/>
                <a:gd name="connsiteX1912" fmla="*/ 3630034 w 7267540"/>
                <a:gd name="connsiteY1912" fmla="*/ 1490222 h 3952232"/>
                <a:gd name="connsiteX1913" fmla="*/ 3631728 w 7267540"/>
                <a:gd name="connsiteY1913" fmla="*/ 1496689 h 3952232"/>
                <a:gd name="connsiteX1914" fmla="*/ 3630034 w 7267540"/>
                <a:gd name="connsiteY1914" fmla="*/ 1493903 h 3952232"/>
                <a:gd name="connsiteX1915" fmla="*/ 3630034 w 7267540"/>
                <a:gd name="connsiteY1915" fmla="*/ 1475299 h 3952232"/>
                <a:gd name="connsiteX1916" fmla="*/ 3631031 w 7267540"/>
                <a:gd name="connsiteY1916" fmla="*/ 1466246 h 3952232"/>
                <a:gd name="connsiteX1917" fmla="*/ 3630034 w 7267540"/>
                <a:gd name="connsiteY1917" fmla="*/ 1475200 h 3952232"/>
                <a:gd name="connsiteX1918" fmla="*/ 3599144 w 7267540"/>
                <a:gd name="connsiteY1918" fmla="*/ 1399291 h 3952232"/>
                <a:gd name="connsiteX1919" fmla="*/ 3603728 w 7267540"/>
                <a:gd name="connsiteY1919" fmla="*/ 1364968 h 3952232"/>
                <a:gd name="connsiteX1920" fmla="*/ 3599144 w 7267540"/>
                <a:gd name="connsiteY1920" fmla="*/ 1398893 h 3952232"/>
                <a:gd name="connsiteX1921" fmla="*/ 3571443 w 7267540"/>
                <a:gd name="connsiteY1921" fmla="*/ 1292939 h 3952232"/>
                <a:gd name="connsiteX1922" fmla="*/ 3567956 w 7267540"/>
                <a:gd name="connsiteY1922" fmla="*/ 1279806 h 3952232"/>
                <a:gd name="connsiteX1923" fmla="*/ 3562475 w 7267540"/>
                <a:gd name="connsiteY1923" fmla="*/ 1272146 h 3952232"/>
                <a:gd name="connsiteX1924" fmla="*/ 3561778 w 7267540"/>
                <a:gd name="connsiteY1924" fmla="*/ 1266574 h 3952232"/>
                <a:gd name="connsiteX1925" fmla="*/ 3567956 w 7267540"/>
                <a:gd name="connsiteY1925" fmla="*/ 1279806 h 3952232"/>
                <a:gd name="connsiteX1926" fmla="*/ 3571443 w 7267540"/>
                <a:gd name="connsiteY1926" fmla="*/ 1292939 h 3952232"/>
                <a:gd name="connsiteX1927" fmla="*/ 3564468 w 7267540"/>
                <a:gd name="connsiteY1927" fmla="*/ 1253144 h 3952232"/>
                <a:gd name="connsiteX1928" fmla="*/ 3561778 w 7267540"/>
                <a:gd name="connsiteY1928" fmla="*/ 1266574 h 3952232"/>
                <a:gd name="connsiteX1929" fmla="*/ 3564269 w 7267540"/>
                <a:gd name="connsiteY1929" fmla="*/ 1252845 h 3952232"/>
                <a:gd name="connsiteX1930" fmla="*/ 3549422 w 7267540"/>
                <a:gd name="connsiteY1930" fmla="*/ 1154353 h 3952232"/>
                <a:gd name="connsiteX1931" fmla="*/ 3548525 w 7267540"/>
                <a:gd name="connsiteY1931" fmla="*/ 1153059 h 3952232"/>
                <a:gd name="connsiteX1932" fmla="*/ 3551016 w 7267540"/>
                <a:gd name="connsiteY1932" fmla="*/ 1151269 h 3952232"/>
                <a:gd name="connsiteX1933" fmla="*/ 3554304 w 7267540"/>
                <a:gd name="connsiteY1933" fmla="*/ 1148781 h 3952232"/>
                <a:gd name="connsiteX1934" fmla="*/ 3551016 w 7267540"/>
                <a:gd name="connsiteY1934" fmla="*/ 1151269 h 3952232"/>
                <a:gd name="connsiteX1935" fmla="*/ 3549422 w 7267540"/>
                <a:gd name="connsiteY1935" fmla="*/ 1154353 h 3952232"/>
                <a:gd name="connsiteX1936" fmla="*/ 3550618 w 7267540"/>
                <a:gd name="connsiteY1936" fmla="*/ 1157835 h 3952232"/>
                <a:gd name="connsiteX1937" fmla="*/ 3551514 w 7267540"/>
                <a:gd name="connsiteY1937" fmla="*/ 1158929 h 3952232"/>
                <a:gd name="connsiteX1938" fmla="*/ 3550219 w 7267540"/>
                <a:gd name="connsiteY1938" fmla="*/ 1160123 h 3952232"/>
                <a:gd name="connsiteX1939" fmla="*/ 3550219 w 7267540"/>
                <a:gd name="connsiteY1939" fmla="*/ 1157835 h 3952232"/>
                <a:gd name="connsiteX1940" fmla="*/ 3549223 w 7267540"/>
                <a:gd name="connsiteY1940" fmla="*/ 1154054 h 3952232"/>
                <a:gd name="connsiteX1941" fmla="*/ 3550119 w 7267540"/>
                <a:gd name="connsiteY1941" fmla="*/ 1160222 h 3952232"/>
                <a:gd name="connsiteX1942" fmla="*/ 3548625 w 7267540"/>
                <a:gd name="connsiteY1942" fmla="*/ 1162113 h 3952232"/>
                <a:gd name="connsiteX1943" fmla="*/ 3549920 w 7267540"/>
                <a:gd name="connsiteY1943" fmla="*/ 1160123 h 3952232"/>
                <a:gd name="connsiteX1944" fmla="*/ 3553507 w 7267540"/>
                <a:gd name="connsiteY1944" fmla="*/ 1235534 h 3952232"/>
                <a:gd name="connsiteX1945" fmla="*/ 3549721 w 7267540"/>
                <a:gd name="connsiteY1945" fmla="*/ 1227078 h 3952232"/>
                <a:gd name="connsiteX1946" fmla="*/ 3553308 w 7267540"/>
                <a:gd name="connsiteY1946" fmla="*/ 1235236 h 3952232"/>
                <a:gd name="connsiteX1947" fmla="*/ 3550119 w 7267540"/>
                <a:gd name="connsiteY1947" fmla="*/ 1247174 h 3952232"/>
                <a:gd name="connsiteX1948" fmla="*/ 3552212 w 7267540"/>
                <a:gd name="connsiteY1948" fmla="*/ 1247771 h 3952232"/>
                <a:gd name="connsiteX1949" fmla="*/ 3555201 w 7267540"/>
                <a:gd name="connsiteY1949" fmla="*/ 1247174 h 3952232"/>
                <a:gd name="connsiteX1950" fmla="*/ 3552212 w 7267540"/>
                <a:gd name="connsiteY1950" fmla="*/ 1247771 h 3952232"/>
                <a:gd name="connsiteX1951" fmla="*/ 3550518 w 7267540"/>
                <a:gd name="connsiteY1951" fmla="*/ 1248468 h 3952232"/>
                <a:gd name="connsiteX1952" fmla="*/ 3550518 w 7267540"/>
                <a:gd name="connsiteY1952" fmla="*/ 1247174 h 3952232"/>
                <a:gd name="connsiteX1953" fmla="*/ 3548525 w 7267540"/>
                <a:gd name="connsiteY1953" fmla="*/ 1244687 h 3952232"/>
                <a:gd name="connsiteX1954" fmla="*/ 3549920 w 7267540"/>
                <a:gd name="connsiteY1954" fmla="*/ 1246876 h 3952232"/>
                <a:gd name="connsiteX1955" fmla="*/ 3553507 w 7267540"/>
                <a:gd name="connsiteY1955" fmla="*/ 1243593 h 3952232"/>
                <a:gd name="connsiteX1956" fmla="*/ 3557493 w 7267540"/>
                <a:gd name="connsiteY1956" fmla="*/ 1246478 h 3952232"/>
                <a:gd name="connsiteX1957" fmla="*/ 3560682 w 7267540"/>
                <a:gd name="connsiteY1957" fmla="*/ 1248468 h 3952232"/>
                <a:gd name="connsiteX1958" fmla="*/ 3555301 w 7267540"/>
                <a:gd name="connsiteY1958" fmla="*/ 1247174 h 3952232"/>
                <a:gd name="connsiteX1959" fmla="*/ 3557493 w 7267540"/>
                <a:gd name="connsiteY1959" fmla="*/ 1246478 h 3952232"/>
                <a:gd name="connsiteX1960" fmla="*/ 3553308 w 7267540"/>
                <a:gd name="connsiteY1960" fmla="*/ 1243294 h 3952232"/>
                <a:gd name="connsiteX1961" fmla="*/ 3554404 w 7267540"/>
                <a:gd name="connsiteY1961" fmla="*/ 1148682 h 3952232"/>
                <a:gd name="connsiteX1962" fmla="*/ 3555700 w 7267540"/>
                <a:gd name="connsiteY1962" fmla="*/ 1147190 h 3952232"/>
                <a:gd name="connsiteX1963" fmla="*/ 3555700 w 7267540"/>
                <a:gd name="connsiteY1963" fmla="*/ 1148085 h 3952232"/>
                <a:gd name="connsiteX1964" fmla="*/ 3554205 w 7267540"/>
                <a:gd name="connsiteY1964" fmla="*/ 1148384 h 3952232"/>
                <a:gd name="connsiteX1965" fmla="*/ 3556497 w 7267540"/>
                <a:gd name="connsiteY1965" fmla="*/ 1145200 h 3952232"/>
                <a:gd name="connsiteX1966" fmla="*/ 3556497 w 7267540"/>
                <a:gd name="connsiteY1966" fmla="*/ 1145200 h 3952232"/>
                <a:gd name="connsiteX1967" fmla="*/ 3556497 w 7267540"/>
                <a:gd name="connsiteY1967" fmla="*/ 1144503 h 3952232"/>
                <a:gd name="connsiteX1968" fmla="*/ 3557294 w 7267540"/>
                <a:gd name="connsiteY1968" fmla="*/ 1142812 h 3952232"/>
                <a:gd name="connsiteX1969" fmla="*/ 3557294 w 7267540"/>
                <a:gd name="connsiteY1969" fmla="*/ 1138534 h 3952232"/>
                <a:gd name="connsiteX1970" fmla="*/ 3558490 w 7267540"/>
                <a:gd name="connsiteY1970" fmla="*/ 1140026 h 3952232"/>
                <a:gd name="connsiteX1971" fmla="*/ 3557094 w 7267540"/>
                <a:gd name="connsiteY1971" fmla="*/ 1142514 h 3952232"/>
                <a:gd name="connsiteX1972" fmla="*/ 3554404 w 7267540"/>
                <a:gd name="connsiteY1972" fmla="*/ 1128187 h 3952232"/>
                <a:gd name="connsiteX1973" fmla="*/ 3557194 w 7267540"/>
                <a:gd name="connsiteY1973" fmla="*/ 1138136 h 3952232"/>
                <a:gd name="connsiteX1974" fmla="*/ 3554205 w 7267540"/>
                <a:gd name="connsiteY1974" fmla="*/ 1127889 h 3952232"/>
                <a:gd name="connsiteX1975" fmla="*/ 3553507 w 7267540"/>
                <a:gd name="connsiteY1975" fmla="*/ 1121124 h 3952232"/>
                <a:gd name="connsiteX1976" fmla="*/ 3554404 w 7267540"/>
                <a:gd name="connsiteY1976" fmla="*/ 1128187 h 3952232"/>
                <a:gd name="connsiteX1977" fmla="*/ 3553308 w 7267540"/>
                <a:gd name="connsiteY1977" fmla="*/ 1120825 h 3952232"/>
                <a:gd name="connsiteX1978" fmla="*/ 3549422 w 7267540"/>
                <a:gd name="connsiteY1978" fmla="*/ 1226382 h 3952232"/>
                <a:gd name="connsiteX1979" fmla="*/ 3541351 w 7267540"/>
                <a:gd name="connsiteY1979" fmla="*/ 1215239 h 3952232"/>
                <a:gd name="connsiteX1980" fmla="*/ 3547529 w 7267540"/>
                <a:gd name="connsiteY1980" fmla="*/ 1220611 h 3952232"/>
                <a:gd name="connsiteX1981" fmla="*/ 3547529 w 7267540"/>
                <a:gd name="connsiteY1981" fmla="*/ 1243493 h 3952232"/>
                <a:gd name="connsiteX1982" fmla="*/ 3548027 w 7267540"/>
                <a:gd name="connsiteY1982" fmla="*/ 1244687 h 3952232"/>
                <a:gd name="connsiteX1983" fmla="*/ 3544041 w 7267540"/>
                <a:gd name="connsiteY1983" fmla="*/ 1243891 h 3952232"/>
                <a:gd name="connsiteX1984" fmla="*/ 3655643 w 7267540"/>
                <a:gd name="connsiteY1984" fmla="*/ 1662335 h 3952232"/>
                <a:gd name="connsiteX1985" fmla="*/ 3689422 w 7267540"/>
                <a:gd name="connsiteY1985" fmla="*/ 1662335 h 3952232"/>
                <a:gd name="connsiteX1986" fmla="*/ 3699984 w 7267540"/>
                <a:gd name="connsiteY1986" fmla="*/ 1662335 h 3952232"/>
                <a:gd name="connsiteX1987" fmla="*/ 3702874 w 7267540"/>
                <a:gd name="connsiteY1987" fmla="*/ 1665420 h 3952232"/>
                <a:gd name="connsiteX1988" fmla="*/ 3689422 w 7267540"/>
                <a:gd name="connsiteY1988" fmla="*/ 1662335 h 3952232"/>
                <a:gd name="connsiteX1989" fmla="*/ 3655643 w 7267540"/>
                <a:gd name="connsiteY1989" fmla="*/ 1662335 h 3952232"/>
                <a:gd name="connsiteX1990" fmla="*/ 3640198 w 7267540"/>
                <a:gd name="connsiteY1990" fmla="*/ 1662335 h 3952232"/>
                <a:gd name="connsiteX1991" fmla="*/ 3643187 w 7267540"/>
                <a:gd name="connsiteY1991" fmla="*/ 1568021 h 3952232"/>
                <a:gd name="connsiteX1992" fmla="*/ 3644383 w 7267540"/>
                <a:gd name="connsiteY1992" fmla="*/ 1574488 h 3952232"/>
                <a:gd name="connsiteX1993" fmla="*/ 3643187 w 7267540"/>
                <a:gd name="connsiteY1993" fmla="*/ 1568021 h 3952232"/>
                <a:gd name="connsiteX1994" fmla="*/ 3674774 w 7267540"/>
                <a:gd name="connsiteY1994" fmla="*/ 1621745 h 3952232"/>
                <a:gd name="connsiteX1995" fmla="*/ 3678860 w 7267540"/>
                <a:gd name="connsiteY1995" fmla="*/ 1622839 h 3952232"/>
                <a:gd name="connsiteX1996" fmla="*/ 3689820 w 7267540"/>
                <a:gd name="connsiteY1996" fmla="*/ 1655769 h 3952232"/>
                <a:gd name="connsiteX1997" fmla="*/ 3693607 w 7267540"/>
                <a:gd name="connsiteY1997" fmla="*/ 1658257 h 3952232"/>
                <a:gd name="connsiteX1998" fmla="*/ 3689820 w 7267540"/>
                <a:gd name="connsiteY1998" fmla="*/ 1655869 h 3952232"/>
                <a:gd name="connsiteX1999" fmla="*/ 3750603 w 7267540"/>
                <a:gd name="connsiteY1999" fmla="*/ 1686312 h 3952232"/>
                <a:gd name="connsiteX2000" fmla="*/ 3755586 w 7267540"/>
                <a:gd name="connsiteY2000" fmla="*/ 1703623 h 3952232"/>
                <a:gd name="connsiteX2001" fmla="*/ 3750803 w 7267540"/>
                <a:gd name="connsiteY2001" fmla="*/ 1686411 h 3952232"/>
                <a:gd name="connsiteX2002" fmla="*/ 3733564 w 7267540"/>
                <a:gd name="connsiteY2002" fmla="*/ 1681238 h 3952232"/>
                <a:gd name="connsiteX2003" fmla="*/ 3744625 w 7267540"/>
                <a:gd name="connsiteY2003" fmla="*/ 1678850 h 3952232"/>
                <a:gd name="connsiteX2004" fmla="*/ 3733564 w 7267540"/>
                <a:gd name="connsiteY2004" fmla="*/ 1681338 h 3952232"/>
                <a:gd name="connsiteX2005" fmla="*/ 3728682 w 7267540"/>
                <a:gd name="connsiteY2005" fmla="*/ 1684919 h 3952232"/>
                <a:gd name="connsiteX2006" fmla="*/ 3726689 w 7267540"/>
                <a:gd name="connsiteY2006" fmla="*/ 1683725 h 3952232"/>
                <a:gd name="connsiteX2007" fmla="*/ 3733066 w 7267540"/>
                <a:gd name="connsiteY2007" fmla="*/ 1681437 h 3952232"/>
                <a:gd name="connsiteX2008" fmla="*/ 3728682 w 7267540"/>
                <a:gd name="connsiteY2008" fmla="*/ 1685019 h 3952232"/>
                <a:gd name="connsiteX2009" fmla="*/ 3709749 w 7267540"/>
                <a:gd name="connsiteY2009" fmla="*/ 1671886 h 3952232"/>
                <a:gd name="connsiteX2010" fmla="*/ 3709749 w 7267540"/>
                <a:gd name="connsiteY2010" fmla="*/ 1671886 h 3952232"/>
                <a:gd name="connsiteX2011" fmla="*/ 3702974 w 7267540"/>
                <a:gd name="connsiteY2011" fmla="*/ 1665619 h 3952232"/>
                <a:gd name="connsiteX2012" fmla="*/ 3709749 w 7267540"/>
                <a:gd name="connsiteY2012" fmla="*/ 1671886 h 3952232"/>
                <a:gd name="connsiteX2013" fmla="*/ 3726788 w 7267540"/>
                <a:gd name="connsiteY2013" fmla="*/ 1684223 h 3952232"/>
                <a:gd name="connsiteX2014" fmla="*/ 3709749 w 7267540"/>
                <a:gd name="connsiteY2014" fmla="*/ 1671986 h 3952232"/>
                <a:gd name="connsiteX2015" fmla="*/ 3752596 w 7267540"/>
                <a:gd name="connsiteY2015" fmla="*/ 1761425 h 3952232"/>
                <a:gd name="connsiteX2016" fmla="*/ 3753194 w 7267540"/>
                <a:gd name="connsiteY2016" fmla="*/ 1775751 h 3952232"/>
                <a:gd name="connsiteX2017" fmla="*/ 3752596 w 7267540"/>
                <a:gd name="connsiteY2017" fmla="*/ 1761525 h 3952232"/>
                <a:gd name="connsiteX2018" fmla="*/ 3762561 w 7267540"/>
                <a:gd name="connsiteY2018" fmla="*/ 1788884 h 3952232"/>
                <a:gd name="connsiteX2019" fmla="*/ 3753194 w 7267540"/>
                <a:gd name="connsiteY2019" fmla="*/ 1776249 h 3952232"/>
                <a:gd name="connsiteX2020" fmla="*/ 3762760 w 7267540"/>
                <a:gd name="connsiteY2020" fmla="*/ 1788983 h 3952232"/>
                <a:gd name="connsiteX2021" fmla="*/ 3790262 w 7267540"/>
                <a:gd name="connsiteY2021" fmla="*/ 1800225 h 3952232"/>
                <a:gd name="connsiteX2022" fmla="*/ 3783685 w 7267540"/>
                <a:gd name="connsiteY2022" fmla="*/ 1798036 h 3952232"/>
                <a:gd name="connsiteX2023" fmla="*/ 3790660 w 7267540"/>
                <a:gd name="connsiteY2023" fmla="*/ 1800325 h 3952232"/>
                <a:gd name="connsiteX2024" fmla="*/ 3783287 w 7267540"/>
                <a:gd name="connsiteY2024" fmla="*/ 1797738 h 3952232"/>
                <a:gd name="connsiteX2025" fmla="*/ 3777308 w 7267540"/>
                <a:gd name="connsiteY2025" fmla="*/ 1795947 h 3952232"/>
                <a:gd name="connsiteX2026" fmla="*/ 3773023 w 7267540"/>
                <a:gd name="connsiteY2026" fmla="*/ 1796444 h 3952232"/>
                <a:gd name="connsiteX2027" fmla="*/ 3771329 w 7267540"/>
                <a:gd name="connsiteY2027" fmla="*/ 1797241 h 3952232"/>
                <a:gd name="connsiteX2028" fmla="*/ 3769635 w 7267540"/>
                <a:gd name="connsiteY2028" fmla="*/ 1795649 h 3952232"/>
                <a:gd name="connsiteX2029" fmla="*/ 3765351 w 7267540"/>
                <a:gd name="connsiteY2029" fmla="*/ 1792266 h 3952232"/>
                <a:gd name="connsiteX2030" fmla="*/ 3763059 w 7267540"/>
                <a:gd name="connsiteY2030" fmla="*/ 1789481 h 3952232"/>
                <a:gd name="connsiteX2031" fmla="*/ 3769635 w 7267540"/>
                <a:gd name="connsiteY2031" fmla="*/ 1795649 h 3952232"/>
                <a:gd name="connsiteX2032" fmla="*/ 3773023 w 7267540"/>
                <a:gd name="connsiteY2032" fmla="*/ 1796444 h 3952232"/>
                <a:gd name="connsiteX2033" fmla="*/ 3777308 w 7267540"/>
                <a:gd name="connsiteY2033" fmla="*/ 1795947 h 3952232"/>
                <a:gd name="connsiteX2034" fmla="*/ 3779301 w 7267540"/>
                <a:gd name="connsiteY2034" fmla="*/ 1795251 h 3952232"/>
                <a:gd name="connsiteX2035" fmla="*/ 3783486 w 7267540"/>
                <a:gd name="connsiteY2035" fmla="*/ 1797837 h 3952232"/>
                <a:gd name="connsiteX2036" fmla="*/ 3643187 w 7267540"/>
                <a:gd name="connsiteY2036" fmla="*/ 1568021 h 3952232"/>
                <a:gd name="connsiteX2037" fmla="*/ 3643187 w 7267540"/>
                <a:gd name="connsiteY2037" fmla="*/ 1566629 h 3952232"/>
                <a:gd name="connsiteX2038" fmla="*/ 3644283 w 7267540"/>
                <a:gd name="connsiteY2038" fmla="*/ 1560958 h 3952232"/>
                <a:gd name="connsiteX2039" fmla="*/ 3645180 w 7267540"/>
                <a:gd name="connsiteY2039" fmla="*/ 1563644 h 3952232"/>
                <a:gd name="connsiteX2040" fmla="*/ 3643785 w 7267540"/>
                <a:gd name="connsiteY2040" fmla="*/ 1566629 h 3952232"/>
                <a:gd name="connsiteX2041" fmla="*/ 3643187 w 7267540"/>
                <a:gd name="connsiteY2041" fmla="*/ 1568021 h 3952232"/>
                <a:gd name="connsiteX2042" fmla="*/ 4152867 w 7267540"/>
                <a:gd name="connsiteY2042" fmla="*/ 1563545 h 3952232"/>
                <a:gd name="connsiteX2043" fmla="*/ 4150276 w 7267540"/>
                <a:gd name="connsiteY2043" fmla="*/ 1562649 h 3952232"/>
                <a:gd name="connsiteX2044" fmla="*/ 4130845 w 7267540"/>
                <a:gd name="connsiteY2044" fmla="*/ 1562649 h 3952232"/>
                <a:gd name="connsiteX2045" fmla="*/ 4150276 w 7267540"/>
                <a:gd name="connsiteY2045" fmla="*/ 1562649 h 3952232"/>
                <a:gd name="connsiteX2046" fmla="*/ 4152169 w 7267540"/>
                <a:gd name="connsiteY2046" fmla="*/ 1562649 h 3952232"/>
                <a:gd name="connsiteX2047" fmla="*/ 4152867 w 7267540"/>
                <a:gd name="connsiteY2047" fmla="*/ 1563545 h 3952232"/>
                <a:gd name="connsiteX2048" fmla="*/ 4156155 w 7267540"/>
                <a:gd name="connsiteY2048" fmla="*/ 1567624 h 3952232"/>
                <a:gd name="connsiteX2049" fmla="*/ 4156155 w 7267540"/>
                <a:gd name="connsiteY2049" fmla="*/ 1568917 h 3952232"/>
                <a:gd name="connsiteX2050" fmla="*/ 4152867 w 7267540"/>
                <a:gd name="connsiteY2050" fmla="*/ 1563445 h 3952232"/>
                <a:gd name="connsiteX2051" fmla="*/ 4159343 w 7267540"/>
                <a:gd name="connsiteY2051" fmla="*/ 1572200 h 3952232"/>
                <a:gd name="connsiteX2052" fmla="*/ 4156354 w 7267540"/>
                <a:gd name="connsiteY2052" fmla="*/ 1568917 h 3952232"/>
                <a:gd name="connsiteX2053" fmla="*/ 4159343 w 7267540"/>
                <a:gd name="connsiteY2053" fmla="*/ 1572100 h 3952232"/>
                <a:gd name="connsiteX2054" fmla="*/ 4161834 w 7267540"/>
                <a:gd name="connsiteY2054" fmla="*/ 1573294 h 3952232"/>
                <a:gd name="connsiteX2055" fmla="*/ 4164126 w 7267540"/>
                <a:gd name="connsiteY2055" fmla="*/ 1573294 h 3952232"/>
                <a:gd name="connsiteX2056" fmla="*/ 4164126 w 7267540"/>
                <a:gd name="connsiteY2056" fmla="*/ 1574488 h 3952232"/>
                <a:gd name="connsiteX2057" fmla="*/ 4161834 w 7267540"/>
                <a:gd name="connsiteY2057" fmla="*/ 1573195 h 3952232"/>
                <a:gd name="connsiteX2058" fmla="*/ 4229891 w 7267540"/>
                <a:gd name="connsiteY2058" fmla="*/ 1526834 h 3952232"/>
                <a:gd name="connsiteX2059" fmla="*/ 4232183 w 7267540"/>
                <a:gd name="connsiteY2059" fmla="*/ 1524147 h 3952232"/>
                <a:gd name="connsiteX2060" fmla="*/ 4241052 w 7267540"/>
                <a:gd name="connsiteY2060" fmla="*/ 1514199 h 3952232"/>
                <a:gd name="connsiteX2061" fmla="*/ 4232183 w 7267540"/>
                <a:gd name="connsiteY2061" fmla="*/ 1524147 h 3952232"/>
                <a:gd name="connsiteX2062" fmla="*/ 4230390 w 7267540"/>
                <a:gd name="connsiteY2062" fmla="*/ 1529022 h 3952232"/>
                <a:gd name="connsiteX2063" fmla="*/ 4229891 w 7267540"/>
                <a:gd name="connsiteY2063" fmla="*/ 1526734 h 3952232"/>
                <a:gd name="connsiteX2064" fmla="*/ 4282503 w 7267540"/>
                <a:gd name="connsiteY2064" fmla="*/ 1829474 h 3952232"/>
                <a:gd name="connsiteX2065" fmla="*/ 4277721 w 7267540"/>
                <a:gd name="connsiteY2065" fmla="*/ 1816342 h 3952232"/>
                <a:gd name="connsiteX2066" fmla="*/ 4280411 w 7267540"/>
                <a:gd name="connsiteY2066" fmla="*/ 1805199 h 3952232"/>
                <a:gd name="connsiteX2067" fmla="*/ 4277721 w 7267540"/>
                <a:gd name="connsiteY2067" fmla="*/ 1816342 h 3952232"/>
                <a:gd name="connsiteX2068" fmla="*/ 4282503 w 7267540"/>
                <a:gd name="connsiteY2068" fmla="*/ 1829375 h 3952232"/>
                <a:gd name="connsiteX2069" fmla="*/ 4314888 w 7267540"/>
                <a:gd name="connsiteY2069" fmla="*/ 1284084 h 3952232"/>
                <a:gd name="connsiteX2070" fmla="*/ 4314888 w 7267540"/>
                <a:gd name="connsiteY2070" fmla="*/ 1278513 h 3952232"/>
                <a:gd name="connsiteX2071" fmla="*/ 4314888 w 7267540"/>
                <a:gd name="connsiteY2071" fmla="*/ 1283985 h 3952232"/>
                <a:gd name="connsiteX2072" fmla="*/ 4325550 w 7267540"/>
                <a:gd name="connsiteY2072" fmla="*/ 1390934 h 3952232"/>
                <a:gd name="connsiteX2073" fmla="*/ 4327443 w 7267540"/>
                <a:gd name="connsiteY2073" fmla="*/ 1382975 h 3952232"/>
                <a:gd name="connsiteX2074" fmla="*/ 4328240 w 7267540"/>
                <a:gd name="connsiteY2074" fmla="*/ 1379294 h 3952232"/>
                <a:gd name="connsiteX2075" fmla="*/ 4328240 w 7267540"/>
                <a:gd name="connsiteY2075" fmla="*/ 1381682 h 3952232"/>
                <a:gd name="connsiteX2076" fmla="*/ 4327144 w 7267540"/>
                <a:gd name="connsiteY2076" fmla="*/ 1382975 h 3952232"/>
                <a:gd name="connsiteX2077" fmla="*/ 4325251 w 7267540"/>
                <a:gd name="connsiteY2077" fmla="*/ 1390934 h 3952232"/>
                <a:gd name="connsiteX2078" fmla="*/ 4325251 w 7267540"/>
                <a:gd name="connsiteY2078" fmla="*/ 1397500 h 3952232"/>
                <a:gd name="connsiteX2079" fmla="*/ 4315286 w 7267540"/>
                <a:gd name="connsiteY2079" fmla="*/ 1404265 h 3952232"/>
                <a:gd name="connsiteX2080" fmla="*/ 4325251 w 7267540"/>
                <a:gd name="connsiteY2080" fmla="*/ 1397500 h 3952232"/>
                <a:gd name="connsiteX2081" fmla="*/ 4325550 w 7267540"/>
                <a:gd name="connsiteY2081" fmla="*/ 1390834 h 3952232"/>
                <a:gd name="connsiteX2082" fmla="*/ 4328539 w 7267540"/>
                <a:gd name="connsiteY2082" fmla="*/ 1373623 h 3952232"/>
                <a:gd name="connsiteX2083" fmla="*/ 4331429 w 7267540"/>
                <a:gd name="connsiteY2083" fmla="*/ 1371036 h 3952232"/>
                <a:gd name="connsiteX2084" fmla="*/ 4336511 w 7267540"/>
                <a:gd name="connsiteY2084" fmla="*/ 1366758 h 3952232"/>
                <a:gd name="connsiteX2085" fmla="*/ 4338304 w 7267540"/>
                <a:gd name="connsiteY2085" fmla="*/ 1366161 h 3952232"/>
                <a:gd name="connsiteX2086" fmla="*/ 4331429 w 7267540"/>
                <a:gd name="connsiteY2086" fmla="*/ 1371036 h 3952232"/>
                <a:gd name="connsiteX2087" fmla="*/ 4328639 w 7267540"/>
                <a:gd name="connsiteY2087" fmla="*/ 1376508 h 3952232"/>
                <a:gd name="connsiteX2088" fmla="*/ 4328738 w 7267540"/>
                <a:gd name="connsiteY2088" fmla="*/ 1373523 h 3952232"/>
                <a:gd name="connsiteX2089" fmla="*/ 4345777 w 7267540"/>
                <a:gd name="connsiteY2089" fmla="*/ 1353129 h 3952232"/>
                <a:gd name="connsiteX2090" fmla="*/ 4347671 w 7267540"/>
                <a:gd name="connsiteY2090" fmla="*/ 1343677 h 3952232"/>
                <a:gd name="connsiteX2091" fmla="*/ 4347671 w 7267540"/>
                <a:gd name="connsiteY2091" fmla="*/ 1349746 h 3952232"/>
                <a:gd name="connsiteX2092" fmla="*/ 4345977 w 7267540"/>
                <a:gd name="connsiteY2092" fmla="*/ 1353129 h 3952232"/>
                <a:gd name="connsiteX2093" fmla="*/ 4345977 w 7267540"/>
                <a:gd name="connsiteY2093" fmla="*/ 1361784 h 3952232"/>
                <a:gd name="connsiteX2094" fmla="*/ 4345777 w 7267540"/>
                <a:gd name="connsiteY2094" fmla="*/ 1353029 h 3952232"/>
                <a:gd name="connsiteX2095" fmla="*/ 4359429 w 7267540"/>
                <a:gd name="connsiteY2095" fmla="*/ 2245133 h 3952232"/>
                <a:gd name="connsiteX2096" fmla="*/ 4359429 w 7267540"/>
                <a:gd name="connsiteY2096" fmla="*/ 2250903 h 3952232"/>
                <a:gd name="connsiteX2097" fmla="*/ 4359429 w 7267540"/>
                <a:gd name="connsiteY2097" fmla="*/ 2245133 h 3952232"/>
                <a:gd name="connsiteX2098" fmla="*/ 4357934 w 7267540"/>
                <a:gd name="connsiteY2098" fmla="*/ 2239562 h 3952232"/>
                <a:gd name="connsiteX2099" fmla="*/ 4359429 w 7267540"/>
                <a:gd name="connsiteY2099" fmla="*/ 2245033 h 3952232"/>
                <a:gd name="connsiteX2100" fmla="*/ 4358632 w 7267540"/>
                <a:gd name="connsiteY2100" fmla="*/ 2252793 h 3952232"/>
                <a:gd name="connsiteX2101" fmla="*/ 4353450 w 7267540"/>
                <a:gd name="connsiteY2101" fmla="*/ 2259061 h 3952232"/>
                <a:gd name="connsiteX2102" fmla="*/ 4349664 w 7267540"/>
                <a:gd name="connsiteY2102" fmla="*/ 2264732 h 3952232"/>
                <a:gd name="connsiteX2103" fmla="*/ 4353450 w 7267540"/>
                <a:gd name="connsiteY2103" fmla="*/ 2259061 h 3952232"/>
                <a:gd name="connsiteX2104" fmla="*/ 4358632 w 7267540"/>
                <a:gd name="connsiteY2104" fmla="*/ 2252694 h 3952232"/>
                <a:gd name="connsiteX2105" fmla="*/ 4349464 w 7267540"/>
                <a:gd name="connsiteY2105" fmla="*/ 2226330 h 3952232"/>
                <a:gd name="connsiteX2106" fmla="*/ 4351457 w 7267540"/>
                <a:gd name="connsiteY2106" fmla="*/ 2234786 h 3952232"/>
                <a:gd name="connsiteX2107" fmla="*/ 4349464 w 7267540"/>
                <a:gd name="connsiteY2107" fmla="*/ 2226230 h 3952232"/>
                <a:gd name="connsiteX2108" fmla="*/ 4330532 w 7267540"/>
                <a:gd name="connsiteY2108" fmla="*/ 1837234 h 3952232"/>
                <a:gd name="connsiteX2109" fmla="*/ 4311101 w 7267540"/>
                <a:gd name="connsiteY2109" fmla="*/ 1831464 h 3952232"/>
                <a:gd name="connsiteX2110" fmla="*/ 4305023 w 7267540"/>
                <a:gd name="connsiteY2110" fmla="*/ 1837433 h 3952232"/>
                <a:gd name="connsiteX2111" fmla="*/ 4305023 w 7267540"/>
                <a:gd name="connsiteY2111" fmla="*/ 1839324 h 3952232"/>
                <a:gd name="connsiteX2112" fmla="*/ 4301237 w 7267540"/>
                <a:gd name="connsiteY2112" fmla="*/ 1843303 h 3952232"/>
                <a:gd name="connsiteX2113" fmla="*/ 4305422 w 7267540"/>
                <a:gd name="connsiteY2113" fmla="*/ 1837433 h 3952232"/>
                <a:gd name="connsiteX2114" fmla="*/ 4311500 w 7267540"/>
                <a:gd name="connsiteY2114" fmla="*/ 1831464 h 3952232"/>
                <a:gd name="connsiteX2115" fmla="*/ 4317977 w 7267540"/>
                <a:gd name="connsiteY2115" fmla="*/ 1831464 h 3952232"/>
                <a:gd name="connsiteX2116" fmla="*/ 4333422 w 7267540"/>
                <a:gd name="connsiteY2116" fmla="*/ 1838030 h 3952232"/>
                <a:gd name="connsiteX2117" fmla="*/ 4334219 w 7267540"/>
                <a:gd name="connsiteY2117" fmla="*/ 1905383 h 3952232"/>
                <a:gd name="connsiteX2118" fmla="*/ 4331130 w 7267540"/>
                <a:gd name="connsiteY2118" fmla="*/ 1914138 h 3952232"/>
                <a:gd name="connsiteX2119" fmla="*/ 4334219 w 7267540"/>
                <a:gd name="connsiteY2119" fmla="*/ 1905284 h 3952232"/>
                <a:gd name="connsiteX2120" fmla="*/ 4320567 w 7267540"/>
                <a:gd name="connsiteY2120" fmla="*/ 1933837 h 3952232"/>
                <a:gd name="connsiteX2121" fmla="*/ 4321265 w 7267540"/>
                <a:gd name="connsiteY2121" fmla="*/ 1931747 h 3952232"/>
                <a:gd name="connsiteX2122" fmla="*/ 4323557 w 7267540"/>
                <a:gd name="connsiteY2122" fmla="*/ 1925778 h 3952232"/>
                <a:gd name="connsiteX2123" fmla="*/ 4325649 w 7267540"/>
                <a:gd name="connsiteY2123" fmla="*/ 1923291 h 3952232"/>
                <a:gd name="connsiteX2124" fmla="*/ 4321265 w 7267540"/>
                <a:gd name="connsiteY2124" fmla="*/ 1931747 h 3952232"/>
                <a:gd name="connsiteX2125" fmla="*/ 4320567 w 7267540"/>
                <a:gd name="connsiteY2125" fmla="*/ 1937617 h 3952232"/>
                <a:gd name="connsiteX2126" fmla="*/ 4320567 w 7267540"/>
                <a:gd name="connsiteY2126" fmla="*/ 1933737 h 3952232"/>
                <a:gd name="connsiteX2127" fmla="*/ 4326347 w 7267540"/>
                <a:gd name="connsiteY2127" fmla="*/ 1955027 h 3952232"/>
                <a:gd name="connsiteX2128" fmla="*/ 4321165 w 7267540"/>
                <a:gd name="connsiteY2128" fmla="*/ 1942791 h 3952232"/>
                <a:gd name="connsiteX2129" fmla="*/ 4326347 w 7267540"/>
                <a:gd name="connsiteY2129" fmla="*/ 1954928 h 3952232"/>
                <a:gd name="connsiteX2130" fmla="*/ 4334318 w 7267540"/>
                <a:gd name="connsiteY2130" fmla="*/ 1905284 h 3952232"/>
                <a:gd name="connsiteX2131" fmla="*/ 4334318 w 7267540"/>
                <a:gd name="connsiteY2131" fmla="*/ 1902996 h 3952232"/>
                <a:gd name="connsiteX2132" fmla="*/ 4335315 w 7267540"/>
                <a:gd name="connsiteY2132" fmla="*/ 1901205 h 3952232"/>
                <a:gd name="connsiteX2133" fmla="*/ 4341493 w 7267540"/>
                <a:gd name="connsiteY2133" fmla="*/ 1891952 h 3952232"/>
                <a:gd name="connsiteX2134" fmla="*/ 4344781 w 7267540"/>
                <a:gd name="connsiteY2134" fmla="*/ 1882004 h 3952232"/>
                <a:gd name="connsiteX2135" fmla="*/ 4341493 w 7267540"/>
                <a:gd name="connsiteY2135" fmla="*/ 1891754 h 3952232"/>
                <a:gd name="connsiteX2136" fmla="*/ 4343187 w 7267540"/>
                <a:gd name="connsiteY2136" fmla="*/ 1875537 h 3952232"/>
                <a:gd name="connsiteX2137" fmla="*/ 4343187 w 7267540"/>
                <a:gd name="connsiteY2137" fmla="*/ 1876134 h 3952232"/>
                <a:gd name="connsiteX2138" fmla="*/ 4344383 w 7267540"/>
                <a:gd name="connsiteY2138" fmla="*/ 1881108 h 3952232"/>
                <a:gd name="connsiteX2139" fmla="*/ 4344383 w 7267540"/>
                <a:gd name="connsiteY2139" fmla="*/ 1880113 h 3952232"/>
                <a:gd name="connsiteX2140" fmla="*/ 4343087 w 7267540"/>
                <a:gd name="connsiteY2140" fmla="*/ 1875537 h 3952232"/>
                <a:gd name="connsiteX2141" fmla="*/ 4344283 w 7267540"/>
                <a:gd name="connsiteY2141" fmla="*/ 1865588 h 3952232"/>
                <a:gd name="connsiteX2142" fmla="*/ 4352354 w 7267540"/>
                <a:gd name="connsiteY2142" fmla="*/ 1856237 h 3952232"/>
                <a:gd name="connsiteX2143" fmla="*/ 4344283 w 7267540"/>
                <a:gd name="connsiteY2143" fmla="*/ 1865588 h 3952232"/>
                <a:gd name="connsiteX2144" fmla="*/ 4343187 w 7267540"/>
                <a:gd name="connsiteY2144" fmla="*/ 1875338 h 3952232"/>
                <a:gd name="connsiteX2145" fmla="*/ 4333222 w 7267540"/>
                <a:gd name="connsiteY2145" fmla="*/ 1838130 h 3952232"/>
                <a:gd name="connsiteX2146" fmla="*/ 4346575 w 7267540"/>
                <a:gd name="connsiteY2146" fmla="*/ 1844696 h 3952232"/>
                <a:gd name="connsiteX2147" fmla="*/ 4333322 w 7267540"/>
                <a:gd name="connsiteY2147" fmla="*/ 1837931 h 3952232"/>
                <a:gd name="connsiteX2148" fmla="*/ 4305023 w 7267540"/>
                <a:gd name="connsiteY2148" fmla="*/ 1410334 h 3952232"/>
                <a:gd name="connsiteX2149" fmla="*/ 4297749 w 7267540"/>
                <a:gd name="connsiteY2149" fmla="*/ 1411627 h 3952232"/>
                <a:gd name="connsiteX2150" fmla="*/ 4293265 w 7267540"/>
                <a:gd name="connsiteY2150" fmla="*/ 1413617 h 3952232"/>
                <a:gd name="connsiteX2151" fmla="*/ 4295557 w 7267540"/>
                <a:gd name="connsiteY2151" fmla="*/ 1411627 h 3952232"/>
                <a:gd name="connsiteX2152" fmla="*/ 4297749 w 7267540"/>
                <a:gd name="connsiteY2152" fmla="*/ 1411627 h 3952232"/>
                <a:gd name="connsiteX2153" fmla="*/ 4303528 w 7267540"/>
                <a:gd name="connsiteY2153" fmla="*/ 1410533 h 3952232"/>
                <a:gd name="connsiteX2154" fmla="*/ 4305023 w 7267540"/>
                <a:gd name="connsiteY2154" fmla="*/ 1410533 h 3952232"/>
                <a:gd name="connsiteX2155" fmla="*/ 4315486 w 7267540"/>
                <a:gd name="connsiteY2155" fmla="*/ 1404763 h 3952232"/>
                <a:gd name="connsiteX2156" fmla="*/ 4305123 w 7267540"/>
                <a:gd name="connsiteY2156" fmla="*/ 1410135 h 3952232"/>
                <a:gd name="connsiteX2157" fmla="*/ 4294361 w 7267540"/>
                <a:gd name="connsiteY2157" fmla="*/ 1845691 h 3952232"/>
                <a:gd name="connsiteX2158" fmla="*/ 4300639 w 7267540"/>
                <a:gd name="connsiteY2158" fmla="*/ 1843502 h 3952232"/>
                <a:gd name="connsiteX2159" fmla="*/ 4297550 w 7267540"/>
                <a:gd name="connsiteY2159" fmla="*/ 1846288 h 3952232"/>
                <a:gd name="connsiteX2160" fmla="*/ 4294361 w 7267540"/>
                <a:gd name="connsiteY2160" fmla="*/ 1845691 h 3952232"/>
                <a:gd name="connsiteX2161" fmla="*/ 4291372 w 7267540"/>
                <a:gd name="connsiteY2161" fmla="*/ 1844397 h 3952232"/>
                <a:gd name="connsiteX2162" fmla="*/ 4282603 w 7267540"/>
                <a:gd name="connsiteY2162" fmla="*/ 1830171 h 3952232"/>
                <a:gd name="connsiteX2163" fmla="*/ 4291372 w 7267540"/>
                <a:gd name="connsiteY2163" fmla="*/ 1844397 h 3952232"/>
                <a:gd name="connsiteX2164" fmla="*/ 4294461 w 7267540"/>
                <a:gd name="connsiteY2164" fmla="*/ 1845492 h 3952232"/>
                <a:gd name="connsiteX2165" fmla="*/ 4278916 w 7267540"/>
                <a:gd name="connsiteY2165" fmla="*/ 1800325 h 3952232"/>
                <a:gd name="connsiteX2166" fmla="*/ 4278916 w 7267540"/>
                <a:gd name="connsiteY2166" fmla="*/ 1796246 h 3952232"/>
                <a:gd name="connsiteX2167" fmla="*/ 4276824 w 7267540"/>
                <a:gd name="connsiteY2167" fmla="*/ 1788386 h 3952232"/>
                <a:gd name="connsiteX2168" fmla="*/ 4270447 w 7267540"/>
                <a:gd name="connsiteY2168" fmla="*/ 1778437 h 3952232"/>
                <a:gd name="connsiteX2169" fmla="*/ 4253706 w 7267540"/>
                <a:gd name="connsiteY2169" fmla="*/ 1763912 h 3952232"/>
                <a:gd name="connsiteX2170" fmla="*/ 4262276 w 7267540"/>
                <a:gd name="connsiteY2170" fmla="*/ 1770876 h 3952232"/>
                <a:gd name="connsiteX2171" fmla="*/ 4270447 w 7267540"/>
                <a:gd name="connsiteY2171" fmla="*/ 1778437 h 3952232"/>
                <a:gd name="connsiteX2172" fmla="*/ 4276226 w 7267540"/>
                <a:gd name="connsiteY2172" fmla="*/ 1783810 h 3952232"/>
                <a:gd name="connsiteX2173" fmla="*/ 4276824 w 7267540"/>
                <a:gd name="connsiteY2173" fmla="*/ 1788784 h 3952232"/>
                <a:gd name="connsiteX2174" fmla="*/ 4278916 w 7267540"/>
                <a:gd name="connsiteY2174" fmla="*/ 1796644 h 3952232"/>
                <a:gd name="connsiteX2175" fmla="*/ 4280909 w 7267540"/>
                <a:gd name="connsiteY2175" fmla="*/ 1805199 h 3952232"/>
                <a:gd name="connsiteX2176" fmla="*/ 4278916 w 7267540"/>
                <a:gd name="connsiteY2176" fmla="*/ 1800325 h 3952232"/>
                <a:gd name="connsiteX2177" fmla="*/ 4242646 w 7267540"/>
                <a:gd name="connsiteY2177" fmla="*/ 1513005 h 3952232"/>
                <a:gd name="connsiteX2178" fmla="*/ 4248027 w 7267540"/>
                <a:gd name="connsiteY2178" fmla="*/ 1504847 h 3952232"/>
                <a:gd name="connsiteX2179" fmla="*/ 4242447 w 7267540"/>
                <a:gd name="connsiteY2179" fmla="*/ 1513005 h 3952232"/>
                <a:gd name="connsiteX2180" fmla="*/ 4240254 w 7267540"/>
                <a:gd name="connsiteY2180" fmla="*/ 1470524 h 3952232"/>
                <a:gd name="connsiteX2181" fmla="*/ 4242048 w 7267540"/>
                <a:gd name="connsiteY2181" fmla="*/ 1470524 h 3952232"/>
                <a:gd name="connsiteX2182" fmla="*/ 4244041 w 7267540"/>
                <a:gd name="connsiteY2182" fmla="*/ 1473110 h 3952232"/>
                <a:gd name="connsiteX2183" fmla="*/ 4240055 w 7267540"/>
                <a:gd name="connsiteY2183" fmla="*/ 1470524 h 3952232"/>
                <a:gd name="connsiteX2184" fmla="*/ 4232781 w 7267540"/>
                <a:gd name="connsiteY2184" fmla="*/ 1462465 h 3952232"/>
                <a:gd name="connsiteX2185" fmla="*/ 4235771 w 7267540"/>
                <a:gd name="connsiteY2185" fmla="*/ 1467539 h 3952232"/>
                <a:gd name="connsiteX2186" fmla="*/ 4238760 w 7267540"/>
                <a:gd name="connsiteY2186" fmla="*/ 1470126 h 3952232"/>
                <a:gd name="connsiteX2187" fmla="*/ 4237066 w 7267540"/>
                <a:gd name="connsiteY2187" fmla="*/ 1470126 h 3952232"/>
                <a:gd name="connsiteX2188" fmla="*/ 4235771 w 7267540"/>
                <a:gd name="connsiteY2188" fmla="*/ 1467639 h 3952232"/>
                <a:gd name="connsiteX2189" fmla="*/ 4232582 w 7267540"/>
                <a:gd name="connsiteY2189" fmla="*/ 1462465 h 3952232"/>
                <a:gd name="connsiteX2190" fmla="*/ 4194518 w 7267540"/>
                <a:gd name="connsiteY2190" fmla="*/ 1589511 h 3952232"/>
                <a:gd name="connsiteX2191" fmla="*/ 4194518 w 7267540"/>
                <a:gd name="connsiteY2191" fmla="*/ 1588416 h 3952232"/>
                <a:gd name="connsiteX2192" fmla="*/ 4195215 w 7267540"/>
                <a:gd name="connsiteY2192" fmla="*/ 1585034 h 3952232"/>
                <a:gd name="connsiteX2193" fmla="*/ 4196511 w 7267540"/>
                <a:gd name="connsiteY2193" fmla="*/ 1578468 h 3952232"/>
                <a:gd name="connsiteX2194" fmla="*/ 4194020 w 7267540"/>
                <a:gd name="connsiteY2194" fmla="*/ 1576378 h 3952232"/>
                <a:gd name="connsiteX2195" fmla="*/ 4196511 w 7267540"/>
                <a:gd name="connsiteY2195" fmla="*/ 1578468 h 3952232"/>
                <a:gd name="connsiteX2196" fmla="*/ 4195215 w 7267540"/>
                <a:gd name="connsiteY2196" fmla="*/ 1585034 h 3952232"/>
                <a:gd name="connsiteX2197" fmla="*/ 4195215 w 7267540"/>
                <a:gd name="connsiteY2197" fmla="*/ 1589511 h 3952232"/>
                <a:gd name="connsiteX2198" fmla="*/ 4195215 w 7267540"/>
                <a:gd name="connsiteY2198" fmla="*/ 1594883 h 3952232"/>
                <a:gd name="connsiteX2199" fmla="*/ 4195215 w 7267540"/>
                <a:gd name="connsiteY2199" fmla="*/ 1596375 h 3952232"/>
                <a:gd name="connsiteX2200" fmla="*/ 4193422 w 7267540"/>
                <a:gd name="connsiteY2200" fmla="*/ 1597470 h 3952232"/>
                <a:gd name="connsiteX2201" fmla="*/ 4194916 w 7267540"/>
                <a:gd name="connsiteY2201" fmla="*/ 1594883 h 3952232"/>
                <a:gd name="connsiteX2202" fmla="*/ 4194319 w 7267540"/>
                <a:gd name="connsiteY2202" fmla="*/ 1589511 h 3952232"/>
                <a:gd name="connsiteX2203" fmla="*/ 4196311 w 7267540"/>
                <a:gd name="connsiteY2203" fmla="*/ 1700837 h 3952232"/>
                <a:gd name="connsiteX2204" fmla="*/ 4192724 w 7267540"/>
                <a:gd name="connsiteY2204" fmla="*/ 1692580 h 3952232"/>
                <a:gd name="connsiteX2205" fmla="*/ 4196112 w 7267540"/>
                <a:gd name="connsiteY2205" fmla="*/ 1700837 h 3952232"/>
                <a:gd name="connsiteX2206" fmla="*/ 4196311 w 7267540"/>
                <a:gd name="connsiteY2206" fmla="*/ 1701832 h 3952232"/>
                <a:gd name="connsiteX2207" fmla="*/ 4196311 w 7267540"/>
                <a:gd name="connsiteY2207" fmla="*/ 1700937 h 3952232"/>
                <a:gd name="connsiteX2208" fmla="*/ 4196311 w 7267540"/>
                <a:gd name="connsiteY2208" fmla="*/ 1703623 h 3952232"/>
                <a:gd name="connsiteX2209" fmla="*/ 4199699 w 7267540"/>
                <a:gd name="connsiteY2209" fmla="*/ 1710487 h 3952232"/>
                <a:gd name="connsiteX2210" fmla="*/ 4196012 w 7267540"/>
                <a:gd name="connsiteY2210" fmla="*/ 1706806 h 3952232"/>
                <a:gd name="connsiteX2211" fmla="*/ 4196012 w 7267540"/>
                <a:gd name="connsiteY2211" fmla="*/ 1703623 h 3952232"/>
                <a:gd name="connsiteX2212" fmla="*/ 4196012 w 7267540"/>
                <a:gd name="connsiteY2212" fmla="*/ 1701832 h 3952232"/>
                <a:gd name="connsiteX2213" fmla="*/ 4201194 w 7267540"/>
                <a:gd name="connsiteY2213" fmla="*/ 1560958 h 3952232"/>
                <a:gd name="connsiteX2214" fmla="*/ 4198503 w 7267540"/>
                <a:gd name="connsiteY2214" fmla="*/ 1562550 h 3952232"/>
                <a:gd name="connsiteX2215" fmla="*/ 4199301 w 7267540"/>
                <a:gd name="connsiteY2215" fmla="*/ 1561555 h 3952232"/>
                <a:gd name="connsiteX2216" fmla="*/ 4201194 w 7267540"/>
                <a:gd name="connsiteY2216" fmla="*/ 1560958 h 3952232"/>
                <a:gd name="connsiteX2217" fmla="*/ 4210361 w 7267540"/>
                <a:gd name="connsiteY2217" fmla="*/ 1558471 h 3952232"/>
                <a:gd name="connsiteX2218" fmla="*/ 4200895 w 7267540"/>
                <a:gd name="connsiteY2218" fmla="*/ 1560958 h 3952232"/>
                <a:gd name="connsiteX2219" fmla="*/ 4194319 w 7267540"/>
                <a:gd name="connsiteY2219" fmla="*/ 1568718 h 3952232"/>
                <a:gd name="connsiteX2220" fmla="*/ 4195315 w 7267540"/>
                <a:gd name="connsiteY2220" fmla="*/ 1566529 h 3952232"/>
                <a:gd name="connsiteX2221" fmla="*/ 4198304 w 7267540"/>
                <a:gd name="connsiteY2221" fmla="*/ 1562749 h 3952232"/>
                <a:gd name="connsiteX2222" fmla="*/ 4194020 w 7267540"/>
                <a:gd name="connsiteY2222" fmla="*/ 1568718 h 3952232"/>
                <a:gd name="connsiteX2223" fmla="*/ 4193322 w 7267540"/>
                <a:gd name="connsiteY2223" fmla="*/ 1575085 h 3952232"/>
                <a:gd name="connsiteX2224" fmla="*/ 4193820 w 7267540"/>
                <a:gd name="connsiteY2224" fmla="*/ 1569912 h 3952232"/>
                <a:gd name="connsiteX2225" fmla="*/ 4193023 w 7267540"/>
                <a:gd name="connsiteY2225" fmla="*/ 1575085 h 3952232"/>
                <a:gd name="connsiteX2226" fmla="*/ 4186048 w 7267540"/>
                <a:gd name="connsiteY2226" fmla="*/ 1599260 h 3952232"/>
                <a:gd name="connsiteX2227" fmla="*/ 4192126 w 7267540"/>
                <a:gd name="connsiteY2227" fmla="*/ 1598564 h 3952232"/>
                <a:gd name="connsiteX2228" fmla="*/ 4185350 w 7267540"/>
                <a:gd name="connsiteY2228" fmla="*/ 1606225 h 3952232"/>
                <a:gd name="connsiteX2229" fmla="*/ 4189336 w 7267540"/>
                <a:gd name="connsiteY2229" fmla="*/ 1600454 h 3952232"/>
                <a:gd name="connsiteX2230" fmla="*/ 4179372 w 7267540"/>
                <a:gd name="connsiteY2230" fmla="*/ 1596375 h 3952232"/>
                <a:gd name="connsiteX2231" fmla="*/ 4178873 w 7267540"/>
                <a:gd name="connsiteY2231" fmla="*/ 1594983 h 3952232"/>
                <a:gd name="connsiteX2232" fmla="*/ 4177578 w 7267540"/>
                <a:gd name="connsiteY2232" fmla="*/ 1592495 h 3952232"/>
                <a:gd name="connsiteX2233" fmla="*/ 4174788 w 7267540"/>
                <a:gd name="connsiteY2233" fmla="*/ 1589312 h 3952232"/>
                <a:gd name="connsiteX2234" fmla="*/ 4177379 w 7267540"/>
                <a:gd name="connsiteY2234" fmla="*/ 1591401 h 3952232"/>
                <a:gd name="connsiteX2235" fmla="*/ 4177379 w 7267540"/>
                <a:gd name="connsiteY2235" fmla="*/ 1592495 h 3952232"/>
                <a:gd name="connsiteX2236" fmla="*/ 4178674 w 7267540"/>
                <a:gd name="connsiteY2236" fmla="*/ 1594983 h 3952232"/>
                <a:gd name="connsiteX2237" fmla="*/ 4185550 w 7267540"/>
                <a:gd name="connsiteY2237" fmla="*/ 1599161 h 3952232"/>
                <a:gd name="connsiteX2238" fmla="*/ 4179272 w 7267540"/>
                <a:gd name="connsiteY2238" fmla="*/ 1596375 h 3952232"/>
                <a:gd name="connsiteX2239" fmla="*/ 4179372 w 7267540"/>
                <a:gd name="connsiteY2239" fmla="*/ 1621048 h 3952232"/>
                <a:gd name="connsiteX2240" fmla="*/ 4178076 w 7267540"/>
                <a:gd name="connsiteY2240" fmla="*/ 1634579 h 3952232"/>
                <a:gd name="connsiteX2241" fmla="*/ 4178076 w 7267540"/>
                <a:gd name="connsiteY2241" fmla="*/ 1629206 h 3952232"/>
                <a:gd name="connsiteX2242" fmla="*/ 4179272 w 7267540"/>
                <a:gd name="connsiteY2242" fmla="*/ 1621048 h 3952232"/>
                <a:gd name="connsiteX2243" fmla="*/ 4215842 w 7267540"/>
                <a:gd name="connsiteY2243" fmla="*/ 1724814 h 3952232"/>
                <a:gd name="connsiteX2244" fmla="*/ 4222817 w 7267540"/>
                <a:gd name="connsiteY2244" fmla="*/ 1736653 h 3952232"/>
                <a:gd name="connsiteX2245" fmla="*/ 4215941 w 7267540"/>
                <a:gd name="connsiteY2245" fmla="*/ 1724814 h 3952232"/>
                <a:gd name="connsiteX2246" fmla="*/ 4235771 w 7267540"/>
                <a:gd name="connsiteY2246" fmla="*/ 2623882 h 3952232"/>
                <a:gd name="connsiteX2247" fmla="*/ 4238361 w 7267540"/>
                <a:gd name="connsiteY2247" fmla="*/ 2618907 h 3952232"/>
                <a:gd name="connsiteX2248" fmla="*/ 4236269 w 7267540"/>
                <a:gd name="connsiteY2248" fmla="*/ 2614828 h 3952232"/>
                <a:gd name="connsiteX2249" fmla="*/ 4238361 w 7267540"/>
                <a:gd name="connsiteY2249" fmla="*/ 2618907 h 3952232"/>
                <a:gd name="connsiteX2250" fmla="*/ 4235771 w 7267540"/>
                <a:gd name="connsiteY2250" fmla="*/ 2623882 h 3952232"/>
                <a:gd name="connsiteX2251" fmla="*/ 4233977 w 7267540"/>
                <a:gd name="connsiteY2251" fmla="*/ 2629254 h 3952232"/>
                <a:gd name="connsiteX2252" fmla="*/ 4236568 w 7267540"/>
                <a:gd name="connsiteY2252" fmla="*/ 2634228 h 3952232"/>
                <a:gd name="connsiteX2253" fmla="*/ 4234674 w 7267540"/>
                <a:gd name="connsiteY2253" fmla="*/ 2633034 h 3952232"/>
                <a:gd name="connsiteX2254" fmla="*/ 4233977 w 7267540"/>
                <a:gd name="connsiteY2254" fmla="*/ 2629254 h 3952232"/>
                <a:gd name="connsiteX2255" fmla="*/ 4233977 w 7267540"/>
                <a:gd name="connsiteY2255" fmla="*/ 2625175 h 3952232"/>
                <a:gd name="connsiteX2256" fmla="*/ 4238660 w 7267540"/>
                <a:gd name="connsiteY2256" fmla="*/ 2638506 h 3952232"/>
                <a:gd name="connsiteX2257" fmla="*/ 4236667 w 7267540"/>
                <a:gd name="connsiteY2257" fmla="*/ 2634527 h 3952232"/>
                <a:gd name="connsiteX2258" fmla="*/ 4239059 w 7267540"/>
                <a:gd name="connsiteY2258" fmla="*/ 2638506 h 3952232"/>
                <a:gd name="connsiteX2259" fmla="*/ 4229692 w 7267540"/>
                <a:gd name="connsiteY2259" fmla="*/ 2648455 h 3952232"/>
                <a:gd name="connsiteX2260" fmla="*/ 4225607 w 7267540"/>
                <a:gd name="connsiteY2260" fmla="*/ 2645968 h 3952232"/>
                <a:gd name="connsiteX2261" fmla="*/ 4229891 w 7267540"/>
                <a:gd name="connsiteY2261" fmla="*/ 2648256 h 3952232"/>
                <a:gd name="connsiteX2262" fmla="*/ 4229692 w 7267540"/>
                <a:gd name="connsiteY2262" fmla="*/ 2735108 h 3952232"/>
                <a:gd name="connsiteX2263" fmla="*/ 4232881 w 7267540"/>
                <a:gd name="connsiteY2263" fmla="*/ 2722772 h 3952232"/>
                <a:gd name="connsiteX2264" fmla="*/ 4229692 w 7267540"/>
                <a:gd name="connsiteY2264" fmla="*/ 2735108 h 3952232"/>
                <a:gd name="connsiteX2265" fmla="*/ 4228895 w 7267540"/>
                <a:gd name="connsiteY2265" fmla="*/ 2737695 h 3952232"/>
                <a:gd name="connsiteX2266" fmla="*/ 4225408 w 7267540"/>
                <a:gd name="connsiteY2266" fmla="*/ 2737695 h 3952232"/>
                <a:gd name="connsiteX2267" fmla="*/ 4229692 w 7267540"/>
                <a:gd name="connsiteY2267" fmla="*/ 2734910 h 3952232"/>
                <a:gd name="connsiteX2268" fmla="*/ 4231884 w 7267540"/>
                <a:gd name="connsiteY2268" fmla="*/ 2882847 h 3952232"/>
                <a:gd name="connsiteX2269" fmla="*/ 4236070 w 7267540"/>
                <a:gd name="connsiteY2269" fmla="*/ 2889612 h 3952232"/>
                <a:gd name="connsiteX2270" fmla="*/ 4231884 w 7267540"/>
                <a:gd name="connsiteY2270" fmla="*/ 2882648 h 3952232"/>
                <a:gd name="connsiteX2271" fmla="*/ 4294760 w 7267540"/>
                <a:gd name="connsiteY2271" fmla="*/ 2536134 h 3952232"/>
                <a:gd name="connsiteX2272" fmla="*/ 4295656 w 7267540"/>
                <a:gd name="connsiteY2272" fmla="*/ 2543695 h 3952232"/>
                <a:gd name="connsiteX2273" fmla="*/ 4294760 w 7267540"/>
                <a:gd name="connsiteY2273" fmla="*/ 2535935 h 3952232"/>
                <a:gd name="connsiteX2274" fmla="*/ 4294760 w 7267540"/>
                <a:gd name="connsiteY2274" fmla="*/ 2536134 h 3952232"/>
                <a:gd name="connsiteX2275" fmla="*/ 4296952 w 7267540"/>
                <a:gd name="connsiteY2275" fmla="*/ 2524494 h 3952232"/>
                <a:gd name="connsiteX2276" fmla="*/ 4294760 w 7267540"/>
                <a:gd name="connsiteY2276" fmla="*/ 2535636 h 3952232"/>
                <a:gd name="connsiteX2277" fmla="*/ 4293863 w 7267540"/>
                <a:gd name="connsiteY2277" fmla="*/ 2544889 h 3952232"/>
                <a:gd name="connsiteX2278" fmla="*/ 4288482 w 7267540"/>
                <a:gd name="connsiteY2278" fmla="*/ 2548371 h 3952232"/>
                <a:gd name="connsiteX2279" fmla="*/ 4293863 w 7267540"/>
                <a:gd name="connsiteY2279" fmla="*/ 2544391 h 3952232"/>
                <a:gd name="connsiteX2280" fmla="*/ 4298446 w 7267540"/>
                <a:gd name="connsiteY2280" fmla="*/ 2505094 h 3952232"/>
                <a:gd name="connsiteX2281" fmla="*/ 4298446 w 7267540"/>
                <a:gd name="connsiteY2281" fmla="*/ 2501711 h 3952232"/>
                <a:gd name="connsiteX2282" fmla="*/ 4298446 w 7267540"/>
                <a:gd name="connsiteY2282" fmla="*/ 2500219 h 3952232"/>
                <a:gd name="connsiteX2283" fmla="*/ 4300938 w 7267540"/>
                <a:gd name="connsiteY2283" fmla="*/ 2496339 h 3952232"/>
                <a:gd name="connsiteX2284" fmla="*/ 4304425 w 7267540"/>
                <a:gd name="connsiteY2284" fmla="*/ 2491364 h 3952232"/>
                <a:gd name="connsiteX2285" fmla="*/ 4305422 w 7267540"/>
                <a:gd name="connsiteY2285" fmla="*/ 2490668 h 3952232"/>
                <a:gd name="connsiteX2286" fmla="*/ 4308710 w 7267540"/>
                <a:gd name="connsiteY2286" fmla="*/ 2484898 h 3952232"/>
                <a:gd name="connsiteX2287" fmla="*/ 4305422 w 7267540"/>
                <a:gd name="connsiteY2287" fmla="*/ 2490668 h 3952232"/>
                <a:gd name="connsiteX2288" fmla="*/ 4300938 w 7267540"/>
                <a:gd name="connsiteY2288" fmla="*/ 2496339 h 3952232"/>
                <a:gd name="connsiteX2289" fmla="*/ 4298646 w 7267540"/>
                <a:gd name="connsiteY2289" fmla="*/ 2501711 h 3952232"/>
                <a:gd name="connsiteX2290" fmla="*/ 4298845 w 7267540"/>
                <a:gd name="connsiteY2290" fmla="*/ 2504596 h 3952232"/>
                <a:gd name="connsiteX2291" fmla="*/ 4340496 w 7267540"/>
                <a:gd name="connsiteY2291" fmla="*/ 2271398 h 3952232"/>
                <a:gd name="connsiteX2292" fmla="*/ 4338703 w 7267540"/>
                <a:gd name="connsiteY2292" fmla="*/ 2277466 h 3952232"/>
                <a:gd name="connsiteX2293" fmla="*/ 4340496 w 7267540"/>
                <a:gd name="connsiteY2293" fmla="*/ 2270900 h 3952232"/>
                <a:gd name="connsiteX2294" fmla="*/ 4338304 w 7267540"/>
                <a:gd name="connsiteY2294" fmla="*/ 2278063 h 3952232"/>
                <a:gd name="connsiteX2295" fmla="*/ 4334119 w 7267540"/>
                <a:gd name="connsiteY2295" fmla="*/ 2281844 h 3952232"/>
                <a:gd name="connsiteX2296" fmla="*/ 4338703 w 7267540"/>
                <a:gd name="connsiteY2296" fmla="*/ 2277566 h 3952232"/>
                <a:gd name="connsiteX2297" fmla="*/ 4377365 w 7267540"/>
                <a:gd name="connsiteY2297" fmla="*/ 2006761 h 3952232"/>
                <a:gd name="connsiteX2298" fmla="*/ 4385137 w 7267540"/>
                <a:gd name="connsiteY2298" fmla="*/ 2003279 h 3952232"/>
                <a:gd name="connsiteX2299" fmla="*/ 4377365 w 7267540"/>
                <a:gd name="connsiteY2299" fmla="*/ 2006263 h 3952232"/>
                <a:gd name="connsiteX2300" fmla="*/ 4480496 w 7267540"/>
                <a:gd name="connsiteY2300" fmla="*/ 2150719 h 3952232"/>
                <a:gd name="connsiteX2301" fmla="*/ 4478504 w 7267540"/>
                <a:gd name="connsiteY2301" fmla="*/ 2148531 h 3952232"/>
                <a:gd name="connsiteX2302" fmla="*/ 4480496 w 7267540"/>
                <a:gd name="connsiteY2302" fmla="*/ 2150222 h 3952232"/>
                <a:gd name="connsiteX2303" fmla="*/ 4477009 w 7267540"/>
                <a:gd name="connsiteY2303" fmla="*/ 2144750 h 3952232"/>
                <a:gd name="connsiteX2304" fmla="*/ 4475414 w 7267540"/>
                <a:gd name="connsiteY2304" fmla="*/ 2137985 h 3952232"/>
                <a:gd name="connsiteX2305" fmla="*/ 4477009 w 7267540"/>
                <a:gd name="connsiteY2305" fmla="*/ 2144253 h 3952232"/>
                <a:gd name="connsiteX2306" fmla="*/ 4477009 w 7267540"/>
                <a:gd name="connsiteY2306" fmla="*/ 2147038 h 3952232"/>
                <a:gd name="connsiteX2307" fmla="*/ 4477009 w 7267540"/>
                <a:gd name="connsiteY2307" fmla="*/ 2144949 h 3952232"/>
                <a:gd name="connsiteX2308" fmla="*/ 4478404 w 7267540"/>
                <a:gd name="connsiteY2308" fmla="*/ 2148431 h 3952232"/>
                <a:gd name="connsiteX2309" fmla="*/ 4474816 w 7267540"/>
                <a:gd name="connsiteY2309" fmla="*/ 2146939 h 3952232"/>
                <a:gd name="connsiteX2310" fmla="*/ 4469037 w 7267540"/>
                <a:gd name="connsiteY2310" fmla="*/ 2146043 h 3952232"/>
                <a:gd name="connsiteX2311" fmla="*/ 4465550 w 7267540"/>
                <a:gd name="connsiteY2311" fmla="*/ 2144352 h 3952232"/>
                <a:gd name="connsiteX2312" fmla="*/ 4470631 w 7267540"/>
                <a:gd name="connsiteY2312" fmla="*/ 2146242 h 3952232"/>
                <a:gd name="connsiteX2313" fmla="*/ 4469037 w 7267540"/>
                <a:gd name="connsiteY2313" fmla="*/ 2145546 h 3952232"/>
                <a:gd name="connsiteX2314" fmla="*/ 4440340 w 7267540"/>
                <a:gd name="connsiteY2314" fmla="*/ 2085058 h 3952232"/>
                <a:gd name="connsiteX2315" fmla="*/ 4434859 w 7267540"/>
                <a:gd name="connsiteY2315" fmla="*/ 2091027 h 3952232"/>
                <a:gd name="connsiteX2316" fmla="*/ 4440340 w 7267540"/>
                <a:gd name="connsiteY2316" fmla="*/ 2085058 h 3952232"/>
                <a:gd name="connsiteX2317" fmla="*/ 4436354 w 7267540"/>
                <a:gd name="connsiteY2317" fmla="*/ 2073716 h 3952232"/>
                <a:gd name="connsiteX2318" fmla="*/ 4440340 w 7267540"/>
                <a:gd name="connsiteY2318" fmla="*/ 2084560 h 3952232"/>
                <a:gd name="connsiteX2319" fmla="*/ 4434162 w 7267540"/>
                <a:gd name="connsiteY2319" fmla="*/ 2091325 h 3952232"/>
                <a:gd name="connsiteX2320" fmla="*/ 4434760 w 7267540"/>
                <a:gd name="connsiteY2320" fmla="*/ 2091325 h 3952232"/>
                <a:gd name="connsiteX2321" fmla="*/ 4428980 w 7267540"/>
                <a:gd name="connsiteY2321" fmla="*/ 2098588 h 3952232"/>
                <a:gd name="connsiteX2322" fmla="*/ 4434162 w 7267540"/>
                <a:gd name="connsiteY2322" fmla="*/ 2090828 h 3952232"/>
                <a:gd name="connsiteX2323" fmla="*/ 4429179 w 7267540"/>
                <a:gd name="connsiteY2323" fmla="*/ 2060484 h 3952232"/>
                <a:gd name="connsiteX2324" fmla="*/ 4429179 w 7267540"/>
                <a:gd name="connsiteY2324" fmla="*/ 2059390 h 3952232"/>
                <a:gd name="connsiteX2325" fmla="*/ 4430176 w 7267540"/>
                <a:gd name="connsiteY2325" fmla="*/ 2055211 h 3952232"/>
                <a:gd name="connsiteX2326" fmla="*/ 4429179 w 7267540"/>
                <a:gd name="connsiteY2326" fmla="*/ 2059390 h 3952232"/>
                <a:gd name="connsiteX2327" fmla="*/ 4430874 w 7267540"/>
                <a:gd name="connsiteY2327" fmla="*/ 2065061 h 3952232"/>
                <a:gd name="connsiteX2328" fmla="*/ 4429179 w 7267540"/>
                <a:gd name="connsiteY2328" fmla="*/ 2059987 h 3952232"/>
                <a:gd name="connsiteX2329" fmla="*/ 4425194 w 7267540"/>
                <a:gd name="connsiteY2329" fmla="*/ 2033026 h 3952232"/>
                <a:gd name="connsiteX2330" fmla="*/ 4418817 w 7267540"/>
                <a:gd name="connsiteY2330" fmla="*/ 2029544 h 3952232"/>
                <a:gd name="connsiteX2331" fmla="*/ 4418817 w 7267540"/>
                <a:gd name="connsiteY2331" fmla="*/ 2029544 h 3952232"/>
                <a:gd name="connsiteX2332" fmla="*/ 4424795 w 7267540"/>
                <a:gd name="connsiteY2332" fmla="*/ 2032926 h 3952232"/>
                <a:gd name="connsiteX2333" fmla="*/ 4427785 w 7267540"/>
                <a:gd name="connsiteY2333" fmla="*/ 2034518 h 3952232"/>
                <a:gd name="connsiteX2334" fmla="*/ 4428681 w 7267540"/>
                <a:gd name="connsiteY2334" fmla="*/ 2039492 h 3952232"/>
                <a:gd name="connsiteX2335" fmla="*/ 4425194 w 7267540"/>
                <a:gd name="connsiteY2335" fmla="*/ 2032528 h 3952232"/>
                <a:gd name="connsiteX2336" fmla="*/ 4442631 w 7267540"/>
                <a:gd name="connsiteY2336" fmla="*/ 2211208 h 3952232"/>
                <a:gd name="connsiteX2337" fmla="*/ 4445621 w 7267540"/>
                <a:gd name="connsiteY2337" fmla="*/ 2205736 h 3952232"/>
                <a:gd name="connsiteX2338" fmla="*/ 4445621 w 7267540"/>
                <a:gd name="connsiteY2338" fmla="*/ 2203746 h 3952232"/>
                <a:gd name="connsiteX2339" fmla="*/ 4448311 w 7267540"/>
                <a:gd name="connsiteY2339" fmla="*/ 2203746 h 3952232"/>
                <a:gd name="connsiteX2340" fmla="*/ 4453094 w 7267540"/>
                <a:gd name="connsiteY2340" fmla="*/ 2203746 h 3952232"/>
                <a:gd name="connsiteX2341" fmla="*/ 4455984 w 7267540"/>
                <a:gd name="connsiteY2341" fmla="*/ 2207527 h 3952232"/>
                <a:gd name="connsiteX2342" fmla="*/ 4462361 w 7267540"/>
                <a:gd name="connsiteY2342" fmla="*/ 2211805 h 3952232"/>
                <a:gd name="connsiteX2343" fmla="*/ 4466447 w 7267540"/>
                <a:gd name="connsiteY2343" fmla="*/ 2206830 h 3952232"/>
                <a:gd name="connsiteX2344" fmla="*/ 4462361 w 7267540"/>
                <a:gd name="connsiteY2344" fmla="*/ 2211805 h 3952232"/>
                <a:gd name="connsiteX2345" fmla="*/ 4455984 w 7267540"/>
                <a:gd name="connsiteY2345" fmla="*/ 2207527 h 3952232"/>
                <a:gd name="connsiteX2346" fmla="*/ 4452098 w 7267540"/>
                <a:gd name="connsiteY2346" fmla="*/ 2203746 h 3952232"/>
                <a:gd name="connsiteX2347" fmla="*/ 4448311 w 7267540"/>
                <a:gd name="connsiteY2347" fmla="*/ 2203746 h 3952232"/>
                <a:gd name="connsiteX2348" fmla="*/ 4445621 w 7267540"/>
                <a:gd name="connsiteY2348" fmla="*/ 2205736 h 3952232"/>
                <a:gd name="connsiteX2349" fmla="*/ 4442631 w 7267540"/>
                <a:gd name="connsiteY2349" fmla="*/ 2211208 h 3952232"/>
                <a:gd name="connsiteX2350" fmla="*/ 4442133 w 7267540"/>
                <a:gd name="connsiteY2350" fmla="*/ 2212799 h 3952232"/>
                <a:gd name="connsiteX2351" fmla="*/ 4436753 w 7267540"/>
                <a:gd name="connsiteY2351" fmla="*/ 2212799 h 3952232"/>
                <a:gd name="connsiteX2352" fmla="*/ 4442631 w 7267540"/>
                <a:gd name="connsiteY2352" fmla="*/ 2210710 h 3952232"/>
                <a:gd name="connsiteX2353" fmla="*/ 4441536 w 7267540"/>
                <a:gd name="connsiteY2353" fmla="*/ 2122962 h 3952232"/>
                <a:gd name="connsiteX2354" fmla="*/ 4445123 w 7267540"/>
                <a:gd name="connsiteY2354" fmla="*/ 2128235 h 3952232"/>
                <a:gd name="connsiteX2355" fmla="*/ 4445123 w 7267540"/>
                <a:gd name="connsiteY2355" fmla="*/ 2130225 h 3952232"/>
                <a:gd name="connsiteX2356" fmla="*/ 4441536 w 7267540"/>
                <a:gd name="connsiteY2356" fmla="*/ 2122465 h 3952232"/>
                <a:gd name="connsiteX2357" fmla="*/ 4447514 w 7267540"/>
                <a:gd name="connsiteY2357" fmla="*/ 2135498 h 3952232"/>
                <a:gd name="connsiteX2358" fmla="*/ 4450304 w 7267540"/>
                <a:gd name="connsiteY2358" fmla="*/ 2138781 h 3952232"/>
                <a:gd name="connsiteX2359" fmla="*/ 4454788 w 7267540"/>
                <a:gd name="connsiteY2359" fmla="*/ 2140074 h 3952232"/>
                <a:gd name="connsiteX2360" fmla="*/ 4450304 w 7267540"/>
                <a:gd name="connsiteY2360" fmla="*/ 2138781 h 3952232"/>
                <a:gd name="connsiteX2361" fmla="*/ 4448112 w 7267540"/>
                <a:gd name="connsiteY2361" fmla="*/ 2138184 h 3952232"/>
                <a:gd name="connsiteX2362" fmla="*/ 4447514 w 7267540"/>
                <a:gd name="connsiteY2362" fmla="*/ 2135100 h 3952232"/>
                <a:gd name="connsiteX2363" fmla="*/ 4454888 w 7267540"/>
                <a:gd name="connsiteY2363" fmla="*/ 2140074 h 3952232"/>
                <a:gd name="connsiteX2364" fmla="*/ 4454888 w 7267540"/>
                <a:gd name="connsiteY2364" fmla="*/ 2140074 h 3952232"/>
                <a:gd name="connsiteX2365" fmla="*/ 4458674 w 7267540"/>
                <a:gd name="connsiteY2365" fmla="*/ 2141467 h 3952232"/>
                <a:gd name="connsiteX2366" fmla="*/ 4470931 w 7267540"/>
                <a:gd name="connsiteY2366" fmla="*/ 2199767 h 3952232"/>
                <a:gd name="connsiteX2367" fmla="*/ 4466646 w 7267540"/>
                <a:gd name="connsiteY2367" fmla="*/ 2206631 h 3952232"/>
                <a:gd name="connsiteX2368" fmla="*/ 4470931 w 7267540"/>
                <a:gd name="connsiteY2368" fmla="*/ 2199170 h 3952232"/>
                <a:gd name="connsiteX2369" fmla="*/ 4473920 w 7267540"/>
                <a:gd name="connsiteY2369" fmla="*/ 2181361 h 3952232"/>
                <a:gd name="connsiteX2370" fmla="*/ 4474518 w 7267540"/>
                <a:gd name="connsiteY2370" fmla="*/ 2172507 h 3952232"/>
                <a:gd name="connsiteX2371" fmla="*/ 4473920 w 7267540"/>
                <a:gd name="connsiteY2371" fmla="*/ 2180765 h 3952232"/>
                <a:gd name="connsiteX2372" fmla="*/ 4475016 w 7267540"/>
                <a:gd name="connsiteY2372" fmla="*/ 2168130 h 3952232"/>
                <a:gd name="connsiteX2373" fmla="*/ 4477009 w 7267540"/>
                <a:gd name="connsiteY2373" fmla="*/ 2163354 h 3952232"/>
                <a:gd name="connsiteX2374" fmla="*/ 4474518 w 7267540"/>
                <a:gd name="connsiteY2374" fmla="*/ 2172408 h 3952232"/>
                <a:gd name="connsiteX2375" fmla="*/ 4561009 w 7267540"/>
                <a:gd name="connsiteY2375" fmla="*/ 2132414 h 3952232"/>
                <a:gd name="connsiteX2376" fmla="*/ 4551044 w 7267540"/>
                <a:gd name="connsiteY2376" fmla="*/ 2132911 h 3952232"/>
                <a:gd name="connsiteX2377" fmla="*/ 4561009 w 7267540"/>
                <a:gd name="connsiteY2377" fmla="*/ 2131817 h 3952232"/>
                <a:gd name="connsiteX2378" fmla="*/ 4564397 w 7267540"/>
                <a:gd name="connsiteY2378" fmla="*/ 2127141 h 3952232"/>
                <a:gd name="connsiteX2379" fmla="*/ 4565692 w 7267540"/>
                <a:gd name="connsiteY2379" fmla="*/ 2121271 h 3952232"/>
                <a:gd name="connsiteX2380" fmla="*/ 4564397 w 7267540"/>
                <a:gd name="connsiteY2380" fmla="*/ 2127141 h 3952232"/>
                <a:gd name="connsiteX2381" fmla="*/ 4562504 w 7267540"/>
                <a:gd name="connsiteY2381" fmla="*/ 2130921 h 3952232"/>
                <a:gd name="connsiteX2382" fmla="*/ 4564397 w 7267540"/>
                <a:gd name="connsiteY2382" fmla="*/ 2126544 h 3952232"/>
                <a:gd name="connsiteX2383" fmla="*/ 4375870 w 7267540"/>
                <a:gd name="connsiteY2383" fmla="*/ 1244687 h 3952232"/>
                <a:gd name="connsiteX2384" fmla="*/ 4510389 w 7267540"/>
                <a:gd name="connsiteY2384" fmla="*/ 1245782 h 3952232"/>
                <a:gd name="connsiteX2385" fmla="*/ 4418418 w 7267540"/>
                <a:gd name="connsiteY2385" fmla="*/ 2028947 h 3952232"/>
                <a:gd name="connsiteX2386" fmla="*/ 4412539 w 7267540"/>
                <a:gd name="connsiteY2386" fmla="*/ 2025862 h 3952232"/>
                <a:gd name="connsiteX2387" fmla="*/ 4398489 w 7267540"/>
                <a:gd name="connsiteY2387" fmla="*/ 2009845 h 3952232"/>
                <a:gd name="connsiteX2388" fmla="*/ 4395599 w 7267540"/>
                <a:gd name="connsiteY2388" fmla="*/ 2008353 h 3952232"/>
                <a:gd name="connsiteX2389" fmla="*/ 4391913 w 7267540"/>
                <a:gd name="connsiteY2389" fmla="*/ 2005169 h 3952232"/>
                <a:gd name="connsiteX2390" fmla="*/ 4398489 w 7267540"/>
                <a:gd name="connsiteY2390" fmla="*/ 2009845 h 3952232"/>
                <a:gd name="connsiteX2391" fmla="*/ 4391714 w 7267540"/>
                <a:gd name="connsiteY2391" fmla="*/ 2004970 h 3952232"/>
                <a:gd name="connsiteX2392" fmla="*/ 4386333 w 7267540"/>
                <a:gd name="connsiteY2392" fmla="*/ 2002782 h 3952232"/>
                <a:gd name="connsiteX2393" fmla="*/ 4391415 w 7267540"/>
                <a:gd name="connsiteY2393" fmla="*/ 2004970 h 3952232"/>
                <a:gd name="connsiteX2394" fmla="*/ 4352952 w 7267540"/>
                <a:gd name="connsiteY2394" fmla="*/ 1855739 h 3952232"/>
                <a:gd name="connsiteX2395" fmla="*/ 4353849 w 7267540"/>
                <a:gd name="connsiteY2395" fmla="*/ 1850367 h 3952232"/>
                <a:gd name="connsiteX2396" fmla="*/ 4351357 w 7267540"/>
                <a:gd name="connsiteY2396" fmla="*/ 1847680 h 3952232"/>
                <a:gd name="connsiteX2397" fmla="*/ 4353749 w 7267540"/>
                <a:gd name="connsiteY2397" fmla="*/ 1849471 h 3952232"/>
                <a:gd name="connsiteX2398" fmla="*/ 4353749 w 7267540"/>
                <a:gd name="connsiteY2398" fmla="*/ 1850367 h 3952232"/>
                <a:gd name="connsiteX2399" fmla="*/ 4352653 w 7267540"/>
                <a:gd name="connsiteY2399" fmla="*/ 1855441 h 3952232"/>
                <a:gd name="connsiteX2400" fmla="*/ 4336311 w 7267540"/>
                <a:gd name="connsiteY2400" fmla="*/ 1301296 h 3952232"/>
                <a:gd name="connsiteX2401" fmla="*/ 4343685 w 7267540"/>
                <a:gd name="connsiteY2401" fmla="*/ 1306668 h 3952232"/>
                <a:gd name="connsiteX2402" fmla="*/ 4336013 w 7267540"/>
                <a:gd name="connsiteY2402" fmla="*/ 1300997 h 3952232"/>
                <a:gd name="connsiteX2403" fmla="*/ 4318774 w 7267540"/>
                <a:gd name="connsiteY2403" fmla="*/ 1289457 h 3952232"/>
                <a:gd name="connsiteX2404" fmla="*/ 4318076 w 7267540"/>
                <a:gd name="connsiteY2404" fmla="*/ 1288860 h 3952232"/>
                <a:gd name="connsiteX2405" fmla="*/ 4315386 w 7267540"/>
                <a:gd name="connsiteY2405" fmla="*/ 1283985 h 3952232"/>
                <a:gd name="connsiteX2406" fmla="*/ 4318774 w 7267540"/>
                <a:gd name="connsiteY2406" fmla="*/ 1289457 h 3952232"/>
                <a:gd name="connsiteX2407" fmla="*/ 4329236 w 7267540"/>
                <a:gd name="connsiteY2407" fmla="*/ 1296918 h 3952232"/>
                <a:gd name="connsiteX2408" fmla="*/ 4318774 w 7267540"/>
                <a:gd name="connsiteY2408" fmla="*/ 1289457 h 3952232"/>
                <a:gd name="connsiteX2409" fmla="*/ 4315187 w 7267540"/>
                <a:gd name="connsiteY2409" fmla="*/ 1277916 h 3952232"/>
                <a:gd name="connsiteX2410" fmla="*/ 4314589 w 7267540"/>
                <a:gd name="connsiteY2410" fmla="*/ 1272942 h 3952232"/>
                <a:gd name="connsiteX2411" fmla="*/ 4316084 w 7267540"/>
                <a:gd name="connsiteY2411" fmla="*/ 1274931 h 3952232"/>
                <a:gd name="connsiteX2412" fmla="*/ 4314689 w 7267540"/>
                <a:gd name="connsiteY2412" fmla="*/ 1278016 h 3952232"/>
                <a:gd name="connsiteX2413" fmla="*/ 4310404 w 7267540"/>
                <a:gd name="connsiteY2413" fmla="*/ 1267967 h 3952232"/>
                <a:gd name="connsiteX2414" fmla="*/ 4312098 w 7267540"/>
                <a:gd name="connsiteY2414" fmla="*/ 1269161 h 3952232"/>
                <a:gd name="connsiteX2415" fmla="*/ 4314589 w 7267540"/>
                <a:gd name="connsiteY2415" fmla="*/ 1272942 h 3952232"/>
                <a:gd name="connsiteX2416" fmla="*/ 4309906 w 7267540"/>
                <a:gd name="connsiteY2416" fmla="*/ 1267868 h 3952232"/>
                <a:gd name="connsiteX2417" fmla="*/ 4301535 w 7267540"/>
                <a:gd name="connsiteY2417" fmla="*/ 1259809 h 3952232"/>
                <a:gd name="connsiteX2418" fmla="*/ 4294859 w 7267540"/>
                <a:gd name="connsiteY2418" fmla="*/ 1254537 h 3952232"/>
                <a:gd name="connsiteX2419" fmla="*/ 4288980 w 7267540"/>
                <a:gd name="connsiteY2419" fmla="*/ 1250557 h 3952232"/>
                <a:gd name="connsiteX2420" fmla="*/ 4294859 w 7267540"/>
                <a:gd name="connsiteY2420" fmla="*/ 1254537 h 3952232"/>
                <a:gd name="connsiteX2421" fmla="*/ 4297151 w 7267540"/>
                <a:gd name="connsiteY2421" fmla="*/ 1255233 h 3952232"/>
                <a:gd name="connsiteX2422" fmla="*/ 4301535 w 7267540"/>
                <a:gd name="connsiteY2422" fmla="*/ 1259809 h 3952232"/>
                <a:gd name="connsiteX2423" fmla="*/ 4310205 w 7267540"/>
                <a:gd name="connsiteY2423" fmla="*/ 1267868 h 3952232"/>
                <a:gd name="connsiteX2424" fmla="*/ 4301037 w 7267540"/>
                <a:gd name="connsiteY2424" fmla="*/ 1259610 h 3952232"/>
                <a:gd name="connsiteX2425" fmla="*/ 4293763 w 7267540"/>
                <a:gd name="connsiteY2425" fmla="*/ 1413517 h 3952232"/>
                <a:gd name="connsiteX2426" fmla="*/ 4285792 w 7267540"/>
                <a:gd name="connsiteY2426" fmla="*/ 1418591 h 3952232"/>
                <a:gd name="connsiteX2427" fmla="*/ 4293265 w 7267540"/>
                <a:gd name="connsiteY2427" fmla="*/ 1413418 h 3952232"/>
                <a:gd name="connsiteX2428" fmla="*/ 4287087 w 7267540"/>
                <a:gd name="connsiteY2428" fmla="*/ 1246777 h 3952232"/>
                <a:gd name="connsiteX2429" fmla="*/ 4288881 w 7267540"/>
                <a:gd name="connsiteY2429" fmla="*/ 1250458 h 3952232"/>
                <a:gd name="connsiteX2430" fmla="*/ 4287187 w 7267540"/>
                <a:gd name="connsiteY2430" fmla="*/ 1249264 h 3952232"/>
                <a:gd name="connsiteX2431" fmla="*/ 4286589 w 7267540"/>
                <a:gd name="connsiteY2431" fmla="*/ 1246677 h 3952232"/>
                <a:gd name="connsiteX2432" fmla="*/ 4280212 w 7267540"/>
                <a:gd name="connsiteY2432" fmla="*/ 1421476 h 3952232"/>
                <a:gd name="connsiteX2433" fmla="*/ 4277621 w 7267540"/>
                <a:gd name="connsiteY2433" fmla="*/ 1421476 h 3952232"/>
                <a:gd name="connsiteX2434" fmla="*/ 4269849 w 7267540"/>
                <a:gd name="connsiteY2434" fmla="*/ 1421476 h 3952232"/>
                <a:gd name="connsiteX2435" fmla="*/ 4257493 w 7267540"/>
                <a:gd name="connsiteY2435" fmla="*/ 1423665 h 3952232"/>
                <a:gd name="connsiteX2436" fmla="*/ 4269251 w 7267540"/>
                <a:gd name="connsiteY2436" fmla="*/ 1421476 h 3952232"/>
                <a:gd name="connsiteX2437" fmla="*/ 4268952 w 7267540"/>
                <a:gd name="connsiteY2437" fmla="*/ 1421476 h 3952232"/>
                <a:gd name="connsiteX2438" fmla="*/ 4276724 w 7267540"/>
                <a:gd name="connsiteY2438" fmla="*/ 1421476 h 3952232"/>
                <a:gd name="connsiteX2439" fmla="*/ 4284696 w 7267540"/>
                <a:gd name="connsiteY2439" fmla="*/ 1418989 h 3952232"/>
                <a:gd name="connsiteX2440" fmla="*/ 4279713 w 7267540"/>
                <a:gd name="connsiteY2440" fmla="*/ 1421377 h 3952232"/>
                <a:gd name="connsiteX2441" fmla="*/ 4252311 w 7267540"/>
                <a:gd name="connsiteY2441" fmla="*/ 1426451 h 3952232"/>
                <a:gd name="connsiteX2442" fmla="*/ 4247130 w 7267540"/>
                <a:gd name="connsiteY2442" fmla="*/ 1425854 h 3952232"/>
                <a:gd name="connsiteX2443" fmla="*/ 4239358 w 7267540"/>
                <a:gd name="connsiteY2443" fmla="*/ 1426451 h 3952232"/>
                <a:gd name="connsiteX2444" fmla="*/ 4247130 w 7267540"/>
                <a:gd name="connsiteY2444" fmla="*/ 1425854 h 3952232"/>
                <a:gd name="connsiteX2445" fmla="*/ 4257094 w 7267540"/>
                <a:gd name="connsiteY2445" fmla="*/ 1423665 h 3952232"/>
                <a:gd name="connsiteX2446" fmla="*/ 4251813 w 7267540"/>
                <a:gd name="connsiteY2446" fmla="*/ 1426351 h 3952232"/>
                <a:gd name="connsiteX2447" fmla="*/ 4233479 w 7267540"/>
                <a:gd name="connsiteY2447" fmla="*/ 1439583 h 3952232"/>
                <a:gd name="connsiteX2448" fmla="*/ 4233479 w 7267540"/>
                <a:gd name="connsiteY2448" fmla="*/ 1441374 h 3952232"/>
                <a:gd name="connsiteX2449" fmla="*/ 4232083 w 7267540"/>
                <a:gd name="connsiteY2449" fmla="*/ 1444557 h 3952232"/>
                <a:gd name="connsiteX2450" fmla="*/ 4233578 w 7267540"/>
                <a:gd name="connsiteY2450" fmla="*/ 1439583 h 3952232"/>
                <a:gd name="connsiteX2451" fmla="*/ 4236667 w 7267540"/>
                <a:gd name="connsiteY2451" fmla="*/ 1431226 h 3952232"/>
                <a:gd name="connsiteX2452" fmla="*/ 4232981 w 7267540"/>
                <a:gd name="connsiteY2452" fmla="*/ 1439484 h 3952232"/>
                <a:gd name="connsiteX2453" fmla="*/ 4229692 w 7267540"/>
                <a:gd name="connsiteY2453" fmla="*/ 1457192 h 3952232"/>
                <a:gd name="connsiteX2454" fmla="*/ 4231984 w 7267540"/>
                <a:gd name="connsiteY2454" fmla="*/ 1460873 h 3952232"/>
                <a:gd name="connsiteX2455" fmla="*/ 4231984 w 7267540"/>
                <a:gd name="connsiteY2455" fmla="*/ 1460873 h 3952232"/>
                <a:gd name="connsiteX2456" fmla="*/ 4232582 w 7267540"/>
                <a:gd name="connsiteY2456" fmla="*/ 1462067 h 3952232"/>
                <a:gd name="connsiteX2457" fmla="*/ 4231585 w 7267540"/>
                <a:gd name="connsiteY2457" fmla="*/ 1460476 h 3952232"/>
                <a:gd name="connsiteX2458" fmla="*/ 4229293 w 7267540"/>
                <a:gd name="connsiteY2458" fmla="*/ 1456795 h 3952232"/>
                <a:gd name="connsiteX2459" fmla="*/ 4227998 w 7267540"/>
                <a:gd name="connsiteY2459" fmla="*/ 1454805 h 3952232"/>
                <a:gd name="connsiteX2460" fmla="*/ 4229293 w 7267540"/>
                <a:gd name="connsiteY2460" fmla="*/ 1451621 h 3952232"/>
                <a:gd name="connsiteX2461" fmla="*/ 4229094 w 7267540"/>
                <a:gd name="connsiteY2461" fmla="*/ 1457093 h 3952232"/>
                <a:gd name="connsiteX2462" fmla="*/ 4230988 w 7267540"/>
                <a:gd name="connsiteY2462" fmla="*/ 1532206 h 3952232"/>
                <a:gd name="connsiteX2463" fmla="*/ 4230988 w 7267540"/>
                <a:gd name="connsiteY2463" fmla="*/ 1533798 h 3952232"/>
                <a:gd name="connsiteX2464" fmla="*/ 4226902 w 7267540"/>
                <a:gd name="connsiteY2464" fmla="*/ 1548621 h 3952232"/>
                <a:gd name="connsiteX2465" fmla="*/ 4210860 w 7267540"/>
                <a:gd name="connsiteY2465" fmla="*/ 1558570 h 3952232"/>
                <a:gd name="connsiteX2466" fmla="*/ 4226902 w 7267540"/>
                <a:gd name="connsiteY2466" fmla="*/ 1548621 h 3952232"/>
                <a:gd name="connsiteX2467" fmla="*/ 4226902 w 7267540"/>
                <a:gd name="connsiteY2467" fmla="*/ 1547726 h 3952232"/>
                <a:gd name="connsiteX2468" fmla="*/ 4230489 w 7267540"/>
                <a:gd name="connsiteY2468" fmla="*/ 1532106 h 3952232"/>
                <a:gd name="connsiteX2469" fmla="*/ 4130646 w 7267540"/>
                <a:gd name="connsiteY2469" fmla="*/ 1562550 h 3952232"/>
                <a:gd name="connsiteX2470" fmla="*/ 4124767 w 7267540"/>
                <a:gd name="connsiteY2470" fmla="*/ 1562550 h 3952232"/>
                <a:gd name="connsiteX2471" fmla="*/ 4054418 w 7267540"/>
                <a:gd name="connsiteY2471" fmla="*/ 1565037 h 3952232"/>
                <a:gd name="connsiteX2472" fmla="*/ 4130148 w 7267540"/>
                <a:gd name="connsiteY2472" fmla="*/ 1562450 h 3952232"/>
                <a:gd name="connsiteX2473" fmla="*/ 3544240 w 7267540"/>
                <a:gd name="connsiteY2473" fmla="*/ 1182806 h 3952232"/>
                <a:gd name="connsiteX2474" fmla="*/ 3545635 w 7267540"/>
                <a:gd name="connsiteY2474" fmla="*/ 1179026 h 3952232"/>
                <a:gd name="connsiteX2475" fmla="*/ 3545635 w 7267540"/>
                <a:gd name="connsiteY2475" fmla="*/ 1174250 h 3952232"/>
                <a:gd name="connsiteX2476" fmla="*/ 3545635 w 7267540"/>
                <a:gd name="connsiteY2476" fmla="*/ 1172758 h 3952232"/>
                <a:gd name="connsiteX2477" fmla="*/ 3547329 w 7267540"/>
                <a:gd name="connsiteY2477" fmla="*/ 1170868 h 3952232"/>
                <a:gd name="connsiteX2478" fmla="*/ 3545835 w 7267540"/>
                <a:gd name="connsiteY2478" fmla="*/ 1174250 h 3952232"/>
                <a:gd name="connsiteX2479" fmla="*/ 3545835 w 7267540"/>
                <a:gd name="connsiteY2479" fmla="*/ 1179026 h 3952232"/>
                <a:gd name="connsiteX2480" fmla="*/ 3545835 w 7267540"/>
                <a:gd name="connsiteY2480" fmla="*/ 1180617 h 3952232"/>
                <a:gd name="connsiteX2481" fmla="*/ 3544240 w 7267540"/>
                <a:gd name="connsiteY2481" fmla="*/ 1182806 h 3952232"/>
                <a:gd name="connsiteX2482" fmla="*/ 3536568 w 7267540"/>
                <a:gd name="connsiteY2482" fmla="*/ 1196336 h 3952232"/>
                <a:gd name="connsiteX2483" fmla="*/ 3541251 w 7267540"/>
                <a:gd name="connsiteY2483" fmla="*/ 1214642 h 3952232"/>
                <a:gd name="connsiteX2484" fmla="*/ 3535870 w 7267540"/>
                <a:gd name="connsiteY2484" fmla="*/ 1197630 h 3952232"/>
                <a:gd name="connsiteX2485" fmla="*/ 3536568 w 7267540"/>
                <a:gd name="connsiteY2485" fmla="*/ 1196336 h 3952232"/>
                <a:gd name="connsiteX2486" fmla="*/ 3543742 w 7267540"/>
                <a:gd name="connsiteY2486" fmla="*/ 1182707 h 3952232"/>
                <a:gd name="connsiteX2487" fmla="*/ 3544240 w 7267540"/>
                <a:gd name="connsiteY2487" fmla="*/ 1243692 h 3952232"/>
                <a:gd name="connsiteX2488" fmla="*/ 3537066 w 7267540"/>
                <a:gd name="connsiteY2488" fmla="*/ 1244289 h 3952232"/>
                <a:gd name="connsiteX2489" fmla="*/ 3543543 w 7267540"/>
                <a:gd name="connsiteY2489" fmla="*/ 1243593 h 3952232"/>
                <a:gd name="connsiteX2490" fmla="*/ 3530888 w 7267540"/>
                <a:gd name="connsiteY2490" fmla="*/ 676614 h 3952232"/>
                <a:gd name="connsiteX2491" fmla="*/ 3529095 w 7267540"/>
                <a:gd name="connsiteY2491" fmla="*/ 679300 h 3952232"/>
                <a:gd name="connsiteX2492" fmla="*/ 3523614 w 7267540"/>
                <a:gd name="connsiteY2492" fmla="*/ 683081 h 3952232"/>
                <a:gd name="connsiteX2493" fmla="*/ 3530190 w 7267540"/>
                <a:gd name="connsiteY2493" fmla="*/ 676415 h 3952232"/>
                <a:gd name="connsiteX2494" fmla="*/ 2675444 w 7267540"/>
                <a:gd name="connsiteY2494" fmla="*/ 1160123 h 3952232"/>
                <a:gd name="connsiteX2495" fmla="*/ 2760141 w 7267540"/>
                <a:gd name="connsiteY2495" fmla="*/ 1160123 h 3952232"/>
                <a:gd name="connsiteX2496" fmla="*/ 2600113 w 7267540"/>
                <a:gd name="connsiteY2496" fmla="*/ 1110379 h 3952232"/>
                <a:gd name="connsiteX2497" fmla="*/ 2600113 w 7267540"/>
                <a:gd name="connsiteY2497" fmla="*/ 1083020 h 3952232"/>
                <a:gd name="connsiteX2498" fmla="*/ 2600113 w 7267540"/>
                <a:gd name="connsiteY2498" fmla="*/ 1110379 h 3952232"/>
                <a:gd name="connsiteX2499" fmla="*/ 2600113 w 7267540"/>
                <a:gd name="connsiteY2499" fmla="*/ 1111175 h 3952232"/>
                <a:gd name="connsiteX2500" fmla="*/ 2600113 w 7267540"/>
                <a:gd name="connsiteY2500" fmla="*/ 1149577 h 3952232"/>
                <a:gd name="connsiteX2501" fmla="*/ 2600113 w 7267540"/>
                <a:gd name="connsiteY2501" fmla="*/ 1110379 h 3952232"/>
                <a:gd name="connsiteX2502" fmla="*/ 2732241 w 7267540"/>
                <a:gd name="connsiteY2502" fmla="*/ 2144054 h 3952232"/>
                <a:gd name="connsiteX2503" fmla="*/ 2852810 w 7267540"/>
                <a:gd name="connsiteY2503" fmla="*/ 2144651 h 3952232"/>
                <a:gd name="connsiteX2504" fmla="*/ 2852810 w 7267540"/>
                <a:gd name="connsiteY2504" fmla="*/ 2144651 h 3952232"/>
                <a:gd name="connsiteX2505" fmla="*/ 2633593 w 7267540"/>
                <a:gd name="connsiteY2505" fmla="*/ 2144651 h 3952232"/>
                <a:gd name="connsiteX2506" fmla="*/ 4221920 w 7267540"/>
                <a:gd name="connsiteY2506" fmla="*/ 2755901 h 3952232"/>
                <a:gd name="connsiteX2507" fmla="*/ 4225009 w 7267540"/>
                <a:gd name="connsiteY2507" fmla="*/ 2752220 h 3952232"/>
                <a:gd name="connsiteX2508" fmla="*/ 4225009 w 7267540"/>
                <a:gd name="connsiteY2508" fmla="*/ 2748838 h 3952232"/>
                <a:gd name="connsiteX2509" fmla="*/ 4221123 w 7267540"/>
                <a:gd name="connsiteY2509" fmla="*/ 2744659 h 3952232"/>
                <a:gd name="connsiteX2510" fmla="*/ 4218931 w 7267540"/>
                <a:gd name="connsiteY2510" fmla="*/ 2742968 h 3952232"/>
                <a:gd name="connsiteX2511" fmla="*/ 4220226 w 7267540"/>
                <a:gd name="connsiteY2511" fmla="*/ 2741476 h 3952232"/>
                <a:gd name="connsiteX2512" fmla="*/ 4225208 w 7267540"/>
                <a:gd name="connsiteY2512" fmla="*/ 2737994 h 3952232"/>
                <a:gd name="connsiteX2513" fmla="*/ 4220226 w 7267540"/>
                <a:gd name="connsiteY2513" fmla="*/ 2741476 h 3952232"/>
                <a:gd name="connsiteX2514" fmla="*/ 4221123 w 7267540"/>
                <a:gd name="connsiteY2514" fmla="*/ 2744659 h 3952232"/>
                <a:gd name="connsiteX2515" fmla="*/ 4225009 w 7267540"/>
                <a:gd name="connsiteY2515" fmla="*/ 2748838 h 3952232"/>
                <a:gd name="connsiteX2516" fmla="*/ 4226902 w 7267540"/>
                <a:gd name="connsiteY2516" fmla="*/ 2750032 h 3952232"/>
                <a:gd name="connsiteX2517" fmla="*/ 4225009 w 7267540"/>
                <a:gd name="connsiteY2517" fmla="*/ 2752220 h 3952232"/>
                <a:gd name="connsiteX2518" fmla="*/ 4220923 w 7267540"/>
                <a:gd name="connsiteY2518" fmla="*/ 2756896 h 3952232"/>
                <a:gd name="connsiteX2519" fmla="*/ 4223415 w 7267540"/>
                <a:gd name="connsiteY2519" fmla="*/ 2759383 h 3952232"/>
                <a:gd name="connsiteX2520" fmla="*/ 4231685 w 7267540"/>
                <a:gd name="connsiteY2520" fmla="*/ 2767044 h 3952232"/>
                <a:gd name="connsiteX2521" fmla="*/ 4223415 w 7267540"/>
                <a:gd name="connsiteY2521" fmla="*/ 2759383 h 3952232"/>
                <a:gd name="connsiteX2522" fmla="*/ 4208966 w 7267540"/>
                <a:gd name="connsiteY2522" fmla="*/ 2756896 h 3952232"/>
                <a:gd name="connsiteX2523" fmla="*/ 4163130 w 7267540"/>
                <a:gd name="connsiteY2523" fmla="*/ 2756896 h 3952232"/>
                <a:gd name="connsiteX2524" fmla="*/ 4221920 w 7267540"/>
                <a:gd name="connsiteY2524" fmla="*/ 2755404 h 3952232"/>
                <a:gd name="connsiteX2525" fmla="*/ 4332425 w 7267540"/>
                <a:gd name="connsiteY2525" fmla="*/ 2472661 h 3952232"/>
                <a:gd name="connsiteX2526" fmla="*/ 4336610 w 7267540"/>
                <a:gd name="connsiteY2526" fmla="*/ 2467686 h 3952232"/>
                <a:gd name="connsiteX2527" fmla="*/ 4332425 w 7267540"/>
                <a:gd name="connsiteY2527" fmla="*/ 2472163 h 3952232"/>
                <a:gd name="connsiteX2528" fmla="*/ 4327244 w 7267540"/>
                <a:gd name="connsiteY2528" fmla="*/ 2289902 h 3952232"/>
                <a:gd name="connsiteX2529" fmla="*/ 4321564 w 7267540"/>
                <a:gd name="connsiteY2529" fmla="*/ 2301244 h 3952232"/>
                <a:gd name="connsiteX2530" fmla="*/ 4327244 w 7267540"/>
                <a:gd name="connsiteY2530" fmla="*/ 2289405 h 3952232"/>
                <a:gd name="connsiteX2531" fmla="*/ 4329535 w 7267540"/>
                <a:gd name="connsiteY2531" fmla="*/ 2450475 h 3952232"/>
                <a:gd name="connsiteX2532" fmla="*/ 4333123 w 7267540"/>
                <a:gd name="connsiteY2532" fmla="*/ 2449082 h 3952232"/>
                <a:gd name="connsiteX2533" fmla="*/ 4329336 w 7267540"/>
                <a:gd name="connsiteY2533" fmla="*/ 2451569 h 3952232"/>
                <a:gd name="connsiteX2534" fmla="*/ 4356439 w 7267540"/>
                <a:gd name="connsiteY2534" fmla="*/ 2436646 h 3952232"/>
                <a:gd name="connsiteX2535" fmla="*/ 4349863 w 7267540"/>
                <a:gd name="connsiteY2535" fmla="*/ 2436049 h 3952232"/>
                <a:gd name="connsiteX2536" fmla="*/ 4356439 w 7267540"/>
                <a:gd name="connsiteY2536" fmla="*/ 2436149 h 3952232"/>
                <a:gd name="connsiteX2537" fmla="*/ 4401279 w 7267540"/>
                <a:gd name="connsiteY2537" fmla="*/ 2324126 h 3952232"/>
                <a:gd name="connsiteX2538" fmla="*/ 4401777 w 7267540"/>
                <a:gd name="connsiteY2538" fmla="*/ 2328404 h 3952232"/>
                <a:gd name="connsiteX2539" fmla="*/ 4401180 w 7267540"/>
                <a:gd name="connsiteY2539" fmla="*/ 2323429 h 3952232"/>
                <a:gd name="connsiteX2540" fmla="*/ 4401279 w 7267540"/>
                <a:gd name="connsiteY2540" fmla="*/ 2324126 h 3952232"/>
                <a:gd name="connsiteX2541" fmla="*/ 4401777 w 7267540"/>
                <a:gd name="connsiteY2541" fmla="*/ 2328503 h 3952232"/>
                <a:gd name="connsiteX2542" fmla="*/ 4402276 w 7267540"/>
                <a:gd name="connsiteY2542" fmla="*/ 2330095 h 3952232"/>
                <a:gd name="connsiteX2543" fmla="*/ 4399884 w 7267540"/>
                <a:gd name="connsiteY2543" fmla="*/ 2330991 h 3952232"/>
                <a:gd name="connsiteX2544" fmla="*/ 4391315 w 7267540"/>
                <a:gd name="connsiteY2544" fmla="*/ 2335667 h 3952232"/>
                <a:gd name="connsiteX2545" fmla="*/ 4399884 w 7267540"/>
                <a:gd name="connsiteY2545" fmla="*/ 2330991 h 3952232"/>
                <a:gd name="connsiteX2546" fmla="*/ 4401777 w 7267540"/>
                <a:gd name="connsiteY2546" fmla="*/ 2328006 h 3952232"/>
                <a:gd name="connsiteX2547" fmla="*/ 4390916 w 7267540"/>
                <a:gd name="connsiteY2547" fmla="*/ 2335965 h 3952232"/>
                <a:gd name="connsiteX2548" fmla="*/ 4385336 w 7267540"/>
                <a:gd name="connsiteY2548" fmla="*/ 2340044 h 3952232"/>
                <a:gd name="connsiteX2549" fmla="*/ 4390916 w 7267540"/>
                <a:gd name="connsiteY2549" fmla="*/ 2335468 h 3952232"/>
                <a:gd name="connsiteX2550" fmla="*/ 4408852 w 7267540"/>
                <a:gd name="connsiteY2550" fmla="*/ 2263240 h 3952232"/>
                <a:gd name="connsiteX2551" fmla="*/ 4415130 w 7267540"/>
                <a:gd name="connsiteY2551" fmla="*/ 2262742 h 3952232"/>
                <a:gd name="connsiteX2552" fmla="*/ 4408454 w 7267540"/>
                <a:gd name="connsiteY2552" fmla="*/ 2262742 h 3952232"/>
                <a:gd name="connsiteX2553" fmla="*/ 4421009 w 7267540"/>
                <a:gd name="connsiteY2553" fmla="*/ 2247819 h 3952232"/>
                <a:gd name="connsiteX2554" fmla="*/ 4416824 w 7267540"/>
                <a:gd name="connsiteY2554" fmla="*/ 2250107 h 3952232"/>
                <a:gd name="connsiteX2555" fmla="*/ 4418219 w 7267540"/>
                <a:gd name="connsiteY2555" fmla="*/ 2247620 h 3952232"/>
                <a:gd name="connsiteX2556" fmla="*/ 4421009 w 7267540"/>
                <a:gd name="connsiteY2556" fmla="*/ 2247620 h 3952232"/>
                <a:gd name="connsiteX2557" fmla="*/ 4426589 w 7267540"/>
                <a:gd name="connsiteY2557" fmla="*/ 2246526 h 3952232"/>
                <a:gd name="connsiteX2558" fmla="*/ 4428881 w 7267540"/>
                <a:gd name="connsiteY2558" fmla="*/ 2243143 h 3952232"/>
                <a:gd name="connsiteX2559" fmla="*/ 4426489 w 7267540"/>
                <a:gd name="connsiteY2559" fmla="*/ 2237074 h 3952232"/>
                <a:gd name="connsiteX2560" fmla="*/ 4428881 w 7267540"/>
                <a:gd name="connsiteY2560" fmla="*/ 2243143 h 3952232"/>
                <a:gd name="connsiteX2561" fmla="*/ 4428183 w 7267540"/>
                <a:gd name="connsiteY2561" fmla="*/ 2246327 h 3952232"/>
                <a:gd name="connsiteX2562" fmla="*/ 4426589 w 7267540"/>
                <a:gd name="connsiteY2562" fmla="*/ 2246327 h 3952232"/>
                <a:gd name="connsiteX2563" fmla="*/ 4421009 w 7267540"/>
                <a:gd name="connsiteY2563" fmla="*/ 2247322 h 3952232"/>
                <a:gd name="connsiteX2564" fmla="*/ 4425194 w 7267540"/>
                <a:gd name="connsiteY2564" fmla="*/ 2235582 h 3952232"/>
                <a:gd name="connsiteX2565" fmla="*/ 4427486 w 7267540"/>
                <a:gd name="connsiteY2565" fmla="*/ 2228121 h 3952232"/>
                <a:gd name="connsiteX2566" fmla="*/ 4425194 w 7267540"/>
                <a:gd name="connsiteY2566" fmla="*/ 2235085 h 3952232"/>
                <a:gd name="connsiteX2567" fmla="*/ 4426190 w 7267540"/>
                <a:gd name="connsiteY2567" fmla="*/ 2222748 h 3952232"/>
                <a:gd name="connsiteX2568" fmla="*/ 4427386 w 7267540"/>
                <a:gd name="connsiteY2568" fmla="*/ 2227225 h 3952232"/>
                <a:gd name="connsiteX2569" fmla="*/ 4421208 w 7267540"/>
                <a:gd name="connsiteY2569" fmla="*/ 2216680 h 3952232"/>
                <a:gd name="connsiteX2570" fmla="*/ 4434461 w 7267540"/>
                <a:gd name="connsiteY2570" fmla="*/ 2212401 h 3952232"/>
                <a:gd name="connsiteX2571" fmla="*/ 4421208 w 7267540"/>
                <a:gd name="connsiteY2571" fmla="*/ 2216680 h 3952232"/>
                <a:gd name="connsiteX2572" fmla="*/ 4433863 w 7267540"/>
                <a:gd name="connsiteY2572" fmla="*/ 2222549 h 3952232"/>
                <a:gd name="connsiteX2573" fmla="*/ 4468539 w 7267540"/>
                <a:gd name="connsiteY2573" fmla="*/ 2222549 h 3952232"/>
                <a:gd name="connsiteX2574" fmla="*/ 4496838 w 7267540"/>
                <a:gd name="connsiteY2574" fmla="*/ 2222549 h 3952232"/>
                <a:gd name="connsiteX2575" fmla="*/ 4546660 w 7267540"/>
                <a:gd name="connsiteY2575" fmla="*/ 2222549 h 3952232"/>
                <a:gd name="connsiteX2576" fmla="*/ 4498133 w 7267540"/>
                <a:gd name="connsiteY2576" fmla="*/ 2222549 h 3952232"/>
                <a:gd name="connsiteX2577" fmla="*/ 4497037 w 7267540"/>
                <a:gd name="connsiteY2577" fmla="*/ 2222549 h 3952232"/>
                <a:gd name="connsiteX2578" fmla="*/ 4468738 w 7267540"/>
                <a:gd name="connsiteY2578" fmla="*/ 2222549 h 3952232"/>
                <a:gd name="connsiteX2579" fmla="*/ 4434062 w 7267540"/>
                <a:gd name="connsiteY2579" fmla="*/ 2222549 h 3952232"/>
                <a:gd name="connsiteX2580" fmla="*/ 4426190 w 7267540"/>
                <a:gd name="connsiteY2580" fmla="*/ 2222251 h 3952232"/>
                <a:gd name="connsiteX2581" fmla="*/ 4586518 w 7267540"/>
                <a:gd name="connsiteY2581" fmla="*/ 2072920 h 3952232"/>
                <a:gd name="connsiteX2582" fmla="*/ 4593692 w 7267540"/>
                <a:gd name="connsiteY2582" fmla="*/ 2071627 h 3952232"/>
                <a:gd name="connsiteX2583" fmla="*/ 4586518 w 7267540"/>
                <a:gd name="connsiteY2583" fmla="*/ 2072423 h 3952232"/>
                <a:gd name="connsiteX2584" fmla="*/ 4614617 w 7267540"/>
                <a:gd name="connsiteY2584" fmla="*/ 2216779 h 3952232"/>
                <a:gd name="connsiteX2585" fmla="*/ 4612525 w 7267540"/>
                <a:gd name="connsiteY2585" fmla="*/ 2222748 h 3952232"/>
                <a:gd name="connsiteX2586" fmla="*/ 4614617 w 7267540"/>
                <a:gd name="connsiteY2586" fmla="*/ 2216282 h 3952232"/>
                <a:gd name="connsiteX2587" fmla="*/ 4816994 w 7267540"/>
                <a:gd name="connsiteY2587" fmla="*/ 2456046 h 3952232"/>
                <a:gd name="connsiteX2588" fmla="*/ 4831742 w 7267540"/>
                <a:gd name="connsiteY2588" fmla="*/ 2456046 h 3952232"/>
                <a:gd name="connsiteX2589" fmla="*/ 4909165 w 7267540"/>
                <a:gd name="connsiteY2589" fmla="*/ 2456046 h 3952232"/>
                <a:gd name="connsiteX2590" fmla="*/ 4958987 w 7267540"/>
                <a:gd name="connsiteY2590" fmla="*/ 2456046 h 3952232"/>
                <a:gd name="connsiteX2591" fmla="*/ 4920525 w 7267540"/>
                <a:gd name="connsiteY2591" fmla="*/ 2456544 h 3952232"/>
                <a:gd name="connsiteX2592" fmla="*/ 4921820 w 7267540"/>
                <a:gd name="connsiteY2592" fmla="*/ 2464403 h 3952232"/>
                <a:gd name="connsiteX2593" fmla="*/ 4909265 w 7267540"/>
                <a:gd name="connsiteY2593" fmla="*/ 2456046 h 3952232"/>
                <a:gd name="connsiteX2594" fmla="*/ 4816994 w 7267540"/>
                <a:gd name="connsiteY2594" fmla="*/ 2456046 h 3952232"/>
                <a:gd name="connsiteX2595" fmla="*/ 4983201 w 7267540"/>
                <a:gd name="connsiteY2595" fmla="*/ 3015066 h 3952232"/>
                <a:gd name="connsiteX2596" fmla="*/ 4984098 w 7267540"/>
                <a:gd name="connsiteY2596" fmla="*/ 3013176 h 3952232"/>
                <a:gd name="connsiteX2597" fmla="*/ 4985194 w 7267540"/>
                <a:gd name="connsiteY2597" fmla="*/ 3005217 h 3952232"/>
                <a:gd name="connsiteX2598" fmla="*/ 4984098 w 7267540"/>
                <a:gd name="connsiteY2598" fmla="*/ 3013176 h 3952232"/>
                <a:gd name="connsiteX2599" fmla="*/ 4983001 w 7267540"/>
                <a:gd name="connsiteY2599" fmla="*/ 3022229 h 3952232"/>
                <a:gd name="connsiteX2600" fmla="*/ 4983201 w 7267540"/>
                <a:gd name="connsiteY2600" fmla="*/ 3015066 h 3952232"/>
                <a:gd name="connsiteX2601" fmla="*/ 4987187 w 7267540"/>
                <a:gd name="connsiteY2601" fmla="*/ 2984225 h 3952232"/>
                <a:gd name="connsiteX2602" fmla="*/ 4988581 w 7267540"/>
                <a:gd name="connsiteY2602" fmla="*/ 2981240 h 3952232"/>
                <a:gd name="connsiteX2603" fmla="*/ 4987685 w 7267540"/>
                <a:gd name="connsiteY2603" fmla="*/ 2986712 h 3952232"/>
                <a:gd name="connsiteX2604" fmla="*/ 4986589 w 7267540"/>
                <a:gd name="connsiteY2604" fmla="*/ 2996661 h 3952232"/>
                <a:gd name="connsiteX2605" fmla="*/ 4987685 w 7267540"/>
                <a:gd name="connsiteY2605" fmla="*/ 2986712 h 3952232"/>
                <a:gd name="connsiteX2606" fmla="*/ 4987187 w 7267540"/>
                <a:gd name="connsiteY2606" fmla="*/ 2984225 h 3952232"/>
                <a:gd name="connsiteX2607" fmla="*/ 4986389 w 7267540"/>
                <a:gd name="connsiteY2607" fmla="*/ 3030487 h 3952232"/>
                <a:gd name="connsiteX2608" fmla="*/ 4983201 w 7267540"/>
                <a:gd name="connsiteY2608" fmla="*/ 3026507 h 3952232"/>
                <a:gd name="connsiteX2609" fmla="*/ 4983201 w 7267540"/>
                <a:gd name="connsiteY2609" fmla="*/ 3022926 h 3952232"/>
                <a:gd name="connsiteX2610" fmla="*/ 4986389 w 7267540"/>
                <a:gd name="connsiteY2610" fmla="*/ 3030487 h 3952232"/>
                <a:gd name="connsiteX2611" fmla="*/ 4990176 w 7267540"/>
                <a:gd name="connsiteY2611" fmla="*/ 2977659 h 3952232"/>
                <a:gd name="connsiteX2612" fmla="*/ 4990176 w 7267540"/>
                <a:gd name="connsiteY2612" fmla="*/ 2972187 h 3952232"/>
                <a:gd name="connsiteX2613" fmla="*/ 4988880 w 7267540"/>
                <a:gd name="connsiteY2613" fmla="*/ 2969799 h 3952232"/>
                <a:gd name="connsiteX2614" fmla="*/ 4988880 w 7267540"/>
                <a:gd name="connsiteY2614" fmla="*/ 2967113 h 3952232"/>
                <a:gd name="connsiteX2615" fmla="*/ 4984396 w 7267540"/>
                <a:gd name="connsiteY2615" fmla="*/ 2957164 h 3952232"/>
                <a:gd name="connsiteX2616" fmla="*/ 4988880 w 7267540"/>
                <a:gd name="connsiteY2616" fmla="*/ 2967113 h 3952232"/>
                <a:gd name="connsiteX2617" fmla="*/ 4989877 w 7267540"/>
                <a:gd name="connsiteY2617" fmla="*/ 2972187 h 3952232"/>
                <a:gd name="connsiteX2618" fmla="*/ 4990176 w 7267540"/>
                <a:gd name="connsiteY2618" fmla="*/ 2977162 h 3952232"/>
                <a:gd name="connsiteX2619" fmla="*/ 4976425 w 7267540"/>
                <a:gd name="connsiteY2619" fmla="*/ 2783260 h 3952232"/>
                <a:gd name="connsiteX2620" fmla="*/ 4957891 w 7267540"/>
                <a:gd name="connsiteY2620" fmla="*/ 2683773 h 3952232"/>
                <a:gd name="connsiteX2621" fmla="*/ 4976425 w 7267540"/>
                <a:gd name="connsiteY2621" fmla="*/ 2783260 h 3952232"/>
                <a:gd name="connsiteX2622" fmla="*/ 5005621 w 7267540"/>
                <a:gd name="connsiteY2622" fmla="*/ 2862850 h 3952232"/>
                <a:gd name="connsiteX2623" fmla="*/ 4998745 w 7267540"/>
                <a:gd name="connsiteY2623" fmla="*/ 2857777 h 3952232"/>
                <a:gd name="connsiteX2624" fmla="*/ 5005421 w 7267540"/>
                <a:gd name="connsiteY2624" fmla="*/ 2862950 h 3952232"/>
                <a:gd name="connsiteX2625" fmla="*/ 4938660 w 7267540"/>
                <a:gd name="connsiteY2625" fmla="*/ 2564388 h 3952232"/>
                <a:gd name="connsiteX2626" fmla="*/ 4936567 w 7267540"/>
                <a:gd name="connsiteY2626" fmla="*/ 2553942 h 3952232"/>
                <a:gd name="connsiteX2627" fmla="*/ 4926603 w 7267540"/>
                <a:gd name="connsiteY2627" fmla="*/ 2493453 h 3952232"/>
                <a:gd name="connsiteX2628" fmla="*/ 4921521 w 7267540"/>
                <a:gd name="connsiteY2628" fmla="*/ 2464403 h 3952232"/>
                <a:gd name="connsiteX2629" fmla="*/ 4926603 w 7267540"/>
                <a:gd name="connsiteY2629" fmla="*/ 2493453 h 3952232"/>
                <a:gd name="connsiteX2630" fmla="*/ 4938461 w 7267540"/>
                <a:gd name="connsiteY2630" fmla="*/ 2564886 h 3952232"/>
                <a:gd name="connsiteX2631" fmla="*/ 5002332 w 7267540"/>
                <a:gd name="connsiteY2631" fmla="*/ 2455748 h 3952232"/>
                <a:gd name="connsiteX2632" fmla="*/ 5031229 w 7267540"/>
                <a:gd name="connsiteY2632" fmla="*/ 2455748 h 3952232"/>
                <a:gd name="connsiteX2633" fmla="*/ 5057535 w 7267540"/>
                <a:gd name="connsiteY2633" fmla="*/ 2455748 h 3952232"/>
                <a:gd name="connsiteX2634" fmla="*/ 5219058 w 7267540"/>
                <a:gd name="connsiteY2634" fmla="*/ 2453957 h 3952232"/>
                <a:gd name="connsiteX2635" fmla="*/ 5247457 w 7267540"/>
                <a:gd name="connsiteY2635" fmla="*/ 2449480 h 3952232"/>
                <a:gd name="connsiteX2636" fmla="*/ 5257421 w 7267540"/>
                <a:gd name="connsiteY2636" fmla="*/ 2446595 h 3952232"/>
                <a:gd name="connsiteX2637" fmla="*/ 5247457 w 7267540"/>
                <a:gd name="connsiteY2637" fmla="*/ 2449480 h 3952232"/>
                <a:gd name="connsiteX2638" fmla="*/ 5234204 w 7267540"/>
                <a:gd name="connsiteY2638" fmla="*/ 2455250 h 3952232"/>
                <a:gd name="connsiteX2639" fmla="*/ 5232510 w 7267540"/>
                <a:gd name="connsiteY2639" fmla="*/ 2460523 h 3952232"/>
                <a:gd name="connsiteX2640" fmla="*/ 5223841 w 7267540"/>
                <a:gd name="connsiteY2640" fmla="*/ 2471168 h 3952232"/>
                <a:gd name="connsiteX2641" fmla="*/ 5232510 w 7267540"/>
                <a:gd name="connsiteY2641" fmla="*/ 2460523 h 3952232"/>
                <a:gd name="connsiteX2642" fmla="*/ 5234204 w 7267540"/>
                <a:gd name="connsiteY2642" fmla="*/ 2455250 h 3952232"/>
                <a:gd name="connsiteX2643" fmla="*/ 5234204 w 7267540"/>
                <a:gd name="connsiteY2643" fmla="*/ 2453460 h 3952232"/>
                <a:gd name="connsiteX2644" fmla="*/ 5218759 w 7267540"/>
                <a:gd name="connsiteY2644" fmla="*/ 2453957 h 3952232"/>
                <a:gd name="connsiteX2645" fmla="*/ 5137948 w 7267540"/>
                <a:gd name="connsiteY2645" fmla="*/ 2455549 h 3952232"/>
                <a:gd name="connsiteX2646" fmla="*/ 5218859 w 7267540"/>
                <a:gd name="connsiteY2646" fmla="*/ 2454455 h 3952232"/>
                <a:gd name="connsiteX2647" fmla="*/ 5208097 w 7267540"/>
                <a:gd name="connsiteY2647" fmla="*/ 2487484 h 3952232"/>
                <a:gd name="connsiteX2648" fmla="*/ 5208097 w 7267540"/>
                <a:gd name="connsiteY2648" fmla="*/ 2490568 h 3952232"/>
                <a:gd name="connsiteX2649" fmla="*/ 5204510 w 7267540"/>
                <a:gd name="connsiteY2649" fmla="*/ 2494648 h 3952232"/>
                <a:gd name="connsiteX2650" fmla="*/ 5208097 w 7267540"/>
                <a:gd name="connsiteY2650" fmla="*/ 2490568 h 3952232"/>
                <a:gd name="connsiteX2651" fmla="*/ 5207898 w 7267540"/>
                <a:gd name="connsiteY2651" fmla="*/ 2487982 h 3952232"/>
                <a:gd name="connsiteX2652" fmla="*/ 5207599 w 7267540"/>
                <a:gd name="connsiteY2652" fmla="*/ 2486290 h 3952232"/>
                <a:gd name="connsiteX2653" fmla="*/ 5213777 w 7267540"/>
                <a:gd name="connsiteY2653" fmla="*/ 2479824 h 3952232"/>
                <a:gd name="connsiteX2654" fmla="*/ 5223742 w 7267540"/>
                <a:gd name="connsiteY2654" fmla="*/ 2471467 h 3952232"/>
                <a:gd name="connsiteX2655" fmla="*/ 5213777 w 7267540"/>
                <a:gd name="connsiteY2655" fmla="*/ 2479824 h 3952232"/>
                <a:gd name="connsiteX2656" fmla="*/ 5212581 w 7267540"/>
                <a:gd name="connsiteY2656" fmla="*/ 2481316 h 3952232"/>
                <a:gd name="connsiteX2657" fmla="*/ 5204909 w 7267540"/>
                <a:gd name="connsiteY2657" fmla="*/ 2499124 h 3952232"/>
                <a:gd name="connsiteX2658" fmla="*/ 5203613 w 7267540"/>
                <a:gd name="connsiteY2658" fmla="*/ 2495344 h 3952232"/>
                <a:gd name="connsiteX2659" fmla="*/ 5204709 w 7267540"/>
                <a:gd name="connsiteY2659" fmla="*/ 2499622 h 3952232"/>
                <a:gd name="connsiteX2660" fmla="*/ 5208397 w 7267540"/>
                <a:gd name="connsiteY2660" fmla="*/ 2504198 h 3952232"/>
                <a:gd name="connsiteX2661" fmla="*/ 5205606 w 7267540"/>
                <a:gd name="connsiteY2661" fmla="*/ 2503203 h 3952232"/>
                <a:gd name="connsiteX2662" fmla="*/ 5205008 w 7267540"/>
                <a:gd name="connsiteY2662" fmla="*/ 2500318 h 3952232"/>
                <a:gd name="connsiteX2663" fmla="*/ 5208197 w 7267540"/>
                <a:gd name="connsiteY2663" fmla="*/ 2504696 h 3952232"/>
                <a:gd name="connsiteX2664" fmla="*/ 5221051 w 7267540"/>
                <a:gd name="connsiteY2664" fmla="*/ 2513152 h 3952232"/>
                <a:gd name="connsiteX2665" fmla="*/ 5208695 w 7267540"/>
                <a:gd name="connsiteY2665" fmla="*/ 2504596 h 3952232"/>
                <a:gd name="connsiteX2666" fmla="*/ 5220852 w 7267540"/>
                <a:gd name="connsiteY2666" fmla="*/ 2513649 h 3952232"/>
                <a:gd name="connsiteX2667" fmla="*/ 5240980 w 7267540"/>
                <a:gd name="connsiteY2667" fmla="*/ 2529667 h 3952232"/>
                <a:gd name="connsiteX2668" fmla="*/ 5232012 w 7267540"/>
                <a:gd name="connsiteY2668" fmla="*/ 2521111 h 3952232"/>
                <a:gd name="connsiteX2669" fmla="*/ 5240980 w 7267540"/>
                <a:gd name="connsiteY2669" fmla="*/ 2530164 h 3952232"/>
                <a:gd name="connsiteX2670" fmla="*/ 5251841 w 7267540"/>
                <a:gd name="connsiteY2670" fmla="*/ 2533448 h 3952232"/>
                <a:gd name="connsiteX2671" fmla="*/ 5241877 w 7267540"/>
                <a:gd name="connsiteY2671" fmla="*/ 2531060 h 3952232"/>
                <a:gd name="connsiteX2672" fmla="*/ 5240681 w 7267540"/>
                <a:gd name="connsiteY2672" fmla="*/ 2529767 h 3952232"/>
                <a:gd name="connsiteX2673" fmla="*/ 5251841 w 7267540"/>
                <a:gd name="connsiteY2673" fmla="*/ 2533945 h 3952232"/>
                <a:gd name="connsiteX2674" fmla="*/ 5264197 w 7267540"/>
                <a:gd name="connsiteY2674" fmla="*/ 2535139 h 3952232"/>
                <a:gd name="connsiteX2675" fmla="*/ 5252140 w 7267540"/>
                <a:gd name="connsiteY2675" fmla="*/ 2533448 h 3952232"/>
                <a:gd name="connsiteX2676" fmla="*/ 5264197 w 7267540"/>
                <a:gd name="connsiteY2676" fmla="*/ 2535636 h 3952232"/>
                <a:gd name="connsiteX2677" fmla="*/ 5369023 w 7267540"/>
                <a:gd name="connsiteY2677" fmla="*/ 3094855 h 3952232"/>
                <a:gd name="connsiteX2678" fmla="*/ 5369023 w 7267540"/>
                <a:gd name="connsiteY2678" fmla="*/ 3105500 h 3952232"/>
                <a:gd name="connsiteX2679" fmla="*/ 5369023 w 7267540"/>
                <a:gd name="connsiteY2679" fmla="*/ 3095352 h 3952232"/>
                <a:gd name="connsiteX2680" fmla="*/ 5382674 w 7267540"/>
                <a:gd name="connsiteY2680" fmla="*/ 2689742 h 3952232"/>
                <a:gd name="connsiteX2681" fmla="*/ 5376595 w 7267540"/>
                <a:gd name="connsiteY2681" fmla="*/ 2683176 h 3952232"/>
                <a:gd name="connsiteX2682" fmla="*/ 5382674 w 7267540"/>
                <a:gd name="connsiteY2682" fmla="*/ 2690240 h 3952232"/>
                <a:gd name="connsiteX2683" fmla="*/ 5382674 w 7267540"/>
                <a:gd name="connsiteY2683" fmla="*/ 2689742 h 3952232"/>
                <a:gd name="connsiteX2684" fmla="*/ 5382674 w 7267540"/>
                <a:gd name="connsiteY2684" fmla="*/ 2704864 h 3952232"/>
                <a:gd name="connsiteX2685" fmla="*/ 5390147 w 7267540"/>
                <a:gd name="connsiteY2685" fmla="*/ 2709142 h 3952232"/>
                <a:gd name="connsiteX2686" fmla="*/ 5382674 w 7267540"/>
                <a:gd name="connsiteY2686" fmla="*/ 2704864 h 3952232"/>
                <a:gd name="connsiteX2687" fmla="*/ 5382774 w 7267540"/>
                <a:gd name="connsiteY2687" fmla="*/ 2690538 h 3952232"/>
                <a:gd name="connsiteX2688" fmla="*/ 5429307 w 7267540"/>
                <a:gd name="connsiteY2688" fmla="*/ 2748042 h 3952232"/>
                <a:gd name="connsiteX2689" fmla="*/ 5418645 w 7267540"/>
                <a:gd name="connsiteY2689" fmla="*/ 2741476 h 3952232"/>
                <a:gd name="connsiteX2690" fmla="*/ 5422532 w 7267540"/>
                <a:gd name="connsiteY2690" fmla="*/ 2742670 h 3952232"/>
                <a:gd name="connsiteX2691" fmla="*/ 5429407 w 7267540"/>
                <a:gd name="connsiteY2691" fmla="*/ 2748838 h 3952232"/>
                <a:gd name="connsiteX2692" fmla="*/ 5490987 w 7267540"/>
                <a:gd name="connsiteY2692" fmla="*/ 2210810 h 3952232"/>
                <a:gd name="connsiteX2693" fmla="*/ 5457905 w 7267540"/>
                <a:gd name="connsiteY2693" fmla="*/ 2209517 h 3952232"/>
                <a:gd name="connsiteX2694" fmla="*/ 5490987 w 7267540"/>
                <a:gd name="connsiteY2694" fmla="*/ 2210810 h 3952232"/>
                <a:gd name="connsiteX2695" fmla="*/ 5569108 w 7267540"/>
                <a:gd name="connsiteY2695" fmla="*/ 2213297 h 3952232"/>
                <a:gd name="connsiteX2696" fmla="*/ 5491087 w 7267540"/>
                <a:gd name="connsiteY2696" fmla="*/ 2211705 h 3952232"/>
                <a:gd name="connsiteX2697" fmla="*/ 5469763 w 7267540"/>
                <a:gd name="connsiteY2697" fmla="*/ 2428787 h 3952232"/>
                <a:gd name="connsiteX2698" fmla="*/ 5458802 w 7267540"/>
                <a:gd name="connsiteY2698" fmla="*/ 2428787 h 3952232"/>
                <a:gd name="connsiteX2699" fmla="*/ 5466474 w 7267540"/>
                <a:gd name="connsiteY2699" fmla="*/ 2101373 h 3952232"/>
                <a:gd name="connsiteX2700" fmla="*/ 5471556 w 7267540"/>
                <a:gd name="connsiteY2700" fmla="*/ 2103761 h 3952232"/>
                <a:gd name="connsiteX2701" fmla="*/ 5466574 w 7267540"/>
                <a:gd name="connsiteY2701" fmla="*/ 2102269 h 3952232"/>
                <a:gd name="connsiteX2702" fmla="*/ 5783542 w 7267540"/>
                <a:gd name="connsiteY2702" fmla="*/ 1727201 h 3952232"/>
                <a:gd name="connsiteX2703" fmla="*/ 5788325 w 7267540"/>
                <a:gd name="connsiteY2703" fmla="*/ 1732872 h 3952232"/>
                <a:gd name="connsiteX2704" fmla="*/ 5783542 w 7267540"/>
                <a:gd name="connsiteY2704" fmla="*/ 1727201 h 3952232"/>
                <a:gd name="connsiteX2705" fmla="*/ 5822304 w 7267540"/>
                <a:gd name="connsiteY2705" fmla="*/ 1733270 h 3952232"/>
                <a:gd name="connsiteX2706" fmla="*/ 5831670 w 7267540"/>
                <a:gd name="connsiteY2706" fmla="*/ 1724615 h 3952232"/>
                <a:gd name="connsiteX2707" fmla="*/ 5845520 w 7267540"/>
                <a:gd name="connsiteY2707" fmla="*/ 1719541 h 3952232"/>
                <a:gd name="connsiteX2708" fmla="*/ 5831670 w 7267540"/>
                <a:gd name="connsiteY2708" fmla="*/ 1724615 h 3952232"/>
                <a:gd name="connsiteX2709" fmla="*/ 5822403 w 7267540"/>
                <a:gd name="connsiteY2709" fmla="*/ 1732872 h 3952232"/>
                <a:gd name="connsiteX2710" fmla="*/ 5824496 w 7267540"/>
                <a:gd name="connsiteY2710" fmla="*/ 1790674 h 3952232"/>
                <a:gd name="connsiteX2711" fmla="*/ 5825891 w 7267540"/>
                <a:gd name="connsiteY2711" fmla="*/ 1785899 h 3952232"/>
                <a:gd name="connsiteX2712" fmla="*/ 5825891 w 7267540"/>
                <a:gd name="connsiteY2712" fmla="*/ 1786794 h 3952232"/>
                <a:gd name="connsiteX2713" fmla="*/ 5824595 w 7267540"/>
                <a:gd name="connsiteY2713" fmla="*/ 1790276 h 3952232"/>
                <a:gd name="connsiteX2714" fmla="*/ 5825891 w 7267540"/>
                <a:gd name="connsiteY2714" fmla="*/ 1785800 h 3952232"/>
                <a:gd name="connsiteX2715" fmla="*/ 5825891 w 7267540"/>
                <a:gd name="connsiteY2715" fmla="*/ 1782417 h 3952232"/>
                <a:gd name="connsiteX2716" fmla="*/ 5825891 w 7267540"/>
                <a:gd name="connsiteY2716" fmla="*/ 1780825 h 3952232"/>
                <a:gd name="connsiteX2717" fmla="*/ 5827386 w 7267540"/>
                <a:gd name="connsiteY2717" fmla="*/ 1778935 h 3952232"/>
                <a:gd name="connsiteX2718" fmla="*/ 5831172 w 7267540"/>
                <a:gd name="connsiteY2718" fmla="*/ 1772170 h 3952232"/>
                <a:gd name="connsiteX2719" fmla="*/ 5833762 w 7267540"/>
                <a:gd name="connsiteY2719" fmla="*/ 1762221 h 3952232"/>
                <a:gd name="connsiteX2720" fmla="*/ 5833762 w 7267540"/>
                <a:gd name="connsiteY2720" fmla="*/ 1767892 h 3952232"/>
                <a:gd name="connsiteX2721" fmla="*/ 5831072 w 7267540"/>
                <a:gd name="connsiteY2721" fmla="*/ 1772170 h 3952232"/>
                <a:gd name="connsiteX2722" fmla="*/ 5827286 w 7267540"/>
                <a:gd name="connsiteY2722" fmla="*/ 1778935 h 3952232"/>
                <a:gd name="connsiteX2723" fmla="*/ 5825990 w 7267540"/>
                <a:gd name="connsiteY2723" fmla="*/ 1782417 h 3952232"/>
                <a:gd name="connsiteX2724" fmla="*/ 5825990 w 7267540"/>
                <a:gd name="connsiteY2724" fmla="*/ 1785402 h 3952232"/>
                <a:gd name="connsiteX2725" fmla="*/ 5901521 w 7267540"/>
                <a:gd name="connsiteY2725" fmla="*/ 1795748 h 3952232"/>
                <a:gd name="connsiteX2726" fmla="*/ 5909492 w 7267540"/>
                <a:gd name="connsiteY2726" fmla="*/ 1778935 h 3952232"/>
                <a:gd name="connsiteX2727" fmla="*/ 5901521 w 7267540"/>
                <a:gd name="connsiteY2727" fmla="*/ 1795748 h 3952232"/>
                <a:gd name="connsiteX2728" fmla="*/ 5898830 w 7267540"/>
                <a:gd name="connsiteY2728" fmla="*/ 1803309 h 3952232"/>
                <a:gd name="connsiteX2729" fmla="*/ 5901620 w 7267540"/>
                <a:gd name="connsiteY2729" fmla="*/ 1795748 h 3952232"/>
                <a:gd name="connsiteX2730" fmla="*/ 5928823 w 7267540"/>
                <a:gd name="connsiteY2730" fmla="*/ 1776746 h 3952232"/>
                <a:gd name="connsiteX2731" fmla="*/ 5916467 w 7267540"/>
                <a:gd name="connsiteY2731" fmla="*/ 1773463 h 3952232"/>
                <a:gd name="connsiteX2732" fmla="*/ 5928923 w 7267540"/>
                <a:gd name="connsiteY2732" fmla="*/ 1776945 h 3952232"/>
                <a:gd name="connsiteX2733" fmla="*/ 5560140 w 7267540"/>
                <a:gd name="connsiteY2733" fmla="*/ 1521760 h 3952232"/>
                <a:gd name="connsiteX2734" fmla="*/ 5560140 w 7267540"/>
                <a:gd name="connsiteY2734" fmla="*/ 1533002 h 3952232"/>
                <a:gd name="connsiteX2735" fmla="*/ 5560140 w 7267540"/>
                <a:gd name="connsiteY2735" fmla="*/ 1551009 h 3952232"/>
                <a:gd name="connsiteX2736" fmla="*/ 5560140 w 7267540"/>
                <a:gd name="connsiteY2736" fmla="*/ 1558073 h 3952232"/>
                <a:gd name="connsiteX2737" fmla="*/ 5556951 w 7267540"/>
                <a:gd name="connsiteY2737" fmla="*/ 1559266 h 3952232"/>
                <a:gd name="connsiteX2738" fmla="*/ 5560140 w 7267540"/>
                <a:gd name="connsiteY2738" fmla="*/ 1551506 h 3952232"/>
                <a:gd name="connsiteX2739" fmla="*/ 5560140 w 7267540"/>
                <a:gd name="connsiteY2739" fmla="*/ 1533499 h 3952232"/>
                <a:gd name="connsiteX2740" fmla="*/ 5560140 w 7267540"/>
                <a:gd name="connsiteY2740" fmla="*/ 1521760 h 3952232"/>
                <a:gd name="connsiteX2741" fmla="*/ 5556852 w 7267540"/>
                <a:gd name="connsiteY2741" fmla="*/ 1558769 h 3952232"/>
                <a:gd name="connsiteX2742" fmla="*/ 5548581 w 7267540"/>
                <a:gd name="connsiteY2742" fmla="*/ 1561057 h 3952232"/>
                <a:gd name="connsiteX2743" fmla="*/ 5556852 w 7267540"/>
                <a:gd name="connsiteY2743" fmla="*/ 1558769 h 3952232"/>
                <a:gd name="connsiteX2744" fmla="*/ 5549079 w 7267540"/>
                <a:gd name="connsiteY2744" fmla="*/ 1611995 h 3952232"/>
                <a:gd name="connsiteX2745" fmla="*/ 5547087 w 7267540"/>
                <a:gd name="connsiteY2745" fmla="*/ 1603140 h 3952232"/>
                <a:gd name="connsiteX2746" fmla="*/ 5549079 w 7267540"/>
                <a:gd name="connsiteY2746" fmla="*/ 1611995 h 3952232"/>
                <a:gd name="connsiteX2747" fmla="*/ 5542603 w 7267540"/>
                <a:gd name="connsiteY2747" fmla="*/ 1565037 h 3952232"/>
                <a:gd name="connsiteX2748" fmla="*/ 5547186 w 7267540"/>
                <a:gd name="connsiteY2748" fmla="*/ 1576478 h 3952232"/>
                <a:gd name="connsiteX2749" fmla="*/ 5542603 w 7267540"/>
                <a:gd name="connsiteY2749" fmla="*/ 1565037 h 3952232"/>
                <a:gd name="connsiteX2750" fmla="*/ 5536225 w 7267540"/>
                <a:gd name="connsiteY2750" fmla="*/ 1637165 h 3952232"/>
                <a:gd name="connsiteX2751" fmla="*/ 5538218 w 7267540"/>
                <a:gd name="connsiteY2751" fmla="*/ 1633982 h 3952232"/>
                <a:gd name="connsiteX2752" fmla="*/ 5544994 w 7267540"/>
                <a:gd name="connsiteY2752" fmla="*/ 1619755 h 3952232"/>
                <a:gd name="connsiteX2753" fmla="*/ 5549179 w 7267540"/>
                <a:gd name="connsiteY2753" fmla="*/ 1612293 h 3952232"/>
                <a:gd name="connsiteX2754" fmla="*/ 5544994 w 7267540"/>
                <a:gd name="connsiteY2754" fmla="*/ 1619755 h 3952232"/>
                <a:gd name="connsiteX2755" fmla="*/ 5538218 w 7267540"/>
                <a:gd name="connsiteY2755" fmla="*/ 1633982 h 3952232"/>
                <a:gd name="connsiteX2756" fmla="*/ 5533634 w 7267540"/>
                <a:gd name="connsiteY2756" fmla="*/ 1648606 h 3952232"/>
                <a:gd name="connsiteX2757" fmla="*/ 5536225 w 7267540"/>
                <a:gd name="connsiteY2757" fmla="*/ 1637663 h 3952232"/>
                <a:gd name="connsiteX2758" fmla="*/ 5532040 w 7267540"/>
                <a:gd name="connsiteY2758" fmla="*/ 1663231 h 3952232"/>
                <a:gd name="connsiteX2759" fmla="*/ 5533535 w 7267540"/>
                <a:gd name="connsiteY2759" fmla="*/ 1648905 h 3952232"/>
                <a:gd name="connsiteX2760" fmla="*/ 5532040 w 7267540"/>
                <a:gd name="connsiteY2760" fmla="*/ 1663231 h 3952232"/>
                <a:gd name="connsiteX2761" fmla="*/ 5532040 w 7267540"/>
                <a:gd name="connsiteY2761" fmla="*/ 1667011 h 3952232"/>
                <a:gd name="connsiteX2762" fmla="*/ 5529848 w 7267540"/>
                <a:gd name="connsiteY2762" fmla="*/ 1669399 h 3952232"/>
                <a:gd name="connsiteX2763" fmla="*/ 5532040 w 7267540"/>
                <a:gd name="connsiteY2763" fmla="*/ 1663231 h 3952232"/>
                <a:gd name="connsiteX2764" fmla="*/ 5524268 w 7267540"/>
                <a:gd name="connsiteY2764" fmla="*/ 1675965 h 3952232"/>
                <a:gd name="connsiteX2765" fmla="*/ 5526361 w 7267540"/>
                <a:gd name="connsiteY2765" fmla="*/ 1674373 h 3952232"/>
                <a:gd name="connsiteX2766" fmla="*/ 5522972 w 7267540"/>
                <a:gd name="connsiteY2766" fmla="*/ 1682929 h 3952232"/>
                <a:gd name="connsiteX2767" fmla="*/ 5524467 w 7267540"/>
                <a:gd name="connsiteY2767" fmla="*/ 1675965 h 3952232"/>
                <a:gd name="connsiteX2768" fmla="*/ 5517791 w 7267540"/>
                <a:gd name="connsiteY2768" fmla="*/ 1699345 h 3952232"/>
                <a:gd name="connsiteX2769" fmla="*/ 5519983 w 7267540"/>
                <a:gd name="connsiteY2769" fmla="*/ 1696161 h 3952232"/>
                <a:gd name="connsiteX2770" fmla="*/ 5521478 w 7267540"/>
                <a:gd name="connsiteY2770" fmla="*/ 1692182 h 3952232"/>
                <a:gd name="connsiteX2771" fmla="*/ 5521478 w 7267540"/>
                <a:gd name="connsiteY2771" fmla="*/ 1694967 h 3952232"/>
                <a:gd name="connsiteX2772" fmla="*/ 5520183 w 7267540"/>
                <a:gd name="connsiteY2772" fmla="*/ 1696161 h 3952232"/>
                <a:gd name="connsiteX2773" fmla="*/ 5517990 w 7267540"/>
                <a:gd name="connsiteY2773" fmla="*/ 1699345 h 3952232"/>
                <a:gd name="connsiteX2774" fmla="*/ 5517990 w 7267540"/>
                <a:gd name="connsiteY2774" fmla="*/ 1702528 h 3952232"/>
                <a:gd name="connsiteX2775" fmla="*/ 5519784 w 7267540"/>
                <a:gd name="connsiteY2775" fmla="*/ 1707403 h 3952232"/>
                <a:gd name="connsiteX2776" fmla="*/ 5520781 w 7267540"/>
                <a:gd name="connsiteY2776" fmla="*/ 1708796 h 3952232"/>
                <a:gd name="connsiteX2777" fmla="*/ 5517891 w 7267540"/>
                <a:gd name="connsiteY2777" fmla="*/ 1716059 h 3952232"/>
                <a:gd name="connsiteX2778" fmla="*/ 5519784 w 7267540"/>
                <a:gd name="connsiteY2778" fmla="*/ 1707403 h 3952232"/>
                <a:gd name="connsiteX2779" fmla="*/ 5517990 w 7267540"/>
                <a:gd name="connsiteY2779" fmla="*/ 1702528 h 3952232"/>
                <a:gd name="connsiteX2780" fmla="*/ 5516795 w 7267540"/>
                <a:gd name="connsiteY2780" fmla="*/ 1700837 h 3952232"/>
                <a:gd name="connsiteX2781" fmla="*/ 5517791 w 7267540"/>
                <a:gd name="connsiteY2781" fmla="*/ 1699345 h 3952232"/>
                <a:gd name="connsiteX2782" fmla="*/ 5490389 w 7267540"/>
                <a:gd name="connsiteY2782" fmla="*/ 1742622 h 3952232"/>
                <a:gd name="connsiteX2783" fmla="*/ 5497863 w 7267540"/>
                <a:gd name="connsiteY2783" fmla="*/ 1734762 h 3952232"/>
                <a:gd name="connsiteX2784" fmla="*/ 5495371 w 7267540"/>
                <a:gd name="connsiteY2784" fmla="*/ 1737647 h 3952232"/>
                <a:gd name="connsiteX2785" fmla="*/ 5489094 w 7267540"/>
                <a:gd name="connsiteY2785" fmla="*/ 1744413 h 3952232"/>
                <a:gd name="connsiteX2786" fmla="*/ 5476439 w 7267540"/>
                <a:gd name="connsiteY2786" fmla="*/ 1755555 h 3952232"/>
                <a:gd name="connsiteX2787" fmla="*/ 5458702 w 7267540"/>
                <a:gd name="connsiteY2787" fmla="*/ 1767792 h 3952232"/>
                <a:gd name="connsiteX2788" fmla="*/ 5476439 w 7267540"/>
                <a:gd name="connsiteY2788" fmla="*/ 1755555 h 3952232"/>
                <a:gd name="connsiteX2789" fmla="*/ 5458204 w 7267540"/>
                <a:gd name="connsiteY2789" fmla="*/ 1767892 h 3952232"/>
                <a:gd name="connsiteX2790" fmla="*/ 5453521 w 7267540"/>
                <a:gd name="connsiteY2790" fmla="*/ 1768489 h 3952232"/>
                <a:gd name="connsiteX2791" fmla="*/ 5445848 w 7267540"/>
                <a:gd name="connsiteY2791" fmla="*/ 1760430 h 3952232"/>
                <a:gd name="connsiteX2792" fmla="*/ 5458204 w 7267540"/>
                <a:gd name="connsiteY2792" fmla="*/ 1767892 h 3952232"/>
                <a:gd name="connsiteX2793" fmla="*/ 5444952 w 7267540"/>
                <a:gd name="connsiteY2793" fmla="*/ 1759634 h 3952232"/>
                <a:gd name="connsiteX2794" fmla="*/ 5436581 w 7267540"/>
                <a:gd name="connsiteY2794" fmla="*/ 1764609 h 3952232"/>
                <a:gd name="connsiteX2795" fmla="*/ 5444752 w 7267540"/>
                <a:gd name="connsiteY2795" fmla="*/ 1759634 h 3952232"/>
                <a:gd name="connsiteX2796" fmla="*/ 5429606 w 7267540"/>
                <a:gd name="connsiteY2796" fmla="*/ 1771473 h 3952232"/>
                <a:gd name="connsiteX2797" fmla="*/ 5429108 w 7267540"/>
                <a:gd name="connsiteY2797" fmla="*/ 1776448 h 3952232"/>
                <a:gd name="connsiteX2798" fmla="*/ 5429606 w 7267540"/>
                <a:gd name="connsiteY2798" fmla="*/ 1771473 h 3952232"/>
                <a:gd name="connsiteX2799" fmla="*/ 5426617 w 7267540"/>
                <a:gd name="connsiteY2799" fmla="*/ 1780726 h 3952232"/>
                <a:gd name="connsiteX2800" fmla="*/ 5422631 w 7267540"/>
                <a:gd name="connsiteY2800" fmla="*/ 1780726 h 3952232"/>
                <a:gd name="connsiteX2801" fmla="*/ 5426617 w 7267540"/>
                <a:gd name="connsiteY2801" fmla="*/ 1780726 h 3952232"/>
                <a:gd name="connsiteX2802" fmla="*/ 5415656 w 7267540"/>
                <a:gd name="connsiteY2802" fmla="*/ 1781322 h 3952232"/>
                <a:gd name="connsiteX2803" fmla="*/ 5411372 w 7267540"/>
                <a:gd name="connsiteY2803" fmla="*/ 1787292 h 3952232"/>
                <a:gd name="connsiteX2804" fmla="*/ 5415656 w 7267540"/>
                <a:gd name="connsiteY2804" fmla="*/ 1781322 h 3952232"/>
                <a:gd name="connsiteX2805" fmla="*/ 5409677 w 7267540"/>
                <a:gd name="connsiteY2805" fmla="*/ 1790177 h 3952232"/>
                <a:gd name="connsiteX2806" fmla="*/ 5411272 w 7267540"/>
                <a:gd name="connsiteY2806" fmla="*/ 1787690 h 3952232"/>
                <a:gd name="connsiteX2807" fmla="*/ 5410674 w 7267540"/>
                <a:gd name="connsiteY2807" fmla="*/ 1789481 h 3952232"/>
                <a:gd name="connsiteX2808" fmla="*/ 5409677 w 7267540"/>
                <a:gd name="connsiteY2808" fmla="*/ 1790177 h 3952232"/>
                <a:gd name="connsiteX2809" fmla="*/ 5408681 w 7267540"/>
                <a:gd name="connsiteY2809" fmla="*/ 1791371 h 3952232"/>
                <a:gd name="connsiteX2810" fmla="*/ 5407186 w 7267540"/>
                <a:gd name="connsiteY2810" fmla="*/ 1792365 h 3952232"/>
                <a:gd name="connsiteX2811" fmla="*/ 5409677 w 7267540"/>
                <a:gd name="connsiteY2811" fmla="*/ 1790177 h 3952232"/>
                <a:gd name="connsiteX2812" fmla="*/ 5407086 w 7267540"/>
                <a:gd name="connsiteY2812" fmla="*/ 1792664 h 3952232"/>
                <a:gd name="connsiteX2813" fmla="*/ 5405194 w 7267540"/>
                <a:gd name="connsiteY2813" fmla="*/ 1799230 h 3952232"/>
                <a:gd name="connsiteX2814" fmla="*/ 5407086 w 7267540"/>
                <a:gd name="connsiteY2814" fmla="*/ 1792664 h 3952232"/>
                <a:gd name="connsiteX2815" fmla="*/ 5401208 w 7267540"/>
                <a:gd name="connsiteY2815" fmla="*/ 1809776 h 3952232"/>
                <a:gd name="connsiteX2816" fmla="*/ 5399015 w 7267540"/>
                <a:gd name="connsiteY2816" fmla="*/ 1816840 h 3952232"/>
                <a:gd name="connsiteX2817" fmla="*/ 5400360 w 7267540"/>
                <a:gd name="connsiteY2817" fmla="*/ 1810224 h 3952232"/>
                <a:gd name="connsiteX2818" fmla="*/ 5401208 w 7267540"/>
                <a:gd name="connsiteY2818" fmla="*/ 1809776 h 3952232"/>
                <a:gd name="connsiteX2819" fmla="*/ 5400610 w 7267540"/>
                <a:gd name="connsiteY2819" fmla="*/ 1827584 h 3952232"/>
                <a:gd name="connsiteX2820" fmla="*/ 5399115 w 7267540"/>
                <a:gd name="connsiteY2820" fmla="*/ 1816939 h 3952232"/>
                <a:gd name="connsiteX2821" fmla="*/ 5399713 w 7267540"/>
                <a:gd name="connsiteY2821" fmla="*/ 1818232 h 3952232"/>
                <a:gd name="connsiteX2822" fmla="*/ 5400610 w 7267540"/>
                <a:gd name="connsiteY2822" fmla="*/ 1827584 h 3952232"/>
                <a:gd name="connsiteX2823" fmla="*/ 5392439 w 7267540"/>
                <a:gd name="connsiteY2823" fmla="*/ 1835145 h 3952232"/>
                <a:gd name="connsiteX2824" fmla="*/ 5400610 w 7267540"/>
                <a:gd name="connsiteY2824" fmla="*/ 1827584 h 3952232"/>
                <a:gd name="connsiteX2825" fmla="*/ 5386261 w 7267540"/>
                <a:gd name="connsiteY2825" fmla="*/ 1835244 h 3952232"/>
                <a:gd name="connsiteX2826" fmla="*/ 5378887 w 7267540"/>
                <a:gd name="connsiteY2826" fmla="*/ 1824600 h 3952232"/>
                <a:gd name="connsiteX2827" fmla="*/ 5386261 w 7267540"/>
                <a:gd name="connsiteY2827" fmla="*/ 1835244 h 3952232"/>
                <a:gd name="connsiteX2828" fmla="*/ 5355072 w 7267540"/>
                <a:gd name="connsiteY2828" fmla="*/ 1848576 h 3952232"/>
                <a:gd name="connsiteX2829" fmla="*/ 5357065 w 7267540"/>
                <a:gd name="connsiteY2829" fmla="*/ 1840120 h 3952232"/>
                <a:gd name="connsiteX2830" fmla="*/ 5361748 w 7267540"/>
                <a:gd name="connsiteY2830" fmla="*/ 1831166 h 3952232"/>
                <a:gd name="connsiteX2831" fmla="*/ 5369023 w 7267540"/>
                <a:gd name="connsiteY2831" fmla="*/ 1822212 h 3952232"/>
                <a:gd name="connsiteX2832" fmla="*/ 5377990 w 7267540"/>
                <a:gd name="connsiteY2832" fmla="*/ 1823704 h 3952232"/>
                <a:gd name="connsiteX2833" fmla="*/ 5361748 w 7267540"/>
                <a:gd name="connsiteY2833" fmla="*/ 1831166 h 3952232"/>
                <a:gd name="connsiteX2834" fmla="*/ 5355072 w 7267540"/>
                <a:gd name="connsiteY2834" fmla="*/ 1848576 h 3952232"/>
                <a:gd name="connsiteX2835" fmla="*/ 5348097 w 7267540"/>
                <a:gd name="connsiteY2835" fmla="*/ 1857032 h 3952232"/>
                <a:gd name="connsiteX2836" fmla="*/ 5355072 w 7267540"/>
                <a:gd name="connsiteY2836" fmla="*/ 1848576 h 3952232"/>
                <a:gd name="connsiteX2837" fmla="*/ 5352083 w 7267540"/>
                <a:gd name="connsiteY2837" fmla="*/ 1887873 h 3952232"/>
                <a:gd name="connsiteX2838" fmla="*/ 5342119 w 7267540"/>
                <a:gd name="connsiteY2838" fmla="*/ 1891057 h 3952232"/>
                <a:gd name="connsiteX2839" fmla="*/ 5351884 w 7267540"/>
                <a:gd name="connsiteY2839" fmla="*/ 1887873 h 3952232"/>
                <a:gd name="connsiteX2840" fmla="*/ 5326175 w 7267540"/>
                <a:gd name="connsiteY2840" fmla="*/ 1915730 h 3952232"/>
                <a:gd name="connsiteX2841" fmla="*/ 5316211 w 7267540"/>
                <a:gd name="connsiteY2841" fmla="*/ 1918317 h 3952232"/>
                <a:gd name="connsiteX2842" fmla="*/ 5325977 w 7267540"/>
                <a:gd name="connsiteY2842" fmla="*/ 1916227 h 3952232"/>
                <a:gd name="connsiteX2843" fmla="*/ 5316211 w 7267540"/>
                <a:gd name="connsiteY2843" fmla="*/ 1918516 h 3952232"/>
                <a:gd name="connsiteX2844" fmla="*/ 5309535 w 7267540"/>
                <a:gd name="connsiteY2844" fmla="*/ 1920108 h 3952232"/>
                <a:gd name="connsiteX2845" fmla="*/ 5315215 w 7267540"/>
                <a:gd name="connsiteY2845" fmla="*/ 1918516 h 3952232"/>
                <a:gd name="connsiteX2846" fmla="*/ 5304553 w 7267540"/>
                <a:gd name="connsiteY2846" fmla="*/ 1920207 h 3952232"/>
                <a:gd name="connsiteX2847" fmla="*/ 5299670 w 7267540"/>
                <a:gd name="connsiteY2847" fmla="*/ 1917720 h 3952232"/>
                <a:gd name="connsiteX2848" fmla="*/ 5298275 w 7267540"/>
                <a:gd name="connsiteY2848" fmla="*/ 1914238 h 3952232"/>
                <a:gd name="connsiteX2849" fmla="*/ 5303955 w 7267540"/>
                <a:gd name="connsiteY2849" fmla="*/ 1920207 h 3952232"/>
                <a:gd name="connsiteX2850" fmla="*/ 5298076 w 7267540"/>
                <a:gd name="connsiteY2850" fmla="*/ 1913939 h 3952232"/>
                <a:gd name="connsiteX2851" fmla="*/ 5289706 w 7267540"/>
                <a:gd name="connsiteY2851" fmla="*/ 1902797 h 3952232"/>
                <a:gd name="connsiteX2852" fmla="*/ 5288610 w 7267540"/>
                <a:gd name="connsiteY2852" fmla="*/ 1901205 h 3952232"/>
                <a:gd name="connsiteX2853" fmla="*/ 5297478 w 7267540"/>
                <a:gd name="connsiteY2853" fmla="*/ 1913939 h 3952232"/>
                <a:gd name="connsiteX2854" fmla="*/ 5288112 w 7267540"/>
                <a:gd name="connsiteY2854" fmla="*/ 1901105 h 3952232"/>
                <a:gd name="connsiteX2855" fmla="*/ 5281037 w 7267540"/>
                <a:gd name="connsiteY2855" fmla="*/ 1897026 h 3952232"/>
                <a:gd name="connsiteX2856" fmla="*/ 5287912 w 7267540"/>
                <a:gd name="connsiteY2856" fmla="*/ 1901105 h 3952232"/>
                <a:gd name="connsiteX2857" fmla="*/ 5280738 w 7267540"/>
                <a:gd name="connsiteY2857" fmla="*/ 1896827 h 3952232"/>
                <a:gd name="connsiteX2858" fmla="*/ 5273364 w 7267540"/>
                <a:gd name="connsiteY2858" fmla="*/ 1895833 h 3952232"/>
                <a:gd name="connsiteX2859" fmla="*/ 5280539 w 7267540"/>
                <a:gd name="connsiteY2859" fmla="*/ 1896827 h 3952232"/>
                <a:gd name="connsiteX2860" fmla="*/ 5262404 w 7267540"/>
                <a:gd name="connsiteY2860" fmla="*/ 1864096 h 3952232"/>
                <a:gd name="connsiteX2861" fmla="*/ 5255129 w 7267540"/>
                <a:gd name="connsiteY2861" fmla="*/ 1866782 h 3952232"/>
                <a:gd name="connsiteX2862" fmla="*/ 5224638 w 7267540"/>
                <a:gd name="connsiteY2862" fmla="*/ 1885486 h 3952232"/>
                <a:gd name="connsiteX2863" fmla="*/ 5229122 w 7267540"/>
                <a:gd name="connsiteY2863" fmla="*/ 1884690 h 3952232"/>
                <a:gd name="connsiteX2864" fmla="*/ 5233606 w 7267540"/>
                <a:gd name="connsiteY2864" fmla="*/ 1880412 h 3952232"/>
                <a:gd name="connsiteX2865" fmla="*/ 5244468 w 7267540"/>
                <a:gd name="connsiteY2865" fmla="*/ 1871060 h 3952232"/>
                <a:gd name="connsiteX2866" fmla="*/ 5255030 w 7267540"/>
                <a:gd name="connsiteY2866" fmla="*/ 1866782 h 3952232"/>
                <a:gd name="connsiteX2867" fmla="*/ 5244468 w 7267540"/>
                <a:gd name="connsiteY2867" fmla="*/ 1871060 h 3952232"/>
                <a:gd name="connsiteX2868" fmla="*/ 5243471 w 7267540"/>
                <a:gd name="connsiteY2868" fmla="*/ 1871955 h 3952232"/>
                <a:gd name="connsiteX2869" fmla="*/ 5232510 w 7267540"/>
                <a:gd name="connsiteY2869" fmla="*/ 1882899 h 3952232"/>
                <a:gd name="connsiteX2870" fmla="*/ 5229122 w 7267540"/>
                <a:gd name="connsiteY2870" fmla="*/ 1884690 h 3952232"/>
                <a:gd name="connsiteX2871" fmla="*/ 5226531 w 7267540"/>
                <a:gd name="connsiteY2871" fmla="*/ 1885884 h 3952232"/>
                <a:gd name="connsiteX2872" fmla="*/ 5224638 w 7267540"/>
                <a:gd name="connsiteY2872" fmla="*/ 1885884 h 3952232"/>
                <a:gd name="connsiteX2873" fmla="*/ 5220852 w 7267540"/>
                <a:gd name="connsiteY2873" fmla="*/ 1885884 h 3952232"/>
                <a:gd name="connsiteX2874" fmla="*/ 5224439 w 7267540"/>
                <a:gd name="connsiteY2874" fmla="*/ 1885486 h 3952232"/>
                <a:gd name="connsiteX2875" fmla="*/ 5216468 w 7267540"/>
                <a:gd name="connsiteY2875" fmla="*/ 1887078 h 3952232"/>
                <a:gd name="connsiteX2876" fmla="*/ 5218560 w 7267540"/>
                <a:gd name="connsiteY2876" fmla="*/ 1884889 h 3952232"/>
                <a:gd name="connsiteX2877" fmla="*/ 5220752 w 7267540"/>
                <a:gd name="connsiteY2877" fmla="*/ 1884889 h 3952232"/>
                <a:gd name="connsiteX2878" fmla="*/ 5216468 w 7267540"/>
                <a:gd name="connsiteY2878" fmla="*/ 1886580 h 3952232"/>
                <a:gd name="connsiteX2879" fmla="*/ 5212581 w 7267540"/>
                <a:gd name="connsiteY2879" fmla="*/ 1889366 h 3952232"/>
                <a:gd name="connsiteX2880" fmla="*/ 5216268 w 7267540"/>
                <a:gd name="connsiteY2880" fmla="*/ 1887078 h 3952232"/>
                <a:gd name="connsiteX2881" fmla="*/ 5180496 w 7267540"/>
                <a:gd name="connsiteY2881" fmla="*/ 1375016 h 3952232"/>
                <a:gd name="connsiteX2882" fmla="*/ 5132567 w 7267540"/>
                <a:gd name="connsiteY2882" fmla="*/ 1376906 h 3952232"/>
                <a:gd name="connsiteX2883" fmla="*/ 5180297 w 7267540"/>
                <a:gd name="connsiteY2883" fmla="*/ 1375016 h 3952232"/>
                <a:gd name="connsiteX2884" fmla="*/ 5073678 w 7267540"/>
                <a:gd name="connsiteY2884" fmla="*/ 1379095 h 3952232"/>
                <a:gd name="connsiteX2885" fmla="*/ 5105962 w 7267540"/>
                <a:gd name="connsiteY2885" fmla="*/ 1377503 h 3952232"/>
                <a:gd name="connsiteX2886" fmla="*/ 5109051 w 7267540"/>
                <a:gd name="connsiteY2886" fmla="*/ 1377503 h 3952232"/>
                <a:gd name="connsiteX2887" fmla="*/ 5073678 w 7267540"/>
                <a:gd name="connsiteY2887" fmla="*/ 1378697 h 3952232"/>
                <a:gd name="connsiteX2888" fmla="*/ 5021265 w 7267540"/>
                <a:gd name="connsiteY2888" fmla="*/ 1380090 h 3952232"/>
                <a:gd name="connsiteX2889" fmla="*/ 4672510 w 7267540"/>
                <a:gd name="connsiteY2889" fmla="*/ 1791371 h 3952232"/>
                <a:gd name="connsiteX2890" fmla="*/ 4666930 w 7267540"/>
                <a:gd name="connsiteY2890" fmla="*/ 1796345 h 3952232"/>
                <a:gd name="connsiteX2891" fmla="*/ 4672311 w 7267540"/>
                <a:gd name="connsiteY2891" fmla="*/ 1791371 h 3952232"/>
                <a:gd name="connsiteX2892" fmla="*/ 4603557 w 7267540"/>
                <a:gd name="connsiteY2892" fmla="*/ 662686 h 3952232"/>
                <a:gd name="connsiteX2893" fmla="*/ 4604553 w 7267540"/>
                <a:gd name="connsiteY2893" fmla="*/ 666864 h 3952232"/>
                <a:gd name="connsiteX2894" fmla="*/ 4603557 w 7267540"/>
                <a:gd name="connsiteY2894" fmla="*/ 662686 h 3952232"/>
                <a:gd name="connsiteX2895" fmla="*/ 4653379 w 7267540"/>
                <a:gd name="connsiteY2895" fmla="*/ 773316 h 3952232"/>
                <a:gd name="connsiteX2896" fmla="*/ 4657763 w 7267540"/>
                <a:gd name="connsiteY2896" fmla="*/ 783861 h 3952232"/>
                <a:gd name="connsiteX2897" fmla="*/ 4652980 w 7267540"/>
                <a:gd name="connsiteY2897" fmla="*/ 773017 h 3952232"/>
                <a:gd name="connsiteX2898" fmla="*/ 4662446 w 7267540"/>
                <a:gd name="connsiteY2898" fmla="*/ 750533 h 3952232"/>
                <a:gd name="connsiteX2899" fmla="*/ 4653977 w 7267540"/>
                <a:gd name="connsiteY2899" fmla="*/ 770431 h 3952232"/>
                <a:gd name="connsiteX2900" fmla="*/ 4662048 w 7267540"/>
                <a:gd name="connsiteY2900" fmla="*/ 750235 h 3952232"/>
                <a:gd name="connsiteX2901" fmla="*/ 4667229 w 7267540"/>
                <a:gd name="connsiteY2901" fmla="*/ 793014 h 3952232"/>
                <a:gd name="connsiteX2902" fmla="*/ 4660155 w 7267540"/>
                <a:gd name="connsiteY2902" fmla="*/ 787443 h 3952232"/>
                <a:gd name="connsiteX2903" fmla="*/ 4666831 w 7267540"/>
                <a:gd name="connsiteY2903" fmla="*/ 792716 h 3952232"/>
                <a:gd name="connsiteX2904" fmla="*/ 4657265 w 7267540"/>
                <a:gd name="connsiteY2904" fmla="*/ 742077 h 3952232"/>
                <a:gd name="connsiteX2905" fmla="*/ 4659357 w 7267540"/>
                <a:gd name="connsiteY2905" fmla="*/ 743271 h 3952232"/>
                <a:gd name="connsiteX2906" fmla="*/ 4655970 w 7267540"/>
                <a:gd name="connsiteY2906" fmla="*/ 743271 h 3952232"/>
                <a:gd name="connsiteX2907" fmla="*/ 4656368 w 7267540"/>
                <a:gd name="connsiteY2907" fmla="*/ 742276 h 3952232"/>
                <a:gd name="connsiteX2908" fmla="*/ 4652482 w 7267540"/>
                <a:gd name="connsiteY2908" fmla="*/ 745857 h 3952232"/>
                <a:gd name="connsiteX2909" fmla="*/ 4651286 w 7267540"/>
                <a:gd name="connsiteY2909" fmla="*/ 747051 h 3952232"/>
                <a:gd name="connsiteX2910" fmla="*/ 4647599 w 7267540"/>
                <a:gd name="connsiteY2910" fmla="*/ 747051 h 3952232"/>
                <a:gd name="connsiteX2911" fmla="*/ 4637635 w 7267540"/>
                <a:gd name="connsiteY2911" fmla="*/ 747051 h 3952232"/>
                <a:gd name="connsiteX2912" fmla="*/ 4647599 w 7267540"/>
                <a:gd name="connsiteY2912" fmla="*/ 747051 h 3952232"/>
                <a:gd name="connsiteX2913" fmla="*/ 4651585 w 7267540"/>
                <a:gd name="connsiteY2913" fmla="*/ 745559 h 3952232"/>
                <a:gd name="connsiteX2914" fmla="*/ 4645308 w 7267540"/>
                <a:gd name="connsiteY2914" fmla="*/ 691239 h 3952232"/>
                <a:gd name="connsiteX2915" fmla="*/ 4642717 w 7267540"/>
                <a:gd name="connsiteY2915" fmla="*/ 682384 h 3952232"/>
                <a:gd name="connsiteX2916" fmla="*/ 4644411 w 7267540"/>
                <a:gd name="connsiteY2916" fmla="*/ 690940 h 3952232"/>
                <a:gd name="connsiteX2917" fmla="*/ 4623087 w 7267540"/>
                <a:gd name="connsiteY2917" fmla="*/ 671341 h 3952232"/>
                <a:gd name="connsiteX2918" fmla="*/ 4620297 w 7267540"/>
                <a:gd name="connsiteY2918" fmla="*/ 669252 h 3952232"/>
                <a:gd name="connsiteX2919" fmla="*/ 4622190 w 7267540"/>
                <a:gd name="connsiteY2919" fmla="*/ 671242 h 3952232"/>
                <a:gd name="connsiteX2920" fmla="*/ 4610432 w 7267540"/>
                <a:gd name="connsiteY2920" fmla="*/ 653334 h 3952232"/>
                <a:gd name="connsiteX2921" fmla="*/ 4606446 w 7267540"/>
                <a:gd name="connsiteY2921" fmla="*/ 658706 h 3952232"/>
                <a:gd name="connsiteX2922" fmla="*/ 4610432 w 7267540"/>
                <a:gd name="connsiteY2922" fmla="*/ 653334 h 3952232"/>
                <a:gd name="connsiteX2923" fmla="*/ 4606446 w 7267540"/>
                <a:gd name="connsiteY2923" fmla="*/ 647365 h 3952232"/>
                <a:gd name="connsiteX2924" fmla="*/ 4609535 w 7267540"/>
                <a:gd name="connsiteY2924" fmla="*/ 653235 h 3952232"/>
                <a:gd name="connsiteX2925" fmla="*/ 4597379 w 7267540"/>
                <a:gd name="connsiteY2925" fmla="*/ 640500 h 3952232"/>
                <a:gd name="connsiteX2926" fmla="*/ 4584226 w 7267540"/>
                <a:gd name="connsiteY2926" fmla="*/ 638013 h 3952232"/>
                <a:gd name="connsiteX2927" fmla="*/ 4596482 w 7267540"/>
                <a:gd name="connsiteY2927" fmla="*/ 640401 h 3952232"/>
                <a:gd name="connsiteX2928" fmla="*/ 4568582 w 7267540"/>
                <a:gd name="connsiteY2928" fmla="*/ 634431 h 3952232"/>
                <a:gd name="connsiteX2929" fmla="*/ 4552539 w 7267540"/>
                <a:gd name="connsiteY2929" fmla="*/ 628064 h 3952232"/>
                <a:gd name="connsiteX2930" fmla="*/ 4567884 w 7267540"/>
                <a:gd name="connsiteY2930" fmla="*/ 634332 h 3952232"/>
                <a:gd name="connsiteX2931" fmla="*/ 4538689 w 7267540"/>
                <a:gd name="connsiteY2931" fmla="*/ 633039 h 3952232"/>
                <a:gd name="connsiteX2932" fmla="*/ 4543870 w 7267540"/>
                <a:gd name="connsiteY2932" fmla="*/ 630352 h 3952232"/>
                <a:gd name="connsiteX2933" fmla="*/ 4552240 w 7267540"/>
                <a:gd name="connsiteY2933" fmla="*/ 628064 h 3952232"/>
                <a:gd name="connsiteX2934" fmla="*/ 4543870 w 7267540"/>
                <a:gd name="connsiteY2934" fmla="*/ 630352 h 3952232"/>
                <a:gd name="connsiteX2935" fmla="*/ 4542674 w 7267540"/>
                <a:gd name="connsiteY2935" fmla="*/ 632442 h 3952232"/>
                <a:gd name="connsiteX2936" fmla="*/ 4538689 w 7267540"/>
                <a:gd name="connsiteY2936" fmla="*/ 633039 h 3952232"/>
                <a:gd name="connsiteX2937" fmla="*/ 4537692 w 7267540"/>
                <a:gd name="connsiteY2937" fmla="*/ 633039 h 3952232"/>
                <a:gd name="connsiteX2938" fmla="*/ 4537094 w 7267540"/>
                <a:gd name="connsiteY2938" fmla="*/ 631646 h 3952232"/>
                <a:gd name="connsiteX2939" fmla="*/ 4537991 w 7267540"/>
                <a:gd name="connsiteY2939" fmla="*/ 632840 h 3952232"/>
                <a:gd name="connsiteX2940" fmla="*/ 4534703 w 7267540"/>
                <a:gd name="connsiteY2940" fmla="*/ 628462 h 3952232"/>
                <a:gd name="connsiteX2941" fmla="*/ 4535300 w 7267540"/>
                <a:gd name="connsiteY2941" fmla="*/ 629855 h 3952232"/>
                <a:gd name="connsiteX2942" fmla="*/ 4531813 w 7267540"/>
                <a:gd name="connsiteY2942" fmla="*/ 627766 h 3952232"/>
                <a:gd name="connsiteX2943" fmla="*/ 4495842 w 7267540"/>
                <a:gd name="connsiteY2943" fmla="*/ 613539 h 3952232"/>
                <a:gd name="connsiteX2944" fmla="*/ 4500425 w 7267540"/>
                <a:gd name="connsiteY2944" fmla="*/ 616026 h 3952232"/>
                <a:gd name="connsiteX2945" fmla="*/ 4514575 w 7267540"/>
                <a:gd name="connsiteY2945" fmla="*/ 625179 h 3952232"/>
                <a:gd name="connsiteX2946" fmla="*/ 4520354 w 7267540"/>
                <a:gd name="connsiteY2946" fmla="*/ 627069 h 3952232"/>
                <a:gd name="connsiteX2947" fmla="*/ 4525535 w 7267540"/>
                <a:gd name="connsiteY2947" fmla="*/ 627069 h 3952232"/>
                <a:gd name="connsiteX2948" fmla="*/ 4526731 w 7267540"/>
                <a:gd name="connsiteY2948" fmla="*/ 627069 h 3952232"/>
                <a:gd name="connsiteX2949" fmla="*/ 4529023 w 7267540"/>
                <a:gd name="connsiteY2949" fmla="*/ 627666 h 3952232"/>
                <a:gd name="connsiteX2950" fmla="*/ 4525535 w 7267540"/>
                <a:gd name="connsiteY2950" fmla="*/ 627666 h 3952232"/>
                <a:gd name="connsiteX2951" fmla="*/ 4520354 w 7267540"/>
                <a:gd name="connsiteY2951" fmla="*/ 627666 h 3952232"/>
                <a:gd name="connsiteX2952" fmla="*/ 4517763 w 7267540"/>
                <a:gd name="connsiteY2952" fmla="*/ 627666 h 3952232"/>
                <a:gd name="connsiteX2953" fmla="*/ 4514575 w 7267540"/>
                <a:gd name="connsiteY2953" fmla="*/ 625378 h 3952232"/>
                <a:gd name="connsiteX2954" fmla="*/ 4500425 w 7267540"/>
                <a:gd name="connsiteY2954" fmla="*/ 616225 h 3952232"/>
                <a:gd name="connsiteX2955" fmla="*/ 4449208 w 7267540"/>
                <a:gd name="connsiteY2955" fmla="*/ 596328 h 3952232"/>
                <a:gd name="connsiteX2956" fmla="*/ 4494945 w 7267540"/>
                <a:gd name="connsiteY2956" fmla="*/ 613440 h 3952232"/>
                <a:gd name="connsiteX2957" fmla="*/ 4353350 w 7267540"/>
                <a:gd name="connsiteY2957" fmla="*/ 569765 h 3952232"/>
                <a:gd name="connsiteX2958" fmla="*/ 4349763 w 7267540"/>
                <a:gd name="connsiteY2958" fmla="*/ 559119 h 3952232"/>
                <a:gd name="connsiteX2959" fmla="*/ 4352454 w 7267540"/>
                <a:gd name="connsiteY2959" fmla="*/ 569665 h 3952232"/>
                <a:gd name="connsiteX2960" fmla="*/ 4326446 w 7267540"/>
                <a:gd name="connsiteY2960" fmla="*/ 531064 h 3952232"/>
                <a:gd name="connsiteX2961" fmla="*/ 4328041 w 7267540"/>
                <a:gd name="connsiteY2961" fmla="*/ 532954 h 3952232"/>
                <a:gd name="connsiteX2962" fmla="*/ 4331229 w 7267540"/>
                <a:gd name="connsiteY2962" fmla="*/ 535640 h 3952232"/>
                <a:gd name="connsiteX2963" fmla="*/ 4334219 w 7267540"/>
                <a:gd name="connsiteY2963" fmla="*/ 537332 h 3952232"/>
                <a:gd name="connsiteX2964" fmla="*/ 4338603 w 7267540"/>
                <a:gd name="connsiteY2964" fmla="*/ 539222 h 3952232"/>
                <a:gd name="connsiteX2965" fmla="*/ 4341393 w 7267540"/>
                <a:gd name="connsiteY2965" fmla="*/ 539918 h 3952232"/>
                <a:gd name="connsiteX2966" fmla="*/ 4343585 w 7267540"/>
                <a:gd name="connsiteY2966" fmla="*/ 544694 h 3952232"/>
                <a:gd name="connsiteX2967" fmla="*/ 4349664 w 7267540"/>
                <a:gd name="connsiteY2967" fmla="*/ 558821 h 3952232"/>
                <a:gd name="connsiteX2968" fmla="*/ 4343585 w 7267540"/>
                <a:gd name="connsiteY2968" fmla="*/ 544694 h 3952232"/>
                <a:gd name="connsiteX2969" fmla="*/ 4338603 w 7267540"/>
                <a:gd name="connsiteY2969" fmla="*/ 539222 h 3952232"/>
                <a:gd name="connsiteX2970" fmla="*/ 4334219 w 7267540"/>
                <a:gd name="connsiteY2970" fmla="*/ 537332 h 3952232"/>
                <a:gd name="connsiteX2971" fmla="*/ 4332425 w 7267540"/>
                <a:gd name="connsiteY2971" fmla="*/ 537332 h 3952232"/>
                <a:gd name="connsiteX2972" fmla="*/ 4331229 w 7267540"/>
                <a:gd name="connsiteY2972" fmla="*/ 536038 h 3952232"/>
                <a:gd name="connsiteX2973" fmla="*/ 4328041 w 7267540"/>
                <a:gd name="connsiteY2973" fmla="*/ 533352 h 3952232"/>
                <a:gd name="connsiteX2974" fmla="*/ 4324952 w 7267540"/>
                <a:gd name="connsiteY2974" fmla="*/ 532357 h 3952232"/>
                <a:gd name="connsiteX2975" fmla="*/ 4325550 w 7267540"/>
                <a:gd name="connsiteY2975" fmla="*/ 530964 h 3952232"/>
                <a:gd name="connsiteX2976" fmla="*/ 4312197 w 7267540"/>
                <a:gd name="connsiteY2976" fmla="*/ 1243593 h 3952232"/>
                <a:gd name="connsiteX2977" fmla="*/ 4315486 w 7267540"/>
                <a:gd name="connsiteY2977" fmla="*/ 1243593 h 3952232"/>
                <a:gd name="connsiteX2978" fmla="*/ 4356539 w 7267540"/>
                <a:gd name="connsiteY2978" fmla="*/ 1244190 h 3952232"/>
                <a:gd name="connsiteX2979" fmla="*/ 4312197 w 7267540"/>
                <a:gd name="connsiteY2979" fmla="*/ 1244190 h 3952232"/>
                <a:gd name="connsiteX2980" fmla="*/ 4292269 w 7267540"/>
                <a:gd name="connsiteY2980" fmla="*/ 1244190 h 3952232"/>
                <a:gd name="connsiteX2981" fmla="*/ 4311301 w 7267540"/>
                <a:gd name="connsiteY2981" fmla="*/ 1243493 h 3952232"/>
                <a:gd name="connsiteX2982" fmla="*/ 4286987 w 7267540"/>
                <a:gd name="connsiteY2982" fmla="*/ 1240807 h 3952232"/>
                <a:gd name="connsiteX2983" fmla="*/ 4291771 w 7267540"/>
                <a:gd name="connsiteY2983" fmla="*/ 1243294 h 3952232"/>
                <a:gd name="connsiteX2984" fmla="*/ 4287585 w 7267540"/>
                <a:gd name="connsiteY2984" fmla="*/ 1243294 h 3952232"/>
                <a:gd name="connsiteX2985" fmla="*/ 4287585 w 7267540"/>
                <a:gd name="connsiteY2985" fmla="*/ 1244588 h 3952232"/>
                <a:gd name="connsiteX2986" fmla="*/ 4287585 w 7267540"/>
                <a:gd name="connsiteY2986" fmla="*/ 1240807 h 3952232"/>
                <a:gd name="connsiteX2987" fmla="*/ 4279116 w 7267540"/>
                <a:gd name="connsiteY2987" fmla="*/ 1223795 h 3952232"/>
                <a:gd name="connsiteX2988" fmla="*/ 4286091 w 7267540"/>
                <a:gd name="connsiteY2988" fmla="*/ 1240708 h 3952232"/>
                <a:gd name="connsiteX2989" fmla="*/ 4268952 w 7267540"/>
                <a:gd name="connsiteY2989" fmla="*/ 1219815 h 3952232"/>
                <a:gd name="connsiteX2990" fmla="*/ 4273535 w 7267540"/>
                <a:gd name="connsiteY2990" fmla="*/ 1220810 h 3952232"/>
                <a:gd name="connsiteX2991" fmla="*/ 4277322 w 7267540"/>
                <a:gd name="connsiteY2991" fmla="*/ 1224093 h 3952232"/>
                <a:gd name="connsiteX2992" fmla="*/ 4268952 w 7267540"/>
                <a:gd name="connsiteY2992" fmla="*/ 1219815 h 3952232"/>
                <a:gd name="connsiteX2993" fmla="*/ 4241948 w 7267540"/>
                <a:gd name="connsiteY2993" fmla="*/ 1209270 h 3952232"/>
                <a:gd name="connsiteX2994" fmla="*/ 4268952 w 7267540"/>
                <a:gd name="connsiteY2994" fmla="*/ 1219815 h 3952232"/>
                <a:gd name="connsiteX2995" fmla="*/ 4241749 w 7267540"/>
                <a:gd name="connsiteY2995" fmla="*/ 1209270 h 3952232"/>
                <a:gd name="connsiteX2996" fmla="*/ 4239657 w 7267540"/>
                <a:gd name="connsiteY2996" fmla="*/ 1207976 h 3952232"/>
                <a:gd name="connsiteX2997" fmla="*/ 4230988 w 7267540"/>
                <a:gd name="connsiteY2997" fmla="*/ 1190566 h 3952232"/>
                <a:gd name="connsiteX2998" fmla="*/ 4224710 w 7267540"/>
                <a:gd name="connsiteY2998" fmla="*/ 1176041 h 3952232"/>
                <a:gd name="connsiteX2999" fmla="*/ 4220126 w 7267540"/>
                <a:gd name="connsiteY2999" fmla="*/ 1156144 h 3952232"/>
                <a:gd name="connsiteX3000" fmla="*/ 4222717 w 7267540"/>
                <a:gd name="connsiteY3000" fmla="*/ 1163605 h 3952232"/>
                <a:gd name="connsiteX3001" fmla="*/ 4229692 w 7267540"/>
                <a:gd name="connsiteY3001" fmla="*/ 1182607 h 3952232"/>
                <a:gd name="connsiteX3002" fmla="*/ 4230988 w 7267540"/>
                <a:gd name="connsiteY3002" fmla="*/ 1190069 h 3952232"/>
                <a:gd name="connsiteX3003" fmla="*/ 4241948 w 7267540"/>
                <a:gd name="connsiteY3003" fmla="*/ 1208772 h 3952232"/>
                <a:gd name="connsiteX3004" fmla="*/ 4220326 w 7267540"/>
                <a:gd name="connsiteY3004" fmla="*/ 1139629 h 3952232"/>
                <a:gd name="connsiteX3005" fmla="*/ 4225009 w 7267540"/>
                <a:gd name="connsiteY3005" fmla="*/ 1128486 h 3952232"/>
                <a:gd name="connsiteX3006" fmla="*/ 4220525 w 7267540"/>
                <a:gd name="connsiteY3006" fmla="*/ 1139430 h 3952232"/>
                <a:gd name="connsiteX3007" fmla="*/ 4234674 w 7267540"/>
                <a:gd name="connsiteY3007" fmla="*/ 1116050 h 3952232"/>
                <a:gd name="connsiteX3008" fmla="*/ 4232582 w 7267540"/>
                <a:gd name="connsiteY3008" fmla="*/ 1118239 h 3952232"/>
                <a:gd name="connsiteX3009" fmla="*/ 4225009 w 7267540"/>
                <a:gd name="connsiteY3009" fmla="*/ 1128187 h 3952232"/>
                <a:gd name="connsiteX3010" fmla="*/ 4232582 w 7267540"/>
                <a:gd name="connsiteY3010" fmla="*/ 1118239 h 3952232"/>
                <a:gd name="connsiteX3011" fmla="*/ 4231585 w 7267540"/>
                <a:gd name="connsiteY3011" fmla="*/ 1110180 h 3952232"/>
                <a:gd name="connsiteX3012" fmla="*/ 4234874 w 7267540"/>
                <a:gd name="connsiteY3012" fmla="*/ 1115851 h 3952232"/>
                <a:gd name="connsiteX3013" fmla="*/ 4224710 w 7267540"/>
                <a:gd name="connsiteY3013" fmla="*/ 1102818 h 3952232"/>
                <a:gd name="connsiteX3014" fmla="*/ 4229094 w 7267540"/>
                <a:gd name="connsiteY3014" fmla="*/ 1105106 h 3952232"/>
                <a:gd name="connsiteX3015" fmla="*/ 4231785 w 7267540"/>
                <a:gd name="connsiteY3015" fmla="*/ 1109981 h 3952232"/>
                <a:gd name="connsiteX3016" fmla="*/ 4224710 w 7267540"/>
                <a:gd name="connsiteY3016" fmla="*/ 1102818 h 3952232"/>
                <a:gd name="connsiteX3017" fmla="*/ 4217834 w 7267540"/>
                <a:gd name="connsiteY3017" fmla="*/ 1097048 h 3952232"/>
                <a:gd name="connsiteX3018" fmla="*/ 4224511 w 7267540"/>
                <a:gd name="connsiteY3018" fmla="*/ 1102619 h 3952232"/>
                <a:gd name="connsiteX3019" fmla="*/ 4216141 w 7267540"/>
                <a:gd name="connsiteY3019" fmla="*/ 1095158 h 3952232"/>
                <a:gd name="connsiteX3020" fmla="*/ 4216141 w 7267540"/>
                <a:gd name="connsiteY3020" fmla="*/ 1093566 h 3952232"/>
                <a:gd name="connsiteX3021" fmla="*/ 4217336 w 7267540"/>
                <a:gd name="connsiteY3021" fmla="*/ 1096750 h 3952232"/>
                <a:gd name="connsiteX3022" fmla="*/ 4215941 w 7267540"/>
                <a:gd name="connsiteY3022" fmla="*/ 1094959 h 3952232"/>
                <a:gd name="connsiteX3023" fmla="*/ 4216141 w 7267540"/>
                <a:gd name="connsiteY3023" fmla="*/ 1088293 h 3952232"/>
                <a:gd name="connsiteX3024" fmla="*/ 4217237 w 7267540"/>
                <a:gd name="connsiteY3024" fmla="*/ 1090183 h 3952232"/>
                <a:gd name="connsiteX3025" fmla="*/ 4217237 w 7267540"/>
                <a:gd name="connsiteY3025" fmla="*/ 1091576 h 3952232"/>
                <a:gd name="connsiteX3026" fmla="*/ 4216639 w 7267540"/>
                <a:gd name="connsiteY3026" fmla="*/ 1088293 h 3952232"/>
                <a:gd name="connsiteX3027" fmla="*/ 4215044 w 7267540"/>
                <a:gd name="connsiteY3027" fmla="*/ 1082722 h 3952232"/>
                <a:gd name="connsiteX3028" fmla="*/ 4215842 w 7267540"/>
                <a:gd name="connsiteY3028" fmla="*/ 1088094 h 3952232"/>
                <a:gd name="connsiteX3029" fmla="*/ 4215244 w 7267540"/>
                <a:gd name="connsiteY3029" fmla="*/ 1073370 h 3952232"/>
                <a:gd name="connsiteX3030" fmla="*/ 4214347 w 7267540"/>
                <a:gd name="connsiteY3030" fmla="*/ 1075459 h 3952232"/>
                <a:gd name="connsiteX3031" fmla="*/ 4214347 w 7267540"/>
                <a:gd name="connsiteY3031" fmla="*/ 1082025 h 3952232"/>
                <a:gd name="connsiteX3032" fmla="*/ 4214347 w 7267540"/>
                <a:gd name="connsiteY3032" fmla="*/ 1075459 h 3952232"/>
                <a:gd name="connsiteX3033" fmla="*/ 4214347 w 7267540"/>
                <a:gd name="connsiteY3033" fmla="*/ 1073370 h 3952232"/>
                <a:gd name="connsiteX3034" fmla="*/ 4214347 w 7267540"/>
                <a:gd name="connsiteY3034" fmla="*/ 1068197 h 3952232"/>
                <a:gd name="connsiteX3035" fmla="*/ 4214945 w 7267540"/>
                <a:gd name="connsiteY3035" fmla="*/ 1073171 h 3952232"/>
                <a:gd name="connsiteX3036" fmla="*/ 4208966 w 7267540"/>
                <a:gd name="connsiteY3036" fmla="*/ 1049393 h 3952232"/>
                <a:gd name="connsiteX3037" fmla="*/ 4208269 w 7267540"/>
                <a:gd name="connsiteY3037" fmla="*/ 1044419 h 3952232"/>
                <a:gd name="connsiteX3038" fmla="*/ 4209066 w 7267540"/>
                <a:gd name="connsiteY3038" fmla="*/ 1042031 h 3952232"/>
                <a:gd name="connsiteX3039" fmla="*/ 4210561 w 7267540"/>
                <a:gd name="connsiteY3039" fmla="*/ 1030491 h 3952232"/>
                <a:gd name="connsiteX3040" fmla="*/ 4209066 w 7267540"/>
                <a:gd name="connsiteY3040" fmla="*/ 1042031 h 3952232"/>
                <a:gd name="connsiteX3041" fmla="*/ 4209066 w 7267540"/>
                <a:gd name="connsiteY3041" fmla="*/ 1049393 h 3952232"/>
                <a:gd name="connsiteX3042" fmla="*/ 4212254 w 7267540"/>
                <a:gd name="connsiteY3042" fmla="*/ 1060536 h 3952232"/>
                <a:gd name="connsiteX3043" fmla="*/ 4209165 w 7267540"/>
                <a:gd name="connsiteY3043" fmla="*/ 1049195 h 3952232"/>
                <a:gd name="connsiteX3044" fmla="*/ 4196810 w 7267540"/>
                <a:gd name="connsiteY3044" fmla="*/ 999650 h 3952232"/>
                <a:gd name="connsiteX3045" fmla="*/ 4198503 w 7267540"/>
                <a:gd name="connsiteY3045" fmla="*/ 1002137 h 3952232"/>
                <a:gd name="connsiteX3046" fmla="*/ 4207471 w 7267540"/>
                <a:gd name="connsiteY3046" fmla="*/ 1016364 h 3952232"/>
                <a:gd name="connsiteX3047" fmla="*/ 4211258 w 7267540"/>
                <a:gd name="connsiteY3047" fmla="*/ 1025616 h 3952232"/>
                <a:gd name="connsiteX3048" fmla="*/ 4210561 w 7267540"/>
                <a:gd name="connsiteY3048" fmla="*/ 1030491 h 3952232"/>
                <a:gd name="connsiteX3049" fmla="*/ 4207471 w 7267540"/>
                <a:gd name="connsiteY3049" fmla="*/ 1016364 h 3952232"/>
                <a:gd name="connsiteX3050" fmla="*/ 4198503 w 7267540"/>
                <a:gd name="connsiteY3050" fmla="*/ 1002137 h 3952232"/>
                <a:gd name="connsiteX3051" fmla="*/ 4197308 w 7267540"/>
                <a:gd name="connsiteY3051" fmla="*/ 1000744 h 3952232"/>
                <a:gd name="connsiteX3052" fmla="*/ 4197308 w 7267540"/>
                <a:gd name="connsiteY3052" fmla="*/ 999650 h 3952232"/>
                <a:gd name="connsiteX3053" fmla="*/ 4190831 w 7267540"/>
                <a:gd name="connsiteY3053" fmla="*/ 990696 h 3952232"/>
                <a:gd name="connsiteX3054" fmla="*/ 4196511 w 7267540"/>
                <a:gd name="connsiteY3054" fmla="*/ 999351 h 3952232"/>
                <a:gd name="connsiteX3055" fmla="*/ 4182859 w 7267540"/>
                <a:gd name="connsiteY3055" fmla="*/ 984826 h 3952232"/>
                <a:gd name="connsiteX3056" fmla="*/ 4187343 w 7267540"/>
                <a:gd name="connsiteY3056" fmla="*/ 985821 h 3952232"/>
                <a:gd name="connsiteX3057" fmla="*/ 4190233 w 7267540"/>
                <a:gd name="connsiteY3057" fmla="*/ 990397 h 3952232"/>
                <a:gd name="connsiteX3058" fmla="*/ 4182859 w 7267540"/>
                <a:gd name="connsiteY3058" fmla="*/ 984826 h 3952232"/>
                <a:gd name="connsiteX3059" fmla="*/ 4172895 w 7267540"/>
                <a:gd name="connsiteY3059" fmla="*/ 982040 h 3952232"/>
                <a:gd name="connsiteX3060" fmla="*/ 4182560 w 7267540"/>
                <a:gd name="connsiteY3060" fmla="*/ 984528 h 3952232"/>
                <a:gd name="connsiteX3061" fmla="*/ 4172895 w 7267540"/>
                <a:gd name="connsiteY3061" fmla="*/ 982040 h 3952232"/>
                <a:gd name="connsiteX3062" fmla="*/ 4170304 w 7267540"/>
                <a:gd name="connsiteY3062" fmla="*/ 982040 h 3952232"/>
                <a:gd name="connsiteX3063" fmla="*/ 4165920 w 7267540"/>
                <a:gd name="connsiteY3063" fmla="*/ 979155 h 3952232"/>
                <a:gd name="connsiteX3064" fmla="*/ 4172696 w 7267540"/>
                <a:gd name="connsiteY3064" fmla="*/ 981742 h 3952232"/>
                <a:gd name="connsiteX3065" fmla="*/ 4157051 w 7267540"/>
                <a:gd name="connsiteY3065" fmla="*/ 971097 h 3952232"/>
                <a:gd name="connsiteX3066" fmla="*/ 4149678 w 7267540"/>
                <a:gd name="connsiteY3066" fmla="*/ 964033 h 3952232"/>
                <a:gd name="connsiteX3067" fmla="*/ 4157051 w 7267540"/>
                <a:gd name="connsiteY3067" fmla="*/ 971097 h 3952232"/>
                <a:gd name="connsiteX3068" fmla="*/ 4126261 w 7267540"/>
                <a:gd name="connsiteY3068" fmla="*/ 931302 h 3952232"/>
                <a:gd name="connsiteX3069" fmla="*/ 4126859 w 7267540"/>
                <a:gd name="connsiteY3069" fmla="*/ 935978 h 3952232"/>
                <a:gd name="connsiteX3070" fmla="*/ 4133834 w 7267540"/>
                <a:gd name="connsiteY3070" fmla="*/ 952095 h 3952232"/>
                <a:gd name="connsiteX3071" fmla="*/ 4126859 w 7267540"/>
                <a:gd name="connsiteY3071" fmla="*/ 935978 h 3952232"/>
                <a:gd name="connsiteX3072" fmla="*/ 4119884 w 7267540"/>
                <a:gd name="connsiteY3072" fmla="*/ 923243 h 3952232"/>
                <a:gd name="connsiteX3073" fmla="*/ 4126261 w 7267540"/>
                <a:gd name="connsiteY3073" fmla="*/ 931302 h 3952232"/>
                <a:gd name="connsiteX3074" fmla="*/ 4119585 w 7267540"/>
                <a:gd name="connsiteY3074" fmla="*/ 922945 h 3952232"/>
                <a:gd name="connsiteX3075" fmla="*/ 4094973 w 7267540"/>
                <a:gd name="connsiteY3075" fmla="*/ 911703 h 3952232"/>
                <a:gd name="connsiteX3076" fmla="*/ 4104938 w 7267540"/>
                <a:gd name="connsiteY3076" fmla="*/ 915384 h 3952232"/>
                <a:gd name="connsiteX3077" fmla="*/ 4119486 w 7267540"/>
                <a:gd name="connsiteY3077" fmla="*/ 922447 h 3952232"/>
                <a:gd name="connsiteX3078" fmla="*/ 4089692 w 7267540"/>
                <a:gd name="connsiteY3078" fmla="*/ 509276 h 3952232"/>
                <a:gd name="connsiteX3079" fmla="*/ 4079728 w 7267540"/>
                <a:gd name="connsiteY3079" fmla="*/ 510470 h 3952232"/>
                <a:gd name="connsiteX3080" fmla="*/ 4089592 w 7267540"/>
                <a:gd name="connsiteY3080" fmla="*/ 508779 h 3952232"/>
                <a:gd name="connsiteX3081" fmla="*/ 4070660 w 7267540"/>
                <a:gd name="connsiteY3081" fmla="*/ 628661 h 3952232"/>
                <a:gd name="connsiteX3082" fmla="*/ 4062987 w 7267540"/>
                <a:gd name="connsiteY3082" fmla="*/ 629556 h 3952232"/>
                <a:gd name="connsiteX3083" fmla="*/ 4070461 w 7267540"/>
                <a:gd name="connsiteY3083" fmla="*/ 627965 h 3952232"/>
                <a:gd name="connsiteX3084" fmla="*/ 4035984 w 7267540"/>
                <a:gd name="connsiteY3084" fmla="*/ 644281 h 3952232"/>
                <a:gd name="connsiteX3085" fmla="*/ 4028909 w 7267540"/>
                <a:gd name="connsiteY3085" fmla="*/ 649951 h 3952232"/>
                <a:gd name="connsiteX3086" fmla="*/ 4035785 w 7267540"/>
                <a:gd name="connsiteY3086" fmla="*/ 643584 h 3952232"/>
                <a:gd name="connsiteX3087" fmla="*/ 4006091 w 7267540"/>
                <a:gd name="connsiteY3087" fmla="*/ 706560 h 3952232"/>
                <a:gd name="connsiteX3088" fmla="*/ 4004596 w 7267540"/>
                <a:gd name="connsiteY3088" fmla="*/ 698601 h 3952232"/>
                <a:gd name="connsiteX3089" fmla="*/ 4006091 w 7267540"/>
                <a:gd name="connsiteY3089" fmla="*/ 705863 h 3952232"/>
                <a:gd name="connsiteX3090" fmla="*/ 3547728 w 7267540"/>
                <a:gd name="connsiteY3090" fmla="*/ 743470 h 3952232"/>
                <a:gd name="connsiteX3091" fmla="*/ 3555500 w 7267540"/>
                <a:gd name="connsiteY3091" fmla="*/ 761477 h 3952232"/>
                <a:gd name="connsiteX3092" fmla="*/ 3555500 w 7267540"/>
                <a:gd name="connsiteY3092" fmla="*/ 815200 h 3952232"/>
                <a:gd name="connsiteX3093" fmla="*/ 3555500 w 7267540"/>
                <a:gd name="connsiteY3093" fmla="*/ 761477 h 3952232"/>
                <a:gd name="connsiteX3094" fmla="*/ 3545536 w 7267540"/>
                <a:gd name="connsiteY3094" fmla="*/ 742674 h 3952232"/>
                <a:gd name="connsiteX3095" fmla="*/ 3531486 w 7267540"/>
                <a:gd name="connsiteY3095" fmla="*/ 737600 h 3952232"/>
                <a:gd name="connsiteX3096" fmla="*/ 3528497 w 7267540"/>
                <a:gd name="connsiteY3096" fmla="*/ 737600 h 3952232"/>
                <a:gd name="connsiteX3097" fmla="*/ 3526105 w 7267540"/>
                <a:gd name="connsiteY3097" fmla="*/ 734814 h 3952232"/>
                <a:gd name="connsiteX3098" fmla="*/ 3519628 w 7267540"/>
                <a:gd name="connsiteY3098" fmla="*/ 725960 h 3952232"/>
                <a:gd name="connsiteX3099" fmla="*/ 3526105 w 7267540"/>
                <a:gd name="connsiteY3099" fmla="*/ 734814 h 3952232"/>
                <a:gd name="connsiteX3100" fmla="*/ 3531486 w 7267540"/>
                <a:gd name="connsiteY3100" fmla="*/ 737699 h 3952232"/>
                <a:gd name="connsiteX3101" fmla="*/ 3545536 w 7267540"/>
                <a:gd name="connsiteY3101" fmla="*/ 742773 h 3952232"/>
                <a:gd name="connsiteX3102" fmla="*/ 3541550 w 7267540"/>
                <a:gd name="connsiteY3102" fmla="*/ 609659 h 3952232"/>
                <a:gd name="connsiteX3103" fmla="*/ 3542945 w 7267540"/>
                <a:gd name="connsiteY3103" fmla="*/ 615529 h 3952232"/>
                <a:gd name="connsiteX3104" fmla="*/ 3542148 w 7267540"/>
                <a:gd name="connsiteY3104" fmla="*/ 618712 h 3952232"/>
                <a:gd name="connsiteX3105" fmla="*/ 3541550 w 7267540"/>
                <a:gd name="connsiteY3105" fmla="*/ 609659 h 3952232"/>
                <a:gd name="connsiteX3106" fmla="*/ 3537763 w 7267540"/>
                <a:gd name="connsiteY3106" fmla="*/ 586976 h 3952232"/>
                <a:gd name="connsiteX3107" fmla="*/ 3541550 w 7267540"/>
                <a:gd name="connsiteY3107" fmla="*/ 609659 h 3952232"/>
                <a:gd name="connsiteX3108" fmla="*/ 3537664 w 7267540"/>
                <a:gd name="connsiteY3108" fmla="*/ 586280 h 3952232"/>
                <a:gd name="connsiteX3109" fmla="*/ 3536966 w 7267540"/>
                <a:gd name="connsiteY3109" fmla="*/ 572650 h 3952232"/>
                <a:gd name="connsiteX3110" fmla="*/ 3538062 w 7267540"/>
                <a:gd name="connsiteY3110" fmla="*/ 586280 h 3952232"/>
                <a:gd name="connsiteX3111" fmla="*/ 3520326 w 7267540"/>
                <a:gd name="connsiteY3111" fmla="*/ 533352 h 3952232"/>
                <a:gd name="connsiteX3112" fmla="*/ 3518134 w 7267540"/>
                <a:gd name="connsiteY3112" fmla="*/ 525891 h 3952232"/>
                <a:gd name="connsiteX3113" fmla="*/ 3519429 w 7267540"/>
                <a:gd name="connsiteY3113" fmla="*/ 527980 h 3952232"/>
                <a:gd name="connsiteX3114" fmla="*/ 3515443 w 7267540"/>
                <a:gd name="connsiteY3114" fmla="*/ 519324 h 3952232"/>
                <a:gd name="connsiteX3115" fmla="*/ 3518134 w 7267540"/>
                <a:gd name="connsiteY3115" fmla="*/ 525791 h 3952232"/>
                <a:gd name="connsiteX3116" fmla="*/ 3515443 w 7267540"/>
                <a:gd name="connsiteY3116" fmla="*/ 519225 h 3952232"/>
                <a:gd name="connsiteX3117" fmla="*/ 3508468 w 7267540"/>
                <a:gd name="connsiteY3117" fmla="*/ 446500 h 3952232"/>
                <a:gd name="connsiteX3118" fmla="*/ 3509664 w 7267540"/>
                <a:gd name="connsiteY3118" fmla="*/ 420434 h 3952232"/>
                <a:gd name="connsiteX3119" fmla="*/ 3508468 w 7267540"/>
                <a:gd name="connsiteY3119" fmla="*/ 446400 h 3952232"/>
                <a:gd name="connsiteX3120" fmla="*/ 3505579 w 7267540"/>
                <a:gd name="connsiteY3120" fmla="*/ 352981 h 3952232"/>
                <a:gd name="connsiteX3121" fmla="*/ 3503984 w 7267540"/>
                <a:gd name="connsiteY3121" fmla="*/ 335969 h 3952232"/>
                <a:gd name="connsiteX3122" fmla="*/ 3505579 w 7267540"/>
                <a:gd name="connsiteY3122" fmla="*/ 352882 h 3952232"/>
                <a:gd name="connsiteX3123" fmla="*/ 3502489 w 7267540"/>
                <a:gd name="connsiteY3123" fmla="*/ 328010 h 3952232"/>
                <a:gd name="connsiteX3124" fmla="*/ 3503287 w 7267540"/>
                <a:gd name="connsiteY3124" fmla="*/ 332388 h 3952232"/>
                <a:gd name="connsiteX3125" fmla="*/ 3501393 w 7267540"/>
                <a:gd name="connsiteY3125" fmla="*/ 325324 h 3952232"/>
                <a:gd name="connsiteX3126" fmla="*/ 3502489 w 7267540"/>
                <a:gd name="connsiteY3126" fmla="*/ 327911 h 3952232"/>
                <a:gd name="connsiteX3127" fmla="*/ 3470703 w 7267540"/>
                <a:gd name="connsiteY3127" fmla="*/ 148933 h 3952232"/>
                <a:gd name="connsiteX3128" fmla="*/ 3474589 w 7267540"/>
                <a:gd name="connsiteY3128" fmla="*/ 136596 h 3952232"/>
                <a:gd name="connsiteX3129" fmla="*/ 3470703 w 7267540"/>
                <a:gd name="connsiteY3129" fmla="*/ 149231 h 3952232"/>
                <a:gd name="connsiteX3130" fmla="*/ 2678433 w 7267540"/>
                <a:gd name="connsiteY3130" fmla="*/ 640102 h 3952232"/>
                <a:gd name="connsiteX3131" fmla="*/ 2893166 w 7267540"/>
                <a:gd name="connsiteY3131" fmla="*/ 641097 h 3952232"/>
                <a:gd name="connsiteX3132" fmla="*/ 2673052 w 7267540"/>
                <a:gd name="connsiteY3132" fmla="*/ 640401 h 3952232"/>
                <a:gd name="connsiteX3133" fmla="*/ 2599714 w 7267540"/>
                <a:gd name="connsiteY3133" fmla="*/ 810126 h 3952232"/>
                <a:gd name="connsiteX3134" fmla="*/ 2365451 w 7267540"/>
                <a:gd name="connsiteY3134" fmla="*/ 810126 h 3952232"/>
                <a:gd name="connsiteX3135" fmla="*/ 1964981 w 7267540"/>
                <a:gd name="connsiteY3135" fmla="*/ 809231 h 3952232"/>
                <a:gd name="connsiteX3136" fmla="*/ 2068611 w 7267540"/>
                <a:gd name="connsiteY3136" fmla="*/ 809927 h 3952232"/>
                <a:gd name="connsiteX3137" fmla="*/ 1969964 w 7267540"/>
                <a:gd name="connsiteY3137" fmla="*/ 809927 h 3952232"/>
                <a:gd name="connsiteX3138" fmla="*/ 1932198 w 7267540"/>
                <a:gd name="connsiteY3138" fmla="*/ 808833 h 3952232"/>
                <a:gd name="connsiteX3139" fmla="*/ 1964981 w 7267540"/>
                <a:gd name="connsiteY3139" fmla="*/ 809529 h 3952232"/>
                <a:gd name="connsiteX3140" fmla="*/ 1758120 w 7267540"/>
                <a:gd name="connsiteY3140" fmla="*/ 809927 h 3952232"/>
                <a:gd name="connsiteX3141" fmla="*/ 1823885 w 7267540"/>
                <a:gd name="connsiteY3141" fmla="*/ 809927 h 3952232"/>
                <a:gd name="connsiteX3142" fmla="*/ 1764099 w 7267540"/>
                <a:gd name="connsiteY3142" fmla="*/ 811121 h 3952232"/>
                <a:gd name="connsiteX3143" fmla="*/ 1758519 w 7267540"/>
                <a:gd name="connsiteY3143" fmla="*/ 809927 h 3952232"/>
                <a:gd name="connsiteX3144" fmla="*/ 1722946 w 7267540"/>
                <a:gd name="connsiteY3144" fmla="*/ 809231 h 3952232"/>
                <a:gd name="connsiteX3145" fmla="*/ 1757921 w 7267540"/>
                <a:gd name="connsiteY3145" fmla="*/ 810226 h 3952232"/>
                <a:gd name="connsiteX3146" fmla="*/ 1720255 w 7267540"/>
                <a:gd name="connsiteY3146" fmla="*/ 822562 h 3952232"/>
                <a:gd name="connsiteX3147" fmla="*/ 1720255 w 7267540"/>
                <a:gd name="connsiteY3147" fmla="*/ 839972 h 3952232"/>
                <a:gd name="connsiteX3148" fmla="*/ 1720255 w 7267540"/>
                <a:gd name="connsiteY3148" fmla="*/ 833008 h 3952232"/>
                <a:gd name="connsiteX3149" fmla="*/ 1720255 w 7267540"/>
                <a:gd name="connsiteY3149" fmla="*/ 902152 h 3952232"/>
                <a:gd name="connsiteX3150" fmla="*/ 1720255 w 7267540"/>
                <a:gd name="connsiteY3150" fmla="*/ 890910 h 3952232"/>
                <a:gd name="connsiteX3151" fmla="*/ 1720754 w 7267540"/>
                <a:gd name="connsiteY3151" fmla="*/ 902252 h 3952232"/>
                <a:gd name="connsiteX3152" fmla="*/ 1720754 w 7267540"/>
                <a:gd name="connsiteY3152" fmla="*/ 902252 h 3952232"/>
                <a:gd name="connsiteX3153" fmla="*/ 1720754 w 7267540"/>
                <a:gd name="connsiteY3153" fmla="*/ 912200 h 3952232"/>
                <a:gd name="connsiteX3154" fmla="*/ 1716668 w 7267540"/>
                <a:gd name="connsiteY3154" fmla="*/ 901655 h 3952232"/>
                <a:gd name="connsiteX3155" fmla="*/ 1720455 w 7267540"/>
                <a:gd name="connsiteY3155" fmla="*/ 902848 h 3952232"/>
                <a:gd name="connsiteX3156" fmla="*/ 1708697 w 7267540"/>
                <a:gd name="connsiteY3156" fmla="*/ 891308 h 3952232"/>
                <a:gd name="connsiteX3157" fmla="*/ 1708697 w 7267540"/>
                <a:gd name="connsiteY3157" fmla="*/ 893198 h 3952232"/>
                <a:gd name="connsiteX3158" fmla="*/ 1710291 w 7267540"/>
                <a:gd name="connsiteY3158" fmla="*/ 897377 h 3952232"/>
                <a:gd name="connsiteX3159" fmla="*/ 1712184 w 7267540"/>
                <a:gd name="connsiteY3159" fmla="*/ 899267 h 3952232"/>
                <a:gd name="connsiteX3160" fmla="*/ 1715871 w 7267540"/>
                <a:gd name="connsiteY3160" fmla="*/ 901157 h 3952232"/>
                <a:gd name="connsiteX3161" fmla="*/ 1712184 w 7267540"/>
                <a:gd name="connsiteY3161" fmla="*/ 899267 h 3952232"/>
                <a:gd name="connsiteX3162" fmla="*/ 1710490 w 7267540"/>
                <a:gd name="connsiteY3162" fmla="*/ 899267 h 3952232"/>
                <a:gd name="connsiteX3163" fmla="*/ 1710490 w 7267540"/>
                <a:gd name="connsiteY3163" fmla="*/ 897377 h 3952232"/>
                <a:gd name="connsiteX3164" fmla="*/ 1708896 w 7267540"/>
                <a:gd name="connsiteY3164" fmla="*/ 893198 h 3952232"/>
                <a:gd name="connsiteX3165" fmla="*/ 1706206 w 7267540"/>
                <a:gd name="connsiteY3165" fmla="*/ 889318 h 3952232"/>
                <a:gd name="connsiteX3166" fmla="*/ 1708896 w 7267540"/>
                <a:gd name="connsiteY3166" fmla="*/ 892004 h 3952232"/>
                <a:gd name="connsiteX3167" fmla="*/ 1703017 w 7267540"/>
                <a:gd name="connsiteY3167" fmla="*/ 886135 h 3952232"/>
                <a:gd name="connsiteX3168" fmla="*/ 1700725 w 7267540"/>
                <a:gd name="connsiteY3168" fmla="*/ 884344 h 3952232"/>
                <a:gd name="connsiteX3169" fmla="*/ 1699529 w 7267540"/>
                <a:gd name="connsiteY3169" fmla="*/ 881260 h 3952232"/>
                <a:gd name="connsiteX3170" fmla="*/ 1703216 w 7267540"/>
                <a:gd name="connsiteY3170" fmla="*/ 886831 h 3952232"/>
                <a:gd name="connsiteX3171" fmla="*/ 1697736 w 7267540"/>
                <a:gd name="connsiteY3171" fmla="*/ 876186 h 3952232"/>
                <a:gd name="connsiteX3172" fmla="*/ 1697736 w 7267540"/>
                <a:gd name="connsiteY3172" fmla="*/ 878076 h 3952232"/>
                <a:gd name="connsiteX3173" fmla="*/ 1694348 w 7267540"/>
                <a:gd name="connsiteY3173" fmla="*/ 871212 h 3952232"/>
                <a:gd name="connsiteX3174" fmla="*/ 1678803 w 7267540"/>
                <a:gd name="connsiteY3174" fmla="*/ 853403 h 3952232"/>
                <a:gd name="connsiteX3175" fmla="*/ 1680996 w 7267540"/>
                <a:gd name="connsiteY3175" fmla="*/ 854896 h 3952232"/>
                <a:gd name="connsiteX3176" fmla="*/ 1690263 w 7267540"/>
                <a:gd name="connsiteY3176" fmla="*/ 864844 h 3952232"/>
                <a:gd name="connsiteX3177" fmla="*/ 1680996 w 7267540"/>
                <a:gd name="connsiteY3177" fmla="*/ 854896 h 3952232"/>
                <a:gd name="connsiteX3178" fmla="*/ 1667843 w 7267540"/>
                <a:gd name="connsiteY3178" fmla="*/ 865342 h 3952232"/>
                <a:gd name="connsiteX3179" fmla="*/ 1679003 w 7267540"/>
                <a:gd name="connsiteY3179" fmla="*/ 854299 h 3952232"/>
                <a:gd name="connsiteX3180" fmla="*/ 1653793 w 7267540"/>
                <a:gd name="connsiteY3180" fmla="*/ 887627 h 3952232"/>
                <a:gd name="connsiteX3181" fmla="*/ 1658775 w 7267540"/>
                <a:gd name="connsiteY3181" fmla="*/ 885538 h 3952232"/>
                <a:gd name="connsiteX3182" fmla="*/ 1661565 w 7267540"/>
                <a:gd name="connsiteY3182" fmla="*/ 881160 h 3952232"/>
                <a:gd name="connsiteX3183" fmla="*/ 1667643 w 7267540"/>
                <a:gd name="connsiteY3183" fmla="*/ 865839 h 3952232"/>
                <a:gd name="connsiteX3184" fmla="*/ 1661565 w 7267540"/>
                <a:gd name="connsiteY3184" fmla="*/ 881160 h 3952232"/>
                <a:gd name="connsiteX3185" fmla="*/ 1660868 w 7267540"/>
                <a:gd name="connsiteY3185" fmla="*/ 883249 h 3952232"/>
                <a:gd name="connsiteX3186" fmla="*/ 1658775 w 7267540"/>
                <a:gd name="connsiteY3186" fmla="*/ 885538 h 3952232"/>
                <a:gd name="connsiteX3187" fmla="*/ 1655885 w 7267540"/>
                <a:gd name="connsiteY3187" fmla="*/ 888224 h 3952232"/>
                <a:gd name="connsiteX3188" fmla="*/ 1653793 w 7267540"/>
                <a:gd name="connsiteY3188" fmla="*/ 887627 h 3952232"/>
                <a:gd name="connsiteX3189" fmla="*/ 1648910 w 7267540"/>
                <a:gd name="connsiteY3189" fmla="*/ 887627 h 3952232"/>
                <a:gd name="connsiteX3190" fmla="*/ 1648312 w 7267540"/>
                <a:gd name="connsiteY3190" fmla="*/ 887627 h 3952232"/>
                <a:gd name="connsiteX3191" fmla="*/ 1653992 w 7267540"/>
                <a:gd name="connsiteY3191" fmla="*/ 888522 h 3952232"/>
                <a:gd name="connsiteX3192" fmla="*/ 1647515 w 7267540"/>
                <a:gd name="connsiteY3192" fmla="*/ 887030 h 3952232"/>
                <a:gd name="connsiteX3193" fmla="*/ 1635458 w 7267540"/>
                <a:gd name="connsiteY3193" fmla="*/ 889119 h 3952232"/>
                <a:gd name="connsiteX3194" fmla="*/ 1647715 w 7267540"/>
                <a:gd name="connsiteY3194" fmla="*/ 887925 h 3952232"/>
                <a:gd name="connsiteX3195" fmla="*/ 1624996 w 7267540"/>
                <a:gd name="connsiteY3195" fmla="*/ 895088 h 3952232"/>
                <a:gd name="connsiteX3196" fmla="*/ 1622704 w 7267540"/>
                <a:gd name="connsiteY3196" fmla="*/ 891407 h 3952232"/>
                <a:gd name="connsiteX3197" fmla="*/ 1625195 w 7267540"/>
                <a:gd name="connsiteY3197" fmla="*/ 895984 h 3952232"/>
                <a:gd name="connsiteX3198" fmla="*/ 1590619 w 7267540"/>
                <a:gd name="connsiteY3198" fmla="*/ 892004 h 3952232"/>
                <a:gd name="connsiteX3199" fmla="*/ 1618419 w 7267540"/>
                <a:gd name="connsiteY3199" fmla="*/ 888323 h 3952232"/>
                <a:gd name="connsiteX3200" fmla="*/ 1596099 w 7267540"/>
                <a:gd name="connsiteY3200" fmla="*/ 891109 h 3952232"/>
                <a:gd name="connsiteX3201" fmla="*/ 1590619 w 7267540"/>
                <a:gd name="connsiteY3201" fmla="*/ 892004 h 3952232"/>
                <a:gd name="connsiteX3202" fmla="*/ 1585138 w 7267540"/>
                <a:gd name="connsiteY3202" fmla="*/ 892004 h 3952232"/>
                <a:gd name="connsiteX3203" fmla="*/ 1572384 w 7267540"/>
                <a:gd name="connsiteY3203" fmla="*/ 888821 h 3952232"/>
                <a:gd name="connsiteX3204" fmla="*/ 1590818 w 7267540"/>
                <a:gd name="connsiteY3204" fmla="*/ 892900 h 3952232"/>
                <a:gd name="connsiteX3205" fmla="*/ 1568697 w 7267540"/>
                <a:gd name="connsiteY3205" fmla="*/ 887925 h 3952232"/>
                <a:gd name="connsiteX3206" fmla="*/ 1558035 w 7267540"/>
                <a:gd name="connsiteY3206" fmla="*/ 889418 h 3952232"/>
                <a:gd name="connsiteX3207" fmla="*/ 1568597 w 7267540"/>
                <a:gd name="connsiteY3207" fmla="*/ 888821 h 3952232"/>
                <a:gd name="connsiteX3208" fmla="*/ 1557138 w 7267540"/>
                <a:gd name="connsiteY3208" fmla="*/ 890313 h 3952232"/>
                <a:gd name="connsiteX3209" fmla="*/ 1552256 w 7267540"/>
                <a:gd name="connsiteY3209" fmla="*/ 907027 h 3952232"/>
                <a:gd name="connsiteX3210" fmla="*/ 1557337 w 7267540"/>
                <a:gd name="connsiteY3210" fmla="*/ 891507 h 3952232"/>
                <a:gd name="connsiteX3211" fmla="*/ 1495757 w 7267540"/>
                <a:gd name="connsiteY3211" fmla="*/ 914687 h 3952232"/>
                <a:gd name="connsiteX3212" fmla="*/ 1489878 w 7267540"/>
                <a:gd name="connsiteY3212" fmla="*/ 918667 h 3952232"/>
                <a:gd name="connsiteX3213" fmla="*/ 1495957 w 7267540"/>
                <a:gd name="connsiteY3213" fmla="*/ 915583 h 3952232"/>
                <a:gd name="connsiteX3214" fmla="*/ 1468156 w 7267540"/>
                <a:gd name="connsiteY3214" fmla="*/ 883050 h 3952232"/>
                <a:gd name="connsiteX3215" fmla="*/ 1468156 w 7267540"/>
                <a:gd name="connsiteY3215" fmla="*/ 875191 h 3952232"/>
                <a:gd name="connsiteX3216" fmla="*/ 1468355 w 7267540"/>
                <a:gd name="connsiteY3216" fmla="*/ 883946 h 3952232"/>
                <a:gd name="connsiteX3217" fmla="*/ 1448227 w 7267540"/>
                <a:gd name="connsiteY3217" fmla="*/ 844051 h 3952232"/>
                <a:gd name="connsiteX3218" fmla="*/ 1436270 w 7267540"/>
                <a:gd name="connsiteY3218" fmla="*/ 844051 h 3952232"/>
                <a:gd name="connsiteX3219" fmla="*/ 1449024 w 7267540"/>
                <a:gd name="connsiteY3219" fmla="*/ 844947 h 3952232"/>
                <a:gd name="connsiteX3220" fmla="*/ 1458192 w 7267540"/>
                <a:gd name="connsiteY3220" fmla="*/ 851314 h 3952232"/>
                <a:gd name="connsiteX3221" fmla="*/ 1451515 w 7267540"/>
                <a:gd name="connsiteY3221" fmla="*/ 846439 h 3952232"/>
                <a:gd name="connsiteX3222" fmla="*/ 1458989 w 7267540"/>
                <a:gd name="connsiteY3222" fmla="*/ 852209 h 3952232"/>
                <a:gd name="connsiteX3223" fmla="*/ 1417437 w 7267540"/>
                <a:gd name="connsiteY3223" fmla="*/ 831417 h 3952232"/>
                <a:gd name="connsiteX3224" fmla="*/ 1426106 w 7267540"/>
                <a:gd name="connsiteY3224" fmla="*/ 838281 h 3952232"/>
                <a:gd name="connsiteX3225" fmla="*/ 1418035 w 7267540"/>
                <a:gd name="connsiteY3225" fmla="*/ 832511 h 3952232"/>
                <a:gd name="connsiteX3226" fmla="*/ 1419330 w 7267540"/>
                <a:gd name="connsiteY3226" fmla="*/ 807340 h 3952232"/>
                <a:gd name="connsiteX3227" fmla="*/ 1419330 w 7267540"/>
                <a:gd name="connsiteY3227" fmla="*/ 809131 h 3952232"/>
                <a:gd name="connsiteX3228" fmla="*/ 1418433 w 7267540"/>
                <a:gd name="connsiteY3228" fmla="*/ 817289 h 3952232"/>
                <a:gd name="connsiteX3229" fmla="*/ 1417537 w 7267540"/>
                <a:gd name="connsiteY3229" fmla="*/ 818583 h 3952232"/>
                <a:gd name="connsiteX3230" fmla="*/ 1415444 w 7267540"/>
                <a:gd name="connsiteY3230" fmla="*/ 823458 h 3952232"/>
                <a:gd name="connsiteX3231" fmla="*/ 1417537 w 7267540"/>
                <a:gd name="connsiteY3231" fmla="*/ 818583 h 3952232"/>
                <a:gd name="connsiteX3232" fmla="*/ 1419330 w 7267540"/>
                <a:gd name="connsiteY3232" fmla="*/ 809131 h 3952232"/>
                <a:gd name="connsiteX3233" fmla="*/ 1410163 w 7267540"/>
                <a:gd name="connsiteY3233" fmla="*/ 791622 h 3952232"/>
                <a:gd name="connsiteX3234" fmla="*/ 1419928 w 7267540"/>
                <a:gd name="connsiteY3234" fmla="*/ 808435 h 3952232"/>
                <a:gd name="connsiteX3235" fmla="*/ 1380868 w 7267540"/>
                <a:gd name="connsiteY3235" fmla="*/ 737699 h 3952232"/>
                <a:gd name="connsiteX3236" fmla="*/ 1382462 w 7267540"/>
                <a:gd name="connsiteY3236" fmla="*/ 740186 h 3952232"/>
                <a:gd name="connsiteX3237" fmla="*/ 1381765 w 7267540"/>
                <a:gd name="connsiteY3237" fmla="*/ 742077 h 3952232"/>
                <a:gd name="connsiteX3238" fmla="*/ 1381765 w 7267540"/>
                <a:gd name="connsiteY3238" fmla="*/ 748046 h 3952232"/>
                <a:gd name="connsiteX3239" fmla="*/ 1384555 w 7267540"/>
                <a:gd name="connsiteY3239" fmla="*/ 755110 h 3952232"/>
                <a:gd name="connsiteX3240" fmla="*/ 1389935 w 7267540"/>
                <a:gd name="connsiteY3240" fmla="*/ 763864 h 3952232"/>
                <a:gd name="connsiteX3241" fmla="*/ 1392227 w 7267540"/>
                <a:gd name="connsiteY3241" fmla="*/ 767048 h 3952232"/>
                <a:gd name="connsiteX3242" fmla="*/ 1392825 w 7267540"/>
                <a:gd name="connsiteY3242" fmla="*/ 768739 h 3952232"/>
                <a:gd name="connsiteX3243" fmla="*/ 1399103 w 7267540"/>
                <a:gd name="connsiteY3243" fmla="*/ 779981 h 3952232"/>
                <a:gd name="connsiteX3244" fmla="*/ 1392825 w 7267540"/>
                <a:gd name="connsiteY3244" fmla="*/ 768739 h 3952232"/>
                <a:gd name="connsiteX3245" fmla="*/ 1389935 w 7267540"/>
                <a:gd name="connsiteY3245" fmla="*/ 763864 h 3952232"/>
                <a:gd name="connsiteX3246" fmla="*/ 1384555 w 7267540"/>
                <a:gd name="connsiteY3246" fmla="*/ 755110 h 3952232"/>
                <a:gd name="connsiteX3247" fmla="*/ 1381266 w 7267540"/>
                <a:gd name="connsiteY3247" fmla="*/ 750135 h 3952232"/>
                <a:gd name="connsiteX3248" fmla="*/ 1381765 w 7267540"/>
                <a:gd name="connsiteY3248" fmla="*/ 748046 h 3952232"/>
                <a:gd name="connsiteX3249" fmla="*/ 1381765 w 7267540"/>
                <a:gd name="connsiteY3249" fmla="*/ 742077 h 3952232"/>
                <a:gd name="connsiteX3250" fmla="*/ 1380868 w 7267540"/>
                <a:gd name="connsiteY3250" fmla="*/ 737699 h 3952232"/>
                <a:gd name="connsiteX3251" fmla="*/ 1379273 w 7267540"/>
                <a:gd name="connsiteY3251" fmla="*/ 732327 h 3952232"/>
                <a:gd name="connsiteX3252" fmla="*/ 1381466 w 7267540"/>
                <a:gd name="connsiteY3252" fmla="*/ 739291 h 3952232"/>
                <a:gd name="connsiteX3253" fmla="*/ 1378476 w 7267540"/>
                <a:gd name="connsiteY3253" fmla="*/ 722279 h 3952232"/>
                <a:gd name="connsiteX3254" fmla="*/ 1378476 w 7267540"/>
                <a:gd name="connsiteY3254" fmla="*/ 725860 h 3952232"/>
                <a:gd name="connsiteX3255" fmla="*/ 1377281 w 7267540"/>
                <a:gd name="connsiteY3255" fmla="*/ 720886 h 3952232"/>
                <a:gd name="connsiteX3256" fmla="*/ 1379273 w 7267540"/>
                <a:gd name="connsiteY3256" fmla="*/ 723870 h 3952232"/>
                <a:gd name="connsiteX3257" fmla="*/ 1374590 w 7267540"/>
                <a:gd name="connsiteY3257" fmla="*/ 716509 h 3952232"/>
                <a:gd name="connsiteX3258" fmla="*/ 1373494 w 7267540"/>
                <a:gd name="connsiteY3258" fmla="*/ 715315 h 3952232"/>
                <a:gd name="connsiteX3259" fmla="*/ 1373494 w 7267540"/>
                <a:gd name="connsiteY3259" fmla="*/ 710539 h 3952232"/>
                <a:gd name="connsiteX3260" fmla="*/ 1375188 w 7267540"/>
                <a:gd name="connsiteY3260" fmla="*/ 718100 h 3952232"/>
                <a:gd name="connsiteX3261" fmla="*/ 1372498 w 7267540"/>
                <a:gd name="connsiteY3261" fmla="*/ 701386 h 3952232"/>
                <a:gd name="connsiteX3262" fmla="*/ 1373096 w 7267540"/>
                <a:gd name="connsiteY3262" fmla="*/ 710340 h 3952232"/>
                <a:gd name="connsiteX3263" fmla="*/ 1372498 w 7267540"/>
                <a:gd name="connsiteY3263" fmla="*/ 701386 h 3952232"/>
                <a:gd name="connsiteX3264" fmla="*/ 1367615 w 7267540"/>
                <a:gd name="connsiteY3264" fmla="*/ 698203 h 3952232"/>
                <a:gd name="connsiteX3265" fmla="*/ 1373096 w 7267540"/>
                <a:gd name="connsiteY3265" fmla="*/ 702978 h 3952232"/>
                <a:gd name="connsiteX3266" fmla="*/ 1350177 w 7267540"/>
                <a:gd name="connsiteY3266" fmla="*/ 683678 h 3952232"/>
                <a:gd name="connsiteX3267" fmla="*/ 1352569 w 7267540"/>
                <a:gd name="connsiteY3267" fmla="*/ 683678 h 3952232"/>
                <a:gd name="connsiteX3268" fmla="*/ 1356056 w 7267540"/>
                <a:gd name="connsiteY3268" fmla="*/ 687458 h 3952232"/>
                <a:gd name="connsiteX3269" fmla="*/ 1350177 w 7267540"/>
                <a:gd name="connsiteY3269" fmla="*/ 683777 h 3952232"/>
                <a:gd name="connsiteX3270" fmla="*/ 1347686 w 7267540"/>
                <a:gd name="connsiteY3270" fmla="*/ 684971 h 3952232"/>
                <a:gd name="connsiteX3271" fmla="*/ 1350775 w 7267540"/>
                <a:gd name="connsiteY3271" fmla="*/ 685269 h 3952232"/>
                <a:gd name="connsiteX3272" fmla="*/ 1350775 w 7267540"/>
                <a:gd name="connsiteY3272" fmla="*/ 685269 h 3952232"/>
                <a:gd name="connsiteX3273" fmla="*/ 1347387 w 7267540"/>
                <a:gd name="connsiteY3273" fmla="*/ 685170 h 3952232"/>
                <a:gd name="connsiteX3274" fmla="*/ 1346590 w 7267540"/>
                <a:gd name="connsiteY3274" fmla="*/ 691438 h 3952232"/>
                <a:gd name="connsiteX3275" fmla="*/ 1347985 w 7267540"/>
                <a:gd name="connsiteY3275" fmla="*/ 686762 h 3952232"/>
                <a:gd name="connsiteX3276" fmla="*/ 1316498 w 7267540"/>
                <a:gd name="connsiteY3276" fmla="*/ 714419 h 3952232"/>
                <a:gd name="connsiteX3277" fmla="*/ 1316498 w 7267540"/>
                <a:gd name="connsiteY3277" fmla="*/ 712330 h 3952232"/>
                <a:gd name="connsiteX3278" fmla="*/ 1318490 w 7267540"/>
                <a:gd name="connsiteY3278" fmla="*/ 712330 h 3952232"/>
                <a:gd name="connsiteX3279" fmla="*/ 1323772 w 7267540"/>
                <a:gd name="connsiteY3279" fmla="*/ 711236 h 3952232"/>
                <a:gd name="connsiteX3280" fmla="*/ 1328953 w 7267540"/>
                <a:gd name="connsiteY3280" fmla="*/ 708450 h 3952232"/>
                <a:gd name="connsiteX3281" fmla="*/ 1338918 w 7267540"/>
                <a:gd name="connsiteY3281" fmla="*/ 699695 h 3952232"/>
                <a:gd name="connsiteX3282" fmla="*/ 1328953 w 7267540"/>
                <a:gd name="connsiteY3282" fmla="*/ 708450 h 3952232"/>
                <a:gd name="connsiteX3283" fmla="*/ 1325466 w 7267540"/>
                <a:gd name="connsiteY3283" fmla="*/ 711335 h 3952232"/>
                <a:gd name="connsiteX3284" fmla="*/ 1323772 w 7267540"/>
                <a:gd name="connsiteY3284" fmla="*/ 711335 h 3952232"/>
                <a:gd name="connsiteX3285" fmla="*/ 1318490 w 7267540"/>
                <a:gd name="connsiteY3285" fmla="*/ 712430 h 3952232"/>
                <a:gd name="connsiteX3286" fmla="*/ 1316298 w 7267540"/>
                <a:gd name="connsiteY3286" fmla="*/ 714519 h 3952232"/>
                <a:gd name="connsiteX3287" fmla="*/ 1313010 w 7267540"/>
                <a:gd name="connsiteY3287" fmla="*/ 720985 h 3952232"/>
                <a:gd name="connsiteX3288" fmla="*/ 1317095 w 7267540"/>
                <a:gd name="connsiteY3288" fmla="*/ 716011 h 3952232"/>
                <a:gd name="connsiteX3289" fmla="*/ 1311316 w 7267540"/>
                <a:gd name="connsiteY3289" fmla="*/ 721682 h 3952232"/>
                <a:gd name="connsiteX3290" fmla="*/ 1302747 w 7267540"/>
                <a:gd name="connsiteY3290" fmla="*/ 720289 h 3952232"/>
                <a:gd name="connsiteX3291" fmla="*/ 1289195 w 7267540"/>
                <a:gd name="connsiteY3291" fmla="*/ 710340 h 3952232"/>
                <a:gd name="connsiteX3292" fmla="*/ 1282320 w 7267540"/>
                <a:gd name="connsiteY3292" fmla="*/ 703078 h 3952232"/>
                <a:gd name="connsiteX3293" fmla="*/ 1289195 w 7267540"/>
                <a:gd name="connsiteY3293" fmla="*/ 710340 h 3952232"/>
                <a:gd name="connsiteX3294" fmla="*/ 1290789 w 7267540"/>
                <a:gd name="connsiteY3294" fmla="*/ 710937 h 3952232"/>
                <a:gd name="connsiteX3295" fmla="*/ 1311914 w 7267540"/>
                <a:gd name="connsiteY3295" fmla="*/ 723274 h 3952232"/>
                <a:gd name="connsiteX3296" fmla="*/ 1260896 w 7267540"/>
                <a:gd name="connsiteY3296" fmla="*/ 494552 h 3952232"/>
                <a:gd name="connsiteX3297" fmla="*/ 1253224 w 7267540"/>
                <a:gd name="connsiteY3297" fmla="*/ 493955 h 3952232"/>
                <a:gd name="connsiteX3298" fmla="*/ 1261494 w 7267540"/>
                <a:gd name="connsiteY3298" fmla="*/ 496144 h 3952232"/>
                <a:gd name="connsiteX3299" fmla="*/ 1222434 w 7267540"/>
                <a:gd name="connsiteY3299" fmla="*/ 454757 h 3952232"/>
                <a:gd name="connsiteX3300" fmla="*/ 1214064 w 7267540"/>
                <a:gd name="connsiteY3300" fmla="*/ 444808 h 3952232"/>
                <a:gd name="connsiteX3301" fmla="*/ 1223032 w 7267540"/>
                <a:gd name="connsiteY3301" fmla="*/ 455951 h 3952232"/>
                <a:gd name="connsiteX3302" fmla="*/ 1170619 w 7267540"/>
                <a:gd name="connsiteY3302" fmla="*/ 396059 h 3952232"/>
                <a:gd name="connsiteX3303" fmla="*/ 1163245 w 7267540"/>
                <a:gd name="connsiteY3303" fmla="*/ 394368 h 3952232"/>
                <a:gd name="connsiteX3304" fmla="*/ 1171217 w 7267540"/>
                <a:gd name="connsiteY3304" fmla="*/ 397253 h 3952232"/>
                <a:gd name="connsiteX3305" fmla="*/ 1134049 w 7267540"/>
                <a:gd name="connsiteY3305" fmla="*/ 366213 h 3952232"/>
                <a:gd name="connsiteX3306" fmla="*/ 1143316 w 7267540"/>
                <a:gd name="connsiteY3306" fmla="*/ 359050 h 3952232"/>
                <a:gd name="connsiteX3307" fmla="*/ 1134647 w 7267540"/>
                <a:gd name="connsiteY3307" fmla="*/ 366910 h 3952232"/>
                <a:gd name="connsiteX3308" fmla="*/ 1140327 w 7267540"/>
                <a:gd name="connsiteY3308" fmla="*/ 357060 h 3952232"/>
                <a:gd name="connsiteX3309" fmla="*/ 1136042 w 7267540"/>
                <a:gd name="connsiteY3309" fmla="*/ 353280 h 3952232"/>
                <a:gd name="connsiteX3310" fmla="*/ 1140925 w 7267540"/>
                <a:gd name="connsiteY3310" fmla="*/ 357757 h 3952232"/>
                <a:gd name="connsiteX3311" fmla="*/ 1090505 w 7267540"/>
                <a:gd name="connsiteY3311" fmla="*/ 236979 h 3952232"/>
                <a:gd name="connsiteX3312" fmla="*/ 1090505 w 7267540"/>
                <a:gd name="connsiteY3312" fmla="*/ 256180 h 3952232"/>
                <a:gd name="connsiteX3313" fmla="*/ 1091103 w 7267540"/>
                <a:gd name="connsiteY3313" fmla="*/ 237675 h 3952232"/>
                <a:gd name="connsiteX3314" fmla="*/ 1038690 w 7267540"/>
                <a:gd name="connsiteY3314" fmla="*/ 699397 h 3952232"/>
                <a:gd name="connsiteX3315" fmla="*/ 1037295 w 7267540"/>
                <a:gd name="connsiteY3315" fmla="*/ 701884 h 3952232"/>
                <a:gd name="connsiteX3316" fmla="*/ 1034306 w 7267540"/>
                <a:gd name="connsiteY3316" fmla="*/ 707654 h 3952232"/>
                <a:gd name="connsiteX3317" fmla="*/ 1028925 w 7267540"/>
                <a:gd name="connsiteY3317" fmla="*/ 717603 h 3952232"/>
                <a:gd name="connsiteX3318" fmla="*/ 1033708 w 7267540"/>
                <a:gd name="connsiteY3318" fmla="*/ 708152 h 3952232"/>
                <a:gd name="connsiteX3319" fmla="*/ 1034306 w 7267540"/>
                <a:gd name="connsiteY3319" fmla="*/ 707555 h 3952232"/>
                <a:gd name="connsiteX3320" fmla="*/ 1037295 w 7267540"/>
                <a:gd name="connsiteY3320" fmla="*/ 701784 h 3952232"/>
                <a:gd name="connsiteX3321" fmla="*/ 1034903 w 7267540"/>
                <a:gd name="connsiteY3321" fmla="*/ 694024 h 3952232"/>
                <a:gd name="connsiteX3322" fmla="*/ 1039288 w 7267540"/>
                <a:gd name="connsiteY3322" fmla="*/ 700093 h 3952232"/>
                <a:gd name="connsiteX3323" fmla="*/ 1030718 w 7267540"/>
                <a:gd name="connsiteY3323" fmla="*/ 684175 h 3952232"/>
                <a:gd name="connsiteX3324" fmla="*/ 1033907 w 7267540"/>
                <a:gd name="connsiteY3324" fmla="*/ 692333 h 3952232"/>
                <a:gd name="connsiteX3325" fmla="*/ 1030718 w 7267540"/>
                <a:gd name="connsiteY3325" fmla="*/ 687359 h 3952232"/>
                <a:gd name="connsiteX3326" fmla="*/ 1030718 w 7267540"/>
                <a:gd name="connsiteY3326" fmla="*/ 684175 h 3952232"/>
                <a:gd name="connsiteX3327" fmla="*/ 1026434 w 7267540"/>
                <a:gd name="connsiteY3327" fmla="*/ 674226 h 3952232"/>
                <a:gd name="connsiteX3328" fmla="*/ 1031316 w 7267540"/>
                <a:gd name="connsiteY3328" fmla="*/ 684871 h 3952232"/>
                <a:gd name="connsiteX3329" fmla="*/ 1022747 w 7267540"/>
                <a:gd name="connsiteY3329" fmla="*/ 670446 h 3952232"/>
                <a:gd name="connsiteX3330" fmla="*/ 1026334 w 7267540"/>
                <a:gd name="connsiteY3330" fmla="*/ 674525 h 3952232"/>
                <a:gd name="connsiteX3331" fmla="*/ 1019359 w 7267540"/>
                <a:gd name="connsiteY3331" fmla="*/ 670545 h 3952232"/>
                <a:gd name="connsiteX3332" fmla="*/ 1023345 w 7267540"/>
                <a:gd name="connsiteY3332" fmla="*/ 671142 h 3952232"/>
                <a:gd name="connsiteX3333" fmla="*/ 1019259 w 7267540"/>
                <a:gd name="connsiteY3333" fmla="*/ 670446 h 3952232"/>
                <a:gd name="connsiteX3334" fmla="*/ 1010790 w 7267540"/>
                <a:gd name="connsiteY3334" fmla="*/ 666466 h 3952232"/>
                <a:gd name="connsiteX3335" fmla="*/ 1019857 w 7267540"/>
                <a:gd name="connsiteY3335" fmla="*/ 671242 h 3952232"/>
                <a:gd name="connsiteX3336" fmla="*/ 1004811 w 7267540"/>
                <a:gd name="connsiteY3336" fmla="*/ 661392 h 3952232"/>
                <a:gd name="connsiteX3337" fmla="*/ 1006505 w 7267540"/>
                <a:gd name="connsiteY3337" fmla="*/ 663283 h 3952232"/>
                <a:gd name="connsiteX3338" fmla="*/ 1002619 w 7267540"/>
                <a:gd name="connsiteY3338" fmla="*/ 660895 h 3952232"/>
                <a:gd name="connsiteX3339" fmla="*/ 1005409 w 7267540"/>
                <a:gd name="connsiteY3339" fmla="*/ 662686 h 3952232"/>
                <a:gd name="connsiteX3340" fmla="*/ 1000128 w 7267540"/>
                <a:gd name="connsiteY3340" fmla="*/ 659900 h 3952232"/>
                <a:gd name="connsiteX3341" fmla="*/ 997836 w 7267540"/>
                <a:gd name="connsiteY3341" fmla="*/ 659900 h 3952232"/>
                <a:gd name="connsiteX3342" fmla="*/ 995943 w 7267540"/>
                <a:gd name="connsiteY3342" fmla="*/ 657115 h 3952232"/>
                <a:gd name="connsiteX3343" fmla="*/ 1000626 w 7267540"/>
                <a:gd name="connsiteY3343" fmla="*/ 660696 h 3952232"/>
                <a:gd name="connsiteX3344" fmla="*/ 988868 w 7267540"/>
                <a:gd name="connsiteY3344" fmla="*/ 645275 h 3952232"/>
                <a:gd name="connsiteX3345" fmla="*/ 983089 w 7267540"/>
                <a:gd name="connsiteY3345" fmla="*/ 632442 h 3952232"/>
                <a:gd name="connsiteX3346" fmla="*/ 989466 w 7267540"/>
                <a:gd name="connsiteY3346" fmla="*/ 646071 h 3952232"/>
                <a:gd name="connsiteX3347" fmla="*/ 980398 w 7267540"/>
                <a:gd name="connsiteY3347" fmla="*/ 598516 h 3952232"/>
                <a:gd name="connsiteX3348" fmla="*/ 980896 w 7267540"/>
                <a:gd name="connsiteY3348" fmla="*/ 598516 h 3952232"/>
                <a:gd name="connsiteX3349" fmla="*/ 980896 w 7267540"/>
                <a:gd name="connsiteY3349" fmla="*/ 599412 h 3952232"/>
                <a:gd name="connsiteX3350" fmla="*/ 977508 w 7267540"/>
                <a:gd name="connsiteY3350" fmla="*/ 608465 h 3952232"/>
                <a:gd name="connsiteX3351" fmla="*/ 980896 w 7267540"/>
                <a:gd name="connsiteY3351" fmla="*/ 599412 h 3952232"/>
                <a:gd name="connsiteX3352" fmla="*/ 980896 w 7267540"/>
                <a:gd name="connsiteY3352" fmla="*/ 598317 h 3952232"/>
                <a:gd name="connsiteX3353" fmla="*/ 977608 w 7267540"/>
                <a:gd name="connsiteY3353" fmla="*/ 594338 h 3952232"/>
                <a:gd name="connsiteX3354" fmla="*/ 980697 w 7267540"/>
                <a:gd name="connsiteY3354" fmla="*/ 599312 h 3952232"/>
                <a:gd name="connsiteX3355" fmla="*/ 975914 w 7267540"/>
                <a:gd name="connsiteY3355" fmla="*/ 583792 h 3952232"/>
                <a:gd name="connsiteX3356" fmla="*/ 975914 w 7267540"/>
                <a:gd name="connsiteY3356" fmla="*/ 585583 h 3952232"/>
                <a:gd name="connsiteX3357" fmla="*/ 975914 w 7267540"/>
                <a:gd name="connsiteY3357" fmla="*/ 591851 h 3952232"/>
                <a:gd name="connsiteX3358" fmla="*/ 975914 w 7267540"/>
                <a:gd name="connsiteY3358" fmla="*/ 585583 h 3952232"/>
                <a:gd name="connsiteX3359" fmla="*/ 972526 w 7267540"/>
                <a:gd name="connsiteY3359" fmla="*/ 576729 h 3952232"/>
                <a:gd name="connsiteX3360" fmla="*/ 976512 w 7267540"/>
                <a:gd name="connsiteY3360" fmla="*/ 584588 h 3952232"/>
                <a:gd name="connsiteX3361" fmla="*/ 965950 w 7267540"/>
                <a:gd name="connsiteY3361" fmla="*/ 543997 h 3952232"/>
                <a:gd name="connsiteX3362" fmla="*/ 965950 w 7267540"/>
                <a:gd name="connsiteY3362" fmla="*/ 481320 h 3952232"/>
                <a:gd name="connsiteX3363" fmla="*/ 967046 w 7267540"/>
                <a:gd name="connsiteY3363" fmla="*/ 552951 h 3952232"/>
                <a:gd name="connsiteX3364" fmla="*/ 965352 w 7267540"/>
                <a:gd name="connsiteY3364" fmla="*/ 560313 h 3952232"/>
                <a:gd name="connsiteX3365" fmla="*/ 966548 w 7267540"/>
                <a:gd name="connsiteY3365" fmla="*/ 544793 h 3952232"/>
                <a:gd name="connsiteX3366" fmla="*/ 965252 w 7267540"/>
                <a:gd name="connsiteY3366" fmla="*/ 560413 h 3952232"/>
                <a:gd name="connsiteX3367" fmla="*/ 963359 w 7267540"/>
                <a:gd name="connsiteY3367" fmla="*/ 564989 h 3952232"/>
                <a:gd name="connsiteX3368" fmla="*/ 965850 w 7267540"/>
                <a:gd name="connsiteY3368" fmla="*/ 561209 h 3952232"/>
                <a:gd name="connsiteX3369" fmla="*/ 662534 w 7267540"/>
                <a:gd name="connsiteY3369" fmla="*/ 646469 h 3952232"/>
                <a:gd name="connsiteX3370" fmla="*/ 677879 w 7267540"/>
                <a:gd name="connsiteY3370" fmla="*/ 643385 h 3952232"/>
                <a:gd name="connsiteX3371" fmla="*/ 662534 w 7267540"/>
                <a:gd name="connsiteY3371" fmla="*/ 646469 h 3952232"/>
                <a:gd name="connsiteX3372" fmla="*/ 658049 w 7267540"/>
                <a:gd name="connsiteY3372" fmla="*/ 647464 h 3952232"/>
                <a:gd name="connsiteX3373" fmla="*/ 652868 w 7267540"/>
                <a:gd name="connsiteY3373" fmla="*/ 645475 h 3952232"/>
                <a:gd name="connsiteX3374" fmla="*/ 663131 w 7267540"/>
                <a:gd name="connsiteY3374" fmla="*/ 647265 h 3952232"/>
                <a:gd name="connsiteX3375" fmla="*/ 643203 w 7267540"/>
                <a:gd name="connsiteY3375" fmla="*/ 646469 h 3952232"/>
                <a:gd name="connsiteX3376" fmla="*/ 637921 w 7267540"/>
                <a:gd name="connsiteY3376" fmla="*/ 653035 h 3952232"/>
                <a:gd name="connsiteX3377" fmla="*/ 643800 w 7267540"/>
                <a:gd name="connsiteY3377" fmla="*/ 646867 h 3952232"/>
                <a:gd name="connsiteX3378" fmla="*/ 628555 w 7267540"/>
                <a:gd name="connsiteY3378" fmla="*/ 657214 h 3952232"/>
                <a:gd name="connsiteX3379" fmla="*/ 637921 w 7267540"/>
                <a:gd name="connsiteY3379" fmla="*/ 653135 h 3952232"/>
                <a:gd name="connsiteX3380" fmla="*/ 635131 w 7267540"/>
                <a:gd name="connsiteY3380" fmla="*/ 656816 h 3952232"/>
                <a:gd name="connsiteX3381" fmla="*/ 628555 w 7267540"/>
                <a:gd name="connsiteY3381" fmla="*/ 656816 h 3952232"/>
                <a:gd name="connsiteX3382" fmla="*/ 611416 w 7267540"/>
                <a:gd name="connsiteY3382" fmla="*/ 659104 h 3952232"/>
                <a:gd name="connsiteX3383" fmla="*/ 610220 w 7267540"/>
                <a:gd name="connsiteY3383" fmla="*/ 659104 h 3952232"/>
                <a:gd name="connsiteX3384" fmla="*/ 607032 w 7267540"/>
                <a:gd name="connsiteY3384" fmla="*/ 659104 h 3952232"/>
                <a:gd name="connsiteX3385" fmla="*/ 611416 w 7267540"/>
                <a:gd name="connsiteY3385" fmla="*/ 658507 h 3952232"/>
                <a:gd name="connsiteX3386" fmla="*/ 629153 w 7267540"/>
                <a:gd name="connsiteY3386" fmla="*/ 657612 h 3952232"/>
                <a:gd name="connsiteX3387" fmla="*/ 598662 w 7267540"/>
                <a:gd name="connsiteY3387" fmla="*/ 661790 h 3952232"/>
                <a:gd name="connsiteX3388" fmla="*/ 606932 w 7267540"/>
                <a:gd name="connsiteY3388" fmla="*/ 660099 h 3952232"/>
                <a:gd name="connsiteX3389" fmla="*/ 596470 w 7267540"/>
                <a:gd name="connsiteY3389" fmla="*/ 663681 h 3952232"/>
                <a:gd name="connsiteX3390" fmla="*/ 584413 w 7267540"/>
                <a:gd name="connsiteY3390" fmla="*/ 669948 h 3952232"/>
                <a:gd name="connsiteX3391" fmla="*/ 588000 w 7267540"/>
                <a:gd name="connsiteY3391" fmla="*/ 668357 h 3952232"/>
                <a:gd name="connsiteX3392" fmla="*/ 585708 w 7267540"/>
                <a:gd name="connsiteY3392" fmla="*/ 669849 h 3952232"/>
                <a:gd name="connsiteX3393" fmla="*/ 584413 w 7267540"/>
                <a:gd name="connsiteY3393" fmla="*/ 669849 h 3952232"/>
                <a:gd name="connsiteX3394" fmla="*/ 579530 w 7267540"/>
                <a:gd name="connsiteY3394" fmla="*/ 671242 h 3952232"/>
                <a:gd name="connsiteX3395" fmla="*/ 584612 w 7267540"/>
                <a:gd name="connsiteY3395" fmla="*/ 670346 h 3952232"/>
                <a:gd name="connsiteX3396" fmla="*/ 576740 w 7267540"/>
                <a:gd name="connsiteY3396" fmla="*/ 671739 h 3952232"/>
                <a:gd name="connsiteX3397" fmla="*/ 579331 w 7267540"/>
                <a:gd name="connsiteY3397" fmla="*/ 671739 h 3952232"/>
                <a:gd name="connsiteX3398" fmla="*/ 575345 w 7267540"/>
                <a:gd name="connsiteY3398" fmla="*/ 673928 h 3952232"/>
                <a:gd name="connsiteX3399" fmla="*/ 576939 w 7267540"/>
                <a:gd name="connsiteY3399" fmla="*/ 672635 h 3952232"/>
                <a:gd name="connsiteX3400" fmla="*/ 570064 w 7267540"/>
                <a:gd name="connsiteY3400" fmla="*/ 677410 h 3952232"/>
                <a:gd name="connsiteX3401" fmla="*/ 567772 w 7267540"/>
                <a:gd name="connsiteY3401" fmla="*/ 679798 h 3952232"/>
                <a:gd name="connsiteX3402" fmla="*/ 561694 w 7267540"/>
                <a:gd name="connsiteY3402" fmla="*/ 680594 h 3952232"/>
                <a:gd name="connsiteX3403" fmla="*/ 570263 w 7267540"/>
                <a:gd name="connsiteY3403" fmla="*/ 677808 h 3952232"/>
                <a:gd name="connsiteX3404" fmla="*/ 532697 w 7267540"/>
                <a:gd name="connsiteY3404" fmla="*/ 684175 h 3952232"/>
                <a:gd name="connsiteX3405" fmla="*/ 521438 w 7267540"/>
                <a:gd name="connsiteY3405" fmla="*/ 678206 h 3952232"/>
                <a:gd name="connsiteX3406" fmla="*/ 532897 w 7267540"/>
                <a:gd name="connsiteY3406" fmla="*/ 684573 h 3952232"/>
                <a:gd name="connsiteX3407" fmla="*/ 519943 w 7267540"/>
                <a:gd name="connsiteY3407" fmla="*/ 676714 h 3952232"/>
                <a:gd name="connsiteX3408" fmla="*/ 521338 w 7267540"/>
                <a:gd name="connsiteY3408" fmla="*/ 678206 h 3952232"/>
                <a:gd name="connsiteX3409" fmla="*/ 514363 w 7267540"/>
                <a:gd name="connsiteY3409" fmla="*/ 677310 h 3952232"/>
                <a:gd name="connsiteX3410" fmla="*/ 520142 w 7267540"/>
                <a:gd name="connsiteY3410" fmla="*/ 677111 h 3952232"/>
                <a:gd name="connsiteX3411" fmla="*/ 506690 w 7267540"/>
                <a:gd name="connsiteY3411" fmla="*/ 682285 h 3952232"/>
                <a:gd name="connsiteX3412" fmla="*/ 502405 w 7267540"/>
                <a:gd name="connsiteY3412" fmla="*/ 683777 h 3952232"/>
                <a:gd name="connsiteX3413" fmla="*/ 481381 w 7267540"/>
                <a:gd name="connsiteY3413" fmla="*/ 694323 h 3952232"/>
                <a:gd name="connsiteX3414" fmla="*/ 482576 w 7267540"/>
                <a:gd name="connsiteY3414" fmla="*/ 693825 h 3952232"/>
                <a:gd name="connsiteX3415" fmla="*/ 485366 w 7267540"/>
                <a:gd name="connsiteY3415" fmla="*/ 691239 h 3952232"/>
                <a:gd name="connsiteX3416" fmla="*/ 487060 w 7267540"/>
                <a:gd name="connsiteY3416" fmla="*/ 689746 h 3952232"/>
                <a:gd name="connsiteX3417" fmla="*/ 491943 w 7267540"/>
                <a:gd name="connsiteY3417" fmla="*/ 687956 h 3952232"/>
                <a:gd name="connsiteX3418" fmla="*/ 485366 w 7267540"/>
                <a:gd name="connsiteY3418" fmla="*/ 691239 h 3952232"/>
                <a:gd name="connsiteX3419" fmla="*/ 482576 w 7267540"/>
                <a:gd name="connsiteY3419" fmla="*/ 693825 h 3952232"/>
                <a:gd name="connsiteX3420" fmla="*/ 482576 w 7267540"/>
                <a:gd name="connsiteY3420" fmla="*/ 694721 h 3952232"/>
                <a:gd name="connsiteX3421" fmla="*/ 481879 w 7267540"/>
                <a:gd name="connsiteY3421" fmla="*/ 694721 h 3952232"/>
                <a:gd name="connsiteX3422" fmla="*/ 479587 w 7267540"/>
                <a:gd name="connsiteY3422" fmla="*/ 694024 h 3952232"/>
                <a:gd name="connsiteX3423" fmla="*/ 481580 w 7267540"/>
                <a:gd name="connsiteY3423" fmla="*/ 694721 h 3952232"/>
                <a:gd name="connsiteX3424" fmla="*/ 477295 w 7267540"/>
                <a:gd name="connsiteY3424" fmla="*/ 693229 h 3952232"/>
                <a:gd name="connsiteX3425" fmla="*/ 462747 w 7267540"/>
                <a:gd name="connsiteY3425" fmla="*/ 693229 h 3952232"/>
                <a:gd name="connsiteX3426" fmla="*/ 477494 w 7267540"/>
                <a:gd name="connsiteY3426" fmla="*/ 693626 h 3952232"/>
                <a:gd name="connsiteX3427" fmla="*/ 449395 w 7267540"/>
                <a:gd name="connsiteY3427" fmla="*/ 700690 h 3952232"/>
                <a:gd name="connsiteX3428" fmla="*/ 453879 w 7267540"/>
                <a:gd name="connsiteY3428" fmla="*/ 698402 h 3952232"/>
                <a:gd name="connsiteX3429" fmla="*/ 456968 w 7267540"/>
                <a:gd name="connsiteY3429" fmla="*/ 695517 h 3952232"/>
                <a:gd name="connsiteX3430" fmla="*/ 458163 w 7267540"/>
                <a:gd name="connsiteY3430" fmla="*/ 693626 h 3952232"/>
                <a:gd name="connsiteX3431" fmla="*/ 462548 w 7267540"/>
                <a:gd name="connsiteY3431" fmla="*/ 693626 h 3952232"/>
                <a:gd name="connsiteX3432" fmla="*/ 456968 w 7267540"/>
                <a:gd name="connsiteY3432" fmla="*/ 695716 h 3952232"/>
                <a:gd name="connsiteX3433" fmla="*/ 453879 w 7267540"/>
                <a:gd name="connsiteY3433" fmla="*/ 698601 h 3952232"/>
                <a:gd name="connsiteX3434" fmla="*/ 453181 w 7267540"/>
                <a:gd name="connsiteY3434" fmla="*/ 699894 h 3952232"/>
                <a:gd name="connsiteX3435" fmla="*/ 449395 w 7267540"/>
                <a:gd name="connsiteY3435" fmla="*/ 700889 h 3952232"/>
                <a:gd name="connsiteX3436" fmla="*/ 445210 w 7267540"/>
                <a:gd name="connsiteY3436" fmla="*/ 701784 h 3952232"/>
                <a:gd name="connsiteX3437" fmla="*/ 445210 w 7267540"/>
                <a:gd name="connsiteY3437" fmla="*/ 699894 h 3952232"/>
                <a:gd name="connsiteX3438" fmla="*/ 449594 w 7267540"/>
                <a:gd name="connsiteY3438" fmla="*/ 701088 h 3952232"/>
                <a:gd name="connsiteX3439" fmla="*/ 440825 w 7267540"/>
                <a:gd name="connsiteY3439" fmla="*/ 691637 h 3952232"/>
                <a:gd name="connsiteX3440" fmla="*/ 444911 w 7267540"/>
                <a:gd name="connsiteY3440" fmla="*/ 699496 h 3952232"/>
                <a:gd name="connsiteX3441" fmla="*/ 440825 w 7267540"/>
                <a:gd name="connsiteY3441" fmla="*/ 691637 h 3952232"/>
                <a:gd name="connsiteX3442" fmla="*/ 426277 w 7267540"/>
                <a:gd name="connsiteY3442" fmla="*/ 683678 h 3952232"/>
                <a:gd name="connsiteX3443" fmla="*/ 441025 w 7267540"/>
                <a:gd name="connsiteY3443" fmla="*/ 692532 h 3952232"/>
                <a:gd name="connsiteX3444" fmla="*/ 359516 w 7267540"/>
                <a:gd name="connsiteY3444" fmla="*/ 685667 h 3952232"/>
                <a:gd name="connsiteX3445" fmla="*/ 351744 w 7267540"/>
                <a:gd name="connsiteY3445" fmla="*/ 693527 h 3952232"/>
                <a:gd name="connsiteX3446" fmla="*/ 359715 w 7267540"/>
                <a:gd name="connsiteY3446" fmla="*/ 686065 h 3952232"/>
                <a:gd name="connsiteX3447" fmla="*/ 349551 w 7267540"/>
                <a:gd name="connsiteY3447" fmla="*/ 695616 h 3952232"/>
                <a:gd name="connsiteX3448" fmla="*/ 333907 w 7267540"/>
                <a:gd name="connsiteY3448" fmla="*/ 703973 h 3952232"/>
                <a:gd name="connsiteX3449" fmla="*/ 349452 w 7267540"/>
                <a:gd name="connsiteY3449" fmla="*/ 695716 h 3952232"/>
                <a:gd name="connsiteX3450" fmla="*/ 333608 w 7267540"/>
                <a:gd name="connsiteY3450" fmla="*/ 704073 h 3952232"/>
                <a:gd name="connsiteX3451" fmla="*/ 329922 w 7267540"/>
                <a:gd name="connsiteY3451" fmla="*/ 705863 h 3952232"/>
                <a:gd name="connsiteX3452" fmla="*/ 327331 w 7267540"/>
                <a:gd name="connsiteY3452" fmla="*/ 705863 h 3952232"/>
                <a:gd name="connsiteX3453" fmla="*/ 333509 w 7267540"/>
                <a:gd name="connsiteY3453" fmla="*/ 704172 h 3952232"/>
                <a:gd name="connsiteX3454" fmla="*/ 319957 w 7267540"/>
                <a:gd name="connsiteY3454" fmla="*/ 706858 h 3952232"/>
                <a:gd name="connsiteX3455" fmla="*/ 323245 w 7267540"/>
                <a:gd name="connsiteY3455" fmla="*/ 706858 h 3952232"/>
                <a:gd name="connsiteX3456" fmla="*/ 317665 w 7267540"/>
                <a:gd name="connsiteY3456" fmla="*/ 708947 h 3952232"/>
                <a:gd name="connsiteX3457" fmla="*/ 319857 w 7267540"/>
                <a:gd name="connsiteY3457" fmla="*/ 706958 h 3952232"/>
                <a:gd name="connsiteX3458" fmla="*/ 295046 w 7267540"/>
                <a:gd name="connsiteY3458" fmla="*/ 706858 h 3952232"/>
                <a:gd name="connsiteX3459" fmla="*/ 296541 w 7267540"/>
                <a:gd name="connsiteY3459" fmla="*/ 708649 h 3952232"/>
                <a:gd name="connsiteX3460" fmla="*/ 299530 w 7267540"/>
                <a:gd name="connsiteY3460" fmla="*/ 710539 h 3952232"/>
                <a:gd name="connsiteX3461" fmla="*/ 306605 w 7267540"/>
                <a:gd name="connsiteY3461" fmla="*/ 712629 h 3952232"/>
                <a:gd name="connsiteX3462" fmla="*/ 312484 w 7267540"/>
                <a:gd name="connsiteY3462" fmla="*/ 711236 h 3952232"/>
                <a:gd name="connsiteX3463" fmla="*/ 309993 w 7267540"/>
                <a:gd name="connsiteY3463" fmla="*/ 712827 h 3952232"/>
                <a:gd name="connsiteX3464" fmla="*/ 306605 w 7267540"/>
                <a:gd name="connsiteY3464" fmla="*/ 712827 h 3952232"/>
                <a:gd name="connsiteX3465" fmla="*/ 301025 w 7267540"/>
                <a:gd name="connsiteY3465" fmla="*/ 712032 h 3952232"/>
                <a:gd name="connsiteX3466" fmla="*/ 299530 w 7267540"/>
                <a:gd name="connsiteY3466" fmla="*/ 710738 h 3952232"/>
                <a:gd name="connsiteX3467" fmla="*/ 296541 w 7267540"/>
                <a:gd name="connsiteY3467" fmla="*/ 708848 h 3952232"/>
                <a:gd name="connsiteX3468" fmla="*/ 293352 w 7267540"/>
                <a:gd name="connsiteY3468" fmla="*/ 708052 h 3952232"/>
                <a:gd name="connsiteX3469" fmla="*/ 294946 w 7267540"/>
                <a:gd name="connsiteY3469" fmla="*/ 706958 h 3952232"/>
                <a:gd name="connsiteX3470" fmla="*/ 289665 w 7267540"/>
                <a:gd name="connsiteY3470" fmla="*/ 708947 h 3952232"/>
                <a:gd name="connsiteX3471" fmla="*/ 288071 w 7267540"/>
                <a:gd name="connsiteY3471" fmla="*/ 709942 h 3952232"/>
                <a:gd name="connsiteX3472" fmla="*/ 285181 w 7267540"/>
                <a:gd name="connsiteY3472" fmla="*/ 708251 h 3952232"/>
                <a:gd name="connsiteX3473" fmla="*/ 289566 w 7267540"/>
                <a:gd name="connsiteY3473" fmla="*/ 709047 h 3952232"/>
                <a:gd name="connsiteX3474" fmla="*/ 281096 w 7267540"/>
                <a:gd name="connsiteY3474" fmla="*/ 705863 h 3952232"/>
                <a:gd name="connsiteX3475" fmla="*/ 282790 w 7267540"/>
                <a:gd name="connsiteY3475" fmla="*/ 707157 h 3952232"/>
                <a:gd name="connsiteX3476" fmla="*/ 271929 w 7267540"/>
                <a:gd name="connsiteY3476" fmla="*/ 703476 h 3952232"/>
                <a:gd name="connsiteX3477" fmla="*/ 258178 w 7267540"/>
                <a:gd name="connsiteY3477" fmla="*/ 698899 h 3952232"/>
                <a:gd name="connsiteX3478" fmla="*/ 250206 w 7267540"/>
                <a:gd name="connsiteY3478" fmla="*/ 695019 h 3952232"/>
                <a:gd name="connsiteX3479" fmla="*/ 247018 w 7267540"/>
                <a:gd name="connsiteY3479" fmla="*/ 688254 h 3952232"/>
                <a:gd name="connsiteX3480" fmla="*/ 258078 w 7267540"/>
                <a:gd name="connsiteY3480" fmla="*/ 698999 h 3952232"/>
                <a:gd name="connsiteX3481" fmla="*/ 246719 w 7267540"/>
                <a:gd name="connsiteY3481" fmla="*/ 676614 h 3952232"/>
                <a:gd name="connsiteX3482" fmla="*/ 246719 w 7267540"/>
                <a:gd name="connsiteY3482" fmla="*/ 687757 h 3952232"/>
                <a:gd name="connsiteX3483" fmla="*/ 246719 w 7267540"/>
                <a:gd name="connsiteY3483" fmla="*/ 676614 h 3952232"/>
                <a:gd name="connsiteX3484" fmla="*/ 246719 w 7267540"/>
                <a:gd name="connsiteY3484" fmla="*/ 672635 h 3952232"/>
                <a:gd name="connsiteX3485" fmla="*/ 247516 w 7267540"/>
                <a:gd name="connsiteY3485" fmla="*/ 674027 h 3952232"/>
                <a:gd name="connsiteX3486" fmla="*/ 246619 w 7267540"/>
                <a:gd name="connsiteY3486" fmla="*/ 676714 h 3952232"/>
                <a:gd name="connsiteX3487" fmla="*/ 243331 w 7267540"/>
                <a:gd name="connsiteY3487" fmla="*/ 652737 h 3952232"/>
                <a:gd name="connsiteX3488" fmla="*/ 244527 w 7267540"/>
                <a:gd name="connsiteY3488" fmla="*/ 655821 h 3952232"/>
                <a:gd name="connsiteX3489" fmla="*/ 244527 w 7267540"/>
                <a:gd name="connsiteY3489" fmla="*/ 657711 h 3952232"/>
                <a:gd name="connsiteX3490" fmla="*/ 244527 w 7267540"/>
                <a:gd name="connsiteY3490" fmla="*/ 663382 h 3952232"/>
                <a:gd name="connsiteX3491" fmla="*/ 244527 w 7267540"/>
                <a:gd name="connsiteY3491" fmla="*/ 667163 h 3952232"/>
                <a:gd name="connsiteX3492" fmla="*/ 246619 w 7267540"/>
                <a:gd name="connsiteY3492" fmla="*/ 673231 h 3952232"/>
                <a:gd name="connsiteX3493" fmla="*/ 244527 w 7267540"/>
                <a:gd name="connsiteY3493" fmla="*/ 667163 h 3952232"/>
                <a:gd name="connsiteX3494" fmla="*/ 243430 w 7267540"/>
                <a:gd name="connsiteY3494" fmla="*/ 665770 h 3952232"/>
                <a:gd name="connsiteX3495" fmla="*/ 243331 w 7267540"/>
                <a:gd name="connsiteY3495" fmla="*/ 662686 h 3952232"/>
                <a:gd name="connsiteX3496" fmla="*/ 243331 w 7267540"/>
                <a:gd name="connsiteY3496" fmla="*/ 657015 h 3952232"/>
                <a:gd name="connsiteX3497" fmla="*/ 243331 w 7267540"/>
                <a:gd name="connsiteY3497" fmla="*/ 652737 h 3952232"/>
                <a:gd name="connsiteX3498" fmla="*/ 241836 w 7267540"/>
                <a:gd name="connsiteY3498" fmla="*/ 645972 h 3952232"/>
                <a:gd name="connsiteX3499" fmla="*/ 243331 w 7267540"/>
                <a:gd name="connsiteY3499" fmla="*/ 652737 h 3952232"/>
                <a:gd name="connsiteX3500" fmla="*/ 241537 w 7267540"/>
                <a:gd name="connsiteY3500" fmla="*/ 638809 h 3952232"/>
                <a:gd name="connsiteX3501" fmla="*/ 234662 w 7267540"/>
                <a:gd name="connsiteY3501" fmla="*/ 626074 h 3952232"/>
                <a:gd name="connsiteX3502" fmla="*/ 241139 w 7267540"/>
                <a:gd name="connsiteY3502" fmla="*/ 638311 h 3952232"/>
                <a:gd name="connsiteX3503" fmla="*/ 223402 w 7267540"/>
                <a:gd name="connsiteY3503" fmla="*/ 611848 h 3952232"/>
                <a:gd name="connsiteX3504" fmla="*/ 234662 w 7267540"/>
                <a:gd name="connsiteY3504" fmla="*/ 625477 h 3952232"/>
                <a:gd name="connsiteX3505" fmla="*/ 223402 w 7267540"/>
                <a:gd name="connsiteY3505" fmla="*/ 611848 h 3952232"/>
                <a:gd name="connsiteX3506" fmla="*/ 222705 w 7267540"/>
                <a:gd name="connsiteY3506" fmla="*/ 611848 h 3952232"/>
                <a:gd name="connsiteX3507" fmla="*/ 215430 w 7267540"/>
                <a:gd name="connsiteY3507" fmla="*/ 605381 h 3952232"/>
                <a:gd name="connsiteX3508" fmla="*/ 223402 w 7267540"/>
                <a:gd name="connsiteY3508" fmla="*/ 611848 h 3952232"/>
                <a:gd name="connsiteX3509" fmla="*/ 171886 w 7267540"/>
                <a:gd name="connsiteY3509" fmla="*/ 604486 h 3952232"/>
                <a:gd name="connsiteX3510" fmla="*/ 183544 w 7267540"/>
                <a:gd name="connsiteY3510" fmla="*/ 602993 h 3952232"/>
                <a:gd name="connsiteX3511" fmla="*/ 202377 w 7267540"/>
                <a:gd name="connsiteY3511" fmla="*/ 597621 h 3952232"/>
                <a:gd name="connsiteX3512" fmla="*/ 203374 w 7267540"/>
                <a:gd name="connsiteY3512" fmla="*/ 598218 h 3952232"/>
                <a:gd name="connsiteX3513" fmla="*/ 214633 w 7267540"/>
                <a:gd name="connsiteY3513" fmla="*/ 604784 h 3952232"/>
                <a:gd name="connsiteX3514" fmla="*/ 203374 w 7267540"/>
                <a:gd name="connsiteY3514" fmla="*/ 598218 h 3952232"/>
                <a:gd name="connsiteX3515" fmla="*/ 183445 w 7267540"/>
                <a:gd name="connsiteY3515" fmla="*/ 602993 h 3952232"/>
                <a:gd name="connsiteX3516" fmla="*/ 170391 w 7267540"/>
                <a:gd name="connsiteY3516" fmla="*/ 604585 h 3952232"/>
                <a:gd name="connsiteX3517" fmla="*/ 168897 w 7267540"/>
                <a:gd name="connsiteY3517" fmla="*/ 603391 h 3952232"/>
                <a:gd name="connsiteX3518" fmla="*/ 171388 w 7267540"/>
                <a:gd name="connsiteY3518" fmla="*/ 604486 h 3952232"/>
                <a:gd name="connsiteX3519" fmla="*/ 169196 w 7267540"/>
                <a:gd name="connsiteY3519" fmla="*/ 603093 h 3952232"/>
                <a:gd name="connsiteX3520" fmla="*/ 165708 w 7267540"/>
                <a:gd name="connsiteY3520" fmla="*/ 599014 h 3952232"/>
                <a:gd name="connsiteX3521" fmla="*/ 168697 w 7267540"/>
                <a:gd name="connsiteY3521" fmla="*/ 602993 h 3952232"/>
                <a:gd name="connsiteX3522" fmla="*/ 157438 w 7267540"/>
                <a:gd name="connsiteY3522" fmla="*/ 583096 h 3952232"/>
                <a:gd name="connsiteX3523" fmla="*/ 160527 w 7267540"/>
                <a:gd name="connsiteY3523" fmla="*/ 586379 h 3952232"/>
                <a:gd name="connsiteX3524" fmla="*/ 163416 w 7267540"/>
                <a:gd name="connsiteY3524" fmla="*/ 590060 h 3952232"/>
                <a:gd name="connsiteX3525" fmla="*/ 163416 w 7267540"/>
                <a:gd name="connsiteY3525" fmla="*/ 593641 h 3952232"/>
                <a:gd name="connsiteX3526" fmla="*/ 165110 w 7267540"/>
                <a:gd name="connsiteY3526" fmla="*/ 599213 h 3952232"/>
                <a:gd name="connsiteX3527" fmla="*/ 163616 w 7267540"/>
                <a:gd name="connsiteY3527" fmla="*/ 593045 h 3952232"/>
                <a:gd name="connsiteX3528" fmla="*/ 160826 w 7267540"/>
                <a:gd name="connsiteY3528" fmla="*/ 585782 h 3952232"/>
                <a:gd name="connsiteX3529" fmla="*/ 153651 w 7267540"/>
                <a:gd name="connsiteY3529" fmla="*/ 583096 h 3952232"/>
                <a:gd name="connsiteX3530" fmla="*/ 157438 w 7267540"/>
                <a:gd name="connsiteY3530" fmla="*/ 583096 h 3952232"/>
                <a:gd name="connsiteX3531" fmla="*/ 602050 w 7267540"/>
                <a:gd name="connsiteY3531" fmla="*/ 1831265 h 3952232"/>
                <a:gd name="connsiteX3532" fmla="*/ 595174 w 7267540"/>
                <a:gd name="connsiteY3532" fmla="*/ 1825196 h 3952232"/>
                <a:gd name="connsiteX3533" fmla="*/ 595174 w 7267540"/>
                <a:gd name="connsiteY3533" fmla="*/ 1815248 h 3952232"/>
                <a:gd name="connsiteX3534" fmla="*/ 602149 w 7267540"/>
                <a:gd name="connsiteY3534" fmla="*/ 1830768 h 3952232"/>
                <a:gd name="connsiteX3535" fmla="*/ 629452 w 7267540"/>
                <a:gd name="connsiteY3535" fmla="*/ 1855043 h 3952232"/>
                <a:gd name="connsiteX3536" fmla="*/ 602050 w 7267540"/>
                <a:gd name="connsiteY3536" fmla="*/ 1831265 h 3952232"/>
                <a:gd name="connsiteX3537" fmla="*/ 657153 w 7267540"/>
                <a:gd name="connsiteY3537" fmla="*/ 1880313 h 3952232"/>
                <a:gd name="connsiteX3538" fmla="*/ 691530 w 7267540"/>
                <a:gd name="connsiteY3538" fmla="*/ 1911153 h 3952232"/>
                <a:gd name="connsiteX3539" fmla="*/ 656854 w 7267540"/>
                <a:gd name="connsiteY3539" fmla="*/ 1880313 h 3952232"/>
                <a:gd name="connsiteX3540" fmla="*/ 1170021 w 7267540"/>
                <a:gd name="connsiteY3540" fmla="*/ 2357255 h 3952232"/>
                <a:gd name="connsiteX3541" fmla="*/ 1269067 w 7267540"/>
                <a:gd name="connsiteY3541" fmla="*/ 2453957 h 3952232"/>
                <a:gd name="connsiteX3542" fmla="*/ 1269864 w 7267540"/>
                <a:gd name="connsiteY3542" fmla="*/ 2445103 h 3952232"/>
                <a:gd name="connsiteX3543" fmla="*/ 1269864 w 7267540"/>
                <a:gd name="connsiteY3543" fmla="*/ 2456942 h 3952232"/>
                <a:gd name="connsiteX3544" fmla="*/ 1269864 w 7267540"/>
                <a:gd name="connsiteY3544" fmla="*/ 2453957 h 3952232"/>
                <a:gd name="connsiteX3545" fmla="*/ 1170021 w 7267540"/>
                <a:gd name="connsiteY3545" fmla="*/ 2357255 h 3952232"/>
                <a:gd name="connsiteX3546" fmla="*/ 1259701 w 7267540"/>
                <a:gd name="connsiteY3546" fmla="*/ 2715410 h 3952232"/>
                <a:gd name="connsiteX3547" fmla="*/ 1258206 w 7267540"/>
                <a:gd name="connsiteY3547" fmla="*/ 2714813 h 3952232"/>
                <a:gd name="connsiteX3548" fmla="*/ 1259701 w 7267540"/>
                <a:gd name="connsiteY3548" fmla="*/ 2712127 h 3952232"/>
                <a:gd name="connsiteX3549" fmla="*/ 1260797 w 7267540"/>
                <a:gd name="connsiteY3549" fmla="*/ 2703173 h 3952232"/>
                <a:gd name="connsiteX3550" fmla="*/ 1259701 w 7267540"/>
                <a:gd name="connsiteY3550" fmla="*/ 2712127 h 3952232"/>
                <a:gd name="connsiteX3551" fmla="*/ 1260298 w 7267540"/>
                <a:gd name="connsiteY3551" fmla="*/ 2715609 h 3952232"/>
                <a:gd name="connsiteX3552" fmla="*/ 1263288 w 7267540"/>
                <a:gd name="connsiteY3552" fmla="*/ 2718295 h 3952232"/>
                <a:gd name="connsiteX3553" fmla="*/ 1264782 w 7267540"/>
                <a:gd name="connsiteY3553" fmla="*/ 2718892 h 3952232"/>
                <a:gd name="connsiteX3554" fmla="*/ 1264085 w 7267540"/>
                <a:gd name="connsiteY3554" fmla="*/ 2721877 h 3952232"/>
                <a:gd name="connsiteX3555" fmla="*/ 1263288 w 7267540"/>
                <a:gd name="connsiteY3555" fmla="*/ 2718295 h 3952232"/>
                <a:gd name="connsiteX3556" fmla="*/ 1259701 w 7267540"/>
                <a:gd name="connsiteY3556" fmla="*/ 2715311 h 3952232"/>
                <a:gd name="connsiteX3557" fmla="*/ 1263088 w 7267540"/>
                <a:gd name="connsiteY3557" fmla="*/ 2730930 h 3952232"/>
                <a:gd name="connsiteX3558" fmla="*/ 1263088 w 7267540"/>
                <a:gd name="connsiteY3558" fmla="*/ 2721678 h 3952232"/>
                <a:gd name="connsiteX3559" fmla="*/ 1263088 w 7267540"/>
                <a:gd name="connsiteY3559" fmla="*/ 2730930 h 3952232"/>
                <a:gd name="connsiteX3560" fmla="*/ 1263088 w 7267540"/>
                <a:gd name="connsiteY3560" fmla="*/ 2733616 h 3952232"/>
                <a:gd name="connsiteX3561" fmla="*/ 1263387 w 7267540"/>
                <a:gd name="connsiteY3561" fmla="*/ 2730831 h 3952232"/>
                <a:gd name="connsiteX3562" fmla="*/ 1264184 w 7267540"/>
                <a:gd name="connsiteY3562" fmla="*/ 2751524 h 3952232"/>
                <a:gd name="connsiteX3563" fmla="*/ 1275245 w 7267540"/>
                <a:gd name="connsiteY3563" fmla="*/ 2752121 h 3952232"/>
                <a:gd name="connsiteX3564" fmla="*/ 1264483 w 7267540"/>
                <a:gd name="connsiteY3564" fmla="*/ 2751922 h 3952232"/>
                <a:gd name="connsiteX3565" fmla="*/ 1270263 w 7267540"/>
                <a:gd name="connsiteY3565" fmla="*/ 2796890 h 3952232"/>
                <a:gd name="connsiteX3566" fmla="*/ 1276839 w 7267540"/>
                <a:gd name="connsiteY3566" fmla="*/ 2794204 h 3952232"/>
                <a:gd name="connsiteX3567" fmla="*/ 1270562 w 7267540"/>
                <a:gd name="connsiteY3567" fmla="*/ 2796791 h 3952232"/>
                <a:gd name="connsiteX3568" fmla="*/ 1282818 w 7267540"/>
                <a:gd name="connsiteY3568" fmla="*/ 2789429 h 3952232"/>
                <a:gd name="connsiteX3569" fmla="*/ 1289594 w 7267540"/>
                <a:gd name="connsiteY3569" fmla="*/ 2781768 h 3952232"/>
                <a:gd name="connsiteX3570" fmla="*/ 1283117 w 7267540"/>
                <a:gd name="connsiteY3570" fmla="*/ 2789329 h 3952232"/>
                <a:gd name="connsiteX3571" fmla="*/ 1290092 w 7267540"/>
                <a:gd name="connsiteY3571" fmla="*/ 2780375 h 3952232"/>
                <a:gd name="connsiteX3572" fmla="*/ 1290092 w 7267540"/>
                <a:gd name="connsiteY3572" fmla="*/ 2770426 h 3952232"/>
                <a:gd name="connsiteX3573" fmla="*/ 1290391 w 7267540"/>
                <a:gd name="connsiteY3573" fmla="*/ 2780276 h 3952232"/>
                <a:gd name="connsiteX3574" fmla="*/ 2298091 w 7267540"/>
                <a:gd name="connsiteY3574" fmla="*/ 2906028 h 3952232"/>
                <a:gd name="connsiteX3575" fmla="*/ 2282148 w 7267540"/>
                <a:gd name="connsiteY3575" fmla="*/ 2906028 h 3952232"/>
                <a:gd name="connsiteX3576" fmla="*/ 2276768 w 7267540"/>
                <a:gd name="connsiteY3576" fmla="*/ 2908416 h 3952232"/>
                <a:gd name="connsiteX3577" fmla="*/ 2275572 w 7267540"/>
                <a:gd name="connsiteY3577" fmla="*/ 2915778 h 3952232"/>
                <a:gd name="connsiteX3578" fmla="*/ 2276568 w 7267540"/>
                <a:gd name="connsiteY3578" fmla="*/ 2918265 h 3952232"/>
                <a:gd name="connsiteX3579" fmla="*/ 2275970 w 7267540"/>
                <a:gd name="connsiteY3579" fmla="*/ 2920752 h 3952232"/>
                <a:gd name="connsiteX3580" fmla="*/ 2280554 w 7267540"/>
                <a:gd name="connsiteY3580" fmla="*/ 2931895 h 3952232"/>
                <a:gd name="connsiteX3581" fmla="*/ 2276070 w 7267540"/>
                <a:gd name="connsiteY3581" fmla="*/ 2921050 h 3952232"/>
                <a:gd name="connsiteX3582" fmla="*/ 2276070 w 7267540"/>
                <a:gd name="connsiteY3582" fmla="*/ 2916076 h 3952232"/>
                <a:gd name="connsiteX3583" fmla="*/ 2277266 w 7267540"/>
                <a:gd name="connsiteY3583" fmla="*/ 2908714 h 3952232"/>
                <a:gd name="connsiteX3584" fmla="*/ 2278063 w 7267540"/>
                <a:gd name="connsiteY3584" fmla="*/ 2906525 h 3952232"/>
                <a:gd name="connsiteX3585" fmla="*/ 2282647 w 7267540"/>
                <a:gd name="connsiteY3585" fmla="*/ 2906525 h 3952232"/>
                <a:gd name="connsiteX3586" fmla="*/ 2298590 w 7267540"/>
                <a:gd name="connsiteY3586" fmla="*/ 2906525 h 3952232"/>
                <a:gd name="connsiteX3587" fmla="*/ 2306860 w 7267540"/>
                <a:gd name="connsiteY3587" fmla="*/ 2906525 h 3952232"/>
                <a:gd name="connsiteX3588" fmla="*/ 2298390 w 7267540"/>
                <a:gd name="connsiteY3588" fmla="*/ 2905929 h 3952232"/>
                <a:gd name="connsiteX3589" fmla="*/ 2306462 w 7267540"/>
                <a:gd name="connsiteY3589" fmla="*/ 2906028 h 3952232"/>
                <a:gd name="connsiteX3590" fmla="*/ 2307458 w 7267540"/>
                <a:gd name="connsiteY3590" fmla="*/ 2906028 h 3952232"/>
                <a:gd name="connsiteX3591" fmla="*/ 2339543 w 7267540"/>
                <a:gd name="connsiteY3591" fmla="*/ 2906028 h 3952232"/>
                <a:gd name="connsiteX3592" fmla="*/ 2306760 w 7267540"/>
                <a:gd name="connsiteY3592" fmla="*/ 2905829 h 3952232"/>
                <a:gd name="connsiteX3593" fmla="*/ 3301906 w 7267540"/>
                <a:gd name="connsiteY3593" fmla="*/ 2597617 h 3952232"/>
                <a:gd name="connsiteX3594" fmla="*/ 3306789 w 7267540"/>
                <a:gd name="connsiteY3594" fmla="*/ 2595229 h 3952232"/>
                <a:gd name="connsiteX3595" fmla="*/ 3302404 w 7267540"/>
                <a:gd name="connsiteY3595" fmla="*/ 2597219 h 3952232"/>
                <a:gd name="connsiteX3596" fmla="*/ 3308084 w 7267540"/>
                <a:gd name="connsiteY3596" fmla="*/ 2594135 h 3952232"/>
                <a:gd name="connsiteX3597" fmla="*/ 3310575 w 7267540"/>
                <a:gd name="connsiteY3597" fmla="*/ 2589558 h 3952232"/>
                <a:gd name="connsiteX3598" fmla="*/ 3308383 w 7267540"/>
                <a:gd name="connsiteY3598" fmla="*/ 2593737 h 3952232"/>
                <a:gd name="connsiteX3599" fmla="*/ 3349337 w 7267540"/>
                <a:gd name="connsiteY3599" fmla="*/ 2601298 h 3952232"/>
                <a:gd name="connsiteX3600" fmla="*/ 3351429 w 7267540"/>
                <a:gd name="connsiteY3600" fmla="*/ 2605277 h 3952232"/>
                <a:gd name="connsiteX3601" fmla="*/ 3349635 w 7267540"/>
                <a:gd name="connsiteY3601" fmla="*/ 2600900 h 3952232"/>
                <a:gd name="connsiteX3602" fmla="*/ 3378632 w 7267540"/>
                <a:gd name="connsiteY3602" fmla="*/ 2629453 h 3952232"/>
                <a:gd name="connsiteX3603" fmla="*/ 3384910 w 7267540"/>
                <a:gd name="connsiteY3603" fmla="*/ 2625374 h 3952232"/>
                <a:gd name="connsiteX3604" fmla="*/ 3378931 w 7267540"/>
                <a:gd name="connsiteY3604" fmla="*/ 2629055 h 3952232"/>
                <a:gd name="connsiteX3605" fmla="*/ 3475287 w 7267540"/>
                <a:gd name="connsiteY3605" fmla="*/ 2647360 h 3952232"/>
                <a:gd name="connsiteX3606" fmla="*/ 3476283 w 7267540"/>
                <a:gd name="connsiteY3606" fmla="*/ 2640098 h 3952232"/>
                <a:gd name="connsiteX3607" fmla="*/ 3475586 w 7267540"/>
                <a:gd name="connsiteY3607" fmla="*/ 2646963 h 3952232"/>
                <a:gd name="connsiteX3608" fmla="*/ 3478575 w 7267540"/>
                <a:gd name="connsiteY3608" fmla="*/ 2633432 h 3952232"/>
                <a:gd name="connsiteX3609" fmla="*/ 3482760 w 7267540"/>
                <a:gd name="connsiteY3609" fmla="*/ 2628060 h 3952232"/>
                <a:gd name="connsiteX3610" fmla="*/ 3478874 w 7267540"/>
                <a:gd name="connsiteY3610" fmla="*/ 2633034 h 3952232"/>
                <a:gd name="connsiteX3611" fmla="*/ 3488539 w 7267540"/>
                <a:gd name="connsiteY3611" fmla="*/ 2619902 h 3952232"/>
                <a:gd name="connsiteX3612" fmla="*/ 3488539 w 7267540"/>
                <a:gd name="connsiteY3612" fmla="*/ 2624478 h 3952232"/>
                <a:gd name="connsiteX3613" fmla="*/ 3489237 w 7267540"/>
                <a:gd name="connsiteY3613" fmla="*/ 2619504 h 3952232"/>
                <a:gd name="connsiteX3614" fmla="*/ 3507372 w 7267540"/>
                <a:gd name="connsiteY3614" fmla="*/ 2629851 h 3952232"/>
                <a:gd name="connsiteX3615" fmla="*/ 3511956 w 7267540"/>
                <a:gd name="connsiteY3615" fmla="*/ 2628159 h 3952232"/>
                <a:gd name="connsiteX3616" fmla="*/ 3508070 w 7267540"/>
                <a:gd name="connsiteY3616" fmla="*/ 2629453 h 3952232"/>
                <a:gd name="connsiteX3617" fmla="*/ 3516838 w 7267540"/>
                <a:gd name="connsiteY3617" fmla="*/ 2632139 h 3952232"/>
                <a:gd name="connsiteX3618" fmla="*/ 3525208 w 7267540"/>
                <a:gd name="connsiteY3618" fmla="*/ 2628259 h 3952232"/>
                <a:gd name="connsiteX3619" fmla="*/ 3517536 w 7267540"/>
                <a:gd name="connsiteY3619" fmla="*/ 2631741 h 3952232"/>
                <a:gd name="connsiteX3620" fmla="*/ 3538062 w 7267540"/>
                <a:gd name="connsiteY3620" fmla="*/ 2627463 h 3952232"/>
                <a:gd name="connsiteX3621" fmla="*/ 3539258 w 7267540"/>
                <a:gd name="connsiteY3621" fmla="*/ 2633233 h 3952232"/>
                <a:gd name="connsiteX3622" fmla="*/ 3538760 w 7267540"/>
                <a:gd name="connsiteY3622" fmla="*/ 2627065 h 3952232"/>
                <a:gd name="connsiteX3623" fmla="*/ 3590674 w 7267540"/>
                <a:gd name="connsiteY3623" fmla="*/ 2636815 h 3952232"/>
                <a:gd name="connsiteX3624" fmla="*/ 3583500 w 7267540"/>
                <a:gd name="connsiteY3624" fmla="*/ 2645470 h 3952232"/>
                <a:gd name="connsiteX3625" fmla="*/ 3590674 w 7267540"/>
                <a:gd name="connsiteY3625" fmla="*/ 2636815 h 3952232"/>
                <a:gd name="connsiteX3626" fmla="*/ 3593464 w 7267540"/>
                <a:gd name="connsiteY3626" fmla="*/ 2632437 h 3952232"/>
                <a:gd name="connsiteX3627" fmla="*/ 3596852 w 7267540"/>
                <a:gd name="connsiteY3627" fmla="*/ 2632437 h 3952232"/>
                <a:gd name="connsiteX3628" fmla="*/ 3591372 w 7267540"/>
                <a:gd name="connsiteY3628" fmla="*/ 2636417 h 3952232"/>
                <a:gd name="connsiteX3629" fmla="*/ 3615287 w 7267540"/>
                <a:gd name="connsiteY3629" fmla="*/ 2628159 h 3952232"/>
                <a:gd name="connsiteX3630" fmla="*/ 3606717 w 7267540"/>
                <a:gd name="connsiteY3630" fmla="*/ 2630547 h 3952232"/>
                <a:gd name="connsiteX3631" fmla="*/ 3604425 w 7267540"/>
                <a:gd name="connsiteY3631" fmla="*/ 2631443 h 3952232"/>
                <a:gd name="connsiteX3632" fmla="*/ 3603031 w 7267540"/>
                <a:gd name="connsiteY3632" fmla="*/ 2631443 h 3952232"/>
                <a:gd name="connsiteX3633" fmla="*/ 3596952 w 7267540"/>
                <a:gd name="connsiteY3633" fmla="*/ 2632537 h 3952232"/>
                <a:gd name="connsiteX3634" fmla="*/ 3603031 w 7267540"/>
                <a:gd name="connsiteY3634" fmla="*/ 2631443 h 3952232"/>
                <a:gd name="connsiteX3635" fmla="*/ 3606717 w 7267540"/>
                <a:gd name="connsiteY3635" fmla="*/ 2630746 h 3952232"/>
                <a:gd name="connsiteX3636" fmla="*/ 3615287 w 7267540"/>
                <a:gd name="connsiteY3636" fmla="*/ 2628358 h 3952232"/>
                <a:gd name="connsiteX3637" fmla="*/ 3620369 w 7267540"/>
                <a:gd name="connsiteY3637" fmla="*/ 2626667 h 3952232"/>
                <a:gd name="connsiteX3638" fmla="*/ 3626447 w 7267540"/>
                <a:gd name="connsiteY3638" fmla="*/ 2627761 h 3952232"/>
                <a:gd name="connsiteX3639" fmla="*/ 3615984 w 7267540"/>
                <a:gd name="connsiteY3639" fmla="*/ 2627761 h 3952232"/>
                <a:gd name="connsiteX3640" fmla="*/ 3643386 w 7267540"/>
                <a:gd name="connsiteY3640" fmla="*/ 2624280 h 3952232"/>
                <a:gd name="connsiteX3641" fmla="*/ 3639301 w 7267540"/>
                <a:gd name="connsiteY3641" fmla="*/ 2626468 h 3952232"/>
                <a:gd name="connsiteX3642" fmla="*/ 3636013 w 7267540"/>
                <a:gd name="connsiteY3642" fmla="*/ 2628060 h 3952232"/>
                <a:gd name="connsiteX3643" fmla="*/ 3635315 w 7267540"/>
                <a:gd name="connsiteY3643" fmla="*/ 2628060 h 3952232"/>
                <a:gd name="connsiteX3644" fmla="*/ 3634020 w 7267540"/>
                <a:gd name="connsiteY3644" fmla="*/ 2628060 h 3952232"/>
                <a:gd name="connsiteX3645" fmla="*/ 3626546 w 7267540"/>
                <a:gd name="connsiteY3645" fmla="*/ 2627364 h 3952232"/>
                <a:gd name="connsiteX3646" fmla="*/ 3634020 w 7267540"/>
                <a:gd name="connsiteY3646" fmla="*/ 2628060 h 3952232"/>
                <a:gd name="connsiteX3647" fmla="*/ 3636013 w 7267540"/>
                <a:gd name="connsiteY3647" fmla="*/ 2628060 h 3952232"/>
                <a:gd name="connsiteX3648" fmla="*/ 3643386 w 7267540"/>
                <a:gd name="connsiteY3648" fmla="*/ 2624280 h 3952232"/>
                <a:gd name="connsiteX3649" fmla="*/ 3658831 w 7267540"/>
                <a:gd name="connsiteY3649" fmla="*/ 2619703 h 3952232"/>
                <a:gd name="connsiteX3650" fmla="*/ 3644084 w 7267540"/>
                <a:gd name="connsiteY3650" fmla="*/ 2623882 h 3952232"/>
                <a:gd name="connsiteX3651" fmla="*/ 3666404 w 7267540"/>
                <a:gd name="connsiteY3651" fmla="*/ 2618808 h 3952232"/>
                <a:gd name="connsiteX3652" fmla="*/ 3658931 w 7267540"/>
                <a:gd name="connsiteY3652" fmla="*/ 2619703 h 3952232"/>
                <a:gd name="connsiteX3653" fmla="*/ 3662219 w 7267540"/>
                <a:gd name="connsiteY3653" fmla="*/ 2618509 h 3952232"/>
                <a:gd name="connsiteX3654" fmla="*/ 3666404 w 7267540"/>
                <a:gd name="connsiteY3654" fmla="*/ 2618509 h 3952232"/>
                <a:gd name="connsiteX3655" fmla="*/ 3668198 w 7267540"/>
                <a:gd name="connsiteY3655" fmla="*/ 2618509 h 3952232"/>
                <a:gd name="connsiteX3656" fmla="*/ 3668995 w 7267540"/>
                <a:gd name="connsiteY3656" fmla="*/ 2620001 h 3952232"/>
                <a:gd name="connsiteX3657" fmla="*/ 3667102 w 7267540"/>
                <a:gd name="connsiteY3657" fmla="*/ 2618410 h 3952232"/>
                <a:gd name="connsiteX3658" fmla="*/ 3706262 w 7267540"/>
                <a:gd name="connsiteY3658" fmla="*/ 2618111 h 3952232"/>
                <a:gd name="connsiteX3659" fmla="*/ 3703472 w 7267540"/>
                <a:gd name="connsiteY3659" fmla="*/ 2623285 h 3952232"/>
                <a:gd name="connsiteX3660" fmla="*/ 3702475 w 7267540"/>
                <a:gd name="connsiteY3660" fmla="*/ 2625573 h 3952232"/>
                <a:gd name="connsiteX3661" fmla="*/ 3698788 w 7267540"/>
                <a:gd name="connsiteY3661" fmla="*/ 2626468 h 3952232"/>
                <a:gd name="connsiteX3662" fmla="*/ 3688824 w 7267540"/>
                <a:gd name="connsiteY3662" fmla="*/ 2627761 h 3952232"/>
                <a:gd name="connsiteX3663" fmla="*/ 3675870 w 7267540"/>
                <a:gd name="connsiteY3663" fmla="*/ 2625374 h 3952232"/>
                <a:gd name="connsiteX3664" fmla="*/ 3672981 w 7267540"/>
                <a:gd name="connsiteY3664" fmla="*/ 2624478 h 3952232"/>
                <a:gd name="connsiteX3665" fmla="*/ 3672183 w 7267540"/>
                <a:gd name="connsiteY3665" fmla="*/ 2622887 h 3952232"/>
                <a:gd name="connsiteX3666" fmla="*/ 3675870 w 7267540"/>
                <a:gd name="connsiteY3666" fmla="*/ 2625374 h 3952232"/>
                <a:gd name="connsiteX3667" fmla="*/ 3688824 w 7267540"/>
                <a:gd name="connsiteY3667" fmla="*/ 2627761 h 3952232"/>
                <a:gd name="connsiteX3668" fmla="*/ 3698788 w 7267540"/>
                <a:gd name="connsiteY3668" fmla="*/ 2626468 h 3952232"/>
                <a:gd name="connsiteX3669" fmla="*/ 3703472 w 7267540"/>
                <a:gd name="connsiteY3669" fmla="*/ 2623285 h 3952232"/>
                <a:gd name="connsiteX3670" fmla="*/ 3706262 w 7267540"/>
                <a:gd name="connsiteY3670" fmla="*/ 2618111 h 3952232"/>
                <a:gd name="connsiteX3671" fmla="*/ 3706262 w 7267540"/>
                <a:gd name="connsiteY3671" fmla="*/ 2617514 h 3952232"/>
                <a:gd name="connsiteX3672" fmla="*/ 3712539 w 7267540"/>
                <a:gd name="connsiteY3672" fmla="*/ 2613734 h 3952232"/>
                <a:gd name="connsiteX3673" fmla="*/ 3706561 w 7267540"/>
                <a:gd name="connsiteY3673" fmla="*/ 2617713 h 3952232"/>
                <a:gd name="connsiteX3674" fmla="*/ 3719415 w 7267540"/>
                <a:gd name="connsiteY3674" fmla="*/ 2616520 h 3952232"/>
                <a:gd name="connsiteX3675" fmla="*/ 3717521 w 7267540"/>
                <a:gd name="connsiteY3675" fmla="*/ 2615226 h 3952232"/>
                <a:gd name="connsiteX3676" fmla="*/ 3725692 w 7267540"/>
                <a:gd name="connsiteY3676" fmla="*/ 2621394 h 3952232"/>
                <a:gd name="connsiteX3677" fmla="*/ 3719714 w 7267540"/>
                <a:gd name="connsiteY3677" fmla="*/ 2616122 h 3952232"/>
                <a:gd name="connsiteX3678" fmla="*/ 3734162 w 7267540"/>
                <a:gd name="connsiteY3678" fmla="*/ 2627662 h 3952232"/>
                <a:gd name="connsiteX3679" fmla="*/ 3732368 w 7267540"/>
                <a:gd name="connsiteY3679" fmla="*/ 2627662 h 3952232"/>
                <a:gd name="connsiteX3680" fmla="*/ 3728283 w 7267540"/>
                <a:gd name="connsiteY3680" fmla="*/ 2623981 h 3952232"/>
                <a:gd name="connsiteX3681" fmla="*/ 3734162 w 7267540"/>
                <a:gd name="connsiteY3681" fmla="*/ 2627861 h 3952232"/>
                <a:gd name="connsiteX3682" fmla="*/ 3739443 w 7267540"/>
                <a:gd name="connsiteY3682" fmla="*/ 2629552 h 3952232"/>
                <a:gd name="connsiteX3683" fmla="*/ 3734461 w 7267540"/>
                <a:gd name="connsiteY3683" fmla="*/ 2627264 h 3952232"/>
                <a:gd name="connsiteX3684" fmla="*/ 3739543 w 7267540"/>
                <a:gd name="connsiteY3684" fmla="*/ 2629353 h 3952232"/>
                <a:gd name="connsiteX3685" fmla="*/ 3741336 w 7267540"/>
                <a:gd name="connsiteY3685" fmla="*/ 2629353 h 3952232"/>
                <a:gd name="connsiteX3686" fmla="*/ 3744525 w 7267540"/>
                <a:gd name="connsiteY3686" fmla="*/ 2633233 h 3952232"/>
                <a:gd name="connsiteX3687" fmla="*/ 3739842 w 7267540"/>
                <a:gd name="connsiteY3687" fmla="*/ 2628956 h 3952232"/>
                <a:gd name="connsiteX3688" fmla="*/ 3751301 w 7267540"/>
                <a:gd name="connsiteY3688" fmla="*/ 2641391 h 3952232"/>
                <a:gd name="connsiteX3689" fmla="*/ 3749906 w 7267540"/>
                <a:gd name="connsiteY3689" fmla="*/ 2639501 h 3952232"/>
                <a:gd name="connsiteX3690" fmla="*/ 3754988 w 7267540"/>
                <a:gd name="connsiteY3690" fmla="*/ 2644276 h 3952232"/>
                <a:gd name="connsiteX3691" fmla="*/ 3751600 w 7267540"/>
                <a:gd name="connsiteY3691" fmla="*/ 2640993 h 3952232"/>
                <a:gd name="connsiteX3692" fmla="*/ 3758276 w 7267540"/>
                <a:gd name="connsiteY3692" fmla="*/ 2646366 h 3952232"/>
                <a:gd name="connsiteX3693" fmla="*/ 3755287 w 7267540"/>
                <a:gd name="connsiteY3693" fmla="*/ 2644376 h 3952232"/>
                <a:gd name="connsiteX3694" fmla="*/ 3760368 w 7267540"/>
                <a:gd name="connsiteY3694" fmla="*/ 2645868 h 3952232"/>
                <a:gd name="connsiteX3695" fmla="*/ 3770632 w 7267540"/>
                <a:gd name="connsiteY3695" fmla="*/ 2648057 h 3952232"/>
                <a:gd name="connsiteX3696" fmla="*/ 3764852 w 7267540"/>
                <a:gd name="connsiteY3696" fmla="*/ 2645868 h 3952232"/>
                <a:gd name="connsiteX3697" fmla="*/ 3760667 w 7267540"/>
                <a:gd name="connsiteY3697" fmla="*/ 2645868 h 3952232"/>
                <a:gd name="connsiteX3698" fmla="*/ 3764852 w 7267540"/>
                <a:gd name="connsiteY3698" fmla="*/ 2645868 h 3952232"/>
                <a:gd name="connsiteX3699" fmla="*/ 3768240 w 7267540"/>
                <a:gd name="connsiteY3699" fmla="*/ 2645868 h 3952232"/>
                <a:gd name="connsiteX3700" fmla="*/ 3770632 w 7267540"/>
                <a:gd name="connsiteY3700" fmla="*/ 2648455 h 3952232"/>
                <a:gd name="connsiteX3701" fmla="*/ 3779699 w 7267540"/>
                <a:gd name="connsiteY3701" fmla="*/ 2654126 h 3952232"/>
                <a:gd name="connsiteX3702" fmla="*/ 3770731 w 7267540"/>
                <a:gd name="connsiteY3702" fmla="*/ 2647659 h 3952232"/>
                <a:gd name="connsiteX3703" fmla="*/ 3790560 w 7267540"/>
                <a:gd name="connsiteY3703" fmla="*/ 2657409 h 3952232"/>
                <a:gd name="connsiteX3704" fmla="*/ 3785279 w 7267540"/>
                <a:gd name="connsiteY3704" fmla="*/ 2656315 h 3952232"/>
                <a:gd name="connsiteX3705" fmla="*/ 3790560 w 7267540"/>
                <a:gd name="connsiteY3705" fmla="*/ 2657409 h 3952232"/>
                <a:gd name="connsiteX3706" fmla="*/ 3792255 w 7267540"/>
                <a:gd name="connsiteY3706" fmla="*/ 2657409 h 3952232"/>
                <a:gd name="connsiteX3707" fmla="*/ 3793849 w 7267540"/>
                <a:gd name="connsiteY3707" fmla="*/ 2659498 h 3952232"/>
                <a:gd name="connsiteX3708" fmla="*/ 3790660 w 7267540"/>
                <a:gd name="connsiteY3708" fmla="*/ 2657011 h 3952232"/>
                <a:gd name="connsiteX3709" fmla="*/ 3793948 w 7267540"/>
                <a:gd name="connsiteY3709" fmla="*/ 2659498 h 3952232"/>
                <a:gd name="connsiteX3710" fmla="*/ 3797038 w 7267540"/>
                <a:gd name="connsiteY3710" fmla="*/ 2662682 h 3952232"/>
                <a:gd name="connsiteX3711" fmla="*/ 3794148 w 7267540"/>
                <a:gd name="connsiteY3711" fmla="*/ 2659100 h 3952232"/>
                <a:gd name="connsiteX3712" fmla="*/ 3803215 w 7267540"/>
                <a:gd name="connsiteY3712" fmla="*/ 2662284 h 3952232"/>
                <a:gd name="connsiteX3713" fmla="*/ 3801322 w 7267540"/>
                <a:gd name="connsiteY3713" fmla="*/ 2663477 h 3952232"/>
                <a:gd name="connsiteX3714" fmla="*/ 3798233 w 7267540"/>
                <a:gd name="connsiteY3714" fmla="*/ 2664273 h 3952232"/>
                <a:gd name="connsiteX3715" fmla="*/ 3797137 w 7267540"/>
                <a:gd name="connsiteY3715" fmla="*/ 2662880 h 3952232"/>
                <a:gd name="connsiteX3716" fmla="*/ 3801322 w 7267540"/>
                <a:gd name="connsiteY3716" fmla="*/ 2663477 h 3952232"/>
                <a:gd name="connsiteX3717" fmla="*/ 3803714 w 7267540"/>
                <a:gd name="connsiteY3717" fmla="*/ 2655817 h 3952232"/>
                <a:gd name="connsiteX3718" fmla="*/ 3803714 w 7267540"/>
                <a:gd name="connsiteY3718" fmla="*/ 2644873 h 3952232"/>
                <a:gd name="connsiteX3719" fmla="*/ 3803714 w 7267540"/>
                <a:gd name="connsiteY3719" fmla="*/ 2655817 h 3952232"/>
                <a:gd name="connsiteX3720" fmla="*/ 3806205 w 7267540"/>
                <a:gd name="connsiteY3720" fmla="*/ 2665766 h 3952232"/>
                <a:gd name="connsiteX3721" fmla="*/ 3803415 w 7267540"/>
                <a:gd name="connsiteY3721" fmla="*/ 2662383 h 3952232"/>
                <a:gd name="connsiteX3722" fmla="*/ 3812183 w 7267540"/>
                <a:gd name="connsiteY3722" fmla="*/ 2671238 h 3952232"/>
                <a:gd name="connsiteX3723" fmla="*/ 3806304 w 7267540"/>
                <a:gd name="connsiteY3723" fmla="*/ 2665666 h 3952232"/>
                <a:gd name="connsiteX3724" fmla="*/ 3815173 w 7267540"/>
                <a:gd name="connsiteY3724" fmla="*/ 2673227 h 3952232"/>
                <a:gd name="connsiteX3725" fmla="*/ 3812383 w 7267540"/>
                <a:gd name="connsiteY3725" fmla="*/ 2670840 h 3952232"/>
                <a:gd name="connsiteX3726" fmla="*/ 3826133 w 7267540"/>
                <a:gd name="connsiteY3726" fmla="*/ 2673227 h 3952232"/>
                <a:gd name="connsiteX3727" fmla="*/ 3824639 w 7267540"/>
                <a:gd name="connsiteY3727" fmla="*/ 2673227 h 3952232"/>
                <a:gd name="connsiteX3728" fmla="*/ 3817564 w 7267540"/>
                <a:gd name="connsiteY3728" fmla="*/ 2673824 h 3952232"/>
                <a:gd name="connsiteX3729" fmla="*/ 3824639 w 7267540"/>
                <a:gd name="connsiteY3729" fmla="*/ 2673227 h 3952232"/>
                <a:gd name="connsiteX3730" fmla="*/ 3835998 w 7267540"/>
                <a:gd name="connsiteY3730" fmla="*/ 2671934 h 3952232"/>
                <a:gd name="connsiteX3731" fmla="*/ 3826333 w 7267540"/>
                <a:gd name="connsiteY3731" fmla="*/ 2672829 h 3952232"/>
                <a:gd name="connsiteX3732" fmla="*/ 3838091 w 7267540"/>
                <a:gd name="connsiteY3732" fmla="*/ 2672232 h 3952232"/>
                <a:gd name="connsiteX3733" fmla="*/ 3836098 w 7267540"/>
                <a:gd name="connsiteY3733" fmla="*/ 2671735 h 3952232"/>
                <a:gd name="connsiteX3734" fmla="*/ 3838888 w 7267540"/>
                <a:gd name="connsiteY3734" fmla="*/ 2671039 h 3952232"/>
                <a:gd name="connsiteX3735" fmla="*/ 3838290 w 7267540"/>
                <a:gd name="connsiteY3735" fmla="*/ 2672332 h 3952232"/>
                <a:gd name="connsiteX3736" fmla="*/ 3838888 w 7267540"/>
                <a:gd name="connsiteY3736" fmla="*/ 2670939 h 3952232"/>
                <a:gd name="connsiteX3737" fmla="*/ 3840482 w 7267540"/>
                <a:gd name="connsiteY3737" fmla="*/ 2669347 h 3952232"/>
                <a:gd name="connsiteX3738" fmla="*/ 3839087 w 7267540"/>
                <a:gd name="connsiteY3738" fmla="*/ 2670541 h 3952232"/>
                <a:gd name="connsiteX3739" fmla="*/ 3840582 w 7267540"/>
                <a:gd name="connsiteY3739" fmla="*/ 2669248 h 3952232"/>
                <a:gd name="connsiteX3740" fmla="*/ 3841080 w 7267540"/>
                <a:gd name="connsiteY3740" fmla="*/ 2668253 h 3952232"/>
                <a:gd name="connsiteX3741" fmla="*/ 3842376 w 7267540"/>
                <a:gd name="connsiteY3741" fmla="*/ 2669148 h 3952232"/>
                <a:gd name="connsiteX3742" fmla="*/ 3846062 w 7267540"/>
                <a:gd name="connsiteY3742" fmla="*/ 2671238 h 3952232"/>
                <a:gd name="connsiteX3743" fmla="*/ 3845166 w 7267540"/>
                <a:gd name="connsiteY3743" fmla="*/ 2670541 h 3952232"/>
                <a:gd name="connsiteX3744" fmla="*/ 3851045 w 7267540"/>
                <a:gd name="connsiteY3744" fmla="*/ 2671835 h 3952232"/>
                <a:gd name="connsiteX3745" fmla="*/ 3862902 w 7267540"/>
                <a:gd name="connsiteY3745" fmla="*/ 2912892 h 3952232"/>
                <a:gd name="connsiteX3746" fmla="*/ 3859016 w 7267540"/>
                <a:gd name="connsiteY3746" fmla="*/ 2908018 h 3952232"/>
                <a:gd name="connsiteX3747" fmla="*/ 3859016 w 7267540"/>
                <a:gd name="connsiteY3747" fmla="*/ 2901153 h 3952232"/>
                <a:gd name="connsiteX3748" fmla="*/ 3859016 w 7267540"/>
                <a:gd name="connsiteY3748" fmla="*/ 2886031 h 3952232"/>
                <a:gd name="connsiteX3749" fmla="*/ 3859016 w 7267540"/>
                <a:gd name="connsiteY3749" fmla="*/ 2901153 h 3952232"/>
                <a:gd name="connsiteX3750" fmla="*/ 3862902 w 7267540"/>
                <a:gd name="connsiteY3750" fmla="*/ 2912793 h 3952232"/>
                <a:gd name="connsiteX3751" fmla="*/ 3875956 w 7267540"/>
                <a:gd name="connsiteY3751" fmla="*/ 2921846 h 3952232"/>
                <a:gd name="connsiteX3752" fmla="*/ 3863101 w 7267540"/>
                <a:gd name="connsiteY3752" fmla="*/ 2912495 h 3952232"/>
                <a:gd name="connsiteX3753" fmla="*/ 3922689 w 7267540"/>
                <a:gd name="connsiteY3753" fmla="*/ 3031382 h 3952232"/>
                <a:gd name="connsiteX3754" fmla="*/ 3922689 w 7267540"/>
                <a:gd name="connsiteY3754" fmla="*/ 3031382 h 3952232"/>
                <a:gd name="connsiteX3755" fmla="*/ 3921792 w 7267540"/>
                <a:gd name="connsiteY3755" fmla="*/ 3055557 h 3952232"/>
                <a:gd name="connsiteX3756" fmla="*/ 3921792 w 7267540"/>
                <a:gd name="connsiteY3756" fmla="*/ 3059636 h 3952232"/>
                <a:gd name="connsiteX3757" fmla="*/ 3920895 w 7267540"/>
                <a:gd name="connsiteY3757" fmla="*/ 3058343 h 3952232"/>
                <a:gd name="connsiteX3758" fmla="*/ 3922091 w 7267540"/>
                <a:gd name="connsiteY3758" fmla="*/ 3055160 h 3952232"/>
                <a:gd name="connsiteX3759" fmla="*/ 3901165 w 7267540"/>
                <a:gd name="connsiteY3759" fmla="*/ 3167779 h 3952232"/>
                <a:gd name="connsiteX3760" fmla="*/ 3901165 w 7267540"/>
                <a:gd name="connsiteY3760" fmla="*/ 3164695 h 3952232"/>
                <a:gd name="connsiteX3761" fmla="*/ 3901165 w 7267540"/>
                <a:gd name="connsiteY3761" fmla="*/ 3164695 h 3952232"/>
                <a:gd name="connsiteX3762" fmla="*/ 3899372 w 7267540"/>
                <a:gd name="connsiteY3762" fmla="*/ 3157930 h 3952232"/>
                <a:gd name="connsiteX3763" fmla="*/ 3895087 w 7267540"/>
                <a:gd name="connsiteY3763" fmla="*/ 3151762 h 3952232"/>
                <a:gd name="connsiteX3764" fmla="*/ 3899372 w 7267540"/>
                <a:gd name="connsiteY3764" fmla="*/ 3157930 h 3952232"/>
                <a:gd name="connsiteX3765" fmla="*/ 3901165 w 7267540"/>
                <a:gd name="connsiteY3765" fmla="*/ 3164695 h 3952232"/>
                <a:gd name="connsiteX3766" fmla="*/ 3901464 w 7267540"/>
                <a:gd name="connsiteY3766" fmla="*/ 3167381 h 3952232"/>
                <a:gd name="connsiteX3767" fmla="*/ 3898774 w 7267540"/>
                <a:gd name="connsiteY3767" fmla="*/ 3119926 h 3952232"/>
                <a:gd name="connsiteX3768" fmla="*/ 3901066 w 7267540"/>
                <a:gd name="connsiteY3768" fmla="*/ 3129377 h 3952232"/>
                <a:gd name="connsiteX3769" fmla="*/ 3899073 w 7267540"/>
                <a:gd name="connsiteY3769" fmla="*/ 3120025 h 3952232"/>
                <a:gd name="connsiteX3770" fmla="*/ 3888311 w 7267540"/>
                <a:gd name="connsiteY3770" fmla="*/ 2972784 h 3952232"/>
                <a:gd name="connsiteX3771" fmla="*/ 3896981 w 7267540"/>
                <a:gd name="connsiteY3771" fmla="*/ 2978654 h 3952232"/>
                <a:gd name="connsiteX3772" fmla="*/ 3888311 w 7267540"/>
                <a:gd name="connsiteY3772" fmla="*/ 2972784 h 3952232"/>
                <a:gd name="connsiteX3773" fmla="*/ 3888311 w 7267540"/>
                <a:gd name="connsiteY3773" fmla="*/ 2972784 h 3952232"/>
                <a:gd name="connsiteX3774" fmla="*/ 3887415 w 7267540"/>
                <a:gd name="connsiteY3774" fmla="*/ 2963532 h 3952232"/>
                <a:gd name="connsiteX3775" fmla="*/ 3888212 w 7267540"/>
                <a:gd name="connsiteY3775" fmla="*/ 2972486 h 3952232"/>
                <a:gd name="connsiteX3776" fmla="*/ 3888311 w 7267540"/>
                <a:gd name="connsiteY3776" fmla="*/ 2953981 h 3952232"/>
                <a:gd name="connsiteX3777" fmla="*/ 3886020 w 7267540"/>
                <a:gd name="connsiteY3777" fmla="*/ 2944032 h 3952232"/>
                <a:gd name="connsiteX3778" fmla="*/ 3888710 w 7267540"/>
                <a:gd name="connsiteY3778" fmla="*/ 2950897 h 3952232"/>
                <a:gd name="connsiteX3779" fmla="*/ 3888710 w 7267540"/>
                <a:gd name="connsiteY3779" fmla="*/ 2953682 h 3952232"/>
                <a:gd name="connsiteX3780" fmla="*/ 3881137 w 7267540"/>
                <a:gd name="connsiteY3780" fmla="*/ 2932691 h 3952232"/>
                <a:gd name="connsiteX3781" fmla="*/ 3882731 w 7267540"/>
                <a:gd name="connsiteY3781" fmla="*/ 2935775 h 3952232"/>
                <a:gd name="connsiteX3782" fmla="*/ 3886020 w 7267540"/>
                <a:gd name="connsiteY3782" fmla="*/ 2943634 h 3952232"/>
                <a:gd name="connsiteX3783" fmla="*/ 3881536 w 7267540"/>
                <a:gd name="connsiteY3783" fmla="*/ 2932392 h 3952232"/>
                <a:gd name="connsiteX3784" fmla="*/ 3875557 w 7267540"/>
                <a:gd name="connsiteY3784" fmla="*/ 3232048 h 3952232"/>
                <a:gd name="connsiteX3785" fmla="*/ 3881436 w 7267540"/>
                <a:gd name="connsiteY3785" fmla="*/ 3238913 h 3952232"/>
                <a:gd name="connsiteX3786" fmla="*/ 3875956 w 7267540"/>
                <a:gd name="connsiteY3786" fmla="*/ 3231750 h 3952232"/>
                <a:gd name="connsiteX3787" fmla="*/ 3885521 w 7267540"/>
                <a:gd name="connsiteY3787" fmla="*/ 3215334 h 3952232"/>
                <a:gd name="connsiteX3788" fmla="*/ 3876653 w 7267540"/>
                <a:gd name="connsiteY3788" fmla="*/ 3224388 h 3952232"/>
                <a:gd name="connsiteX3789" fmla="*/ 3874262 w 7267540"/>
                <a:gd name="connsiteY3789" fmla="*/ 3228268 h 3952232"/>
                <a:gd name="connsiteX3790" fmla="*/ 3876653 w 7267540"/>
                <a:gd name="connsiteY3790" fmla="*/ 3224388 h 3952232"/>
                <a:gd name="connsiteX3791" fmla="*/ 3882532 w 7267540"/>
                <a:gd name="connsiteY3791" fmla="*/ 3218319 h 3952232"/>
                <a:gd name="connsiteX3792" fmla="*/ 3888012 w 7267540"/>
                <a:gd name="connsiteY3792" fmla="*/ 3209365 h 3952232"/>
                <a:gd name="connsiteX3793" fmla="*/ 3886119 w 7267540"/>
                <a:gd name="connsiteY3793" fmla="*/ 3215036 h 3952232"/>
                <a:gd name="connsiteX3794" fmla="*/ 3891600 w 7267540"/>
                <a:gd name="connsiteY3794" fmla="*/ 3202799 h 3952232"/>
                <a:gd name="connsiteX3795" fmla="*/ 3896682 w 7267540"/>
                <a:gd name="connsiteY3795" fmla="*/ 3196332 h 3952232"/>
                <a:gd name="connsiteX3796" fmla="*/ 3892198 w 7267540"/>
                <a:gd name="connsiteY3796" fmla="*/ 3202501 h 3952232"/>
                <a:gd name="connsiteX3797" fmla="*/ 3901564 w 7267540"/>
                <a:gd name="connsiteY3797" fmla="*/ 3187179 h 3952232"/>
                <a:gd name="connsiteX3798" fmla="*/ 3901564 w 7267540"/>
                <a:gd name="connsiteY3798" fmla="*/ 3192552 h 3952232"/>
                <a:gd name="connsiteX3799" fmla="*/ 3897379 w 7267540"/>
                <a:gd name="connsiteY3799" fmla="*/ 3195735 h 3952232"/>
                <a:gd name="connsiteX3800" fmla="*/ 3901564 w 7267540"/>
                <a:gd name="connsiteY3800" fmla="*/ 3187179 h 3952232"/>
                <a:gd name="connsiteX3801" fmla="*/ 3901564 w 7267540"/>
                <a:gd name="connsiteY3801" fmla="*/ 3174545 h 3952232"/>
                <a:gd name="connsiteX3802" fmla="*/ 3901066 w 7267540"/>
                <a:gd name="connsiteY3802" fmla="*/ 3168476 h 3952232"/>
                <a:gd name="connsiteX3803" fmla="*/ 3902062 w 7267540"/>
                <a:gd name="connsiteY3803" fmla="*/ 3186881 h 3952232"/>
                <a:gd name="connsiteX3804" fmla="*/ 3903756 w 7267540"/>
                <a:gd name="connsiteY3804" fmla="*/ 3110773 h 3952232"/>
                <a:gd name="connsiteX3805" fmla="*/ 3900368 w 7267540"/>
                <a:gd name="connsiteY3805" fmla="*/ 3117439 h 3952232"/>
                <a:gd name="connsiteX3806" fmla="*/ 3903756 w 7267540"/>
                <a:gd name="connsiteY3806" fmla="*/ 3110773 h 3952232"/>
                <a:gd name="connsiteX3807" fmla="*/ 3903756 w 7267540"/>
                <a:gd name="connsiteY3807" fmla="*/ 3108883 h 3952232"/>
                <a:gd name="connsiteX3808" fmla="*/ 3906048 w 7267540"/>
                <a:gd name="connsiteY3808" fmla="*/ 3106794 h 3952232"/>
                <a:gd name="connsiteX3809" fmla="*/ 3904254 w 7267540"/>
                <a:gd name="connsiteY3809" fmla="*/ 3110077 h 3952232"/>
                <a:gd name="connsiteX3810" fmla="*/ 3910532 w 7267540"/>
                <a:gd name="connsiteY3810" fmla="*/ 3100824 h 3952232"/>
                <a:gd name="connsiteX3811" fmla="*/ 3908639 w 7267540"/>
                <a:gd name="connsiteY3811" fmla="*/ 3102615 h 3952232"/>
                <a:gd name="connsiteX3812" fmla="*/ 3912624 w 7267540"/>
                <a:gd name="connsiteY3812" fmla="*/ 3093661 h 3952232"/>
                <a:gd name="connsiteX3813" fmla="*/ 3911030 w 7267540"/>
                <a:gd name="connsiteY3813" fmla="*/ 3100625 h 3952232"/>
                <a:gd name="connsiteX3814" fmla="*/ 3922489 w 7267540"/>
                <a:gd name="connsiteY3814" fmla="*/ 3066899 h 3952232"/>
                <a:gd name="connsiteX3815" fmla="*/ 3920496 w 7267540"/>
                <a:gd name="connsiteY3815" fmla="*/ 3071973 h 3952232"/>
                <a:gd name="connsiteX3816" fmla="*/ 3922489 w 7267540"/>
                <a:gd name="connsiteY3816" fmla="*/ 3066899 h 3952232"/>
                <a:gd name="connsiteX3817" fmla="*/ 3922489 w 7267540"/>
                <a:gd name="connsiteY3817" fmla="*/ 3063715 h 3952232"/>
                <a:gd name="connsiteX3818" fmla="*/ 3921393 w 7267540"/>
                <a:gd name="connsiteY3818" fmla="*/ 3059537 h 3952232"/>
                <a:gd name="connsiteX3819" fmla="*/ 3922489 w 7267540"/>
                <a:gd name="connsiteY3819" fmla="*/ 3063715 h 3952232"/>
                <a:gd name="connsiteX3820" fmla="*/ 3923486 w 7267540"/>
                <a:gd name="connsiteY3820" fmla="*/ 3065009 h 3952232"/>
                <a:gd name="connsiteX3821" fmla="*/ 3922988 w 7267540"/>
                <a:gd name="connsiteY3821" fmla="*/ 3066700 h 3952232"/>
                <a:gd name="connsiteX3822" fmla="*/ 3922489 w 7267540"/>
                <a:gd name="connsiteY3822" fmla="*/ 3049091 h 3952232"/>
                <a:gd name="connsiteX3823" fmla="*/ 3922489 w 7267540"/>
                <a:gd name="connsiteY3823" fmla="*/ 3041430 h 3952232"/>
                <a:gd name="connsiteX3824" fmla="*/ 3922988 w 7267540"/>
                <a:gd name="connsiteY3824" fmla="*/ 3046106 h 3952232"/>
                <a:gd name="connsiteX3825" fmla="*/ 3858319 w 7267540"/>
                <a:gd name="connsiteY3825" fmla="*/ 2754707 h 3952232"/>
                <a:gd name="connsiteX3826" fmla="*/ 3965735 w 7267540"/>
                <a:gd name="connsiteY3826" fmla="*/ 2754707 h 3952232"/>
                <a:gd name="connsiteX3827" fmla="*/ 3859215 w 7267540"/>
                <a:gd name="connsiteY3827" fmla="*/ 2754509 h 3952232"/>
                <a:gd name="connsiteX3828" fmla="*/ 4161834 w 7267540"/>
                <a:gd name="connsiteY3828" fmla="*/ 3016459 h 3952232"/>
                <a:gd name="connsiteX3829" fmla="*/ 4163230 w 7267540"/>
                <a:gd name="connsiteY3829" fmla="*/ 3014270 h 3952232"/>
                <a:gd name="connsiteX3830" fmla="*/ 4167016 w 7267540"/>
                <a:gd name="connsiteY3830" fmla="*/ 3014967 h 3952232"/>
                <a:gd name="connsiteX3831" fmla="*/ 4173792 w 7267540"/>
                <a:gd name="connsiteY3831" fmla="*/ 3013375 h 3952232"/>
                <a:gd name="connsiteX3832" fmla="*/ 4167016 w 7267540"/>
                <a:gd name="connsiteY3832" fmla="*/ 3014967 h 3952232"/>
                <a:gd name="connsiteX3833" fmla="*/ 4161834 w 7267540"/>
                <a:gd name="connsiteY3833" fmla="*/ 3016459 h 3952232"/>
                <a:gd name="connsiteX3834" fmla="*/ 4161834 w 7267540"/>
                <a:gd name="connsiteY3834" fmla="*/ 3020538 h 3952232"/>
                <a:gd name="connsiteX3835" fmla="*/ 4162731 w 7267540"/>
                <a:gd name="connsiteY3835" fmla="*/ 3016260 h 3952232"/>
                <a:gd name="connsiteX3836" fmla="*/ 4167713 w 7267540"/>
                <a:gd name="connsiteY3836" fmla="*/ 3048394 h 3952232"/>
                <a:gd name="connsiteX3837" fmla="*/ 4161237 w 7267540"/>
                <a:gd name="connsiteY3837" fmla="*/ 3054065 h 3952232"/>
                <a:gd name="connsiteX3838" fmla="*/ 4168610 w 7267540"/>
                <a:gd name="connsiteY3838" fmla="*/ 3048195 h 3952232"/>
                <a:gd name="connsiteX3839" fmla="*/ 4388525 w 7267540"/>
                <a:gd name="connsiteY3839" fmla="*/ 3093661 h 3952232"/>
                <a:gd name="connsiteX3840" fmla="*/ 4393009 w 7267540"/>
                <a:gd name="connsiteY3840" fmla="*/ 3083215 h 3952232"/>
                <a:gd name="connsiteX3841" fmla="*/ 4389920 w 7267540"/>
                <a:gd name="connsiteY3841" fmla="*/ 3103112 h 3952232"/>
                <a:gd name="connsiteX3842" fmla="*/ 4388525 w 7267540"/>
                <a:gd name="connsiteY3842" fmla="*/ 3093661 h 3952232"/>
                <a:gd name="connsiteX3843" fmla="*/ 4396696 w 7267540"/>
                <a:gd name="connsiteY3843" fmla="*/ 3121319 h 3952232"/>
                <a:gd name="connsiteX3844" fmla="*/ 4403073 w 7267540"/>
                <a:gd name="connsiteY3844" fmla="*/ 3128283 h 3952232"/>
                <a:gd name="connsiteX3845" fmla="*/ 4396496 w 7267540"/>
                <a:gd name="connsiteY3845" fmla="*/ 3121319 h 3952232"/>
                <a:gd name="connsiteX3846" fmla="*/ 4403173 w 7267540"/>
                <a:gd name="connsiteY3846" fmla="*/ 3128382 h 3952232"/>
                <a:gd name="connsiteX3847" fmla="*/ 4404468 w 7267540"/>
                <a:gd name="connsiteY3847" fmla="*/ 3129477 h 3952232"/>
                <a:gd name="connsiteX3848" fmla="*/ 4406062 w 7267540"/>
                <a:gd name="connsiteY3848" fmla="*/ 3133854 h 3952232"/>
                <a:gd name="connsiteX3849" fmla="*/ 4402973 w 7267540"/>
                <a:gd name="connsiteY3849" fmla="*/ 3128382 h 3952232"/>
                <a:gd name="connsiteX3850" fmla="*/ 4330134 w 7267540"/>
                <a:gd name="connsiteY3850" fmla="*/ 2454952 h 3952232"/>
                <a:gd name="connsiteX3851" fmla="*/ 4333023 w 7267540"/>
                <a:gd name="connsiteY3851" fmla="*/ 2458832 h 3952232"/>
                <a:gd name="connsiteX3852" fmla="*/ 4336610 w 7267540"/>
                <a:gd name="connsiteY3852" fmla="*/ 2464503 h 3952232"/>
                <a:gd name="connsiteX3853" fmla="*/ 4333023 w 7267540"/>
                <a:gd name="connsiteY3853" fmla="*/ 2458832 h 3952232"/>
                <a:gd name="connsiteX3854" fmla="*/ 4328738 w 7267540"/>
                <a:gd name="connsiteY3854" fmla="*/ 2454952 h 3952232"/>
                <a:gd name="connsiteX3855" fmla="*/ 4328738 w 7267540"/>
                <a:gd name="connsiteY3855" fmla="*/ 2452664 h 3952232"/>
                <a:gd name="connsiteX3856" fmla="*/ 4329635 w 7267540"/>
                <a:gd name="connsiteY3856" fmla="*/ 2454952 h 3952232"/>
                <a:gd name="connsiteX3857" fmla="*/ 4525236 w 7267540"/>
                <a:gd name="connsiteY3857" fmla="*/ 2454952 h 3952232"/>
                <a:gd name="connsiteX3858" fmla="*/ 4329934 w 7267540"/>
                <a:gd name="connsiteY3858" fmla="*/ 2454952 h 3952232"/>
                <a:gd name="connsiteX3859" fmla="*/ 4589806 w 7267540"/>
                <a:gd name="connsiteY3859" fmla="*/ 2454952 h 3952232"/>
                <a:gd name="connsiteX3860" fmla="*/ 4559913 w 7267540"/>
                <a:gd name="connsiteY3860" fmla="*/ 2454952 h 3952232"/>
                <a:gd name="connsiteX3861" fmla="*/ 4585521 w 7267540"/>
                <a:gd name="connsiteY3861" fmla="*/ 2670243 h 3952232"/>
                <a:gd name="connsiteX3862" fmla="*/ 4587813 w 7267540"/>
                <a:gd name="connsiteY3862" fmla="*/ 2645072 h 3952232"/>
                <a:gd name="connsiteX3863" fmla="*/ 4590702 w 7267540"/>
                <a:gd name="connsiteY3863" fmla="*/ 2622190 h 3952232"/>
                <a:gd name="connsiteX3864" fmla="*/ 4585322 w 7267540"/>
                <a:gd name="connsiteY3864" fmla="*/ 2670243 h 3952232"/>
                <a:gd name="connsiteX3865" fmla="*/ 4601962 w 7267540"/>
                <a:gd name="connsiteY3865" fmla="*/ 2517331 h 3952232"/>
                <a:gd name="connsiteX3866" fmla="*/ 4602859 w 7267540"/>
                <a:gd name="connsiteY3866" fmla="*/ 2510267 h 3952232"/>
                <a:gd name="connsiteX3867" fmla="*/ 4601763 w 7267540"/>
                <a:gd name="connsiteY3867" fmla="*/ 2517331 h 3952232"/>
                <a:gd name="connsiteX3868" fmla="*/ 4604653 w 7267540"/>
                <a:gd name="connsiteY3868" fmla="*/ 2491563 h 3952232"/>
                <a:gd name="connsiteX3869" fmla="*/ 4606746 w 7267540"/>
                <a:gd name="connsiteY3869" fmla="*/ 2470969 h 3952232"/>
                <a:gd name="connsiteX3870" fmla="*/ 4600966 w 7267540"/>
                <a:gd name="connsiteY3870" fmla="*/ 2466294 h 3952232"/>
                <a:gd name="connsiteX3871" fmla="*/ 4606746 w 7267540"/>
                <a:gd name="connsiteY3871" fmla="*/ 2470969 h 3952232"/>
                <a:gd name="connsiteX3872" fmla="*/ 4604453 w 7267540"/>
                <a:gd name="connsiteY3872" fmla="*/ 2491563 h 3952232"/>
                <a:gd name="connsiteX3873" fmla="*/ 4665535 w 7267540"/>
                <a:gd name="connsiteY3873" fmla="*/ 3072868 h 3952232"/>
                <a:gd name="connsiteX3874" fmla="*/ 4667329 w 7267540"/>
                <a:gd name="connsiteY3874" fmla="*/ 3068789 h 3952232"/>
                <a:gd name="connsiteX3875" fmla="*/ 4669521 w 7267540"/>
                <a:gd name="connsiteY3875" fmla="*/ 3062422 h 3952232"/>
                <a:gd name="connsiteX3876" fmla="*/ 4670219 w 7267540"/>
                <a:gd name="connsiteY3876" fmla="*/ 3058542 h 3952232"/>
                <a:gd name="connsiteX3877" fmla="*/ 4669521 w 7267540"/>
                <a:gd name="connsiteY3877" fmla="*/ 3053866 h 3952232"/>
                <a:gd name="connsiteX3878" fmla="*/ 4670219 w 7267540"/>
                <a:gd name="connsiteY3878" fmla="*/ 3058542 h 3952232"/>
                <a:gd name="connsiteX3879" fmla="*/ 4670219 w 7267540"/>
                <a:gd name="connsiteY3879" fmla="*/ 3060830 h 3952232"/>
                <a:gd name="connsiteX3880" fmla="*/ 4669222 w 7267540"/>
                <a:gd name="connsiteY3880" fmla="*/ 3062422 h 3952232"/>
                <a:gd name="connsiteX3881" fmla="*/ 4667030 w 7267540"/>
                <a:gd name="connsiteY3881" fmla="*/ 3068789 h 3952232"/>
                <a:gd name="connsiteX3882" fmla="*/ 4668624 w 7267540"/>
                <a:gd name="connsiteY3882" fmla="*/ 3077345 h 3952232"/>
                <a:gd name="connsiteX3883" fmla="*/ 4669023 w 7267540"/>
                <a:gd name="connsiteY3883" fmla="*/ 3077544 h 3952232"/>
                <a:gd name="connsiteX3884" fmla="*/ 4683073 w 7267540"/>
                <a:gd name="connsiteY3884" fmla="*/ 3093562 h 3952232"/>
                <a:gd name="connsiteX3885" fmla="*/ 4668824 w 7267540"/>
                <a:gd name="connsiteY3885" fmla="*/ 3077544 h 3952232"/>
                <a:gd name="connsiteX3886" fmla="*/ 4996354 w 7267540"/>
                <a:gd name="connsiteY3886" fmla="*/ 3054264 h 3952232"/>
                <a:gd name="connsiteX3887" fmla="*/ 4996354 w 7267540"/>
                <a:gd name="connsiteY3887" fmla="*/ 3054264 h 3952232"/>
                <a:gd name="connsiteX3888" fmla="*/ 4995258 w 7267540"/>
                <a:gd name="connsiteY3888" fmla="*/ 3046206 h 3952232"/>
                <a:gd name="connsiteX3889" fmla="*/ 4992368 w 7267540"/>
                <a:gd name="connsiteY3889" fmla="*/ 3039142 h 3952232"/>
                <a:gd name="connsiteX3890" fmla="*/ 4994460 w 7267540"/>
                <a:gd name="connsiteY3890" fmla="*/ 3043420 h 3952232"/>
                <a:gd name="connsiteX3891" fmla="*/ 4995258 w 7267540"/>
                <a:gd name="connsiteY3891" fmla="*/ 3046206 h 3952232"/>
                <a:gd name="connsiteX3892" fmla="*/ 4996453 w 7267540"/>
                <a:gd name="connsiteY3892" fmla="*/ 3054264 h 3952232"/>
                <a:gd name="connsiteX3893" fmla="*/ 4996453 w 7267540"/>
                <a:gd name="connsiteY3893" fmla="*/ 3054264 h 3952232"/>
                <a:gd name="connsiteX3894" fmla="*/ 4997948 w 7267540"/>
                <a:gd name="connsiteY3894" fmla="*/ 3060233 h 3952232"/>
                <a:gd name="connsiteX3895" fmla="*/ 4996354 w 7267540"/>
                <a:gd name="connsiteY3895" fmla="*/ 3054264 h 3952232"/>
                <a:gd name="connsiteX3896" fmla="*/ 4999343 w 7267540"/>
                <a:gd name="connsiteY3896" fmla="*/ 3062920 h 3952232"/>
                <a:gd name="connsiteX3897" fmla="*/ 4998446 w 7267540"/>
                <a:gd name="connsiteY3897" fmla="*/ 3061228 h 3952232"/>
                <a:gd name="connsiteX3898" fmla="*/ 4999642 w 7267540"/>
                <a:gd name="connsiteY3898" fmla="*/ 3063119 h 3952232"/>
                <a:gd name="connsiteX3899" fmla="*/ 5002731 w 7267540"/>
                <a:gd name="connsiteY3899" fmla="*/ 3067396 h 3952232"/>
                <a:gd name="connsiteX3900" fmla="*/ 5005322 w 7267540"/>
                <a:gd name="connsiteY3900" fmla="*/ 3070779 h 3952232"/>
                <a:gd name="connsiteX3901" fmla="*/ 5005322 w 7267540"/>
                <a:gd name="connsiteY3901" fmla="*/ 3074759 h 3952232"/>
                <a:gd name="connsiteX3902" fmla="*/ 5002532 w 7267540"/>
                <a:gd name="connsiteY3902" fmla="*/ 3067396 h 3952232"/>
                <a:gd name="connsiteX3903" fmla="*/ 5008211 w 7267540"/>
                <a:gd name="connsiteY3903" fmla="*/ 3087294 h 3952232"/>
                <a:gd name="connsiteX3904" fmla="*/ 5005222 w 7267540"/>
                <a:gd name="connsiteY3904" fmla="*/ 3075057 h 3952232"/>
                <a:gd name="connsiteX3905" fmla="*/ 5008211 w 7267540"/>
                <a:gd name="connsiteY3905" fmla="*/ 3087294 h 3952232"/>
                <a:gd name="connsiteX3906" fmla="*/ 5014290 w 7267540"/>
                <a:gd name="connsiteY3906" fmla="*/ 3095850 h 3952232"/>
                <a:gd name="connsiteX3907" fmla="*/ 5008012 w 7267540"/>
                <a:gd name="connsiteY3907" fmla="*/ 3087095 h 3952232"/>
                <a:gd name="connsiteX3908" fmla="*/ 5100482 w 7267540"/>
                <a:gd name="connsiteY3908" fmla="*/ 3100526 h 3952232"/>
                <a:gd name="connsiteX3909" fmla="*/ 5111941 w 7267540"/>
                <a:gd name="connsiteY3909" fmla="*/ 3100526 h 3952232"/>
                <a:gd name="connsiteX3910" fmla="*/ 5138944 w 7267540"/>
                <a:gd name="connsiteY3910" fmla="*/ 3102416 h 3952232"/>
                <a:gd name="connsiteX3911" fmla="*/ 5141137 w 7267540"/>
                <a:gd name="connsiteY3911" fmla="*/ 3102913 h 3952232"/>
                <a:gd name="connsiteX3912" fmla="*/ 5259115 w 7267540"/>
                <a:gd name="connsiteY3912" fmla="*/ 3110475 h 3952232"/>
                <a:gd name="connsiteX3913" fmla="*/ 5346503 w 7267540"/>
                <a:gd name="connsiteY3913" fmla="*/ 3118832 h 3952232"/>
                <a:gd name="connsiteX3914" fmla="*/ 5347799 w 7267540"/>
                <a:gd name="connsiteY3914" fmla="*/ 3128780 h 3952232"/>
                <a:gd name="connsiteX3915" fmla="*/ 5346304 w 7267540"/>
                <a:gd name="connsiteY3915" fmla="*/ 3118632 h 3952232"/>
                <a:gd name="connsiteX3916" fmla="*/ 5384966 w 7267540"/>
                <a:gd name="connsiteY3916" fmla="*/ 3080230 h 3952232"/>
                <a:gd name="connsiteX3917" fmla="*/ 5377891 w 7267540"/>
                <a:gd name="connsiteY3917" fmla="*/ 3081822 h 3952232"/>
                <a:gd name="connsiteX3918" fmla="*/ 5381179 w 7267540"/>
                <a:gd name="connsiteY3918" fmla="*/ 3078937 h 3952232"/>
                <a:gd name="connsiteX3919" fmla="*/ 5384966 w 7267540"/>
                <a:gd name="connsiteY3919" fmla="*/ 3080230 h 3952232"/>
                <a:gd name="connsiteX3920" fmla="*/ 5389948 w 7267540"/>
                <a:gd name="connsiteY3920" fmla="*/ 3082419 h 3952232"/>
                <a:gd name="connsiteX3921" fmla="*/ 5384966 w 7267540"/>
                <a:gd name="connsiteY3921" fmla="*/ 3080230 h 3952232"/>
                <a:gd name="connsiteX3922" fmla="*/ 5401606 w 7267540"/>
                <a:gd name="connsiteY3922" fmla="*/ 3086299 h 3952232"/>
                <a:gd name="connsiteX3923" fmla="*/ 5404097 w 7267540"/>
                <a:gd name="connsiteY3923" fmla="*/ 3086896 h 3952232"/>
                <a:gd name="connsiteX3924" fmla="*/ 5406987 w 7267540"/>
                <a:gd name="connsiteY3924" fmla="*/ 3088388 h 3952232"/>
                <a:gd name="connsiteX3925" fmla="*/ 5401208 w 7267540"/>
                <a:gd name="connsiteY3925" fmla="*/ 3086100 h 3952232"/>
                <a:gd name="connsiteX3926" fmla="*/ 5407485 w 7267540"/>
                <a:gd name="connsiteY3926" fmla="*/ 3088687 h 3952232"/>
                <a:gd name="connsiteX3927" fmla="*/ 5423827 w 7267540"/>
                <a:gd name="connsiteY3927" fmla="*/ 3093661 h 3952232"/>
                <a:gd name="connsiteX3928" fmla="*/ 5407086 w 7267540"/>
                <a:gd name="connsiteY3928" fmla="*/ 3088488 h 3952232"/>
                <a:gd name="connsiteX3929" fmla="*/ 5429008 w 7267540"/>
                <a:gd name="connsiteY3929" fmla="*/ 3094855 h 3952232"/>
                <a:gd name="connsiteX3930" fmla="*/ 5424225 w 7267540"/>
                <a:gd name="connsiteY3930" fmla="*/ 3093761 h 3952232"/>
                <a:gd name="connsiteX3931" fmla="*/ 5431201 w 7267540"/>
                <a:gd name="connsiteY3931" fmla="*/ 3094258 h 3952232"/>
                <a:gd name="connsiteX3932" fmla="*/ 5428610 w 7267540"/>
                <a:gd name="connsiteY3932" fmla="*/ 3094656 h 3952232"/>
                <a:gd name="connsiteX3933" fmla="*/ 5434090 w 7267540"/>
                <a:gd name="connsiteY3933" fmla="*/ 3094159 h 3952232"/>
                <a:gd name="connsiteX3934" fmla="*/ 5435983 w 7267540"/>
                <a:gd name="connsiteY3934" fmla="*/ 3094159 h 3952232"/>
                <a:gd name="connsiteX3935" fmla="*/ 5442161 w 7267540"/>
                <a:gd name="connsiteY3935" fmla="*/ 3095552 h 3952232"/>
                <a:gd name="connsiteX3936" fmla="*/ 5433692 w 7267540"/>
                <a:gd name="connsiteY3936" fmla="*/ 3093960 h 3952232"/>
                <a:gd name="connsiteX3937" fmla="*/ 5440766 w 7267540"/>
                <a:gd name="connsiteY3937" fmla="*/ 2771819 h 3952232"/>
                <a:gd name="connsiteX3938" fmla="*/ 5441563 w 7267540"/>
                <a:gd name="connsiteY3938" fmla="*/ 2772615 h 3952232"/>
                <a:gd name="connsiteX3939" fmla="*/ 5446944 w 7267540"/>
                <a:gd name="connsiteY3939" fmla="*/ 2787538 h 3952232"/>
                <a:gd name="connsiteX3940" fmla="*/ 5440766 w 7267540"/>
                <a:gd name="connsiteY3940" fmla="*/ 2771819 h 3952232"/>
                <a:gd name="connsiteX3941" fmla="*/ 5449535 w 7267540"/>
                <a:gd name="connsiteY3941" fmla="*/ 2816390 h 3952232"/>
                <a:gd name="connsiteX3942" fmla="*/ 5449535 w 7267540"/>
                <a:gd name="connsiteY3942" fmla="*/ 2810122 h 3952232"/>
                <a:gd name="connsiteX3943" fmla="*/ 5453521 w 7267540"/>
                <a:gd name="connsiteY3943" fmla="*/ 2819275 h 3952232"/>
                <a:gd name="connsiteX3944" fmla="*/ 5475443 w 7267540"/>
                <a:gd name="connsiteY3944" fmla="*/ 2845241 h 3952232"/>
                <a:gd name="connsiteX3945" fmla="*/ 5475443 w 7267540"/>
                <a:gd name="connsiteY3945" fmla="*/ 2843948 h 3952232"/>
                <a:gd name="connsiteX3946" fmla="*/ 5474845 w 7267540"/>
                <a:gd name="connsiteY3946" fmla="*/ 2839172 h 3952232"/>
                <a:gd name="connsiteX3947" fmla="*/ 5469763 w 7267540"/>
                <a:gd name="connsiteY3947" fmla="*/ 2830815 h 3952232"/>
                <a:gd name="connsiteX3948" fmla="*/ 5461592 w 7267540"/>
                <a:gd name="connsiteY3948" fmla="*/ 2824647 h 3952232"/>
                <a:gd name="connsiteX3949" fmla="*/ 5453321 w 7267540"/>
                <a:gd name="connsiteY3949" fmla="*/ 2819474 h 3952232"/>
                <a:gd name="connsiteX3950" fmla="*/ 5461592 w 7267540"/>
                <a:gd name="connsiteY3950" fmla="*/ 2824647 h 3952232"/>
                <a:gd name="connsiteX3951" fmla="*/ 5465079 w 7267540"/>
                <a:gd name="connsiteY3951" fmla="*/ 2825344 h 3952232"/>
                <a:gd name="connsiteX3952" fmla="*/ 5469763 w 7267540"/>
                <a:gd name="connsiteY3952" fmla="*/ 2830815 h 3952232"/>
                <a:gd name="connsiteX3953" fmla="*/ 5475044 w 7267540"/>
                <a:gd name="connsiteY3953" fmla="*/ 2837282 h 3952232"/>
                <a:gd name="connsiteX3954" fmla="*/ 5475044 w 7267540"/>
                <a:gd name="connsiteY3954" fmla="*/ 2839172 h 3952232"/>
                <a:gd name="connsiteX3955" fmla="*/ 5475642 w 7267540"/>
                <a:gd name="connsiteY3955" fmla="*/ 2843948 h 3952232"/>
                <a:gd name="connsiteX3956" fmla="*/ 5478930 w 7267540"/>
                <a:gd name="connsiteY3956" fmla="*/ 2851210 h 3952232"/>
                <a:gd name="connsiteX3957" fmla="*/ 5475443 w 7267540"/>
                <a:gd name="connsiteY3957" fmla="*/ 2844943 h 3952232"/>
                <a:gd name="connsiteX3958" fmla="*/ 5484709 w 7267540"/>
                <a:gd name="connsiteY3958" fmla="*/ 2883245 h 3952232"/>
                <a:gd name="connsiteX3959" fmla="*/ 5481720 w 7267540"/>
                <a:gd name="connsiteY3959" fmla="*/ 2873297 h 3952232"/>
                <a:gd name="connsiteX3960" fmla="*/ 5480425 w 7267540"/>
                <a:gd name="connsiteY3960" fmla="*/ 2870809 h 3952232"/>
                <a:gd name="connsiteX3961" fmla="*/ 5481521 w 7267540"/>
                <a:gd name="connsiteY3961" fmla="*/ 2869317 h 3952232"/>
                <a:gd name="connsiteX3962" fmla="*/ 5483414 w 7267540"/>
                <a:gd name="connsiteY3962" fmla="*/ 2864840 h 3952232"/>
                <a:gd name="connsiteX3963" fmla="*/ 5479428 w 7267540"/>
                <a:gd name="connsiteY3963" fmla="*/ 2851509 h 3952232"/>
                <a:gd name="connsiteX3964" fmla="*/ 5483414 w 7267540"/>
                <a:gd name="connsiteY3964" fmla="*/ 2864840 h 3952232"/>
                <a:gd name="connsiteX3965" fmla="*/ 5481521 w 7267540"/>
                <a:gd name="connsiteY3965" fmla="*/ 2869317 h 3952232"/>
                <a:gd name="connsiteX3966" fmla="*/ 5481521 w 7267540"/>
                <a:gd name="connsiteY3966" fmla="*/ 2873297 h 3952232"/>
                <a:gd name="connsiteX3967" fmla="*/ 5484510 w 7267540"/>
                <a:gd name="connsiteY3967" fmla="*/ 2883245 h 3952232"/>
                <a:gd name="connsiteX3968" fmla="*/ 5485208 w 7267540"/>
                <a:gd name="connsiteY3968" fmla="*/ 2890010 h 3952232"/>
                <a:gd name="connsiteX3969" fmla="*/ 5484610 w 7267540"/>
                <a:gd name="connsiteY3969" fmla="*/ 2882947 h 3952232"/>
                <a:gd name="connsiteX3970" fmla="*/ 5489891 w 7267540"/>
                <a:gd name="connsiteY3970" fmla="*/ 2891901 h 3952232"/>
                <a:gd name="connsiteX3971" fmla="*/ 5497165 w 7267540"/>
                <a:gd name="connsiteY3971" fmla="*/ 2893194 h 3952232"/>
                <a:gd name="connsiteX3972" fmla="*/ 5489891 w 7267540"/>
                <a:gd name="connsiteY3972" fmla="*/ 2891204 h 3952232"/>
                <a:gd name="connsiteX3973" fmla="*/ 5683898 w 7267540"/>
                <a:gd name="connsiteY3973" fmla="*/ 2501512 h 3952232"/>
                <a:gd name="connsiteX3974" fmla="*/ 5719670 w 7267540"/>
                <a:gd name="connsiteY3974" fmla="*/ 2537924 h 3952232"/>
                <a:gd name="connsiteX3975" fmla="*/ 5683898 w 7267540"/>
                <a:gd name="connsiteY3975" fmla="*/ 2501512 h 3952232"/>
                <a:gd name="connsiteX3976" fmla="*/ 5795100 w 7267540"/>
                <a:gd name="connsiteY3976" fmla="*/ 2615226 h 3952232"/>
                <a:gd name="connsiteX3977" fmla="*/ 5779656 w 7267540"/>
                <a:gd name="connsiteY3977" fmla="*/ 2599209 h 3952232"/>
                <a:gd name="connsiteX3978" fmla="*/ 5805762 w 7267540"/>
                <a:gd name="connsiteY3978" fmla="*/ 2625772 h 3952232"/>
                <a:gd name="connsiteX3979" fmla="*/ 5795300 w 7267540"/>
                <a:gd name="connsiteY3979" fmla="*/ 2615226 h 3952232"/>
                <a:gd name="connsiteX3980" fmla="*/ 6067228 w 7267540"/>
                <a:gd name="connsiteY3980" fmla="*/ 2214690 h 3952232"/>
                <a:gd name="connsiteX3981" fmla="*/ 5903912 w 7267540"/>
                <a:gd name="connsiteY3981" fmla="*/ 2215784 h 3952232"/>
                <a:gd name="connsiteX3982" fmla="*/ 5753748 w 7267540"/>
                <a:gd name="connsiteY3982" fmla="*/ 2216381 h 3952232"/>
                <a:gd name="connsiteX3983" fmla="*/ 5871030 w 7267540"/>
                <a:gd name="connsiteY3983" fmla="*/ 2215486 h 3952232"/>
                <a:gd name="connsiteX3984" fmla="*/ 5903912 w 7267540"/>
                <a:gd name="connsiteY3984" fmla="*/ 2215486 h 3952232"/>
                <a:gd name="connsiteX3985" fmla="*/ 6067228 w 7267540"/>
                <a:gd name="connsiteY3985" fmla="*/ 2214690 h 3952232"/>
                <a:gd name="connsiteX3986" fmla="*/ 5961905 w 7267540"/>
                <a:gd name="connsiteY3986" fmla="*/ 1816740 h 3952232"/>
                <a:gd name="connsiteX3987" fmla="*/ 5951941 w 7267540"/>
                <a:gd name="connsiteY3987" fmla="*/ 1814949 h 3952232"/>
                <a:gd name="connsiteX3988" fmla="*/ 5944866 w 7267540"/>
                <a:gd name="connsiteY3988" fmla="*/ 1813855 h 3952232"/>
                <a:gd name="connsiteX3989" fmla="*/ 5942375 w 7267540"/>
                <a:gd name="connsiteY3989" fmla="*/ 1810671 h 3952232"/>
                <a:gd name="connsiteX3990" fmla="*/ 5937691 w 7267540"/>
                <a:gd name="connsiteY3990" fmla="*/ 1804304 h 3952232"/>
                <a:gd name="connsiteX3991" fmla="*/ 5942375 w 7267540"/>
                <a:gd name="connsiteY3991" fmla="*/ 1810671 h 3952232"/>
                <a:gd name="connsiteX3992" fmla="*/ 5952339 w 7267540"/>
                <a:gd name="connsiteY3992" fmla="*/ 1814949 h 3952232"/>
                <a:gd name="connsiteX3993" fmla="*/ 5962303 w 7267540"/>
                <a:gd name="connsiteY3993" fmla="*/ 1816740 h 3952232"/>
                <a:gd name="connsiteX3994" fmla="*/ 5964097 w 7267540"/>
                <a:gd name="connsiteY3994" fmla="*/ 1816740 h 3952232"/>
                <a:gd name="connsiteX3995" fmla="*/ 5965492 w 7267540"/>
                <a:gd name="connsiteY3995" fmla="*/ 1817536 h 3952232"/>
                <a:gd name="connsiteX3996" fmla="*/ 5961905 w 7267540"/>
                <a:gd name="connsiteY3996" fmla="*/ 1816143 h 3952232"/>
                <a:gd name="connsiteX3997" fmla="*/ 5965492 w 7267540"/>
                <a:gd name="connsiteY3997" fmla="*/ 1817834 h 3952232"/>
                <a:gd name="connsiteX3998" fmla="*/ 5971570 w 7267540"/>
                <a:gd name="connsiteY3998" fmla="*/ 1823804 h 3952232"/>
                <a:gd name="connsiteX3999" fmla="*/ 5965492 w 7267540"/>
                <a:gd name="connsiteY3999" fmla="*/ 1817237 h 3952232"/>
                <a:gd name="connsiteX4000" fmla="*/ 5971670 w 7267540"/>
                <a:gd name="connsiteY4000" fmla="*/ 1824003 h 3952232"/>
                <a:gd name="connsiteX4001" fmla="*/ 5971670 w 7267540"/>
                <a:gd name="connsiteY4001" fmla="*/ 1827783 h 3952232"/>
                <a:gd name="connsiteX4002" fmla="*/ 5971670 w 7267540"/>
                <a:gd name="connsiteY4002" fmla="*/ 1823406 h 3952232"/>
                <a:gd name="connsiteX4003" fmla="*/ 5975955 w 7267540"/>
                <a:gd name="connsiteY4003" fmla="*/ 1829872 h 3952232"/>
                <a:gd name="connsiteX4004" fmla="*/ 5981535 w 7267540"/>
                <a:gd name="connsiteY4004" fmla="*/ 1831464 h 3952232"/>
                <a:gd name="connsiteX4005" fmla="*/ 5975955 w 7267540"/>
                <a:gd name="connsiteY4005" fmla="*/ 1829275 h 3952232"/>
                <a:gd name="connsiteX4006" fmla="*/ 5981933 w 7267540"/>
                <a:gd name="connsiteY4006" fmla="*/ 1831663 h 3952232"/>
                <a:gd name="connsiteX4007" fmla="*/ 5984624 w 7267540"/>
                <a:gd name="connsiteY4007" fmla="*/ 1831663 h 3952232"/>
                <a:gd name="connsiteX4008" fmla="*/ 5985421 w 7267540"/>
                <a:gd name="connsiteY4008" fmla="*/ 1833255 h 3952232"/>
                <a:gd name="connsiteX4009" fmla="*/ 5981933 w 7267540"/>
                <a:gd name="connsiteY4009" fmla="*/ 1831066 h 3952232"/>
                <a:gd name="connsiteX4010" fmla="*/ 6000168 w 7267540"/>
                <a:gd name="connsiteY4010" fmla="*/ 1857032 h 3952232"/>
                <a:gd name="connsiteX4011" fmla="*/ 5997677 w 7267540"/>
                <a:gd name="connsiteY4011" fmla="*/ 1860415 h 3952232"/>
                <a:gd name="connsiteX4012" fmla="*/ 5997677 w 7267540"/>
                <a:gd name="connsiteY4012" fmla="*/ 1862703 h 3952232"/>
                <a:gd name="connsiteX4013" fmla="*/ 5997677 w 7267540"/>
                <a:gd name="connsiteY4013" fmla="*/ 1860614 h 3952232"/>
                <a:gd name="connsiteX4014" fmla="*/ 5997677 w 7267540"/>
                <a:gd name="connsiteY4014" fmla="*/ 1860614 h 3952232"/>
                <a:gd name="connsiteX4015" fmla="*/ 5997677 w 7267540"/>
                <a:gd name="connsiteY4015" fmla="*/ 1859917 h 3952232"/>
                <a:gd name="connsiteX4016" fmla="*/ 5997677 w 7267540"/>
                <a:gd name="connsiteY4016" fmla="*/ 1859321 h 3952232"/>
                <a:gd name="connsiteX4017" fmla="*/ 5997677 w 7267540"/>
                <a:gd name="connsiteY4017" fmla="*/ 1851163 h 3952232"/>
                <a:gd name="connsiteX4018" fmla="*/ 5994488 w 7267540"/>
                <a:gd name="connsiteY4018" fmla="*/ 1843801 h 3952232"/>
                <a:gd name="connsiteX4019" fmla="*/ 5997777 w 7267540"/>
                <a:gd name="connsiteY4019" fmla="*/ 1846885 h 3952232"/>
                <a:gd name="connsiteX4020" fmla="*/ 5997777 w 7267540"/>
                <a:gd name="connsiteY4020" fmla="*/ 1851163 h 3952232"/>
                <a:gd name="connsiteX4021" fmla="*/ 5997777 w 7267540"/>
                <a:gd name="connsiteY4021" fmla="*/ 1859321 h 3952232"/>
                <a:gd name="connsiteX4022" fmla="*/ 5997777 w 7267540"/>
                <a:gd name="connsiteY4022" fmla="*/ 1859321 h 3952232"/>
                <a:gd name="connsiteX4023" fmla="*/ 6000268 w 7267540"/>
                <a:gd name="connsiteY4023" fmla="*/ 1856833 h 3952232"/>
                <a:gd name="connsiteX4024" fmla="*/ 6006147 w 7267540"/>
                <a:gd name="connsiteY4024" fmla="*/ 1850964 h 3952232"/>
                <a:gd name="connsiteX4025" fmla="*/ 6153421 w 7267540"/>
                <a:gd name="connsiteY4025" fmla="*/ 1708398 h 3952232"/>
                <a:gd name="connsiteX4026" fmla="*/ 6152225 w 7267540"/>
                <a:gd name="connsiteY4026" fmla="*/ 1708398 h 3952232"/>
                <a:gd name="connsiteX4027" fmla="*/ 6153620 w 7267540"/>
                <a:gd name="connsiteY4027" fmla="*/ 1708398 h 3952232"/>
                <a:gd name="connsiteX4028" fmla="*/ 6155214 w 7267540"/>
                <a:gd name="connsiteY4028" fmla="*/ 1708398 h 3952232"/>
                <a:gd name="connsiteX4029" fmla="*/ 6155214 w 7267540"/>
                <a:gd name="connsiteY4029" fmla="*/ 1713671 h 3952232"/>
                <a:gd name="connsiteX4030" fmla="*/ 6153421 w 7267540"/>
                <a:gd name="connsiteY4030" fmla="*/ 1707801 h 3952232"/>
                <a:gd name="connsiteX4031" fmla="*/ 6157905 w 7267540"/>
                <a:gd name="connsiteY4031" fmla="*/ 1764012 h 3952232"/>
                <a:gd name="connsiteX4032" fmla="*/ 6157108 w 7267540"/>
                <a:gd name="connsiteY4032" fmla="*/ 1748591 h 3952232"/>
                <a:gd name="connsiteX4033" fmla="*/ 6157905 w 7267540"/>
                <a:gd name="connsiteY4033" fmla="*/ 1763415 h 3952232"/>
                <a:gd name="connsiteX4034" fmla="*/ 6157905 w 7267540"/>
                <a:gd name="connsiteY4034" fmla="*/ 1764012 h 3952232"/>
                <a:gd name="connsiteX4035" fmla="*/ 6157905 w 7267540"/>
                <a:gd name="connsiteY4035" fmla="*/ 1764012 h 3952232"/>
                <a:gd name="connsiteX4036" fmla="*/ 6158503 w 7267540"/>
                <a:gd name="connsiteY4036" fmla="*/ 1776050 h 3952232"/>
                <a:gd name="connsiteX4037" fmla="*/ 6157905 w 7267540"/>
                <a:gd name="connsiteY4037" fmla="*/ 1763415 h 3952232"/>
                <a:gd name="connsiteX4038" fmla="*/ 6193876 w 7267540"/>
                <a:gd name="connsiteY4038" fmla="*/ 1913243 h 3952232"/>
                <a:gd name="connsiteX4039" fmla="*/ 6195172 w 7267540"/>
                <a:gd name="connsiteY4039" fmla="*/ 1913243 h 3952232"/>
                <a:gd name="connsiteX4040" fmla="*/ 6233734 w 7267540"/>
                <a:gd name="connsiteY4040" fmla="*/ 1914238 h 3952232"/>
                <a:gd name="connsiteX4041" fmla="*/ 6195172 w 7267540"/>
                <a:gd name="connsiteY4041" fmla="*/ 1913243 h 3952232"/>
                <a:gd name="connsiteX4042" fmla="*/ 6183712 w 7267540"/>
                <a:gd name="connsiteY4042" fmla="*/ 1913243 h 3952232"/>
                <a:gd name="connsiteX4043" fmla="*/ 6193876 w 7267540"/>
                <a:gd name="connsiteY4043" fmla="*/ 1912745 h 3952232"/>
                <a:gd name="connsiteX4044" fmla="*/ 6183912 w 7267540"/>
                <a:gd name="connsiteY4044" fmla="*/ 1913243 h 3952232"/>
                <a:gd name="connsiteX4045" fmla="*/ 6172851 w 7267540"/>
                <a:gd name="connsiteY4045" fmla="*/ 1912745 h 3952232"/>
                <a:gd name="connsiteX4046" fmla="*/ 6167371 w 7267540"/>
                <a:gd name="connsiteY4046" fmla="*/ 1912745 h 3952232"/>
                <a:gd name="connsiteX4047" fmla="*/ 6167371 w 7267540"/>
                <a:gd name="connsiteY4047" fmla="*/ 1909263 h 3952232"/>
                <a:gd name="connsiteX4048" fmla="*/ 6166674 w 7267540"/>
                <a:gd name="connsiteY4048" fmla="*/ 1899911 h 3952232"/>
                <a:gd name="connsiteX4049" fmla="*/ 6166674 w 7267540"/>
                <a:gd name="connsiteY4049" fmla="*/ 1894937 h 3952232"/>
                <a:gd name="connsiteX4050" fmla="*/ 6167670 w 7267540"/>
                <a:gd name="connsiteY4050" fmla="*/ 1909263 h 3952232"/>
                <a:gd name="connsiteX4051" fmla="*/ 6173449 w 7267540"/>
                <a:gd name="connsiteY4051" fmla="*/ 1913044 h 3952232"/>
                <a:gd name="connsiteX4052" fmla="*/ 6183513 w 7267540"/>
                <a:gd name="connsiteY4052" fmla="*/ 1912546 h 3952232"/>
                <a:gd name="connsiteX4053" fmla="*/ 6174844 w 7267540"/>
                <a:gd name="connsiteY4053" fmla="*/ 1691883 h 3952232"/>
                <a:gd name="connsiteX4054" fmla="*/ 6189691 w 7267540"/>
                <a:gd name="connsiteY4054" fmla="*/ 1690093 h 3952232"/>
                <a:gd name="connsiteX4055" fmla="*/ 6174445 w 7267540"/>
                <a:gd name="connsiteY4055" fmla="*/ 1691187 h 3952232"/>
                <a:gd name="connsiteX4056" fmla="*/ 6184809 w 7267540"/>
                <a:gd name="connsiteY4056" fmla="*/ 1725311 h 3952232"/>
                <a:gd name="connsiteX4057" fmla="*/ 6188097 w 7267540"/>
                <a:gd name="connsiteY4057" fmla="*/ 1730882 h 3952232"/>
                <a:gd name="connsiteX4058" fmla="*/ 6184410 w 7267540"/>
                <a:gd name="connsiteY4058" fmla="*/ 1724615 h 3952232"/>
                <a:gd name="connsiteX4059" fmla="*/ 6205534 w 7267540"/>
                <a:gd name="connsiteY4059" fmla="*/ 1693177 h 3952232"/>
                <a:gd name="connsiteX4060" fmla="*/ 6205534 w 7267540"/>
                <a:gd name="connsiteY4060" fmla="*/ 1693177 h 3952232"/>
                <a:gd name="connsiteX4061" fmla="*/ 6200453 w 7267540"/>
                <a:gd name="connsiteY4061" fmla="*/ 1697753 h 3952232"/>
                <a:gd name="connsiteX4062" fmla="*/ 6202545 w 7267540"/>
                <a:gd name="connsiteY4062" fmla="*/ 1695266 h 3952232"/>
                <a:gd name="connsiteX4063" fmla="*/ 6200951 w 7267540"/>
                <a:gd name="connsiteY4063" fmla="*/ 1694072 h 3952232"/>
                <a:gd name="connsiteX4064" fmla="*/ 6195769 w 7267540"/>
                <a:gd name="connsiteY4064" fmla="*/ 1691187 h 3952232"/>
                <a:gd name="connsiteX4065" fmla="*/ 6190289 w 7267540"/>
                <a:gd name="connsiteY4065" fmla="*/ 1689694 h 3952232"/>
                <a:gd name="connsiteX4066" fmla="*/ 6194574 w 7267540"/>
                <a:gd name="connsiteY4066" fmla="*/ 1690291 h 3952232"/>
                <a:gd name="connsiteX4067" fmla="*/ 6195769 w 7267540"/>
                <a:gd name="connsiteY4067" fmla="*/ 1691187 h 3952232"/>
                <a:gd name="connsiteX4068" fmla="*/ 6200951 w 7267540"/>
                <a:gd name="connsiteY4068" fmla="*/ 1694072 h 3952232"/>
                <a:gd name="connsiteX4069" fmla="*/ 6205834 w 7267540"/>
                <a:gd name="connsiteY4069" fmla="*/ 1692779 h 3952232"/>
                <a:gd name="connsiteX4070" fmla="*/ 6210916 w 7267540"/>
                <a:gd name="connsiteY4070" fmla="*/ 1689297 h 3952232"/>
                <a:gd name="connsiteX4071" fmla="*/ 6205136 w 7267540"/>
                <a:gd name="connsiteY4071" fmla="*/ 1692480 h 3952232"/>
                <a:gd name="connsiteX4072" fmla="*/ 6210916 w 7267540"/>
                <a:gd name="connsiteY4072" fmla="*/ 1689496 h 3952232"/>
                <a:gd name="connsiteX4073" fmla="*/ 6212211 w 7267540"/>
                <a:gd name="connsiteY4073" fmla="*/ 1688600 h 3952232"/>
                <a:gd name="connsiteX4074" fmla="*/ 6216196 w 7267540"/>
                <a:gd name="connsiteY4074" fmla="*/ 1687904 h 3952232"/>
                <a:gd name="connsiteX4075" fmla="*/ 6210517 w 7267540"/>
                <a:gd name="connsiteY4075" fmla="*/ 1688799 h 3952232"/>
                <a:gd name="connsiteX4076" fmla="*/ 6219385 w 7267540"/>
                <a:gd name="connsiteY4076" fmla="*/ 1687307 h 3952232"/>
                <a:gd name="connsiteX4077" fmla="*/ 6228154 w 7267540"/>
                <a:gd name="connsiteY4077" fmla="*/ 1684621 h 3952232"/>
                <a:gd name="connsiteX4078" fmla="*/ 6218987 w 7267540"/>
                <a:gd name="connsiteY4078" fmla="*/ 1686610 h 3952232"/>
                <a:gd name="connsiteX4079" fmla="*/ 6238118 w 7267540"/>
                <a:gd name="connsiteY4079" fmla="*/ 1679646 h 3952232"/>
                <a:gd name="connsiteX4080" fmla="*/ 6236723 w 7267540"/>
                <a:gd name="connsiteY4080" fmla="*/ 1680442 h 3952232"/>
                <a:gd name="connsiteX4081" fmla="*/ 6232140 w 7267540"/>
                <a:gd name="connsiteY4081" fmla="*/ 1683029 h 3952232"/>
                <a:gd name="connsiteX4082" fmla="*/ 6236723 w 7267540"/>
                <a:gd name="connsiteY4082" fmla="*/ 1680442 h 3952232"/>
                <a:gd name="connsiteX4083" fmla="*/ 6238218 w 7267540"/>
                <a:gd name="connsiteY4083" fmla="*/ 1673578 h 3952232"/>
                <a:gd name="connsiteX4084" fmla="*/ 6237720 w 7267540"/>
                <a:gd name="connsiteY4084" fmla="*/ 1678950 h 3952232"/>
                <a:gd name="connsiteX4085" fmla="*/ 6238118 w 7267540"/>
                <a:gd name="connsiteY4085" fmla="*/ 1673379 h 3952232"/>
                <a:gd name="connsiteX4086" fmla="*/ 6240011 w 7267540"/>
                <a:gd name="connsiteY4086" fmla="*/ 1668703 h 3952232"/>
                <a:gd name="connsiteX4087" fmla="*/ 6237820 w 7267540"/>
                <a:gd name="connsiteY4087" fmla="*/ 1672682 h 3952232"/>
                <a:gd name="connsiteX4088" fmla="*/ 6292823 w 7267540"/>
                <a:gd name="connsiteY4088" fmla="*/ 1437892 h 3952232"/>
                <a:gd name="connsiteX4089" fmla="*/ 6285449 w 7267540"/>
                <a:gd name="connsiteY4089" fmla="*/ 1427048 h 3952232"/>
                <a:gd name="connsiteX4090" fmla="*/ 6280069 w 7267540"/>
                <a:gd name="connsiteY4090" fmla="*/ 1425953 h 3952232"/>
                <a:gd name="connsiteX4091" fmla="*/ 6280069 w 7267540"/>
                <a:gd name="connsiteY4091" fmla="*/ 1425953 h 3952232"/>
                <a:gd name="connsiteX4092" fmla="*/ 6270104 w 7267540"/>
                <a:gd name="connsiteY4092" fmla="*/ 1422372 h 3952232"/>
                <a:gd name="connsiteX4093" fmla="*/ 6280069 w 7267540"/>
                <a:gd name="connsiteY4093" fmla="*/ 1425953 h 3952232"/>
                <a:gd name="connsiteX4094" fmla="*/ 6285449 w 7267540"/>
                <a:gd name="connsiteY4094" fmla="*/ 1427048 h 3952232"/>
                <a:gd name="connsiteX4095" fmla="*/ 6287840 w 7267540"/>
                <a:gd name="connsiteY4095" fmla="*/ 1427048 h 3952232"/>
                <a:gd name="connsiteX4096" fmla="*/ 6303285 w 7267540"/>
                <a:gd name="connsiteY4096" fmla="*/ 1444557 h 3952232"/>
                <a:gd name="connsiteX4097" fmla="*/ 6292524 w 7267540"/>
                <a:gd name="connsiteY4097" fmla="*/ 1437196 h 3952232"/>
                <a:gd name="connsiteX4098" fmla="*/ 6360780 w 7267540"/>
                <a:gd name="connsiteY4098" fmla="*/ 1557277 h 3952232"/>
                <a:gd name="connsiteX4099" fmla="*/ 6367656 w 7267540"/>
                <a:gd name="connsiteY4099" fmla="*/ 1555585 h 3952232"/>
                <a:gd name="connsiteX4100" fmla="*/ 6360481 w 7267540"/>
                <a:gd name="connsiteY4100" fmla="*/ 1556282 h 3952232"/>
                <a:gd name="connsiteX4101" fmla="*/ 6371542 w 7267540"/>
                <a:gd name="connsiteY4101" fmla="*/ 1553596 h 3952232"/>
                <a:gd name="connsiteX4102" fmla="*/ 6370744 w 7267540"/>
                <a:gd name="connsiteY4102" fmla="*/ 1554193 h 3952232"/>
                <a:gd name="connsiteX4103" fmla="*/ 6369549 w 7267540"/>
                <a:gd name="connsiteY4103" fmla="*/ 1555585 h 3952232"/>
                <a:gd name="connsiteX4104" fmla="*/ 6367855 w 7267540"/>
                <a:gd name="connsiteY4104" fmla="*/ 1555585 h 3952232"/>
                <a:gd name="connsiteX4105" fmla="*/ 6370744 w 7267540"/>
                <a:gd name="connsiteY4105" fmla="*/ 1554193 h 3952232"/>
                <a:gd name="connsiteX4106" fmla="*/ 6372339 w 7267540"/>
                <a:gd name="connsiteY4106" fmla="*/ 1552103 h 3952232"/>
                <a:gd name="connsiteX4107" fmla="*/ 6371442 w 7267540"/>
                <a:gd name="connsiteY4107" fmla="*/ 1552601 h 3952232"/>
                <a:gd name="connsiteX4108" fmla="*/ 6375527 w 7267540"/>
                <a:gd name="connsiteY4108" fmla="*/ 1547626 h 3952232"/>
                <a:gd name="connsiteX4109" fmla="*/ 6372638 w 7267540"/>
                <a:gd name="connsiteY4109" fmla="*/ 1551805 h 3952232"/>
                <a:gd name="connsiteX4110" fmla="*/ 6377620 w 7267540"/>
                <a:gd name="connsiteY4110" fmla="*/ 1541856 h 3952232"/>
                <a:gd name="connsiteX4111" fmla="*/ 6387485 w 7267540"/>
                <a:gd name="connsiteY4111" fmla="*/ 1521859 h 3952232"/>
                <a:gd name="connsiteX4112" fmla="*/ 6383399 w 7267540"/>
                <a:gd name="connsiteY4112" fmla="*/ 1529719 h 3952232"/>
                <a:gd name="connsiteX4113" fmla="*/ 6390873 w 7267540"/>
                <a:gd name="connsiteY4113" fmla="*/ 1511711 h 3952232"/>
                <a:gd name="connsiteX4114" fmla="*/ 6387186 w 7267540"/>
                <a:gd name="connsiteY4114" fmla="*/ 1520864 h 3952232"/>
                <a:gd name="connsiteX4115" fmla="*/ 6770018 w 7267540"/>
                <a:gd name="connsiteY4115" fmla="*/ 1107494 h 3952232"/>
                <a:gd name="connsiteX4116" fmla="*/ 6762645 w 7267540"/>
                <a:gd name="connsiteY4116" fmla="*/ 1097545 h 3952232"/>
                <a:gd name="connsiteX4117" fmla="*/ 6770018 w 7267540"/>
                <a:gd name="connsiteY4117" fmla="*/ 1107494 h 3952232"/>
                <a:gd name="connsiteX4118" fmla="*/ 6762545 w 7267540"/>
                <a:gd name="connsiteY4118" fmla="*/ 1097545 h 3952232"/>
                <a:gd name="connsiteX4119" fmla="*/ 6759854 w 7267540"/>
                <a:gd name="connsiteY4119" fmla="*/ 1094660 h 3952232"/>
                <a:gd name="connsiteX4120" fmla="*/ 6760452 w 7267540"/>
                <a:gd name="connsiteY4120" fmla="*/ 1092173 h 3952232"/>
                <a:gd name="connsiteX4121" fmla="*/ 6761549 w 7267540"/>
                <a:gd name="connsiteY4121" fmla="*/ 1085408 h 3952232"/>
                <a:gd name="connsiteX4122" fmla="*/ 6760452 w 7267540"/>
                <a:gd name="connsiteY4122" fmla="*/ 1092173 h 3952232"/>
                <a:gd name="connsiteX4123" fmla="*/ 6762545 w 7267540"/>
                <a:gd name="connsiteY4123" fmla="*/ 1097844 h 3952232"/>
                <a:gd name="connsiteX4124" fmla="*/ 6734645 w 7267540"/>
                <a:gd name="connsiteY4124" fmla="*/ 1195341 h 3952232"/>
                <a:gd name="connsiteX4125" fmla="*/ 6734645 w 7267540"/>
                <a:gd name="connsiteY4125" fmla="*/ 1204096 h 3952232"/>
                <a:gd name="connsiteX4126" fmla="*/ 6734645 w 7267540"/>
                <a:gd name="connsiteY4126" fmla="*/ 1195640 h 3952232"/>
                <a:gd name="connsiteX4127" fmla="*/ 6695983 w 7267540"/>
                <a:gd name="connsiteY4127" fmla="*/ 1210265 h 3952232"/>
                <a:gd name="connsiteX4128" fmla="*/ 6665592 w 7267540"/>
                <a:gd name="connsiteY4128" fmla="*/ 1209071 h 3952232"/>
                <a:gd name="connsiteX4129" fmla="*/ 6656225 w 7267540"/>
                <a:gd name="connsiteY4129" fmla="*/ 1209071 h 3952232"/>
                <a:gd name="connsiteX4130" fmla="*/ 6616367 w 7267540"/>
                <a:gd name="connsiteY4130" fmla="*/ 1207180 h 3952232"/>
                <a:gd name="connsiteX4131" fmla="*/ 6639883 w 7267540"/>
                <a:gd name="connsiteY4131" fmla="*/ 1208076 h 3952232"/>
                <a:gd name="connsiteX4132" fmla="*/ 6665193 w 7267540"/>
                <a:gd name="connsiteY4132" fmla="*/ 1209071 h 3952232"/>
                <a:gd name="connsiteX4133" fmla="*/ 6695983 w 7267540"/>
                <a:gd name="connsiteY4133" fmla="*/ 1210563 h 3952232"/>
                <a:gd name="connsiteX4134" fmla="*/ 6574517 w 7267540"/>
                <a:gd name="connsiteY4134" fmla="*/ 1160123 h 3952232"/>
                <a:gd name="connsiteX4135" fmla="*/ 6575115 w 7267540"/>
                <a:gd name="connsiteY4135" fmla="*/ 1158233 h 3952232"/>
                <a:gd name="connsiteX4136" fmla="*/ 6575115 w 7267540"/>
                <a:gd name="connsiteY4136" fmla="*/ 1159128 h 3952232"/>
                <a:gd name="connsiteX4137" fmla="*/ 6579997 w 7267540"/>
                <a:gd name="connsiteY4137" fmla="*/ 1109384 h 3952232"/>
                <a:gd name="connsiteX4138" fmla="*/ 6580894 w 7267540"/>
                <a:gd name="connsiteY4138" fmla="*/ 1103216 h 3952232"/>
                <a:gd name="connsiteX4139" fmla="*/ 6581492 w 7267540"/>
                <a:gd name="connsiteY4139" fmla="*/ 1104410 h 3952232"/>
                <a:gd name="connsiteX4140" fmla="*/ 6579997 w 7267540"/>
                <a:gd name="connsiteY4140" fmla="*/ 1108887 h 3952232"/>
                <a:gd name="connsiteX4141" fmla="*/ 6685719 w 7267540"/>
                <a:gd name="connsiteY4141" fmla="*/ 887826 h 3952232"/>
                <a:gd name="connsiteX4142" fmla="*/ 6684125 w 7267540"/>
                <a:gd name="connsiteY4142" fmla="*/ 898471 h 3952232"/>
                <a:gd name="connsiteX4143" fmla="*/ 6685719 w 7267540"/>
                <a:gd name="connsiteY4143" fmla="*/ 887328 h 3952232"/>
                <a:gd name="connsiteX4144" fmla="*/ 6688709 w 7267540"/>
                <a:gd name="connsiteY4144" fmla="*/ 881160 h 3952232"/>
                <a:gd name="connsiteX4145" fmla="*/ 6688709 w 7267540"/>
                <a:gd name="connsiteY4145" fmla="*/ 884642 h 3952232"/>
                <a:gd name="connsiteX4146" fmla="*/ 6685819 w 7267540"/>
                <a:gd name="connsiteY4146" fmla="*/ 887129 h 3952232"/>
                <a:gd name="connsiteX4147" fmla="*/ 6688310 w 7267540"/>
                <a:gd name="connsiteY4147" fmla="*/ 881160 h 3952232"/>
                <a:gd name="connsiteX4148" fmla="*/ 6684025 w 7267540"/>
                <a:gd name="connsiteY4148" fmla="*/ 870117 h 3952232"/>
                <a:gd name="connsiteX4149" fmla="*/ 6688709 w 7267540"/>
                <a:gd name="connsiteY4149" fmla="*/ 880663 h 3952232"/>
                <a:gd name="connsiteX4150" fmla="*/ 6684325 w 7267540"/>
                <a:gd name="connsiteY4150" fmla="*/ 869819 h 3952232"/>
                <a:gd name="connsiteX4151" fmla="*/ 6684325 w 7267540"/>
                <a:gd name="connsiteY4151" fmla="*/ 869819 h 3952232"/>
                <a:gd name="connsiteX4152" fmla="*/ 6683129 w 7267540"/>
                <a:gd name="connsiteY4152" fmla="*/ 866933 h 3952232"/>
                <a:gd name="connsiteX4153" fmla="*/ 6661207 w 7267540"/>
                <a:gd name="connsiteY4153" fmla="*/ 916379 h 3952232"/>
                <a:gd name="connsiteX4154" fmla="*/ 6661207 w 7267540"/>
                <a:gd name="connsiteY4154" fmla="*/ 916379 h 3952232"/>
                <a:gd name="connsiteX4155" fmla="*/ 6667584 w 7267540"/>
                <a:gd name="connsiteY4155" fmla="*/ 913295 h 3952232"/>
                <a:gd name="connsiteX4156" fmla="*/ 6671968 w 7267540"/>
                <a:gd name="connsiteY4156" fmla="*/ 909315 h 3952232"/>
                <a:gd name="connsiteX4157" fmla="*/ 6680837 w 7267540"/>
                <a:gd name="connsiteY4157" fmla="*/ 900560 h 3952232"/>
                <a:gd name="connsiteX4158" fmla="*/ 6671968 w 7267540"/>
                <a:gd name="connsiteY4158" fmla="*/ 909315 h 3952232"/>
                <a:gd name="connsiteX4159" fmla="*/ 6669876 w 7267540"/>
                <a:gd name="connsiteY4159" fmla="*/ 912399 h 3952232"/>
                <a:gd name="connsiteX4160" fmla="*/ 6667584 w 7267540"/>
                <a:gd name="connsiteY4160" fmla="*/ 913295 h 3952232"/>
                <a:gd name="connsiteX4161" fmla="*/ 6661207 w 7267540"/>
                <a:gd name="connsiteY4161" fmla="*/ 916379 h 3952232"/>
                <a:gd name="connsiteX4162" fmla="*/ 6656823 w 7267540"/>
                <a:gd name="connsiteY4162" fmla="*/ 920060 h 3952232"/>
                <a:gd name="connsiteX4163" fmla="*/ 6661207 w 7267540"/>
                <a:gd name="connsiteY4163" fmla="*/ 915881 h 3952232"/>
                <a:gd name="connsiteX4164" fmla="*/ 6657022 w 7267540"/>
                <a:gd name="connsiteY4164" fmla="*/ 920159 h 3952232"/>
                <a:gd name="connsiteX4165" fmla="*/ 6654531 w 7267540"/>
                <a:gd name="connsiteY4165" fmla="*/ 924636 h 3952232"/>
                <a:gd name="connsiteX4166" fmla="*/ 6657022 w 7267540"/>
                <a:gd name="connsiteY4166" fmla="*/ 919662 h 3952232"/>
                <a:gd name="connsiteX4167" fmla="*/ 6652239 w 7267540"/>
                <a:gd name="connsiteY4167" fmla="*/ 925333 h 3952232"/>
                <a:gd name="connsiteX4168" fmla="*/ 6654531 w 7267540"/>
                <a:gd name="connsiteY4168" fmla="*/ 924736 h 3952232"/>
                <a:gd name="connsiteX4169" fmla="*/ 6654531 w 7267540"/>
                <a:gd name="connsiteY4169" fmla="*/ 925333 h 3952232"/>
                <a:gd name="connsiteX4170" fmla="*/ 6649150 w 7267540"/>
                <a:gd name="connsiteY4170" fmla="*/ 926427 h 3952232"/>
                <a:gd name="connsiteX4171" fmla="*/ 6652239 w 7267540"/>
                <a:gd name="connsiteY4171" fmla="*/ 924835 h 3952232"/>
                <a:gd name="connsiteX4172" fmla="*/ 6648652 w 7267540"/>
                <a:gd name="connsiteY4172" fmla="*/ 926427 h 3952232"/>
                <a:gd name="connsiteX4173" fmla="*/ 6635897 w 7267540"/>
                <a:gd name="connsiteY4173" fmla="*/ 928317 h 3952232"/>
                <a:gd name="connsiteX4174" fmla="*/ 6648652 w 7267540"/>
                <a:gd name="connsiteY4174" fmla="*/ 925930 h 3952232"/>
                <a:gd name="connsiteX4175" fmla="*/ 6632410 w 7267540"/>
                <a:gd name="connsiteY4175" fmla="*/ 929412 h 3952232"/>
                <a:gd name="connsiteX4176" fmla="*/ 6625335 w 7267540"/>
                <a:gd name="connsiteY4176" fmla="*/ 935281 h 3952232"/>
                <a:gd name="connsiteX4177" fmla="*/ 6632410 w 7267540"/>
                <a:gd name="connsiteY4177" fmla="*/ 928914 h 3952232"/>
                <a:gd name="connsiteX4178" fmla="*/ 6619357 w 7267540"/>
                <a:gd name="connsiteY4178" fmla="*/ 984826 h 3952232"/>
                <a:gd name="connsiteX4179" fmla="*/ 6624837 w 7267540"/>
                <a:gd name="connsiteY4179" fmla="*/ 974877 h 3952232"/>
                <a:gd name="connsiteX4180" fmla="*/ 6619357 w 7267540"/>
                <a:gd name="connsiteY4180" fmla="*/ 984826 h 3952232"/>
                <a:gd name="connsiteX4181" fmla="*/ 6617862 w 7267540"/>
                <a:gd name="connsiteY4181" fmla="*/ 989402 h 3952232"/>
                <a:gd name="connsiteX4182" fmla="*/ 6617862 w 7267540"/>
                <a:gd name="connsiteY4182" fmla="*/ 993481 h 3952232"/>
                <a:gd name="connsiteX4183" fmla="*/ 6617862 w 7267540"/>
                <a:gd name="connsiteY4183" fmla="*/ 989402 h 3952232"/>
                <a:gd name="connsiteX4184" fmla="*/ 6617364 w 7267540"/>
                <a:gd name="connsiteY4184" fmla="*/ 988010 h 3952232"/>
                <a:gd name="connsiteX4185" fmla="*/ 6619357 w 7267540"/>
                <a:gd name="connsiteY4185" fmla="*/ 984329 h 3952232"/>
                <a:gd name="connsiteX4186" fmla="*/ 6617961 w 7267540"/>
                <a:gd name="connsiteY4186" fmla="*/ 993581 h 3952232"/>
                <a:gd name="connsiteX4187" fmla="*/ 6617961 w 7267540"/>
                <a:gd name="connsiteY4187" fmla="*/ 994974 h 3952232"/>
                <a:gd name="connsiteX4188" fmla="*/ 6616367 w 7267540"/>
                <a:gd name="connsiteY4188" fmla="*/ 997262 h 3952232"/>
                <a:gd name="connsiteX4189" fmla="*/ 6617961 w 7267540"/>
                <a:gd name="connsiteY4189" fmla="*/ 993084 h 3952232"/>
                <a:gd name="connsiteX4190" fmla="*/ 6609592 w 7267540"/>
                <a:gd name="connsiteY4190" fmla="*/ 1014672 h 3952232"/>
                <a:gd name="connsiteX4191" fmla="*/ 6610388 w 7267540"/>
                <a:gd name="connsiteY4191" fmla="*/ 1009002 h 3952232"/>
                <a:gd name="connsiteX4192" fmla="*/ 6613278 w 7267540"/>
                <a:gd name="connsiteY4192" fmla="*/ 1004127 h 3952232"/>
                <a:gd name="connsiteX4193" fmla="*/ 6616666 w 7267540"/>
                <a:gd name="connsiteY4193" fmla="*/ 997361 h 3952232"/>
                <a:gd name="connsiteX4194" fmla="*/ 6613278 w 7267540"/>
                <a:gd name="connsiteY4194" fmla="*/ 1004127 h 3952232"/>
                <a:gd name="connsiteX4195" fmla="*/ 6609592 w 7267540"/>
                <a:gd name="connsiteY4195" fmla="*/ 1014672 h 3952232"/>
                <a:gd name="connsiteX4196" fmla="*/ 6604310 w 7267540"/>
                <a:gd name="connsiteY4196" fmla="*/ 1026810 h 3952232"/>
                <a:gd name="connsiteX4197" fmla="*/ 6609592 w 7267540"/>
                <a:gd name="connsiteY4197" fmla="*/ 1014175 h 3952232"/>
                <a:gd name="connsiteX4198" fmla="*/ 6601421 w 7267540"/>
                <a:gd name="connsiteY4198" fmla="*/ 1030789 h 3952232"/>
                <a:gd name="connsiteX4199" fmla="*/ 6595442 w 7267540"/>
                <a:gd name="connsiteY4199" fmla="*/ 1035764 h 3952232"/>
                <a:gd name="connsiteX4200" fmla="*/ 6601421 w 7267540"/>
                <a:gd name="connsiteY4200" fmla="*/ 1030789 h 3952232"/>
                <a:gd name="connsiteX4201" fmla="*/ 6580097 w 7267540"/>
                <a:gd name="connsiteY4201" fmla="*/ 1094362 h 3952232"/>
                <a:gd name="connsiteX4202" fmla="*/ 6581492 w 7267540"/>
                <a:gd name="connsiteY4202" fmla="*/ 1085507 h 3952232"/>
                <a:gd name="connsiteX4203" fmla="*/ 6581492 w 7267540"/>
                <a:gd name="connsiteY4203" fmla="*/ 1084314 h 3952232"/>
                <a:gd name="connsiteX4204" fmla="*/ 6582986 w 7267540"/>
                <a:gd name="connsiteY4204" fmla="*/ 1073668 h 3952232"/>
                <a:gd name="connsiteX4205" fmla="*/ 6581492 w 7267540"/>
                <a:gd name="connsiteY4205" fmla="*/ 1084314 h 3952232"/>
                <a:gd name="connsiteX4206" fmla="*/ 6579798 w 7267540"/>
                <a:gd name="connsiteY4206" fmla="*/ 1094262 h 3952232"/>
                <a:gd name="connsiteX4207" fmla="*/ 6579798 w 7267540"/>
                <a:gd name="connsiteY4207" fmla="*/ 1098739 h 3952232"/>
                <a:gd name="connsiteX4208" fmla="*/ 6580595 w 7267540"/>
                <a:gd name="connsiteY4208" fmla="*/ 1103017 h 3952232"/>
                <a:gd name="connsiteX4209" fmla="*/ 6579798 w 7267540"/>
                <a:gd name="connsiteY4209" fmla="*/ 1098739 h 3952232"/>
                <a:gd name="connsiteX4210" fmla="*/ 6579200 w 7267540"/>
                <a:gd name="connsiteY4210" fmla="*/ 1097346 h 3952232"/>
                <a:gd name="connsiteX4211" fmla="*/ 6577805 w 7267540"/>
                <a:gd name="connsiteY4211" fmla="*/ 1117443 h 3952232"/>
                <a:gd name="connsiteX4212" fmla="*/ 6577805 w 7267540"/>
                <a:gd name="connsiteY4212" fmla="*/ 1119333 h 3952232"/>
                <a:gd name="connsiteX4213" fmla="*/ 6577207 w 7267540"/>
                <a:gd name="connsiteY4213" fmla="*/ 1121024 h 3952232"/>
                <a:gd name="connsiteX4214" fmla="*/ 6574517 w 7267540"/>
                <a:gd name="connsiteY4214" fmla="*/ 1132266 h 3952232"/>
                <a:gd name="connsiteX4215" fmla="*/ 6575413 w 7267540"/>
                <a:gd name="connsiteY4215" fmla="*/ 1127690 h 3952232"/>
                <a:gd name="connsiteX4216" fmla="*/ 6575413 w 7267540"/>
                <a:gd name="connsiteY4216" fmla="*/ 1137639 h 3952232"/>
                <a:gd name="connsiteX4217" fmla="*/ 6574517 w 7267540"/>
                <a:gd name="connsiteY4217" fmla="*/ 1131769 h 3952232"/>
                <a:gd name="connsiteX4218" fmla="*/ 6574517 w 7267540"/>
                <a:gd name="connsiteY4218" fmla="*/ 1150373 h 3952232"/>
                <a:gd name="connsiteX4219" fmla="*/ 6574517 w 7267540"/>
                <a:gd name="connsiteY4219" fmla="*/ 1155745 h 3952232"/>
                <a:gd name="connsiteX4220" fmla="*/ 6575115 w 7267540"/>
                <a:gd name="connsiteY4220" fmla="*/ 1157636 h 3952232"/>
                <a:gd name="connsiteX4221" fmla="*/ 6574317 w 7267540"/>
                <a:gd name="connsiteY4221" fmla="*/ 1155348 h 3952232"/>
                <a:gd name="connsiteX4222" fmla="*/ 6574417 w 7267540"/>
                <a:gd name="connsiteY4222" fmla="*/ 1150174 h 3952232"/>
                <a:gd name="connsiteX4223" fmla="*/ 6574517 w 7267540"/>
                <a:gd name="connsiteY4223" fmla="*/ 1160322 h 3952232"/>
                <a:gd name="connsiteX4224" fmla="*/ 6569335 w 7267540"/>
                <a:gd name="connsiteY4224" fmla="*/ 1164998 h 3952232"/>
                <a:gd name="connsiteX4225" fmla="*/ 6574417 w 7267540"/>
                <a:gd name="connsiteY4225" fmla="*/ 1160123 h 3952232"/>
                <a:gd name="connsiteX4226" fmla="*/ 6569036 w 7267540"/>
                <a:gd name="connsiteY4226" fmla="*/ 1165097 h 3952232"/>
                <a:gd name="connsiteX4227" fmla="*/ 6564652 w 7267540"/>
                <a:gd name="connsiteY4227" fmla="*/ 1167087 h 3952232"/>
                <a:gd name="connsiteX4228" fmla="*/ 6564652 w 7267540"/>
                <a:gd name="connsiteY4228" fmla="*/ 1171664 h 3952232"/>
                <a:gd name="connsiteX4229" fmla="*/ 6564652 w 7267540"/>
                <a:gd name="connsiteY4229" fmla="*/ 1167087 h 3952232"/>
                <a:gd name="connsiteX4230" fmla="*/ 6568937 w 7267540"/>
                <a:gd name="connsiteY4230" fmla="*/ 1164600 h 3952232"/>
                <a:gd name="connsiteX4231" fmla="*/ 6563954 w 7267540"/>
                <a:gd name="connsiteY4231" fmla="*/ 1191859 h 3952232"/>
                <a:gd name="connsiteX4232" fmla="*/ 6561663 w 7267540"/>
                <a:gd name="connsiteY4232" fmla="*/ 1183801 h 3952232"/>
                <a:gd name="connsiteX4233" fmla="*/ 6563855 w 7267540"/>
                <a:gd name="connsiteY4233" fmla="*/ 1191362 h 3952232"/>
                <a:gd name="connsiteX4234" fmla="*/ 6563954 w 7267540"/>
                <a:gd name="connsiteY4234" fmla="*/ 1206086 h 3952232"/>
                <a:gd name="connsiteX4235" fmla="*/ 6573919 w 7267540"/>
                <a:gd name="connsiteY4235" fmla="*/ 1206086 h 3952232"/>
                <a:gd name="connsiteX4236" fmla="*/ 6572723 w 7267540"/>
                <a:gd name="connsiteY4236" fmla="*/ 1203201 h 3952232"/>
                <a:gd name="connsiteX4237" fmla="*/ 6574716 w 7267540"/>
                <a:gd name="connsiteY4237" fmla="*/ 1206186 h 3952232"/>
                <a:gd name="connsiteX4238" fmla="*/ 6573919 w 7267540"/>
                <a:gd name="connsiteY4238" fmla="*/ 1206186 h 3952232"/>
                <a:gd name="connsiteX4239" fmla="*/ 6573919 w 7267540"/>
                <a:gd name="connsiteY4239" fmla="*/ 1206882 h 3952232"/>
                <a:gd name="connsiteX4240" fmla="*/ 6563954 w 7267540"/>
                <a:gd name="connsiteY4240" fmla="*/ 1206086 h 3952232"/>
                <a:gd name="connsiteX4241" fmla="*/ 6538446 w 7267540"/>
                <a:gd name="connsiteY4241" fmla="*/ 1205191 h 3952232"/>
                <a:gd name="connsiteX4242" fmla="*/ 6563556 w 7267540"/>
                <a:gd name="connsiteY4242" fmla="*/ 1205589 h 3952232"/>
                <a:gd name="connsiteX4243" fmla="*/ 6534061 w 7267540"/>
                <a:gd name="connsiteY4243" fmla="*/ 1205091 h 3952232"/>
                <a:gd name="connsiteX4244" fmla="*/ 6511641 w 7267540"/>
                <a:gd name="connsiteY4244" fmla="*/ 1204494 h 3952232"/>
                <a:gd name="connsiteX4245" fmla="*/ 6488723 w 7267540"/>
                <a:gd name="connsiteY4245" fmla="*/ 1203897 h 3952232"/>
                <a:gd name="connsiteX4246" fmla="*/ 6491214 w 7267540"/>
                <a:gd name="connsiteY4246" fmla="*/ 1203897 h 3952232"/>
                <a:gd name="connsiteX4247" fmla="*/ 6503670 w 7267540"/>
                <a:gd name="connsiteY4247" fmla="*/ 1203897 h 3952232"/>
                <a:gd name="connsiteX4248" fmla="*/ 6509549 w 7267540"/>
                <a:gd name="connsiteY4248" fmla="*/ 1204395 h 3952232"/>
                <a:gd name="connsiteX4249" fmla="*/ 6491214 w 7267540"/>
                <a:gd name="connsiteY4249" fmla="*/ 1204395 h 3952232"/>
                <a:gd name="connsiteX4250" fmla="*/ 6478161 w 7267540"/>
                <a:gd name="connsiteY4250" fmla="*/ 1203599 h 3952232"/>
                <a:gd name="connsiteX4251" fmla="*/ 6487826 w 7267540"/>
                <a:gd name="connsiteY4251" fmla="*/ 1203400 h 3952232"/>
                <a:gd name="connsiteX4252" fmla="*/ 6458830 w 7267540"/>
                <a:gd name="connsiteY4252" fmla="*/ 1011091 h 3952232"/>
                <a:gd name="connsiteX4253" fmla="*/ 6458830 w 7267540"/>
                <a:gd name="connsiteY4253" fmla="*/ 1019249 h 3952232"/>
                <a:gd name="connsiteX4254" fmla="*/ 6458830 w 7267540"/>
                <a:gd name="connsiteY4254" fmla="*/ 1011091 h 3952232"/>
                <a:gd name="connsiteX4255" fmla="*/ 6458830 w 7267540"/>
                <a:gd name="connsiteY4255" fmla="*/ 1005420 h 3952232"/>
                <a:gd name="connsiteX4256" fmla="*/ 6456737 w 7267540"/>
                <a:gd name="connsiteY4256" fmla="*/ 999948 h 3952232"/>
                <a:gd name="connsiteX4257" fmla="*/ 6458830 w 7267540"/>
                <a:gd name="connsiteY4257" fmla="*/ 1005420 h 3952232"/>
                <a:gd name="connsiteX4258" fmla="*/ 6460126 w 7267540"/>
                <a:gd name="connsiteY4258" fmla="*/ 1007907 h 3952232"/>
                <a:gd name="connsiteX4259" fmla="*/ 6458033 w 7267540"/>
                <a:gd name="connsiteY4259" fmla="*/ 1010892 h 3952232"/>
                <a:gd name="connsiteX4260" fmla="*/ 6455741 w 7267540"/>
                <a:gd name="connsiteY4260" fmla="*/ 999053 h 3952232"/>
                <a:gd name="connsiteX4261" fmla="*/ 6455143 w 7267540"/>
                <a:gd name="connsiteY4261" fmla="*/ 994078 h 3952232"/>
                <a:gd name="connsiteX4262" fmla="*/ 6456339 w 7267540"/>
                <a:gd name="connsiteY4262" fmla="*/ 999849 h 3952232"/>
                <a:gd name="connsiteX4263" fmla="*/ 6455143 w 7267540"/>
                <a:gd name="connsiteY4263" fmla="*/ 987612 h 3952232"/>
                <a:gd name="connsiteX4264" fmla="*/ 6454645 w 7267540"/>
                <a:gd name="connsiteY4264" fmla="*/ 984130 h 3952232"/>
                <a:gd name="connsiteX4265" fmla="*/ 6455741 w 7267540"/>
                <a:gd name="connsiteY4265" fmla="*/ 985025 h 3952232"/>
                <a:gd name="connsiteX4266" fmla="*/ 6454346 w 7267540"/>
                <a:gd name="connsiteY4266" fmla="*/ 987114 h 3952232"/>
                <a:gd name="connsiteX4267" fmla="*/ 6471086 w 7267540"/>
                <a:gd name="connsiteY4267" fmla="*/ 1198127 h 3952232"/>
                <a:gd name="connsiteX4268" fmla="*/ 6477962 w 7267540"/>
                <a:gd name="connsiteY4268" fmla="*/ 1203201 h 3952232"/>
                <a:gd name="connsiteX4269" fmla="*/ 6471385 w 7267540"/>
                <a:gd name="connsiteY4269" fmla="*/ 1209767 h 3952232"/>
                <a:gd name="connsiteX4270" fmla="*/ 6470289 w 7267540"/>
                <a:gd name="connsiteY4270" fmla="*/ 1197630 h 3952232"/>
                <a:gd name="connsiteX4271" fmla="*/ 6475371 w 7267540"/>
                <a:gd name="connsiteY4271" fmla="*/ 1091775 h 3952232"/>
                <a:gd name="connsiteX4272" fmla="*/ 6469392 w 7267540"/>
                <a:gd name="connsiteY4272" fmla="*/ 1056258 h 3952232"/>
                <a:gd name="connsiteX4273" fmla="*/ 6474573 w 7267540"/>
                <a:gd name="connsiteY4273" fmla="*/ 1091278 h 3952232"/>
                <a:gd name="connsiteX4274" fmla="*/ 6468695 w 7267540"/>
                <a:gd name="connsiteY4274" fmla="*/ 908022 h 3952232"/>
                <a:gd name="connsiteX4275" fmla="*/ 6465506 w 7267540"/>
                <a:gd name="connsiteY4275" fmla="*/ 927919 h 3952232"/>
                <a:gd name="connsiteX4276" fmla="*/ 6468695 w 7267540"/>
                <a:gd name="connsiteY4276" fmla="*/ 908022 h 3952232"/>
                <a:gd name="connsiteX4277" fmla="*/ 6467100 w 7267540"/>
                <a:gd name="connsiteY4277" fmla="*/ 896780 h 3952232"/>
                <a:gd name="connsiteX4278" fmla="*/ 6467698 w 7267540"/>
                <a:gd name="connsiteY4278" fmla="*/ 897476 h 3952232"/>
                <a:gd name="connsiteX4279" fmla="*/ 6467897 w 7267540"/>
                <a:gd name="connsiteY4279" fmla="*/ 907524 h 3952232"/>
                <a:gd name="connsiteX4280" fmla="*/ 6464709 w 7267540"/>
                <a:gd name="connsiteY4280" fmla="*/ 845743 h 3952232"/>
                <a:gd name="connsiteX4281" fmla="*/ 6463413 w 7267540"/>
                <a:gd name="connsiteY4281" fmla="*/ 849324 h 3952232"/>
                <a:gd name="connsiteX4282" fmla="*/ 6460822 w 7267540"/>
                <a:gd name="connsiteY4282" fmla="*/ 861661 h 3952232"/>
                <a:gd name="connsiteX4283" fmla="*/ 6463413 w 7267540"/>
                <a:gd name="connsiteY4283" fmla="*/ 849324 h 3952232"/>
                <a:gd name="connsiteX4284" fmla="*/ 6463413 w 7267540"/>
                <a:gd name="connsiteY4284" fmla="*/ 844847 h 3952232"/>
                <a:gd name="connsiteX4285" fmla="*/ 6462517 w 7267540"/>
                <a:gd name="connsiteY4285" fmla="*/ 844151 h 3952232"/>
                <a:gd name="connsiteX4286" fmla="*/ 6463413 w 7267540"/>
                <a:gd name="connsiteY4286" fmla="*/ 844847 h 3952232"/>
                <a:gd name="connsiteX4287" fmla="*/ 6463413 w 7267540"/>
                <a:gd name="connsiteY4287" fmla="*/ 844847 h 3952232"/>
                <a:gd name="connsiteX4288" fmla="*/ 6463912 w 7267540"/>
                <a:gd name="connsiteY4288" fmla="*/ 845245 h 3952232"/>
                <a:gd name="connsiteX4289" fmla="*/ 6460026 w 7267540"/>
                <a:gd name="connsiteY4289" fmla="*/ 833705 h 3952232"/>
                <a:gd name="connsiteX4290" fmla="*/ 6462317 w 7267540"/>
                <a:gd name="connsiteY4290" fmla="*/ 827437 h 3952232"/>
                <a:gd name="connsiteX4291" fmla="*/ 6463413 w 7267540"/>
                <a:gd name="connsiteY4291" fmla="*/ 821866 h 3952232"/>
                <a:gd name="connsiteX4292" fmla="*/ 6463413 w 7267540"/>
                <a:gd name="connsiteY4292" fmla="*/ 812613 h 3952232"/>
                <a:gd name="connsiteX4293" fmla="*/ 6463413 w 7267540"/>
                <a:gd name="connsiteY4293" fmla="*/ 821866 h 3952232"/>
                <a:gd name="connsiteX4294" fmla="*/ 6463413 w 7267540"/>
                <a:gd name="connsiteY4294" fmla="*/ 824950 h 3952232"/>
                <a:gd name="connsiteX4295" fmla="*/ 6462019 w 7267540"/>
                <a:gd name="connsiteY4295" fmla="*/ 827437 h 3952232"/>
                <a:gd name="connsiteX4296" fmla="*/ 6459727 w 7267540"/>
                <a:gd name="connsiteY4296" fmla="*/ 833705 h 3952232"/>
                <a:gd name="connsiteX4297" fmla="*/ 6459727 w 7267540"/>
                <a:gd name="connsiteY4297" fmla="*/ 838878 h 3952232"/>
                <a:gd name="connsiteX4298" fmla="*/ 6462617 w 7267540"/>
                <a:gd name="connsiteY4298" fmla="*/ 843852 h 3952232"/>
                <a:gd name="connsiteX4299" fmla="*/ 6459727 w 7267540"/>
                <a:gd name="connsiteY4299" fmla="*/ 838878 h 3952232"/>
                <a:gd name="connsiteX4300" fmla="*/ 6458730 w 7267540"/>
                <a:gd name="connsiteY4300" fmla="*/ 835794 h 3952232"/>
                <a:gd name="connsiteX4301" fmla="*/ 6459228 w 7267540"/>
                <a:gd name="connsiteY4301" fmla="*/ 833207 h 3952232"/>
                <a:gd name="connsiteX4302" fmla="*/ 6460723 w 7267540"/>
                <a:gd name="connsiteY4302" fmla="*/ 862059 h 3952232"/>
                <a:gd name="connsiteX4303" fmla="*/ 6458631 w 7267540"/>
                <a:gd name="connsiteY4303" fmla="*/ 873997 h 3952232"/>
                <a:gd name="connsiteX4304" fmla="*/ 6459926 w 7267540"/>
                <a:gd name="connsiteY4304" fmla="*/ 861661 h 3952232"/>
                <a:gd name="connsiteX4305" fmla="*/ 6458531 w 7267540"/>
                <a:gd name="connsiteY4305" fmla="*/ 874097 h 3952232"/>
                <a:gd name="connsiteX4306" fmla="*/ 6458531 w 7267540"/>
                <a:gd name="connsiteY4306" fmla="*/ 881757 h 3952232"/>
                <a:gd name="connsiteX4307" fmla="*/ 6461620 w 7267540"/>
                <a:gd name="connsiteY4307" fmla="*/ 888920 h 3952232"/>
                <a:gd name="connsiteX4308" fmla="*/ 6466801 w 7267540"/>
                <a:gd name="connsiteY4308" fmla="*/ 896680 h 3952232"/>
                <a:gd name="connsiteX4309" fmla="*/ 6461620 w 7267540"/>
                <a:gd name="connsiteY4309" fmla="*/ 888920 h 3952232"/>
                <a:gd name="connsiteX4310" fmla="*/ 6460424 w 7267540"/>
                <a:gd name="connsiteY4310" fmla="*/ 887527 h 3952232"/>
                <a:gd name="connsiteX4311" fmla="*/ 6458531 w 7267540"/>
                <a:gd name="connsiteY4311" fmla="*/ 881757 h 3952232"/>
                <a:gd name="connsiteX4312" fmla="*/ 6457435 w 7267540"/>
                <a:gd name="connsiteY4312" fmla="*/ 877579 h 3952232"/>
                <a:gd name="connsiteX4313" fmla="*/ 6457734 w 7267540"/>
                <a:gd name="connsiteY4313" fmla="*/ 873599 h 3952232"/>
                <a:gd name="connsiteX4314" fmla="*/ 6462716 w 7267540"/>
                <a:gd name="connsiteY4314" fmla="*/ 946225 h 3952232"/>
                <a:gd name="connsiteX4315" fmla="*/ 6465904 w 7267540"/>
                <a:gd name="connsiteY4315" fmla="*/ 941450 h 3952232"/>
                <a:gd name="connsiteX4316" fmla="*/ 6465904 w 7267540"/>
                <a:gd name="connsiteY4316" fmla="*/ 938863 h 3952232"/>
                <a:gd name="connsiteX4317" fmla="*/ 6465108 w 7267540"/>
                <a:gd name="connsiteY4317" fmla="*/ 928914 h 3952232"/>
                <a:gd name="connsiteX4318" fmla="*/ 6465108 w 7267540"/>
                <a:gd name="connsiteY4318" fmla="*/ 932197 h 3952232"/>
                <a:gd name="connsiteX4319" fmla="*/ 6465706 w 7267540"/>
                <a:gd name="connsiteY4319" fmla="*/ 938763 h 3952232"/>
                <a:gd name="connsiteX4320" fmla="*/ 6465706 w 7267540"/>
                <a:gd name="connsiteY4320" fmla="*/ 940156 h 3952232"/>
                <a:gd name="connsiteX4321" fmla="*/ 6464908 w 7267540"/>
                <a:gd name="connsiteY4321" fmla="*/ 941350 h 3952232"/>
                <a:gd name="connsiteX4322" fmla="*/ 6461720 w 7267540"/>
                <a:gd name="connsiteY4322" fmla="*/ 946126 h 3952232"/>
                <a:gd name="connsiteX4323" fmla="*/ 6454844 w 7267540"/>
                <a:gd name="connsiteY4323" fmla="*/ 963436 h 3952232"/>
                <a:gd name="connsiteX4324" fmla="*/ 6461919 w 7267540"/>
                <a:gd name="connsiteY4324" fmla="*/ 945727 h 3952232"/>
                <a:gd name="connsiteX4325" fmla="*/ 6455741 w 7267540"/>
                <a:gd name="connsiteY4325" fmla="*/ 963834 h 3952232"/>
                <a:gd name="connsiteX4326" fmla="*/ 6454744 w 7267540"/>
                <a:gd name="connsiteY4326" fmla="*/ 969207 h 3952232"/>
                <a:gd name="connsiteX4327" fmla="*/ 6453250 w 7267540"/>
                <a:gd name="connsiteY4327" fmla="*/ 973186 h 3952232"/>
                <a:gd name="connsiteX4328" fmla="*/ 6454944 w 7267540"/>
                <a:gd name="connsiteY4328" fmla="*/ 963337 h 3952232"/>
                <a:gd name="connsiteX4329" fmla="*/ 6453250 w 7267540"/>
                <a:gd name="connsiteY4329" fmla="*/ 973286 h 3952232"/>
                <a:gd name="connsiteX4330" fmla="*/ 6453250 w 7267540"/>
                <a:gd name="connsiteY4330" fmla="*/ 980449 h 3952232"/>
                <a:gd name="connsiteX4331" fmla="*/ 6454944 w 7267540"/>
                <a:gd name="connsiteY4331" fmla="*/ 983931 h 3952232"/>
                <a:gd name="connsiteX4332" fmla="*/ 6453250 w 7267540"/>
                <a:gd name="connsiteY4332" fmla="*/ 980449 h 3952232"/>
                <a:gd name="connsiteX4333" fmla="*/ 6452054 w 7267540"/>
                <a:gd name="connsiteY4333" fmla="*/ 979155 h 3952232"/>
                <a:gd name="connsiteX4334" fmla="*/ 6452453 w 7267540"/>
                <a:gd name="connsiteY4334" fmla="*/ 972788 h 3952232"/>
                <a:gd name="connsiteX4335" fmla="*/ 6416382 w 7267540"/>
                <a:gd name="connsiteY4335" fmla="*/ 1480671 h 3952232"/>
                <a:gd name="connsiteX4336" fmla="*/ 6416382 w 7267540"/>
                <a:gd name="connsiteY4336" fmla="*/ 1483756 h 3952232"/>
                <a:gd name="connsiteX4337" fmla="*/ 6414986 w 7267540"/>
                <a:gd name="connsiteY4337" fmla="*/ 1481865 h 3952232"/>
                <a:gd name="connsiteX4338" fmla="*/ 6416481 w 7267540"/>
                <a:gd name="connsiteY4338" fmla="*/ 1480671 h 3952232"/>
                <a:gd name="connsiteX4339" fmla="*/ 6418972 w 7267540"/>
                <a:gd name="connsiteY4339" fmla="*/ 1478781 h 3952232"/>
                <a:gd name="connsiteX4340" fmla="*/ 6424751 w 7267540"/>
                <a:gd name="connsiteY4340" fmla="*/ 1475399 h 3952232"/>
                <a:gd name="connsiteX4341" fmla="*/ 6415584 w 7267540"/>
                <a:gd name="connsiteY4341" fmla="*/ 1479876 h 3952232"/>
                <a:gd name="connsiteX4342" fmla="*/ 6446275 w 7267540"/>
                <a:gd name="connsiteY4342" fmla="*/ 1321492 h 3952232"/>
                <a:gd name="connsiteX4343" fmla="*/ 6443286 w 7267540"/>
                <a:gd name="connsiteY4343" fmla="*/ 1315522 h 3952232"/>
                <a:gd name="connsiteX4344" fmla="*/ 6444979 w 7267540"/>
                <a:gd name="connsiteY4344" fmla="*/ 1309255 h 3952232"/>
                <a:gd name="connsiteX4345" fmla="*/ 6446275 w 7267540"/>
                <a:gd name="connsiteY4345" fmla="*/ 1321492 h 3952232"/>
                <a:gd name="connsiteX4346" fmla="*/ 6459328 w 7267540"/>
                <a:gd name="connsiteY4346" fmla="*/ 1321492 h 3952232"/>
                <a:gd name="connsiteX4347" fmla="*/ 6469093 w 7267540"/>
                <a:gd name="connsiteY4347" fmla="*/ 1322287 h 3952232"/>
                <a:gd name="connsiteX4348" fmla="*/ 6500979 w 7267540"/>
                <a:gd name="connsiteY4348" fmla="*/ 1323481 h 3952232"/>
                <a:gd name="connsiteX4349" fmla="*/ 6467798 w 7267540"/>
                <a:gd name="connsiteY4349" fmla="*/ 1321591 h 3952232"/>
                <a:gd name="connsiteX4350" fmla="*/ 6502573 w 7267540"/>
                <a:gd name="connsiteY4350" fmla="*/ 1323481 h 3952232"/>
                <a:gd name="connsiteX4351" fmla="*/ 6506061 w 7267540"/>
                <a:gd name="connsiteY4351" fmla="*/ 1323481 h 3952232"/>
                <a:gd name="connsiteX4352" fmla="*/ 6519912 w 7267540"/>
                <a:gd name="connsiteY4352" fmla="*/ 1324178 h 3952232"/>
                <a:gd name="connsiteX4353" fmla="*/ 6500979 w 7267540"/>
                <a:gd name="connsiteY4353" fmla="*/ 1322785 h 3952232"/>
                <a:gd name="connsiteX4354" fmla="*/ 6526688 w 7267540"/>
                <a:gd name="connsiteY4354" fmla="*/ 1325471 h 3952232"/>
                <a:gd name="connsiteX4355" fmla="*/ 6529079 w 7267540"/>
                <a:gd name="connsiteY4355" fmla="*/ 1328257 h 3952232"/>
                <a:gd name="connsiteX4356" fmla="*/ 6525392 w 7267540"/>
                <a:gd name="connsiteY4356" fmla="*/ 1324775 h 3952232"/>
                <a:gd name="connsiteX4357" fmla="*/ 6567342 w 7267540"/>
                <a:gd name="connsiteY4357" fmla="*/ 1324874 h 3952232"/>
                <a:gd name="connsiteX4358" fmla="*/ 6557378 w 7267540"/>
                <a:gd name="connsiteY4358" fmla="*/ 1325471 h 3952232"/>
                <a:gd name="connsiteX4359" fmla="*/ 6539542 w 7267540"/>
                <a:gd name="connsiteY4359" fmla="*/ 1326367 h 3952232"/>
                <a:gd name="connsiteX4360" fmla="*/ 6536552 w 7267540"/>
                <a:gd name="connsiteY4360" fmla="*/ 1329451 h 3952232"/>
                <a:gd name="connsiteX4361" fmla="*/ 6539542 w 7267540"/>
                <a:gd name="connsiteY4361" fmla="*/ 1326367 h 3952232"/>
                <a:gd name="connsiteX4362" fmla="*/ 6540439 w 7267540"/>
                <a:gd name="connsiteY4362" fmla="*/ 1324476 h 3952232"/>
                <a:gd name="connsiteX4363" fmla="*/ 6567841 w 7267540"/>
                <a:gd name="connsiteY4363" fmla="*/ 1324476 h 3952232"/>
                <a:gd name="connsiteX4364" fmla="*/ 6611584 w 7267540"/>
                <a:gd name="connsiteY4364" fmla="*/ 1324476 h 3952232"/>
                <a:gd name="connsiteX4365" fmla="*/ 6566047 w 7267540"/>
                <a:gd name="connsiteY4365" fmla="*/ 1324178 h 3952232"/>
                <a:gd name="connsiteX4366" fmla="*/ 6655328 w 7267540"/>
                <a:gd name="connsiteY4366" fmla="*/ 1432022 h 3952232"/>
                <a:gd name="connsiteX4367" fmla="*/ 6657919 w 7267540"/>
                <a:gd name="connsiteY4367" fmla="*/ 1420780 h 3952232"/>
                <a:gd name="connsiteX4368" fmla="*/ 6654032 w 7267540"/>
                <a:gd name="connsiteY4368" fmla="*/ 1431326 h 3952232"/>
                <a:gd name="connsiteX4369" fmla="*/ 6658019 w 7267540"/>
                <a:gd name="connsiteY4369" fmla="*/ 1419785 h 3952232"/>
                <a:gd name="connsiteX4370" fmla="*/ 6659712 w 7267540"/>
                <a:gd name="connsiteY4370" fmla="*/ 1382378 h 3952232"/>
                <a:gd name="connsiteX4371" fmla="*/ 6658517 w 7267540"/>
                <a:gd name="connsiteY4371" fmla="*/ 1363276 h 3952232"/>
                <a:gd name="connsiteX4372" fmla="*/ 6658517 w 7267540"/>
                <a:gd name="connsiteY4372" fmla="*/ 1346861 h 3952232"/>
                <a:gd name="connsiteX4373" fmla="*/ 6658517 w 7267540"/>
                <a:gd name="connsiteY4373" fmla="*/ 1331241 h 3952232"/>
                <a:gd name="connsiteX4374" fmla="*/ 6658517 w 7267540"/>
                <a:gd name="connsiteY4374" fmla="*/ 1346861 h 3952232"/>
                <a:gd name="connsiteX4375" fmla="*/ 6659812 w 7267540"/>
                <a:gd name="connsiteY4375" fmla="*/ 1382378 h 3952232"/>
                <a:gd name="connsiteX4376" fmla="*/ 6656723 w 7267540"/>
                <a:gd name="connsiteY4376" fmla="*/ 1418790 h 3952232"/>
                <a:gd name="connsiteX4377" fmla="*/ 6684325 w 7267540"/>
                <a:gd name="connsiteY4377" fmla="*/ 1327958 h 3952232"/>
                <a:gd name="connsiteX4378" fmla="*/ 6658517 w 7267540"/>
                <a:gd name="connsiteY4378" fmla="*/ 1327958 h 3952232"/>
                <a:gd name="connsiteX4379" fmla="*/ 6658517 w 7267540"/>
                <a:gd name="connsiteY4379" fmla="*/ 1330545 h 3952232"/>
                <a:gd name="connsiteX4380" fmla="*/ 6654232 w 7267540"/>
                <a:gd name="connsiteY4380" fmla="*/ 1326665 h 3952232"/>
                <a:gd name="connsiteX4381" fmla="*/ 6684125 w 7267540"/>
                <a:gd name="connsiteY4381" fmla="*/ 1327461 h 3952232"/>
                <a:gd name="connsiteX4382" fmla="*/ 6710132 w 7267540"/>
                <a:gd name="connsiteY4382" fmla="*/ 1327461 h 3952232"/>
                <a:gd name="connsiteX4383" fmla="*/ 6683029 w 7267540"/>
                <a:gd name="connsiteY4383" fmla="*/ 1327262 h 3952232"/>
                <a:gd name="connsiteX4384" fmla="*/ 6724182 w 7267540"/>
                <a:gd name="connsiteY4384" fmla="*/ 1371434 h 3952232"/>
                <a:gd name="connsiteX4385" fmla="*/ 6726773 w 7267540"/>
                <a:gd name="connsiteY4385" fmla="*/ 1372330 h 3952232"/>
                <a:gd name="connsiteX4386" fmla="*/ 6728567 w 7267540"/>
                <a:gd name="connsiteY4386" fmla="*/ 1375613 h 3952232"/>
                <a:gd name="connsiteX4387" fmla="*/ 6722388 w 7267540"/>
                <a:gd name="connsiteY4387" fmla="*/ 1370738 h 3952232"/>
                <a:gd name="connsiteX4388" fmla="*/ 6728766 w 7267540"/>
                <a:gd name="connsiteY4388" fmla="*/ 1376011 h 3952232"/>
                <a:gd name="connsiteX4389" fmla="*/ 6732552 w 7267540"/>
                <a:gd name="connsiteY4389" fmla="*/ 1381781 h 3952232"/>
                <a:gd name="connsiteX4390" fmla="*/ 6726972 w 7267540"/>
                <a:gd name="connsiteY4390" fmla="*/ 1375314 h 3952232"/>
                <a:gd name="connsiteX4391" fmla="*/ 6733748 w 7267540"/>
                <a:gd name="connsiteY4391" fmla="*/ 1384169 h 3952232"/>
                <a:gd name="connsiteX4392" fmla="*/ 6732752 w 7267540"/>
                <a:gd name="connsiteY4392" fmla="*/ 1381980 h 3952232"/>
                <a:gd name="connsiteX4393" fmla="*/ 6736837 w 7267540"/>
                <a:gd name="connsiteY4393" fmla="*/ 1385661 h 3952232"/>
                <a:gd name="connsiteX4394" fmla="*/ 6731954 w 7267540"/>
                <a:gd name="connsiteY4394" fmla="*/ 1383472 h 3952232"/>
                <a:gd name="connsiteX4395" fmla="*/ 6763641 w 7267540"/>
                <a:gd name="connsiteY4395" fmla="*/ 1182209 h 3952232"/>
                <a:gd name="connsiteX4396" fmla="*/ 6759656 w 7267540"/>
                <a:gd name="connsiteY4396" fmla="*/ 1183005 h 3952232"/>
                <a:gd name="connsiteX4397" fmla="*/ 6764139 w 7267540"/>
                <a:gd name="connsiteY4397" fmla="*/ 1182010 h 3952232"/>
                <a:gd name="connsiteX4398" fmla="*/ 6775598 w 7267540"/>
                <a:gd name="connsiteY4398" fmla="*/ 1113662 h 3952232"/>
                <a:gd name="connsiteX4399" fmla="*/ 6775598 w 7267540"/>
                <a:gd name="connsiteY4399" fmla="*/ 1112767 h 3952232"/>
                <a:gd name="connsiteX4400" fmla="*/ 6776794 w 7267540"/>
                <a:gd name="connsiteY4400" fmla="*/ 1114359 h 3952232"/>
                <a:gd name="connsiteX4401" fmla="*/ 6781677 w 7267540"/>
                <a:gd name="connsiteY4401" fmla="*/ 1126198 h 3952232"/>
                <a:gd name="connsiteX4402" fmla="*/ 6781677 w 7267540"/>
                <a:gd name="connsiteY4402" fmla="*/ 1136146 h 3952232"/>
                <a:gd name="connsiteX4403" fmla="*/ 6779983 w 7267540"/>
                <a:gd name="connsiteY4403" fmla="*/ 1125501 h 3952232"/>
                <a:gd name="connsiteX4404" fmla="*/ 6781677 w 7267540"/>
                <a:gd name="connsiteY4404" fmla="*/ 1136743 h 3952232"/>
                <a:gd name="connsiteX4405" fmla="*/ 6788452 w 7267540"/>
                <a:gd name="connsiteY4405" fmla="*/ 1145598 h 3952232"/>
                <a:gd name="connsiteX4406" fmla="*/ 6779983 w 7267540"/>
                <a:gd name="connsiteY4406" fmla="*/ 1136047 h 395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</a:cxnLst>
              <a:rect l="l" t="t" r="r" b="b"/>
              <a:pathLst>
                <a:path w="7267540" h="3952232">
                  <a:moveTo>
                    <a:pt x="7263057" y="827338"/>
                  </a:moveTo>
                  <a:cubicBezTo>
                    <a:pt x="7245719" y="813310"/>
                    <a:pt x="7253093" y="780081"/>
                    <a:pt x="7226189" y="775604"/>
                  </a:cubicBezTo>
                  <a:cubicBezTo>
                    <a:pt x="7219314" y="801570"/>
                    <a:pt x="7206260" y="773614"/>
                    <a:pt x="7200281" y="762671"/>
                  </a:cubicBezTo>
                  <a:cubicBezTo>
                    <a:pt x="7201577" y="758890"/>
                    <a:pt x="7204965" y="747947"/>
                    <a:pt x="7206260" y="743768"/>
                  </a:cubicBezTo>
                  <a:cubicBezTo>
                    <a:pt x="7202374" y="736903"/>
                    <a:pt x="7192011" y="717503"/>
                    <a:pt x="7208253" y="720886"/>
                  </a:cubicBezTo>
                  <a:cubicBezTo>
                    <a:pt x="7208950" y="693029"/>
                    <a:pt x="7198288" y="709047"/>
                    <a:pt x="7181349" y="698999"/>
                  </a:cubicBezTo>
                  <a:cubicBezTo>
                    <a:pt x="7169591" y="696313"/>
                    <a:pt x="7176168" y="686065"/>
                    <a:pt x="7159428" y="689050"/>
                  </a:cubicBezTo>
                  <a:cubicBezTo>
                    <a:pt x="7162257" y="683101"/>
                    <a:pt x="7162257" y="676196"/>
                    <a:pt x="7159428" y="670247"/>
                  </a:cubicBezTo>
                  <a:lnTo>
                    <a:pt x="7164410" y="661194"/>
                  </a:lnTo>
                  <a:cubicBezTo>
                    <a:pt x="7157634" y="655722"/>
                    <a:pt x="7161619" y="650449"/>
                    <a:pt x="7166403" y="645375"/>
                  </a:cubicBezTo>
                  <a:cubicBezTo>
                    <a:pt x="7155840" y="601998"/>
                    <a:pt x="7164908" y="533452"/>
                    <a:pt x="7161421" y="486195"/>
                  </a:cubicBezTo>
                  <a:cubicBezTo>
                    <a:pt x="7159926" y="473759"/>
                    <a:pt x="7167997" y="429686"/>
                    <a:pt x="7148466" y="426503"/>
                  </a:cubicBezTo>
                  <a:cubicBezTo>
                    <a:pt x="7145975" y="422125"/>
                    <a:pt x="7139997" y="409888"/>
                    <a:pt x="7134517" y="408495"/>
                  </a:cubicBezTo>
                  <a:cubicBezTo>
                    <a:pt x="7127541" y="397950"/>
                    <a:pt x="7083100" y="364025"/>
                    <a:pt x="7087684" y="394567"/>
                  </a:cubicBezTo>
                  <a:cubicBezTo>
                    <a:pt x="7078517" y="397353"/>
                    <a:pt x="7060680" y="388797"/>
                    <a:pt x="7058787" y="402526"/>
                  </a:cubicBezTo>
                  <a:cubicBezTo>
                    <a:pt x="7045355" y="403959"/>
                    <a:pt x="7032411" y="408376"/>
                    <a:pt x="7020922" y="415460"/>
                  </a:cubicBezTo>
                  <a:cubicBezTo>
                    <a:pt x="7016937" y="412276"/>
                    <a:pt x="7008267" y="406406"/>
                    <a:pt x="7003982" y="403521"/>
                  </a:cubicBezTo>
                  <a:cubicBezTo>
                    <a:pt x="7003484" y="397950"/>
                    <a:pt x="7000894" y="375764"/>
                    <a:pt x="7003982" y="370690"/>
                  </a:cubicBezTo>
                  <a:lnTo>
                    <a:pt x="6995015" y="367706"/>
                  </a:lnTo>
                  <a:cubicBezTo>
                    <a:pt x="6974289" y="350992"/>
                    <a:pt x="6951769" y="414763"/>
                    <a:pt x="6937221" y="425408"/>
                  </a:cubicBezTo>
                  <a:cubicBezTo>
                    <a:pt x="6911911" y="463412"/>
                    <a:pt x="6874944" y="504501"/>
                    <a:pt x="6876438" y="552752"/>
                  </a:cubicBezTo>
                  <a:cubicBezTo>
                    <a:pt x="6871755" y="561607"/>
                    <a:pt x="6855613" y="565288"/>
                    <a:pt x="6857506" y="576629"/>
                  </a:cubicBezTo>
                  <a:cubicBezTo>
                    <a:pt x="6854118" y="578878"/>
                    <a:pt x="6851925" y="582529"/>
                    <a:pt x="6851527" y="586578"/>
                  </a:cubicBezTo>
                  <a:cubicBezTo>
                    <a:pt x="6846744" y="594338"/>
                    <a:pt x="6845947" y="599511"/>
                    <a:pt x="6853520" y="605580"/>
                  </a:cubicBezTo>
                  <a:cubicBezTo>
                    <a:pt x="6850879" y="610405"/>
                    <a:pt x="6847890" y="615031"/>
                    <a:pt x="6844552" y="619409"/>
                  </a:cubicBezTo>
                  <a:cubicBezTo>
                    <a:pt x="6842460" y="625279"/>
                    <a:pt x="6846645" y="632044"/>
                    <a:pt x="6843556" y="637316"/>
                  </a:cubicBezTo>
                  <a:cubicBezTo>
                    <a:pt x="6852125" y="635028"/>
                    <a:pt x="6851826" y="644480"/>
                    <a:pt x="6850531" y="650349"/>
                  </a:cubicBezTo>
                  <a:cubicBezTo>
                    <a:pt x="6841862" y="657811"/>
                    <a:pt x="6824823" y="666566"/>
                    <a:pt x="6834588" y="679101"/>
                  </a:cubicBezTo>
                  <a:cubicBezTo>
                    <a:pt x="6817748" y="688453"/>
                    <a:pt x="6799114" y="700193"/>
                    <a:pt x="6791741" y="718896"/>
                  </a:cubicBezTo>
                  <a:cubicBezTo>
                    <a:pt x="6794830" y="726557"/>
                    <a:pt x="6805990" y="733123"/>
                    <a:pt x="6803698" y="741778"/>
                  </a:cubicBezTo>
                  <a:cubicBezTo>
                    <a:pt x="6799812" y="740435"/>
                    <a:pt x="6795806" y="739430"/>
                    <a:pt x="6791741" y="738794"/>
                  </a:cubicBezTo>
                  <a:cubicBezTo>
                    <a:pt x="6790346" y="737102"/>
                    <a:pt x="6787356" y="732824"/>
                    <a:pt x="6784765" y="732824"/>
                  </a:cubicBezTo>
                  <a:cubicBezTo>
                    <a:pt x="6782474" y="735610"/>
                    <a:pt x="6778089" y="739391"/>
                    <a:pt x="6781776" y="742773"/>
                  </a:cubicBezTo>
                  <a:cubicBezTo>
                    <a:pt x="6779823" y="746554"/>
                    <a:pt x="6779823" y="751031"/>
                    <a:pt x="6781776" y="754811"/>
                  </a:cubicBezTo>
                  <a:cubicBezTo>
                    <a:pt x="6778548" y="758701"/>
                    <a:pt x="6776784" y="763586"/>
                    <a:pt x="6776794" y="768640"/>
                  </a:cubicBezTo>
                  <a:cubicBezTo>
                    <a:pt x="6764638" y="768640"/>
                    <a:pt x="6773008" y="748742"/>
                    <a:pt x="6755869" y="748742"/>
                  </a:cubicBezTo>
                  <a:cubicBezTo>
                    <a:pt x="6755072" y="752990"/>
                    <a:pt x="6751226" y="755985"/>
                    <a:pt x="6746901" y="755707"/>
                  </a:cubicBezTo>
                  <a:cubicBezTo>
                    <a:pt x="6739328" y="771028"/>
                    <a:pt x="6731755" y="770431"/>
                    <a:pt x="6721990" y="756701"/>
                  </a:cubicBezTo>
                  <a:cubicBezTo>
                    <a:pt x="6716808" y="759089"/>
                    <a:pt x="6706745" y="764760"/>
                    <a:pt x="6702061" y="767645"/>
                  </a:cubicBezTo>
                  <a:cubicBezTo>
                    <a:pt x="6713620" y="781175"/>
                    <a:pt x="6692595" y="793711"/>
                    <a:pt x="6694090" y="807440"/>
                  </a:cubicBezTo>
                  <a:cubicBezTo>
                    <a:pt x="6692495" y="809569"/>
                    <a:pt x="6691469" y="812066"/>
                    <a:pt x="6691100" y="814703"/>
                  </a:cubicBezTo>
                  <a:cubicBezTo>
                    <a:pt x="6691738" y="818473"/>
                    <a:pt x="6693083" y="822085"/>
                    <a:pt x="6695086" y="825348"/>
                  </a:cubicBezTo>
                  <a:cubicBezTo>
                    <a:pt x="6694488" y="826641"/>
                    <a:pt x="6693790" y="827934"/>
                    <a:pt x="6693193" y="829427"/>
                  </a:cubicBezTo>
                  <a:cubicBezTo>
                    <a:pt x="6691688" y="834759"/>
                    <a:pt x="6689297" y="839803"/>
                    <a:pt x="6686118" y="844350"/>
                  </a:cubicBezTo>
                  <a:lnTo>
                    <a:pt x="6685221" y="845046"/>
                  </a:lnTo>
                  <a:cubicBezTo>
                    <a:pt x="6683667" y="847812"/>
                    <a:pt x="6681933" y="850468"/>
                    <a:pt x="6680039" y="853005"/>
                  </a:cubicBezTo>
                  <a:cubicBezTo>
                    <a:pt x="6679541" y="856020"/>
                    <a:pt x="6679880" y="859124"/>
                    <a:pt x="6681036" y="861959"/>
                  </a:cubicBezTo>
                  <a:lnTo>
                    <a:pt x="6678147" y="855194"/>
                  </a:lnTo>
                  <a:lnTo>
                    <a:pt x="6680039" y="853005"/>
                  </a:lnTo>
                  <a:cubicBezTo>
                    <a:pt x="6680767" y="849822"/>
                    <a:pt x="6682600" y="846996"/>
                    <a:pt x="6685221" y="845046"/>
                  </a:cubicBezTo>
                  <a:cubicBezTo>
                    <a:pt x="6688111" y="839972"/>
                    <a:pt x="6690801" y="834401"/>
                    <a:pt x="6693193" y="829427"/>
                  </a:cubicBezTo>
                  <a:cubicBezTo>
                    <a:pt x="6694887" y="821766"/>
                    <a:pt x="6690901" y="819478"/>
                    <a:pt x="6691100" y="814703"/>
                  </a:cubicBezTo>
                  <a:cubicBezTo>
                    <a:pt x="6690911" y="811947"/>
                    <a:pt x="6692017" y="809261"/>
                    <a:pt x="6694090" y="807440"/>
                  </a:cubicBezTo>
                  <a:cubicBezTo>
                    <a:pt x="6624339" y="810226"/>
                    <a:pt x="6551200" y="807440"/>
                    <a:pt x="6481848" y="807440"/>
                  </a:cubicBezTo>
                  <a:cubicBezTo>
                    <a:pt x="6470688" y="808037"/>
                    <a:pt x="6464908" y="806644"/>
                    <a:pt x="6463015" y="812016"/>
                  </a:cubicBezTo>
                  <a:cubicBezTo>
                    <a:pt x="6463015" y="810823"/>
                    <a:pt x="6463015" y="809529"/>
                    <a:pt x="6463015" y="808435"/>
                  </a:cubicBezTo>
                  <a:cubicBezTo>
                    <a:pt x="6402033" y="807440"/>
                    <a:pt x="6335072" y="816692"/>
                    <a:pt x="6275684" y="807440"/>
                  </a:cubicBezTo>
                  <a:cubicBezTo>
                    <a:pt x="6230944" y="824651"/>
                    <a:pt x="6190787" y="859273"/>
                    <a:pt x="6158104" y="895984"/>
                  </a:cubicBezTo>
                  <a:cubicBezTo>
                    <a:pt x="6152723" y="907196"/>
                    <a:pt x="6144891" y="917055"/>
                    <a:pt x="6135186" y="924835"/>
                  </a:cubicBezTo>
                  <a:cubicBezTo>
                    <a:pt x="6129207" y="922746"/>
                    <a:pt x="6120538" y="930506"/>
                    <a:pt x="6116254" y="933888"/>
                  </a:cubicBezTo>
                  <a:cubicBezTo>
                    <a:pt x="6110674" y="935182"/>
                    <a:pt x="6106887" y="937371"/>
                    <a:pt x="6108282" y="943837"/>
                  </a:cubicBezTo>
                  <a:cubicBezTo>
                    <a:pt x="6103917" y="947896"/>
                    <a:pt x="6098287" y="950324"/>
                    <a:pt x="6092339" y="950702"/>
                  </a:cubicBezTo>
                  <a:cubicBezTo>
                    <a:pt x="6082374" y="958263"/>
                    <a:pt x="6083670" y="970599"/>
                    <a:pt x="6081378" y="980548"/>
                  </a:cubicBezTo>
                  <a:cubicBezTo>
                    <a:pt x="6086769" y="979444"/>
                    <a:pt x="6092030" y="982916"/>
                    <a:pt x="6093136" y="988308"/>
                  </a:cubicBezTo>
                  <a:cubicBezTo>
                    <a:pt x="6093286" y="989024"/>
                    <a:pt x="6093345" y="989761"/>
                    <a:pt x="6093336" y="990497"/>
                  </a:cubicBezTo>
                  <a:cubicBezTo>
                    <a:pt x="6088353" y="993282"/>
                    <a:pt x="6073407" y="999252"/>
                    <a:pt x="6073407" y="1006415"/>
                  </a:cubicBezTo>
                  <a:cubicBezTo>
                    <a:pt x="6086061" y="1007609"/>
                    <a:pt x="6101805" y="1014971"/>
                    <a:pt x="6102303" y="1029297"/>
                  </a:cubicBezTo>
                  <a:cubicBezTo>
                    <a:pt x="6104894" y="1044618"/>
                    <a:pt x="6107285" y="1080334"/>
                    <a:pt x="6082374" y="1068197"/>
                  </a:cubicBezTo>
                  <a:lnTo>
                    <a:pt x="6082374" y="1069092"/>
                  </a:lnTo>
                  <a:cubicBezTo>
                    <a:pt x="6070816" y="1068197"/>
                    <a:pt x="6059357" y="1083518"/>
                    <a:pt x="6049492" y="1088094"/>
                  </a:cubicBezTo>
                  <a:cubicBezTo>
                    <a:pt x="6047300" y="1091377"/>
                    <a:pt x="6042417" y="1101127"/>
                    <a:pt x="6037535" y="1100928"/>
                  </a:cubicBezTo>
                  <a:cubicBezTo>
                    <a:pt x="6026803" y="1107166"/>
                    <a:pt x="6014955" y="1111255"/>
                    <a:pt x="6002659" y="1112966"/>
                  </a:cubicBezTo>
                  <a:cubicBezTo>
                    <a:pt x="5981794" y="1109096"/>
                    <a:pt x="5960310" y="1110081"/>
                    <a:pt x="5939884" y="1115851"/>
                  </a:cubicBezTo>
                  <a:cubicBezTo>
                    <a:pt x="5929919" y="1123512"/>
                    <a:pt x="5915271" y="1105902"/>
                    <a:pt x="5907001" y="1100928"/>
                  </a:cubicBezTo>
                  <a:cubicBezTo>
                    <a:pt x="5852077" y="1089636"/>
                    <a:pt x="5795071" y="1094123"/>
                    <a:pt x="5742588" y="1113861"/>
                  </a:cubicBezTo>
                  <a:cubicBezTo>
                    <a:pt x="5744182" y="1120030"/>
                    <a:pt x="5747769" y="1132266"/>
                    <a:pt x="5743585" y="1137838"/>
                  </a:cubicBezTo>
                  <a:cubicBezTo>
                    <a:pt x="5739300" y="1148483"/>
                    <a:pt x="5744581" y="1144702"/>
                    <a:pt x="5750560" y="1149677"/>
                  </a:cubicBezTo>
                  <a:cubicBezTo>
                    <a:pt x="5744880" y="1164799"/>
                    <a:pt x="5754944" y="1162710"/>
                    <a:pt x="5762517" y="1170569"/>
                  </a:cubicBezTo>
                  <a:cubicBezTo>
                    <a:pt x="5760524" y="1177633"/>
                    <a:pt x="5767100" y="1182209"/>
                    <a:pt x="5768496" y="1188477"/>
                  </a:cubicBezTo>
                  <a:cubicBezTo>
                    <a:pt x="5774574" y="1200813"/>
                    <a:pt x="5754346" y="1208374"/>
                    <a:pt x="5745578" y="1212453"/>
                  </a:cubicBezTo>
                  <a:cubicBezTo>
                    <a:pt x="5745578" y="1220810"/>
                    <a:pt x="5735613" y="1225188"/>
                    <a:pt x="5734617" y="1233246"/>
                  </a:cubicBezTo>
                  <a:cubicBezTo>
                    <a:pt x="5730233" y="1236330"/>
                    <a:pt x="5720168" y="1240111"/>
                    <a:pt x="5715684" y="1243195"/>
                  </a:cubicBezTo>
                  <a:cubicBezTo>
                    <a:pt x="5696851" y="1255034"/>
                    <a:pt x="5677421" y="1275628"/>
                    <a:pt x="5655898" y="1283985"/>
                  </a:cubicBezTo>
                  <a:cubicBezTo>
                    <a:pt x="5642845" y="1288860"/>
                    <a:pt x="5628097" y="1305076"/>
                    <a:pt x="5614047" y="1299903"/>
                  </a:cubicBezTo>
                  <a:cubicBezTo>
                    <a:pt x="5599320" y="1315612"/>
                    <a:pt x="5580786" y="1327262"/>
                    <a:pt x="5560240" y="1333728"/>
                  </a:cubicBezTo>
                  <a:cubicBezTo>
                    <a:pt x="5527856" y="1343080"/>
                    <a:pt x="5494873" y="1358003"/>
                    <a:pt x="5463585" y="1369544"/>
                  </a:cubicBezTo>
                  <a:cubicBezTo>
                    <a:pt x="5448837" y="1378498"/>
                    <a:pt x="5433692" y="1397301"/>
                    <a:pt x="5419741" y="1407349"/>
                  </a:cubicBezTo>
                  <a:cubicBezTo>
                    <a:pt x="5414361" y="1410831"/>
                    <a:pt x="5404595" y="1418293"/>
                    <a:pt x="5397819" y="1414313"/>
                  </a:cubicBezTo>
                  <a:cubicBezTo>
                    <a:pt x="5394332" y="1414313"/>
                    <a:pt x="5381379" y="1417000"/>
                    <a:pt x="5378887" y="1413318"/>
                  </a:cubicBezTo>
                  <a:cubicBezTo>
                    <a:pt x="5372012" y="1409239"/>
                    <a:pt x="5358959" y="1417298"/>
                    <a:pt x="5350987" y="1418293"/>
                  </a:cubicBezTo>
                  <a:cubicBezTo>
                    <a:pt x="5344570" y="1423655"/>
                    <a:pt x="5336429" y="1426511"/>
                    <a:pt x="5328069" y="1426351"/>
                  </a:cubicBezTo>
                  <a:cubicBezTo>
                    <a:pt x="5311628" y="1442170"/>
                    <a:pt x="5288710" y="1424561"/>
                    <a:pt x="5284226" y="1406454"/>
                  </a:cubicBezTo>
                  <a:cubicBezTo>
                    <a:pt x="5255329" y="1386556"/>
                    <a:pt x="5265393" y="1430629"/>
                    <a:pt x="5239386" y="1397401"/>
                  </a:cubicBezTo>
                  <a:cubicBezTo>
                    <a:pt x="5234702" y="1395510"/>
                    <a:pt x="5224140" y="1391033"/>
                    <a:pt x="5219457" y="1389442"/>
                  </a:cubicBezTo>
                  <a:cubicBezTo>
                    <a:pt x="5213877" y="1383572"/>
                    <a:pt x="5204809" y="1377304"/>
                    <a:pt x="5196539" y="1381582"/>
                  </a:cubicBezTo>
                  <a:cubicBezTo>
                    <a:pt x="5195442" y="1377602"/>
                    <a:pt x="5189265" y="1375712"/>
                    <a:pt x="5180695" y="1375016"/>
                  </a:cubicBezTo>
                  <a:cubicBezTo>
                    <a:pt x="5184382" y="1375016"/>
                    <a:pt x="5187969" y="1375016"/>
                    <a:pt x="5191557" y="1375016"/>
                  </a:cubicBezTo>
                  <a:cubicBezTo>
                    <a:pt x="5198531" y="1372927"/>
                    <a:pt x="5187670" y="1361486"/>
                    <a:pt x="5198531" y="1355118"/>
                  </a:cubicBezTo>
                  <a:cubicBezTo>
                    <a:pt x="5203334" y="1352890"/>
                    <a:pt x="5206692" y="1348403"/>
                    <a:pt x="5207500" y="1343180"/>
                  </a:cubicBezTo>
                  <a:cubicBezTo>
                    <a:pt x="5216956" y="1339827"/>
                    <a:pt x="5223572" y="1331271"/>
                    <a:pt x="5224439" y="1321293"/>
                  </a:cubicBezTo>
                  <a:cubicBezTo>
                    <a:pt x="5232311" y="1318308"/>
                    <a:pt x="5231813" y="1307165"/>
                    <a:pt x="5231414" y="1300400"/>
                  </a:cubicBezTo>
                  <a:cubicBezTo>
                    <a:pt x="5230995" y="1286492"/>
                    <a:pt x="5240671" y="1274305"/>
                    <a:pt x="5254332" y="1271549"/>
                  </a:cubicBezTo>
                  <a:cubicBezTo>
                    <a:pt x="5262702" y="1267669"/>
                    <a:pt x="5265193" y="1247174"/>
                    <a:pt x="5266290" y="1238718"/>
                  </a:cubicBezTo>
                  <a:cubicBezTo>
                    <a:pt x="5269080" y="1234241"/>
                    <a:pt x="5280339" y="1233047"/>
                    <a:pt x="5285222" y="1230759"/>
                  </a:cubicBezTo>
                  <a:lnTo>
                    <a:pt x="5288211" y="1241703"/>
                  </a:lnTo>
                  <a:cubicBezTo>
                    <a:pt x="5322688" y="1229864"/>
                    <a:pt x="5310033" y="1185592"/>
                    <a:pt x="5322090" y="1159128"/>
                  </a:cubicBezTo>
                  <a:cubicBezTo>
                    <a:pt x="5302161" y="1131570"/>
                    <a:pt x="5310731" y="1090183"/>
                    <a:pt x="5299172" y="1059641"/>
                  </a:cubicBezTo>
                  <a:cubicBezTo>
                    <a:pt x="5299172" y="1027606"/>
                    <a:pt x="5291799" y="986119"/>
                    <a:pt x="5257322" y="974181"/>
                  </a:cubicBezTo>
                  <a:cubicBezTo>
                    <a:pt x="5253336" y="975773"/>
                    <a:pt x="5243172" y="978956"/>
                    <a:pt x="5242375" y="984130"/>
                  </a:cubicBezTo>
                  <a:cubicBezTo>
                    <a:pt x="5233706" y="987472"/>
                    <a:pt x="5224678" y="989781"/>
                    <a:pt x="5215471" y="990994"/>
                  </a:cubicBezTo>
                  <a:cubicBezTo>
                    <a:pt x="5214973" y="997859"/>
                    <a:pt x="5202617" y="999849"/>
                    <a:pt x="5197535" y="1000943"/>
                  </a:cubicBezTo>
                  <a:cubicBezTo>
                    <a:pt x="5192144" y="1010394"/>
                    <a:pt x="5187800" y="1020403"/>
                    <a:pt x="5184582" y="1030789"/>
                  </a:cubicBezTo>
                  <a:cubicBezTo>
                    <a:pt x="5177935" y="1040260"/>
                    <a:pt x="5170611" y="1049244"/>
                    <a:pt x="5162660" y="1057651"/>
                  </a:cubicBezTo>
                  <a:cubicBezTo>
                    <a:pt x="5155585" y="1049990"/>
                    <a:pt x="5145023" y="1041136"/>
                    <a:pt x="5133763" y="1043822"/>
                  </a:cubicBezTo>
                  <a:cubicBezTo>
                    <a:pt x="5130973" y="1039047"/>
                    <a:pt x="5127286" y="1030789"/>
                    <a:pt x="5131770" y="1025815"/>
                  </a:cubicBezTo>
                  <a:cubicBezTo>
                    <a:pt x="5131770" y="1007708"/>
                    <a:pt x="5137251" y="983831"/>
                    <a:pt x="5160667" y="989104"/>
                  </a:cubicBezTo>
                  <a:cubicBezTo>
                    <a:pt x="5159969" y="980548"/>
                    <a:pt x="5167542" y="977961"/>
                    <a:pt x="5174617" y="977066"/>
                  </a:cubicBezTo>
                  <a:cubicBezTo>
                    <a:pt x="5175753" y="964839"/>
                    <a:pt x="5178423" y="952801"/>
                    <a:pt x="5182589" y="941251"/>
                  </a:cubicBezTo>
                  <a:cubicBezTo>
                    <a:pt x="5188478" y="941997"/>
                    <a:pt x="5194277" y="939331"/>
                    <a:pt x="5197535" y="934386"/>
                  </a:cubicBezTo>
                  <a:cubicBezTo>
                    <a:pt x="5213279" y="925731"/>
                    <a:pt x="5206702" y="894591"/>
                    <a:pt x="5208496" y="879668"/>
                  </a:cubicBezTo>
                  <a:cubicBezTo>
                    <a:pt x="5216468" y="866933"/>
                    <a:pt x="5208994" y="849822"/>
                    <a:pt x="5208496" y="835794"/>
                  </a:cubicBezTo>
                  <a:cubicBezTo>
                    <a:pt x="5208496" y="830819"/>
                    <a:pt x="5196240" y="825845"/>
                    <a:pt x="5193549" y="820871"/>
                  </a:cubicBezTo>
                  <a:cubicBezTo>
                    <a:pt x="5192752" y="794805"/>
                    <a:pt x="5190859" y="795999"/>
                    <a:pt x="5214475" y="805948"/>
                  </a:cubicBezTo>
                  <a:cubicBezTo>
                    <a:pt x="5211306" y="793024"/>
                    <a:pt x="5205536" y="780877"/>
                    <a:pt x="5197535" y="770232"/>
                  </a:cubicBezTo>
                  <a:cubicBezTo>
                    <a:pt x="5203713" y="762870"/>
                    <a:pt x="5190062" y="752224"/>
                    <a:pt x="5186575" y="747250"/>
                  </a:cubicBezTo>
                  <a:cubicBezTo>
                    <a:pt x="5171528" y="751926"/>
                    <a:pt x="5156681" y="736704"/>
                    <a:pt x="5142731" y="733322"/>
                  </a:cubicBezTo>
                  <a:cubicBezTo>
                    <a:pt x="5136254" y="722478"/>
                    <a:pt x="5121706" y="723373"/>
                    <a:pt x="5110845" y="721383"/>
                  </a:cubicBezTo>
                  <a:cubicBezTo>
                    <a:pt x="5105663" y="703157"/>
                    <a:pt x="5088973" y="690592"/>
                    <a:pt x="5069991" y="690642"/>
                  </a:cubicBezTo>
                  <a:cubicBezTo>
                    <a:pt x="5064311" y="698103"/>
                    <a:pt x="5057934" y="689149"/>
                    <a:pt x="5053051" y="685667"/>
                  </a:cubicBezTo>
                  <a:cubicBezTo>
                    <a:pt x="5016880" y="656518"/>
                    <a:pt x="5029436" y="681290"/>
                    <a:pt x="4995258" y="674624"/>
                  </a:cubicBezTo>
                  <a:lnTo>
                    <a:pt x="5000240" y="687558"/>
                  </a:lnTo>
                  <a:cubicBezTo>
                    <a:pt x="4992278" y="693248"/>
                    <a:pt x="4985791" y="700750"/>
                    <a:pt x="4981307" y="709445"/>
                  </a:cubicBezTo>
                  <a:cubicBezTo>
                    <a:pt x="4982134" y="723731"/>
                    <a:pt x="4993006" y="735421"/>
                    <a:pt x="5007215" y="737301"/>
                  </a:cubicBezTo>
                  <a:cubicBezTo>
                    <a:pt x="5000838" y="747947"/>
                    <a:pt x="4983201" y="745658"/>
                    <a:pt x="4972340" y="746255"/>
                  </a:cubicBezTo>
                  <a:cubicBezTo>
                    <a:pt x="4925706" y="766153"/>
                    <a:pt x="4971742" y="796695"/>
                    <a:pt x="4931485" y="815001"/>
                  </a:cubicBezTo>
                  <a:cubicBezTo>
                    <a:pt x="4920027" y="805052"/>
                    <a:pt x="4932581" y="784558"/>
                    <a:pt x="4927500" y="773117"/>
                  </a:cubicBezTo>
                  <a:cubicBezTo>
                    <a:pt x="4915642" y="777793"/>
                    <a:pt x="4912852" y="794706"/>
                    <a:pt x="4902589" y="800973"/>
                  </a:cubicBezTo>
                  <a:cubicBezTo>
                    <a:pt x="4900795" y="813210"/>
                    <a:pt x="4892027" y="828332"/>
                    <a:pt x="4879670" y="815896"/>
                  </a:cubicBezTo>
                  <a:cubicBezTo>
                    <a:pt x="4865621" y="844449"/>
                    <a:pt x="4865919" y="803162"/>
                    <a:pt x="4859741" y="856686"/>
                  </a:cubicBezTo>
                  <a:cubicBezTo>
                    <a:pt x="4838517" y="858875"/>
                    <a:pt x="4835428" y="869222"/>
                    <a:pt x="4842802" y="887527"/>
                  </a:cubicBezTo>
                  <a:cubicBezTo>
                    <a:pt x="4840391" y="896969"/>
                    <a:pt x="4839055" y="906639"/>
                    <a:pt x="4838816" y="916379"/>
                  </a:cubicBezTo>
                  <a:cubicBezTo>
                    <a:pt x="4833505" y="938893"/>
                    <a:pt x="4822136" y="959536"/>
                    <a:pt x="4805934" y="976071"/>
                  </a:cubicBezTo>
                  <a:cubicBezTo>
                    <a:pt x="4810019" y="988706"/>
                    <a:pt x="4819087" y="1004127"/>
                    <a:pt x="4815898" y="1017856"/>
                  </a:cubicBezTo>
                  <a:cubicBezTo>
                    <a:pt x="4816695" y="1028601"/>
                    <a:pt x="4805236" y="1038848"/>
                    <a:pt x="4802945" y="1048797"/>
                  </a:cubicBezTo>
                  <a:cubicBezTo>
                    <a:pt x="4811614" y="1079857"/>
                    <a:pt x="4822953" y="1110111"/>
                    <a:pt x="4836823" y="1139231"/>
                  </a:cubicBezTo>
                  <a:cubicBezTo>
                    <a:pt x="4850146" y="1188865"/>
                    <a:pt x="4845921" y="1241573"/>
                    <a:pt x="4824866" y="1288462"/>
                  </a:cubicBezTo>
                  <a:cubicBezTo>
                    <a:pt x="4807728" y="1307265"/>
                    <a:pt x="4802247" y="1340693"/>
                    <a:pt x="4784012" y="1358103"/>
                  </a:cubicBezTo>
                  <a:lnTo>
                    <a:pt x="4767073" y="1370041"/>
                  </a:lnTo>
                  <a:cubicBezTo>
                    <a:pt x="4747144" y="1381482"/>
                    <a:pt x="4723628" y="1397003"/>
                    <a:pt x="4699315" y="1392923"/>
                  </a:cubicBezTo>
                  <a:cubicBezTo>
                    <a:pt x="4692240" y="1376011"/>
                    <a:pt x="4689350" y="1390735"/>
                    <a:pt x="4679386" y="1378995"/>
                  </a:cubicBezTo>
                  <a:lnTo>
                    <a:pt x="4679386" y="1386059"/>
                  </a:lnTo>
                  <a:cubicBezTo>
                    <a:pt x="4679386" y="1381482"/>
                    <a:pt x="4679386" y="1377105"/>
                    <a:pt x="4678390" y="1373026"/>
                  </a:cubicBezTo>
                  <a:cubicBezTo>
                    <a:pt x="4673806" y="1370837"/>
                    <a:pt x="4665834" y="1353129"/>
                    <a:pt x="4668425" y="1349149"/>
                  </a:cubicBezTo>
                  <a:cubicBezTo>
                    <a:pt x="4665226" y="1341469"/>
                    <a:pt x="4662885" y="1333460"/>
                    <a:pt x="4661450" y="1325272"/>
                  </a:cubicBezTo>
                  <a:cubicBezTo>
                    <a:pt x="4659756" y="1314328"/>
                    <a:pt x="4648297" y="1306270"/>
                    <a:pt x="4644510" y="1295426"/>
                  </a:cubicBezTo>
                  <a:cubicBezTo>
                    <a:pt x="4637436" y="1279906"/>
                    <a:pt x="4644510" y="1262495"/>
                    <a:pt x="4644510" y="1246677"/>
                  </a:cubicBezTo>
                  <a:cubicBezTo>
                    <a:pt x="4639429" y="1230162"/>
                    <a:pt x="4646105" y="1213050"/>
                    <a:pt x="4648496" y="1196933"/>
                  </a:cubicBezTo>
                  <a:cubicBezTo>
                    <a:pt x="4637436" y="1186985"/>
                    <a:pt x="4642418" y="1168181"/>
                    <a:pt x="4632553" y="1157138"/>
                  </a:cubicBezTo>
                  <a:cubicBezTo>
                    <a:pt x="4635403" y="1151099"/>
                    <a:pt x="4635024" y="1144036"/>
                    <a:pt x="4631557" y="1138335"/>
                  </a:cubicBezTo>
                  <a:cubicBezTo>
                    <a:pt x="4632254" y="1131471"/>
                    <a:pt x="4633251" y="1113463"/>
                    <a:pt x="4633550" y="1106400"/>
                  </a:cubicBezTo>
                  <a:cubicBezTo>
                    <a:pt x="4636579" y="1095456"/>
                    <a:pt x="4640585" y="1084801"/>
                    <a:pt x="4645507" y="1074564"/>
                  </a:cubicBezTo>
                  <a:cubicBezTo>
                    <a:pt x="4642717" y="1065908"/>
                    <a:pt x="4652084" y="1049592"/>
                    <a:pt x="4656468" y="1042728"/>
                  </a:cubicBezTo>
                  <a:cubicBezTo>
                    <a:pt x="4656309" y="1037405"/>
                    <a:pt x="4656637" y="1032073"/>
                    <a:pt x="4657464" y="1026810"/>
                  </a:cubicBezTo>
                  <a:cubicBezTo>
                    <a:pt x="4653110" y="1020771"/>
                    <a:pt x="4651645" y="1013130"/>
                    <a:pt x="4653479" y="1005917"/>
                  </a:cubicBezTo>
                  <a:cubicBezTo>
                    <a:pt x="4658560" y="993681"/>
                    <a:pt x="4659059" y="972689"/>
                    <a:pt x="4669422" y="963138"/>
                  </a:cubicBezTo>
                  <a:cubicBezTo>
                    <a:pt x="4675390" y="961198"/>
                    <a:pt x="4679914" y="956303"/>
                    <a:pt x="4681379" y="950204"/>
                  </a:cubicBezTo>
                  <a:cubicBezTo>
                    <a:pt x="4671415" y="923442"/>
                    <a:pt x="4685464" y="891507"/>
                    <a:pt x="4698319" y="867630"/>
                  </a:cubicBezTo>
                  <a:cubicBezTo>
                    <a:pt x="4703201" y="856089"/>
                    <a:pt x="4708283" y="838679"/>
                    <a:pt x="4719244" y="830819"/>
                  </a:cubicBezTo>
                  <a:cubicBezTo>
                    <a:pt x="4720330" y="822731"/>
                    <a:pt x="4723040" y="814951"/>
                    <a:pt x="4727215" y="807937"/>
                  </a:cubicBezTo>
                  <a:cubicBezTo>
                    <a:pt x="4736063" y="800257"/>
                    <a:pt x="4740538" y="788716"/>
                    <a:pt x="4739172" y="777096"/>
                  </a:cubicBezTo>
                  <a:cubicBezTo>
                    <a:pt x="4749137" y="773415"/>
                    <a:pt x="4753621" y="753518"/>
                    <a:pt x="4738176" y="758194"/>
                  </a:cubicBezTo>
                  <a:cubicBezTo>
                    <a:pt x="4730005" y="763367"/>
                    <a:pt x="4731301" y="775206"/>
                    <a:pt x="4723230" y="780180"/>
                  </a:cubicBezTo>
                  <a:cubicBezTo>
                    <a:pt x="4713265" y="777395"/>
                    <a:pt x="4713265" y="790129"/>
                    <a:pt x="4712268" y="795999"/>
                  </a:cubicBezTo>
                  <a:cubicBezTo>
                    <a:pt x="4704197" y="805948"/>
                    <a:pt x="4696326" y="820771"/>
                    <a:pt x="4689350" y="830819"/>
                  </a:cubicBezTo>
                  <a:cubicBezTo>
                    <a:pt x="4674035" y="834889"/>
                    <a:pt x="4661280" y="845474"/>
                    <a:pt x="4654475" y="859770"/>
                  </a:cubicBezTo>
                  <a:cubicBezTo>
                    <a:pt x="4655671" y="869719"/>
                    <a:pt x="4644510" y="876882"/>
                    <a:pt x="4636539" y="879668"/>
                  </a:cubicBezTo>
                  <a:cubicBezTo>
                    <a:pt x="4634347" y="883050"/>
                    <a:pt x="4629166" y="890313"/>
                    <a:pt x="4626575" y="893497"/>
                  </a:cubicBezTo>
                  <a:cubicBezTo>
                    <a:pt x="4616610" y="894093"/>
                    <a:pt x="4611728" y="886632"/>
                    <a:pt x="4619599" y="879668"/>
                  </a:cubicBezTo>
                  <a:cubicBezTo>
                    <a:pt x="4616710" y="865640"/>
                    <a:pt x="4626176" y="854597"/>
                    <a:pt x="4631557" y="842758"/>
                  </a:cubicBezTo>
                  <a:cubicBezTo>
                    <a:pt x="4634437" y="839624"/>
                    <a:pt x="4637097" y="836301"/>
                    <a:pt x="4639528" y="832809"/>
                  </a:cubicBezTo>
                  <a:cubicBezTo>
                    <a:pt x="4638771" y="827954"/>
                    <a:pt x="4639837" y="823000"/>
                    <a:pt x="4642517" y="818881"/>
                  </a:cubicBezTo>
                  <a:cubicBezTo>
                    <a:pt x="4676795" y="810027"/>
                    <a:pt x="4657464" y="822662"/>
                    <a:pt x="4671415" y="794009"/>
                  </a:cubicBezTo>
                  <a:cubicBezTo>
                    <a:pt x="4669949" y="794069"/>
                    <a:pt x="4668495" y="793830"/>
                    <a:pt x="4667130" y="793313"/>
                  </a:cubicBezTo>
                  <a:cubicBezTo>
                    <a:pt x="4672012" y="793313"/>
                    <a:pt x="4674802" y="785354"/>
                    <a:pt x="4676397" y="776101"/>
                  </a:cubicBezTo>
                  <a:cubicBezTo>
                    <a:pt x="4689280" y="759089"/>
                    <a:pt x="4700311" y="740744"/>
                    <a:pt x="4709279" y="721383"/>
                  </a:cubicBezTo>
                  <a:cubicBezTo>
                    <a:pt x="4714759" y="708450"/>
                    <a:pt x="4722632" y="689348"/>
                    <a:pt x="4736183" y="682583"/>
                  </a:cubicBezTo>
                  <a:cubicBezTo>
                    <a:pt x="4751628" y="698103"/>
                    <a:pt x="4767571" y="681389"/>
                    <a:pt x="4774048" y="665770"/>
                  </a:cubicBezTo>
                  <a:lnTo>
                    <a:pt x="4789991" y="679599"/>
                  </a:lnTo>
                  <a:cubicBezTo>
                    <a:pt x="4780803" y="685657"/>
                    <a:pt x="4778273" y="697994"/>
                    <a:pt x="4784341" y="707167"/>
                  </a:cubicBezTo>
                  <a:cubicBezTo>
                    <a:pt x="4786035" y="709733"/>
                    <a:pt x="4788317" y="711882"/>
                    <a:pt x="4790987" y="713424"/>
                  </a:cubicBezTo>
                  <a:cubicBezTo>
                    <a:pt x="4790987" y="681091"/>
                    <a:pt x="4828752" y="673629"/>
                    <a:pt x="4835827" y="641793"/>
                  </a:cubicBezTo>
                  <a:cubicBezTo>
                    <a:pt x="4851063" y="637167"/>
                    <a:pt x="4867494" y="638630"/>
                    <a:pt x="4881663" y="645872"/>
                  </a:cubicBezTo>
                  <a:cubicBezTo>
                    <a:pt x="4890532" y="636919"/>
                    <a:pt x="4896311" y="632939"/>
                    <a:pt x="4908567" y="638809"/>
                  </a:cubicBezTo>
                  <a:cubicBezTo>
                    <a:pt x="4914945" y="637715"/>
                    <a:pt x="4924909" y="621796"/>
                    <a:pt x="4928496" y="616922"/>
                  </a:cubicBezTo>
                  <a:cubicBezTo>
                    <a:pt x="4944897" y="616882"/>
                    <a:pt x="4961259" y="618553"/>
                    <a:pt x="4977322" y="621896"/>
                  </a:cubicBezTo>
                  <a:cubicBezTo>
                    <a:pt x="5000638" y="625577"/>
                    <a:pt x="5010304" y="657612"/>
                    <a:pt x="5034119" y="658706"/>
                  </a:cubicBezTo>
                  <a:cubicBezTo>
                    <a:pt x="5025251" y="646569"/>
                    <a:pt x="5039600" y="638212"/>
                    <a:pt x="5051058" y="640898"/>
                  </a:cubicBezTo>
                  <a:cubicBezTo>
                    <a:pt x="5058591" y="635575"/>
                    <a:pt x="5068934" y="636829"/>
                    <a:pt x="5074973" y="643783"/>
                  </a:cubicBezTo>
                  <a:cubicBezTo>
                    <a:pt x="5093955" y="637784"/>
                    <a:pt x="5113963" y="635755"/>
                    <a:pt x="5133763" y="637814"/>
                  </a:cubicBezTo>
                  <a:cubicBezTo>
                    <a:pt x="5143767" y="642321"/>
                    <a:pt x="5154967" y="643405"/>
                    <a:pt x="5165649" y="640898"/>
                  </a:cubicBezTo>
                  <a:cubicBezTo>
                    <a:pt x="5177806" y="652140"/>
                    <a:pt x="5183585" y="644679"/>
                    <a:pt x="5187571" y="631845"/>
                  </a:cubicBezTo>
                  <a:cubicBezTo>
                    <a:pt x="5181592" y="623488"/>
                    <a:pt x="5169336" y="610753"/>
                    <a:pt x="5157678" y="612942"/>
                  </a:cubicBezTo>
                  <a:cubicBezTo>
                    <a:pt x="5148211" y="609560"/>
                    <a:pt x="5141336" y="615628"/>
                    <a:pt x="5137749" y="623886"/>
                  </a:cubicBezTo>
                  <a:cubicBezTo>
                    <a:pt x="5126389" y="619707"/>
                    <a:pt x="5117820" y="605878"/>
                    <a:pt x="5107855" y="600009"/>
                  </a:cubicBezTo>
                  <a:cubicBezTo>
                    <a:pt x="5109689" y="588001"/>
                    <a:pt x="5108663" y="575734"/>
                    <a:pt x="5104866" y="564193"/>
                  </a:cubicBezTo>
                  <a:cubicBezTo>
                    <a:pt x="5108553" y="545191"/>
                    <a:pt x="5109848" y="521215"/>
                    <a:pt x="5085934" y="542306"/>
                  </a:cubicBezTo>
                  <a:cubicBezTo>
                    <a:pt x="5076258" y="537958"/>
                    <a:pt x="5064869" y="541938"/>
                    <a:pt x="5060026" y="551359"/>
                  </a:cubicBezTo>
                  <a:cubicBezTo>
                    <a:pt x="5051925" y="550225"/>
                    <a:pt x="5044133" y="547489"/>
                    <a:pt x="5037108" y="543301"/>
                  </a:cubicBezTo>
                  <a:lnTo>
                    <a:pt x="5015187" y="548275"/>
                  </a:lnTo>
                  <a:cubicBezTo>
                    <a:pt x="4985891" y="548872"/>
                    <a:pt x="4990276" y="508480"/>
                    <a:pt x="5001236" y="490572"/>
                  </a:cubicBezTo>
                  <a:cubicBezTo>
                    <a:pt x="4978537" y="490493"/>
                    <a:pt x="4956217" y="496313"/>
                    <a:pt x="4936468" y="507485"/>
                  </a:cubicBezTo>
                  <a:cubicBezTo>
                    <a:pt x="4890432" y="504302"/>
                    <a:pt x="4833236" y="505396"/>
                    <a:pt x="4800952" y="543301"/>
                  </a:cubicBezTo>
                  <a:cubicBezTo>
                    <a:pt x="4796129" y="537580"/>
                    <a:pt x="4789971" y="533133"/>
                    <a:pt x="4783016" y="530367"/>
                  </a:cubicBezTo>
                  <a:cubicBezTo>
                    <a:pt x="4777934" y="552752"/>
                    <a:pt x="4758703" y="556035"/>
                    <a:pt x="4748141" y="535342"/>
                  </a:cubicBezTo>
                  <a:cubicBezTo>
                    <a:pt x="4732386" y="540376"/>
                    <a:pt x="4715676" y="541739"/>
                    <a:pt x="4699315" y="539321"/>
                  </a:cubicBezTo>
                  <a:cubicBezTo>
                    <a:pt x="4700810" y="522906"/>
                    <a:pt x="4679386" y="514350"/>
                    <a:pt x="4673408" y="500521"/>
                  </a:cubicBezTo>
                  <a:cubicBezTo>
                    <a:pt x="4672012" y="480624"/>
                    <a:pt x="4647899" y="471471"/>
                    <a:pt x="4631557" y="465701"/>
                  </a:cubicBezTo>
                  <a:cubicBezTo>
                    <a:pt x="4621592" y="465701"/>
                    <a:pt x="4607343" y="463810"/>
                    <a:pt x="4601664" y="454757"/>
                  </a:cubicBezTo>
                  <a:cubicBezTo>
                    <a:pt x="4588411" y="460726"/>
                    <a:pt x="4573564" y="474655"/>
                    <a:pt x="4558817" y="476744"/>
                  </a:cubicBezTo>
                  <a:cubicBezTo>
                    <a:pt x="4559913" y="461920"/>
                    <a:pt x="4572169" y="447594"/>
                    <a:pt x="4576753" y="433865"/>
                  </a:cubicBezTo>
                  <a:cubicBezTo>
                    <a:pt x="4585411" y="428323"/>
                    <a:pt x="4591779" y="419847"/>
                    <a:pt x="4594688" y="409988"/>
                  </a:cubicBezTo>
                  <a:cubicBezTo>
                    <a:pt x="4602859" y="404765"/>
                    <a:pt x="4610532" y="398805"/>
                    <a:pt x="4617606" y="392179"/>
                  </a:cubicBezTo>
                  <a:cubicBezTo>
                    <a:pt x="4624064" y="390777"/>
                    <a:pt x="4628159" y="384419"/>
                    <a:pt x="4626754" y="377983"/>
                  </a:cubicBezTo>
                  <a:cubicBezTo>
                    <a:pt x="4626704" y="377734"/>
                    <a:pt x="4626644" y="377495"/>
                    <a:pt x="4626575" y="377256"/>
                  </a:cubicBezTo>
                  <a:cubicBezTo>
                    <a:pt x="4637934" y="374769"/>
                    <a:pt x="4693934" y="382927"/>
                    <a:pt x="4659457" y="364223"/>
                  </a:cubicBezTo>
                  <a:cubicBezTo>
                    <a:pt x="4610532" y="352484"/>
                    <a:pt x="4576453" y="367109"/>
                    <a:pt x="4545863" y="404018"/>
                  </a:cubicBezTo>
                  <a:cubicBezTo>
                    <a:pt x="4531614" y="410435"/>
                    <a:pt x="4518760" y="419558"/>
                    <a:pt x="4507998" y="430880"/>
                  </a:cubicBezTo>
                  <a:cubicBezTo>
                    <a:pt x="4503713" y="438740"/>
                    <a:pt x="4501123" y="450778"/>
                    <a:pt x="4490062" y="448788"/>
                  </a:cubicBezTo>
                  <a:cubicBezTo>
                    <a:pt x="4479669" y="449763"/>
                    <a:pt x="4470392" y="455692"/>
                    <a:pt x="4465151" y="464706"/>
                  </a:cubicBezTo>
                  <a:cubicBezTo>
                    <a:pt x="4446727" y="476306"/>
                    <a:pt x="4425124" y="481877"/>
                    <a:pt x="4403372" y="480624"/>
                  </a:cubicBezTo>
                  <a:cubicBezTo>
                    <a:pt x="4386333" y="482116"/>
                    <a:pt x="4375970" y="500521"/>
                    <a:pt x="4362518" y="509475"/>
                  </a:cubicBezTo>
                  <a:cubicBezTo>
                    <a:pt x="4349165" y="514052"/>
                    <a:pt x="4326646" y="519424"/>
                    <a:pt x="4315685" y="528378"/>
                  </a:cubicBezTo>
                  <a:cubicBezTo>
                    <a:pt x="4315645" y="528676"/>
                    <a:pt x="4315645" y="528975"/>
                    <a:pt x="4315685" y="529273"/>
                  </a:cubicBezTo>
                  <a:cubicBezTo>
                    <a:pt x="4316392" y="530218"/>
                    <a:pt x="4316960" y="531253"/>
                    <a:pt x="4317379" y="532357"/>
                  </a:cubicBezTo>
                  <a:cubicBezTo>
                    <a:pt x="4317927" y="533113"/>
                    <a:pt x="4318834" y="533531"/>
                    <a:pt x="4319770" y="533452"/>
                  </a:cubicBezTo>
                  <a:cubicBezTo>
                    <a:pt x="4321006" y="532815"/>
                    <a:pt x="4322361" y="532437"/>
                    <a:pt x="4323756" y="532357"/>
                  </a:cubicBezTo>
                  <a:cubicBezTo>
                    <a:pt x="4322590" y="533153"/>
                    <a:pt x="4321185" y="533541"/>
                    <a:pt x="4319770" y="533452"/>
                  </a:cubicBezTo>
                  <a:lnTo>
                    <a:pt x="4318375" y="534347"/>
                  </a:lnTo>
                  <a:cubicBezTo>
                    <a:pt x="4317907" y="533760"/>
                    <a:pt x="4317568" y="533084"/>
                    <a:pt x="4317379" y="532357"/>
                  </a:cubicBezTo>
                  <a:cubicBezTo>
                    <a:pt x="4316422" y="531591"/>
                    <a:pt x="4315815" y="530487"/>
                    <a:pt x="4315685" y="529273"/>
                  </a:cubicBezTo>
                  <a:cubicBezTo>
                    <a:pt x="4314888" y="528477"/>
                    <a:pt x="4313892" y="528378"/>
                    <a:pt x="4312397" y="529273"/>
                  </a:cubicBezTo>
                  <a:cubicBezTo>
                    <a:pt x="4308511" y="526487"/>
                    <a:pt x="4301237" y="522011"/>
                    <a:pt x="4296454" y="525294"/>
                  </a:cubicBezTo>
                  <a:lnTo>
                    <a:pt x="4274532" y="505396"/>
                  </a:lnTo>
                  <a:cubicBezTo>
                    <a:pt x="4274064" y="511833"/>
                    <a:pt x="4269729" y="517355"/>
                    <a:pt x="4263571" y="519324"/>
                  </a:cubicBezTo>
                  <a:cubicBezTo>
                    <a:pt x="4259286" y="522906"/>
                    <a:pt x="4253009" y="526686"/>
                    <a:pt x="4247628" y="523304"/>
                  </a:cubicBezTo>
                  <a:cubicBezTo>
                    <a:pt x="4251913" y="517633"/>
                    <a:pt x="4253009" y="507983"/>
                    <a:pt x="4260582" y="504401"/>
                  </a:cubicBezTo>
                  <a:cubicBezTo>
                    <a:pt x="4252810" y="496144"/>
                    <a:pt x="4262176" y="488185"/>
                    <a:pt x="4267557" y="481619"/>
                  </a:cubicBezTo>
                  <a:cubicBezTo>
                    <a:pt x="4272938" y="475052"/>
                    <a:pt x="4275329" y="466895"/>
                    <a:pt x="4266561" y="460627"/>
                  </a:cubicBezTo>
                  <a:cubicBezTo>
                    <a:pt x="4259585" y="455155"/>
                    <a:pt x="4251913" y="445206"/>
                    <a:pt x="4242646" y="451772"/>
                  </a:cubicBezTo>
                  <a:cubicBezTo>
                    <a:pt x="4248724" y="468088"/>
                    <a:pt x="4228397" y="467889"/>
                    <a:pt x="4220724" y="477540"/>
                  </a:cubicBezTo>
                  <a:cubicBezTo>
                    <a:pt x="4216440" y="473560"/>
                    <a:pt x="4213052" y="473660"/>
                    <a:pt x="4209763" y="478535"/>
                  </a:cubicBezTo>
                  <a:cubicBezTo>
                    <a:pt x="4204711" y="479121"/>
                    <a:pt x="4200078" y="481609"/>
                    <a:pt x="4196810" y="485499"/>
                  </a:cubicBezTo>
                  <a:cubicBezTo>
                    <a:pt x="4190213" y="487419"/>
                    <a:pt x="4183866" y="490085"/>
                    <a:pt x="4177877" y="493458"/>
                  </a:cubicBezTo>
                  <a:cubicBezTo>
                    <a:pt x="4171958" y="493080"/>
                    <a:pt x="4166059" y="494463"/>
                    <a:pt x="4160938" y="497437"/>
                  </a:cubicBezTo>
                  <a:cubicBezTo>
                    <a:pt x="4148083" y="501616"/>
                    <a:pt x="4125365" y="512858"/>
                    <a:pt x="4114105" y="502412"/>
                  </a:cubicBezTo>
                  <a:cubicBezTo>
                    <a:pt x="4099657" y="480126"/>
                    <a:pt x="4124767" y="472565"/>
                    <a:pt x="4140012" y="460627"/>
                  </a:cubicBezTo>
                  <a:cubicBezTo>
                    <a:pt x="4164096" y="440729"/>
                    <a:pt x="4187044" y="419499"/>
                    <a:pt x="4208767" y="397054"/>
                  </a:cubicBezTo>
                  <a:cubicBezTo>
                    <a:pt x="4236089" y="360244"/>
                    <a:pt x="4272469" y="331114"/>
                    <a:pt x="4314390" y="312490"/>
                  </a:cubicBezTo>
                  <a:cubicBezTo>
                    <a:pt x="4356190" y="301845"/>
                    <a:pt x="4395928" y="284335"/>
                    <a:pt x="4431969" y="260657"/>
                  </a:cubicBezTo>
                  <a:cubicBezTo>
                    <a:pt x="4420969" y="261045"/>
                    <a:pt x="4409958" y="260378"/>
                    <a:pt x="4399087" y="258667"/>
                  </a:cubicBezTo>
                  <a:cubicBezTo>
                    <a:pt x="4390727" y="264239"/>
                    <a:pt x="4379925" y="264617"/>
                    <a:pt x="4371187" y="259662"/>
                  </a:cubicBezTo>
                  <a:cubicBezTo>
                    <a:pt x="4367998" y="250330"/>
                    <a:pt x="4359987" y="243476"/>
                    <a:pt x="4350262" y="241754"/>
                  </a:cubicBezTo>
                  <a:cubicBezTo>
                    <a:pt x="4332375" y="244739"/>
                    <a:pt x="4314071" y="244063"/>
                    <a:pt x="4296454" y="239765"/>
                  </a:cubicBezTo>
                  <a:cubicBezTo>
                    <a:pt x="4271244" y="251007"/>
                    <a:pt x="4268653" y="238073"/>
                    <a:pt x="4261578" y="216883"/>
                  </a:cubicBezTo>
                  <a:cubicBezTo>
                    <a:pt x="4243443" y="219867"/>
                    <a:pt x="4224610" y="234989"/>
                    <a:pt x="4210760" y="246729"/>
                  </a:cubicBezTo>
                  <a:cubicBezTo>
                    <a:pt x="4200795" y="251007"/>
                    <a:pt x="4184354" y="249713"/>
                    <a:pt x="4173891" y="252798"/>
                  </a:cubicBezTo>
                  <a:cubicBezTo>
                    <a:pt x="4175585" y="241058"/>
                    <a:pt x="4162930" y="241655"/>
                    <a:pt x="4154959" y="240760"/>
                  </a:cubicBezTo>
                  <a:cubicBezTo>
                    <a:pt x="4153464" y="234691"/>
                    <a:pt x="4153763" y="222454"/>
                    <a:pt x="4143998" y="224842"/>
                  </a:cubicBezTo>
                  <a:cubicBezTo>
                    <a:pt x="4135977" y="220325"/>
                    <a:pt x="4127198" y="217291"/>
                    <a:pt x="4118091" y="215888"/>
                  </a:cubicBezTo>
                  <a:cubicBezTo>
                    <a:pt x="4118091" y="201960"/>
                    <a:pt x="4109621" y="191812"/>
                    <a:pt x="4095173" y="194995"/>
                  </a:cubicBezTo>
                  <a:cubicBezTo>
                    <a:pt x="4089792" y="194995"/>
                    <a:pt x="4080824" y="194995"/>
                    <a:pt x="4079229" y="201960"/>
                  </a:cubicBezTo>
                  <a:cubicBezTo>
                    <a:pt x="4081272" y="210137"/>
                    <a:pt x="4077037" y="218584"/>
                    <a:pt x="4069265" y="221857"/>
                  </a:cubicBezTo>
                  <a:cubicBezTo>
                    <a:pt x="4066077" y="210316"/>
                    <a:pt x="4054318" y="197582"/>
                    <a:pt x="4058304" y="185047"/>
                  </a:cubicBezTo>
                  <a:lnTo>
                    <a:pt x="4051329" y="178182"/>
                  </a:lnTo>
                  <a:cubicBezTo>
                    <a:pt x="4045221" y="180381"/>
                    <a:pt x="4038415" y="179207"/>
                    <a:pt x="4033393" y="175098"/>
                  </a:cubicBezTo>
                  <a:cubicBezTo>
                    <a:pt x="4035615" y="170452"/>
                    <a:pt x="4036642" y="165318"/>
                    <a:pt x="4036383" y="160175"/>
                  </a:cubicBezTo>
                  <a:cubicBezTo>
                    <a:pt x="4010774" y="165249"/>
                    <a:pt x="4000710" y="135203"/>
                    <a:pt x="3972610" y="145252"/>
                  </a:cubicBezTo>
                  <a:cubicBezTo>
                    <a:pt x="3966333" y="140178"/>
                    <a:pt x="3946703" y="140576"/>
                    <a:pt x="3943713" y="149231"/>
                  </a:cubicBezTo>
                  <a:cubicBezTo>
                    <a:pt x="3936141" y="150127"/>
                    <a:pt x="3929265" y="150624"/>
                    <a:pt x="3931756" y="160175"/>
                  </a:cubicBezTo>
                  <a:cubicBezTo>
                    <a:pt x="3917577" y="164523"/>
                    <a:pt x="3902650" y="165875"/>
                    <a:pt x="3887913" y="164154"/>
                  </a:cubicBezTo>
                  <a:cubicBezTo>
                    <a:pt x="3894489" y="139680"/>
                    <a:pt x="3868881" y="144257"/>
                    <a:pt x="3853038" y="141272"/>
                  </a:cubicBezTo>
                  <a:lnTo>
                    <a:pt x="3833109" y="139282"/>
                  </a:lnTo>
                  <a:cubicBezTo>
                    <a:pt x="3833457" y="135519"/>
                    <a:pt x="3831983" y="131816"/>
                    <a:pt x="3829123" y="129334"/>
                  </a:cubicBezTo>
                  <a:cubicBezTo>
                    <a:pt x="3823343" y="128538"/>
                    <a:pt x="3812681" y="127841"/>
                    <a:pt x="3808198" y="132318"/>
                  </a:cubicBezTo>
                  <a:cubicBezTo>
                    <a:pt x="3795902" y="130137"/>
                    <a:pt x="3784881" y="123426"/>
                    <a:pt x="3777308" y="113515"/>
                  </a:cubicBezTo>
                  <a:cubicBezTo>
                    <a:pt x="3778006" y="104362"/>
                    <a:pt x="3780397" y="75312"/>
                    <a:pt x="3770333" y="73720"/>
                  </a:cubicBezTo>
                  <a:cubicBezTo>
                    <a:pt x="3771628" y="54420"/>
                    <a:pt x="3762361" y="31637"/>
                    <a:pt x="3761365" y="11938"/>
                  </a:cubicBezTo>
                  <a:cubicBezTo>
                    <a:pt x="3755107" y="10289"/>
                    <a:pt x="3749308" y="7226"/>
                    <a:pt x="3744425" y="2985"/>
                  </a:cubicBezTo>
                  <a:cubicBezTo>
                    <a:pt x="3734461" y="4775"/>
                    <a:pt x="3728482" y="6865"/>
                    <a:pt x="3719514" y="0"/>
                  </a:cubicBezTo>
                  <a:lnTo>
                    <a:pt x="3719514" y="73720"/>
                  </a:lnTo>
                  <a:lnTo>
                    <a:pt x="419502" y="73720"/>
                  </a:lnTo>
                  <a:cubicBezTo>
                    <a:pt x="388213" y="79391"/>
                    <a:pt x="246320" y="58300"/>
                    <a:pt x="240142" y="84564"/>
                  </a:cubicBezTo>
                  <a:cubicBezTo>
                    <a:pt x="240142" y="95508"/>
                    <a:pt x="253096" y="102870"/>
                    <a:pt x="252099" y="113515"/>
                  </a:cubicBezTo>
                  <a:cubicBezTo>
                    <a:pt x="252598" y="129632"/>
                    <a:pt x="264455" y="147142"/>
                    <a:pt x="261067" y="163259"/>
                  </a:cubicBezTo>
                  <a:cubicBezTo>
                    <a:pt x="256520" y="169258"/>
                    <a:pt x="255748" y="177306"/>
                    <a:pt x="259075" y="184052"/>
                  </a:cubicBezTo>
                  <a:cubicBezTo>
                    <a:pt x="257540" y="194657"/>
                    <a:pt x="253806" y="204815"/>
                    <a:pt x="248114" y="213898"/>
                  </a:cubicBezTo>
                  <a:cubicBezTo>
                    <a:pt x="254989" y="234392"/>
                    <a:pt x="273025" y="230413"/>
                    <a:pt x="267046" y="257772"/>
                  </a:cubicBezTo>
                  <a:cubicBezTo>
                    <a:pt x="272825" y="260956"/>
                    <a:pt x="278705" y="267223"/>
                    <a:pt x="271032" y="272695"/>
                  </a:cubicBezTo>
                  <a:cubicBezTo>
                    <a:pt x="261067" y="281052"/>
                    <a:pt x="260071" y="276476"/>
                    <a:pt x="255089" y="267721"/>
                  </a:cubicBezTo>
                  <a:cubicBezTo>
                    <a:pt x="255089" y="255583"/>
                    <a:pt x="257580" y="229816"/>
                    <a:pt x="238149" y="237874"/>
                  </a:cubicBezTo>
                  <a:cubicBezTo>
                    <a:pt x="221110" y="249713"/>
                    <a:pt x="211046" y="245933"/>
                    <a:pt x="199288" y="229816"/>
                  </a:cubicBezTo>
                  <a:cubicBezTo>
                    <a:pt x="180854" y="255583"/>
                    <a:pt x="150164" y="229816"/>
                    <a:pt x="125552" y="232900"/>
                  </a:cubicBezTo>
                  <a:cubicBezTo>
                    <a:pt x="111866" y="233169"/>
                    <a:pt x="98186" y="232134"/>
                    <a:pt x="84697" y="229816"/>
                  </a:cubicBezTo>
                  <a:cubicBezTo>
                    <a:pt x="82107" y="222454"/>
                    <a:pt x="66263" y="215788"/>
                    <a:pt x="59786" y="213003"/>
                  </a:cubicBezTo>
                  <a:cubicBezTo>
                    <a:pt x="38961" y="212505"/>
                    <a:pt x="20527" y="186340"/>
                    <a:pt x="0" y="190021"/>
                  </a:cubicBezTo>
                  <a:cubicBezTo>
                    <a:pt x="7542" y="203551"/>
                    <a:pt x="7915" y="219937"/>
                    <a:pt x="996" y="233795"/>
                  </a:cubicBezTo>
                  <a:cubicBezTo>
                    <a:pt x="7573" y="248619"/>
                    <a:pt x="3587" y="269312"/>
                    <a:pt x="12954" y="283539"/>
                  </a:cubicBezTo>
                  <a:cubicBezTo>
                    <a:pt x="41751" y="306222"/>
                    <a:pt x="47530" y="348803"/>
                    <a:pt x="51815" y="383027"/>
                  </a:cubicBezTo>
                  <a:cubicBezTo>
                    <a:pt x="60982" y="390886"/>
                    <a:pt x="65167" y="408893"/>
                    <a:pt x="67758" y="419837"/>
                  </a:cubicBezTo>
                  <a:cubicBezTo>
                    <a:pt x="68754" y="428791"/>
                    <a:pt x="72043" y="454359"/>
                    <a:pt x="68754" y="462617"/>
                  </a:cubicBezTo>
                  <a:cubicBezTo>
                    <a:pt x="78021" y="468785"/>
                    <a:pt x="78719" y="487488"/>
                    <a:pt x="81708" y="497437"/>
                  </a:cubicBezTo>
                  <a:cubicBezTo>
                    <a:pt x="102434" y="500521"/>
                    <a:pt x="108712" y="518031"/>
                    <a:pt x="82705" y="516439"/>
                  </a:cubicBezTo>
                  <a:cubicBezTo>
                    <a:pt x="85361" y="538565"/>
                    <a:pt x="85025" y="560960"/>
                    <a:pt x="81708" y="582996"/>
                  </a:cubicBezTo>
                  <a:cubicBezTo>
                    <a:pt x="101637" y="573048"/>
                    <a:pt x="93267" y="584389"/>
                    <a:pt x="107616" y="587971"/>
                  </a:cubicBezTo>
                  <a:lnTo>
                    <a:pt x="115587" y="580012"/>
                  </a:lnTo>
                  <a:cubicBezTo>
                    <a:pt x="118477" y="581106"/>
                    <a:pt x="123758" y="581106"/>
                    <a:pt x="125552" y="578022"/>
                  </a:cubicBezTo>
                  <a:cubicBezTo>
                    <a:pt x="129139" y="573446"/>
                    <a:pt x="132626" y="580410"/>
                    <a:pt x="133523" y="582996"/>
                  </a:cubicBezTo>
                  <a:cubicBezTo>
                    <a:pt x="139710" y="583673"/>
                    <a:pt x="145940" y="583872"/>
                    <a:pt x="152156" y="583593"/>
                  </a:cubicBezTo>
                  <a:cubicBezTo>
                    <a:pt x="148495" y="584399"/>
                    <a:pt x="145345" y="586707"/>
                    <a:pt x="143487" y="589961"/>
                  </a:cubicBezTo>
                  <a:cubicBezTo>
                    <a:pt x="135616" y="589264"/>
                    <a:pt x="127146" y="601004"/>
                    <a:pt x="121566" y="592945"/>
                  </a:cubicBezTo>
                  <a:cubicBezTo>
                    <a:pt x="109310" y="599213"/>
                    <a:pt x="100840" y="601004"/>
                    <a:pt x="91673" y="588966"/>
                  </a:cubicBezTo>
                  <a:cubicBezTo>
                    <a:pt x="83103" y="595432"/>
                    <a:pt x="91673" y="601700"/>
                    <a:pt x="96655" y="605978"/>
                  </a:cubicBezTo>
                  <a:lnTo>
                    <a:pt x="100641" y="623786"/>
                  </a:lnTo>
                  <a:cubicBezTo>
                    <a:pt x="100641" y="629755"/>
                    <a:pt x="99445" y="639008"/>
                    <a:pt x="92669" y="640799"/>
                  </a:cubicBezTo>
                  <a:cubicBezTo>
                    <a:pt x="96549" y="650250"/>
                    <a:pt x="97588" y="660617"/>
                    <a:pt x="95658" y="670645"/>
                  </a:cubicBezTo>
                  <a:cubicBezTo>
                    <a:pt x="95550" y="675241"/>
                    <a:pt x="96950" y="679748"/>
                    <a:pt x="99644" y="683479"/>
                  </a:cubicBezTo>
                  <a:cubicBezTo>
                    <a:pt x="99582" y="692134"/>
                    <a:pt x="98917" y="700779"/>
                    <a:pt x="97651" y="709345"/>
                  </a:cubicBezTo>
                  <a:cubicBezTo>
                    <a:pt x="93366" y="720985"/>
                    <a:pt x="97651" y="736605"/>
                    <a:pt x="93665" y="748145"/>
                  </a:cubicBezTo>
                  <a:cubicBezTo>
                    <a:pt x="102633" y="785453"/>
                    <a:pt x="79915" y="824950"/>
                    <a:pt x="83701" y="862556"/>
                  </a:cubicBezTo>
                  <a:cubicBezTo>
                    <a:pt x="77423" y="935878"/>
                    <a:pt x="77025" y="1013180"/>
                    <a:pt x="55801" y="1084413"/>
                  </a:cubicBezTo>
                  <a:cubicBezTo>
                    <a:pt x="53808" y="1092870"/>
                    <a:pt x="36769" y="1105902"/>
                    <a:pt x="43843" y="1113364"/>
                  </a:cubicBezTo>
                  <a:cubicBezTo>
                    <a:pt x="38562" y="1137241"/>
                    <a:pt x="33879" y="1165197"/>
                    <a:pt x="21922" y="1186885"/>
                  </a:cubicBezTo>
                  <a:cubicBezTo>
                    <a:pt x="23789" y="1199331"/>
                    <a:pt x="30172" y="1210663"/>
                    <a:pt x="39858" y="1218721"/>
                  </a:cubicBezTo>
                  <a:cubicBezTo>
                    <a:pt x="43744" y="1235236"/>
                    <a:pt x="34875" y="1254139"/>
                    <a:pt x="37865" y="1270454"/>
                  </a:cubicBezTo>
                  <a:cubicBezTo>
                    <a:pt x="38882" y="1280453"/>
                    <a:pt x="41577" y="1290203"/>
                    <a:pt x="45836" y="1299306"/>
                  </a:cubicBezTo>
                  <a:cubicBezTo>
                    <a:pt x="44541" y="1313135"/>
                    <a:pt x="56797" y="1321293"/>
                    <a:pt x="64769" y="1330147"/>
                  </a:cubicBezTo>
                  <a:cubicBezTo>
                    <a:pt x="66307" y="1341906"/>
                    <a:pt x="64939" y="1353855"/>
                    <a:pt x="60783" y="1364968"/>
                  </a:cubicBezTo>
                  <a:cubicBezTo>
                    <a:pt x="63174" y="1370837"/>
                    <a:pt x="70249" y="1374916"/>
                    <a:pt x="73737" y="1378896"/>
                  </a:cubicBezTo>
                  <a:cubicBezTo>
                    <a:pt x="75431" y="1391531"/>
                    <a:pt x="83701" y="1406852"/>
                    <a:pt x="82705" y="1419686"/>
                  </a:cubicBezTo>
                  <a:cubicBezTo>
                    <a:pt x="86690" y="1439583"/>
                    <a:pt x="71345" y="1464753"/>
                    <a:pt x="71744" y="1483358"/>
                  </a:cubicBezTo>
                  <a:cubicBezTo>
                    <a:pt x="87687" y="1513204"/>
                    <a:pt x="49822" y="1550910"/>
                    <a:pt x="42847" y="1579860"/>
                  </a:cubicBezTo>
                  <a:cubicBezTo>
                    <a:pt x="36370" y="1589809"/>
                    <a:pt x="46733" y="1598664"/>
                    <a:pt x="46833" y="1608712"/>
                  </a:cubicBezTo>
                  <a:cubicBezTo>
                    <a:pt x="42648" y="1618660"/>
                    <a:pt x="52213" y="1626719"/>
                    <a:pt x="58790" y="1632589"/>
                  </a:cubicBezTo>
                  <a:cubicBezTo>
                    <a:pt x="61779" y="1635872"/>
                    <a:pt x="68754" y="1643333"/>
                    <a:pt x="73737" y="1643532"/>
                  </a:cubicBezTo>
                  <a:cubicBezTo>
                    <a:pt x="79132" y="1647074"/>
                    <a:pt x="82474" y="1653004"/>
                    <a:pt x="82705" y="1659450"/>
                  </a:cubicBezTo>
                  <a:cubicBezTo>
                    <a:pt x="95658" y="1663032"/>
                    <a:pt x="98149" y="1684919"/>
                    <a:pt x="110605" y="1690391"/>
                  </a:cubicBezTo>
                  <a:cubicBezTo>
                    <a:pt x="111203" y="1696062"/>
                    <a:pt x="111601" y="1710985"/>
                    <a:pt x="117580" y="1714168"/>
                  </a:cubicBezTo>
                  <a:cubicBezTo>
                    <a:pt x="120953" y="1727072"/>
                    <a:pt x="119900" y="1740731"/>
                    <a:pt x="114591" y="1752969"/>
                  </a:cubicBezTo>
                  <a:cubicBezTo>
                    <a:pt x="109509" y="1776845"/>
                    <a:pt x="126050" y="1799330"/>
                    <a:pt x="130534" y="1821615"/>
                  </a:cubicBezTo>
                  <a:cubicBezTo>
                    <a:pt x="124575" y="1828460"/>
                    <a:pt x="125298" y="1838826"/>
                    <a:pt x="132150" y="1844775"/>
                  </a:cubicBezTo>
                  <a:cubicBezTo>
                    <a:pt x="132887" y="1845412"/>
                    <a:pt x="133680" y="1845989"/>
                    <a:pt x="134520" y="1846487"/>
                  </a:cubicBezTo>
                  <a:cubicBezTo>
                    <a:pt x="145480" y="1863400"/>
                    <a:pt x="167601" y="1875736"/>
                    <a:pt x="175374" y="1895236"/>
                  </a:cubicBezTo>
                  <a:cubicBezTo>
                    <a:pt x="190320" y="1906279"/>
                    <a:pt x="207858" y="1917919"/>
                    <a:pt x="210249" y="1938015"/>
                  </a:cubicBezTo>
                  <a:cubicBezTo>
                    <a:pt x="216825" y="1938015"/>
                    <a:pt x="220213" y="1941000"/>
                    <a:pt x="219217" y="1947964"/>
                  </a:cubicBezTo>
                  <a:cubicBezTo>
                    <a:pt x="226790" y="1959007"/>
                    <a:pt x="220014" y="1974726"/>
                    <a:pt x="216228" y="1985769"/>
                  </a:cubicBezTo>
                  <a:cubicBezTo>
                    <a:pt x="219914" y="1988555"/>
                    <a:pt x="223302" y="1983282"/>
                    <a:pt x="225196" y="1980795"/>
                  </a:cubicBezTo>
                  <a:cubicBezTo>
                    <a:pt x="234781" y="1982536"/>
                    <a:pt x="243141" y="1988346"/>
                    <a:pt x="248114" y="1996713"/>
                  </a:cubicBezTo>
                  <a:cubicBezTo>
                    <a:pt x="250505" y="1998205"/>
                    <a:pt x="255189" y="2005269"/>
                    <a:pt x="258078" y="2000692"/>
                  </a:cubicBezTo>
                  <a:cubicBezTo>
                    <a:pt x="264269" y="2003836"/>
                    <a:pt x="269975" y="2007855"/>
                    <a:pt x="275018" y="2012631"/>
                  </a:cubicBezTo>
                  <a:cubicBezTo>
                    <a:pt x="287872" y="2016212"/>
                    <a:pt x="294946" y="2006363"/>
                    <a:pt x="281993" y="1998802"/>
                  </a:cubicBezTo>
                  <a:cubicBezTo>
                    <a:pt x="280100" y="1988853"/>
                    <a:pt x="290363" y="1988157"/>
                    <a:pt x="280000" y="1980795"/>
                  </a:cubicBezTo>
                  <a:cubicBezTo>
                    <a:pt x="278904" y="1970150"/>
                    <a:pt x="283786" y="1966866"/>
                    <a:pt x="292954" y="1962887"/>
                  </a:cubicBezTo>
                  <a:cubicBezTo>
                    <a:pt x="300541" y="1965106"/>
                    <a:pt x="306747" y="1970567"/>
                    <a:pt x="309893" y="1977810"/>
                  </a:cubicBezTo>
                  <a:cubicBezTo>
                    <a:pt x="306904" y="1981193"/>
                    <a:pt x="302021" y="1986565"/>
                    <a:pt x="296939" y="1984774"/>
                  </a:cubicBezTo>
                  <a:cubicBezTo>
                    <a:pt x="298534" y="1989848"/>
                    <a:pt x="293651" y="1991440"/>
                    <a:pt x="289964" y="1992733"/>
                  </a:cubicBezTo>
                  <a:cubicBezTo>
                    <a:pt x="292156" y="1995718"/>
                    <a:pt x="296043" y="2002682"/>
                    <a:pt x="300925" y="2000692"/>
                  </a:cubicBezTo>
                  <a:cubicBezTo>
                    <a:pt x="302477" y="2004592"/>
                    <a:pt x="303808" y="2008581"/>
                    <a:pt x="304911" y="2012631"/>
                  </a:cubicBezTo>
                  <a:cubicBezTo>
                    <a:pt x="302279" y="2013755"/>
                    <a:pt x="301057" y="2016789"/>
                    <a:pt x="302180" y="2019416"/>
                  </a:cubicBezTo>
                  <a:cubicBezTo>
                    <a:pt x="302550" y="2020281"/>
                    <a:pt x="303150" y="2021037"/>
                    <a:pt x="303914" y="2021585"/>
                  </a:cubicBezTo>
                  <a:cubicBezTo>
                    <a:pt x="307502" y="2022679"/>
                    <a:pt x="312484" y="2024967"/>
                    <a:pt x="311886" y="2029544"/>
                  </a:cubicBezTo>
                  <a:cubicBezTo>
                    <a:pt x="315169" y="2032986"/>
                    <a:pt x="318848" y="2036020"/>
                    <a:pt x="322847" y="2038597"/>
                  </a:cubicBezTo>
                  <a:cubicBezTo>
                    <a:pt x="323644" y="2041681"/>
                    <a:pt x="324441" y="2049342"/>
                    <a:pt x="324840" y="2052426"/>
                  </a:cubicBezTo>
                  <a:cubicBezTo>
                    <a:pt x="328327" y="2057897"/>
                    <a:pt x="330121" y="2063071"/>
                    <a:pt x="321850" y="2064364"/>
                  </a:cubicBezTo>
                  <a:cubicBezTo>
                    <a:pt x="308498" y="2052326"/>
                    <a:pt x="294349" y="2054416"/>
                    <a:pt x="293950" y="2032528"/>
                  </a:cubicBezTo>
                  <a:cubicBezTo>
                    <a:pt x="297338" y="2032528"/>
                    <a:pt x="300228" y="2029245"/>
                    <a:pt x="295943" y="2027554"/>
                  </a:cubicBezTo>
                  <a:cubicBezTo>
                    <a:pt x="295943" y="2025166"/>
                    <a:pt x="295146" y="2018302"/>
                    <a:pt x="292954" y="2016610"/>
                  </a:cubicBezTo>
                  <a:cubicBezTo>
                    <a:pt x="286406" y="2015396"/>
                    <a:pt x="280115" y="2019714"/>
                    <a:pt x="278903" y="2026250"/>
                  </a:cubicBezTo>
                  <a:cubicBezTo>
                    <a:pt x="278301" y="2029494"/>
                    <a:pt x="279058" y="2032846"/>
                    <a:pt x="280996" y="2035513"/>
                  </a:cubicBezTo>
                  <a:cubicBezTo>
                    <a:pt x="283587" y="2045461"/>
                    <a:pt x="272925" y="2058196"/>
                    <a:pt x="280996" y="2066354"/>
                  </a:cubicBezTo>
                  <a:cubicBezTo>
                    <a:pt x="287528" y="2073169"/>
                    <a:pt x="291716" y="2081874"/>
                    <a:pt x="292954" y="2091226"/>
                  </a:cubicBezTo>
                  <a:cubicBezTo>
                    <a:pt x="289820" y="2098877"/>
                    <a:pt x="289820" y="2107452"/>
                    <a:pt x="292954" y="2115103"/>
                  </a:cubicBezTo>
                  <a:cubicBezTo>
                    <a:pt x="306904" y="2126444"/>
                    <a:pt x="315872" y="2147635"/>
                    <a:pt x="334804" y="2151913"/>
                  </a:cubicBezTo>
                  <a:cubicBezTo>
                    <a:pt x="340783" y="2152809"/>
                    <a:pt x="348555" y="2147834"/>
                    <a:pt x="354733" y="2148929"/>
                  </a:cubicBezTo>
                  <a:cubicBezTo>
                    <a:pt x="370517" y="2163742"/>
                    <a:pt x="373057" y="2187868"/>
                    <a:pt x="360712" y="2205636"/>
                  </a:cubicBezTo>
                  <a:cubicBezTo>
                    <a:pt x="333011" y="2193101"/>
                    <a:pt x="359516" y="2240258"/>
                    <a:pt x="356726" y="2253391"/>
                  </a:cubicBezTo>
                  <a:cubicBezTo>
                    <a:pt x="364398" y="2266423"/>
                    <a:pt x="385025" y="2269905"/>
                    <a:pt x="390605" y="2285226"/>
                  </a:cubicBezTo>
                  <a:cubicBezTo>
                    <a:pt x="393096" y="2294081"/>
                    <a:pt x="402363" y="2298558"/>
                    <a:pt x="407544" y="2305124"/>
                  </a:cubicBezTo>
                  <a:cubicBezTo>
                    <a:pt x="407544" y="2317858"/>
                    <a:pt x="418704" y="2326514"/>
                    <a:pt x="427473" y="2333975"/>
                  </a:cubicBezTo>
                  <a:cubicBezTo>
                    <a:pt x="426676" y="2355365"/>
                    <a:pt x="447402" y="2351385"/>
                    <a:pt x="454377" y="2366905"/>
                  </a:cubicBezTo>
                  <a:cubicBezTo>
                    <a:pt x="467630" y="2392076"/>
                    <a:pt x="492242" y="2379043"/>
                    <a:pt x="484270" y="2409586"/>
                  </a:cubicBezTo>
                  <a:cubicBezTo>
                    <a:pt x="480683" y="2414560"/>
                    <a:pt x="484270" y="2420430"/>
                    <a:pt x="488256" y="2423514"/>
                  </a:cubicBezTo>
                  <a:cubicBezTo>
                    <a:pt x="492242" y="2426598"/>
                    <a:pt x="500413" y="2433463"/>
                    <a:pt x="505195" y="2427494"/>
                  </a:cubicBezTo>
                  <a:cubicBezTo>
                    <a:pt x="510078" y="2430975"/>
                    <a:pt x="515857" y="2435950"/>
                    <a:pt x="515160" y="2442417"/>
                  </a:cubicBezTo>
                  <a:cubicBezTo>
                    <a:pt x="514901" y="2451569"/>
                    <a:pt x="513217" y="2460633"/>
                    <a:pt x="510178" y="2469278"/>
                  </a:cubicBezTo>
                  <a:cubicBezTo>
                    <a:pt x="520142" y="2472959"/>
                    <a:pt x="517651" y="2487484"/>
                    <a:pt x="516156" y="2495145"/>
                  </a:cubicBezTo>
                  <a:cubicBezTo>
                    <a:pt x="522035" y="2499522"/>
                    <a:pt x="514961" y="2513948"/>
                    <a:pt x="513167" y="2519022"/>
                  </a:cubicBezTo>
                  <a:cubicBezTo>
                    <a:pt x="514124" y="2521887"/>
                    <a:pt x="517232" y="2523439"/>
                    <a:pt x="520102" y="2522474"/>
                  </a:cubicBezTo>
                  <a:cubicBezTo>
                    <a:pt x="520461" y="2522355"/>
                    <a:pt x="520810" y="2522195"/>
                    <a:pt x="521139" y="2522007"/>
                  </a:cubicBezTo>
                  <a:cubicBezTo>
                    <a:pt x="523919" y="2524295"/>
                    <a:pt x="526928" y="2526294"/>
                    <a:pt x="530107" y="2527976"/>
                  </a:cubicBezTo>
                  <a:cubicBezTo>
                    <a:pt x="534889" y="2541307"/>
                    <a:pt x="547345" y="2537924"/>
                    <a:pt x="558007" y="2536034"/>
                  </a:cubicBezTo>
                  <a:cubicBezTo>
                    <a:pt x="571419" y="2534273"/>
                    <a:pt x="585050" y="2535597"/>
                    <a:pt x="597865" y="2539914"/>
                  </a:cubicBezTo>
                  <a:cubicBezTo>
                    <a:pt x="605248" y="2543645"/>
                    <a:pt x="613588" y="2545028"/>
                    <a:pt x="621779" y="2543894"/>
                  </a:cubicBezTo>
                  <a:cubicBezTo>
                    <a:pt x="624868" y="2544988"/>
                    <a:pt x="631743" y="2548172"/>
                    <a:pt x="634733" y="2544889"/>
                  </a:cubicBezTo>
                  <a:cubicBezTo>
                    <a:pt x="643800" y="2539914"/>
                    <a:pt x="653665" y="2549266"/>
                    <a:pt x="662633" y="2549863"/>
                  </a:cubicBezTo>
                  <a:cubicBezTo>
                    <a:pt x="674292" y="2560906"/>
                    <a:pt x="688242" y="2566477"/>
                    <a:pt x="691530" y="2582694"/>
                  </a:cubicBezTo>
                  <a:cubicBezTo>
                    <a:pt x="705879" y="2596423"/>
                    <a:pt x="729793" y="2596622"/>
                    <a:pt x="745338" y="2606571"/>
                  </a:cubicBezTo>
                  <a:cubicBezTo>
                    <a:pt x="755302" y="2599408"/>
                    <a:pt x="769850" y="2601696"/>
                    <a:pt x="781210" y="2602591"/>
                  </a:cubicBezTo>
                  <a:cubicBezTo>
                    <a:pt x="814291" y="2641192"/>
                    <a:pt x="771245" y="2642386"/>
                    <a:pt x="814092" y="2652335"/>
                  </a:cubicBezTo>
                  <a:cubicBezTo>
                    <a:pt x="829637" y="2640297"/>
                    <a:pt x="834021" y="2646764"/>
                    <a:pt x="845978" y="2659299"/>
                  </a:cubicBezTo>
                  <a:cubicBezTo>
                    <a:pt x="851658" y="2665766"/>
                    <a:pt x="864412" y="2669248"/>
                    <a:pt x="869893" y="2675316"/>
                  </a:cubicBezTo>
                  <a:cubicBezTo>
                    <a:pt x="899786" y="2701482"/>
                    <a:pt x="943928" y="2733815"/>
                    <a:pt x="938647" y="2780674"/>
                  </a:cubicBezTo>
                  <a:lnTo>
                    <a:pt x="937651" y="2779778"/>
                  </a:lnTo>
                  <a:cubicBezTo>
                    <a:pt x="935060" y="2782663"/>
                    <a:pt x="937651" y="2787240"/>
                    <a:pt x="939644" y="2789727"/>
                  </a:cubicBezTo>
                  <a:cubicBezTo>
                    <a:pt x="939325" y="2795686"/>
                    <a:pt x="939654" y="2801656"/>
                    <a:pt x="940640" y="2807535"/>
                  </a:cubicBezTo>
                  <a:cubicBezTo>
                    <a:pt x="953295" y="2798383"/>
                    <a:pt x="955587" y="2818678"/>
                    <a:pt x="956583" y="2827433"/>
                  </a:cubicBezTo>
                  <a:cubicBezTo>
                    <a:pt x="1041580" y="2817484"/>
                    <a:pt x="1138135" y="2809724"/>
                    <a:pt x="1223629" y="2802561"/>
                  </a:cubicBezTo>
                  <a:cubicBezTo>
                    <a:pt x="1235587" y="2801835"/>
                    <a:pt x="1247494" y="2800472"/>
                    <a:pt x="1259302" y="2798482"/>
                  </a:cubicBezTo>
                  <a:cubicBezTo>
                    <a:pt x="1259661" y="2797825"/>
                    <a:pt x="1260059" y="2797199"/>
                    <a:pt x="1260498" y="2796592"/>
                  </a:cubicBezTo>
                  <a:cubicBezTo>
                    <a:pt x="1262491" y="2797248"/>
                    <a:pt x="1264573" y="2797587"/>
                    <a:pt x="1266676" y="2797587"/>
                  </a:cubicBezTo>
                  <a:lnTo>
                    <a:pt x="1265480" y="2797587"/>
                  </a:lnTo>
                  <a:cubicBezTo>
                    <a:pt x="1264982" y="2797587"/>
                    <a:pt x="1262690" y="2797587"/>
                    <a:pt x="1259302" y="2798482"/>
                  </a:cubicBezTo>
                  <a:cubicBezTo>
                    <a:pt x="1257309" y="2801864"/>
                    <a:pt x="1254519" y="2808431"/>
                    <a:pt x="1253523" y="2810520"/>
                  </a:cubicBezTo>
                  <a:cubicBezTo>
                    <a:pt x="1250733" y="2812410"/>
                    <a:pt x="1245850" y="2814400"/>
                    <a:pt x="1248540" y="2818479"/>
                  </a:cubicBezTo>
                  <a:cubicBezTo>
                    <a:pt x="1246348" y="2820966"/>
                    <a:pt x="1246747" y="2823453"/>
                    <a:pt x="1249537" y="2824548"/>
                  </a:cubicBezTo>
                  <a:cubicBezTo>
                    <a:pt x="1248202" y="2827373"/>
                    <a:pt x="1247195" y="2830348"/>
                    <a:pt x="1246547" y="2833402"/>
                  </a:cubicBezTo>
                  <a:lnTo>
                    <a:pt x="1381067" y="2881156"/>
                  </a:lnTo>
                  <a:cubicBezTo>
                    <a:pt x="1414946" y="2894985"/>
                    <a:pt x="1518476" y="2931895"/>
                    <a:pt x="1554448" y="2944828"/>
                  </a:cubicBezTo>
                  <a:cubicBezTo>
                    <a:pt x="1580554" y="2954777"/>
                    <a:pt x="1693252" y="2996561"/>
                    <a:pt x="1716868" y="3005515"/>
                  </a:cubicBezTo>
                  <a:cubicBezTo>
                    <a:pt x="1792298" y="3004222"/>
                    <a:pt x="1896227" y="3004421"/>
                    <a:pt x="1971957" y="3005515"/>
                  </a:cubicBezTo>
                  <a:cubicBezTo>
                    <a:pt x="1998761" y="3005515"/>
                    <a:pt x="2050177" y="3004023"/>
                    <a:pt x="2077579" y="3004521"/>
                  </a:cubicBezTo>
                  <a:lnTo>
                    <a:pt x="2077579" y="2938958"/>
                  </a:lnTo>
                  <a:lnTo>
                    <a:pt x="2288526" y="2938958"/>
                  </a:lnTo>
                  <a:cubicBezTo>
                    <a:pt x="2288316" y="2938699"/>
                    <a:pt x="2288037" y="2938491"/>
                    <a:pt x="2287729" y="2938361"/>
                  </a:cubicBezTo>
                  <a:cubicBezTo>
                    <a:pt x="2285497" y="2937217"/>
                    <a:pt x="2283533" y="2935625"/>
                    <a:pt x="2281949" y="2933685"/>
                  </a:cubicBezTo>
                  <a:cubicBezTo>
                    <a:pt x="2283743" y="2935277"/>
                    <a:pt x="2285736" y="2936869"/>
                    <a:pt x="2287729" y="2938361"/>
                  </a:cubicBezTo>
                  <a:lnTo>
                    <a:pt x="2288825" y="2938958"/>
                  </a:lnTo>
                  <a:lnTo>
                    <a:pt x="2288825" y="2938958"/>
                  </a:lnTo>
                  <a:cubicBezTo>
                    <a:pt x="2291057" y="2940441"/>
                    <a:pt x="2293149" y="2942102"/>
                    <a:pt x="2295102" y="2943932"/>
                  </a:cubicBezTo>
                  <a:cubicBezTo>
                    <a:pt x="2295102" y="2940251"/>
                    <a:pt x="2302576" y="2943932"/>
                    <a:pt x="2303074" y="2942838"/>
                  </a:cubicBezTo>
                  <a:cubicBezTo>
                    <a:pt x="2308415" y="2949196"/>
                    <a:pt x="2313397" y="2955841"/>
                    <a:pt x="2318020" y="2962736"/>
                  </a:cubicBezTo>
                  <a:cubicBezTo>
                    <a:pt x="2319017" y="2977162"/>
                    <a:pt x="2335558" y="2987508"/>
                    <a:pt x="2345921" y="2995566"/>
                  </a:cubicBezTo>
                  <a:cubicBezTo>
                    <a:pt x="2351640" y="2995407"/>
                    <a:pt x="2357250" y="2997158"/>
                    <a:pt x="2361864" y="3000541"/>
                  </a:cubicBezTo>
                  <a:cubicBezTo>
                    <a:pt x="2361166" y="3005615"/>
                    <a:pt x="2367942" y="3010490"/>
                    <a:pt x="2371828" y="3011485"/>
                  </a:cubicBezTo>
                  <a:cubicBezTo>
                    <a:pt x="2376521" y="3016957"/>
                    <a:pt x="2380537" y="3022965"/>
                    <a:pt x="2383785" y="3029392"/>
                  </a:cubicBezTo>
                  <a:cubicBezTo>
                    <a:pt x="2395145" y="3034964"/>
                    <a:pt x="2408597" y="3041729"/>
                    <a:pt x="2411686" y="3055259"/>
                  </a:cubicBezTo>
                  <a:cubicBezTo>
                    <a:pt x="2417814" y="3060880"/>
                    <a:pt x="2424490" y="3065884"/>
                    <a:pt x="2431614" y="3070182"/>
                  </a:cubicBezTo>
                  <a:cubicBezTo>
                    <a:pt x="2429622" y="3080131"/>
                    <a:pt x="2446761" y="3082121"/>
                    <a:pt x="2453536" y="3083215"/>
                  </a:cubicBezTo>
                  <a:cubicBezTo>
                    <a:pt x="2460920" y="3087881"/>
                    <a:pt x="2467626" y="3093532"/>
                    <a:pt x="2473465" y="3100028"/>
                  </a:cubicBezTo>
                  <a:cubicBezTo>
                    <a:pt x="2480839" y="3100028"/>
                    <a:pt x="2482632" y="3105600"/>
                    <a:pt x="2485423" y="3110972"/>
                  </a:cubicBezTo>
                  <a:cubicBezTo>
                    <a:pt x="2498476" y="3111569"/>
                    <a:pt x="2495387" y="3133555"/>
                    <a:pt x="2499373" y="3142907"/>
                  </a:cubicBezTo>
                  <a:cubicBezTo>
                    <a:pt x="2512217" y="3152558"/>
                    <a:pt x="2519929" y="3167551"/>
                    <a:pt x="2520298" y="3183598"/>
                  </a:cubicBezTo>
                  <a:cubicBezTo>
                    <a:pt x="2517468" y="3197247"/>
                    <a:pt x="2520746" y="3211454"/>
                    <a:pt x="2529266" y="3222497"/>
                  </a:cubicBezTo>
                  <a:cubicBezTo>
                    <a:pt x="2537337" y="3232446"/>
                    <a:pt x="2538234" y="3249856"/>
                    <a:pt x="2550191" y="3257318"/>
                  </a:cubicBezTo>
                  <a:cubicBezTo>
                    <a:pt x="2553978" y="3261198"/>
                    <a:pt x="2562148" y="3268461"/>
                    <a:pt x="2568127" y="3268162"/>
                  </a:cubicBezTo>
                  <a:cubicBezTo>
                    <a:pt x="2576388" y="3273714"/>
                    <a:pt x="2583492" y="3280807"/>
                    <a:pt x="2589052" y="3289054"/>
                  </a:cubicBezTo>
                  <a:cubicBezTo>
                    <a:pt x="2600910" y="3300297"/>
                    <a:pt x="2618946" y="3300794"/>
                    <a:pt x="2632896" y="3307062"/>
                  </a:cubicBezTo>
                  <a:cubicBezTo>
                    <a:pt x="2639841" y="3314513"/>
                    <a:pt x="2648869" y="3319716"/>
                    <a:pt x="2658803" y="3321985"/>
                  </a:cubicBezTo>
                  <a:cubicBezTo>
                    <a:pt x="2667990" y="3328899"/>
                    <a:pt x="2677646" y="3335187"/>
                    <a:pt x="2687700" y="3340788"/>
                  </a:cubicBezTo>
                  <a:cubicBezTo>
                    <a:pt x="2695372" y="3348747"/>
                    <a:pt x="2707629" y="3343872"/>
                    <a:pt x="2716597" y="3346857"/>
                  </a:cubicBezTo>
                  <a:cubicBezTo>
                    <a:pt x="2722774" y="3335117"/>
                    <a:pt x="2729551" y="3320692"/>
                    <a:pt x="2743501" y="3317010"/>
                  </a:cubicBezTo>
                  <a:cubicBezTo>
                    <a:pt x="2746888" y="3313230"/>
                    <a:pt x="2751173" y="3307758"/>
                    <a:pt x="2746490" y="3302983"/>
                  </a:cubicBezTo>
                  <a:cubicBezTo>
                    <a:pt x="2747716" y="3296576"/>
                    <a:pt x="2750844" y="3290686"/>
                    <a:pt x="2755458" y="3286070"/>
                  </a:cubicBezTo>
                  <a:cubicBezTo>
                    <a:pt x="2754531" y="3280359"/>
                    <a:pt x="2755229" y="3274500"/>
                    <a:pt x="2757451" y="3269157"/>
                  </a:cubicBezTo>
                  <a:cubicBezTo>
                    <a:pt x="2764914" y="3259795"/>
                    <a:pt x="2770345" y="3248991"/>
                    <a:pt x="2773394" y="3237420"/>
                  </a:cubicBezTo>
                  <a:lnTo>
                    <a:pt x="2789337" y="3235331"/>
                  </a:lnTo>
                  <a:cubicBezTo>
                    <a:pt x="2793920" y="3229263"/>
                    <a:pt x="2802888" y="3231849"/>
                    <a:pt x="2809266" y="3233342"/>
                  </a:cubicBezTo>
                  <a:cubicBezTo>
                    <a:pt x="2811657" y="3227472"/>
                    <a:pt x="2813351" y="3217921"/>
                    <a:pt x="2821223" y="3217523"/>
                  </a:cubicBezTo>
                  <a:cubicBezTo>
                    <a:pt x="2827600" y="3221900"/>
                    <a:pt x="2838063" y="3224587"/>
                    <a:pt x="2844141" y="3229362"/>
                  </a:cubicBezTo>
                  <a:cubicBezTo>
                    <a:pt x="2849821" y="3231551"/>
                    <a:pt x="2857195" y="3227472"/>
                    <a:pt x="2863074" y="3227472"/>
                  </a:cubicBezTo>
                  <a:cubicBezTo>
                    <a:pt x="2879714" y="3228964"/>
                    <a:pt x="2897949" y="3237420"/>
                    <a:pt x="2913892" y="3229362"/>
                  </a:cubicBezTo>
                  <a:cubicBezTo>
                    <a:pt x="2923856" y="3235729"/>
                    <a:pt x="2935515" y="3233342"/>
                    <a:pt x="2938803" y="3248265"/>
                  </a:cubicBezTo>
                  <a:cubicBezTo>
                    <a:pt x="2951059" y="3251150"/>
                    <a:pt x="2941394" y="3261695"/>
                    <a:pt x="2952753" y="3269157"/>
                  </a:cubicBezTo>
                  <a:cubicBezTo>
                    <a:pt x="2958662" y="3268431"/>
                    <a:pt x="2964461" y="3271137"/>
                    <a:pt x="2967700" y="3276121"/>
                  </a:cubicBezTo>
                  <a:cubicBezTo>
                    <a:pt x="2976668" y="3275027"/>
                    <a:pt x="2980753" y="3286070"/>
                    <a:pt x="2984639" y="3292138"/>
                  </a:cubicBezTo>
                  <a:cubicBezTo>
                    <a:pt x="2994076" y="3296745"/>
                    <a:pt x="3002535" y="3303132"/>
                    <a:pt x="3009550" y="3310942"/>
                  </a:cubicBezTo>
                  <a:cubicBezTo>
                    <a:pt x="3012540" y="3313329"/>
                    <a:pt x="3013835" y="3323278"/>
                    <a:pt x="3018518" y="3325865"/>
                  </a:cubicBezTo>
                  <a:cubicBezTo>
                    <a:pt x="3028483" y="3328750"/>
                    <a:pt x="3026988" y="3341385"/>
                    <a:pt x="3028483" y="3349742"/>
                  </a:cubicBezTo>
                  <a:cubicBezTo>
                    <a:pt x="3030535" y="3358676"/>
                    <a:pt x="3035876" y="3366515"/>
                    <a:pt x="3043429" y="3371728"/>
                  </a:cubicBezTo>
                  <a:cubicBezTo>
                    <a:pt x="3042632" y="3378295"/>
                    <a:pt x="3047515" y="3385756"/>
                    <a:pt x="3047415" y="3392522"/>
                  </a:cubicBezTo>
                  <a:cubicBezTo>
                    <a:pt x="3050803" y="3395406"/>
                    <a:pt x="3057379" y="3401276"/>
                    <a:pt x="3060369" y="3404460"/>
                  </a:cubicBezTo>
                  <a:cubicBezTo>
                    <a:pt x="3060279" y="3409394"/>
                    <a:pt x="3061664" y="3414250"/>
                    <a:pt x="3064354" y="3418388"/>
                  </a:cubicBezTo>
                  <a:cubicBezTo>
                    <a:pt x="3071927" y="3431421"/>
                    <a:pt x="3071330" y="3450622"/>
                    <a:pt x="3085280" y="3459178"/>
                  </a:cubicBezTo>
                  <a:cubicBezTo>
                    <a:pt x="3093580" y="3463436"/>
                    <a:pt x="3101014" y="3469206"/>
                    <a:pt x="3107202" y="3476190"/>
                  </a:cubicBezTo>
                  <a:cubicBezTo>
                    <a:pt x="3109095" y="3481463"/>
                    <a:pt x="3112184" y="3490516"/>
                    <a:pt x="3119159" y="3491113"/>
                  </a:cubicBezTo>
                  <a:cubicBezTo>
                    <a:pt x="3120893" y="3503430"/>
                    <a:pt x="3126473" y="3514881"/>
                    <a:pt x="3135102" y="3523845"/>
                  </a:cubicBezTo>
                  <a:cubicBezTo>
                    <a:pt x="3140682" y="3525337"/>
                    <a:pt x="3143771" y="3531207"/>
                    <a:pt x="3147059" y="3535883"/>
                  </a:cubicBezTo>
                  <a:cubicBezTo>
                    <a:pt x="3153476" y="3537465"/>
                    <a:pt x="3159804" y="3539425"/>
                    <a:pt x="3165991" y="3541753"/>
                  </a:cubicBezTo>
                  <a:cubicBezTo>
                    <a:pt x="3171073" y="3544936"/>
                    <a:pt x="3166589" y="3560058"/>
                    <a:pt x="3173963" y="3557670"/>
                  </a:cubicBezTo>
                  <a:cubicBezTo>
                    <a:pt x="3175089" y="3567172"/>
                    <a:pt x="3173724" y="3576812"/>
                    <a:pt x="3169977" y="3585626"/>
                  </a:cubicBezTo>
                  <a:cubicBezTo>
                    <a:pt x="3185721" y="3588512"/>
                    <a:pt x="3180639" y="3612588"/>
                    <a:pt x="3179942" y="3624327"/>
                  </a:cubicBezTo>
                  <a:cubicBezTo>
                    <a:pt x="3186140" y="3630376"/>
                    <a:pt x="3191201" y="3637489"/>
                    <a:pt x="3194888" y="3645319"/>
                  </a:cubicBezTo>
                  <a:cubicBezTo>
                    <a:pt x="3199980" y="3648135"/>
                    <a:pt x="3203876" y="3652691"/>
                    <a:pt x="3205849" y="3658153"/>
                  </a:cubicBezTo>
                  <a:cubicBezTo>
                    <a:pt x="3211329" y="3668102"/>
                    <a:pt x="3210732" y="3682030"/>
                    <a:pt x="3214817" y="3691978"/>
                  </a:cubicBezTo>
                  <a:cubicBezTo>
                    <a:pt x="3218454" y="3694963"/>
                    <a:pt x="3221792" y="3698296"/>
                    <a:pt x="3224781" y="3701927"/>
                  </a:cubicBezTo>
                  <a:cubicBezTo>
                    <a:pt x="3219401" y="3708891"/>
                    <a:pt x="3224781" y="3714960"/>
                    <a:pt x="3231757" y="3710881"/>
                  </a:cubicBezTo>
                  <a:cubicBezTo>
                    <a:pt x="3238154" y="3712453"/>
                    <a:pt x="3244232" y="3715149"/>
                    <a:pt x="3249692" y="3718840"/>
                  </a:cubicBezTo>
                  <a:lnTo>
                    <a:pt x="3260653" y="3716850"/>
                  </a:lnTo>
                  <a:cubicBezTo>
                    <a:pt x="3260653" y="3722123"/>
                    <a:pt x="3270618" y="3728092"/>
                    <a:pt x="3273607" y="3731773"/>
                  </a:cubicBezTo>
                  <a:cubicBezTo>
                    <a:pt x="3276248" y="3735076"/>
                    <a:pt x="3280931" y="3735932"/>
                    <a:pt x="3284568" y="3733763"/>
                  </a:cubicBezTo>
                  <a:cubicBezTo>
                    <a:pt x="3291692" y="3736639"/>
                    <a:pt x="3299016" y="3738967"/>
                    <a:pt x="3306490" y="3740728"/>
                  </a:cubicBezTo>
                  <a:cubicBezTo>
                    <a:pt x="3319344" y="3750676"/>
                    <a:pt x="3332397" y="3763808"/>
                    <a:pt x="3350333" y="3760625"/>
                  </a:cubicBezTo>
                  <a:cubicBezTo>
                    <a:pt x="3353223" y="3761918"/>
                    <a:pt x="3358703" y="3763411"/>
                    <a:pt x="3360297" y="3759729"/>
                  </a:cubicBezTo>
                  <a:cubicBezTo>
                    <a:pt x="3370262" y="3762515"/>
                    <a:pt x="3384511" y="3756844"/>
                    <a:pt x="3392184" y="3764704"/>
                  </a:cubicBezTo>
                  <a:cubicBezTo>
                    <a:pt x="3409322" y="3763610"/>
                    <a:pt x="3407728" y="3774652"/>
                    <a:pt x="3419087" y="3779627"/>
                  </a:cubicBezTo>
                  <a:cubicBezTo>
                    <a:pt x="3421379" y="3782413"/>
                    <a:pt x="3425963" y="3786790"/>
                    <a:pt x="3430048" y="3785497"/>
                  </a:cubicBezTo>
                  <a:cubicBezTo>
                    <a:pt x="3431533" y="3790083"/>
                    <a:pt x="3436346" y="3792709"/>
                    <a:pt x="3441009" y="3791466"/>
                  </a:cubicBezTo>
                  <a:cubicBezTo>
                    <a:pt x="3440511" y="3776742"/>
                    <a:pt x="3450974" y="3778732"/>
                    <a:pt x="3461934" y="3774652"/>
                  </a:cubicBezTo>
                  <a:cubicBezTo>
                    <a:pt x="3464326" y="3775249"/>
                    <a:pt x="3469109" y="3776543"/>
                    <a:pt x="3468909" y="3772563"/>
                  </a:cubicBezTo>
                  <a:cubicBezTo>
                    <a:pt x="3468411" y="3721228"/>
                    <a:pt x="3441408" y="3671584"/>
                    <a:pt x="3440013" y="3620447"/>
                  </a:cubicBezTo>
                  <a:cubicBezTo>
                    <a:pt x="3442604" y="3567221"/>
                    <a:pt x="3470703" y="3516781"/>
                    <a:pt x="3505778" y="3478080"/>
                  </a:cubicBezTo>
                  <a:cubicBezTo>
                    <a:pt x="3521123" y="3459775"/>
                    <a:pt x="3550119" y="3450622"/>
                    <a:pt x="3564568" y="3432317"/>
                  </a:cubicBezTo>
                  <a:cubicBezTo>
                    <a:pt x="3597052" y="3406350"/>
                    <a:pt x="3640895" y="3392522"/>
                    <a:pt x="3675173" y="3368644"/>
                  </a:cubicBezTo>
                  <a:cubicBezTo>
                    <a:pt x="3679926" y="3365401"/>
                    <a:pt x="3685396" y="3363352"/>
                    <a:pt x="3691116" y="3362675"/>
                  </a:cubicBezTo>
                  <a:cubicBezTo>
                    <a:pt x="3702176" y="3355114"/>
                    <a:pt x="3713835" y="3340091"/>
                    <a:pt x="3724995" y="3332829"/>
                  </a:cubicBezTo>
                  <a:cubicBezTo>
                    <a:pt x="3736255" y="3320791"/>
                    <a:pt x="3761465" y="3307062"/>
                    <a:pt x="3773820" y="3296019"/>
                  </a:cubicBezTo>
                  <a:cubicBezTo>
                    <a:pt x="3770233" y="3287861"/>
                    <a:pt x="3783785" y="3280299"/>
                    <a:pt x="3789763" y="3276121"/>
                  </a:cubicBezTo>
                  <a:cubicBezTo>
                    <a:pt x="3811087" y="3267963"/>
                    <a:pt x="3836098" y="3255527"/>
                    <a:pt x="3857521" y="3247369"/>
                  </a:cubicBezTo>
                  <a:cubicBezTo>
                    <a:pt x="3863002" y="3243390"/>
                    <a:pt x="3887415" y="3250254"/>
                    <a:pt x="3884027" y="3241897"/>
                  </a:cubicBezTo>
                  <a:cubicBezTo>
                    <a:pt x="3884535" y="3242663"/>
                    <a:pt x="3885003" y="3243469"/>
                    <a:pt x="3885422" y="3244285"/>
                  </a:cubicBezTo>
                  <a:cubicBezTo>
                    <a:pt x="3909834" y="3230357"/>
                    <a:pt x="3952781" y="3230357"/>
                    <a:pt x="3980084" y="3236326"/>
                  </a:cubicBezTo>
                  <a:cubicBezTo>
                    <a:pt x="4015457" y="3245180"/>
                    <a:pt x="4059799" y="3280499"/>
                    <a:pt x="4096667" y="3260203"/>
                  </a:cubicBezTo>
                  <a:cubicBezTo>
                    <a:pt x="4118489" y="3252045"/>
                    <a:pt x="4139713" y="3294327"/>
                    <a:pt x="4152468" y="3262292"/>
                  </a:cubicBezTo>
                  <a:cubicBezTo>
                    <a:pt x="4098959" y="3250155"/>
                    <a:pt x="4172397" y="3215135"/>
                    <a:pt x="4161436" y="3253239"/>
                  </a:cubicBezTo>
                  <a:cubicBezTo>
                    <a:pt x="4168321" y="3252413"/>
                    <a:pt x="4174569" y="3257318"/>
                    <a:pt x="4175396" y="3264193"/>
                  </a:cubicBezTo>
                  <a:cubicBezTo>
                    <a:pt x="4175515" y="3265217"/>
                    <a:pt x="4175515" y="3266242"/>
                    <a:pt x="4175386" y="3267267"/>
                  </a:cubicBezTo>
                  <a:cubicBezTo>
                    <a:pt x="4178754" y="3269804"/>
                    <a:pt x="4181773" y="3272778"/>
                    <a:pt x="4184354" y="3276121"/>
                  </a:cubicBezTo>
                  <a:lnTo>
                    <a:pt x="4192325" y="3272241"/>
                  </a:lnTo>
                  <a:cubicBezTo>
                    <a:pt x="4193521" y="3274728"/>
                    <a:pt x="4200795" y="3280399"/>
                    <a:pt x="4196311" y="3283085"/>
                  </a:cubicBezTo>
                  <a:cubicBezTo>
                    <a:pt x="4198105" y="3287264"/>
                    <a:pt x="4205279" y="3290646"/>
                    <a:pt x="4209265" y="3292138"/>
                  </a:cubicBezTo>
                  <a:cubicBezTo>
                    <a:pt x="4208667" y="3295422"/>
                    <a:pt x="4202888" y="3299401"/>
                    <a:pt x="4200297" y="3300993"/>
                  </a:cubicBezTo>
                  <a:cubicBezTo>
                    <a:pt x="4212553" y="3319498"/>
                    <a:pt x="4258091" y="3312932"/>
                    <a:pt x="4259087" y="3335814"/>
                  </a:cubicBezTo>
                  <a:cubicBezTo>
                    <a:pt x="4267856" y="3338450"/>
                    <a:pt x="4277222" y="3338450"/>
                    <a:pt x="4285991" y="3335814"/>
                  </a:cubicBezTo>
                  <a:cubicBezTo>
                    <a:pt x="4304017" y="3336968"/>
                    <a:pt x="4322122" y="3335664"/>
                    <a:pt x="4339799" y="3331933"/>
                  </a:cubicBezTo>
                  <a:cubicBezTo>
                    <a:pt x="4355941" y="3322582"/>
                    <a:pt x="4371386" y="3306763"/>
                    <a:pt x="4387628" y="3298008"/>
                  </a:cubicBezTo>
                  <a:cubicBezTo>
                    <a:pt x="4393906" y="3298904"/>
                    <a:pt x="4407557" y="3300794"/>
                    <a:pt x="4413536" y="3302087"/>
                  </a:cubicBezTo>
                  <a:cubicBezTo>
                    <a:pt x="4415130" y="3305271"/>
                    <a:pt x="4418318" y="3309549"/>
                    <a:pt x="4422503" y="3308952"/>
                  </a:cubicBezTo>
                  <a:cubicBezTo>
                    <a:pt x="4433165" y="3309549"/>
                    <a:pt x="4436653" y="3321587"/>
                    <a:pt x="4444425" y="3325865"/>
                  </a:cubicBezTo>
                  <a:cubicBezTo>
                    <a:pt x="4448471" y="3330600"/>
                    <a:pt x="4448032" y="3337684"/>
                    <a:pt x="4443429" y="3341882"/>
                  </a:cubicBezTo>
                  <a:lnTo>
                    <a:pt x="4443429" y="3353721"/>
                  </a:lnTo>
                  <a:cubicBezTo>
                    <a:pt x="4461066" y="3336311"/>
                    <a:pt x="4453393" y="3333227"/>
                    <a:pt x="4476311" y="3344767"/>
                  </a:cubicBezTo>
                  <a:cubicBezTo>
                    <a:pt x="4472126" y="3333227"/>
                    <a:pt x="4489464" y="3330441"/>
                    <a:pt x="4492254" y="3319896"/>
                  </a:cubicBezTo>
                  <a:cubicBezTo>
                    <a:pt x="4492254" y="3312235"/>
                    <a:pt x="4484980" y="3312136"/>
                    <a:pt x="4479300" y="3312036"/>
                  </a:cubicBezTo>
                  <a:cubicBezTo>
                    <a:pt x="4479300" y="3306067"/>
                    <a:pt x="4472226" y="3297809"/>
                    <a:pt x="4468340" y="3294029"/>
                  </a:cubicBezTo>
                  <a:cubicBezTo>
                    <a:pt x="4462760" y="3296715"/>
                    <a:pt x="4457578" y="3292138"/>
                    <a:pt x="4454389" y="3288060"/>
                  </a:cubicBezTo>
                  <a:cubicBezTo>
                    <a:pt x="4444674" y="3287960"/>
                    <a:pt x="4435108" y="3285573"/>
                    <a:pt x="4426489" y="3281096"/>
                  </a:cubicBezTo>
                  <a:cubicBezTo>
                    <a:pt x="4421407" y="3274231"/>
                    <a:pt x="4423301" y="3263287"/>
                    <a:pt x="4418518" y="3256224"/>
                  </a:cubicBezTo>
                  <a:cubicBezTo>
                    <a:pt x="4421806" y="3254135"/>
                    <a:pt x="4426987" y="3247767"/>
                    <a:pt x="4430475" y="3253239"/>
                  </a:cubicBezTo>
                  <a:cubicBezTo>
                    <a:pt x="4438845" y="3247369"/>
                    <a:pt x="4445920" y="3247369"/>
                    <a:pt x="4443429" y="3233342"/>
                  </a:cubicBezTo>
                  <a:lnTo>
                    <a:pt x="4459372" y="3235331"/>
                  </a:lnTo>
                  <a:cubicBezTo>
                    <a:pt x="4455187" y="3229959"/>
                    <a:pt x="4461265" y="3221900"/>
                    <a:pt x="4464354" y="3217523"/>
                  </a:cubicBezTo>
                  <a:cubicBezTo>
                    <a:pt x="4462959" y="3204490"/>
                    <a:pt x="4472525" y="3190860"/>
                    <a:pt x="4470333" y="3177728"/>
                  </a:cubicBezTo>
                  <a:cubicBezTo>
                    <a:pt x="4462919" y="3180673"/>
                    <a:pt x="4456153" y="3185030"/>
                    <a:pt x="4450404" y="3190562"/>
                  </a:cubicBezTo>
                  <a:cubicBezTo>
                    <a:pt x="4439553" y="3189239"/>
                    <a:pt x="4428741" y="3193328"/>
                    <a:pt x="4421507" y="3201506"/>
                  </a:cubicBezTo>
                  <a:cubicBezTo>
                    <a:pt x="4420311" y="3206480"/>
                    <a:pt x="4419813" y="3219115"/>
                    <a:pt x="4412539" y="3219413"/>
                  </a:cubicBezTo>
                  <a:cubicBezTo>
                    <a:pt x="4405265" y="3219712"/>
                    <a:pt x="4401279" y="3209464"/>
                    <a:pt x="4393607" y="3209464"/>
                  </a:cubicBezTo>
                  <a:cubicBezTo>
                    <a:pt x="4385934" y="3209464"/>
                    <a:pt x="4386233" y="3203495"/>
                    <a:pt x="4387628" y="3197625"/>
                  </a:cubicBezTo>
                  <a:cubicBezTo>
                    <a:pt x="4386333" y="3196034"/>
                    <a:pt x="4395301" y="3194144"/>
                    <a:pt x="4395599" y="3193547"/>
                  </a:cubicBezTo>
                  <a:cubicBezTo>
                    <a:pt x="4407856" y="3190562"/>
                    <a:pt x="4415528" y="3177429"/>
                    <a:pt x="4427486" y="3173649"/>
                  </a:cubicBezTo>
                  <a:lnTo>
                    <a:pt x="4425692" y="3172754"/>
                  </a:lnTo>
                  <a:cubicBezTo>
                    <a:pt x="4422683" y="3171610"/>
                    <a:pt x="4419913" y="3169918"/>
                    <a:pt x="4417521" y="3167779"/>
                  </a:cubicBezTo>
                  <a:cubicBezTo>
                    <a:pt x="4417332" y="3166038"/>
                    <a:pt x="4417033" y="3164307"/>
                    <a:pt x="4416625" y="3162606"/>
                  </a:cubicBezTo>
                  <a:cubicBezTo>
                    <a:pt x="4413466" y="3155662"/>
                    <a:pt x="4410865" y="3148479"/>
                    <a:pt x="4408852" y="3141117"/>
                  </a:cubicBezTo>
                  <a:cubicBezTo>
                    <a:pt x="4411971" y="3148081"/>
                    <a:pt x="4414562" y="3155264"/>
                    <a:pt x="4416625" y="3162606"/>
                  </a:cubicBezTo>
                  <a:cubicBezTo>
                    <a:pt x="4418617" y="3166735"/>
                    <a:pt x="4421766" y="3170187"/>
                    <a:pt x="4425692" y="3172555"/>
                  </a:cubicBezTo>
                  <a:cubicBezTo>
                    <a:pt x="4435657" y="3175440"/>
                    <a:pt x="4439841" y="3162109"/>
                    <a:pt x="4450404" y="3156537"/>
                  </a:cubicBezTo>
                  <a:cubicBezTo>
                    <a:pt x="4461763" y="3154199"/>
                    <a:pt x="4472794" y="3150528"/>
                    <a:pt x="4483286" y="3145594"/>
                  </a:cubicBezTo>
                  <a:cubicBezTo>
                    <a:pt x="4495024" y="3141326"/>
                    <a:pt x="4507998" y="3142082"/>
                    <a:pt x="4519158" y="3147683"/>
                  </a:cubicBezTo>
                  <a:cubicBezTo>
                    <a:pt x="4522048" y="3147683"/>
                    <a:pt x="4528326" y="3149175"/>
                    <a:pt x="4531115" y="3149573"/>
                  </a:cubicBezTo>
                  <a:cubicBezTo>
                    <a:pt x="4534155" y="3147006"/>
                    <a:pt x="4538350" y="3146280"/>
                    <a:pt x="4542076" y="3147683"/>
                  </a:cubicBezTo>
                  <a:cubicBezTo>
                    <a:pt x="4544567" y="3153055"/>
                    <a:pt x="4549849" y="3150170"/>
                    <a:pt x="4554033" y="3149573"/>
                  </a:cubicBezTo>
                  <a:cubicBezTo>
                    <a:pt x="4557720" y="3152259"/>
                    <a:pt x="4560809" y="3152956"/>
                    <a:pt x="4563002" y="3148578"/>
                  </a:cubicBezTo>
                  <a:cubicBezTo>
                    <a:pt x="4567784" y="3151463"/>
                    <a:pt x="4569578" y="3148578"/>
                    <a:pt x="4569877" y="3143703"/>
                  </a:cubicBezTo>
                  <a:cubicBezTo>
                    <a:pt x="4570176" y="3138829"/>
                    <a:pt x="4569877" y="3135645"/>
                    <a:pt x="4569877" y="3131566"/>
                  </a:cubicBezTo>
                  <a:cubicBezTo>
                    <a:pt x="4569379" y="3127964"/>
                    <a:pt x="4569379" y="3124323"/>
                    <a:pt x="4569877" y="3120722"/>
                  </a:cubicBezTo>
                  <a:cubicBezTo>
                    <a:pt x="4569877" y="3114454"/>
                    <a:pt x="4569877" y="3108087"/>
                    <a:pt x="4569180" y="3101720"/>
                  </a:cubicBezTo>
                  <a:cubicBezTo>
                    <a:pt x="4569648" y="3111738"/>
                    <a:pt x="4570046" y="3121687"/>
                    <a:pt x="4570375" y="3131566"/>
                  </a:cubicBezTo>
                  <a:cubicBezTo>
                    <a:pt x="4570764" y="3135605"/>
                    <a:pt x="4570764" y="3139664"/>
                    <a:pt x="4570375" y="3143703"/>
                  </a:cubicBezTo>
                  <a:cubicBezTo>
                    <a:pt x="4570425" y="3144330"/>
                    <a:pt x="4570425" y="3144967"/>
                    <a:pt x="4570375" y="3145594"/>
                  </a:cubicBezTo>
                  <a:cubicBezTo>
                    <a:pt x="4575955" y="3138431"/>
                    <a:pt x="4583528" y="3149573"/>
                    <a:pt x="4587315" y="3153553"/>
                  </a:cubicBezTo>
                  <a:cubicBezTo>
                    <a:pt x="4592586" y="3152757"/>
                    <a:pt x="4597927" y="3152458"/>
                    <a:pt x="4603258" y="3152657"/>
                  </a:cubicBezTo>
                  <a:cubicBezTo>
                    <a:pt x="4608937" y="3140221"/>
                    <a:pt x="4606148" y="3086498"/>
                    <a:pt x="4628169" y="3104804"/>
                  </a:cubicBezTo>
                  <a:cubicBezTo>
                    <a:pt x="4632464" y="3112186"/>
                    <a:pt x="4632464" y="3121299"/>
                    <a:pt x="4628169" y="3128681"/>
                  </a:cubicBezTo>
                  <a:cubicBezTo>
                    <a:pt x="4632453" y="3143405"/>
                    <a:pt x="4658760" y="3156139"/>
                    <a:pt x="4633151" y="3164496"/>
                  </a:cubicBezTo>
                  <a:cubicBezTo>
                    <a:pt x="4646902" y="3168973"/>
                    <a:pt x="4667528" y="3162208"/>
                    <a:pt x="4680980" y="3158527"/>
                  </a:cubicBezTo>
                  <a:cubicBezTo>
                    <a:pt x="4754318" y="3144599"/>
                    <a:pt x="4828653" y="3127387"/>
                    <a:pt x="4895215" y="3173450"/>
                  </a:cubicBezTo>
                  <a:cubicBezTo>
                    <a:pt x="4907471" y="3184095"/>
                    <a:pt x="4925108" y="3193348"/>
                    <a:pt x="4936069" y="3205286"/>
                  </a:cubicBezTo>
                  <a:cubicBezTo>
                    <a:pt x="4939756" y="3205286"/>
                    <a:pt x="4946034" y="3206679"/>
                    <a:pt x="4948027" y="3210261"/>
                  </a:cubicBezTo>
                  <a:cubicBezTo>
                    <a:pt x="4944439" y="3223343"/>
                    <a:pt x="4946232" y="3237311"/>
                    <a:pt x="4953009" y="3249061"/>
                  </a:cubicBezTo>
                  <a:cubicBezTo>
                    <a:pt x="4966062" y="3240903"/>
                    <a:pt x="4980311" y="3252940"/>
                    <a:pt x="4991870" y="3259009"/>
                  </a:cubicBezTo>
                  <a:cubicBezTo>
                    <a:pt x="4999542" y="3255229"/>
                    <a:pt x="5017678" y="3246772"/>
                    <a:pt x="5025749" y="3244086"/>
                  </a:cubicBezTo>
                  <a:cubicBezTo>
                    <a:pt x="5031100" y="3237381"/>
                    <a:pt x="5038414" y="3232506"/>
                    <a:pt x="5046674" y="3230158"/>
                  </a:cubicBezTo>
                  <a:cubicBezTo>
                    <a:pt x="5053749" y="3229163"/>
                    <a:pt x="5050660" y="3220209"/>
                    <a:pt x="5050660" y="3215235"/>
                  </a:cubicBezTo>
                  <a:cubicBezTo>
                    <a:pt x="5059329" y="3207176"/>
                    <a:pt x="5069692" y="3213941"/>
                    <a:pt x="5079556" y="3214240"/>
                  </a:cubicBezTo>
                  <a:cubicBezTo>
                    <a:pt x="5083742" y="3209564"/>
                    <a:pt x="5079556" y="3202699"/>
                    <a:pt x="5076567" y="3198322"/>
                  </a:cubicBezTo>
                  <a:cubicBezTo>
                    <a:pt x="5082446" y="3194442"/>
                    <a:pt x="5092909" y="3185588"/>
                    <a:pt x="5100482" y="3188373"/>
                  </a:cubicBezTo>
                  <a:cubicBezTo>
                    <a:pt x="5107556" y="3186881"/>
                    <a:pt x="5117820" y="3182205"/>
                    <a:pt x="5124396" y="3186384"/>
                  </a:cubicBezTo>
                  <a:cubicBezTo>
                    <a:pt x="5133065" y="3196929"/>
                    <a:pt x="5152695" y="3202799"/>
                    <a:pt x="5163258" y="3211255"/>
                  </a:cubicBezTo>
                  <a:cubicBezTo>
                    <a:pt x="5175414" y="3227273"/>
                    <a:pt x="5177407" y="3240107"/>
                    <a:pt x="5197137" y="3248066"/>
                  </a:cubicBezTo>
                  <a:cubicBezTo>
                    <a:pt x="5198033" y="3260502"/>
                    <a:pt x="5196140" y="3270749"/>
                    <a:pt x="5210090" y="3275922"/>
                  </a:cubicBezTo>
                  <a:cubicBezTo>
                    <a:pt x="5210987" y="3280897"/>
                    <a:pt x="5214275" y="3281692"/>
                    <a:pt x="5219058" y="3281991"/>
                  </a:cubicBezTo>
                  <a:cubicBezTo>
                    <a:pt x="5224589" y="3287085"/>
                    <a:pt x="5227518" y="3294397"/>
                    <a:pt x="5227030" y="3301888"/>
                  </a:cubicBezTo>
                  <a:cubicBezTo>
                    <a:pt x="5241578" y="3303381"/>
                    <a:pt x="5237691" y="3314523"/>
                    <a:pt x="5241977" y="3324671"/>
                  </a:cubicBezTo>
                  <a:cubicBezTo>
                    <a:pt x="5247955" y="3327954"/>
                    <a:pt x="5247756" y="3321786"/>
                    <a:pt x="5248951" y="3317707"/>
                  </a:cubicBezTo>
                  <a:cubicBezTo>
                    <a:pt x="5255329" y="3320294"/>
                    <a:pt x="5281236" y="3318702"/>
                    <a:pt x="5270873" y="3329645"/>
                  </a:cubicBezTo>
                  <a:cubicBezTo>
                    <a:pt x="5275257" y="3332133"/>
                    <a:pt x="5280837" y="3336908"/>
                    <a:pt x="5278844" y="3342579"/>
                  </a:cubicBezTo>
                  <a:cubicBezTo>
                    <a:pt x="5281834" y="3346061"/>
                    <a:pt x="5285222" y="3353721"/>
                    <a:pt x="5287813" y="3357502"/>
                  </a:cubicBezTo>
                  <a:cubicBezTo>
                    <a:pt x="5283767" y="3361352"/>
                    <a:pt x="5282571" y="3367321"/>
                    <a:pt x="5284823" y="3372425"/>
                  </a:cubicBezTo>
                  <a:cubicBezTo>
                    <a:pt x="5284823" y="3377797"/>
                    <a:pt x="5284226" y="3385856"/>
                    <a:pt x="5290802" y="3387348"/>
                  </a:cubicBezTo>
                  <a:cubicBezTo>
                    <a:pt x="5292785" y="3405315"/>
                    <a:pt x="5290035" y="3423492"/>
                    <a:pt x="5282830" y="3440077"/>
                  </a:cubicBezTo>
                  <a:cubicBezTo>
                    <a:pt x="5277649" y="3463058"/>
                    <a:pt x="5259315" y="3454502"/>
                    <a:pt x="5270873" y="3483851"/>
                  </a:cubicBezTo>
                  <a:cubicBezTo>
                    <a:pt x="5260909" y="3517179"/>
                    <a:pt x="5283130" y="3512304"/>
                    <a:pt x="5282830" y="3541554"/>
                  </a:cubicBezTo>
                  <a:cubicBezTo>
                    <a:pt x="5295086" y="3533794"/>
                    <a:pt x="5294888" y="3517279"/>
                    <a:pt x="5304752" y="3507728"/>
                  </a:cubicBezTo>
                  <a:cubicBezTo>
                    <a:pt x="5318702" y="3513299"/>
                    <a:pt x="5327371" y="3519567"/>
                    <a:pt x="5309734" y="3528620"/>
                  </a:cubicBezTo>
                  <a:cubicBezTo>
                    <a:pt x="5301763" y="3539464"/>
                    <a:pt x="5297279" y="3559063"/>
                    <a:pt x="5280837" y="3553492"/>
                  </a:cubicBezTo>
                  <a:cubicBezTo>
                    <a:pt x="5303377" y="3588313"/>
                    <a:pt x="5323684" y="3624536"/>
                    <a:pt x="5341621" y="3661933"/>
                  </a:cubicBezTo>
                  <a:cubicBezTo>
                    <a:pt x="5341621" y="3678448"/>
                    <a:pt x="5346005" y="3706305"/>
                    <a:pt x="5365535" y="3709787"/>
                  </a:cubicBezTo>
                  <a:cubicBezTo>
                    <a:pt x="5370417" y="3706404"/>
                    <a:pt x="5379784" y="3702027"/>
                    <a:pt x="5384468" y="3707698"/>
                  </a:cubicBezTo>
                  <a:cubicBezTo>
                    <a:pt x="5402104" y="3729286"/>
                    <a:pt x="5396524" y="3766694"/>
                    <a:pt x="5415357" y="3788283"/>
                  </a:cubicBezTo>
                  <a:cubicBezTo>
                    <a:pt x="5425919" y="3776941"/>
                    <a:pt x="5440467" y="3797535"/>
                    <a:pt x="5452225" y="3799325"/>
                  </a:cubicBezTo>
                  <a:cubicBezTo>
                    <a:pt x="5452275" y="3806459"/>
                    <a:pt x="5457217" y="3812637"/>
                    <a:pt x="5464183" y="3814249"/>
                  </a:cubicBezTo>
                  <a:cubicBezTo>
                    <a:pt x="5471357" y="3824197"/>
                    <a:pt x="5474147" y="3841011"/>
                    <a:pt x="5482119" y="3850959"/>
                  </a:cubicBezTo>
                  <a:cubicBezTo>
                    <a:pt x="5482437" y="3858730"/>
                    <a:pt x="5481421" y="3866509"/>
                    <a:pt x="5479129" y="3873941"/>
                  </a:cubicBezTo>
                  <a:cubicBezTo>
                    <a:pt x="5481621" y="3882696"/>
                    <a:pt x="5489094" y="3893839"/>
                    <a:pt x="5499058" y="3889760"/>
                  </a:cubicBezTo>
                  <a:cubicBezTo>
                    <a:pt x="5511912" y="3890356"/>
                    <a:pt x="5520382" y="3875433"/>
                    <a:pt x="5531941" y="3886775"/>
                  </a:cubicBezTo>
                  <a:cubicBezTo>
                    <a:pt x="5541905" y="3886775"/>
                    <a:pt x="5552767" y="3875533"/>
                    <a:pt x="5563827" y="3879811"/>
                  </a:cubicBezTo>
                  <a:cubicBezTo>
                    <a:pt x="5559044" y="3916323"/>
                    <a:pt x="5508723" y="3929554"/>
                    <a:pt x="5482119" y="3947462"/>
                  </a:cubicBezTo>
                  <a:cubicBezTo>
                    <a:pt x="5492681" y="3964475"/>
                    <a:pt x="5531044" y="3930848"/>
                    <a:pt x="5543898" y="3926570"/>
                  </a:cubicBezTo>
                  <a:cubicBezTo>
                    <a:pt x="5565122" y="3905876"/>
                    <a:pt x="5606076" y="3865286"/>
                    <a:pt x="5603685" y="3835041"/>
                  </a:cubicBezTo>
                  <a:cubicBezTo>
                    <a:pt x="5601193" y="3842006"/>
                    <a:pt x="5594716" y="3852551"/>
                    <a:pt x="5586745" y="3854044"/>
                  </a:cubicBezTo>
                  <a:cubicBezTo>
                    <a:pt x="5580268" y="3838126"/>
                    <a:pt x="5590232" y="3820218"/>
                    <a:pt x="5597705" y="3806190"/>
                  </a:cubicBezTo>
                  <a:lnTo>
                    <a:pt x="5606674" y="3815144"/>
                  </a:lnTo>
                  <a:cubicBezTo>
                    <a:pt x="5614545" y="3797037"/>
                    <a:pt x="5610759" y="3775349"/>
                    <a:pt x="5612652" y="3756446"/>
                  </a:cubicBezTo>
                  <a:cubicBezTo>
                    <a:pt x="5616240" y="3725506"/>
                    <a:pt x="5621620" y="3691183"/>
                    <a:pt x="5622617" y="3660043"/>
                  </a:cubicBezTo>
                  <a:cubicBezTo>
                    <a:pt x="5608965" y="3594978"/>
                    <a:pt x="5572794" y="3523347"/>
                    <a:pt x="5551869" y="3461068"/>
                  </a:cubicBezTo>
                  <a:cubicBezTo>
                    <a:pt x="5541307" y="3417891"/>
                    <a:pt x="5568709" y="3434406"/>
                    <a:pt x="5552866" y="3401376"/>
                  </a:cubicBezTo>
                  <a:cubicBezTo>
                    <a:pt x="5515001" y="3345663"/>
                    <a:pt x="5479727" y="3282687"/>
                    <a:pt x="5466176" y="3216230"/>
                  </a:cubicBezTo>
                  <a:cubicBezTo>
                    <a:pt x="5457756" y="3185796"/>
                    <a:pt x="5451100" y="3154906"/>
                    <a:pt x="5446247" y="3123706"/>
                  </a:cubicBezTo>
                  <a:cubicBezTo>
                    <a:pt x="5441563" y="3114354"/>
                    <a:pt x="5449934" y="3100128"/>
                    <a:pt x="5442759" y="3095452"/>
                  </a:cubicBezTo>
                  <a:lnTo>
                    <a:pt x="5444254" y="3095452"/>
                  </a:lnTo>
                  <a:cubicBezTo>
                    <a:pt x="5439969" y="3086995"/>
                    <a:pt x="5447243" y="3075554"/>
                    <a:pt x="5449236" y="3066601"/>
                  </a:cubicBezTo>
                  <a:cubicBezTo>
                    <a:pt x="5449565" y="3061218"/>
                    <a:pt x="5448887" y="3055816"/>
                    <a:pt x="5447243" y="3050683"/>
                  </a:cubicBezTo>
                  <a:cubicBezTo>
                    <a:pt x="5449585" y="3045718"/>
                    <a:pt x="5450611" y="3040237"/>
                    <a:pt x="5450232" y="3034765"/>
                  </a:cubicBezTo>
                  <a:cubicBezTo>
                    <a:pt x="5454617" y="3036655"/>
                    <a:pt x="5460197" y="3024119"/>
                    <a:pt x="5462190" y="3022926"/>
                  </a:cubicBezTo>
                  <a:cubicBezTo>
                    <a:pt x="5466793" y="3016936"/>
                    <a:pt x="5467929" y="3008968"/>
                    <a:pt x="5465179" y="3001934"/>
                  </a:cubicBezTo>
                  <a:cubicBezTo>
                    <a:pt x="5471556" y="2984623"/>
                    <a:pt x="5485108" y="2968605"/>
                    <a:pt x="5483115" y="2949205"/>
                  </a:cubicBezTo>
                  <a:cubicBezTo>
                    <a:pt x="5491983" y="2940848"/>
                    <a:pt x="5498659" y="2927816"/>
                    <a:pt x="5508026" y="2919359"/>
                  </a:cubicBezTo>
                  <a:cubicBezTo>
                    <a:pt x="5515400" y="2910107"/>
                    <a:pt x="5524567" y="2904834"/>
                    <a:pt x="5515101" y="2900059"/>
                  </a:cubicBezTo>
                  <a:lnTo>
                    <a:pt x="5515101" y="2900059"/>
                  </a:lnTo>
                  <a:cubicBezTo>
                    <a:pt x="5512909" y="2899362"/>
                    <a:pt x="5510806" y="2898427"/>
                    <a:pt x="5508823" y="2897273"/>
                  </a:cubicBezTo>
                  <a:lnTo>
                    <a:pt x="5508126" y="2897273"/>
                  </a:lnTo>
                  <a:lnTo>
                    <a:pt x="5507528" y="2897273"/>
                  </a:lnTo>
                  <a:lnTo>
                    <a:pt x="5503243" y="2894587"/>
                  </a:lnTo>
                  <a:cubicBezTo>
                    <a:pt x="5504807" y="2895254"/>
                    <a:pt x="5506252" y="2896159"/>
                    <a:pt x="5507528" y="2897273"/>
                  </a:cubicBezTo>
                  <a:lnTo>
                    <a:pt x="5508823" y="2897969"/>
                  </a:lnTo>
                  <a:cubicBezTo>
                    <a:pt x="5511005" y="2898606"/>
                    <a:pt x="5513138" y="2899402"/>
                    <a:pt x="5515201" y="2900357"/>
                  </a:cubicBezTo>
                  <a:cubicBezTo>
                    <a:pt x="5516496" y="2895482"/>
                    <a:pt x="5518090" y="2890408"/>
                    <a:pt x="5524069" y="2889811"/>
                  </a:cubicBezTo>
                  <a:cubicBezTo>
                    <a:pt x="5538119" y="2881454"/>
                    <a:pt x="5548681" y="2874192"/>
                    <a:pt x="5530047" y="2862950"/>
                  </a:cubicBezTo>
                  <a:cubicBezTo>
                    <a:pt x="5535927" y="2854095"/>
                    <a:pt x="5543898" y="2863447"/>
                    <a:pt x="5550972" y="2865934"/>
                  </a:cubicBezTo>
                  <a:cubicBezTo>
                    <a:pt x="5599300" y="2854792"/>
                    <a:pt x="5537720" y="2828328"/>
                    <a:pt x="5583855" y="2835093"/>
                  </a:cubicBezTo>
                  <a:cubicBezTo>
                    <a:pt x="5594418" y="2828627"/>
                    <a:pt x="5605478" y="2821762"/>
                    <a:pt x="5616738" y="2816191"/>
                  </a:cubicBezTo>
                  <a:cubicBezTo>
                    <a:pt x="5621969" y="2817444"/>
                    <a:pt x="5627439" y="2815494"/>
                    <a:pt x="5630688" y="2811216"/>
                  </a:cubicBezTo>
                  <a:cubicBezTo>
                    <a:pt x="5635072" y="2808729"/>
                    <a:pt x="5642944" y="2803257"/>
                    <a:pt x="5642645" y="2797288"/>
                  </a:cubicBezTo>
                  <a:cubicBezTo>
                    <a:pt x="5649022" y="2791518"/>
                    <a:pt x="5661777" y="2788434"/>
                    <a:pt x="5664567" y="2779480"/>
                  </a:cubicBezTo>
                  <a:cubicBezTo>
                    <a:pt x="5696453" y="2765552"/>
                    <a:pt x="5660980" y="2763264"/>
                    <a:pt x="5686489" y="2752519"/>
                  </a:cubicBezTo>
                  <a:cubicBezTo>
                    <a:pt x="5690773" y="2760378"/>
                    <a:pt x="5699343" y="2754011"/>
                    <a:pt x="5706418" y="2756498"/>
                  </a:cubicBezTo>
                  <a:cubicBezTo>
                    <a:pt x="5708500" y="2752459"/>
                    <a:pt x="5709855" y="2748082"/>
                    <a:pt x="5710403" y="2743565"/>
                  </a:cubicBezTo>
                  <a:cubicBezTo>
                    <a:pt x="5718474" y="2739864"/>
                    <a:pt x="5725370" y="2734014"/>
                    <a:pt x="5730332" y="2726652"/>
                  </a:cubicBezTo>
                  <a:cubicBezTo>
                    <a:pt x="5726645" y="2688449"/>
                    <a:pt x="5773079" y="2636218"/>
                    <a:pt x="5810047" y="2629154"/>
                  </a:cubicBezTo>
                  <a:lnTo>
                    <a:pt x="5806859" y="2625971"/>
                  </a:lnTo>
                  <a:cubicBezTo>
                    <a:pt x="5813037" y="2629254"/>
                    <a:pt x="5818517" y="2626568"/>
                    <a:pt x="5829976" y="2621195"/>
                  </a:cubicBezTo>
                  <a:cubicBezTo>
                    <a:pt x="5840249" y="2620300"/>
                    <a:pt x="5850563" y="2620001"/>
                    <a:pt x="5860866" y="2620300"/>
                  </a:cubicBezTo>
                  <a:cubicBezTo>
                    <a:pt x="5890759" y="2628159"/>
                    <a:pt x="5877805" y="2639600"/>
                    <a:pt x="5890759" y="2605377"/>
                  </a:cubicBezTo>
                  <a:cubicBezTo>
                    <a:pt x="5900723" y="2569263"/>
                    <a:pt x="5930617" y="2541705"/>
                    <a:pt x="5963499" y="2525787"/>
                  </a:cubicBezTo>
                  <a:cubicBezTo>
                    <a:pt x="5984923" y="2507382"/>
                    <a:pt x="6046303" y="2484400"/>
                    <a:pt x="6062147" y="2517728"/>
                  </a:cubicBezTo>
                  <a:cubicBezTo>
                    <a:pt x="6086540" y="2472631"/>
                    <a:pt x="6126577" y="2437959"/>
                    <a:pt x="6174745" y="2420231"/>
                  </a:cubicBezTo>
                  <a:cubicBezTo>
                    <a:pt x="6193179" y="2425802"/>
                    <a:pt x="6189292" y="2404810"/>
                    <a:pt x="6193677" y="2394364"/>
                  </a:cubicBezTo>
                  <a:cubicBezTo>
                    <a:pt x="6203641" y="2361036"/>
                    <a:pt x="6186702" y="2326414"/>
                    <a:pt x="6172752" y="2296966"/>
                  </a:cubicBezTo>
                  <a:cubicBezTo>
                    <a:pt x="6161223" y="2276989"/>
                    <a:pt x="6153461" y="2255072"/>
                    <a:pt x="6149834" y="2232299"/>
                  </a:cubicBezTo>
                  <a:cubicBezTo>
                    <a:pt x="6148738" y="2219565"/>
                    <a:pt x="6146047" y="2215486"/>
                    <a:pt x="6139869" y="2214292"/>
                  </a:cubicBezTo>
                  <a:lnTo>
                    <a:pt x="6126019" y="2214292"/>
                  </a:lnTo>
                  <a:cubicBezTo>
                    <a:pt x="6130622" y="2213784"/>
                    <a:pt x="6135265" y="2213784"/>
                    <a:pt x="6139869" y="2214292"/>
                  </a:cubicBezTo>
                  <a:lnTo>
                    <a:pt x="6145947" y="2214292"/>
                  </a:lnTo>
                  <a:cubicBezTo>
                    <a:pt x="6116752" y="2120376"/>
                    <a:pt x="6145150" y="2175790"/>
                    <a:pt x="6096125" y="2149625"/>
                  </a:cubicBezTo>
                  <a:cubicBezTo>
                    <a:pt x="6086161" y="2143457"/>
                    <a:pt x="6099812" y="2133408"/>
                    <a:pt x="6092139" y="2125748"/>
                  </a:cubicBezTo>
                  <a:cubicBezTo>
                    <a:pt x="6089629" y="2119202"/>
                    <a:pt x="6085524" y="2113392"/>
                    <a:pt x="6080183" y="2108835"/>
                  </a:cubicBezTo>
                  <a:cubicBezTo>
                    <a:pt x="6087756" y="2101175"/>
                    <a:pt x="6076894" y="2092420"/>
                    <a:pt x="6074204" y="2083963"/>
                  </a:cubicBezTo>
                  <a:cubicBezTo>
                    <a:pt x="6081079" y="2078093"/>
                    <a:pt x="6089449" y="2091922"/>
                    <a:pt x="6095129" y="2094907"/>
                  </a:cubicBezTo>
                  <a:cubicBezTo>
                    <a:pt x="6104197" y="2078790"/>
                    <a:pt x="6088752" y="2062176"/>
                    <a:pt x="6094132" y="2046158"/>
                  </a:cubicBezTo>
                  <a:cubicBezTo>
                    <a:pt x="6090147" y="2042079"/>
                    <a:pt x="6086061" y="2036209"/>
                    <a:pt x="6090147" y="2030240"/>
                  </a:cubicBezTo>
                  <a:cubicBezTo>
                    <a:pt x="6088134" y="2023137"/>
                    <a:pt x="6091482" y="2015606"/>
                    <a:pt x="6098118" y="2012332"/>
                  </a:cubicBezTo>
                  <a:cubicBezTo>
                    <a:pt x="6105492" y="1999200"/>
                    <a:pt x="6083371" y="1995121"/>
                    <a:pt x="6075200" y="1989450"/>
                  </a:cubicBezTo>
                  <a:cubicBezTo>
                    <a:pt x="6067029" y="1983779"/>
                    <a:pt x="6062645" y="1973134"/>
                    <a:pt x="6054275" y="1968657"/>
                  </a:cubicBezTo>
                  <a:cubicBezTo>
                    <a:pt x="6053478" y="1955923"/>
                    <a:pt x="6033549" y="1961196"/>
                    <a:pt x="6024382" y="1959604"/>
                  </a:cubicBezTo>
                  <a:lnTo>
                    <a:pt x="6008439" y="1951645"/>
                  </a:lnTo>
                  <a:cubicBezTo>
                    <a:pt x="6011228" y="1945875"/>
                    <a:pt x="6004254" y="1941099"/>
                    <a:pt x="6000467" y="1937717"/>
                  </a:cubicBezTo>
                  <a:cubicBezTo>
                    <a:pt x="6001763" y="1934105"/>
                    <a:pt x="6000547" y="1930076"/>
                    <a:pt x="5997478" y="1927768"/>
                  </a:cubicBezTo>
                  <a:cubicBezTo>
                    <a:pt x="5979243" y="1933538"/>
                    <a:pt x="5959613" y="1937020"/>
                    <a:pt x="5963599" y="1910855"/>
                  </a:cubicBezTo>
                  <a:cubicBezTo>
                    <a:pt x="5965592" y="1895833"/>
                    <a:pt x="5968681" y="1879815"/>
                    <a:pt x="5987513" y="1884093"/>
                  </a:cubicBezTo>
                  <a:cubicBezTo>
                    <a:pt x="5989108" y="1887774"/>
                    <a:pt x="5982631" y="1889067"/>
                    <a:pt x="5980538" y="1889963"/>
                  </a:cubicBezTo>
                  <a:lnTo>
                    <a:pt x="5972566" y="1899911"/>
                  </a:lnTo>
                  <a:cubicBezTo>
                    <a:pt x="5968581" y="1922296"/>
                    <a:pt x="5972566" y="1928663"/>
                    <a:pt x="5994488" y="1917819"/>
                  </a:cubicBezTo>
                  <a:cubicBezTo>
                    <a:pt x="6004453" y="1910258"/>
                    <a:pt x="6004453" y="1923192"/>
                    <a:pt x="6006446" y="1929758"/>
                  </a:cubicBezTo>
                  <a:cubicBezTo>
                    <a:pt x="6011308" y="1933837"/>
                    <a:pt x="6015962" y="1938155"/>
                    <a:pt x="6020396" y="1942691"/>
                  </a:cubicBezTo>
                  <a:cubicBezTo>
                    <a:pt x="6033648" y="1950352"/>
                    <a:pt x="6055570" y="1944482"/>
                    <a:pt x="6061250" y="1961594"/>
                  </a:cubicBezTo>
                  <a:cubicBezTo>
                    <a:pt x="6064538" y="1964578"/>
                    <a:pt x="6070417" y="1969254"/>
                    <a:pt x="6075200" y="1966568"/>
                  </a:cubicBezTo>
                  <a:cubicBezTo>
                    <a:pt x="6080451" y="1970190"/>
                    <a:pt x="6085145" y="1974547"/>
                    <a:pt x="6089150" y="1979501"/>
                  </a:cubicBezTo>
                  <a:cubicBezTo>
                    <a:pt x="6088204" y="1974269"/>
                    <a:pt x="6088204" y="1968916"/>
                    <a:pt x="6089150" y="1963683"/>
                  </a:cubicBezTo>
                  <a:cubicBezTo>
                    <a:pt x="6085722" y="1958599"/>
                    <a:pt x="6082713" y="1953247"/>
                    <a:pt x="6080183" y="1947665"/>
                  </a:cubicBezTo>
                  <a:cubicBezTo>
                    <a:pt x="6080780" y="1944482"/>
                    <a:pt x="6083670" y="1937717"/>
                    <a:pt x="6079186" y="1935727"/>
                  </a:cubicBezTo>
                  <a:cubicBezTo>
                    <a:pt x="6079186" y="1932643"/>
                    <a:pt x="6082076" y="1927072"/>
                    <a:pt x="6080183" y="1923888"/>
                  </a:cubicBezTo>
                  <a:cubicBezTo>
                    <a:pt x="6060254" y="1902797"/>
                    <a:pt x="6067029" y="1903990"/>
                    <a:pt x="6063243" y="1879118"/>
                  </a:cubicBezTo>
                  <a:cubicBezTo>
                    <a:pt x="6063841" y="1860216"/>
                    <a:pt x="6053976" y="1870463"/>
                    <a:pt x="6068225" y="1851163"/>
                  </a:cubicBezTo>
                  <a:lnTo>
                    <a:pt x="6064239" y="1849272"/>
                  </a:lnTo>
                  <a:cubicBezTo>
                    <a:pt x="6067767" y="1844965"/>
                    <a:pt x="6070776" y="1840249"/>
                    <a:pt x="6073207" y="1835244"/>
                  </a:cubicBezTo>
                  <a:cubicBezTo>
                    <a:pt x="6066033" y="1831265"/>
                    <a:pt x="6076994" y="1826191"/>
                    <a:pt x="6080183" y="1823306"/>
                  </a:cubicBezTo>
                  <a:cubicBezTo>
                    <a:pt x="6071115" y="1812164"/>
                    <a:pt x="6081976" y="1804603"/>
                    <a:pt x="6063243" y="1796444"/>
                  </a:cubicBezTo>
                  <a:cubicBezTo>
                    <a:pt x="6067129" y="1789580"/>
                    <a:pt x="6076197" y="1793957"/>
                    <a:pt x="6080183" y="1787491"/>
                  </a:cubicBezTo>
                  <a:cubicBezTo>
                    <a:pt x="6096225" y="1778139"/>
                    <a:pt x="6108381" y="1753267"/>
                    <a:pt x="6128012" y="1751675"/>
                  </a:cubicBezTo>
                  <a:cubicBezTo>
                    <a:pt x="6132595" y="1764012"/>
                    <a:pt x="6113364" y="1761624"/>
                    <a:pt x="6109079" y="1770578"/>
                  </a:cubicBezTo>
                  <a:cubicBezTo>
                    <a:pt x="6104794" y="1779532"/>
                    <a:pt x="6097720" y="1791371"/>
                    <a:pt x="6094132" y="1801419"/>
                  </a:cubicBezTo>
                  <a:cubicBezTo>
                    <a:pt x="6099314" y="1807050"/>
                    <a:pt x="6101526" y="1814800"/>
                    <a:pt x="6100111" y="1822311"/>
                  </a:cubicBezTo>
                  <a:cubicBezTo>
                    <a:pt x="6086161" y="1812363"/>
                    <a:pt x="6083869" y="1840020"/>
                    <a:pt x="6082175" y="1849272"/>
                  </a:cubicBezTo>
                  <a:cubicBezTo>
                    <a:pt x="6093834" y="1847482"/>
                    <a:pt x="6081577" y="1835244"/>
                    <a:pt x="6104097" y="1837234"/>
                  </a:cubicBezTo>
                  <a:cubicBezTo>
                    <a:pt x="6104097" y="1846586"/>
                    <a:pt x="6108581" y="1863101"/>
                    <a:pt x="6095129" y="1849272"/>
                  </a:cubicBezTo>
                  <a:cubicBezTo>
                    <a:pt x="6091343" y="1862504"/>
                    <a:pt x="6082574" y="1854844"/>
                    <a:pt x="6080183" y="1864195"/>
                  </a:cubicBezTo>
                  <a:cubicBezTo>
                    <a:pt x="6084636" y="1866325"/>
                    <a:pt x="6087098" y="1871189"/>
                    <a:pt x="6086161" y="1876034"/>
                  </a:cubicBezTo>
                  <a:cubicBezTo>
                    <a:pt x="6090545" y="1879118"/>
                    <a:pt x="6094332" y="1870563"/>
                    <a:pt x="6099115" y="1871060"/>
                  </a:cubicBezTo>
                  <a:cubicBezTo>
                    <a:pt x="6100609" y="1872950"/>
                    <a:pt x="6103798" y="1879815"/>
                    <a:pt x="6107086" y="1878024"/>
                  </a:cubicBezTo>
                  <a:lnTo>
                    <a:pt x="6109079" y="1887973"/>
                  </a:lnTo>
                  <a:cubicBezTo>
                    <a:pt x="6082873" y="1884093"/>
                    <a:pt x="6101506" y="1895633"/>
                    <a:pt x="6087157" y="1906876"/>
                  </a:cubicBezTo>
                  <a:cubicBezTo>
                    <a:pt x="6089449" y="1911651"/>
                    <a:pt x="6095328" y="1923490"/>
                    <a:pt x="6098118" y="1927768"/>
                  </a:cubicBezTo>
                  <a:cubicBezTo>
                    <a:pt x="6096444" y="1930673"/>
                    <a:pt x="6097451" y="1934384"/>
                    <a:pt x="6100360" y="1936055"/>
                  </a:cubicBezTo>
                  <a:cubicBezTo>
                    <a:pt x="6100908" y="1936364"/>
                    <a:pt x="6101496" y="1936592"/>
                    <a:pt x="6102104" y="1936722"/>
                  </a:cubicBezTo>
                  <a:cubicBezTo>
                    <a:pt x="6107046" y="1943009"/>
                    <a:pt x="6112367" y="1948989"/>
                    <a:pt x="6118047" y="1954629"/>
                  </a:cubicBezTo>
                  <a:cubicBezTo>
                    <a:pt x="6115118" y="1961683"/>
                    <a:pt x="6118475" y="1969771"/>
                    <a:pt x="6125541" y="1972696"/>
                  </a:cubicBezTo>
                  <a:cubicBezTo>
                    <a:pt x="6126646" y="1973164"/>
                    <a:pt x="6127812" y="1973472"/>
                    <a:pt x="6129008" y="1973632"/>
                  </a:cubicBezTo>
                  <a:cubicBezTo>
                    <a:pt x="6126547" y="1964170"/>
                    <a:pt x="6125212" y="1954451"/>
                    <a:pt x="6125022" y="1944681"/>
                  </a:cubicBezTo>
                  <a:cubicBezTo>
                    <a:pt x="6134289" y="1946273"/>
                    <a:pt x="6143855" y="1943586"/>
                    <a:pt x="6146944" y="1953734"/>
                  </a:cubicBezTo>
                  <a:cubicBezTo>
                    <a:pt x="6138574" y="1953734"/>
                    <a:pt x="6135385" y="1957415"/>
                    <a:pt x="6136979" y="1965573"/>
                  </a:cubicBezTo>
                  <a:cubicBezTo>
                    <a:pt x="6142161" y="1967463"/>
                    <a:pt x="6149236" y="1969453"/>
                    <a:pt x="6146944" y="1976517"/>
                  </a:cubicBezTo>
                  <a:cubicBezTo>
                    <a:pt x="6144652" y="1983580"/>
                    <a:pt x="6139770" y="1991838"/>
                    <a:pt x="6142958" y="1999399"/>
                  </a:cubicBezTo>
                  <a:cubicBezTo>
                    <a:pt x="6146147" y="1999399"/>
                    <a:pt x="6154716" y="1992335"/>
                    <a:pt x="6156908" y="1990445"/>
                  </a:cubicBezTo>
                  <a:cubicBezTo>
                    <a:pt x="6162787" y="1989848"/>
                    <a:pt x="6167471" y="1992932"/>
                    <a:pt x="6171456" y="1991838"/>
                  </a:cubicBezTo>
                  <a:cubicBezTo>
                    <a:pt x="6167002" y="1994375"/>
                    <a:pt x="6163076" y="1997757"/>
                    <a:pt x="6159898" y="2001787"/>
                  </a:cubicBezTo>
                  <a:cubicBezTo>
                    <a:pt x="6179129" y="2018998"/>
                    <a:pt x="6147841" y="2012830"/>
                    <a:pt x="6152923" y="2025664"/>
                  </a:cubicBezTo>
                  <a:cubicBezTo>
                    <a:pt x="6134588" y="2045561"/>
                    <a:pt x="6134688" y="2075407"/>
                    <a:pt x="6126019" y="2099284"/>
                  </a:cubicBezTo>
                  <a:cubicBezTo>
                    <a:pt x="6130702" y="2107144"/>
                    <a:pt x="6127314" y="2127837"/>
                    <a:pt x="6136979" y="2130125"/>
                  </a:cubicBezTo>
                  <a:cubicBezTo>
                    <a:pt x="6147672" y="2122206"/>
                    <a:pt x="6154826" y="2110427"/>
                    <a:pt x="6156908" y="2097295"/>
                  </a:cubicBezTo>
                  <a:cubicBezTo>
                    <a:pt x="6160785" y="2094280"/>
                    <a:pt x="6163585" y="2090092"/>
                    <a:pt x="6164880" y="2085356"/>
                  </a:cubicBezTo>
                  <a:cubicBezTo>
                    <a:pt x="6166674" y="2081775"/>
                    <a:pt x="6175940" y="2072821"/>
                    <a:pt x="6170858" y="2068543"/>
                  </a:cubicBezTo>
                  <a:cubicBezTo>
                    <a:pt x="6180823" y="2057102"/>
                    <a:pt x="6178431" y="2039691"/>
                    <a:pt x="6185805" y="2026659"/>
                  </a:cubicBezTo>
                  <a:cubicBezTo>
                    <a:pt x="6205734" y="1986864"/>
                    <a:pt x="6201051" y="2032031"/>
                    <a:pt x="6224666" y="1981889"/>
                  </a:cubicBezTo>
                  <a:cubicBezTo>
                    <a:pt x="6221876" y="1981889"/>
                    <a:pt x="6218887" y="1982386"/>
                    <a:pt x="6215798" y="1982486"/>
                  </a:cubicBezTo>
                  <a:cubicBezTo>
                    <a:pt x="6207906" y="1984426"/>
                    <a:pt x="6199815" y="1985431"/>
                    <a:pt x="6191684" y="1985471"/>
                  </a:cubicBezTo>
                  <a:cubicBezTo>
                    <a:pt x="6185516" y="1986486"/>
                    <a:pt x="6179518" y="1988326"/>
                    <a:pt x="6173848" y="1990943"/>
                  </a:cubicBezTo>
                  <a:cubicBezTo>
                    <a:pt x="6175183" y="1989858"/>
                    <a:pt x="6176209" y="1988455"/>
                    <a:pt x="6176837" y="1986864"/>
                  </a:cubicBezTo>
                  <a:cubicBezTo>
                    <a:pt x="6181750" y="1986088"/>
                    <a:pt x="6186712" y="1985620"/>
                    <a:pt x="6191684" y="1985471"/>
                  </a:cubicBezTo>
                  <a:cubicBezTo>
                    <a:pt x="6199755" y="1983978"/>
                    <a:pt x="6208025" y="1983282"/>
                    <a:pt x="6215798" y="1982486"/>
                  </a:cubicBezTo>
                  <a:cubicBezTo>
                    <a:pt x="6225762" y="1979999"/>
                    <a:pt x="6232738" y="1975025"/>
                    <a:pt x="6232638" y="1964976"/>
                  </a:cubicBezTo>
                  <a:cubicBezTo>
                    <a:pt x="6239404" y="1948581"/>
                    <a:pt x="6244735" y="1931638"/>
                    <a:pt x="6248581" y="1914337"/>
                  </a:cubicBezTo>
                  <a:cubicBezTo>
                    <a:pt x="6248870" y="1895614"/>
                    <a:pt x="6247206" y="1876900"/>
                    <a:pt x="6243599" y="1858525"/>
                  </a:cubicBezTo>
                  <a:cubicBezTo>
                    <a:pt x="6233634" y="1865489"/>
                    <a:pt x="6222773" y="1845492"/>
                    <a:pt x="6216694" y="1839722"/>
                  </a:cubicBezTo>
                  <a:cubicBezTo>
                    <a:pt x="6217273" y="1830688"/>
                    <a:pt x="6213128" y="1821993"/>
                    <a:pt x="6205734" y="1816740"/>
                  </a:cubicBezTo>
                  <a:cubicBezTo>
                    <a:pt x="6202445" y="1788287"/>
                    <a:pt x="6210616" y="1788884"/>
                    <a:pt x="6189791" y="1763017"/>
                  </a:cubicBezTo>
                  <a:cubicBezTo>
                    <a:pt x="6171058" y="1741428"/>
                    <a:pt x="6189791" y="1753068"/>
                    <a:pt x="6188794" y="1739140"/>
                  </a:cubicBezTo>
                  <a:cubicBezTo>
                    <a:pt x="6188864" y="1738881"/>
                    <a:pt x="6188864" y="1738603"/>
                    <a:pt x="6188794" y="1738344"/>
                  </a:cubicBezTo>
                  <a:cubicBezTo>
                    <a:pt x="6188964" y="1736931"/>
                    <a:pt x="6189263" y="1735528"/>
                    <a:pt x="6189691" y="1734166"/>
                  </a:cubicBezTo>
                  <a:cubicBezTo>
                    <a:pt x="6189522" y="1732971"/>
                    <a:pt x="6189044" y="1731837"/>
                    <a:pt x="6188296" y="1730882"/>
                  </a:cubicBezTo>
                  <a:cubicBezTo>
                    <a:pt x="6188894" y="1731459"/>
                    <a:pt x="6189601" y="1731907"/>
                    <a:pt x="6190389" y="1732176"/>
                  </a:cubicBezTo>
                  <a:cubicBezTo>
                    <a:pt x="6190100" y="1732812"/>
                    <a:pt x="6189860" y="1733479"/>
                    <a:pt x="6189691" y="1734166"/>
                  </a:cubicBezTo>
                  <a:cubicBezTo>
                    <a:pt x="6189880" y="1735618"/>
                    <a:pt x="6189562" y="1737100"/>
                    <a:pt x="6188794" y="1738344"/>
                  </a:cubicBezTo>
                  <a:cubicBezTo>
                    <a:pt x="6188196" y="1742721"/>
                    <a:pt x="6188196" y="1747298"/>
                    <a:pt x="6187400" y="1751078"/>
                  </a:cubicBezTo>
                  <a:cubicBezTo>
                    <a:pt x="6191983" y="1752073"/>
                    <a:pt x="6198560" y="1754759"/>
                    <a:pt x="6199357" y="1760132"/>
                  </a:cubicBezTo>
                  <a:cubicBezTo>
                    <a:pt x="6203143" y="1764012"/>
                    <a:pt x="6209321" y="1767693"/>
                    <a:pt x="6213307" y="1771971"/>
                  </a:cubicBezTo>
                  <a:cubicBezTo>
                    <a:pt x="6221179" y="1779631"/>
                    <a:pt x="6233236" y="1783810"/>
                    <a:pt x="6237222" y="1795848"/>
                  </a:cubicBezTo>
                  <a:cubicBezTo>
                    <a:pt x="6241655" y="1790664"/>
                    <a:pt x="6249458" y="1790057"/>
                    <a:pt x="6254639" y="1794485"/>
                  </a:cubicBezTo>
                  <a:cubicBezTo>
                    <a:pt x="6254819" y="1794634"/>
                    <a:pt x="6254988" y="1794793"/>
                    <a:pt x="6255158" y="1794952"/>
                  </a:cubicBezTo>
                  <a:cubicBezTo>
                    <a:pt x="6292723" y="1792465"/>
                    <a:pt x="6235229" y="1846188"/>
                    <a:pt x="6272097" y="1835643"/>
                  </a:cubicBezTo>
                  <a:cubicBezTo>
                    <a:pt x="6289236" y="1820620"/>
                    <a:pt x="6291129" y="1796544"/>
                    <a:pt x="6307969" y="1781919"/>
                  </a:cubicBezTo>
                  <a:cubicBezTo>
                    <a:pt x="6313967" y="1775701"/>
                    <a:pt x="6321062" y="1770648"/>
                    <a:pt x="6328894" y="1766996"/>
                  </a:cubicBezTo>
                  <a:cubicBezTo>
                    <a:pt x="6343751" y="1746641"/>
                    <a:pt x="6356764" y="1725003"/>
                    <a:pt x="6367755" y="1702329"/>
                  </a:cubicBezTo>
                  <a:cubicBezTo>
                    <a:pt x="6370894" y="1673518"/>
                    <a:pt x="6375886" y="1644935"/>
                    <a:pt x="6382702" y="1616770"/>
                  </a:cubicBezTo>
                  <a:cubicBezTo>
                    <a:pt x="6385392" y="1608612"/>
                    <a:pt x="6382702" y="1567723"/>
                    <a:pt x="6374730" y="1593888"/>
                  </a:cubicBezTo>
                  <a:cubicBezTo>
                    <a:pt x="6369040" y="1589531"/>
                    <a:pt x="6361498" y="1588446"/>
                    <a:pt x="6354802" y="1591003"/>
                  </a:cubicBezTo>
                  <a:cubicBezTo>
                    <a:pt x="6350318" y="1587322"/>
                    <a:pt x="6346232" y="1587322"/>
                    <a:pt x="6347826" y="1579960"/>
                  </a:cubicBezTo>
                  <a:cubicBezTo>
                    <a:pt x="6358598" y="1579343"/>
                    <a:pt x="6368323" y="1573354"/>
                    <a:pt x="6373734" y="1564042"/>
                  </a:cubicBezTo>
                  <a:cubicBezTo>
                    <a:pt x="6389478" y="1578070"/>
                    <a:pt x="6391271" y="1571802"/>
                    <a:pt x="6408609" y="1566131"/>
                  </a:cubicBezTo>
                  <a:cubicBezTo>
                    <a:pt x="6423675" y="1567822"/>
                    <a:pt x="6438931" y="1566430"/>
                    <a:pt x="6453449" y="1562052"/>
                  </a:cubicBezTo>
                  <a:cubicBezTo>
                    <a:pt x="6460922" y="1558073"/>
                    <a:pt x="6472082" y="1562052"/>
                    <a:pt x="6480353" y="1559068"/>
                  </a:cubicBezTo>
                  <a:cubicBezTo>
                    <a:pt x="6498388" y="1553894"/>
                    <a:pt x="6519413" y="1543846"/>
                    <a:pt x="6537150" y="1537180"/>
                  </a:cubicBezTo>
                  <a:cubicBezTo>
                    <a:pt x="6571328" y="1521561"/>
                    <a:pt x="6621548" y="1511115"/>
                    <a:pt x="6649748" y="1486541"/>
                  </a:cubicBezTo>
                  <a:cubicBezTo>
                    <a:pt x="6640979" y="1481567"/>
                    <a:pt x="6631812" y="1488531"/>
                    <a:pt x="6625834" y="1494401"/>
                  </a:cubicBezTo>
                  <a:cubicBezTo>
                    <a:pt x="6620941" y="1491874"/>
                    <a:pt x="6619028" y="1485875"/>
                    <a:pt x="6621559" y="1480990"/>
                  </a:cubicBezTo>
                  <a:cubicBezTo>
                    <a:pt x="6621648" y="1480821"/>
                    <a:pt x="6621748" y="1480642"/>
                    <a:pt x="6621848" y="1480472"/>
                  </a:cubicBezTo>
                  <a:cubicBezTo>
                    <a:pt x="6611883" y="1474702"/>
                    <a:pt x="6615869" y="1490421"/>
                    <a:pt x="6604908" y="1491516"/>
                  </a:cubicBezTo>
                  <a:cubicBezTo>
                    <a:pt x="6585777" y="1484750"/>
                    <a:pt x="6610588" y="1475100"/>
                    <a:pt x="6607897" y="1465549"/>
                  </a:cubicBezTo>
                  <a:cubicBezTo>
                    <a:pt x="6552595" y="1492809"/>
                    <a:pt x="6568040" y="1508926"/>
                    <a:pt x="6492310" y="1502360"/>
                  </a:cubicBezTo>
                  <a:cubicBezTo>
                    <a:pt x="6489570" y="1503683"/>
                    <a:pt x="6487697" y="1506309"/>
                    <a:pt x="6487328" y="1509324"/>
                  </a:cubicBezTo>
                  <a:cubicBezTo>
                    <a:pt x="6483810" y="1510995"/>
                    <a:pt x="6480144" y="1512328"/>
                    <a:pt x="6476368" y="1513303"/>
                  </a:cubicBezTo>
                  <a:cubicBezTo>
                    <a:pt x="6468495" y="1512607"/>
                    <a:pt x="6458331" y="1502161"/>
                    <a:pt x="6451457" y="1508329"/>
                  </a:cubicBezTo>
                  <a:cubicBezTo>
                    <a:pt x="6447570" y="1506538"/>
                    <a:pt x="6443684" y="1505842"/>
                    <a:pt x="6443485" y="1511413"/>
                  </a:cubicBezTo>
                  <a:cubicBezTo>
                    <a:pt x="6431727" y="1511413"/>
                    <a:pt x="6421065" y="1523252"/>
                    <a:pt x="6409606" y="1517283"/>
                  </a:cubicBezTo>
                  <a:cubicBezTo>
                    <a:pt x="6411100" y="1510518"/>
                    <a:pt x="6420866" y="1507334"/>
                    <a:pt x="6423556" y="1500370"/>
                  </a:cubicBezTo>
                  <a:cubicBezTo>
                    <a:pt x="6424134" y="1497316"/>
                    <a:pt x="6423367" y="1494172"/>
                    <a:pt x="6421464" y="1491715"/>
                  </a:cubicBezTo>
                  <a:cubicBezTo>
                    <a:pt x="6419381" y="1489178"/>
                    <a:pt x="6417537" y="1486442"/>
                    <a:pt x="6415983" y="1483557"/>
                  </a:cubicBezTo>
                  <a:cubicBezTo>
                    <a:pt x="6417966" y="1486163"/>
                    <a:pt x="6419800" y="1488889"/>
                    <a:pt x="6421464" y="1491715"/>
                  </a:cubicBezTo>
                  <a:cubicBezTo>
                    <a:pt x="6423456" y="1494699"/>
                    <a:pt x="6424951" y="1497783"/>
                    <a:pt x="6423556" y="1500370"/>
                  </a:cubicBezTo>
                  <a:cubicBezTo>
                    <a:pt x="6431238" y="1496122"/>
                    <a:pt x="6439230" y="1492471"/>
                    <a:pt x="6447471" y="1489426"/>
                  </a:cubicBezTo>
                  <a:cubicBezTo>
                    <a:pt x="6452652" y="1490620"/>
                    <a:pt x="6464908" y="1486939"/>
                    <a:pt x="6459428" y="1480472"/>
                  </a:cubicBezTo>
                  <a:cubicBezTo>
                    <a:pt x="6467618" y="1480502"/>
                    <a:pt x="6475480" y="1477319"/>
                    <a:pt x="6481350" y="1471618"/>
                  </a:cubicBezTo>
                  <a:cubicBezTo>
                    <a:pt x="6484139" y="1472315"/>
                    <a:pt x="6489620" y="1474503"/>
                    <a:pt x="6492310" y="1472513"/>
                  </a:cubicBezTo>
                  <a:cubicBezTo>
                    <a:pt x="6494044" y="1467340"/>
                    <a:pt x="6498807" y="1463768"/>
                    <a:pt x="6504268" y="1463560"/>
                  </a:cubicBezTo>
                  <a:cubicBezTo>
                    <a:pt x="6508453" y="1457391"/>
                    <a:pt x="6514232" y="1453014"/>
                    <a:pt x="6521207" y="1457590"/>
                  </a:cubicBezTo>
                  <a:lnTo>
                    <a:pt x="6533164" y="1453611"/>
                  </a:lnTo>
                  <a:cubicBezTo>
                    <a:pt x="6535655" y="1460476"/>
                    <a:pt x="6545719" y="1456795"/>
                    <a:pt x="6550104" y="1453611"/>
                  </a:cubicBezTo>
                  <a:cubicBezTo>
                    <a:pt x="6554488" y="1450427"/>
                    <a:pt x="6560068" y="1455004"/>
                    <a:pt x="6565050" y="1455601"/>
                  </a:cubicBezTo>
                  <a:cubicBezTo>
                    <a:pt x="6570033" y="1453909"/>
                    <a:pt x="6579399" y="1449233"/>
                    <a:pt x="6583983" y="1453611"/>
                  </a:cubicBezTo>
                  <a:cubicBezTo>
                    <a:pt x="6590759" y="1450129"/>
                    <a:pt x="6601022" y="1450626"/>
                    <a:pt x="6606901" y="1444657"/>
                  </a:cubicBezTo>
                  <a:cubicBezTo>
                    <a:pt x="6610289" y="1446348"/>
                    <a:pt x="6616367" y="1448636"/>
                    <a:pt x="6619855" y="1445652"/>
                  </a:cubicBezTo>
                  <a:cubicBezTo>
                    <a:pt x="6628723" y="1446846"/>
                    <a:pt x="6643072" y="1437494"/>
                    <a:pt x="6649748" y="1444657"/>
                  </a:cubicBezTo>
                  <a:lnTo>
                    <a:pt x="6649748" y="1445652"/>
                  </a:lnTo>
                  <a:cubicBezTo>
                    <a:pt x="6662532" y="1442976"/>
                    <a:pt x="6675167" y="1439663"/>
                    <a:pt x="6687613" y="1435703"/>
                  </a:cubicBezTo>
                  <a:cubicBezTo>
                    <a:pt x="6697577" y="1438588"/>
                    <a:pt x="6701065" y="1430331"/>
                    <a:pt x="6703556" y="1421874"/>
                  </a:cubicBezTo>
                  <a:cubicBezTo>
                    <a:pt x="6711428" y="1419686"/>
                    <a:pt x="6719100" y="1428043"/>
                    <a:pt x="6721492" y="1415806"/>
                  </a:cubicBezTo>
                  <a:cubicBezTo>
                    <a:pt x="6740623" y="1425157"/>
                    <a:pt x="6742018" y="1417895"/>
                    <a:pt x="6741421" y="1406653"/>
                  </a:cubicBezTo>
                  <a:cubicBezTo>
                    <a:pt x="6741421" y="1410035"/>
                    <a:pt x="6742118" y="1412821"/>
                    <a:pt x="6742417" y="1414811"/>
                  </a:cubicBezTo>
                  <a:cubicBezTo>
                    <a:pt x="6755969" y="1411329"/>
                    <a:pt x="6760752" y="1418890"/>
                    <a:pt x="6769321" y="1400883"/>
                  </a:cubicBezTo>
                  <a:cubicBezTo>
                    <a:pt x="6776794" y="1401649"/>
                    <a:pt x="6783958" y="1397669"/>
                    <a:pt x="6787257" y="1390934"/>
                  </a:cubicBezTo>
                  <a:cubicBezTo>
                    <a:pt x="6818445" y="1407648"/>
                    <a:pt x="6762943" y="1414413"/>
                    <a:pt x="6764339" y="1429734"/>
                  </a:cubicBezTo>
                  <a:cubicBezTo>
                    <a:pt x="6786260" y="1427247"/>
                    <a:pt x="6800908" y="1403569"/>
                    <a:pt x="6824125" y="1404862"/>
                  </a:cubicBezTo>
                  <a:cubicBezTo>
                    <a:pt x="6828310" y="1396605"/>
                    <a:pt x="6841563" y="1388944"/>
                    <a:pt x="6850033" y="1394913"/>
                  </a:cubicBezTo>
                  <a:cubicBezTo>
                    <a:pt x="6860615" y="1390466"/>
                    <a:pt x="6871635" y="1387123"/>
                    <a:pt x="6882915" y="1384965"/>
                  </a:cubicBezTo>
                  <a:cubicBezTo>
                    <a:pt x="6881988" y="1392257"/>
                    <a:pt x="6881650" y="1399609"/>
                    <a:pt x="6881918" y="1406951"/>
                  </a:cubicBezTo>
                  <a:cubicBezTo>
                    <a:pt x="6901847" y="1400883"/>
                    <a:pt x="6889990" y="1355417"/>
                    <a:pt x="6885904" y="1339200"/>
                  </a:cubicBezTo>
                  <a:cubicBezTo>
                    <a:pt x="6887050" y="1327501"/>
                    <a:pt x="6878481" y="1317084"/>
                    <a:pt x="6866753" y="1315940"/>
                  </a:cubicBezTo>
                  <a:cubicBezTo>
                    <a:pt x="6861930" y="1315473"/>
                    <a:pt x="6857087" y="1316656"/>
                    <a:pt x="6853022" y="1319303"/>
                  </a:cubicBezTo>
                  <a:cubicBezTo>
                    <a:pt x="6855712" y="1322088"/>
                    <a:pt x="6860396" y="1328356"/>
                    <a:pt x="6864979" y="1325272"/>
                  </a:cubicBezTo>
                  <a:cubicBezTo>
                    <a:pt x="6881321" y="1327361"/>
                    <a:pt x="6867171" y="1350144"/>
                    <a:pt x="6882915" y="1355118"/>
                  </a:cubicBezTo>
                  <a:cubicBezTo>
                    <a:pt x="6886602" y="1369942"/>
                    <a:pt x="6865876" y="1371036"/>
                    <a:pt x="6856011" y="1373026"/>
                  </a:cubicBezTo>
                  <a:cubicBezTo>
                    <a:pt x="6847143" y="1379990"/>
                    <a:pt x="6830203" y="1373026"/>
                    <a:pt x="6821136" y="1368052"/>
                  </a:cubicBezTo>
                  <a:lnTo>
                    <a:pt x="6815157" y="1361088"/>
                  </a:lnTo>
                  <a:cubicBezTo>
                    <a:pt x="6818306" y="1353158"/>
                    <a:pt x="6816343" y="1344115"/>
                    <a:pt x="6810175" y="1338205"/>
                  </a:cubicBezTo>
                  <a:cubicBezTo>
                    <a:pt x="6804396" y="1343478"/>
                    <a:pt x="6798218" y="1335022"/>
                    <a:pt x="6798218" y="1329252"/>
                  </a:cubicBezTo>
                  <a:cubicBezTo>
                    <a:pt x="6803917" y="1323452"/>
                    <a:pt x="6803917" y="1314159"/>
                    <a:pt x="6798218" y="1308359"/>
                  </a:cubicBezTo>
                  <a:cubicBezTo>
                    <a:pt x="6794929" y="1302092"/>
                    <a:pt x="6791342" y="1291247"/>
                    <a:pt x="6784267" y="1287566"/>
                  </a:cubicBezTo>
                  <a:cubicBezTo>
                    <a:pt x="6773107" y="1286273"/>
                    <a:pt x="6772709" y="1270853"/>
                    <a:pt x="6762346" y="1284482"/>
                  </a:cubicBezTo>
                  <a:cubicBezTo>
                    <a:pt x="6758181" y="1280523"/>
                    <a:pt x="6757742" y="1274036"/>
                    <a:pt x="6761349" y="1269559"/>
                  </a:cubicBezTo>
                  <a:cubicBezTo>
                    <a:pt x="6760353" y="1261998"/>
                    <a:pt x="6758559" y="1255929"/>
                    <a:pt x="6769321" y="1257720"/>
                  </a:cubicBezTo>
                  <a:cubicBezTo>
                    <a:pt x="6770318" y="1247771"/>
                    <a:pt x="6781876" y="1249264"/>
                    <a:pt x="6777292" y="1236728"/>
                  </a:cubicBezTo>
                  <a:cubicBezTo>
                    <a:pt x="6788154" y="1231953"/>
                    <a:pt x="6813065" y="1232649"/>
                    <a:pt x="6808182" y="1214841"/>
                  </a:cubicBezTo>
                  <a:cubicBezTo>
                    <a:pt x="6797221" y="1209568"/>
                    <a:pt x="6798218" y="1227675"/>
                    <a:pt x="6786260" y="1208872"/>
                  </a:cubicBezTo>
                  <a:cubicBezTo>
                    <a:pt x="6782962" y="1200296"/>
                    <a:pt x="6781278" y="1191193"/>
                    <a:pt x="6781278" y="1182010"/>
                  </a:cubicBezTo>
                  <a:cubicBezTo>
                    <a:pt x="6778837" y="1182339"/>
                    <a:pt x="6776356" y="1182140"/>
                    <a:pt x="6774004" y="1181413"/>
                  </a:cubicBezTo>
                  <a:lnTo>
                    <a:pt x="6781278" y="1182010"/>
                  </a:lnTo>
                  <a:cubicBezTo>
                    <a:pt x="6781278" y="1170470"/>
                    <a:pt x="6791243" y="1159825"/>
                    <a:pt x="6795229" y="1149179"/>
                  </a:cubicBezTo>
                  <a:cubicBezTo>
                    <a:pt x="6803878" y="1142235"/>
                    <a:pt x="6809567" y="1132286"/>
                    <a:pt x="6811171" y="1121323"/>
                  </a:cubicBezTo>
                  <a:cubicBezTo>
                    <a:pt x="6809866" y="1115513"/>
                    <a:pt x="6810942" y="1109424"/>
                    <a:pt x="6814161" y="1104410"/>
                  </a:cubicBezTo>
                  <a:cubicBezTo>
                    <a:pt x="6815157" y="1103515"/>
                    <a:pt x="6817150" y="1101425"/>
                    <a:pt x="6818147" y="1100431"/>
                  </a:cubicBezTo>
                  <a:cubicBezTo>
                    <a:pt x="6831798" y="1105703"/>
                    <a:pt x="6833691" y="1086900"/>
                    <a:pt x="6842061" y="1080533"/>
                  </a:cubicBezTo>
                  <a:cubicBezTo>
                    <a:pt x="6836282" y="1077747"/>
                    <a:pt x="6834089" y="1074365"/>
                    <a:pt x="6838075" y="1068694"/>
                  </a:cubicBezTo>
                  <a:cubicBezTo>
                    <a:pt x="6845070" y="1069062"/>
                    <a:pt x="6852006" y="1067331"/>
                    <a:pt x="6858004" y="1063720"/>
                  </a:cubicBezTo>
                  <a:cubicBezTo>
                    <a:pt x="6855832" y="1058765"/>
                    <a:pt x="6856599" y="1053015"/>
                    <a:pt x="6859997" y="1048797"/>
                  </a:cubicBezTo>
                  <a:cubicBezTo>
                    <a:pt x="6861093" y="1042230"/>
                    <a:pt x="6866773" y="1042628"/>
                    <a:pt x="6871954" y="1043822"/>
                  </a:cubicBezTo>
                  <a:cubicBezTo>
                    <a:pt x="6874445" y="1030491"/>
                    <a:pt x="6884111" y="1043126"/>
                    <a:pt x="6885904" y="1030789"/>
                  </a:cubicBezTo>
                  <a:cubicBezTo>
                    <a:pt x="6889990" y="1027705"/>
                    <a:pt x="6895869" y="1023726"/>
                    <a:pt x="6900851" y="1028899"/>
                  </a:cubicBezTo>
                  <a:cubicBezTo>
                    <a:pt x="6901449" y="1031187"/>
                    <a:pt x="6900851" y="1039544"/>
                    <a:pt x="6904837" y="1038848"/>
                  </a:cubicBezTo>
                  <a:cubicBezTo>
                    <a:pt x="6906740" y="1034779"/>
                    <a:pt x="6910417" y="1031804"/>
                    <a:pt x="6914801" y="1030789"/>
                  </a:cubicBezTo>
                  <a:cubicBezTo>
                    <a:pt x="6915997" y="1028899"/>
                    <a:pt x="6918389" y="1021437"/>
                    <a:pt x="6921776" y="1021835"/>
                  </a:cubicBezTo>
                  <a:cubicBezTo>
                    <a:pt x="6926898" y="1021079"/>
                    <a:pt x="6931910" y="1019746"/>
                    <a:pt x="6936723" y="1017856"/>
                  </a:cubicBezTo>
                  <a:cubicBezTo>
                    <a:pt x="6938417" y="1013976"/>
                    <a:pt x="6941904" y="1013777"/>
                    <a:pt x="6945691" y="1014871"/>
                  </a:cubicBezTo>
                  <a:cubicBezTo>
                    <a:pt x="6950773" y="1008235"/>
                    <a:pt x="6955436" y="1001291"/>
                    <a:pt x="6959641" y="994078"/>
                  </a:cubicBezTo>
                  <a:cubicBezTo>
                    <a:pt x="6963677" y="999431"/>
                    <a:pt x="6966716" y="1005460"/>
                    <a:pt x="6968609" y="1011887"/>
                  </a:cubicBezTo>
                  <a:cubicBezTo>
                    <a:pt x="6973083" y="1009479"/>
                    <a:pt x="6976600" y="1005619"/>
                    <a:pt x="6978573" y="1000943"/>
                  </a:cubicBezTo>
                  <a:cubicBezTo>
                    <a:pt x="6982758" y="1001838"/>
                    <a:pt x="6985947" y="993581"/>
                    <a:pt x="6987542" y="990994"/>
                  </a:cubicBezTo>
                  <a:cubicBezTo>
                    <a:pt x="6995413" y="992188"/>
                    <a:pt x="7008168" y="990298"/>
                    <a:pt x="7000495" y="980051"/>
                  </a:cubicBezTo>
                  <a:cubicBezTo>
                    <a:pt x="7006773" y="974977"/>
                    <a:pt x="7003982" y="969406"/>
                    <a:pt x="6999499" y="964232"/>
                  </a:cubicBezTo>
                  <a:cubicBezTo>
                    <a:pt x="7004580" y="954283"/>
                    <a:pt x="7000296" y="941549"/>
                    <a:pt x="7015442" y="948215"/>
                  </a:cubicBezTo>
                  <a:cubicBezTo>
                    <a:pt x="7019029" y="954482"/>
                    <a:pt x="7027299" y="959556"/>
                    <a:pt x="7017435" y="964232"/>
                  </a:cubicBezTo>
                  <a:lnTo>
                    <a:pt x="7025406" y="982040"/>
                  </a:lnTo>
                  <a:cubicBezTo>
                    <a:pt x="7033437" y="977534"/>
                    <a:pt x="7042206" y="974499"/>
                    <a:pt x="7051313" y="973087"/>
                  </a:cubicBezTo>
                  <a:lnTo>
                    <a:pt x="7052310" y="986020"/>
                  </a:lnTo>
                  <a:cubicBezTo>
                    <a:pt x="7058189" y="987413"/>
                    <a:pt x="7059684" y="977862"/>
                    <a:pt x="7061278" y="974181"/>
                  </a:cubicBezTo>
                  <a:cubicBezTo>
                    <a:pt x="7070615" y="967844"/>
                    <a:pt x="7082154" y="965655"/>
                    <a:pt x="7093164" y="968112"/>
                  </a:cubicBezTo>
                  <a:cubicBezTo>
                    <a:pt x="7094759" y="952493"/>
                    <a:pt x="7093164" y="941151"/>
                    <a:pt x="7113093" y="947220"/>
                  </a:cubicBezTo>
                  <a:cubicBezTo>
                    <a:pt x="7103128" y="940654"/>
                    <a:pt x="7108708" y="937271"/>
                    <a:pt x="7113093" y="929412"/>
                  </a:cubicBezTo>
                  <a:cubicBezTo>
                    <a:pt x="7110104" y="922646"/>
                    <a:pt x="7112097" y="919463"/>
                    <a:pt x="7119072" y="918368"/>
                  </a:cubicBezTo>
                  <a:cubicBezTo>
                    <a:pt x="7121852" y="922189"/>
                    <a:pt x="7125210" y="925542"/>
                    <a:pt x="7129036" y="928317"/>
                  </a:cubicBezTo>
                  <a:cubicBezTo>
                    <a:pt x="7131726" y="915881"/>
                    <a:pt x="7135812" y="920955"/>
                    <a:pt x="7142986" y="914488"/>
                  </a:cubicBezTo>
                  <a:cubicBezTo>
                    <a:pt x="7146474" y="917871"/>
                    <a:pt x="7149862" y="916976"/>
                    <a:pt x="7152950" y="913394"/>
                  </a:cubicBezTo>
                  <a:cubicBezTo>
                    <a:pt x="7155940" y="896382"/>
                    <a:pt x="7167797" y="901555"/>
                    <a:pt x="7178858" y="894591"/>
                  </a:cubicBezTo>
                  <a:cubicBezTo>
                    <a:pt x="7180572" y="900789"/>
                    <a:pt x="7183641" y="906529"/>
                    <a:pt x="7187826" y="911404"/>
                  </a:cubicBezTo>
                  <a:lnTo>
                    <a:pt x="7197790" y="903445"/>
                  </a:lnTo>
                  <a:cubicBezTo>
                    <a:pt x="7194482" y="894531"/>
                    <a:pt x="7199046" y="884632"/>
                    <a:pt x="7207974" y="881329"/>
                  </a:cubicBezTo>
                  <a:cubicBezTo>
                    <a:pt x="7208871" y="881001"/>
                    <a:pt x="7209798" y="880742"/>
                    <a:pt x="7210744" y="880563"/>
                  </a:cubicBezTo>
                  <a:cubicBezTo>
                    <a:pt x="7213734" y="874196"/>
                    <a:pt x="7219612" y="879469"/>
                    <a:pt x="7223698" y="881558"/>
                  </a:cubicBezTo>
                  <a:cubicBezTo>
                    <a:pt x="7239083" y="869520"/>
                    <a:pt x="7253721" y="856557"/>
                    <a:pt x="7267541" y="842758"/>
                  </a:cubicBezTo>
                  <a:cubicBezTo>
                    <a:pt x="7260566" y="839574"/>
                    <a:pt x="7261065" y="832909"/>
                    <a:pt x="7263057" y="827338"/>
                  </a:cubicBezTo>
                  <a:close/>
                  <a:moveTo>
                    <a:pt x="6245691" y="1515890"/>
                  </a:moveTo>
                  <a:cubicBezTo>
                    <a:pt x="6244775" y="1517920"/>
                    <a:pt x="6244007" y="1520019"/>
                    <a:pt x="6243400" y="1522158"/>
                  </a:cubicBezTo>
                  <a:cubicBezTo>
                    <a:pt x="6243977" y="1520009"/>
                    <a:pt x="6244744" y="1517910"/>
                    <a:pt x="6245691" y="1515890"/>
                  </a:cubicBezTo>
                  <a:close/>
                  <a:moveTo>
                    <a:pt x="6253165" y="1409140"/>
                  </a:moveTo>
                  <a:cubicBezTo>
                    <a:pt x="6251281" y="1406832"/>
                    <a:pt x="6249767" y="1404255"/>
                    <a:pt x="6248680" y="1401479"/>
                  </a:cubicBezTo>
                  <a:cubicBezTo>
                    <a:pt x="6248680" y="1397202"/>
                    <a:pt x="6248680" y="1393023"/>
                    <a:pt x="6248680" y="1389242"/>
                  </a:cubicBezTo>
                  <a:cubicBezTo>
                    <a:pt x="6248850" y="1396008"/>
                    <a:pt x="6250374" y="1402673"/>
                    <a:pt x="6253165" y="1408842"/>
                  </a:cubicBezTo>
                  <a:close/>
                  <a:moveTo>
                    <a:pt x="6184909" y="1329550"/>
                  </a:moveTo>
                  <a:cubicBezTo>
                    <a:pt x="6191864" y="1329112"/>
                    <a:pt x="6198849" y="1329441"/>
                    <a:pt x="6205734" y="1330545"/>
                  </a:cubicBezTo>
                  <a:lnTo>
                    <a:pt x="6208823" y="1330545"/>
                  </a:lnTo>
                  <a:cubicBezTo>
                    <a:pt x="6211912" y="1330545"/>
                    <a:pt x="6214303" y="1332933"/>
                    <a:pt x="6216196" y="1336116"/>
                  </a:cubicBezTo>
                  <a:cubicBezTo>
                    <a:pt x="6218987" y="1339638"/>
                    <a:pt x="6220591" y="1343956"/>
                    <a:pt x="6220780" y="1348453"/>
                  </a:cubicBezTo>
                  <a:cubicBezTo>
                    <a:pt x="6219664" y="1344205"/>
                    <a:pt x="6218130" y="1340066"/>
                    <a:pt x="6216196" y="1336116"/>
                  </a:cubicBezTo>
                  <a:cubicBezTo>
                    <a:pt x="6213556" y="1333241"/>
                    <a:pt x="6210068" y="1331291"/>
                    <a:pt x="6206232" y="1330545"/>
                  </a:cubicBezTo>
                  <a:cubicBezTo>
                    <a:pt x="6173748" y="1330048"/>
                    <a:pt x="6141165" y="1329848"/>
                    <a:pt x="6108481" y="1329550"/>
                  </a:cubicBezTo>
                  <a:close/>
                  <a:moveTo>
                    <a:pt x="6157008" y="1707602"/>
                  </a:moveTo>
                  <a:lnTo>
                    <a:pt x="6155214" y="1707602"/>
                  </a:lnTo>
                  <a:cubicBezTo>
                    <a:pt x="6156101" y="1707582"/>
                    <a:pt x="6156938" y="1707184"/>
                    <a:pt x="6157506" y="1706508"/>
                  </a:cubicBezTo>
                  <a:cubicBezTo>
                    <a:pt x="6158353" y="1704190"/>
                    <a:pt x="6159599" y="1702031"/>
                    <a:pt x="6161193" y="1700141"/>
                  </a:cubicBezTo>
                  <a:cubicBezTo>
                    <a:pt x="6160137" y="1702359"/>
                    <a:pt x="6158901" y="1704488"/>
                    <a:pt x="6157506" y="1706508"/>
                  </a:cubicBezTo>
                  <a:cubicBezTo>
                    <a:pt x="6157257" y="1706906"/>
                    <a:pt x="6157087" y="1707344"/>
                    <a:pt x="6157008" y="1707801"/>
                  </a:cubicBezTo>
                  <a:close/>
                  <a:moveTo>
                    <a:pt x="6171855" y="1691784"/>
                  </a:moveTo>
                  <a:cubicBezTo>
                    <a:pt x="6167790" y="1693624"/>
                    <a:pt x="6164203" y="1696380"/>
                    <a:pt x="6161392" y="1699842"/>
                  </a:cubicBezTo>
                  <a:cubicBezTo>
                    <a:pt x="6161980" y="1698589"/>
                    <a:pt x="6162867" y="1697494"/>
                    <a:pt x="6163983" y="1696659"/>
                  </a:cubicBezTo>
                  <a:cubicBezTo>
                    <a:pt x="6166374" y="1694589"/>
                    <a:pt x="6169154" y="1692997"/>
                    <a:pt x="6172154" y="1691983"/>
                  </a:cubicBezTo>
                  <a:close/>
                  <a:moveTo>
                    <a:pt x="5831969" y="1329550"/>
                  </a:moveTo>
                  <a:cubicBezTo>
                    <a:pt x="5773109" y="1329550"/>
                    <a:pt x="5714389" y="1329550"/>
                    <a:pt x="5655798" y="1329550"/>
                  </a:cubicBezTo>
                  <a:close/>
                  <a:moveTo>
                    <a:pt x="5988211" y="1836936"/>
                  </a:moveTo>
                  <a:cubicBezTo>
                    <a:pt x="5990542" y="1838627"/>
                    <a:pt x="5992565" y="1840716"/>
                    <a:pt x="5994190" y="1843104"/>
                  </a:cubicBezTo>
                  <a:lnTo>
                    <a:pt x="5988211" y="1836936"/>
                  </a:lnTo>
                  <a:lnTo>
                    <a:pt x="5987613" y="1836339"/>
                  </a:lnTo>
                  <a:cubicBezTo>
                    <a:pt x="5987613" y="1836339"/>
                    <a:pt x="5987613" y="1836339"/>
                    <a:pt x="5987613" y="1835742"/>
                  </a:cubicBezTo>
                  <a:lnTo>
                    <a:pt x="5987613" y="1836339"/>
                  </a:lnTo>
                  <a:cubicBezTo>
                    <a:pt x="5987842" y="1836369"/>
                    <a:pt x="5988051" y="1836468"/>
                    <a:pt x="5988211" y="1836637"/>
                  </a:cubicBezTo>
                  <a:close/>
                  <a:moveTo>
                    <a:pt x="5942474" y="1787192"/>
                  </a:moveTo>
                  <a:cubicBezTo>
                    <a:pt x="5939645" y="1784417"/>
                    <a:pt x="5936615" y="1781860"/>
                    <a:pt x="5933406" y="1779532"/>
                  </a:cubicBezTo>
                  <a:lnTo>
                    <a:pt x="5932809" y="1779532"/>
                  </a:lnTo>
                  <a:cubicBezTo>
                    <a:pt x="5932340" y="1778984"/>
                    <a:pt x="5931763" y="1778547"/>
                    <a:pt x="5931115" y="1778238"/>
                  </a:cubicBezTo>
                  <a:cubicBezTo>
                    <a:pt x="5931932" y="1778656"/>
                    <a:pt x="5932699" y="1779153"/>
                    <a:pt x="5933406" y="1779731"/>
                  </a:cubicBezTo>
                  <a:cubicBezTo>
                    <a:pt x="5937233" y="1781143"/>
                    <a:pt x="5940452" y="1783849"/>
                    <a:pt x="5942474" y="1787391"/>
                  </a:cubicBezTo>
                  <a:cubicBezTo>
                    <a:pt x="5943172" y="1787889"/>
                    <a:pt x="5943969" y="1788784"/>
                    <a:pt x="5944766" y="1789481"/>
                  </a:cubicBezTo>
                  <a:lnTo>
                    <a:pt x="5943371" y="1791669"/>
                  </a:lnTo>
                  <a:cubicBezTo>
                    <a:pt x="5942943" y="1794266"/>
                    <a:pt x="5941368" y="1796524"/>
                    <a:pt x="5939086" y="1797837"/>
                  </a:cubicBezTo>
                  <a:cubicBezTo>
                    <a:pt x="5938160" y="1798842"/>
                    <a:pt x="5937442" y="1800026"/>
                    <a:pt x="5936994" y="1801320"/>
                  </a:cubicBezTo>
                  <a:cubicBezTo>
                    <a:pt x="5936944" y="1800693"/>
                    <a:pt x="5936944" y="1800056"/>
                    <a:pt x="5936994" y="1799429"/>
                  </a:cubicBezTo>
                  <a:lnTo>
                    <a:pt x="5939286" y="1797837"/>
                  </a:lnTo>
                  <a:cubicBezTo>
                    <a:pt x="5940860" y="1795887"/>
                    <a:pt x="5942295" y="1793828"/>
                    <a:pt x="5943570" y="1791669"/>
                  </a:cubicBezTo>
                  <a:cubicBezTo>
                    <a:pt x="5943859" y="1790217"/>
                    <a:pt x="5943650" y="1788704"/>
                    <a:pt x="5942972" y="1787391"/>
                  </a:cubicBezTo>
                  <a:close/>
                  <a:moveTo>
                    <a:pt x="5494076" y="2447789"/>
                  </a:moveTo>
                  <a:cubicBezTo>
                    <a:pt x="5492522" y="2446008"/>
                    <a:pt x="5492093" y="2443511"/>
                    <a:pt x="5492980" y="2441322"/>
                  </a:cubicBezTo>
                  <a:cubicBezTo>
                    <a:pt x="5493757" y="2438984"/>
                    <a:pt x="5494325" y="2436596"/>
                    <a:pt x="5494674" y="2434159"/>
                  </a:cubicBezTo>
                  <a:cubicBezTo>
                    <a:pt x="5494644" y="2433363"/>
                    <a:pt x="5494435" y="2432577"/>
                    <a:pt x="5494076" y="2431871"/>
                  </a:cubicBezTo>
                  <a:cubicBezTo>
                    <a:pt x="5494674" y="2431373"/>
                    <a:pt x="5492481" y="2430975"/>
                    <a:pt x="5488994" y="2430578"/>
                  </a:cubicBezTo>
                  <a:lnTo>
                    <a:pt x="5494076" y="2430578"/>
                  </a:lnTo>
                  <a:cubicBezTo>
                    <a:pt x="5494524" y="2431572"/>
                    <a:pt x="5494724" y="2432667"/>
                    <a:pt x="5494674" y="2433761"/>
                  </a:cubicBezTo>
                  <a:cubicBezTo>
                    <a:pt x="5494465" y="2436218"/>
                    <a:pt x="5493897" y="2438636"/>
                    <a:pt x="5492980" y="2440924"/>
                  </a:cubicBezTo>
                  <a:cubicBezTo>
                    <a:pt x="5492213" y="2443392"/>
                    <a:pt x="5492820" y="2446088"/>
                    <a:pt x="5494574" y="2447988"/>
                  </a:cubicBezTo>
                  <a:close/>
                  <a:moveTo>
                    <a:pt x="5436083" y="2757593"/>
                  </a:moveTo>
                  <a:cubicBezTo>
                    <a:pt x="5434778" y="2754210"/>
                    <a:pt x="5432576" y="2751255"/>
                    <a:pt x="5429706" y="2749037"/>
                  </a:cubicBezTo>
                  <a:cubicBezTo>
                    <a:pt x="5432127" y="2750828"/>
                    <a:pt x="5434339" y="2752897"/>
                    <a:pt x="5436283" y="2755205"/>
                  </a:cubicBezTo>
                  <a:cubicBezTo>
                    <a:pt x="5436183" y="2756001"/>
                    <a:pt x="5436183" y="2756797"/>
                    <a:pt x="5436283" y="2757593"/>
                  </a:cubicBezTo>
                  <a:cubicBezTo>
                    <a:pt x="5437000" y="2759493"/>
                    <a:pt x="5437199" y="2761552"/>
                    <a:pt x="5436880" y="2763562"/>
                  </a:cubicBezTo>
                  <a:cubicBezTo>
                    <a:pt x="5437159" y="2764935"/>
                    <a:pt x="5437597" y="2766268"/>
                    <a:pt x="5438176" y="2767541"/>
                  </a:cubicBezTo>
                  <a:cubicBezTo>
                    <a:pt x="5437687" y="2766696"/>
                    <a:pt x="5437119" y="2765890"/>
                    <a:pt x="5436481" y="2765154"/>
                  </a:cubicBezTo>
                  <a:cubicBezTo>
                    <a:pt x="5436422" y="2764626"/>
                    <a:pt x="5436422" y="2764089"/>
                    <a:pt x="5436481" y="2763562"/>
                  </a:cubicBezTo>
                  <a:cubicBezTo>
                    <a:pt x="5436183" y="2761652"/>
                    <a:pt x="5436153" y="2759712"/>
                    <a:pt x="5436382" y="2757792"/>
                  </a:cubicBezTo>
                  <a:close/>
                  <a:moveTo>
                    <a:pt x="5400410" y="2725160"/>
                  </a:moveTo>
                  <a:cubicBezTo>
                    <a:pt x="5403519" y="2727140"/>
                    <a:pt x="5405094" y="2730801"/>
                    <a:pt x="5404396" y="2734412"/>
                  </a:cubicBezTo>
                  <a:cubicBezTo>
                    <a:pt x="5408581" y="2736999"/>
                    <a:pt x="5413464" y="2739386"/>
                    <a:pt x="5418346" y="2741973"/>
                  </a:cubicBezTo>
                  <a:cubicBezTo>
                    <a:pt x="5413543" y="2739745"/>
                    <a:pt x="5408890" y="2737218"/>
                    <a:pt x="5404396" y="2734412"/>
                  </a:cubicBezTo>
                  <a:cubicBezTo>
                    <a:pt x="5404974" y="2730940"/>
                    <a:pt x="5403549" y="2727448"/>
                    <a:pt x="5400710" y="2725359"/>
                  </a:cubicBezTo>
                  <a:close/>
                  <a:moveTo>
                    <a:pt x="5368823" y="3105998"/>
                  </a:moveTo>
                  <a:cubicBezTo>
                    <a:pt x="5369391" y="3107938"/>
                    <a:pt x="5370308" y="3109748"/>
                    <a:pt x="5371514" y="3111370"/>
                  </a:cubicBezTo>
                  <a:cubicBezTo>
                    <a:pt x="5370278" y="3109887"/>
                    <a:pt x="5369451" y="3108097"/>
                    <a:pt x="5369122" y="3106196"/>
                  </a:cubicBezTo>
                  <a:close/>
                  <a:moveTo>
                    <a:pt x="5351186" y="2662383"/>
                  </a:moveTo>
                  <a:cubicBezTo>
                    <a:pt x="5353329" y="2664641"/>
                    <a:pt x="5355859" y="2666492"/>
                    <a:pt x="5358659" y="2667855"/>
                  </a:cubicBezTo>
                  <a:lnTo>
                    <a:pt x="5359855" y="2667855"/>
                  </a:lnTo>
                  <a:cubicBezTo>
                    <a:pt x="5362406" y="2668949"/>
                    <a:pt x="5364738" y="2670501"/>
                    <a:pt x="5366731" y="2672432"/>
                  </a:cubicBezTo>
                  <a:cubicBezTo>
                    <a:pt x="5364239" y="2670641"/>
                    <a:pt x="5361350" y="2669347"/>
                    <a:pt x="5358659" y="2667756"/>
                  </a:cubicBezTo>
                  <a:cubicBezTo>
                    <a:pt x="5355541" y="2667039"/>
                    <a:pt x="5352850" y="2665109"/>
                    <a:pt x="5351186" y="2662383"/>
                  </a:cubicBezTo>
                  <a:close/>
                  <a:moveTo>
                    <a:pt x="4683073" y="3093860"/>
                  </a:moveTo>
                  <a:cubicBezTo>
                    <a:pt x="4687457" y="3097541"/>
                    <a:pt x="4691841" y="3100924"/>
                    <a:pt x="4695230" y="3103809"/>
                  </a:cubicBezTo>
                  <a:cubicBezTo>
                    <a:pt x="4690855" y="3100874"/>
                    <a:pt x="4686780" y="3097511"/>
                    <a:pt x="4683073" y="3093761"/>
                  </a:cubicBezTo>
                  <a:close/>
                  <a:moveTo>
                    <a:pt x="4594589" y="2455051"/>
                  </a:moveTo>
                  <a:lnTo>
                    <a:pt x="4594589" y="2455847"/>
                  </a:lnTo>
                  <a:cubicBezTo>
                    <a:pt x="4595894" y="2459110"/>
                    <a:pt x="4597568" y="2462215"/>
                    <a:pt x="4599571" y="2465100"/>
                  </a:cubicBezTo>
                  <a:cubicBezTo>
                    <a:pt x="4597299" y="2462384"/>
                    <a:pt x="4595605" y="2459230"/>
                    <a:pt x="4594589" y="2455847"/>
                  </a:cubicBezTo>
                  <a:cubicBezTo>
                    <a:pt x="4594559" y="2455579"/>
                    <a:pt x="4594559" y="2455320"/>
                    <a:pt x="4594589" y="2455051"/>
                  </a:cubicBezTo>
                  <a:lnTo>
                    <a:pt x="4593692" y="2453062"/>
                  </a:lnTo>
                  <a:close/>
                  <a:moveTo>
                    <a:pt x="4403372" y="2303532"/>
                  </a:moveTo>
                  <a:cubicBezTo>
                    <a:pt x="4406949" y="2306745"/>
                    <a:pt x="4409948" y="2310546"/>
                    <a:pt x="4412240" y="2314774"/>
                  </a:cubicBezTo>
                  <a:cubicBezTo>
                    <a:pt x="4412290" y="2314933"/>
                    <a:pt x="4412290" y="2315112"/>
                    <a:pt x="4412240" y="2315271"/>
                  </a:cubicBezTo>
                  <a:cubicBezTo>
                    <a:pt x="4412350" y="2315799"/>
                    <a:pt x="4412350" y="2316336"/>
                    <a:pt x="4412240" y="2316863"/>
                  </a:cubicBezTo>
                  <a:cubicBezTo>
                    <a:pt x="4411453" y="2317003"/>
                    <a:pt x="4410686" y="2317232"/>
                    <a:pt x="4409948" y="2317560"/>
                  </a:cubicBezTo>
                  <a:cubicBezTo>
                    <a:pt x="4407956" y="2318654"/>
                    <a:pt x="4405166" y="2318754"/>
                    <a:pt x="4403272" y="2319947"/>
                  </a:cubicBezTo>
                  <a:cubicBezTo>
                    <a:pt x="4405355" y="2318803"/>
                    <a:pt x="4407607" y="2317998"/>
                    <a:pt x="4409948" y="2317560"/>
                  </a:cubicBezTo>
                  <a:cubicBezTo>
                    <a:pt x="4410835" y="2317023"/>
                    <a:pt x="4411533" y="2316227"/>
                    <a:pt x="4411941" y="2315271"/>
                  </a:cubicBezTo>
                  <a:cubicBezTo>
                    <a:pt x="4409749" y="2310914"/>
                    <a:pt x="4406849" y="2306954"/>
                    <a:pt x="4403372" y="2303532"/>
                  </a:cubicBezTo>
                  <a:cubicBezTo>
                    <a:pt x="4401210" y="2301701"/>
                    <a:pt x="4398599" y="2300498"/>
                    <a:pt x="4395799" y="2300050"/>
                  </a:cubicBezTo>
                  <a:cubicBezTo>
                    <a:pt x="4390916" y="2300050"/>
                    <a:pt x="4385835" y="2300050"/>
                    <a:pt x="4381151" y="2300050"/>
                  </a:cubicBezTo>
                  <a:cubicBezTo>
                    <a:pt x="4386014" y="2299423"/>
                    <a:pt x="4390936" y="2299423"/>
                    <a:pt x="4395799" y="2300050"/>
                  </a:cubicBezTo>
                  <a:cubicBezTo>
                    <a:pt x="4399496" y="2299990"/>
                    <a:pt x="4403043" y="2298578"/>
                    <a:pt x="4405763" y="2296070"/>
                  </a:cubicBezTo>
                  <a:cubicBezTo>
                    <a:pt x="4407029" y="2293195"/>
                    <a:pt x="4407836" y="2290141"/>
                    <a:pt x="4408155" y="2287017"/>
                  </a:cubicBezTo>
                  <a:lnTo>
                    <a:pt x="4416226" y="2281048"/>
                  </a:lnTo>
                  <a:cubicBezTo>
                    <a:pt x="4417551" y="2279506"/>
                    <a:pt x="4417930" y="2277377"/>
                    <a:pt x="4417222" y="2275476"/>
                  </a:cubicBezTo>
                  <a:cubicBezTo>
                    <a:pt x="4415249" y="2272691"/>
                    <a:pt x="4412898" y="2270174"/>
                    <a:pt x="4410247" y="2268015"/>
                  </a:cubicBezTo>
                  <a:cubicBezTo>
                    <a:pt x="4413187" y="2269856"/>
                    <a:pt x="4415588" y="2272422"/>
                    <a:pt x="4417222" y="2275476"/>
                  </a:cubicBezTo>
                  <a:cubicBezTo>
                    <a:pt x="4417990" y="2276561"/>
                    <a:pt x="4418617" y="2277725"/>
                    <a:pt x="4419116" y="2278959"/>
                  </a:cubicBezTo>
                  <a:lnTo>
                    <a:pt x="4416226" y="2281048"/>
                  </a:lnTo>
                  <a:cubicBezTo>
                    <a:pt x="4413914" y="2283505"/>
                    <a:pt x="4411174" y="2285525"/>
                    <a:pt x="4408155" y="2287017"/>
                  </a:cubicBezTo>
                  <a:cubicBezTo>
                    <a:pt x="4408812" y="2290240"/>
                    <a:pt x="4407935" y="2293593"/>
                    <a:pt x="4405763" y="2296070"/>
                  </a:cubicBezTo>
                  <a:cubicBezTo>
                    <a:pt x="4404966" y="2298020"/>
                    <a:pt x="4403242" y="2299443"/>
                    <a:pt x="4401180" y="2299851"/>
                  </a:cubicBezTo>
                  <a:cubicBezTo>
                    <a:pt x="4401748" y="2301134"/>
                    <a:pt x="4402485" y="2302338"/>
                    <a:pt x="4403372" y="2303433"/>
                  </a:cubicBezTo>
                  <a:close/>
                  <a:moveTo>
                    <a:pt x="4402276" y="3053070"/>
                  </a:moveTo>
                  <a:cubicBezTo>
                    <a:pt x="4400173" y="3063298"/>
                    <a:pt x="4397074" y="3073296"/>
                    <a:pt x="4393009" y="3082916"/>
                  </a:cubicBezTo>
                  <a:cubicBezTo>
                    <a:pt x="4396616" y="3073097"/>
                    <a:pt x="4399705" y="3063109"/>
                    <a:pt x="4402276" y="3052971"/>
                  </a:cubicBezTo>
                  <a:close/>
                  <a:moveTo>
                    <a:pt x="4165023" y="3031979"/>
                  </a:moveTo>
                  <a:cubicBezTo>
                    <a:pt x="4165182" y="3029979"/>
                    <a:pt x="4165950" y="3028069"/>
                    <a:pt x="4167215" y="3026507"/>
                  </a:cubicBezTo>
                  <a:cubicBezTo>
                    <a:pt x="4167086" y="3025264"/>
                    <a:pt x="4166518" y="3024100"/>
                    <a:pt x="4165621" y="3023224"/>
                  </a:cubicBezTo>
                  <a:lnTo>
                    <a:pt x="4168112" y="3025114"/>
                  </a:lnTo>
                  <a:lnTo>
                    <a:pt x="4167215" y="3026507"/>
                  </a:lnTo>
                  <a:cubicBezTo>
                    <a:pt x="4167116" y="3028527"/>
                    <a:pt x="4166348" y="3030447"/>
                    <a:pt x="4165023" y="3031979"/>
                  </a:cubicBezTo>
                  <a:cubicBezTo>
                    <a:pt x="4164834" y="3033461"/>
                    <a:pt x="4165003" y="3034964"/>
                    <a:pt x="4165521" y="3036356"/>
                  </a:cubicBezTo>
                  <a:cubicBezTo>
                    <a:pt x="4165521" y="3035262"/>
                    <a:pt x="4164624" y="3034367"/>
                    <a:pt x="4164126" y="3033173"/>
                  </a:cubicBezTo>
                  <a:cubicBezTo>
                    <a:pt x="4163628" y="3031979"/>
                    <a:pt x="4164824" y="3032178"/>
                    <a:pt x="4165023" y="3031880"/>
                  </a:cubicBezTo>
                  <a:close/>
                  <a:moveTo>
                    <a:pt x="4169308" y="3043918"/>
                  </a:moveTo>
                  <a:cubicBezTo>
                    <a:pt x="4169806" y="3045022"/>
                    <a:pt x="4169806" y="3046295"/>
                    <a:pt x="4169308" y="3047400"/>
                  </a:cubicBezTo>
                  <a:cubicBezTo>
                    <a:pt x="4169726" y="3046246"/>
                    <a:pt x="4169726" y="3044972"/>
                    <a:pt x="4169308" y="3043818"/>
                  </a:cubicBezTo>
                  <a:close/>
                  <a:moveTo>
                    <a:pt x="3804710" y="2613535"/>
                  </a:moveTo>
                  <a:cubicBezTo>
                    <a:pt x="3804710" y="2622190"/>
                    <a:pt x="3804710" y="2630846"/>
                    <a:pt x="3804710" y="2639103"/>
                  </a:cubicBezTo>
                  <a:cubicBezTo>
                    <a:pt x="3804710" y="2640794"/>
                    <a:pt x="3804710" y="2642685"/>
                    <a:pt x="3804212" y="2644575"/>
                  </a:cubicBezTo>
                  <a:cubicBezTo>
                    <a:pt x="3804082" y="2642734"/>
                    <a:pt x="3804252" y="2640884"/>
                    <a:pt x="3804710" y="2639103"/>
                  </a:cubicBezTo>
                  <a:cubicBezTo>
                    <a:pt x="3804311" y="2633333"/>
                    <a:pt x="3804311" y="2622588"/>
                    <a:pt x="3804710" y="2613435"/>
                  </a:cubicBezTo>
                  <a:close/>
                  <a:moveTo>
                    <a:pt x="3805707" y="2578018"/>
                  </a:moveTo>
                  <a:cubicBezTo>
                    <a:pt x="3805707" y="2564686"/>
                    <a:pt x="3805707" y="2551355"/>
                    <a:pt x="3806404" y="2538223"/>
                  </a:cubicBezTo>
                  <a:lnTo>
                    <a:pt x="3806404" y="2529965"/>
                  </a:lnTo>
                  <a:cubicBezTo>
                    <a:pt x="3806404" y="2521807"/>
                    <a:pt x="3806902" y="2513649"/>
                    <a:pt x="3807201" y="2505094"/>
                  </a:cubicBezTo>
                  <a:cubicBezTo>
                    <a:pt x="3807201" y="2516137"/>
                    <a:pt x="3806603" y="2527279"/>
                    <a:pt x="3806404" y="2538223"/>
                  </a:cubicBezTo>
                  <a:cubicBezTo>
                    <a:pt x="3806404" y="2551156"/>
                    <a:pt x="3806404" y="2564686"/>
                    <a:pt x="3805707" y="2578018"/>
                  </a:cubicBezTo>
                  <a:cubicBezTo>
                    <a:pt x="3805707" y="2586773"/>
                    <a:pt x="3805707" y="2595528"/>
                    <a:pt x="3805707" y="2604283"/>
                  </a:cubicBezTo>
                  <a:cubicBezTo>
                    <a:pt x="3805707" y="2605675"/>
                    <a:pt x="3805707" y="2607466"/>
                    <a:pt x="3805109" y="2609456"/>
                  </a:cubicBezTo>
                  <a:cubicBezTo>
                    <a:pt x="3805009" y="2599010"/>
                    <a:pt x="3805408" y="2588464"/>
                    <a:pt x="3805707" y="2577918"/>
                  </a:cubicBezTo>
                  <a:close/>
                  <a:moveTo>
                    <a:pt x="3807400" y="2371681"/>
                  </a:moveTo>
                  <a:cubicBezTo>
                    <a:pt x="3808526" y="2379242"/>
                    <a:pt x="3809523" y="2386803"/>
                    <a:pt x="3810390" y="2394364"/>
                  </a:cubicBezTo>
                  <a:cubicBezTo>
                    <a:pt x="3810390" y="2402124"/>
                    <a:pt x="3810390" y="2409884"/>
                    <a:pt x="3810390" y="2417843"/>
                  </a:cubicBezTo>
                  <a:cubicBezTo>
                    <a:pt x="3810390" y="2425802"/>
                    <a:pt x="3810390" y="2436049"/>
                    <a:pt x="3809792" y="2445103"/>
                  </a:cubicBezTo>
                  <a:cubicBezTo>
                    <a:pt x="3809792" y="2448187"/>
                    <a:pt x="3809792" y="2451171"/>
                    <a:pt x="3809792" y="2454355"/>
                  </a:cubicBezTo>
                  <a:cubicBezTo>
                    <a:pt x="3810290" y="2442019"/>
                    <a:pt x="3810589" y="2429981"/>
                    <a:pt x="3810788" y="2417843"/>
                  </a:cubicBezTo>
                  <a:cubicBezTo>
                    <a:pt x="3809891" y="2402522"/>
                    <a:pt x="3808895" y="2387101"/>
                    <a:pt x="3807400" y="2371581"/>
                  </a:cubicBezTo>
                  <a:close/>
                  <a:moveTo>
                    <a:pt x="3793151" y="2272193"/>
                  </a:moveTo>
                  <a:cubicBezTo>
                    <a:pt x="3790560" y="2255778"/>
                    <a:pt x="3788269" y="2239164"/>
                    <a:pt x="3786475" y="2222450"/>
                  </a:cubicBezTo>
                  <a:cubicBezTo>
                    <a:pt x="3786475" y="2215685"/>
                    <a:pt x="3786475" y="2209118"/>
                    <a:pt x="3786475" y="2202552"/>
                  </a:cubicBezTo>
                  <a:cubicBezTo>
                    <a:pt x="3785429" y="2183301"/>
                    <a:pt x="3785429" y="2164001"/>
                    <a:pt x="3786475" y="2144750"/>
                  </a:cubicBezTo>
                  <a:cubicBezTo>
                    <a:pt x="3673877" y="2144153"/>
                    <a:pt x="3561180" y="2143855"/>
                    <a:pt x="3448383" y="2143855"/>
                  </a:cubicBezTo>
                  <a:cubicBezTo>
                    <a:pt x="3561309" y="2143855"/>
                    <a:pt x="3674007" y="2144153"/>
                    <a:pt x="3786475" y="2144750"/>
                  </a:cubicBezTo>
                  <a:cubicBezTo>
                    <a:pt x="3786475" y="2134204"/>
                    <a:pt x="3786475" y="2123360"/>
                    <a:pt x="3786973" y="2112616"/>
                  </a:cubicBezTo>
                  <a:cubicBezTo>
                    <a:pt x="3786973" y="2056206"/>
                    <a:pt x="3786973" y="1999598"/>
                    <a:pt x="3786973" y="1943487"/>
                  </a:cubicBezTo>
                  <a:cubicBezTo>
                    <a:pt x="3786973" y="2000095"/>
                    <a:pt x="3787571" y="2056704"/>
                    <a:pt x="3786973" y="2112616"/>
                  </a:cubicBezTo>
                  <a:cubicBezTo>
                    <a:pt x="3786973" y="2142462"/>
                    <a:pt x="3786973" y="2172308"/>
                    <a:pt x="3786973" y="2202154"/>
                  </a:cubicBezTo>
                  <a:cubicBezTo>
                    <a:pt x="3786973" y="2208720"/>
                    <a:pt x="3787671" y="2215287"/>
                    <a:pt x="3788269" y="2222052"/>
                  </a:cubicBezTo>
                  <a:cubicBezTo>
                    <a:pt x="3789265" y="2238666"/>
                    <a:pt x="3790660" y="2255181"/>
                    <a:pt x="3793151" y="2271597"/>
                  </a:cubicBezTo>
                  <a:close/>
                  <a:moveTo>
                    <a:pt x="3465023" y="2627861"/>
                  </a:moveTo>
                  <a:cubicBezTo>
                    <a:pt x="3465880" y="2629552"/>
                    <a:pt x="3465880" y="2631542"/>
                    <a:pt x="3465023" y="2633233"/>
                  </a:cubicBezTo>
                  <a:cubicBezTo>
                    <a:pt x="3466030" y="2631373"/>
                    <a:pt x="3466030" y="2629125"/>
                    <a:pt x="3465023" y="2627264"/>
                  </a:cubicBezTo>
                  <a:close/>
                  <a:moveTo>
                    <a:pt x="2963614" y="2145049"/>
                  </a:moveTo>
                  <a:cubicBezTo>
                    <a:pt x="3098801" y="2144651"/>
                    <a:pt x="3234118" y="2144422"/>
                    <a:pt x="3369564" y="2144352"/>
                  </a:cubicBezTo>
                  <a:cubicBezTo>
                    <a:pt x="3233749" y="2144054"/>
                    <a:pt x="3098433" y="2145049"/>
                    <a:pt x="2963614" y="2145049"/>
                  </a:cubicBezTo>
                  <a:close/>
                  <a:moveTo>
                    <a:pt x="1283515" y="1330247"/>
                  </a:moveTo>
                  <a:lnTo>
                    <a:pt x="1501138" y="1330247"/>
                  </a:lnTo>
                  <a:cubicBezTo>
                    <a:pt x="1448526" y="1330247"/>
                    <a:pt x="1396014" y="1330843"/>
                    <a:pt x="1344199" y="1330843"/>
                  </a:cubicBezTo>
                  <a:close/>
                  <a:moveTo>
                    <a:pt x="1260498" y="2702178"/>
                  </a:moveTo>
                  <a:cubicBezTo>
                    <a:pt x="1260308" y="2700188"/>
                    <a:pt x="1259621" y="2698268"/>
                    <a:pt x="1258505" y="2696607"/>
                  </a:cubicBezTo>
                  <a:cubicBezTo>
                    <a:pt x="1259720" y="2698218"/>
                    <a:pt x="1260418" y="2700159"/>
                    <a:pt x="1260498" y="2702178"/>
                  </a:cubicBezTo>
                  <a:close/>
                  <a:moveTo>
                    <a:pt x="1270462" y="2464105"/>
                  </a:moveTo>
                  <a:cubicBezTo>
                    <a:pt x="1270462" y="2462413"/>
                    <a:pt x="1270462" y="2460921"/>
                    <a:pt x="1270462" y="2459329"/>
                  </a:cubicBezTo>
                  <a:cubicBezTo>
                    <a:pt x="1270362" y="2460483"/>
                    <a:pt x="1270362" y="2461657"/>
                    <a:pt x="1270462" y="2462811"/>
                  </a:cubicBezTo>
                  <a:cubicBezTo>
                    <a:pt x="1270402" y="2463239"/>
                    <a:pt x="1270402" y="2463677"/>
                    <a:pt x="1270462" y="2464105"/>
                  </a:cubicBezTo>
                  <a:cubicBezTo>
                    <a:pt x="1270462" y="2466492"/>
                    <a:pt x="1270462" y="2468681"/>
                    <a:pt x="1270462" y="2470671"/>
                  </a:cubicBezTo>
                  <a:cubicBezTo>
                    <a:pt x="1271020" y="2473387"/>
                    <a:pt x="1272066" y="2475984"/>
                    <a:pt x="1273551" y="2478331"/>
                  </a:cubicBezTo>
                  <a:lnTo>
                    <a:pt x="1282818" y="2490170"/>
                  </a:lnTo>
                  <a:cubicBezTo>
                    <a:pt x="1279440" y="2486459"/>
                    <a:pt x="1276351" y="2482500"/>
                    <a:pt x="1273551" y="2478331"/>
                  </a:cubicBezTo>
                  <a:lnTo>
                    <a:pt x="1270063" y="2473755"/>
                  </a:lnTo>
                  <a:cubicBezTo>
                    <a:pt x="1270063" y="2472860"/>
                    <a:pt x="1270063" y="2471865"/>
                    <a:pt x="1270063" y="2470671"/>
                  </a:cubicBezTo>
                  <a:cubicBezTo>
                    <a:pt x="1269515" y="2468542"/>
                    <a:pt x="1269555" y="2466313"/>
                    <a:pt x="1270163" y="2464204"/>
                  </a:cubicBezTo>
                  <a:close/>
                  <a:moveTo>
                    <a:pt x="1265679" y="2357753"/>
                  </a:moveTo>
                  <a:cubicBezTo>
                    <a:pt x="1265002" y="2356410"/>
                    <a:pt x="1264015" y="2355245"/>
                    <a:pt x="1262789" y="2354370"/>
                  </a:cubicBezTo>
                  <a:cubicBezTo>
                    <a:pt x="1262789" y="2353276"/>
                    <a:pt x="1262789" y="2352082"/>
                    <a:pt x="1262789" y="2350788"/>
                  </a:cubicBezTo>
                  <a:cubicBezTo>
                    <a:pt x="1263537" y="2353226"/>
                    <a:pt x="1264573" y="2355564"/>
                    <a:pt x="1265878" y="2357753"/>
                  </a:cubicBezTo>
                  <a:cubicBezTo>
                    <a:pt x="1266526" y="2358658"/>
                    <a:pt x="1267224" y="2359514"/>
                    <a:pt x="1267971" y="2360339"/>
                  </a:cubicBezTo>
                  <a:cubicBezTo>
                    <a:pt x="1267971" y="2361463"/>
                    <a:pt x="1267772" y="2362657"/>
                    <a:pt x="1267373" y="2363921"/>
                  </a:cubicBezTo>
                  <a:cubicBezTo>
                    <a:pt x="1267174" y="2368318"/>
                    <a:pt x="1266745" y="2372706"/>
                    <a:pt x="1266078" y="2377053"/>
                  </a:cubicBezTo>
                  <a:cubicBezTo>
                    <a:pt x="1265878" y="2379769"/>
                    <a:pt x="1265878" y="2382495"/>
                    <a:pt x="1266078" y="2385211"/>
                  </a:cubicBezTo>
                  <a:cubicBezTo>
                    <a:pt x="1268280" y="2387052"/>
                    <a:pt x="1269884" y="2389509"/>
                    <a:pt x="1270661" y="2392275"/>
                  </a:cubicBezTo>
                  <a:cubicBezTo>
                    <a:pt x="1273262" y="2398642"/>
                    <a:pt x="1274936" y="2405337"/>
                    <a:pt x="1275644" y="2412172"/>
                  </a:cubicBezTo>
                  <a:cubicBezTo>
                    <a:pt x="1274528" y="2405417"/>
                    <a:pt x="1272854" y="2398762"/>
                    <a:pt x="1270661" y="2392275"/>
                  </a:cubicBezTo>
                  <a:cubicBezTo>
                    <a:pt x="1269595" y="2389648"/>
                    <a:pt x="1268041" y="2387251"/>
                    <a:pt x="1266078" y="2385211"/>
                  </a:cubicBezTo>
                  <a:cubicBezTo>
                    <a:pt x="1265579" y="2382515"/>
                    <a:pt x="1265579" y="2379749"/>
                    <a:pt x="1266078" y="2377053"/>
                  </a:cubicBezTo>
                  <a:cubicBezTo>
                    <a:pt x="1266287" y="2372656"/>
                    <a:pt x="1266715" y="2368269"/>
                    <a:pt x="1267373" y="2363921"/>
                  </a:cubicBezTo>
                  <a:cubicBezTo>
                    <a:pt x="1267194" y="2361772"/>
                    <a:pt x="1266516" y="2359693"/>
                    <a:pt x="1265380" y="2357852"/>
                  </a:cubicBezTo>
                  <a:close/>
                  <a:moveTo>
                    <a:pt x="595074" y="1527232"/>
                  </a:moveTo>
                  <a:cubicBezTo>
                    <a:pt x="595074" y="1507334"/>
                    <a:pt x="595074" y="1486840"/>
                    <a:pt x="595074" y="1466942"/>
                  </a:cubicBezTo>
                  <a:cubicBezTo>
                    <a:pt x="595074" y="1462664"/>
                    <a:pt x="595074" y="1458088"/>
                    <a:pt x="595074" y="1453312"/>
                  </a:cubicBezTo>
                  <a:cubicBezTo>
                    <a:pt x="594975" y="1478483"/>
                    <a:pt x="594875" y="1502758"/>
                    <a:pt x="594775" y="1527331"/>
                  </a:cubicBezTo>
                  <a:close/>
                  <a:moveTo>
                    <a:pt x="977807" y="609858"/>
                  </a:moveTo>
                  <a:cubicBezTo>
                    <a:pt x="977209" y="611450"/>
                    <a:pt x="976711" y="612743"/>
                    <a:pt x="976313" y="613639"/>
                  </a:cubicBezTo>
                  <a:cubicBezTo>
                    <a:pt x="976512" y="612355"/>
                    <a:pt x="976911" y="611111"/>
                    <a:pt x="977508" y="609957"/>
                  </a:cubicBezTo>
                  <a:close/>
                  <a:moveTo>
                    <a:pt x="977807" y="618314"/>
                  </a:moveTo>
                  <a:cubicBezTo>
                    <a:pt x="977140" y="617817"/>
                    <a:pt x="976592" y="617170"/>
                    <a:pt x="976213" y="616424"/>
                  </a:cubicBezTo>
                  <a:cubicBezTo>
                    <a:pt x="976871" y="616981"/>
                    <a:pt x="977409" y="617658"/>
                    <a:pt x="977807" y="618414"/>
                  </a:cubicBezTo>
                  <a:close/>
                  <a:moveTo>
                    <a:pt x="976113" y="616325"/>
                  </a:moveTo>
                  <a:cubicBezTo>
                    <a:pt x="975416" y="615728"/>
                    <a:pt x="975316" y="615529"/>
                    <a:pt x="976113" y="613738"/>
                  </a:cubicBezTo>
                  <a:cubicBezTo>
                    <a:pt x="975834" y="614613"/>
                    <a:pt x="975834" y="615549"/>
                    <a:pt x="976113" y="616424"/>
                  </a:cubicBezTo>
                  <a:close/>
                  <a:moveTo>
                    <a:pt x="1134647" y="368501"/>
                  </a:moveTo>
                  <a:cubicBezTo>
                    <a:pt x="1135424" y="370780"/>
                    <a:pt x="1136879" y="372760"/>
                    <a:pt x="1138832" y="374172"/>
                  </a:cubicBezTo>
                  <a:cubicBezTo>
                    <a:pt x="1136750" y="372949"/>
                    <a:pt x="1135245" y="370939"/>
                    <a:pt x="1134647" y="368601"/>
                  </a:cubicBezTo>
                  <a:close/>
                  <a:moveTo>
                    <a:pt x="1281323" y="699397"/>
                  </a:moveTo>
                  <a:cubicBezTo>
                    <a:pt x="1281124" y="697576"/>
                    <a:pt x="1281124" y="695745"/>
                    <a:pt x="1281323" y="693925"/>
                  </a:cubicBezTo>
                  <a:cubicBezTo>
                    <a:pt x="1282190" y="693795"/>
                    <a:pt x="1283017" y="693457"/>
                    <a:pt x="1283715" y="692930"/>
                  </a:cubicBezTo>
                  <a:cubicBezTo>
                    <a:pt x="1282489" y="694940"/>
                    <a:pt x="1281682" y="697168"/>
                    <a:pt x="1281323" y="699496"/>
                  </a:cubicBezTo>
                  <a:close/>
                  <a:moveTo>
                    <a:pt x="1282818" y="662885"/>
                  </a:moveTo>
                  <a:cubicBezTo>
                    <a:pt x="1285777" y="659940"/>
                    <a:pt x="1289634" y="658050"/>
                    <a:pt x="1293779" y="657512"/>
                  </a:cubicBezTo>
                  <a:cubicBezTo>
                    <a:pt x="1295542" y="656965"/>
                    <a:pt x="1297147" y="656010"/>
                    <a:pt x="1298462" y="654727"/>
                  </a:cubicBezTo>
                  <a:cubicBezTo>
                    <a:pt x="1297904" y="655642"/>
                    <a:pt x="1297197" y="656448"/>
                    <a:pt x="1296369" y="657115"/>
                  </a:cubicBezTo>
                  <a:lnTo>
                    <a:pt x="1293779" y="657115"/>
                  </a:lnTo>
                  <a:cubicBezTo>
                    <a:pt x="1289893" y="658477"/>
                    <a:pt x="1286206" y="660348"/>
                    <a:pt x="1282818" y="662686"/>
                  </a:cubicBezTo>
                  <a:close/>
                  <a:moveTo>
                    <a:pt x="1297964" y="641595"/>
                  </a:moveTo>
                  <a:cubicBezTo>
                    <a:pt x="1298352" y="643465"/>
                    <a:pt x="1298143" y="645415"/>
                    <a:pt x="1297366" y="647166"/>
                  </a:cubicBezTo>
                  <a:cubicBezTo>
                    <a:pt x="1298462" y="648151"/>
                    <a:pt x="1299170" y="649494"/>
                    <a:pt x="1299359" y="650946"/>
                  </a:cubicBezTo>
                  <a:cubicBezTo>
                    <a:pt x="1298930" y="649573"/>
                    <a:pt x="1298263" y="648290"/>
                    <a:pt x="1297366" y="647166"/>
                  </a:cubicBezTo>
                  <a:close/>
                  <a:moveTo>
                    <a:pt x="1295871" y="636123"/>
                  </a:moveTo>
                  <a:cubicBezTo>
                    <a:pt x="1293858" y="634372"/>
                    <a:pt x="1292254" y="632203"/>
                    <a:pt x="1291188" y="629755"/>
                  </a:cubicBezTo>
                  <a:cubicBezTo>
                    <a:pt x="1292782" y="631944"/>
                    <a:pt x="1294576" y="634133"/>
                    <a:pt x="1295871" y="636222"/>
                  </a:cubicBezTo>
                  <a:close/>
                  <a:moveTo>
                    <a:pt x="1290291" y="616225"/>
                  </a:moveTo>
                  <a:cubicBezTo>
                    <a:pt x="1290331" y="615091"/>
                    <a:pt x="1290092" y="613967"/>
                    <a:pt x="1289594" y="612942"/>
                  </a:cubicBezTo>
                  <a:cubicBezTo>
                    <a:pt x="1288099" y="612146"/>
                    <a:pt x="1286784" y="611062"/>
                    <a:pt x="1285708" y="609758"/>
                  </a:cubicBezTo>
                  <a:cubicBezTo>
                    <a:pt x="1287352" y="610306"/>
                    <a:pt x="1288737" y="611440"/>
                    <a:pt x="1289594" y="612942"/>
                  </a:cubicBezTo>
                  <a:lnTo>
                    <a:pt x="1291886" y="613937"/>
                  </a:lnTo>
                  <a:cubicBezTo>
                    <a:pt x="1291288" y="614653"/>
                    <a:pt x="1290760" y="615419"/>
                    <a:pt x="1290291" y="616225"/>
                  </a:cubicBezTo>
                  <a:close/>
                  <a:moveTo>
                    <a:pt x="1290989" y="629457"/>
                  </a:moveTo>
                  <a:cubicBezTo>
                    <a:pt x="1290022" y="628203"/>
                    <a:pt x="1289155" y="626870"/>
                    <a:pt x="1288398" y="625477"/>
                  </a:cubicBezTo>
                  <a:cubicBezTo>
                    <a:pt x="1288398" y="624483"/>
                    <a:pt x="1289095" y="623587"/>
                    <a:pt x="1289394" y="622592"/>
                  </a:cubicBezTo>
                  <a:cubicBezTo>
                    <a:pt x="1289414" y="624970"/>
                    <a:pt x="1289952" y="627318"/>
                    <a:pt x="1290989" y="629457"/>
                  </a:cubicBezTo>
                  <a:close/>
                  <a:moveTo>
                    <a:pt x="1299459" y="651742"/>
                  </a:moveTo>
                  <a:cubicBezTo>
                    <a:pt x="1299658" y="652777"/>
                    <a:pt x="1299359" y="653841"/>
                    <a:pt x="1298661" y="654627"/>
                  </a:cubicBezTo>
                  <a:cubicBezTo>
                    <a:pt x="1299199" y="653762"/>
                    <a:pt x="1299508" y="652767"/>
                    <a:pt x="1299558" y="651742"/>
                  </a:cubicBezTo>
                  <a:close/>
                  <a:moveTo>
                    <a:pt x="1298861" y="540913"/>
                  </a:moveTo>
                  <a:cubicBezTo>
                    <a:pt x="1301262" y="541023"/>
                    <a:pt x="1303524" y="539799"/>
                    <a:pt x="1304740" y="537730"/>
                  </a:cubicBezTo>
                  <a:cubicBezTo>
                    <a:pt x="1303634" y="539908"/>
                    <a:pt x="1301292" y="541172"/>
                    <a:pt x="1298861" y="540913"/>
                  </a:cubicBezTo>
                  <a:close/>
                  <a:moveTo>
                    <a:pt x="1292882" y="599511"/>
                  </a:moveTo>
                  <a:cubicBezTo>
                    <a:pt x="1287900" y="599511"/>
                    <a:pt x="1284313" y="600606"/>
                    <a:pt x="1283515" y="604685"/>
                  </a:cubicBezTo>
                  <a:cubicBezTo>
                    <a:pt x="1283715" y="601601"/>
                    <a:pt x="1286704" y="599113"/>
                    <a:pt x="1292882" y="599511"/>
                  </a:cubicBezTo>
                  <a:close/>
                  <a:moveTo>
                    <a:pt x="1280227" y="672635"/>
                  </a:moveTo>
                  <a:lnTo>
                    <a:pt x="1278434" y="670346"/>
                  </a:lnTo>
                  <a:cubicBezTo>
                    <a:pt x="1278932" y="667590"/>
                    <a:pt x="1280377" y="665093"/>
                    <a:pt x="1282519" y="663283"/>
                  </a:cubicBezTo>
                  <a:cubicBezTo>
                    <a:pt x="1280197" y="665800"/>
                    <a:pt x="1279330" y="669332"/>
                    <a:pt x="1280227" y="672635"/>
                  </a:cubicBezTo>
                  <a:close/>
                  <a:moveTo>
                    <a:pt x="946419" y="926825"/>
                  </a:moveTo>
                  <a:cubicBezTo>
                    <a:pt x="947496" y="929014"/>
                    <a:pt x="947267" y="931620"/>
                    <a:pt x="945822" y="933590"/>
                  </a:cubicBezTo>
                  <a:cubicBezTo>
                    <a:pt x="945323" y="935381"/>
                    <a:pt x="945822" y="936873"/>
                    <a:pt x="948113" y="939062"/>
                  </a:cubicBezTo>
                  <a:cubicBezTo>
                    <a:pt x="945822" y="938067"/>
                    <a:pt x="944427" y="936177"/>
                    <a:pt x="945622" y="933988"/>
                  </a:cubicBezTo>
                  <a:lnTo>
                    <a:pt x="945622" y="933988"/>
                  </a:lnTo>
                  <a:cubicBezTo>
                    <a:pt x="946410" y="931650"/>
                    <a:pt x="946689" y="929173"/>
                    <a:pt x="946419" y="926725"/>
                  </a:cubicBezTo>
                  <a:close/>
                  <a:moveTo>
                    <a:pt x="943928" y="911106"/>
                  </a:moveTo>
                  <a:cubicBezTo>
                    <a:pt x="944247" y="908092"/>
                    <a:pt x="944247" y="905067"/>
                    <a:pt x="943928" y="902053"/>
                  </a:cubicBezTo>
                  <a:cubicBezTo>
                    <a:pt x="944526" y="905137"/>
                    <a:pt x="944526" y="908320"/>
                    <a:pt x="943928" y="911404"/>
                  </a:cubicBezTo>
                  <a:close/>
                  <a:moveTo>
                    <a:pt x="955487" y="938962"/>
                  </a:moveTo>
                  <a:cubicBezTo>
                    <a:pt x="955906" y="938654"/>
                    <a:pt x="956274" y="938286"/>
                    <a:pt x="956583" y="937868"/>
                  </a:cubicBezTo>
                  <a:lnTo>
                    <a:pt x="959772" y="940753"/>
                  </a:lnTo>
                  <a:cubicBezTo>
                    <a:pt x="958586" y="939689"/>
                    <a:pt x="957081" y="939062"/>
                    <a:pt x="955487" y="938962"/>
                  </a:cubicBezTo>
                  <a:cubicBezTo>
                    <a:pt x="954331" y="939609"/>
                    <a:pt x="953026" y="939917"/>
                    <a:pt x="951701" y="939858"/>
                  </a:cubicBezTo>
                  <a:cubicBezTo>
                    <a:pt x="952747" y="938982"/>
                    <a:pt x="954142" y="938614"/>
                    <a:pt x="955487" y="938863"/>
                  </a:cubicBezTo>
                  <a:close/>
                  <a:moveTo>
                    <a:pt x="982291" y="954184"/>
                  </a:moveTo>
                  <a:cubicBezTo>
                    <a:pt x="984484" y="955477"/>
                    <a:pt x="986277" y="957368"/>
                    <a:pt x="985480" y="959556"/>
                  </a:cubicBezTo>
                  <a:cubicBezTo>
                    <a:pt x="985600" y="957258"/>
                    <a:pt x="984354" y="955109"/>
                    <a:pt x="982291" y="954084"/>
                  </a:cubicBezTo>
                  <a:close/>
                  <a:moveTo>
                    <a:pt x="976512" y="951796"/>
                  </a:moveTo>
                  <a:lnTo>
                    <a:pt x="976512" y="950204"/>
                  </a:lnTo>
                  <a:cubicBezTo>
                    <a:pt x="977339" y="951219"/>
                    <a:pt x="978355" y="952065"/>
                    <a:pt x="979501" y="952692"/>
                  </a:cubicBezTo>
                  <a:cubicBezTo>
                    <a:pt x="978535" y="952284"/>
                    <a:pt x="977528" y="951955"/>
                    <a:pt x="976512" y="951697"/>
                  </a:cubicBezTo>
                  <a:close/>
                  <a:moveTo>
                    <a:pt x="975516" y="944832"/>
                  </a:moveTo>
                  <a:lnTo>
                    <a:pt x="976213" y="950105"/>
                  </a:lnTo>
                  <a:cubicBezTo>
                    <a:pt x="975336" y="948463"/>
                    <a:pt x="975087" y="946553"/>
                    <a:pt x="975516" y="944733"/>
                  </a:cubicBezTo>
                  <a:close/>
                  <a:moveTo>
                    <a:pt x="1011686" y="757398"/>
                  </a:moveTo>
                  <a:cubicBezTo>
                    <a:pt x="1011089" y="760184"/>
                    <a:pt x="1010291" y="763566"/>
                    <a:pt x="1009395" y="767347"/>
                  </a:cubicBezTo>
                  <a:cubicBezTo>
                    <a:pt x="1009395" y="765556"/>
                    <a:pt x="1010092" y="763765"/>
                    <a:pt x="1010391" y="762273"/>
                  </a:cubicBezTo>
                  <a:cubicBezTo>
                    <a:pt x="1010690" y="760780"/>
                    <a:pt x="1011188" y="759288"/>
                    <a:pt x="1011686" y="757895"/>
                  </a:cubicBezTo>
                  <a:cubicBezTo>
                    <a:pt x="1012185" y="756502"/>
                    <a:pt x="1011686" y="755408"/>
                    <a:pt x="1012384" y="754314"/>
                  </a:cubicBezTo>
                  <a:lnTo>
                    <a:pt x="1015473" y="747947"/>
                  </a:lnTo>
                  <a:cubicBezTo>
                    <a:pt x="1014078" y="750633"/>
                    <a:pt x="1012782" y="754115"/>
                    <a:pt x="1011686" y="757298"/>
                  </a:cubicBezTo>
                  <a:close/>
                  <a:moveTo>
                    <a:pt x="1001722" y="789731"/>
                  </a:moveTo>
                  <a:cubicBezTo>
                    <a:pt x="1004432" y="782459"/>
                    <a:pt x="1006764" y="775057"/>
                    <a:pt x="1008697" y="767545"/>
                  </a:cubicBezTo>
                  <a:cubicBezTo>
                    <a:pt x="1007342" y="775116"/>
                    <a:pt x="1005170" y="782518"/>
                    <a:pt x="1002220" y="789632"/>
                  </a:cubicBezTo>
                  <a:close/>
                  <a:moveTo>
                    <a:pt x="998932" y="796596"/>
                  </a:moveTo>
                  <a:cubicBezTo>
                    <a:pt x="998354" y="796924"/>
                    <a:pt x="997816" y="797332"/>
                    <a:pt x="997338" y="797790"/>
                  </a:cubicBezTo>
                  <a:cubicBezTo>
                    <a:pt x="995992" y="799819"/>
                    <a:pt x="994418" y="801690"/>
                    <a:pt x="992654" y="803361"/>
                  </a:cubicBezTo>
                  <a:cubicBezTo>
                    <a:pt x="991459" y="805062"/>
                    <a:pt x="990552" y="806943"/>
                    <a:pt x="989964" y="808932"/>
                  </a:cubicBezTo>
                  <a:cubicBezTo>
                    <a:pt x="990074" y="807460"/>
                    <a:pt x="990412" y="806017"/>
                    <a:pt x="990960" y="804654"/>
                  </a:cubicBezTo>
                  <a:lnTo>
                    <a:pt x="992654" y="803361"/>
                  </a:lnTo>
                  <a:cubicBezTo>
                    <a:pt x="993830" y="801212"/>
                    <a:pt x="995424" y="799322"/>
                    <a:pt x="997338" y="797790"/>
                  </a:cubicBezTo>
                  <a:cubicBezTo>
                    <a:pt x="998982" y="795332"/>
                    <a:pt x="1000417" y="792736"/>
                    <a:pt x="1001622" y="790030"/>
                  </a:cubicBezTo>
                  <a:cubicBezTo>
                    <a:pt x="1001224" y="792019"/>
                    <a:pt x="1000626" y="794606"/>
                    <a:pt x="999430" y="796496"/>
                  </a:cubicBezTo>
                  <a:close/>
                  <a:moveTo>
                    <a:pt x="989864" y="815299"/>
                  </a:moveTo>
                  <a:lnTo>
                    <a:pt x="988968" y="813509"/>
                  </a:lnTo>
                  <a:cubicBezTo>
                    <a:pt x="989087" y="812016"/>
                    <a:pt x="989386" y="810544"/>
                    <a:pt x="989864" y="809131"/>
                  </a:cubicBezTo>
                  <a:cubicBezTo>
                    <a:pt x="989834" y="811181"/>
                    <a:pt x="990103" y="813230"/>
                    <a:pt x="990661" y="815200"/>
                  </a:cubicBezTo>
                  <a:close/>
                  <a:moveTo>
                    <a:pt x="990462" y="826641"/>
                  </a:moveTo>
                  <a:cubicBezTo>
                    <a:pt x="990990" y="824661"/>
                    <a:pt x="991230" y="822622"/>
                    <a:pt x="991160" y="820572"/>
                  </a:cubicBezTo>
                  <a:cubicBezTo>
                    <a:pt x="991349" y="821229"/>
                    <a:pt x="991618" y="821866"/>
                    <a:pt x="991957" y="822463"/>
                  </a:cubicBezTo>
                  <a:cubicBezTo>
                    <a:pt x="991957" y="823458"/>
                    <a:pt x="991060" y="824950"/>
                    <a:pt x="990462" y="826641"/>
                  </a:cubicBezTo>
                  <a:cubicBezTo>
                    <a:pt x="989535" y="829745"/>
                    <a:pt x="988300" y="832740"/>
                    <a:pt x="986775" y="835595"/>
                  </a:cubicBezTo>
                  <a:cubicBezTo>
                    <a:pt x="988469" y="832909"/>
                    <a:pt x="989864" y="829526"/>
                    <a:pt x="990661" y="826542"/>
                  </a:cubicBezTo>
                  <a:close/>
                  <a:moveTo>
                    <a:pt x="984683" y="839475"/>
                  </a:moveTo>
                  <a:cubicBezTo>
                    <a:pt x="984055" y="841743"/>
                    <a:pt x="982929" y="843852"/>
                    <a:pt x="981395" y="845643"/>
                  </a:cubicBezTo>
                  <a:lnTo>
                    <a:pt x="979999" y="848329"/>
                  </a:lnTo>
                  <a:cubicBezTo>
                    <a:pt x="978953" y="848638"/>
                    <a:pt x="977917" y="848996"/>
                    <a:pt x="976911" y="849424"/>
                  </a:cubicBezTo>
                  <a:cubicBezTo>
                    <a:pt x="974220" y="851413"/>
                    <a:pt x="971131" y="853204"/>
                    <a:pt x="968341" y="855094"/>
                  </a:cubicBezTo>
                  <a:cubicBezTo>
                    <a:pt x="965322" y="858228"/>
                    <a:pt x="962921" y="861909"/>
                    <a:pt x="961266" y="865939"/>
                  </a:cubicBezTo>
                  <a:cubicBezTo>
                    <a:pt x="958825" y="873619"/>
                    <a:pt x="955955" y="881150"/>
                    <a:pt x="952697" y="888522"/>
                  </a:cubicBezTo>
                  <a:cubicBezTo>
                    <a:pt x="955985" y="881160"/>
                    <a:pt x="958078" y="873102"/>
                    <a:pt x="961266" y="865939"/>
                  </a:cubicBezTo>
                  <a:cubicBezTo>
                    <a:pt x="962163" y="863252"/>
                    <a:pt x="963060" y="860666"/>
                    <a:pt x="964057" y="858278"/>
                  </a:cubicBezTo>
                  <a:cubicBezTo>
                    <a:pt x="965402" y="857114"/>
                    <a:pt x="966836" y="856050"/>
                    <a:pt x="968341" y="855094"/>
                  </a:cubicBezTo>
                  <a:cubicBezTo>
                    <a:pt x="970703" y="852558"/>
                    <a:pt x="973642" y="850608"/>
                    <a:pt x="976911" y="849424"/>
                  </a:cubicBezTo>
                  <a:cubicBezTo>
                    <a:pt x="978515" y="848290"/>
                    <a:pt x="980010" y="847026"/>
                    <a:pt x="981395" y="845643"/>
                  </a:cubicBezTo>
                  <a:cubicBezTo>
                    <a:pt x="982391" y="843554"/>
                    <a:pt x="983587" y="841564"/>
                    <a:pt x="984683" y="839475"/>
                  </a:cubicBezTo>
                  <a:lnTo>
                    <a:pt x="984683" y="838381"/>
                  </a:lnTo>
                  <a:cubicBezTo>
                    <a:pt x="985081" y="837873"/>
                    <a:pt x="985450" y="837346"/>
                    <a:pt x="985779" y="836789"/>
                  </a:cubicBezTo>
                  <a:close/>
                  <a:moveTo>
                    <a:pt x="943032" y="913693"/>
                  </a:moveTo>
                  <a:cubicBezTo>
                    <a:pt x="942812" y="915264"/>
                    <a:pt x="942165" y="916747"/>
                    <a:pt x="941138" y="917971"/>
                  </a:cubicBezTo>
                  <a:cubicBezTo>
                    <a:pt x="943480" y="920418"/>
                    <a:pt x="945124" y="923442"/>
                    <a:pt x="945921" y="926725"/>
                  </a:cubicBezTo>
                  <a:cubicBezTo>
                    <a:pt x="944566" y="923681"/>
                    <a:pt x="942972" y="920756"/>
                    <a:pt x="941138" y="917971"/>
                  </a:cubicBezTo>
                  <a:cubicBezTo>
                    <a:pt x="942165" y="916647"/>
                    <a:pt x="942972" y="915175"/>
                    <a:pt x="943530" y="913593"/>
                  </a:cubicBezTo>
                  <a:close/>
                  <a:moveTo>
                    <a:pt x="1301750" y="2278561"/>
                  </a:moveTo>
                  <a:cubicBezTo>
                    <a:pt x="1301192" y="2278103"/>
                    <a:pt x="1300485" y="2277854"/>
                    <a:pt x="1299757" y="2277864"/>
                  </a:cubicBezTo>
                  <a:lnTo>
                    <a:pt x="1301451" y="2277864"/>
                  </a:lnTo>
                  <a:lnTo>
                    <a:pt x="1301451" y="2278461"/>
                  </a:lnTo>
                  <a:cubicBezTo>
                    <a:pt x="1303135" y="2279476"/>
                    <a:pt x="1304431" y="2281008"/>
                    <a:pt x="1305138" y="2282839"/>
                  </a:cubicBezTo>
                  <a:cubicBezTo>
                    <a:pt x="1305188" y="2283694"/>
                    <a:pt x="1305387" y="2284540"/>
                    <a:pt x="1305736" y="2285326"/>
                  </a:cubicBezTo>
                  <a:cubicBezTo>
                    <a:pt x="1305338" y="2283137"/>
                    <a:pt x="1304042" y="2280750"/>
                    <a:pt x="1302647" y="2278461"/>
                  </a:cubicBezTo>
                  <a:close/>
                  <a:moveTo>
                    <a:pt x="1292782" y="2279854"/>
                  </a:moveTo>
                  <a:lnTo>
                    <a:pt x="1291487" y="2280948"/>
                  </a:lnTo>
                  <a:cubicBezTo>
                    <a:pt x="1290879" y="2280889"/>
                    <a:pt x="1290301" y="2280680"/>
                    <a:pt x="1289793" y="2280352"/>
                  </a:cubicBezTo>
                  <a:cubicBezTo>
                    <a:pt x="1290780" y="2280540"/>
                    <a:pt x="1291796" y="2280540"/>
                    <a:pt x="1292782" y="2280352"/>
                  </a:cubicBezTo>
                  <a:cubicBezTo>
                    <a:pt x="1294456" y="2279337"/>
                    <a:pt x="1296320" y="2278700"/>
                    <a:pt x="1298263" y="2278461"/>
                  </a:cubicBezTo>
                  <a:cubicBezTo>
                    <a:pt x="1297366" y="2278262"/>
                    <a:pt x="1295572" y="2279158"/>
                    <a:pt x="1293679" y="2279755"/>
                  </a:cubicBezTo>
                  <a:close/>
                  <a:moveTo>
                    <a:pt x="1281423" y="2490369"/>
                  </a:moveTo>
                  <a:cubicBezTo>
                    <a:pt x="1283246" y="2492419"/>
                    <a:pt x="1284940" y="2494578"/>
                    <a:pt x="1286505" y="2496836"/>
                  </a:cubicBezTo>
                  <a:close/>
                  <a:moveTo>
                    <a:pt x="1287501" y="2279953"/>
                  </a:moveTo>
                  <a:cubicBezTo>
                    <a:pt x="1287123" y="2279565"/>
                    <a:pt x="1286684" y="2279227"/>
                    <a:pt x="1286206" y="2278959"/>
                  </a:cubicBezTo>
                  <a:cubicBezTo>
                    <a:pt x="1283206" y="2277178"/>
                    <a:pt x="1279679" y="2276511"/>
                    <a:pt x="1276241" y="2277068"/>
                  </a:cubicBezTo>
                  <a:lnTo>
                    <a:pt x="1275245" y="2277068"/>
                  </a:lnTo>
                  <a:cubicBezTo>
                    <a:pt x="1271339" y="2278103"/>
                    <a:pt x="1267562" y="2279575"/>
                    <a:pt x="1263985" y="2281446"/>
                  </a:cubicBezTo>
                  <a:cubicBezTo>
                    <a:pt x="1267403" y="2279237"/>
                    <a:pt x="1271229" y="2277745"/>
                    <a:pt x="1275245" y="2277068"/>
                  </a:cubicBezTo>
                  <a:cubicBezTo>
                    <a:pt x="1278902" y="2275994"/>
                    <a:pt x="1282848" y="2276700"/>
                    <a:pt x="1285907" y="2278959"/>
                  </a:cubicBezTo>
                  <a:cubicBezTo>
                    <a:pt x="1287003" y="2279506"/>
                    <a:pt x="1288129" y="2279974"/>
                    <a:pt x="1289295" y="2280352"/>
                  </a:cubicBezTo>
                  <a:cubicBezTo>
                    <a:pt x="1288976" y="2280212"/>
                    <a:pt x="1288677" y="2280053"/>
                    <a:pt x="1288398" y="2279854"/>
                  </a:cubicBezTo>
                  <a:close/>
                  <a:moveTo>
                    <a:pt x="1276341" y="2433562"/>
                  </a:moveTo>
                  <a:cubicBezTo>
                    <a:pt x="1276809" y="2432458"/>
                    <a:pt x="1277009" y="2431274"/>
                    <a:pt x="1276939" y="2430080"/>
                  </a:cubicBezTo>
                  <a:cubicBezTo>
                    <a:pt x="1276939" y="2426499"/>
                    <a:pt x="1276241" y="2422618"/>
                    <a:pt x="1275743" y="2418241"/>
                  </a:cubicBezTo>
                  <a:cubicBezTo>
                    <a:pt x="1276540" y="2422141"/>
                    <a:pt x="1276949" y="2426101"/>
                    <a:pt x="1276939" y="2430080"/>
                  </a:cubicBezTo>
                  <a:cubicBezTo>
                    <a:pt x="1276939" y="2431274"/>
                    <a:pt x="1276939" y="2432169"/>
                    <a:pt x="1277437" y="2433164"/>
                  </a:cubicBezTo>
                  <a:lnTo>
                    <a:pt x="1276341" y="2433164"/>
                  </a:lnTo>
                  <a:cubicBezTo>
                    <a:pt x="1275923" y="2434666"/>
                    <a:pt x="1274607" y="2435741"/>
                    <a:pt x="1273053" y="2435850"/>
                  </a:cubicBezTo>
                  <a:cubicBezTo>
                    <a:pt x="1272046" y="2437154"/>
                    <a:pt x="1271309" y="2438646"/>
                    <a:pt x="1270861" y="2440228"/>
                  </a:cubicBezTo>
                  <a:cubicBezTo>
                    <a:pt x="1270861" y="2438536"/>
                    <a:pt x="1270861" y="2437143"/>
                    <a:pt x="1271458" y="2435850"/>
                  </a:cubicBezTo>
                  <a:lnTo>
                    <a:pt x="1273053" y="2435850"/>
                  </a:lnTo>
                  <a:cubicBezTo>
                    <a:pt x="1273979" y="2434875"/>
                    <a:pt x="1275106" y="2434099"/>
                    <a:pt x="1276341" y="2433562"/>
                  </a:cubicBezTo>
                  <a:close/>
                  <a:moveTo>
                    <a:pt x="1275145" y="2413167"/>
                  </a:moveTo>
                  <a:lnTo>
                    <a:pt x="1275145" y="2414262"/>
                  </a:lnTo>
                  <a:cubicBezTo>
                    <a:pt x="1275016" y="2415256"/>
                    <a:pt x="1275016" y="2416251"/>
                    <a:pt x="1275145" y="2417246"/>
                  </a:cubicBezTo>
                  <a:cubicBezTo>
                    <a:pt x="1275444" y="2415754"/>
                    <a:pt x="1275345" y="2414460"/>
                    <a:pt x="1275145" y="2413068"/>
                  </a:cubicBezTo>
                  <a:close/>
                  <a:moveTo>
                    <a:pt x="1256512" y="2283834"/>
                  </a:moveTo>
                  <a:cubicBezTo>
                    <a:pt x="1256223" y="2284978"/>
                    <a:pt x="1256024" y="2286142"/>
                    <a:pt x="1255914" y="2287315"/>
                  </a:cubicBezTo>
                  <a:cubicBezTo>
                    <a:pt x="1255934" y="2286132"/>
                    <a:pt x="1256133" y="2284958"/>
                    <a:pt x="1256512" y="2283834"/>
                  </a:cubicBezTo>
                  <a:cubicBezTo>
                    <a:pt x="1259481" y="2283455"/>
                    <a:pt x="1262371" y="2282620"/>
                    <a:pt x="1265081" y="2281346"/>
                  </a:cubicBezTo>
                  <a:cubicBezTo>
                    <a:pt x="1262481" y="2282968"/>
                    <a:pt x="1259551" y="2283983"/>
                    <a:pt x="1256512" y="2284331"/>
                  </a:cubicBezTo>
                  <a:close/>
                  <a:moveTo>
                    <a:pt x="1265480" y="2320644"/>
                  </a:moveTo>
                  <a:cubicBezTo>
                    <a:pt x="1262989" y="2324186"/>
                    <a:pt x="1261414" y="2328284"/>
                    <a:pt x="1260896" y="2332582"/>
                  </a:cubicBezTo>
                  <a:cubicBezTo>
                    <a:pt x="1260856" y="2328165"/>
                    <a:pt x="1262491" y="2323897"/>
                    <a:pt x="1265480" y="2320644"/>
                  </a:cubicBezTo>
                  <a:close/>
                  <a:moveTo>
                    <a:pt x="1255515" y="2297563"/>
                  </a:moveTo>
                  <a:cubicBezTo>
                    <a:pt x="1255515" y="2298856"/>
                    <a:pt x="1255515" y="2300050"/>
                    <a:pt x="1255515" y="2301244"/>
                  </a:cubicBezTo>
                  <a:cubicBezTo>
                    <a:pt x="1255515" y="2300348"/>
                    <a:pt x="1255515" y="2299553"/>
                    <a:pt x="1255515" y="2298757"/>
                  </a:cubicBezTo>
                  <a:close/>
                  <a:moveTo>
                    <a:pt x="1260896" y="2332682"/>
                  </a:moveTo>
                  <a:cubicBezTo>
                    <a:pt x="1260966" y="2338671"/>
                    <a:pt x="1261404" y="2344650"/>
                    <a:pt x="1262192" y="2350590"/>
                  </a:cubicBezTo>
                  <a:cubicBezTo>
                    <a:pt x="1260567" y="2344770"/>
                    <a:pt x="1260119" y="2338681"/>
                    <a:pt x="1260896" y="2332682"/>
                  </a:cubicBezTo>
                  <a:close/>
                  <a:moveTo>
                    <a:pt x="1284412" y="2753414"/>
                  </a:moveTo>
                  <a:cubicBezTo>
                    <a:pt x="1284412" y="2753414"/>
                    <a:pt x="1284910" y="2754011"/>
                    <a:pt x="1285010" y="2754309"/>
                  </a:cubicBezTo>
                  <a:cubicBezTo>
                    <a:pt x="1283545" y="2753295"/>
                    <a:pt x="1281881" y="2752618"/>
                    <a:pt x="1280128" y="2752320"/>
                  </a:cubicBezTo>
                  <a:cubicBezTo>
                    <a:pt x="1281592" y="2752529"/>
                    <a:pt x="1283027" y="2752897"/>
                    <a:pt x="1284412" y="2753414"/>
                  </a:cubicBezTo>
                  <a:close/>
                  <a:moveTo>
                    <a:pt x="1288398" y="2761373"/>
                  </a:moveTo>
                  <a:cubicBezTo>
                    <a:pt x="1287601" y="2758956"/>
                    <a:pt x="1286495" y="2756648"/>
                    <a:pt x="1285110" y="2754509"/>
                  </a:cubicBezTo>
                  <a:cubicBezTo>
                    <a:pt x="1287192" y="2756389"/>
                    <a:pt x="1288388" y="2759065"/>
                    <a:pt x="1288398" y="2761871"/>
                  </a:cubicBezTo>
                  <a:close/>
                  <a:moveTo>
                    <a:pt x="1290391" y="2770426"/>
                  </a:moveTo>
                  <a:cubicBezTo>
                    <a:pt x="1289494" y="2767531"/>
                    <a:pt x="1288827" y="2764577"/>
                    <a:pt x="1288398" y="2761572"/>
                  </a:cubicBezTo>
                  <a:cubicBezTo>
                    <a:pt x="1289295" y="2764467"/>
                    <a:pt x="1289962" y="2767422"/>
                    <a:pt x="1290391" y="2770426"/>
                  </a:cubicBezTo>
                  <a:close/>
                  <a:moveTo>
                    <a:pt x="1307829" y="2539914"/>
                  </a:moveTo>
                  <a:cubicBezTo>
                    <a:pt x="1310071" y="2540750"/>
                    <a:pt x="1312183" y="2541884"/>
                    <a:pt x="1314106" y="2543297"/>
                  </a:cubicBezTo>
                  <a:cubicBezTo>
                    <a:pt x="1312153" y="2541924"/>
                    <a:pt x="1310051" y="2540790"/>
                    <a:pt x="1307829" y="2539914"/>
                  </a:cubicBezTo>
                  <a:close/>
                  <a:moveTo>
                    <a:pt x="1322576" y="2297563"/>
                  </a:moveTo>
                  <a:cubicBezTo>
                    <a:pt x="1324001" y="2297762"/>
                    <a:pt x="1325436" y="2297762"/>
                    <a:pt x="1326861" y="2297563"/>
                  </a:cubicBezTo>
                  <a:cubicBezTo>
                    <a:pt x="1325446" y="2297871"/>
                    <a:pt x="1323991" y="2297871"/>
                    <a:pt x="1322576" y="2297563"/>
                  </a:cubicBezTo>
                  <a:close/>
                  <a:moveTo>
                    <a:pt x="1331245" y="2560508"/>
                  </a:moveTo>
                  <a:cubicBezTo>
                    <a:pt x="1328913" y="2557454"/>
                    <a:pt x="1326422" y="2554529"/>
                    <a:pt x="1323772" y="2551753"/>
                  </a:cubicBezTo>
                  <a:cubicBezTo>
                    <a:pt x="1326472" y="2554489"/>
                    <a:pt x="1328973" y="2557414"/>
                    <a:pt x="1331245" y="2560508"/>
                  </a:cubicBezTo>
                  <a:close/>
                  <a:moveTo>
                    <a:pt x="1327060" y="2297563"/>
                  </a:moveTo>
                  <a:cubicBezTo>
                    <a:pt x="1328694" y="2297055"/>
                    <a:pt x="1330109" y="2296001"/>
                    <a:pt x="1331046" y="2294578"/>
                  </a:cubicBezTo>
                  <a:cubicBezTo>
                    <a:pt x="1331046" y="2295374"/>
                    <a:pt x="1330448" y="2296170"/>
                    <a:pt x="1330249" y="2296866"/>
                  </a:cubicBezTo>
                  <a:cubicBezTo>
                    <a:pt x="1330049" y="2297563"/>
                    <a:pt x="1328056" y="2297463"/>
                    <a:pt x="1327060" y="2297563"/>
                  </a:cubicBezTo>
                  <a:close/>
                  <a:moveTo>
                    <a:pt x="1416740" y="831019"/>
                  </a:moveTo>
                  <a:cubicBezTo>
                    <a:pt x="1415873" y="829546"/>
                    <a:pt x="1415165" y="827974"/>
                    <a:pt x="1414647" y="826343"/>
                  </a:cubicBezTo>
                  <a:cubicBezTo>
                    <a:pt x="1415056" y="825825"/>
                    <a:pt x="1415394" y="825258"/>
                    <a:pt x="1415643" y="824651"/>
                  </a:cubicBezTo>
                  <a:cubicBezTo>
                    <a:pt x="1415285" y="826870"/>
                    <a:pt x="1415783" y="829148"/>
                    <a:pt x="1417038" y="831019"/>
                  </a:cubicBezTo>
                  <a:close/>
                  <a:moveTo>
                    <a:pt x="1971658" y="1497584"/>
                  </a:moveTo>
                  <a:lnTo>
                    <a:pt x="1948640" y="1497584"/>
                  </a:lnTo>
                  <a:lnTo>
                    <a:pt x="1971658" y="1497584"/>
                  </a:lnTo>
                  <a:close/>
                  <a:moveTo>
                    <a:pt x="3470205" y="208227"/>
                  </a:moveTo>
                  <a:cubicBezTo>
                    <a:pt x="3470205" y="204347"/>
                    <a:pt x="3470205" y="200766"/>
                    <a:pt x="3469607" y="197682"/>
                  </a:cubicBezTo>
                  <a:cubicBezTo>
                    <a:pt x="3469009" y="194597"/>
                    <a:pt x="3469607" y="192110"/>
                    <a:pt x="3469607" y="189325"/>
                  </a:cubicBezTo>
                  <a:cubicBezTo>
                    <a:pt x="3469806" y="195692"/>
                    <a:pt x="3470105" y="201960"/>
                    <a:pt x="3470205" y="208227"/>
                  </a:cubicBezTo>
                  <a:close/>
                  <a:moveTo>
                    <a:pt x="3470205" y="221658"/>
                  </a:moveTo>
                  <a:cubicBezTo>
                    <a:pt x="3470045" y="225011"/>
                    <a:pt x="3469577" y="228344"/>
                    <a:pt x="3468810" y="231607"/>
                  </a:cubicBezTo>
                  <a:cubicBezTo>
                    <a:pt x="3469208" y="228224"/>
                    <a:pt x="3469707" y="224941"/>
                    <a:pt x="3470006" y="221658"/>
                  </a:cubicBezTo>
                  <a:close/>
                  <a:moveTo>
                    <a:pt x="3514148" y="505496"/>
                  </a:moveTo>
                  <a:cubicBezTo>
                    <a:pt x="3514148" y="499924"/>
                    <a:pt x="3514148" y="494254"/>
                    <a:pt x="3513650" y="489080"/>
                  </a:cubicBezTo>
                  <a:cubicBezTo>
                    <a:pt x="3514228" y="494532"/>
                    <a:pt x="3514327" y="500024"/>
                    <a:pt x="3513949" y="505496"/>
                  </a:cubicBezTo>
                  <a:close/>
                  <a:moveTo>
                    <a:pt x="3541550" y="630750"/>
                  </a:moveTo>
                  <a:cubicBezTo>
                    <a:pt x="3541590" y="629954"/>
                    <a:pt x="3541590" y="629159"/>
                    <a:pt x="3541550" y="628363"/>
                  </a:cubicBezTo>
                  <a:cubicBezTo>
                    <a:pt x="3541610" y="627497"/>
                    <a:pt x="3541610" y="626641"/>
                    <a:pt x="3541550" y="625776"/>
                  </a:cubicBezTo>
                  <a:cubicBezTo>
                    <a:pt x="3541550" y="627368"/>
                    <a:pt x="3541550" y="629159"/>
                    <a:pt x="3541550" y="630750"/>
                  </a:cubicBezTo>
                  <a:cubicBezTo>
                    <a:pt x="3542128" y="634471"/>
                    <a:pt x="3542367" y="638232"/>
                    <a:pt x="3542248" y="641992"/>
                  </a:cubicBezTo>
                  <a:lnTo>
                    <a:pt x="3542248" y="641992"/>
                  </a:lnTo>
                  <a:cubicBezTo>
                    <a:pt x="3542706" y="648857"/>
                    <a:pt x="3541331" y="655732"/>
                    <a:pt x="3538262" y="661890"/>
                  </a:cubicBezTo>
                  <a:cubicBezTo>
                    <a:pt x="3540713" y="655533"/>
                    <a:pt x="3542028" y="648797"/>
                    <a:pt x="3542148" y="641992"/>
                  </a:cubicBezTo>
                  <a:cubicBezTo>
                    <a:pt x="3542148" y="641992"/>
                    <a:pt x="3542148" y="641992"/>
                    <a:pt x="3542148" y="641992"/>
                  </a:cubicBezTo>
                  <a:cubicBezTo>
                    <a:pt x="3541659" y="638262"/>
                    <a:pt x="3541460" y="634511"/>
                    <a:pt x="3541550" y="630750"/>
                  </a:cubicBezTo>
                  <a:close/>
                  <a:moveTo>
                    <a:pt x="3508369" y="703874"/>
                  </a:moveTo>
                  <a:cubicBezTo>
                    <a:pt x="3509365" y="706261"/>
                    <a:pt x="3510461" y="708749"/>
                    <a:pt x="3511757" y="711236"/>
                  </a:cubicBezTo>
                  <a:cubicBezTo>
                    <a:pt x="3514547" y="715663"/>
                    <a:pt x="3517077" y="720239"/>
                    <a:pt x="3519329" y="724965"/>
                  </a:cubicBezTo>
                  <a:cubicBezTo>
                    <a:pt x="3516539" y="720538"/>
                    <a:pt x="3514008" y="715961"/>
                    <a:pt x="3511757" y="711236"/>
                  </a:cubicBezTo>
                  <a:cubicBezTo>
                    <a:pt x="3510322" y="708938"/>
                    <a:pt x="3509186" y="706460"/>
                    <a:pt x="3508369" y="703874"/>
                  </a:cubicBezTo>
                  <a:lnTo>
                    <a:pt x="3506376" y="698999"/>
                  </a:lnTo>
                  <a:cubicBezTo>
                    <a:pt x="3506884" y="697476"/>
                    <a:pt x="3507661" y="696064"/>
                    <a:pt x="3508668" y="694820"/>
                  </a:cubicBezTo>
                  <a:cubicBezTo>
                    <a:pt x="3510969" y="690383"/>
                    <a:pt x="3514736" y="686871"/>
                    <a:pt x="3519329" y="684871"/>
                  </a:cubicBezTo>
                  <a:cubicBezTo>
                    <a:pt x="3520027" y="684384"/>
                    <a:pt x="3520764" y="683956"/>
                    <a:pt x="3521521" y="683578"/>
                  </a:cubicBezTo>
                  <a:cubicBezTo>
                    <a:pt x="3516579" y="686374"/>
                    <a:pt x="3512215" y="690095"/>
                    <a:pt x="3508668" y="694522"/>
                  </a:cubicBezTo>
                  <a:cubicBezTo>
                    <a:pt x="3507213" y="697457"/>
                    <a:pt x="3507143" y="700879"/>
                    <a:pt x="3508468" y="703874"/>
                  </a:cubicBezTo>
                  <a:close/>
                  <a:moveTo>
                    <a:pt x="4020539" y="710937"/>
                  </a:moveTo>
                  <a:lnTo>
                    <a:pt x="4022731" y="713822"/>
                  </a:lnTo>
                  <a:cubicBezTo>
                    <a:pt x="4024903" y="715812"/>
                    <a:pt x="4026607" y="718259"/>
                    <a:pt x="4027714" y="720985"/>
                  </a:cubicBezTo>
                  <a:cubicBezTo>
                    <a:pt x="4029168" y="723264"/>
                    <a:pt x="4030434" y="725661"/>
                    <a:pt x="4031500" y="728149"/>
                  </a:cubicBezTo>
                  <a:cubicBezTo>
                    <a:pt x="4030892" y="727333"/>
                    <a:pt x="4030224" y="726577"/>
                    <a:pt x="4029507" y="725860"/>
                  </a:cubicBezTo>
                  <a:cubicBezTo>
                    <a:pt x="4028909" y="723970"/>
                    <a:pt x="4028311" y="722478"/>
                    <a:pt x="4027714" y="720985"/>
                  </a:cubicBezTo>
                  <a:cubicBezTo>
                    <a:pt x="4027116" y="719493"/>
                    <a:pt x="4024625" y="716310"/>
                    <a:pt x="4022731" y="713822"/>
                  </a:cubicBezTo>
                  <a:cubicBezTo>
                    <a:pt x="4020688" y="712061"/>
                    <a:pt x="4018207" y="710858"/>
                    <a:pt x="4015557" y="710340"/>
                  </a:cubicBezTo>
                  <a:cubicBezTo>
                    <a:pt x="4017151" y="710639"/>
                    <a:pt x="4018845" y="710738"/>
                    <a:pt x="4020639" y="710937"/>
                  </a:cubicBezTo>
                  <a:close/>
                  <a:moveTo>
                    <a:pt x="4077037" y="894691"/>
                  </a:moveTo>
                  <a:cubicBezTo>
                    <a:pt x="4078014" y="896242"/>
                    <a:pt x="4078691" y="897964"/>
                    <a:pt x="4079030" y="899764"/>
                  </a:cubicBezTo>
                  <a:cubicBezTo>
                    <a:pt x="4078024" y="898232"/>
                    <a:pt x="4077346" y="896501"/>
                    <a:pt x="4077037" y="894691"/>
                  </a:cubicBezTo>
                  <a:cubicBezTo>
                    <a:pt x="4076300" y="893158"/>
                    <a:pt x="4075323" y="891746"/>
                    <a:pt x="4074148" y="890512"/>
                  </a:cubicBezTo>
                  <a:cubicBezTo>
                    <a:pt x="4072613" y="889457"/>
                    <a:pt x="4070939" y="888622"/>
                    <a:pt x="4069166" y="888025"/>
                  </a:cubicBezTo>
                  <a:cubicBezTo>
                    <a:pt x="4067382" y="888264"/>
                    <a:pt x="4065568" y="888264"/>
                    <a:pt x="4063785" y="888025"/>
                  </a:cubicBezTo>
                  <a:lnTo>
                    <a:pt x="4066376" y="888025"/>
                  </a:lnTo>
                  <a:cubicBezTo>
                    <a:pt x="4067302" y="887876"/>
                    <a:pt x="4068239" y="887876"/>
                    <a:pt x="4069166" y="888025"/>
                  </a:cubicBezTo>
                  <a:lnTo>
                    <a:pt x="4070361" y="888025"/>
                  </a:lnTo>
                  <a:cubicBezTo>
                    <a:pt x="4071796" y="888552"/>
                    <a:pt x="4073091" y="889408"/>
                    <a:pt x="4074148" y="890512"/>
                  </a:cubicBezTo>
                  <a:cubicBezTo>
                    <a:pt x="4075045" y="890512"/>
                    <a:pt x="4075742" y="891606"/>
                    <a:pt x="4076340" y="892004"/>
                  </a:cubicBezTo>
                  <a:cubicBezTo>
                    <a:pt x="4076459" y="892939"/>
                    <a:pt x="4076729" y="893845"/>
                    <a:pt x="4077137" y="894691"/>
                  </a:cubicBezTo>
                  <a:close/>
                  <a:moveTo>
                    <a:pt x="4056311" y="887328"/>
                  </a:moveTo>
                  <a:cubicBezTo>
                    <a:pt x="4052435" y="886602"/>
                    <a:pt x="4048748" y="885110"/>
                    <a:pt x="4045450" y="882951"/>
                  </a:cubicBezTo>
                  <a:cubicBezTo>
                    <a:pt x="4048858" y="884971"/>
                    <a:pt x="4052555" y="886443"/>
                    <a:pt x="4056411" y="887328"/>
                  </a:cubicBezTo>
                  <a:close/>
                  <a:moveTo>
                    <a:pt x="4020340" y="777892"/>
                  </a:moveTo>
                  <a:cubicBezTo>
                    <a:pt x="4020340" y="776101"/>
                    <a:pt x="4019742" y="774410"/>
                    <a:pt x="4019543" y="772619"/>
                  </a:cubicBezTo>
                  <a:cubicBezTo>
                    <a:pt x="4018746" y="769854"/>
                    <a:pt x="4018746" y="766929"/>
                    <a:pt x="4019543" y="764163"/>
                  </a:cubicBezTo>
                  <a:cubicBezTo>
                    <a:pt x="4019782" y="761944"/>
                    <a:pt x="4020320" y="759766"/>
                    <a:pt x="4021137" y="757696"/>
                  </a:cubicBezTo>
                  <a:cubicBezTo>
                    <a:pt x="4022393" y="756642"/>
                    <a:pt x="4023568" y="755468"/>
                    <a:pt x="4024625" y="754214"/>
                  </a:cubicBezTo>
                  <a:cubicBezTo>
                    <a:pt x="4022442" y="757259"/>
                    <a:pt x="4020728" y="760611"/>
                    <a:pt x="4019543" y="764163"/>
                  </a:cubicBezTo>
                  <a:cubicBezTo>
                    <a:pt x="4019244" y="768759"/>
                    <a:pt x="4019543" y="773376"/>
                    <a:pt x="4020439" y="777892"/>
                  </a:cubicBezTo>
                  <a:close/>
                  <a:moveTo>
                    <a:pt x="4020340" y="791920"/>
                  </a:moveTo>
                  <a:cubicBezTo>
                    <a:pt x="4021267" y="789373"/>
                    <a:pt x="4021506" y="786627"/>
                    <a:pt x="4021037" y="783961"/>
                  </a:cubicBezTo>
                  <a:cubicBezTo>
                    <a:pt x="4021037" y="785553"/>
                    <a:pt x="4021835" y="787145"/>
                    <a:pt x="4022233" y="788537"/>
                  </a:cubicBezTo>
                  <a:cubicBezTo>
                    <a:pt x="4022632" y="789930"/>
                    <a:pt x="4021635" y="790328"/>
                    <a:pt x="4020340" y="791920"/>
                  </a:cubicBezTo>
                  <a:cubicBezTo>
                    <a:pt x="4019453" y="794328"/>
                    <a:pt x="4017898" y="796427"/>
                    <a:pt x="4015856" y="797989"/>
                  </a:cubicBezTo>
                  <a:cubicBezTo>
                    <a:pt x="4017151" y="796894"/>
                    <a:pt x="4019244" y="794208"/>
                    <a:pt x="4020738" y="792019"/>
                  </a:cubicBezTo>
                  <a:close/>
                  <a:moveTo>
                    <a:pt x="4024924" y="753816"/>
                  </a:moveTo>
                  <a:cubicBezTo>
                    <a:pt x="4027674" y="749986"/>
                    <a:pt x="4030135" y="745967"/>
                    <a:pt x="4032297" y="741778"/>
                  </a:cubicBezTo>
                  <a:cubicBezTo>
                    <a:pt x="4030952" y="746285"/>
                    <a:pt x="4028560" y="750404"/>
                    <a:pt x="4025322" y="753816"/>
                  </a:cubicBezTo>
                  <a:close/>
                  <a:moveTo>
                    <a:pt x="4079628" y="899864"/>
                  </a:moveTo>
                  <a:cubicBezTo>
                    <a:pt x="4081701" y="903217"/>
                    <a:pt x="4084620" y="905962"/>
                    <a:pt x="4088098" y="907823"/>
                  </a:cubicBezTo>
                  <a:cubicBezTo>
                    <a:pt x="4084840" y="906360"/>
                    <a:pt x="4081940" y="904182"/>
                    <a:pt x="4079628" y="901456"/>
                  </a:cubicBezTo>
                  <a:cubicBezTo>
                    <a:pt x="4079698" y="900928"/>
                    <a:pt x="4079698" y="900391"/>
                    <a:pt x="4079628" y="899864"/>
                  </a:cubicBezTo>
                  <a:close/>
                  <a:moveTo>
                    <a:pt x="4220724" y="1155845"/>
                  </a:moveTo>
                  <a:cubicBezTo>
                    <a:pt x="4219678" y="1150990"/>
                    <a:pt x="4219678" y="1145976"/>
                    <a:pt x="4220724" y="1141121"/>
                  </a:cubicBezTo>
                  <a:cubicBezTo>
                    <a:pt x="4219897" y="1145986"/>
                    <a:pt x="4219758" y="1150940"/>
                    <a:pt x="4220326" y="1155845"/>
                  </a:cubicBezTo>
                  <a:close/>
                  <a:moveTo>
                    <a:pt x="4350859" y="1330744"/>
                  </a:moveTo>
                  <a:cubicBezTo>
                    <a:pt x="4350162" y="1335002"/>
                    <a:pt x="4349225" y="1339220"/>
                    <a:pt x="4348069" y="1343379"/>
                  </a:cubicBezTo>
                  <a:cubicBezTo>
                    <a:pt x="4348667" y="1339001"/>
                    <a:pt x="4350062" y="1334325"/>
                    <a:pt x="4350859" y="1330744"/>
                  </a:cubicBezTo>
                  <a:cubicBezTo>
                    <a:pt x="4348647" y="1326367"/>
                    <a:pt x="4347551" y="1321511"/>
                    <a:pt x="4347671" y="1316617"/>
                  </a:cubicBezTo>
                  <a:cubicBezTo>
                    <a:pt x="4347073" y="1313085"/>
                    <a:pt x="4345787" y="1309702"/>
                    <a:pt x="4343884" y="1306668"/>
                  </a:cubicBezTo>
                  <a:cubicBezTo>
                    <a:pt x="4345578" y="1308160"/>
                    <a:pt x="4346933" y="1309991"/>
                    <a:pt x="4347870" y="1312040"/>
                  </a:cubicBezTo>
                  <a:cubicBezTo>
                    <a:pt x="4347711" y="1313592"/>
                    <a:pt x="4347711" y="1315164"/>
                    <a:pt x="4347870" y="1316716"/>
                  </a:cubicBezTo>
                  <a:cubicBezTo>
                    <a:pt x="4348667" y="1320099"/>
                    <a:pt x="4349165" y="1324675"/>
                    <a:pt x="4350461" y="1330744"/>
                  </a:cubicBezTo>
                  <a:close/>
                  <a:moveTo>
                    <a:pt x="4614418" y="2014919"/>
                  </a:moveTo>
                  <a:cubicBezTo>
                    <a:pt x="4612913" y="2013427"/>
                    <a:pt x="4611997" y="2011457"/>
                    <a:pt x="4611827" y="2009347"/>
                  </a:cubicBezTo>
                  <a:cubicBezTo>
                    <a:pt x="4611578" y="2008969"/>
                    <a:pt x="4611279" y="2008631"/>
                    <a:pt x="4610930" y="2008353"/>
                  </a:cubicBezTo>
                  <a:cubicBezTo>
                    <a:pt x="4611309" y="2008034"/>
                    <a:pt x="4611648" y="2007666"/>
                    <a:pt x="4611927" y="2007258"/>
                  </a:cubicBezTo>
                  <a:cubicBezTo>
                    <a:pt x="4612664" y="2006522"/>
                    <a:pt x="4613302" y="2005677"/>
                    <a:pt x="4613820" y="2004771"/>
                  </a:cubicBezTo>
                  <a:cubicBezTo>
                    <a:pt x="4613431" y="2005756"/>
                    <a:pt x="4612774" y="2006622"/>
                    <a:pt x="4611927" y="2007258"/>
                  </a:cubicBezTo>
                  <a:cubicBezTo>
                    <a:pt x="4611778" y="2007945"/>
                    <a:pt x="4611778" y="2008661"/>
                    <a:pt x="4611927" y="2009347"/>
                  </a:cubicBezTo>
                  <a:cubicBezTo>
                    <a:pt x="4613262" y="2010949"/>
                    <a:pt x="4614149" y="2012869"/>
                    <a:pt x="4614518" y="2014919"/>
                  </a:cubicBezTo>
                  <a:cubicBezTo>
                    <a:pt x="4615913" y="2016511"/>
                    <a:pt x="4617647" y="2017764"/>
                    <a:pt x="4619599" y="2018600"/>
                  </a:cubicBezTo>
                  <a:lnTo>
                    <a:pt x="4616012" y="2017207"/>
                  </a:lnTo>
                  <a:cubicBezTo>
                    <a:pt x="4615663" y="2018739"/>
                    <a:pt x="4615095" y="2020222"/>
                    <a:pt x="4614318" y="2021585"/>
                  </a:cubicBezTo>
                  <a:cubicBezTo>
                    <a:pt x="4614767" y="2019376"/>
                    <a:pt x="4614667" y="2017078"/>
                    <a:pt x="4614019" y="2014919"/>
                  </a:cubicBezTo>
                  <a:close/>
                  <a:moveTo>
                    <a:pt x="5282033" y="2126643"/>
                  </a:moveTo>
                  <a:cubicBezTo>
                    <a:pt x="5283518" y="2125877"/>
                    <a:pt x="5284953" y="2125012"/>
                    <a:pt x="5286318" y="2124057"/>
                  </a:cubicBezTo>
                  <a:cubicBezTo>
                    <a:pt x="5290304" y="2119719"/>
                    <a:pt x="5295206" y="2116327"/>
                    <a:pt x="5300667" y="2114108"/>
                  </a:cubicBezTo>
                  <a:cubicBezTo>
                    <a:pt x="5296880" y="2116496"/>
                    <a:pt x="5290702" y="2120873"/>
                    <a:pt x="5286318" y="2124057"/>
                  </a:cubicBezTo>
                  <a:cubicBezTo>
                    <a:pt x="5284325" y="2126335"/>
                    <a:pt x="5283020" y="2129131"/>
                    <a:pt x="5282531" y="2132115"/>
                  </a:cubicBezTo>
                  <a:cubicBezTo>
                    <a:pt x="5282751" y="2130285"/>
                    <a:pt x="5282612" y="2128424"/>
                    <a:pt x="5282133" y="2126643"/>
                  </a:cubicBezTo>
                  <a:close/>
                  <a:moveTo>
                    <a:pt x="5329663" y="2019694"/>
                  </a:moveTo>
                  <a:cubicBezTo>
                    <a:pt x="5332105" y="2022619"/>
                    <a:pt x="5333928" y="2026002"/>
                    <a:pt x="5335044" y="2029643"/>
                  </a:cubicBezTo>
                  <a:cubicBezTo>
                    <a:pt x="5333569" y="2026161"/>
                    <a:pt x="5331766" y="2022828"/>
                    <a:pt x="5329663" y="2019694"/>
                  </a:cubicBezTo>
                  <a:cubicBezTo>
                    <a:pt x="5328856" y="2018739"/>
                    <a:pt x="5327920" y="2017904"/>
                    <a:pt x="5326873" y="2017207"/>
                  </a:cubicBezTo>
                  <a:cubicBezTo>
                    <a:pt x="5326684" y="2016212"/>
                    <a:pt x="5326375" y="2015247"/>
                    <a:pt x="5325977" y="2014322"/>
                  </a:cubicBezTo>
                  <a:cubicBezTo>
                    <a:pt x="5324681" y="2012432"/>
                    <a:pt x="5323485" y="2010542"/>
                    <a:pt x="5322290" y="2008651"/>
                  </a:cubicBezTo>
                  <a:cubicBezTo>
                    <a:pt x="5321094" y="2006761"/>
                    <a:pt x="5319499" y="2005866"/>
                    <a:pt x="5318204" y="2004373"/>
                  </a:cubicBezTo>
                  <a:cubicBezTo>
                    <a:pt x="5319071" y="2005050"/>
                    <a:pt x="5319968" y="2005677"/>
                    <a:pt x="5320895" y="2006263"/>
                  </a:cubicBezTo>
                  <a:cubicBezTo>
                    <a:pt x="5321303" y="2007089"/>
                    <a:pt x="5321761" y="2007895"/>
                    <a:pt x="5322290" y="2008651"/>
                  </a:cubicBezTo>
                  <a:cubicBezTo>
                    <a:pt x="5323854" y="2010303"/>
                    <a:pt x="5325109" y="2012223"/>
                    <a:pt x="5325977" y="2014322"/>
                  </a:cubicBezTo>
                  <a:close/>
                  <a:moveTo>
                    <a:pt x="5405194" y="1800822"/>
                  </a:moveTo>
                  <a:cubicBezTo>
                    <a:pt x="5405194" y="1803508"/>
                    <a:pt x="5406389" y="1806493"/>
                    <a:pt x="5406588" y="1808483"/>
                  </a:cubicBezTo>
                  <a:cubicBezTo>
                    <a:pt x="5405761" y="1805926"/>
                    <a:pt x="5405194" y="1803289"/>
                    <a:pt x="5404894" y="1800623"/>
                  </a:cubicBezTo>
                  <a:close/>
                  <a:moveTo>
                    <a:pt x="5897833" y="1729987"/>
                  </a:moveTo>
                  <a:cubicBezTo>
                    <a:pt x="5897754" y="1734166"/>
                    <a:pt x="5898491" y="1738324"/>
                    <a:pt x="5900026" y="1742224"/>
                  </a:cubicBezTo>
                  <a:cubicBezTo>
                    <a:pt x="5898073" y="1738394"/>
                    <a:pt x="5897346" y="1734046"/>
                    <a:pt x="5897933" y="1729788"/>
                  </a:cubicBezTo>
                  <a:close/>
                  <a:moveTo>
                    <a:pt x="5874517" y="1725311"/>
                  </a:moveTo>
                  <a:cubicBezTo>
                    <a:pt x="5876201" y="1726375"/>
                    <a:pt x="5878114" y="1727062"/>
                    <a:pt x="5880097" y="1727301"/>
                  </a:cubicBezTo>
                  <a:cubicBezTo>
                    <a:pt x="5883435" y="1727261"/>
                    <a:pt x="5886773" y="1727520"/>
                    <a:pt x="5890061" y="1728097"/>
                  </a:cubicBezTo>
                  <a:cubicBezTo>
                    <a:pt x="5886275" y="1728097"/>
                    <a:pt x="5883186" y="1728097"/>
                    <a:pt x="5880097" y="1727301"/>
                  </a:cubicBezTo>
                  <a:cubicBezTo>
                    <a:pt x="5878682" y="1727271"/>
                    <a:pt x="5877267" y="1727480"/>
                    <a:pt x="5875912" y="1727898"/>
                  </a:cubicBezTo>
                  <a:cubicBezTo>
                    <a:pt x="5875504" y="1727002"/>
                    <a:pt x="5875045" y="1726137"/>
                    <a:pt x="5874517" y="1725311"/>
                  </a:cubicBezTo>
                  <a:cubicBezTo>
                    <a:pt x="5872155" y="1723560"/>
                    <a:pt x="5870153" y="1721361"/>
                    <a:pt x="5868638" y="1718844"/>
                  </a:cubicBezTo>
                  <a:cubicBezTo>
                    <a:pt x="5871159" y="1720357"/>
                    <a:pt x="5873222" y="1722525"/>
                    <a:pt x="5874617" y="1725112"/>
                  </a:cubicBezTo>
                  <a:close/>
                  <a:moveTo>
                    <a:pt x="5861264" y="1716656"/>
                  </a:moveTo>
                  <a:cubicBezTo>
                    <a:pt x="5856073" y="1717193"/>
                    <a:pt x="5850922" y="1718019"/>
                    <a:pt x="5845820" y="1719143"/>
                  </a:cubicBezTo>
                  <a:lnTo>
                    <a:pt x="5849008" y="1717949"/>
                  </a:lnTo>
                  <a:cubicBezTo>
                    <a:pt x="5853014" y="1716974"/>
                    <a:pt x="5857139" y="1716546"/>
                    <a:pt x="5861264" y="1716656"/>
                  </a:cubicBezTo>
                  <a:lnTo>
                    <a:pt x="5866944" y="1715959"/>
                  </a:lnTo>
                  <a:cubicBezTo>
                    <a:pt x="5867542" y="1716954"/>
                    <a:pt x="5868040" y="1717949"/>
                    <a:pt x="5868638" y="1718844"/>
                  </a:cubicBezTo>
                  <a:cubicBezTo>
                    <a:pt x="5866466" y="1717412"/>
                    <a:pt x="5863955" y="1716586"/>
                    <a:pt x="5861364" y="1716457"/>
                  </a:cubicBezTo>
                  <a:close/>
                  <a:moveTo>
                    <a:pt x="5563129" y="2074810"/>
                  </a:moveTo>
                  <a:cubicBezTo>
                    <a:pt x="5566148" y="2075935"/>
                    <a:pt x="5569526" y="2075527"/>
                    <a:pt x="5572197" y="2073716"/>
                  </a:cubicBezTo>
                  <a:cubicBezTo>
                    <a:pt x="5569477" y="2075328"/>
                    <a:pt x="5566139" y="2075547"/>
                    <a:pt x="5563229" y="2074313"/>
                  </a:cubicBezTo>
                  <a:close/>
                  <a:moveTo>
                    <a:pt x="5650218" y="1938612"/>
                  </a:moveTo>
                  <a:cubicBezTo>
                    <a:pt x="5650348" y="1939895"/>
                    <a:pt x="5650876" y="1941109"/>
                    <a:pt x="5651713" y="1942094"/>
                  </a:cubicBezTo>
                  <a:cubicBezTo>
                    <a:pt x="5650736" y="1941010"/>
                    <a:pt x="5650228" y="1939577"/>
                    <a:pt x="5650318" y="1938115"/>
                  </a:cubicBezTo>
                  <a:close/>
                  <a:moveTo>
                    <a:pt x="5593919" y="2048048"/>
                  </a:moveTo>
                  <a:cubicBezTo>
                    <a:pt x="5591956" y="2049819"/>
                    <a:pt x="5590452" y="2052038"/>
                    <a:pt x="5589535" y="2054515"/>
                  </a:cubicBezTo>
                  <a:cubicBezTo>
                    <a:pt x="5590402" y="2051769"/>
                    <a:pt x="5592026" y="2049322"/>
                    <a:pt x="5594218" y="2047451"/>
                  </a:cubicBezTo>
                  <a:close/>
                  <a:moveTo>
                    <a:pt x="5690076" y="1780129"/>
                  </a:moveTo>
                  <a:cubicBezTo>
                    <a:pt x="5690076" y="1770777"/>
                    <a:pt x="5690076" y="1760231"/>
                    <a:pt x="5690076" y="1750282"/>
                  </a:cubicBezTo>
                  <a:lnTo>
                    <a:pt x="5690076" y="1770180"/>
                  </a:lnTo>
                  <a:close/>
                  <a:moveTo>
                    <a:pt x="5014290" y="1836637"/>
                  </a:moveTo>
                  <a:cubicBezTo>
                    <a:pt x="5015595" y="1835434"/>
                    <a:pt x="5016442" y="1833812"/>
                    <a:pt x="5016681" y="1832061"/>
                  </a:cubicBezTo>
                  <a:cubicBezTo>
                    <a:pt x="5016462" y="1833822"/>
                    <a:pt x="5015615" y="1835454"/>
                    <a:pt x="5014290" y="1836637"/>
                  </a:cubicBezTo>
                  <a:close/>
                  <a:moveTo>
                    <a:pt x="4941250" y="1881506"/>
                  </a:moveTo>
                  <a:cubicBezTo>
                    <a:pt x="4941250" y="1883695"/>
                    <a:pt x="4941250" y="1885884"/>
                    <a:pt x="4941250" y="1887675"/>
                  </a:cubicBezTo>
                  <a:cubicBezTo>
                    <a:pt x="4941250" y="1889465"/>
                    <a:pt x="4941250" y="1890560"/>
                    <a:pt x="4942048" y="1891952"/>
                  </a:cubicBezTo>
                  <a:lnTo>
                    <a:pt x="4941151" y="1890162"/>
                  </a:lnTo>
                  <a:cubicBezTo>
                    <a:pt x="4941151" y="1889465"/>
                    <a:pt x="4941151" y="1888670"/>
                    <a:pt x="4941151" y="1887675"/>
                  </a:cubicBezTo>
                  <a:cubicBezTo>
                    <a:pt x="4940911" y="1885526"/>
                    <a:pt x="4940952" y="1883347"/>
                    <a:pt x="4941250" y="1881208"/>
                  </a:cubicBezTo>
                  <a:close/>
                  <a:moveTo>
                    <a:pt x="4940752" y="1874045"/>
                  </a:moveTo>
                  <a:cubicBezTo>
                    <a:pt x="4940752" y="1875637"/>
                    <a:pt x="4940752" y="1877129"/>
                    <a:pt x="4940752" y="1878920"/>
                  </a:cubicBezTo>
                  <a:cubicBezTo>
                    <a:pt x="4940424" y="1877208"/>
                    <a:pt x="4940424" y="1875458"/>
                    <a:pt x="4940752" y="1873746"/>
                  </a:cubicBezTo>
                  <a:close/>
                  <a:moveTo>
                    <a:pt x="4941350" y="1880213"/>
                  </a:moveTo>
                  <a:cubicBezTo>
                    <a:pt x="4941350" y="1880213"/>
                    <a:pt x="4941350" y="1880810"/>
                    <a:pt x="4941350" y="1881208"/>
                  </a:cubicBezTo>
                  <a:cubicBezTo>
                    <a:pt x="4941400" y="1880581"/>
                    <a:pt x="4941400" y="1879944"/>
                    <a:pt x="4941350" y="1879318"/>
                  </a:cubicBezTo>
                  <a:cubicBezTo>
                    <a:pt x="4941350" y="1879318"/>
                    <a:pt x="4941250" y="1879715"/>
                    <a:pt x="4941350" y="1879915"/>
                  </a:cubicBezTo>
                  <a:close/>
                  <a:moveTo>
                    <a:pt x="4942147" y="1870264"/>
                  </a:moveTo>
                  <a:cubicBezTo>
                    <a:pt x="4941290" y="1871150"/>
                    <a:pt x="4940792" y="1872314"/>
                    <a:pt x="4940752" y="1873547"/>
                  </a:cubicBezTo>
                  <a:cubicBezTo>
                    <a:pt x="4940752" y="1872552"/>
                    <a:pt x="4940752" y="1871657"/>
                    <a:pt x="4940752" y="1870961"/>
                  </a:cubicBezTo>
                  <a:cubicBezTo>
                    <a:pt x="4941310" y="1870642"/>
                    <a:pt x="4941918" y="1870413"/>
                    <a:pt x="4942546" y="1870264"/>
                  </a:cubicBezTo>
                  <a:cubicBezTo>
                    <a:pt x="4943632" y="1869031"/>
                    <a:pt x="4945107" y="1868225"/>
                    <a:pt x="4946731" y="1867976"/>
                  </a:cubicBezTo>
                  <a:lnTo>
                    <a:pt x="4950218" y="1867976"/>
                  </a:lnTo>
                  <a:cubicBezTo>
                    <a:pt x="4953507" y="1867349"/>
                    <a:pt x="4956894" y="1867349"/>
                    <a:pt x="4960183" y="1867976"/>
                  </a:cubicBezTo>
                  <a:cubicBezTo>
                    <a:pt x="4956875" y="1867618"/>
                    <a:pt x="4953527" y="1867618"/>
                    <a:pt x="4950218" y="1867976"/>
                  </a:cubicBezTo>
                  <a:cubicBezTo>
                    <a:pt x="4947418" y="1868255"/>
                    <a:pt x="4944679" y="1869031"/>
                    <a:pt x="4942147" y="1870264"/>
                  </a:cubicBezTo>
                  <a:close/>
                  <a:moveTo>
                    <a:pt x="4943642" y="1899116"/>
                  </a:moveTo>
                  <a:cubicBezTo>
                    <a:pt x="4943791" y="1898160"/>
                    <a:pt x="4943791" y="1897186"/>
                    <a:pt x="4943642" y="1896230"/>
                  </a:cubicBezTo>
                  <a:cubicBezTo>
                    <a:pt x="4943781" y="1896778"/>
                    <a:pt x="4943981" y="1897315"/>
                    <a:pt x="4944240" y="1897822"/>
                  </a:cubicBezTo>
                  <a:cubicBezTo>
                    <a:pt x="4944070" y="1898280"/>
                    <a:pt x="4943831" y="1898718"/>
                    <a:pt x="4943542" y="1899116"/>
                  </a:cubicBezTo>
                  <a:cubicBezTo>
                    <a:pt x="4943463" y="1900140"/>
                    <a:pt x="4943004" y="1901105"/>
                    <a:pt x="4942247" y="1901802"/>
                  </a:cubicBezTo>
                  <a:cubicBezTo>
                    <a:pt x="4939845" y="1903483"/>
                    <a:pt x="4937584" y="1905344"/>
                    <a:pt x="4935471" y="1907373"/>
                  </a:cubicBezTo>
                  <a:cubicBezTo>
                    <a:pt x="4938062" y="1904587"/>
                    <a:pt x="4941948" y="1902299"/>
                    <a:pt x="4943642" y="1899116"/>
                  </a:cubicBezTo>
                  <a:close/>
                  <a:moveTo>
                    <a:pt x="4913749" y="1932543"/>
                  </a:moveTo>
                  <a:cubicBezTo>
                    <a:pt x="4914845" y="1929658"/>
                    <a:pt x="4915543" y="1926574"/>
                    <a:pt x="4916539" y="1923789"/>
                  </a:cubicBezTo>
                  <a:cubicBezTo>
                    <a:pt x="4915911" y="1926753"/>
                    <a:pt x="4915104" y="1929668"/>
                    <a:pt x="4914147" y="1932543"/>
                  </a:cubicBezTo>
                  <a:close/>
                  <a:moveTo>
                    <a:pt x="4917037" y="1922595"/>
                  </a:moveTo>
                  <a:cubicBezTo>
                    <a:pt x="4917296" y="1921450"/>
                    <a:pt x="4917625" y="1920316"/>
                    <a:pt x="4918034" y="1919212"/>
                  </a:cubicBezTo>
                  <a:cubicBezTo>
                    <a:pt x="4918392" y="1918237"/>
                    <a:pt x="4919020" y="1917381"/>
                    <a:pt x="4919827" y="1916725"/>
                  </a:cubicBezTo>
                  <a:cubicBezTo>
                    <a:pt x="4918821" y="1918456"/>
                    <a:pt x="4918023" y="1920286"/>
                    <a:pt x="4917436" y="1922197"/>
                  </a:cubicBezTo>
                  <a:close/>
                  <a:moveTo>
                    <a:pt x="4920525" y="1916029"/>
                  </a:moveTo>
                  <a:cubicBezTo>
                    <a:pt x="4920913" y="1915342"/>
                    <a:pt x="4921421" y="1914735"/>
                    <a:pt x="4922019" y="1914238"/>
                  </a:cubicBezTo>
                  <a:cubicBezTo>
                    <a:pt x="4922717" y="1914327"/>
                    <a:pt x="4923414" y="1914327"/>
                    <a:pt x="4924112" y="1914238"/>
                  </a:cubicBezTo>
                  <a:cubicBezTo>
                    <a:pt x="4925806" y="1913462"/>
                    <a:pt x="4927580" y="1912865"/>
                    <a:pt x="4929393" y="1912447"/>
                  </a:cubicBezTo>
                  <a:cubicBezTo>
                    <a:pt x="4931376" y="1911303"/>
                    <a:pt x="4933249" y="1909970"/>
                    <a:pt x="4934973" y="1908467"/>
                  </a:cubicBezTo>
                  <a:cubicBezTo>
                    <a:pt x="4934076" y="1909323"/>
                    <a:pt x="4933389" y="1910377"/>
                    <a:pt x="4932980" y="1911551"/>
                  </a:cubicBezTo>
                  <a:lnTo>
                    <a:pt x="4929393" y="1912447"/>
                  </a:lnTo>
                  <a:cubicBezTo>
                    <a:pt x="4927799" y="1913452"/>
                    <a:pt x="4925985" y="1914068"/>
                    <a:pt x="4924112" y="1914238"/>
                  </a:cubicBezTo>
                  <a:cubicBezTo>
                    <a:pt x="4922986" y="1914556"/>
                    <a:pt x="4921920" y="1915024"/>
                    <a:pt x="4920923" y="1915631"/>
                  </a:cubicBezTo>
                  <a:close/>
                  <a:moveTo>
                    <a:pt x="5060026" y="2207726"/>
                  </a:moveTo>
                  <a:cubicBezTo>
                    <a:pt x="5024254" y="2206432"/>
                    <a:pt x="4988581" y="2205039"/>
                    <a:pt x="4952809" y="2203945"/>
                  </a:cubicBezTo>
                  <a:cubicBezTo>
                    <a:pt x="4988581" y="2203945"/>
                    <a:pt x="5024952" y="2205238"/>
                    <a:pt x="5059927" y="2207328"/>
                  </a:cubicBezTo>
                  <a:close/>
                  <a:moveTo>
                    <a:pt x="5163656" y="2206631"/>
                  </a:moveTo>
                  <a:lnTo>
                    <a:pt x="5165051" y="2205636"/>
                  </a:lnTo>
                  <a:lnTo>
                    <a:pt x="5164055" y="2206631"/>
                  </a:lnTo>
                  <a:close/>
                  <a:moveTo>
                    <a:pt x="5198233" y="2194394"/>
                  </a:moveTo>
                  <a:cubicBezTo>
                    <a:pt x="5201920" y="2192802"/>
                    <a:pt x="5206304" y="2191012"/>
                    <a:pt x="5210688" y="2189619"/>
                  </a:cubicBezTo>
                  <a:cubicBezTo>
                    <a:pt x="5206602" y="2190713"/>
                    <a:pt x="5202418" y="2192604"/>
                    <a:pt x="5198133" y="2193997"/>
                  </a:cubicBezTo>
                  <a:close/>
                  <a:moveTo>
                    <a:pt x="5287912" y="2435452"/>
                  </a:moveTo>
                  <a:cubicBezTo>
                    <a:pt x="5290433" y="2435114"/>
                    <a:pt x="5292915" y="2434487"/>
                    <a:pt x="5295286" y="2433562"/>
                  </a:cubicBezTo>
                  <a:cubicBezTo>
                    <a:pt x="5292097" y="2434527"/>
                    <a:pt x="5288969" y="2435691"/>
                    <a:pt x="5285919" y="2437044"/>
                  </a:cubicBezTo>
                  <a:close/>
                  <a:moveTo>
                    <a:pt x="5297877" y="2294379"/>
                  </a:moveTo>
                  <a:cubicBezTo>
                    <a:pt x="5299063" y="2297622"/>
                    <a:pt x="5298883" y="2301214"/>
                    <a:pt x="5297379" y="2304328"/>
                  </a:cubicBezTo>
                  <a:cubicBezTo>
                    <a:pt x="5298764" y="2301134"/>
                    <a:pt x="5298833" y="2297523"/>
                    <a:pt x="5297578" y="2294280"/>
                  </a:cubicBezTo>
                  <a:close/>
                  <a:moveTo>
                    <a:pt x="5410176" y="2244636"/>
                  </a:moveTo>
                  <a:cubicBezTo>
                    <a:pt x="5409029" y="2241452"/>
                    <a:pt x="5408731" y="2238030"/>
                    <a:pt x="5409279" y="2234687"/>
                  </a:cubicBezTo>
                  <a:cubicBezTo>
                    <a:pt x="5408741" y="2237970"/>
                    <a:pt x="5408950" y="2241342"/>
                    <a:pt x="5409877" y="2244536"/>
                  </a:cubicBezTo>
                  <a:close/>
                  <a:moveTo>
                    <a:pt x="5363841" y="2284331"/>
                  </a:moveTo>
                  <a:cubicBezTo>
                    <a:pt x="5362257" y="2284858"/>
                    <a:pt x="5360543" y="2284858"/>
                    <a:pt x="5358959" y="2284331"/>
                  </a:cubicBezTo>
                  <a:cubicBezTo>
                    <a:pt x="5360553" y="2284788"/>
                    <a:pt x="5362246" y="2284788"/>
                    <a:pt x="5363841" y="2284331"/>
                  </a:cubicBezTo>
                  <a:close/>
                  <a:moveTo>
                    <a:pt x="5357763" y="2283336"/>
                  </a:moveTo>
                  <a:cubicBezTo>
                    <a:pt x="5356577" y="2282351"/>
                    <a:pt x="5355889" y="2280899"/>
                    <a:pt x="5355870" y="2279357"/>
                  </a:cubicBezTo>
                  <a:cubicBezTo>
                    <a:pt x="5356179" y="2280670"/>
                    <a:pt x="5356826" y="2281874"/>
                    <a:pt x="5357763" y="2282839"/>
                  </a:cubicBezTo>
                  <a:close/>
                  <a:moveTo>
                    <a:pt x="5321193" y="2289206"/>
                  </a:moveTo>
                  <a:cubicBezTo>
                    <a:pt x="5319948" y="2290479"/>
                    <a:pt x="5318842" y="2291872"/>
                    <a:pt x="5317905" y="2293384"/>
                  </a:cubicBezTo>
                  <a:cubicBezTo>
                    <a:pt x="5318742" y="2291663"/>
                    <a:pt x="5319858" y="2290081"/>
                    <a:pt x="5321193" y="2288708"/>
                  </a:cubicBezTo>
                  <a:close/>
                  <a:moveTo>
                    <a:pt x="5349891" y="2084361"/>
                  </a:moveTo>
                  <a:cubicBezTo>
                    <a:pt x="5356756" y="2076332"/>
                    <a:pt x="5364748" y="2069329"/>
                    <a:pt x="5373606" y="2063568"/>
                  </a:cubicBezTo>
                  <a:cubicBezTo>
                    <a:pt x="5366332" y="2069936"/>
                    <a:pt x="5358261" y="2077298"/>
                    <a:pt x="5349891" y="2083864"/>
                  </a:cubicBezTo>
                  <a:close/>
                  <a:moveTo>
                    <a:pt x="5334944" y="2097295"/>
                  </a:moveTo>
                  <a:cubicBezTo>
                    <a:pt x="5330809" y="2100946"/>
                    <a:pt x="5325907" y="2103632"/>
                    <a:pt x="5320595" y="2105154"/>
                  </a:cubicBezTo>
                  <a:cubicBezTo>
                    <a:pt x="5330849" y="2099145"/>
                    <a:pt x="5340584" y="2092290"/>
                    <a:pt x="5349692" y="2084660"/>
                  </a:cubicBezTo>
                  <a:cubicBezTo>
                    <a:pt x="5345497" y="2089435"/>
                    <a:pt x="5340594" y="2093524"/>
                    <a:pt x="5335144" y="2096797"/>
                  </a:cubicBezTo>
                  <a:close/>
                  <a:moveTo>
                    <a:pt x="5301065" y="2114605"/>
                  </a:moveTo>
                  <a:cubicBezTo>
                    <a:pt x="5302660" y="2113511"/>
                    <a:pt x="5303755" y="2113014"/>
                    <a:pt x="5304055" y="2113312"/>
                  </a:cubicBezTo>
                  <a:cubicBezTo>
                    <a:pt x="5303028" y="2113461"/>
                    <a:pt x="5302032" y="2113730"/>
                    <a:pt x="5301065" y="2114108"/>
                  </a:cubicBezTo>
                  <a:close/>
                  <a:moveTo>
                    <a:pt x="5168638" y="2203050"/>
                  </a:moveTo>
                  <a:lnTo>
                    <a:pt x="5170531" y="2201757"/>
                  </a:lnTo>
                  <a:cubicBezTo>
                    <a:pt x="5172276" y="2200602"/>
                    <a:pt x="5174188" y="2199727"/>
                    <a:pt x="5176211" y="2199170"/>
                  </a:cubicBezTo>
                  <a:cubicBezTo>
                    <a:pt x="5173720" y="2199866"/>
                    <a:pt x="5171030" y="2201160"/>
                    <a:pt x="5168638" y="2202552"/>
                  </a:cubicBezTo>
                  <a:close/>
                  <a:moveTo>
                    <a:pt x="5087528" y="2419634"/>
                  </a:moveTo>
                  <a:cubicBezTo>
                    <a:pt x="5086910" y="2420857"/>
                    <a:pt x="5086661" y="2422250"/>
                    <a:pt x="5086831" y="2423613"/>
                  </a:cubicBezTo>
                  <a:cubicBezTo>
                    <a:pt x="5086252" y="2422101"/>
                    <a:pt x="5086522" y="2420400"/>
                    <a:pt x="5087528" y="2419136"/>
                  </a:cubicBezTo>
                  <a:close/>
                  <a:moveTo>
                    <a:pt x="5118517" y="2404711"/>
                  </a:moveTo>
                  <a:cubicBezTo>
                    <a:pt x="5118517" y="2406303"/>
                    <a:pt x="5119315" y="2408093"/>
                    <a:pt x="5119713" y="2409685"/>
                  </a:cubicBezTo>
                  <a:cubicBezTo>
                    <a:pt x="5117920" y="2410879"/>
                    <a:pt x="5115927" y="2412371"/>
                    <a:pt x="5113735" y="2413565"/>
                  </a:cubicBezTo>
                  <a:cubicBezTo>
                    <a:pt x="5115927" y="2412073"/>
                    <a:pt x="5118019" y="2410680"/>
                    <a:pt x="5119713" y="2409685"/>
                  </a:cubicBezTo>
                  <a:cubicBezTo>
                    <a:pt x="5119006" y="2407944"/>
                    <a:pt x="5118597" y="2406094"/>
                    <a:pt x="5118517" y="2404213"/>
                  </a:cubicBezTo>
                  <a:close/>
                  <a:moveTo>
                    <a:pt x="5118517" y="2403616"/>
                  </a:moveTo>
                  <a:cubicBezTo>
                    <a:pt x="5118318" y="2401846"/>
                    <a:pt x="5118936" y="2400085"/>
                    <a:pt x="5120211" y="2398841"/>
                  </a:cubicBezTo>
                  <a:cubicBezTo>
                    <a:pt x="5119115" y="2400005"/>
                    <a:pt x="5118488" y="2401527"/>
                    <a:pt x="5118418" y="2403119"/>
                  </a:cubicBezTo>
                  <a:close/>
                  <a:moveTo>
                    <a:pt x="5113934" y="2209019"/>
                  </a:moveTo>
                  <a:cubicBezTo>
                    <a:pt x="5130275" y="2209019"/>
                    <a:pt x="5146717" y="2208422"/>
                    <a:pt x="5162958" y="2207925"/>
                  </a:cubicBezTo>
                  <a:cubicBezTo>
                    <a:pt x="5162460" y="2208472"/>
                    <a:pt x="5162022" y="2209069"/>
                    <a:pt x="5161664" y="2209715"/>
                  </a:cubicBezTo>
                  <a:close/>
                  <a:moveTo>
                    <a:pt x="5105962" y="2416550"/>
                  </a:moveTo>
                  <a:cubicBezTo>
                    <a:pt x="5103959" y="2417276"/>
                    <a:pt x="5101797" y="2417485"/>
                    <a:pt x="5099685" y="2417147"/>
                  </a:cubicBezTo>
                  <a:cubicBezTo>
                    <a:pt x="5099685" y="2417147"/>
                    <a:pt x="5099685" y="2417147"/>
                    <a:pt x="5099685" y="2416649"/>
                  </a:cubicBezTo>
                  <a:cubicBezTo>
                    <a:pt x="5098200" y="2416261"/>
                    <a:pt x="5096825" y="2415505"/>
                    <a:pt x="5095699" y="2414460"/>
                  </a:cubicBezTo>
                  <a:cubicBezTo>
                    <a:pt x="5094174" y="2414202"/>
                    <a:pt x="5092610" y="2414520"/>
                    <a:pt x="5091315" y="2415356"/>
                  </a:cubicBezTo>
                  <a:cubicBezTo>
                    <a:pt x="5090069" y="2416400"/>
                    <a:pt x="5088963" y="2417604"/>
                    <a:pt x="5088026" y="2418937"/>
                  </a:cubicBezTo>
                  <a:cubicBezTo>
                    <a:pt x="5088813" y="2417495"/>
                    <a:pt x="5089940" y="2416261"/>
                    <a:pt x="5091315" y="2415356"/>
                  </a:cubicBezTo>
                  <a:lnTo>
                    <a:pt x="5094204" y="2413167"/>
                  </a:lnTo>
                  <a:cubicBezTo>
                    <a:pt x="5094623" y="2413685"/>
                    <a:pt x="5095131" y="2414122"/>
                    <a:pt x="5095699" y="2414460"/>
                  </a:cubicBezTo>
                  <a:cubicBezTo>
                    <a:pt x="5097283" y="2414580"/>
                    <a:pt x="5098738" y="2415376"/>
                    <a:pt x="5099685" y="2416649"/>
                  </a:cubicBezTo>
                  <a:cubicBezTo>
                    <a:pt x="5101748" y="2417166"/>
                    <a:pt x="5103919" y="2417137"/>
                    <a:pt x="5105962" y="2416550"/>
                  </a:cubicBezTo>
                  <a:close/>
                  <a:moveTo>
                    <a:pt x="5271471" y="2442417"/>
                  </a:moveTo>
                  <a:lnTo>
                    <a:pt x="5275058" y="2441123"/>
                  </a:lnTo>
                  <a:cubicBezTo>
                    <a:pt x="5275457" y="2441412"/>
                    <a:pt x="5275895" y="2441650"/>
                    <a:pt x="5276353" y="2441819"/>
                  </a:cubicBezTo>
                  <a:cubicBezTo>
                    <a:pt x="5274709" y="2441790"/>
                    <a:pt x="5273066" y="2441989"/>
                    <a:pt x="5271471" y="2442417"/>
                  </a:cubicBezTo>
                  <a:cubicBezTo>
                    <a:pt x="5267585" y="2443809"/>
                    <a:pt x="5262602" y="2445501"/>
                    <a:pt x="5257919" y="2446893"/>
                  </a:cubicBezTo>
                  <a:cubicBezTo>
                    <a:pt x="5262334" y="2445023"/>
                    <a:pt x="5266907" y="2443531"/>
                    <a:pt x="5271571" y="2442417"/>
                  </a:cubicBezTo>
                  <a:close/>
                  <a:moveTo>
                    <a:pt x="5285322" y="2437442"/>
                  </a:moveTo>
                  <a:cubicBezTo>
                    <a:pt x="5283508" y="2439701"/>
                    <a:pt x="5280977" y="2441282"/>
                    <a:pt x="5278147" y="2441919"/>
                  </a:cubicBezTo>
                  <a:cubicBezTo>
                    <a:pt x="5280349" y="2440138"/>
                    <a:pt x="5282761" y="2438636"/>
                    <a:pt x="5285322" y="2437442"/>
                  </a:cubicBezTo>
                  <a:close/>
                  <a:moveTo>
                    <a:pt x="5329862" y="2424111"/>
                  </a:moveTo>
                  <a:cubicBezTo>
                    <a:pt x="5325886" y="2423822"/>
                    <a:pt x="5321881" y="2424330"/>
                    <a:pt x="5318104" y="2425603"/>
                  </a:cubicBezTo>
                  <a:cubicBezTo>
                    <a:pt x="5312604" y="2428538"/>
                    <a:pt x="5306745" y="2430747"/>
                    <a:pt x="5300667" y="2432169"/>
                  </a:cubicBezTo>
                  <a:cubicBezTo>
                    <a:pt x="5306546" y="2430080"/>
                    <a:pt x="5312424" y="2427494"/>
                    <a:pt x="5318104" y="2425603"/>
                  </a:cubicBezTo>
                  <a:cubicBezTo>
                    <a:pt x="5319450" y="2424907"/>
                    <a:pt x="5320715" y="2424071"/>
                    <a:pt x="5321891" y="2423116"/>
                  </a:cubicBezTo>
                  <a:cubicBezTo>
                    <a:pt x="5327272" y="2423713"/>
                    <a:pt x="5332852" y="2424111"/>
                    <a:pt x="5338532" y="2424409"/>
                  </a:cubicBezTo>
                  <a:close/>
                  <a:moveTo>
                    <a:pt x="5333748" y="2635820"/>
                  </a:moveTo>
                  <a:cubicBezTo>
                    <a:pt x="5331048" y="2633313"/>
                    <a:pt x="5328039" y="2631174"/>
                    <a:pt x="5324781" y="2629453"/>
                  </a:cubicBezTo>
                  <a:cubicBezTo>
                    <a:pt x="5328069" y="2631164"/>
                    <a:pt x="5331118" y="2633313"/>
                    <a:pt x="5333848" y="2635820"/>
                  </a:cubicBezTo>
                  <a:close/>
                  <a:moveTo>
                    <a:pt x="5389649" y="2426200"/>
                  </a:moveTo>
                  <a:cubicBezTo>
                    <a:pt x="5394731" y="2426200"/>
                    <a:pt x="5399613" y="2426896"/>
                    <a:pt x="5405592" y="2426996"/>
                  </a:cubicBezTo>
                  <a:lnTo>
                    <a:pt x="5373008" y="2425703"/>
                  </a:lnTo>
                  <a:cubicBezTo>
                    <a:pt x="5378788" y="2425802"/>
                    <a:pt x="5384368" y="2425902"/>
                    <a:pt x="5389748" y="2426200"/>
                  </a:cubicBezTo>
                  <a:close/>
                  <a:moveTo>
                    <a:pt x="5412567" y="2227225"/>
                  </a:moveTo>
                  <a:cubicBezTo>
                    <a:pt x="5410863" y="2222838"/>
                    <a:pt x="5410863" y="2217983"/>
                    <a:pt x="5412567" y="2213596"/>
                  </a:cubicBezTo>
                  <a:cubicBezTo>
                    <a:pt x="5413065" y="2211675"/>
                    <a:pt x="5413913" y="2209855"/>
                    <a:pt x="5415058" y="2208223"/>
                  </a:cubicBezTo>
                  <a:lnTo>
                    <a:pt x="5415058" y="2208223"/>
                  </a:lnTo>
                  <a:lnTo>
                    <a:pt x="5416254" y="2207328"/>
                  </a:lnTo>
                  <a:cubicBezTo>
                    <a:pt x="5415935" y="2207576"/>
                    <a:pt x="5415666" y="2207875"/>
                    <a:pt x="5415457" y="2208223"/>
                  </a:cubicBezTo>
                  <a:cubicBezTo>
                    <a:pt x="5418247" y="2208372"/>
                    <a:pt x="5421037" y="2208372"/>
                    <a:pt x="5423827" y="2208223"/>
                  </a:cubicBezTo>
                  <a:cubicBezTo>
                    <a:pt x="5419562" y="2207765"/>
                    <a:pt x="5415397" y="2209676"/>
                    <a:pt x="5412966" y="2213198"/>
                  </a:cubicBezTo>
                  <a:cubicBezTo>
                    <a:pt x="5411969" y="2217814"/>
                    <a:pt x="5411870" y="2222569"/>
                    <a:pt x="5412667" y="2227225"/>
                  </a:cubicBezTo>
                  <a:close/>
                  <a:moveTo>
                    <a:pt x="5455314" y="2210213"/>
                  </a:moveTo>
                  <a:cubicBezTo>
                    <a:pt x="5447363" y="2210959"/>
                    <a:pt x="5439351" y="2210591"/>
                    <a:pt x="5431499" y="2209118"/>
                  </a:cubicBezTo>
                  <a:close/>
                  <a:moveTo>
                    <a:pt x="5377193" y="2059489"/>
                  </a:moveTo>
                  <a:lnTo>
                    <a:pt x="5375599" y="2059489"/>
                  </a:lnTo>
                  <a:cubicBezTo>
                    <a:pt x="5373437" y="2059639"/>
                    <a:pt x="5371265" y="2059330"/>
                    <a:pt x="5369222" y="2058594"/>
                  </a:cubicBezTo>
                  <a:lnTo>
                    <a:pt x="5365734" y="2058594"/>
                  </a:lnTo>
                  <a:cubicBezTo>
                    <a:pt x="5363841" y="2057102"/>
                    <a:pt x="5361748" y="2055510"/>
                    <a:pt x="5359656" y="2053719"/>
                  </a:cubicBezTo>
                  <a:cubicBezTo>
                    <a:pt x="5362666" y="2055938"/>
                    <a:pt x="5366033" y="2057619"/>
                    <a:pt x="5369621" y="2058693"/>
                  </a:cubicBezTo>
                  <a:cubicBezTo>
                    <a:pt x="5371763" y="2058853"/>
                    <a:pt x="5373895" y="2059151"/>
                    <a:pt x="5375997" y="2059589"/>
                  </a:cubicBezTo>
                  <a:lnTo>
                    <a:pt x="5378090" y="2059589"/>
                  </a:lnTo>
                  <a:close/>
                  <a:moveTo>
                    <a:pt x="5348396" y="2043770"/>
                  </a:moveTo>
                  <a:cubicBezTo>
                    <a:pt x="5351884" y="2046556"/>
                    <a:pt x="5355471" y="2049640"/>
                    <a:pt x="5358361" y="2052525"/>
                  </a:cubicBezTo>
                  <a:cubicBezTo>
                    <a:pt x="5355072" y="2049939"/>
                    <a:pt x="5351884" y="2046655"/>
                    <a:pt x="5348496" y="2043770"/>
                  </a:cubicBezTo>
                  <a:close/>
                  <a:moveTo>
                    <a:pt x="5336837" y="2035115"/>
                  </a:moveTo>
                  <a:cubicBezTo>
                    <a:pt x="5340136" y="2036985"/>
                    <a:pt x="5343245" y="2039184"/>
                    <a:pt x="5346104" y="2041681"/>
                  </a:cubicBezTo>
                  <a:cubicBezTo>
                    <a:pt x="5342985" y="2039224"/>
                    <a:pt x="5339926" y="2037204"/>
                    <a:pt x="5336937" y="2035612"/>
                  </a:cubicBezTo>
                  <a:close/>
                  <a:moveTo>
                    <a:pt x="5313720" y="1997310"/>
                  </a:moveTo>
                  <a:cubicBezTo>
                    <a:pt x="5314517" y="1999986"/>
                    <a:pt x="5316032" y="2002394"/>
                    <a:pt x="5318104" y="2004274"/>
                  </a:cubicBezTo>
                  <a:cubicBezTo>
                    <a:pt x="5315813" y="2002602"/>
                    <a:pt x="5314278" y="2000105"/>
                    <a:pt x="5313820" y="1997310"/>
                  </a:cubicBezTo>
                  <a:close/>
                  <a:moveTo>
                    <a:pt x="5313720" y="1997310"/>
                  </a:moveTo>
                  <a:cubicBezTo>
                    <a:pt x="5313331" y="1994634"/>
                    <a:pt x="5313750" y="1991897"/>
                    <a:pt x="5314916" y="1989450"/>
                  </a:cubicBezTo>
                  <a:cubicBezTo>
                    <a:pt x="5313322" y="1987062"/>
                    <a:pt x="5311130" y="1983978"/>
                    <a:pt x="5308639" y="1980695"/>
                  </a:cubicBezTo>
                  <a:cubicBezTo>
                    <a:pt x="5311139" y="1983302"/>
                    <a:pt x="5313252" y="1986247"/>
                    <a:pt x="5314916" y="1989450"/>
                  </a:cubicBezTo>
                  <a:cubicBezTo>
                    <a:pt x="5313939" y="1991917"/>
                    <a:pt x="5313561" y="1994574"/>
                    <a:pt x="5313820" y="1997210"/>
                  </a:cubicBezTo>
                  <a:close/>
                  <a:moveTo>
                    <a:pt x="5298574" y="1968458"/>
                  </a:moveTo>
                  <a:cubicBezTo>
                    <a:pt x="5301663" y="1971841"/>
                    <a:pt x="5305051" y="1976119"/>
                    <a:pt x="5308539" y="1980098"/>
                  </a:cubicBezTo>
                  <a:cubicBezTo>
                    <a:pt x="5304842" y="1976547"/>
                    <a:pt x="5301534" y="1972607"/>
                    <a:pt x="5298674" y="1968359"/>
                  </a:cubicBezTo>
                  <a:close/>
                  <a:moveTo>
                    <a:pt x="5301464" y="1940801"/>
                  </a:moveTo>
                  <a:cubicBezTo>
                    <a:pt x="5301494" y="1942810"/>
                    <a:pt x="5301125" y="1944810"/>
                    <a:pt x="5300368" y="1946671"/>
                  </a:cubicBezTo>
                  <a:lnTo>
                    <a:pt x="5299770" y="1949456"/>
                  </a:lnTo>
                  <a:cubicBezTo>
                    <a:pt x="5299810" y="1948859"/>
                    <a:pt x="5299810" y="1948262"/>
                    <a:pt x="5299770" y="1947665"/>
                  </a:cubicBezTo>
                  <a:cubicBezTo>
                    <a:pt x="5299839" y="1947337"/>
                    <a:pt x="5299839" y="1946999"/>
                    <a:pt x="5299770" y="1946671"/>
                  </a:cubicBezTo>
                  <a:cubicBezTo>
                    <a:pt x="5299770" y="1944681"/>
                    <a:pt x="5300567" y="1942691"/>
                    <a:pt x="5300866" y="1940801"/>
                  </a:cubicBezTo>
                  <a:cubicBezTo>
                    <a:pt x="5300786" y="1938493"/>
                    <a:pt x="5300518" y="1936194"/>
                    <a:pt x="5300069" y="1933936"/>
                  </a:cubicBezTo>
                  <a:cubicBezTo>
                    <a:pt x="5298684" y="1931130"/>
                    <a:pt x="5298066" y="1928007"/>
                    <a:pt x="5298275" y="1924883"/>
                  </a:cubicBezTo>
                  <a:cubicBezTo>
                    <a:pt x="5298275" y="1927868"/>
                    <a:pt x="5299471" y="1930952"/>
                    <a:pt x="5300069" y="1933936"/>
                  </a:cubicBezTo>
                  <a:cubicBezTo>
                    <a:pt x="5300428" y="1934583"/>
                    <a:pt x="5300866" y="1935180"/>
                    <a:pt x="5301364" y="1935727"/>
                  </a:cubicBezTo>
                  <a:cubicBezTo>
                    <a:pt x="5301554" y="1937379"/>
                    <a:pt x="5301623" y="1939040"/>
                    <a:pt x="5301564" y="1940701"/>
                  </a:cubicBezTo>
                  <a:close/>
                  <a:moveTo>
                    <a:pt x="5298873" y="1924584"/>
                  </a:moveTo>
                  <a:cubicBezTo>
                    <a:pt x="5298525" y="1922545"/>
                    <a:pt x="5298525" y="1920456"/>
                    <a:pt x="5298873" y="1918416"/>
                  </a:cubicBezTo>
                  <a:cubicBezTo>
                    <a:pt x="5299072" y="1920207"/>
                    <a:pt x="5298973" y="1922495"/>
                    <a:pt x="5298973" y="1924485"/>
                  </a:cubicBezTo>
                  <a:close/>
                  <a:moveTo>
                    <a:pt x="5298873" y="1954431"/>
                  </a:moveTo>
                  <a:cubicBezTo>
                    <a:pt x="5298873" y="1953535"/>
                    <a:pt x="5298873" y="1952540"/>
                    <a:pt x="5299571" y="1951744"/>
                  </a:cubicBezTo>
                  <a:cubicBezTo>
                    <a:pt x="5299571" y="1952540"/>
                    <a:pt x="5299571" y="1953336"/>
                    <a:pt x="5299571" y="1954033"/>
                  </a:cubicBezTo>
                  <a:lnTo>
                    <a:pt x="5299571" y="1954033"/>
                  </a:lnTo>
                  <a:cubicBezTo>
                    <a:pt x="5298873" y="1956420"/>
                    <a:pt x="5297977" y="1958908"/>
                    <a:pt x="5297179" y="1961096"/>
                  </a:cubicBezTo>
                  <a:cubicBezTo>
                    <a:pt x="5297289" y="1963633"/>
                    <a:pt x="5298046" y="1966090"/>
                    <a:pt x="5299371" y="1968259"/>
                  </a:cubicBezTo>
                  <a:cubicBezTo>
                    <a:pt x="5298305" y="1966916"/>
                    <a:pt x="5297139" y="1965643"/>
                    <a:pt x="5295884" y="1964479"/>
                  </a:cubicBezTo>
                  <a:cubicBezTo>
                    <a:pt x="5295884" y="1963584"/>
                    <a:pt x="5296681" y="1962390"/>
                    <a:pt x="5297179" y="1961096"/>
                  </a:cubicBezTo>
                  <a:cubicBezTo>
                    <a:pt x="5296970" y="1958639"/>
                    <a:pt x="5297528" y="1956172"/>
                    <a:pt x="5298773" y="1954033"/>
                  </a:cubicBezTo>
                  <a:close/>
                  <a:moveTo>
                    <a:pt x="5278944" y="2140970"/>
                  </a:moveTo>
                  <a:cubicBezTo>
                    <a:pt x="5278287" y="2141069"/>
                    <a:pt x="5277609" y="2141069"/>
                    <a:pt x="5276951" y="2140970"/>
                  </a:cubicBezTo>
                  <a:cubicBezTo>
                    <a:pt x="5278635" y="2140402"/>
                    <a:pt x="5280080" y="2139278"/>
                    <a:pt x="5281037" y="2137786"/>
                  </a:cubicBezTo>
                  <a:cubicBezTo>
                    <a:pt x="5280619" y="2138841"/>
                    <a:pt x="5279971" y="2139795"/>
                    <a:pt x="5279144" y="2140571"/>
                  </a:cubicBezTo>
                  <a:close/>
                  <a:moveTo>
                    <a:pt x="5270973" y="2143059"/>
                  </a:moveTo>
                  <a:cubicBezTo>
                    <a:pt x="5268511" y="2144322"/>
                    <a:pt x="5266499" y="2146302"/>
                    <a:pt x="5265193" y="2148730"/>
                  </a:cubicBezTo>
                  <a:cubicBezTo>
                    <a:pt x="5265921" y="2145914"/>
                    <a:pt x="5268143" y="2143735"/>
                    <a:pt x="5270973" y="2143059"/>
                  </a:cubicBezTo>
                  <a:cubicBezTo>
                    <a:pt x="5272896" y="2142352"/>
                    <a:pt x="5274859" y="2141756"/>
                    <a:pt x="5276852" y="2141268"/>
                  </a:cubicBezTo>
                  <a:cubicBezTo>
                    <a:pt x="5275009" y="2141915"/>
                    <a:pt x="5273105" y="2142382"/>
                    <a:pt x="5271172" y="2142661"/>
                  </a:cubicBezTo>
                  <a:close/>
                  <a:moveTo>
                    <a:pt x="5261008" y="2162956"/>
                  </a:moveTo>
                  <a:lnTo>
                    <a:pt x="5260510" y="2162956"/>
                  </a:lnTo>
                  <a:cubicBezTo>
                    <a:pt x="5260510" y="2162956"/>
                    <a:pt x="5261108" y="2162956"/>
                    <a:pt x="5261308" y="2162260"/>
                  </a:cubicBezTo>
                  <a:cubicBezTo>
                    <a:pt x="5261506" y="2161564"/>
                    <a:pt x="5261308" y="2162260"/>
                    <a:pt x="5261208" y="2162558"/>
                  </a:cubicBezTo>
                  <a:close/>
                  <a:moveTo>
                    <a:pt x="5235998" y="2171811"/>
                  </a:moveTo>
                  <a:cubicBezTo>
                    <a:pt x="5236536" y="2170438"/>
                    <a:pt x="5237243" y="2169134"/>
                    <a:pt x="5238090" y="2167931"/>
                  </a:cubicBezTo>
                  <a:lnTo>
                    <a:pt x="5244766" y="2167334"/>
                  </a:lnTo>
                  <a:cubicBezTo>
                    <a:pt x="5241588" y="2167881"/>
                    <a:pt x="5238629" y="2169294"/>
                    <a:pt x="5236197" y="2171413"/>
                  </a:cubicBezTo>
                  <a:close/>
                  <a:moveTo>
                    <a:pt x="5231115" y="2184744"/>
                  </a:moveTo>
                  <a:lnTo>
                    <a:pt x="5227827" y="2184744"/>
                  </a:lnTo>
                  <a:cubicBezTo>
                    <a:pt x="5225376" y="2185908"/>
                    <a:pt x="5222665" y="2186455"/>
                    <a:pt x="5219955" y="2186336"/>
                  </a:cubicBezTo>
                  <a:cubicBezTo>
                    <a:pt x="5222546" y="2185639"/>
                    <a:pt x="5225176" y="2185112"/>
                    <a:pt x="5227827" y="2184744"/>
                  </a:cubicBezTo>
                  <a:cubicBezTo>
                    <a:pt x="5229371" y="2183759"/>
                    <a:pt x="5230667" y="2182436"/>
                    <a:pt x="5231613" y="2180864"/>
                  </a:cubicBezTo>
                  <a:cubicBezTo>
                    <a:pt x="5231613" y="2181958"/>
                    <a:pt x="5231414" y="2183152"/>
                    <a:pt x="5231315" y="2184844"/>
                  </a:cubicBezTo>
                  <a:close/>
                  <a:moveTo>
                    <a:pt x="5193251" y="2196683"/>
                  </a:moveTo>
                  <a:lnTo>
                    <a:pt x="5189862" y="2196683"/>
                  </a:lnTo>
                  <a:cubicBezTo>
                    <a:pt x="5192483" y="2196155"/>
                    <a:pt x="5195084" y="2195499"/>
                    <a:pt x="5197635" y="2194693"/>
                  </a:cubicBezTo>
                  <a:close/>
                  <a:moveTo>
                    <a:pt x="5183984" y="2196683"/>
                  </a:moveTo>
                  <a:cubicBezTo>
                    <a:pt x="5185877" y="2196543"/>
                    <a:pt x="5187770" y="2196543"/>
                    <a:pt x="5189663" y="2196683"/>
                  </a:cubicBezTo>
                  <a:cubicBezTo>
                    <a:pt x="5187780" y="2196981"/>
                    <a:pt x="5185867" y="2196981"/>
                    <a:pt x="5183984" y="2196683"/>
                  </a:cubicBezTo>
                  <a:cubicBezTo>
                    <a:pt x="5181622" y="2197081"/>
                    <a:pt x="5179290" y="2197647"/>
                    <a:pt x="5177008" y="2198374"/>
                  </a:cubicBezTo>
                  <a:lnTo>
                    <a:pt x="5181293" y="2196484"/>
                  </a:lnTo>
                  <a:close/>
                  <a:moveTo>
                    <a:pt x="5151798" y="1880213"/>
                  </a:moveTo>
                  <a:cubicBezTo>
                    <a:pt x="5152795" y="1881257"/>
                    <a:pt x="5153941" y="1882163"/>
                    <a:pt x="5155186" y="1882899"/>
                  </a:cubicBezTo>
                  <a:cubicBezTo>
                    <a:pt x="5153971" y="1882113"/>
                    <a:pt x="5152895" y="1881138"/>
                    <a:pt x="5151998" y="1880014"/>
                  </a:cubicBezTo>
                  <a:close/>
                  <a:moveTo>
                    <a:pt x="5092610" y="1844696"/>
                  </a:moveTo>
                  <a:cubicBezTo>
                    <a:pt x="5092650" y="1844368"/>
                    <a:pt x="5092650" y="1844029"/>
                    <a:pt x="5092610" y="1843701"/>
                  </a:cubicBezTo>
                  <a:cubicBezTo>
                    <a:pt x="5092610" y="1843701"/>
                    <a:pt x="5092610" y="1843701"/>
                    <a:pt x="5092610" y="1844397"/>
                  </a:cubicBezTo>
                  <a:close/>
                  <a:moveTo>
                    <a:pt x="5088724" y="1837732"/>
                  </a:moveTo>
                  <a:cubicBezTo>
                    <a:pt x="5090019" y="1839821"/>
                    <a:pt x="5091315" y="1842010"/>
                    <a:pt x="5092112" y="1843502"/>
                  </a:cubicBezTo>
                  <a:cubicBezTo>
                    <a:pt x="5090856" y="1841622"/>
                    <a:pt x="5089780" y="1839622"/>
                    <a:pt x="5088923" y="1837533"/>
                  </a:cubicBezTo>
                  <a:close/>
                  <a:moveTo>
                    <a:pt x="5085635" y="1832360"/>
                  </a:moveTo>
                  <a:cubicBezTo>
                    <a:pt x="5085745" y="1831633"/>
                    <a:pt x="5085745" y="1830897"/>
                    <a:pt x="5085635" y="1830171"/>
                  </a:cubicBezTo>
                  <a:cubicBezTo>
                    <a:pt x="5084439" y="1827684"/>
                    <a:pt x="5083443" y="1825196"/>
                    <a:pt x="5082446" y="1823306"/>
                  </a:cubicBezTo>
                  <a:cubicBezTo>
                    <a:pt x="5084070" y="1825286"/>
                    <a:pt x="5085176" y="1827654"/>
                    <a:pt x="5085635" y="1830171"/>
                  </a:cubicBezTo>
                  <a:cubicBezTo>
                    <a:pt x="5086631" y="1832558"/>
                    <a:pt x="5087727" y="1835145"/>
                    <a:pt x="5088824" y="1837334"/>
                  </a:cubicBezTo>
                  <a:cubicBezTo>
                    <a:pt x="5087797" y="1835663"/>
                    <a:pt x="5086861" y="1833941"/>
                    <a:pt x="5086033" y="1832160"/>
                  </a:cubicBezTo>
                  <a:close/>
                  <a:moveTo>
                    <a:pt x="5071685" y="1817436"/>
                  </a:moveTo>
                  <a:cubicBezTo>
                    <a:pt x="5071316" y="1816929"/>
                    <a:pt x="5070987" y="1816402"/>
                    <a:pt x="5070688" y="1815845"/>
                  </a:cubicBezTo>
                  <a:cubicBezTo>
                    <a:pt x="5069144" y="1814840"/>
                    <a:pt x="5068068" y="1813268"/>
                    <a:pt x="5067699" y="1811467"/>
                  </a:cubicBezTo>
                  <a:lnTo>
                    <a:pt x="5067699" y="1810373"/>
                  </a:lnTo>
                  <a:cubicBezTo>
                    <a:pt x="5068496" y="1811766"/>
                    <a:pt x="5069493" y="1813556"/>
                    <a:pt x="5070987" y="1815845"/>
                  </a:cubicBezTo>
                  <a:cubicBezTo>
                    <a:pt x="5072183" y="1816690"/>
                    <a:pt x="5073448" y="1817426"/>
                    <a:pt x="5074774" y="1818033"/>
                  </a:cubicBezTo>
                  <a:cubicBezTo>
                    <a:pt x="5073827" y="1817705"/>
                    <a:pt x="5072860" y="1817436"/>
                    <a:pt x="5071884" y="1817237"/>
                  </a:cubicBezTo>
                  <a:close/>
                  <a:moveTo>
                    <a:pt x="5064411" y="1806095"/>
                  </a:moveTo>
                  <a:cubicBezTo>
                    <a:pt x="5063205" y="1806284"/>
                    <a:pt x="5062029" y="1806652"/>
                    <a:pt x="5060923" y="1807189"/>
                  </a:cubicBezTo>
                  <a:cubicBezTo>
                    <a:pt x="5061760" y="1806155"/>
                    <a:pt x="5063135" y="1805717"/>
                    <a:pt x="5064411" y="1806095"/>
                  </a:cubicBezTo>
                  <a:cubicBezTo>
                    <a:pt x="5064411" y="1806095"/>
                    <a:pt x="5065208" y="1806095"/>
                    <a:pt x="5065507" y="1806891"/>
                  </a:cubicBezTo>
                  <a:cubicBezTo>
                    <a:pt x="5065238" y="1806533"/>
                    <a:pt x="5064939" y="1806204"/>
                    <a:pt x="5064610" y="1805896"/>
                  </a:cubicBezTo>
                  <a:close/>
                  <a:moveTo>
                    <a:pt x="5059727" y="1808483"/>
                  </a:moveTo>
                  <a:lnTo>
                    <a:pt x="5057037" y="1808483"/>
                  </a:lnTo>
                  <a:lnTo>
                    <a:pt x="5060724" y="1807289"/>
                  </a:lnTo>
                  <a:cubicBezTo>
                    <a:pt x="5060435" y="1807607"/>
                    <a:pt x="5060176" y="1807935"/>
                    <a:pt x="5059927" y="1808283"/>
                  </a:cubicBezTo>
                  <a:close/>
                  <a:moveTo>
                    <a:pt x="5048567" y="1812064"/>
                  </a:moveTo>
                  <a:cubicBezTo>
                    <a:pt x="5050062" y="1811417"/>
                    <a:pt x="5051467" y="1810582"/>
                    <a:pt x="5052752" y="1809577"/>
                  </a:cubicBezTo>
                  <a:lnTo>
                    <a:pt x="5055044" y="1808980"/>
                  </a:lnTo>
                  <a:cubicBezTo>
                    <a:pt x="5053051" y="1809577"/>
                    <a:pt x="5050760" y="1810970"/>
                    <a:pt x="5048767" y="1811865"/>
                  </a:cubicBezTo>
                  <a:close/>
                  <a:moveTo>
                    <a:pt x="5039798" y="1810870"/>
                  </a:moveTo>
                  <a:cubicBezTo>
                    <a:pt x="5037377" y="1809497"/>
                    <a:pt x="5035295" y="1807597"/>
                    <a:pt x="5033720" y="1805299"/>
                  </a:cubicBezTo>
                  <a:cubicBezTo>
                    <a:pt x="5035713" y="1806891"/>
                    <a:pt x="5037607" y="1809179"/>
                    <a:pt x="5039798" y="1810870"/>
                  </a:cubicBezTo>
                  <a:cubicBezTo>
                    <a:pt x="5041054" y="1811567"/>
                    <a:pt x="5042389" y="1812104"/>
                    <a:pt x="5043784" y="1812462"/>
                  </a:cubicBezTo>
                  <a:cubicBezTo>
                    <a:pt x="5044203" y="1812611"/>
                    <a:pt x="5044661" y="1812611"/>
                    <a:pt x="5045080" y="1812462"/>
                  </a:cubicBezTo>
                  <a:cubicBezTo>
                    <a:pt x="5043236" y="1812422"/>
                    <a:pt x="5041453" y="1811795"/>
                    <a:pt x="5039998" y="1810671"/>
                  </a:cubicBezTo>
                  <a:close/>
                  <a:moveTo>
                    <a:pt x="5028140" y="1802513"/>
                  </a:moveTo>
                  <a:cubicBezTo>
                    <a:pt x="5029774" y="1802265"/>
                    <a:pt x="5031438" y="1802623"/>
                    <a:pt x="5032823" y="1803508"/>
                  </a:cubicBezTo>
                  <a:cubicBezTo>
                    <a:pt x="5033033" y="1804035"/>
                    <a:pt x="5033291" y="1804533"/>
                    <a:pt x="5033621" y="1805001"/>
                  </a:cubicBezTo>
                  <a:cubicBezTo>
                    <a:pt x="5032236" y="1803518"/>
                    <a:pt x="5030362" y="1802563"/>
                    <a:pt x="5028340" y="1802314"/>
                  </a:cubicBezTo>
                  <a:close/>
                  <a:moveTo>
                    <a:pt x="5022560" y="1805001"/>
                  </a:moveTo>
                  <a:cubicBezTo>
                    <a:pt x="5023975" y="1803697"/>
                    <a:pt x="5025739" y="1802832"/>
                    <a:pt x="5027642" y="1802513"/>
                  </a:cubicBezTo>
                  <a:cubicBezTo>
                    <a:pt x="5025908" y="1803011"/>
                    <a:pt x="5024254" y="1803787"/>
                    <a:pt x="5022760" y="1804801"/>
                  </a:cubicBezTo>
                  <a:close/>
                  <a:moveTo>
                    <a:pt x="5018873" y="1808483"/>
                  </a:moveTo>
                  <a:lnTo>
                    <a:pt x="5018873" y="1808483"/>
                  </a:lnTo>
                  <a:lnTo>
                    <a:pt x="5013592" y="1813357"/>
                  </a:lnTo>
                  <a:cubicBezTo>
                    <a:pt x="5016462" y="1810403"/>
                    <a:pt x="5018315" y="1806602"/>
                    <a:pt x="5018873" y="1802513"/>
                  </a:cubicBezTo>
                  <a:lnTo>
                    <a:pt x="5018873" y="1788983"/>
                  </a:lnTo>
                  <a:cubicBezTo>
                    <a:pt x="5018873" y="1786496"/>
                    <a:pt x="5018873" y="1784108"/>
                    <a:pt x="5018873" y="1781621"/>
                  </a:cubicBezTo>
                  <a:cubicBezTo>
                    <a:pt x="5018365" y="1776159"/>
                    <a:pt x="5018365" y="1770667"/>
                    <a:pt x="5018873" y="1765206"/>
                  </a:cubicBezTo>
                  <a:cubicBezTo>
                    <a:pt x="5018873" y="1770777"/>
                    <a:pt x="5018873" y="1776149"/>
                    <a:pt x="5018873" y="1781621"/>
                  </a:cubicBezTo>
                  <a:cubicBezTo>
                    <a:pt x="5019720" y="1788555"/>
                    <a:pt x="5019720" y="1795579"/>
                    <a:pt x="5018873" y="1802513"/>
                  </a:cubicBezTo>
                  <a:lnTo>
                    <a:pt x="5018873" y="1808483"/>
                  </a:lnTo>
                  <a:lnTo>
                    <a:pt x="5021265" y="1806393"/>
                  </a:lnTo>
                  <a:cubicBezTo>
                    <a:pt x="5020487" y="1806970"/>
                    <a:pt x="5019750" y="1807597"/>
                    <a:pt x="5019073" y="1808283"/>
                  </a:cubicBezTo>
                  <a:close/>
                  <a:moveTo>
                    <a:pt x="5018873" y="1764211"/>
                  </a:moveTo>
                  <a:cubicBezTo>
                    <a:pt x="5019272" y="1740602"/>
                    <a:pt x="5019571" y="1716954"/>
                    <a:pt x="5019770" y="1693276"/>
                  </a:cubicBezTo>
                  <a:lnTo>
                    <a:pt x="5019770" y="1761723"/>
                  </a:lnTo>
                  <a:cubicBezTo>
                    <a:pt x="5019870" y="1762320"/>
                    <a:pt x="5019671" y="1763315"/>
                    <a:pt x="5019471" y="1764012"/>
                  </a:cubicBezTo>
                  <a:close/>
                  <a:moveTo>
                    <a:pt x="4904881" y="1941398"/>
                  </a:moveTo>
                  <a:cubicBezTo>
                    <a:pt x="4901991" y="1942373"/>
                    <a:pt x="4898912" y="1942612"/>
                    <a:pt x="4895912" y="1942094"/>
                  </a:cubicBezTo>
                  <a:cubicBezTo>
                    <a:pt x="4899121" y="1942651"/>
                    <a:pt x="4902429" y="1942343"/>
                    <a:pt x="4905478" y="1941199"/>
                  </a:cubicBezTo>
                  <a:close/>
                  <a:moveTo>
                    <a:pt x="4605948" y="2056405"/>
                  </a:moveTo>
                  <a:cubicBezTo>
                    <a:pt x="4604852" y="2055182"/>
                    <a:pt x="4603576" y="2054147"/>
                    <a:pt x="4602162" y="2053321"/>
                  </a:cubicBezTo>
                  <a:cubicBezTo>
                    <a:pt x="4602162" y="2051829"/>
                    <a:pt x="4601265" y="2049939"/>
                    <a:pt x="4600866" y="2047949"/>
                  </a:cubicBezTo>
                  <a:cubicBezTo>
                    <a:pt x="4602560" y="2050337"/>
                    <a:pt x="4604453" y="2053122"/>
                    <a:pt x="4606347" y="2056206"/>
                  </a:cubicBezTo>
                  <a:close/>
                  <a:moveTo>
                    <a:pt x="4605948" y="2056405"/>
                  </a:moveTo>
                  <a:cubicBezTo>
                    <a:pt x="4608908" y="2059201"/>
                    <a:pt x="4610721" y="2062991"/>
                    <a:pt x="4611030" y="2067050"/>
                  </a:cubicBezTo>
                  <a:cubicBezTo>
                    <a:pt x="4610074" y="2063250"/>
                    <a:pt x="4608519" y="2059629"/>
                    <a:pt x="4606446" y="2056306"/>
                  </a:cubicBezTo>
                  <a:close/>
                  <a:moveTo>
                    <a:pt x="4629464" y="2011835"/>
                  </a:moveTo>
                  <a:cubicBezTo>
                    <a:pt x="4629843" y="2012730"/>
                    <a:pt x="4630341" y="2013566"/>
                    <a:pt x="4630959" y="2014322"/>
                  </a:cubicBezTo>
                  <a:cubicBezTo>
                    <a:pt x="4630421" y="2015804"/>
                    <a:pt x="4629494" y="2017108"/>
                    <a:pt x="4628268" y="2018102"/>
                  </a:cubicBezTo>
                  <a:cubicBezTo>
                    <a:pt x="4630042" y="2016501"/>
                    <a:pt x="4630700" y="2014004"/>
                    <a:pt x="4629962" y="2011735"/>
                  </a:cubicBezTo>
                  <a:close/>
                  <a:moveTo>
                    <a:pt x="4627671" y="2005766"/>
                  </a:moveTo>
                  <a:cubicBezTo>
                    <a:pt x="4627671" y="2007656"/>
                    <a:pt x="4628966" y="2009746"/>
                    <a:pt x="4629464" y="2011735"/>
                  </a:cubicBezTo>
                  <a:cubicBezTo>
                    <a:pt x="4628418" y="2009905"/>
                    <a:pt x="4627800" y="2007865"/>
                    <a:pt x="4627671" y="2005766"/>
                  </a:cubicBezTo>
                  <a:cubicBezTo>
                    <a:pt x="4626794" y="2003408"/>
                    <a:pt x="4628000" y="2000782"/>
                    <a:pt x="4630361" y="1999896"/>
                  </a:cubicBezTo>
                  <a:cubicBezTo>
                    <a:pt x="4628448" y="2001209"/>
                    <a:pt x="4627412" y="2003468"/>
                    <a:pt x="4627671" y="2005766"/>
                  </a:cubicBezTo>
                  <a:close/>
                  <a:moveTo>
                    <a:pt x="4627671" y="2018799"/>
                  </a:moveTo>
                  <a:cubicBezTo>
                    <a:pt x="4627491" y="2019048"/>
                    <a:pt x="4627252" y="2019256"/>
                    <a:pt x="4626973" y="2019396"/>
                  </a:cubicBezTo>
                  <a:cubicBezTo>
                    <a:pt x="4625907" y="2020072"/>
                    <a:pt x="4624611" y="2020281"/>
                    <a:pt x="4623386" y="2019993"/>
                  </a:cubicBezTo>
                  <a:cubicBezTo>
                    <a:pt x="4625090" y="2020092"/>
                    <a:pt x="4626784" y="2019605"/>
                    <a:pt x="4628169" y="2018600"/>
                  </a:cubicBezTo>
                  <a:close/>
                  <a:moveTo>
                    <a:pt x="4614717" y="2214690"/>
                  </a:moveTo>
                  <a:cubicBezTo>
                    <a:pt x="4614488" y="2210999"/>
                    <a:pt x="4613920" y="2207337"/>
                    <a:pt x="4613023" y="2203746"/>
                  </a:cubicBezTo>
                  <a:cubicBezTo>
                    <a:pt x="4614119" y="2207288"/>
                    <a:pt x="4614687" y="2210979"/>
                    <a:pt x="4614717" y="2214690"/>
                  </a:cubicBezTo>
                  <a:close/>
                  <a:moveTo>
                    <a:pt x="4676895" y="1844099"/>
                  </a:moveTo>
                  <a:cubicBezTo>
                    <a:pt x="4678180" y="1839542"/>
                    <a:pt x="4678649" y="1834797"/>
                    <a:pt x="4678290" y="1830071"/>
                  </a:cubicBezTo>
                  <a:cubicBezTo>
                    <a:pt x="4678698" y="1834827"/>
                    <a:pt x="4678220" y="1839612"/>
                    <a:pt x="4676895" y="1844199"/>
                  </a:cubicBezTo>
                  <a:close/>
                  <a:moveTo>
                    <a:pt x="4623884" y="1956022"/>
                  </a:moveTo>
                  <a:cubicBezTo>
                    <a:pt x="4622778" y="1953485"/>
                    <a:pt x="4622778" y="1950600"/>
                    <a:pt x="4623884" y="1948064"/>
                  </a:cubicBezTo>
                  <a:cubicBezTo>
                    <a:pt x="4623277" y="1950680"/>
                    <a:pt x="4623277" y="1953406"/>
                    <a:pt x="4623884" y="1956022"/>
                  </a:cubicBezTo>
                  <a:close/>
                  <a:moveTo>
                    <a:pt x="4627173" y="1964479"/>
                  </a:moveTo>
                  <a:cubicBezTo>
                    <a:pt x="4625817" y="1969035"/>
                    <a:pt x="4623545" y="1973264"/>
                    <a:pt x="4620497" y="1976915"/>
                  </a:cubicBezTo>
                  <a:lnTo>
                    <a:pt x="4619699" y="1976915"/>
                  </a:lnTo>
                  <a:cubicBezTo>
                    <a:pt x="4618922" y="1977959"/>
                    <a:pt x="4617985" y="1978865"/>
                    <a:pt x="4616909" y="1979601"/>
                  </a:cubicBezTo>
                  <a:cubicBezTo>
                    <a:pt x="4616401" y="1980546"/>
                    <a:pt x="4616132" y="1981610"/>
                    <a:pt x="4616112" y="1982685"/>
                  </a:cubicBezTo>
                  <a:lnTo>
                    <a:pt x="4615514" y="1980496"/>
                  </a:lnTo>
                  <a:lnTo>
                    <a:pt x="4616909" y="1979601"/>
                  </a:lnTo>
                  <a:cubicBezTo>
                    <a:pt x="4617517" y="1978427"/>
                    <a:pt x="4618504" y="1977482"/>
                    <a:pt x="4619699" y="1976915"/>
                  </a:cubicBezTo>
                  <a:cubicBezTo>
                    <a:pt x="4622938" y="1972985"/>
                    <a:pt x="4625618" y="1968637"/>
                    <a:pt x="4627671" y="1963981"/>
                  </a:cubicBezTo>
                  <a:close/>
                  <a:moveTo>
                    <a:pt x="4617208" y="1988256"/>
                  </a:moveTo>
                  <a:lnTo>
                    <a:pt x="4617906" y="1991838"/>
                  </a:lnTo>
                  <a:cubicBezTo>
                    <a:pt x="4617906" y="1992704"/>
                    <a:pt x="4617606" y="1993897"/>
                    <a:pt x="4617009" y="1995419"/>
                  </a:cubicBezTo>
                  <a:cubicBezTo>
                    <a:pt x="4617228" y="1992863"/>
                    <a:pt x="4617158" y="1990296"/>
                    <a:pt x="4616809" y="1987759"/>
                  </a:cubicBezTo>
                  <a:close/>
                  <a:moveTo>
                    <a:pt x="4617208" y="1995917"/>
                  </a:moveTo>
                  <a:cubicBezTo>
                    <a:pt x="4616909" y="1998693"/>
                    <a:pt x="4616102" y="2001389"/>
                    <a:pt x="4614817" y="2003876"/>
                  </a:cubicBezTo>
                  <a:cubicBezTo>
                    <a:pt x="4615574" y="2001240"/>
                    <a:pt x="4616142" y="1998543"/>
                    <a:pt x="4616511" y="1995817"/>
                  </a:cubicBezTo>
                  <a:close/>
                  <a:moveTo>
                    <a:pt x="4601265" y="2038696"/>
                  </a:moveTo>
                  <a:cubicBezTo>
                    <a:pt x="4600876" y="2041820"/>
                    <a:pt x="4601076" y="2044994"/>
                    <a:pt x="4601863" y="2048048"/>
                  </a:cubicBezTo>
                  <a:cubicBezTo>
                    <a:pt x="4600318" y="2045163"/>
                    <a:pt x="4600109" y="2041751"/>
                    <a:pt x="4601265" y="2038696"/>
                  </a:cubicBezTo>
                  <a:cubicBezTo>
                    <a:pt x="4601405" y="2037135"/>
                    <a:pt x="4602112" y="2035682"/>
                    <a:pt x="4603258" y="2034617"/>
                  </a:cubicBezTo>
                  <a:cubicBezTo>
                    <a:pt x="4603258" y="2034617"/>
                    <a:pt x="4603258" y="2034617"/>
                    <a:pt x="4603955" y="2034120"/>
                  </a:cubicBezTo>
                  <a:cubicBezTo>
                    <a:pt x="4602560" y="2035234"/>
                    <a:pt x="4601405" y="2036627"/>
                    <a:pt x="4600568" y="2038199"/>
                  </a:cubicBezTo>
                  <a:close/>
                  <a:moveTo>
                    <a:pt x="4481692" y="2153107"/>
                  </a:moveTo>
                  <a:cubicBezTo>
                    <a:pt x="4481662" y="2153505"/>
                    <a:pt x="4481662" y="2153903"/>
                    <a:pt x="4481692" y="2154301"/>
                  </a:cubicBezTo>
                  <a:cubicBezTo>
                    <a:pt x="4481692" y="2153405"/>
                    <a:pt x="4481692" y="2152709"/>
                    <a:pt x="4481692" y="2152013"/>
                  </a:cubicBezTo>
                  <a:cubicBezTo>
                    <a:pt x="4481792" y="2151625"/>
                    <a:pt x="4481792" y="2151207"/>
                    <a:pt x="4481692" y="2150819"/>
                  </a:cubicBezTo>
                  <a:lnTo>
                    <a:pt x="4481692" y="2150819"/>
                  </a:lnTo>
                  <a:cubicBezTo>
                    <a:pt x="4481742" y="2151147"/>
                    <a:pt x="4481742" y="2151485"/>
                    <a:pt x="4481692" y="2151814"/>
                  </a:cubicBezTo>
                  <a:cubicBezTo>
                    <a:pt x="4481503" y="2152112"/>
                    <a:pt x="4481264" y="2152381"/>
                    <a:pt x="4480995" y="2152610"/>
                  </a:cubicBezTo>
                  <a:close/>
                  <a:moveTo>
                    <a:pt x="4407258" y="2017705"/>
                  </a:moveTo>
                  <a:cubicBezTo>
                    <a:pt x="4406192" y="2016272"/>
                    <a:pt x="4404946" y="2014969"/>
                    <a:pt x="4403571" y="2013825"/>
                  </a:cubicBezTo>
                  <a:cubicBezTo>
                    <a:pt x="4404657" y="2014531"/>
                    <a:pt x="4405793" y="2015158"/>
                    <a:pt x="4406959" y="2015715"/>
                  </a:cubicBezTo>
                  <a:cubicBezTo>
                    <a:pt x="4406899" y="2016381"/>
                    <a:pt x="4406899" y="2017038"/>
                    <a:pt x="4406959" y="2017705"/>
                  </a:cubicBezTo>
                  <a:cubicBezTo>
                    <a:pt x="4408095" y="2019167"/>
                    <a:pt x="4408882" y="2020868"/>
                    <a:pt x="4409251" y="2022679"/>
                  </a:cubicBezTo>
                  <a:cubicBezTo>
                    <a:pt x="4410237" y="2024062"/>
                    <a:pt x="4411453" y="2025276"/>
                    <a:pt x="4412838" y="2026260"/>
                  </a:cubicBezTo>
                  <a:lnTo>
                    <a:pt x="4409649" y="2024669"/>
                  </a:lnTo>
                  <a:cubicBezTo>
                    <a:pt x="4409749" y="2024012"/>
                    <a:pt x="4409749" y="2023335"/>
                    <a:pt x="4409649" y="2022679"/>
                  </a:cubicBezTo>
                  <a:cubicBezTo>
                    <a:pt x="4408205" y="2021127"/>
                    <a:pt x="4407138" y="2019247"/>
                    <a:pt x="4406560" y="2017207"/>
                  </a:cubicBezTo>
                  <a:close/>
                  <a:moveTo>
                    <a:pt x="4295756" y="2515142"/>
                  </a:moveTo>
                  <a:cubicBezTo>
                    <a:pt x="4296673" y="2516206"/>
                    <a:pt x="4297261" y="2517530"/>
                    <a:pt x="4297450" y="2518922"/>
                  </a:cubicBezTo>
                  <a:lnTo>
                    <a:pt x="4299343" y="2521409"/>
                  </a:lnTo>
                  <a:cubicBezTo>
                    <a:pt x="4298606" y="2522365"/>
                    <a:pt x="4298028" y="2523449"/>
                    <a:pt x="4297649" y="2524593"/>
                  </a:cubicBezTo>
                  <a:cubicBezTo>
                    <a:pt x="4298098" y="2522733"/>
                    <a:pt x="4298098" y="2520783"/>
                    <a:pt x="4297649" y="2518922"/>
                  </a:cubicBezTo>
                  <a:cubicBezTo>
                    <a:pt x="4296872" y="2517768"/>
                    <a:pt x="4296294" y="2516495"/>
                    <a:pt x="4295955" y="2515142"/>
                  </a:cubicBezTo>
                  <a:cubicBezTo>
                    <a:pt x="4295587" y="2514475"/>
                    <a:pt x="4295119" y="2513868"/>
                    <a:pt x="4294561" y="2513351"/>
                  </a:cubicBezTo>
                  <a:lnTo>
                    <a:pt x="4296354" y="2511560"/>
                  </a:lnTo>
                  <a:cubicBezTo>
                    <a:pt x="4296902" y="2510038"/>
                    <a:pt x="4297719" y="2508625"/>
                    <a:pt x="4298745" y="2507382"/>
                  </a:cubicBezTo>
                  <a:cubicBezTo>
                    <a:pt x="4299035" y="2506745"/>
                    <a:pt x="4299234" y="2506078"/>
                    <a:pt x="4299343" y="2505392"/>
                  </a:cubicBezTo>
                  <a:cubicBezTo>
                    <a:pt x="4299284" y="2505750"/>
                    <a:pt x="4299284" y="2506128"/>
                    <a:pt x="4299343" y="2506486"/>
                  </a:cubicBezTo>
                  <a:lnTo>
                    <a:pt x="4298546" y="2507382"/>
                  </a:lnTo>
                  <a:cubicBezTo>
                    <a:pt x="4297988" y="2508904"/>
                    <a:pt x="4297181" y="2510317"/>
                    <a:pt x="4296155" y="2511560"/>
                  </a:cubicBezTo>
                  <a:cubicBezTo>
                    <a:pt x="4295557" y="2512416"/>
                    <a:pt x="4295178" y="2513411"/>
                    <a:pt x="4295059" y="2514445"/>
                  </a:cubicBezTo>
                  <a:close/>
                  <a:moveTo>
                    <a:pt x="4232681" y="2767740"/>
                  </a:moveTo>
                  <a:cubicBezTo>
                    <a:pt x="4234116" y="2769919"/>
                    <a:pt x="4234445" y="2772645"/>
                    <a:pt x="4233578" y="2775102"/>
                  </a:cubicBezTo>
                  <a:cubicBezTo>
                    <a:pt x="4234007" y="2772317"/>
                    <a:pt x="4233449" y="2769462"/>
                    <a:pt x="4231984" y="2767044"/>
                  </a:cubicBezTo>
                  <a:close/>
                  <a:moveTo>
                    <a:pt x="4186247" y="1668902"/>
                  </a:moveTo>
                  <a:cubicBezTo>
                    <a:pt x="4188748" y="1675229"/>
                    <a:pt x="4189266" y="1682163"/>
                    <a:pt x="4187742" y="1688799"/>
                  </a:cubicBezTo>
                  <a:cubicBezTo>
                    <a:pt x="4189486" y="1689824"/>
                    <a:pt x="4191030" y="1691127"/>
                    <a:pt x="4192325" y="1692679"/>
                  </a:cubicBezTo>
                  <a:cubicBezTo>
                    <a:pt x="4190901" y="1691276"/>
                    <a:pt x="4189366" y="1689973"/>
                    <a:pt x="4187742" y="1688799"/>
                  </a:cubicBezTo>
                  <a:cubicBezTo>
                    <a:pt x="4189147" y="1681875"/>
                    <a:pt x="4188380" y="1674682"/>
                    <a:pt x="4185550" y="1668205"/>
                  </a:cubicBezTo>
                  <a:close/>
                  <a:moveTo>
                    <a:pt x="4164724" y="1575582"/>
                  </a:moveTo>
                  <a:cubicBezTo>
                    <a:pt x="4165730" y="1576846"/>
                    <a:pt x="4166169" y="1578468"/>
                    <a:pt x="4165920" y="1580059"/>
                  </a:cubicBezTo>
                  <a:cubicBezTo>
                    <a:pt x="4166797" y="1581870"/>
                    <a:pt x="4167972" y="1583522"/>
                    <a:pt x="4169407" y="1584934"/>
                  </a:cubicBezTo>
                  <a:cubicBezTo>
                    <a:pt x="4168092" y="1583830"/>
                    <a:pt x="4166886" y="1582596"/>
                    <a:pt x="4165820" y="1581253"/>
                  </a:cubicBezTo>
                  <a:cubicBezTo>
                    <a:pt x="4165860" y="1580855"/>
                    <a:pt x="4165860" y="1580457"/>
                    <a:pt x="4165820" y="1580059"/>
                  </a:cubicBezTo>
                  <a:cubicBezTo>
                    <a:pt x="4164694" y="1578567"/>
                    <a:pt x="4164066" y="1576756"/>
                    <a:pt x="4164027" y="1574886"/>
                  </a:cubicBezTo>
                  <a:close/>
                  <a:moveTo>
                    <a:pt x="2852511" y="1662733"/>
                  </a:moveTo>
                  <a:lnTo>
                    <a:pt x="2852511" y="1531211"/>
                  </a:lnTo>
                  <a:cubicBezTo>
                    <a:pt x="2852511" y="1574856"/>
                    <a:pt x="2852511" y="1618462"/>
                    <a:pt x="2852511" y="1662037"/>
                  </a:cubicBezTo>
                  <a:close/>
                  <a:moveTo>
                    <a:pt x="3301906" y="1166291"/>
                  </a:moveTo>
                  <a:cubicBezTo>
                    <a:pt x="3297711" y="1162222"/>
                    <a:pt x="3292111" y="1159904"/>
                    <a:pt x="3286262" y="1159825"/>
                  </a:cubicBezTo>
                  <a:cubicBezTo>
                    <a:pt x="3295031" y="1159228"/>
                    <a:pt x="3302404" y="1160620"/>
                    <a:pt x="3301209" y="1165595"/>
                  </a:cubicBezTo>
                  <a:close/>
                  <a:moveTo>
                    <a:pt x="3204255" y="1160322"/>
                  </a:moveTo>
                  <a:lnTo>
                    <a:pt x="3238532" y="1160322"/>
                  </a:lnTo>
                  <a:cubicBezTo>
                    <a:pt x="3254286" y="1159088"/>
                    <a:pt x="3270110" y="1159088"/>
                    <a:pt x="3285863" y="1160322"/>
                  </a:cubicBezTo>
                  <a:cubicBezTo>
                    <a:pt x="3275909" y="1160869"/>
                    <a:pt x="3265924" y="1160869"/>
                    <a:pt x="3255970" y="1160322"/>
                  </a:cubicBezTo>
                  <a:lnTo>
                    <a:pt x="3238433" y="1160322"/>
                  </a:lnTo>
                  <a:cubicBezTo>
                    <a:pt x="3226834" y="1161416"/>
                    <a:pt x="3215146" y="1161357"/>
                    <a:pt x="3203557" y="1160123"/>
                  </a:cubicBezTo>
                  <a:close/>
                  <a:moveTo>
                    <a:pt x="3368667" y="1198824"/>
                  </a:moveTo>
                  <a:cubicBezTo>
                    <a:pt x="3370810" y="1197580"/>
                    <a:pt x="3372604" y="1195789"/>
                    <a:pt x="3373849" y="1193650"/>
                  </a:cubicBezTo>
                  <a:cubicBezTo>
                    <a:pt x="3372364" y="1195680"/>
                    <a:pt x="3370322" y="1197232"/>
                    <a:pt x="3367970" y="1198127"/>
                  </a:cubicBezTo>
                  <a:close/>
                  <a:moveTo>
                    <a:pt x="3435130" y="1184000"/>
                  </a:moveTo>
                  <a:cubicBezTo>
                    <a:pt x="3438060" y="1183453"/>
                    <a:pt x="3441069" y="1183453"/>
                    <a:pt x="3443998" y="1184000"/>
                  </a:cubicBezTo>
                  <a:cubicBezTo>
                    <a:pt x="3440880" y="1183184"/>
                    <a:pt x="3437641" y="1182955"/>
                    <a:pt x="3434433" y="1183304"/>
                  </a:cubicBezTo>
                  <a:close/>
                  <a:moveTo>
                    <a:pt x="3492226" y="1207081"/>
                  </a:moveTo>
                  <a:cubicBezTo>
                    <a:pt x="3494378" y="1205798"/>
                    <a:pt x="3496939" y="1205370"/>
                    <a:pt x="3499400" y="1205887"/>
                  </a:cubicBezTo>
                  <a:cubicBezTo>
                    <a:pt x="3496850" y="1205260"/>
                    <a:pt x="3494169" y="1205439"/>
                    <a:pt x="3491728" y="1206385"/>
                  </a:cubicBezTo>
                  <a:close/>
                  <a:moveTo>
                    <a:pt x="3503287" y="1207081"/>
                  </a:moveTo>
                  <a:cubicBezTo>
                    <a:pt x="3506395" y="1208116"/>
                    <a:pt x="3509375" y="1209518"/>
                    <a:pt x="3512155" y="1211259"/>
                  </a:cubicBezTo>
                  <a:cubicBezTo>
                    <a:pt x="3509156" y="1209240"/>
                    <a:pt x="3505947" y="1207539"/>
                    <a:pt x="3502589" y="1206186"/>
                  </a:cubicBezTo>
                  <a:close/>
                  <a:moveTo>
                    <a:pt x="3513251" y="1211558"/>
                  </a:moveTo>
                  <a:cubicBezTo>
                    <a:pt x="3513849" y="1211558"/>
                    <a:pt x="3514347" y="1213150"/>
                    <a:pt x="3514746" y="1214642"/>
                  </a:cubicBezTo>
                  <a:lnTo>
                    <a:pt x="3515941" y="1217726"/>
                  </a:lnTo>
                  <a:cubicBezTo>
                    <a:pt x="3515344" y="1216791"/>
                    <a:pt x="3514935" y="1215736"/>
                    <a:pt x="3514746" y="1214642"/>
                  </a:cubicBezTo>
                  <a:cubicBezTo>
                    <a:pt x="3514317" y="1213130"/>
                    <a:pt x="3513490" y="1211757"/>
                    <a:pt x="3512354" y="1210663"/>
                  </a:cubicBezTo>
                  <a:close/>
                  <a:moveTo>
                    <a:pt x="3549023" y="1164301"/>
                  </a:moveTo>
                  <a:cubicBezTo>
                    <a:pt x="3548834" y="1163993"/>
                    <a:pt x="3548555" y="1163754"/>
                    <a:pt x="3548226" y="1163605"/>
                  </a:cubicBezTo>
                  <a:cubicBezTo>
                    <a:pt x="3548525" y="1163327"/>
                    <a:pt x="3548864" y="1163098"/>
                    <a:pt x="3549223" y="1162909"/>
                  </a:cubicBezTo>
                  <a:cubicBezTo>
                    <a:pt x="3549123" y="1163366"/>
                    <a:pt x="3549123" y="1163844"/>
                    <a:pt x="3549223" y="1164301"/>
                  </a:cubicBezTo>
                  <a:cubicBezTo>
                    <a:pt x="3550000" y="1164918"/>
                    <a:pt x="3550498" y="1165814"/>
                    <a:pt x="3550618" y="1166789"/>
                  </a:cubicBezTo>
                  <a:lnTo>
                    <a:pt x="3551415" y="1167485"/>
                  </a:lnTo>
                  <a:lnTo>
                    <a:pt x="3550119" y="1168778"/>
                  </a:lnTo>
                  <a:cubicBezTo>
                    <a:pt x="3550508" y="1168191"/>
                    <a:pt x="3550687" y="1167485"/>
                    <a:pt x="3550618" y="1166789"/>
                  </a:cubicBezTo>
                  <a:cubicBezTo>
                    <a:pt x="3549432" y="1165973"/>
                    <a:pt x="3548545" y="1164779"/>
                    <a:pt x="3548127" y="1163406"/>
                  </a:cubicBezTo>
                  <a:close/>
                  <a:moveTo>
                    <a:pt x="3634418" y="1508329"/>
                  </a:moveTo>
                  <a:cubicBezTo>
                    <a:pt x="3634319" y="1509224"/>
                    <a:pt x="3634319" y="1510120"/>
                    <a:pt x="3634418" y="1511015"/>
                  </a:cubicBezTo>
                  <a:cubicBezTo>
                    <a:pt x="3635146" y="1512010"/>
                    <a:pt x="3635594" y="1513174"/>
                    <a:pt x="3635714" y="1514398"/>
                  </a:cubicBezTo>
                  <a:cubicBezTo>
                    <a:pt x="3635076" y="1513363"/>
                    <a:pt x="3634638" y="1512209"/>
                    <a:pt x="3634418" y="1511015"/>
                  </a:cubicBezTo>
                  <a:lnTo>
                    <a:pt x="3633721" y="1509921"/>
                  </a:lnTo>
                  <a:cubicBezTo>
                    <a:pt x="3633821" y="1509393"/>
                    <a:pt x="3633821" y="1508856"/>
                    <a:pt x="3633721" y="1508329"/>
                  </a:cubicBezTo>
                  <a:cubicBezTo>
                    <a:pt x="3633571" y="1507036"/>
                    <a:pt x="3633571" y="1505742"/>
                    <a:pt x="3633721" y="1504449"/>
                  </a:cubicBezTo>
                  <a:cubicBezTo>
                    <a:pt x="3633591" y="1502768"/>
                    <a:pt x="3633193" y="1501126"/>
                    <a:pt x="3632525" y="1499574"/>
                  </a:cubicBezTo>
                  <a:cubicBezTo>
                    <a:pt x="3633033" y="1500410"/>
                    <a:pt x="3633601" y="1501206"/>
                    <a:pt x="3634219" y="1501962"/>
                  </a:cubicBezTo>
                  <a:cubicBezTo>
                    <a:pt x="3634010" y="1502778"/>
                    <a:pt x="3633840" y="1503613"/>
                    <a:pt x="3633721" y="1504449"/>
                  </a:cubicBezTo>
                  <a:cubicBezTo>
                    <a:pt x="3634259" y="1505673"/>
                    <a:pt x="3634498" y="1506996"/>
                    <a:pt x="3634418" y="1508329"/>
                  </a:cubicBezTo>
                  <a:close/>
                  <a:moveTo>
                    <a:pt x="3630134" y="1490023"/>
                  </a:moveTo>
                  <a:cubicBezTo>
                    <a:pt x="3629486" y="1485337"/>
                    <a:pt x="3629486" y="1480582"/>
                    <a:pt x="3630134" y="1475896"/>
                  </a:cubicBezTo>
                  <a:cubicBezTo>
                    <a:pt x="3629835" y="1480572"/>
                    <a:pt x="3630134" y="1485447"/>
                    <a:pt x="3630134" y="1489924"/>
                  </a:cubicBezTo>
                  <a:close/>
                  <a:moveTo>
                    <a:pt x="3633023" y="1522854"/>
                  </a:moveTo>
                  <a:lnTo>
                    <a:pt x="3634219" y="1521163"/>
                  </a:lnTo>
                  <a:cubicBezTo>
                    <a:pt x="3633661" y="1523401"/>
                    <a:pt x="3633422" y="1525719"/>
                    <a:pt x="3633522" y="1528027"/>
                  </a:cubicBezTo>
                  <a:lnTo>
                    <a:pt x="3633522" y="1532803"/>
                  </a:lnTo>
                  <a:cubicBezTo>
                    <a:pt x="3633522" y="1533400"/>
                    <a:pt x="3632625" y="1534096"/>
                    <a:pt x="3632126" y="1534594"/>
                  </a:cubicBezTo>
                  <a:cubicBezTo>
                    <a:pt x="3631399" y="1536484"/>
                    <a:pt x="3630154" y="1538135"/>
                    <a:pt x="3628539" y="1539369"/>
                  </a:cubicBezTo>
                  <a:cubicBezTo>
                    <a:pt x="3629625" y="1537698"/>
                    <a:pt x="3630821" y="1536096"/>
                    <a:pt x="3632126" y="1534594"/>
                  </a:cubicBezTo>
                  <a:cubicBezTo>
                    <a:pt x="3632824" y="1532475"/>
                    <a:pt x="3633123" y="1530256"/>
                    <a:pt x="3633023" y="1528027"/>
                  </a:cubicBezTo>
                  <a:close/>
                  <a:moveTo>
                    <a:pt x="3628938" y="1544841"/>
                  </a:moveTo>
                  <a:cubicBezTo>
                    <a:pt x="3628111" y="1543617"/>
                    <a:pt x="3627473" y="1542274"/>
                    <a:pt x="3627045" y="1540861"/>
                  </a:cubicBezTo>
                  <a:lnTo>
                    <a:pt x="3628938" y="1539568"/>
                  </a:lnTo>
                  <a:cubicBezTo>
                    <a:pt x="3627971" y="1541160"/>
                    <a:pt x="3627971" y="1543150"/>
                    <a:pt x="3628938" y="1544741"/>
                  </a:cubicBezTo>
                  <a:close/>
                  <a:moveTo>
                    <a:pt x="3643785" y="1560162"/>
                  </a:moveTo>
                  <a:cubicBezTo>
                    <a:pt x="3641762" y="1556839"/>
                    <a:pt x="3639082" y="1553964"/>
                    <a:pt x="3635913" y="1551705"/>
                  </a:cubicBezTo>
                  <a:cubicBezTo>
                    <a:pt x="3639261" y="1553715"/>
                    <a:pt x="3641981" y="1556610"/>
                    <a:pt x="3643785" y="1560062"/>
                  </a:cubicBezTo>
                  <a:close/>
                  <a:moveTo>
                    <a:pt x="3630034" y="1494003"/>
                  </a:moveTo>
                  <a:cubicBezTo>
                    <a:pt x="3630034" y="1492908"/>
                    <a:pt x="3630034" y="1491516"/>
                    <a:pt x="3630034" y="1490222"/>
                  </a:cubicBezTo>
                  <a:cubicBezTo>
                    <a:pt x="3630353" y="1492431"/>
                    <a:pt x="3630921" y="1494600"/>
                    <a:pt x="3631728" y="1496689"/>
                  </a:cubicBezTo>
                  <a:cubicBezTo>
                    <a:pt x="3631270" y="1495694"/>
                    <a:pt x="3630701" y="1494759"/>
                    <a:pt x="3630034" y="1493903"/>
                  </a:cubicBezTo>
                  <a:close/>
                  <a:moveTo>
                    <a:pt x="3630034" y="1475299"/>
                  </a:moveTo>
                  <a:cubicBezTo>
                    <a:pt x="3630004" y="1472255"/>
                    <a:pt x="3630343" y="1469210"/>
                    <a:pt x="3631031" y="1466246"/>
                  </a:cubicBezTo>
                  <a:cubicBezTo>
                    <a:pt x="3631230" y="1468534"/>
                    <a:pt x="3630333" y="1472016"/>
                    <a:pt x="3630034" y="1475200"/>
                  </a:cubicBezTo>
                  <a:close/>
                  <a:moveTo>
                    <a:pt x="3599144" y="1399291"/>
                  </a:moveTo>
                  <a:cubicBezTo>
                    <a:pt x="3596255" y="1385163"/>
                    <a:pt x="3605522" y="1374916"/>
                    <a:pt x="3603728" y="1364968"/>
                  </a:cubicBezTo>
                  <a:cubicBezTo>
                    <a:pt x="3605621" y="1374916"/>
                    <a:pt x="3596354" y="1385064"/>
                    <a:pt x="3599144" y="1398893"/>
                  </a:cubicBezTo>
                  <a:close/>
                  <a:moveTo>
                    <a:pt x="3571443" y="1292939"/>
                  </a:moveTo>
                  <a:cubicBezTo>
                    <a:pt x="3571483" y="1288332"/>
                    <a:pt x="3570277" y="1283796"/>
                    <a:pt x="3567956" y="1279806"/>
                  </a:cubicBezTo>
                  <a:cubicBezTo>
                    <a:pt x="3566162" y="1276921"/>
                    <a:pt x="3564070" y="1274334"/>
                    <a:pt x="3562475" y="1272146"/>
                  </a:cubicBezTo>
                  <a:cubicBezTo>
                    <a:pt x="3562087" y="1270315"/>
                    <a:pt x="3561847" y="1268445"/>
                    <a:pt x="3561778" y="1266574"/>
                  </a:cubicBezTo>
                  <a:cubicBezTo>
                    <a:pt x="3563382" y="1271181"/>
                    <a:pt x="3565455" y="1275618"/>
                    <a:pt x="3567956" y="1279806"/>
                  </a:cubicBezTo>
                  <a:cubicBezTo>
                    <a:pt x="3570905" y="1283507"/>
                    <a:pt x="3572171" y="1288263"/>
                    <a:pt x="3571443" y="1292939"/>
                  </a:cubicBezTo>
                  <a:close/>
                  <a:moveTo>
                    <a:pt x="3564468" y="1253144"/>
                  </a:moveTo>
                  <a:cubicBezTo>
                    <a:pt x="3562545" y="1257352"/>
                    <a:pt x="3561618" y="1261948"/>
                    <a:pt x="3561778" y="1266574"/>
                  </a:cubicBezTo>
                  <a:cubicBezTo>
                    <a:pt x="3560602" y="1261849"/>
                    <a:pt x="3561509" y="1256855"/>
                    <a:pt x="3564269" y="1252845"/>
                  </a:cubicBezTo>
                  <a:close/>
                  <a:moveTo>
                    <a:pt x="3549422" y="1154353"/>
                  </a:moveTo>
                  <a:lnTo>
                    <a:pt x="3548525" y="1153059"/>
                  </a:lnTo>
                  <a:cubicBezTo>
                    <a:pt x="3549312" y="1152413"/>
                    <a:pt x="3550149" y="1151816"/>
                    <a:pt x="3551016" y="1151269"/>
                  </a:cubicBezTo>
                  <a:cubicBezTo>
                    <a:pt x="3551993" y="1150294"/>
                    <a:pt x="3553099" y="1149458"/>
                    <a:pt x="3554304" y="1148781"/>
                  </a:cubicBezTo>
                  <a:cubicBezTo>
                    <a:pt x="3553248" y="1149667"/>
                    <a:pt x="3552152" y="1150493"/>
                    <a:pt x="3551016" y="1151269"/>
                  </a:cubicBezTo>
                  <a:cubicBezTo>
                    <a:pt x="3550089" y="1152045"/>
                    <a:pt x="3549512" y="1153149"/>
                    <a:pt x="3549422" y="1154353"/>
                  </a:cubicBezTo>
                  <a:cubicBezTo>
                    <a:pt x="3550060" y="1155417"/>
                    <a:pt x="3550458" y="1156601"/>
                    <a:pt x="3550618" y="1157835"/>
                  </a:cubicBezTo>
                  <a:lnTo>
                    <a:pt x="3551514" y="1158929"/>
                  </a:lnTo>
                  <a:lnTo>
                    <a:pt x="3550219" y="1160123"/>
                  </a:lnTo>
                  <a:cubicBezTo>
                    <a:pt x="3550478" y="1159387"/>
                    <a:pt x="3550478" y="1158571"/>
                    <a:pt x="3550219" y="1157835"/>
                  </a:cubicBezTo>
                  <a:cubicBezTo>
                    <a:pt x="3549492" y="1156711"/>
                    <a:pt x="3549143" y="1155387"/>
                    <a:pt x="3549223" y="1154054"/>
                  </a:cubicBezTo>
                  <a:close/>
                  <a:moveTo>
                    <a:pt x="3550119" y="1160222"/>
                  </a:moveTo>
                  <a:cubicBezTo>
                    <a:pt x="3549771" y="1160959"/>
                    <a:pt x="3549262" y="1161605"/>
                    <a:pt x="3548625" y="1162113"/>
                  </a:cubicBezTo>
                  <a:cubicBezTo>
                    <a:pt x="3548894" y="1161357"/>
                    <a:pt x="3549332" y="1160670"/>
                    <a:pt x="3549920" y="1160123"/>
                  </a:cubicBezTo>
                  <a:close/>
                  <a:moveTo>
                    <a:pt x="3553507" y="1235534"/>
                  </a:moveTo>
                  <a:cubicBezTo>
                    <a:pt x="3551843" y="1232918"/>
                    <a:pt x="3550568" y="1230063"/>
                    <a:pt x="3549721" y="1227078"/>
                  </a:cubicBezTo>
                  <a:cubicBezTo>
                    <a:pt x="3551205" y="1229665"/>
                    <a:pt x="3552411" y="1232401"/>
                    <a:pt x="3553308" y="1235236"/>
                  </a:cubicBezTo>
                  <a:close/>
                  <a:moveTo>
                    <a:pt x="3550119" y="1247174"/>
                  </a:moveTo>
                  <a:cubicBezTo>
                    <a:pt x="3550737" y="1247582"/>
                    <a:pt x="3551475" y="1247791"/>
                    <a:pt x="3552212" y="1247771"/>
                  </a:cubicBezTo>
                  <a:cubicBezTo>
                    <a:pt x="3553159" y="1247383"/>
                    <a:pt x="3554175" y="1247184"/>
                    <a:pt x="3555201" y="1247174"/>
                  </a:cubicBezTo>
                  <a:cubicBezTo>
                    <a:pt x="3554265" y="1247592"/>
                    <a:pt x="3553238" y="1247791"/>
                    <a:pt x="3552212" y="1247771"/>
                  </a:cubicBezTo>
                  <a:cubicBezTo>
                    <a:pt x="3551634" y="1247960"/>
                    <a:pt x="3551066" y="1248189"/>
                    <a:pt x="3550518" y="1248468"/>
                  </a:cubicBezTo>
                  <a:cubicBezTo>
                    <a:pt x="3550578" y="1248040"/>
                    <a:pt x="3550578" y="1247602"/>
                    <a:pt x="3550518" y="1247174"/>
                  </a:cubicBezTo>
                  <a:cubicBezTo>
                    <a:pt x="3549492" y="1246717"/>
                    <a:pt x="3548744" y="1245792"/>
                    <a:pt x="3548525" y="1244687"/>
                  </a:cubicBezTo>
                  <a:cubicBezTo>
                    <a:pt x="3549173" y="1245284"/>
                    <a:pt x="3549661" y="1246040"/>
                    <a:pt x="3549920" y="1246876"/>
                  </a:cubicBezTo>
                  <a:close/>
                  <a:moveTo>
                    <a:pt x="3553507" y="1243593"/>
                  </a:moveTo>
                  <a:cubicBezTo>
                    <a:pt x="3554593" y="1244856"/>
                    <a:pt x="3555959" y="1245841"/>
                    <a:pt x="3557493" y="1246478"/>
                  </a:cubicBezTo>
                  <a:lnTo>
                    <a:pt x="3560682" y="1248468"/>
                  </a:lnTo>
                  <a:cubicBezTo>
                    <a:pt x="3558998" y="1247652"/>
                    <a:pt x="3557164" y="1247214"/>
                    <a:pt x="3555301" y="1247174"/>
                  </a:cubicBezTo>
                  <a:cubicBezTo>
                    <a:pt x="3556068" y="1247075"/>
                    <a:pt x="3556816" y="1246846"/>
                    <a:pt x="3557493" y="1246478"/>
                  </a:cubicBezTo>
                  <a:cubicBezTo>
                    <a:pt x="3555839" y="1245812"/>
                    <a:pt x="3554394" y="1244707"/>
                    <a:pt x="3553308" y="1243294"/>
                  </a:cubicBezTo>
                  <a:close/>
                  <a:moveTo>
                    <a:pt x="3554404" y="1148682"/>
                  </a:moveTo>
                  <a:cubicBezTo>
                    <a:pt x="3554892" y="1148234"/>
                    <a:pt x="3555331" y="1147737"/>
                    <a:pt x="3555700" y="1147190"/>
                  </a:cubicBezTo>
                  <a:cubicBezTo>
                    <a:pt x="3555700" y="1147190"/>
                    <a:pt x="3555700" y="1147786"/>
                    <a:pt x="3555700" y="1148085"/>
                  </a:cubicBezTo>
                  <a:cubicBezTo>
                    <a:pt x="3555191" y="1148125"/>
                    <a:pt x="3554693" y="1148224"/>
                    <a:pt x="3554205" y="1148384"/>
                  </a:cubicBezTo>
                  <a:close/>
                  <a:moveTo>
                    <a:pt x="3556497" y="1145200"/>
                  </a:moveTo>
                  <a:lnTo>
                    <a:pt x="3556497" y="1145200"/>
                  </a:lnTo>
                  <a:cubicBezTo>
                    <a:pt x="3556557" y="1144971"/>
                    <a:pt x="3556557" y="1144732"/>
                    <a:pt x="3556497" y="1144503"/>
                  </a:cubicBezTo>
                  <a:close/>
                  <a:moveTo>
                    <a:pt x="3557294" y="1142812"/>
                  </a:moveTo>
                  <a:cubicBezTo>
                    <a:pt x="3557543" y="1141399"/>
                    <a:pt x="3557543" y="1139947"/>
                    <a:pt x="3557294" y="1138534"/>
                  </a:cubicBezTo>
                  <a:cubicBezTo>
                    <a:pt x="3557642" y="1139071"/>
                    <a:pt x="3558041" y="1139569"/>
                    <a:pt x="3558490" y="1140026"/>
                  </a:cubicBezTo>
                  <a:cubicBezTo>
                    <a:pt x="3557991" y="1140225"/>
                    <a:pt x="3557593" y="1141519"/>
                    <a:pt x="3557094" y="1142514"/>
                  </a:cubicBezTo>
                  <a:close/>
                  <a:moveTo>
                    <a:pt x="3554404" y="1128187"/>
                  </a:moveTo>
                  <a:cubicBezTo>
                    <a:pt x="3555301" y="1131570"/>
                    <a:pt x="3556696" y="1135152"/>
                    <a:pt x="3557194" y="1138136"/>
                  </a:cubicBezTo>
                  <a:cubicBezTo>
                    <a:pt x="3555700" y="1134883"/>
                    <a:pt x="3554693" y="1131431"/>
                    <a:pt x="3554205" y="1127889"/>
                  </a:cubicBezTo>
                  <a:close/>
                  <a:moveTo>
                    <a:pt x="3553507" y="1121124"/>
                  </a:moveTo>
                  <a:cubicBezTo>
                    <a:pt x="3553507" y="1122716"/>
                    <a:pt x="3554006" y="1125302"/>
                    <a:pt x="3554404" y="1128187"/>
                  </a:cubicBezTo>
                  <a:cubicBezTo>
                    <a:pt x="3553577" y="1125820"/>
                    <a:pt x="3553209" y="1123323"/>
                    <a:pt x="3553308" y="1120825"/>
                  </a:cubicBezTo>
                  <a:close/>
                  <a:moveTo>
                    <a:pt x="3549422" y="1226382"/>
                  </a:moveTo>
                  <a:cubicBezTo>
                    <a:pt x="3547190" y="1222362"/>
                    <a:pt x="3544480" y="1218622"/>
                    <a:pt x="3541351" y="1215239"/>
                  </a:cubicBezTo>
                  <a:cubicBezTo>
                    <a:pt x="3543314" y="1217139"/>
                    <a:pt x="3545376" y="1218940"/>
                    <a:pt x="3547529" y="1220611"/>
                  </a:cubicBezTo>
                  <a:close/>
                  <a:moveTo>
                    <a:pt x="3547529" y="1243493"/>
                  </a:moveTo>
                  <a:cubicBezTo>
                    <a:pt x="3547638" y="1243911"/>
                    <a:pt x="3547798" y="1244319"/>
                    <a:pt x="3548027" y="1244687"/>
                  </a:cubicBezTo>
                  <a:cubicBezTo>
                    <a:pt x="3546781" y="1244100"/>
                    <a:pt x="3545416" y="1243822"/>
                    <a:pt x="3544041" y="1243891"/>
                  </a:cubicBezTo>
                  <a:close/>
                  <a:moveTo>
                    <a:pt x="3655643" y="1662335"/>
                  </a:moveTo>
                  <a:cubicBezTo>
                    <a:pt x="3666892" y="1661589"/>
                    <a:pt x="3678172" y="1661589"/>
                    <a:pt x="3689422" y="1662335"/>
                  </a:cubicBezTo>
                  <a:lnTo>
                    <a:pt x="3699984" y="1662335"/>
                  </a:lnTo>
                  <a:lnTo>
                    <a:pt x="3702874" y="1665420"/>
                  </a:lnTo>
                  <a:cubicBezTo>
                    <a:pt x="3698559" y="1663748"/>
                    <a:pt x="3694035" y="1662714"/>
                    <a:pt x="3689422" y="1662335"/>
                  </a:cubicBezTo>
                  <a:lnTo>
                    <a:pt x="3655643" y="1662335"/>
                  </a:lnTo>
                  <a:cubicBezTo>
                    <a:pt x="3650511" y="1662853"/>
                    <a:pt x="3645329" y="1662853"/>
                    <a:pt x="3640198" y="1662335"/>
                  </a:cubicBezTo>
                  <a:close/>
                  <a:moveTo>
                    <a:pt x="3643187" y="1568021"/>
                  </a:moveTo>
                  <a:cubicBezTo>
                    <a:pt x="3643077" y="1570240"/>
                    <a:pt x="3643486" y="1572449"/>
                    <a:pt x="3644383" y="1574488"/>
                  </a:cubicBezTo>
                  <a:cubicBezTo>
                    <a:pt x="3643177" y="1572558"/>
                    <a:pt x="3642749" y="1570250"/>
                    <a:pt x="3643187" y="1568021"/>
                  </a:cubicBezTo>
                  <a:close/>
                  <a:moveTo>
                    <a:pt x="3674774" y="1621745"/>
                  </a:moveTo>
                  <a:lnTo>
                    <a:pt x="3678860" y="1622839"/>
                  </a:lnTo>
                  <a:close/>
                  <a:moveTo>
                    <a:pt x="3689820" y="1655769"/>
                  </a:moveTo>
                  <a:lnTo>
                    <a:pt x="3693607" y="1658257"/>
                  </a:lnTo>
                  <a:cubicBezTo>
                    <a:pt x="3692212" y="1657560"/>
                    <a:pt x="3691016" y="1656665"/>
                    <a:pt x="3689820" y="1655869"/>
                  </a:cubicBezTo>
                  <a:close/>
                  <a:moveTo>
                    <a:pt x="3750603" y="1686312"/>
                  </a:moveTo>
                  <a:cubicBezTo>
                    <a:pt x="3754679" y="1691097"/>
                    <a:pt x="3756492" y="1697405"/>
                    <a:pt x="3755586" y="1703623"/>
                  </a:cubicBezTo>
                  <a:cubicBezTo>
                    <a:pt x="3756492" y="1697465"/>
                    <a:pt x="3754748" y="1691217"/>
                    <a:pt x="3750803" y="1686411"/>
                  </a:cubicBezTo>
                  <a:close/>
                  <a:moveTo>
                    <a:pt x="3733564" y="1681238"/>
                  </a:moveTo>
                  <a:cubicBezTo>
                    <a:pt x="3736852" y="1679149"/>
                    <a:pt x="3740769" y="1678303"/>
                    <a:pt x="3744625" y="1678850"/>
                  </a:cubicBezTo>
                  <a:cubicBezTo>
                    <a:pt x="3740828" y="1679099"/>
                    <a:pt x="3737102" y="1679935"/>
                    <a:pt x="3733564" y="1681338"/>
                  </a:cubicBezTo>
                  <a:close/>
                  <a:moveTo>
                    <a:pt x="3728682" y="1684919"/>
                  </a:moveTo>
                  <a:cubicBezTo>
                    <a:pt x="3728084" y="1684919"/>
                    <a:pt x="3727386" y="1684223"/>
                    <a:pt x="3726689" y="1683725"/>
                  </a:cubicBezTo>
                  <a:cubicBezTo>
                    <a:pt x="3728881" y="1684223"/>
                    <a:pt x="3729877" y="1682830"/>
                    <a:pt x="3733066" y="1681437"/>
                  </a:cubicBezTo>
                  <a:cubicBezTo>
                    <a:pt x="3731462" y="1682442"/>
                    <a:pt x="3729987" y="1683646"/>
                    <a:pt x="3728682" y="1685019"/>
                  </a:cubicBezTo>
                  <a:close/>
                  <a:moveTo>
                    <a:pt x="3709749" y="1671886"/>
                  </a:moveTo>
                  <a:cubicBezTo>
                    <a:pt x="3709749" y="1671886"/>
                    <a:pt x="3709749" y="1671886"/>
                    <a:pt x="3709749" y="1671886"/>
                  </a:cubicBezTo>
                  <a:cubicBezTo>
                    <a:pt x="3707358" y="1669897"/>
                    <a:pt x="3705066" y="1667708"/>
                    <a:pt x="3702974" y="1665619"/>
                  </a:cubicBezTo>
                  <a:cubicBezTo>
                    <a:pt x="3705993" y="1666693"/>
                    <a:pt x="3708444" y="1668961"/>
                    <a:pt x="3709749" y="1671886"/>
                  </a:cubicBezTo>
                  <a:cubicBezTo>
                    <a:pt x="3715140" y="1676383"/>
                    <a:pt x="3720830" y="1680512"/>
                    <a:pt x="3726788" y="1684223"/>
                  </a:cubicBezTo>
                  <a:cubicBezTo>
                    <a:pt x="3720630" y="1680850"/>
                    <a:pt x="3714911" y="1676741"/>
                    <a:pt x="3709749" y="1671986"/>
                  </a:cubicBezTo>
                  <a:close/>
                  <a:moveTo>
                    <a:pt x="3752596" y="1761425"/>
                  </a:moveTo>
                  <a:cubicBezTo>
                    <a:pt x="3750793" y="1766071"/>
                    <a:pt x="3751002" y="1771264"/>
                    <a:pt x="3753194" y="1775751"/>
                  </a:cubicBezTo>
                  <a:cubicBezTo>
                    <a:pt x="3750842" y="1771344"/>
                    <a:pt x="3750613" y="1766111"/>
                    <a:pt x="3752596" y="1761525"/>
                  </a:cubicBezTo>
                  <a:close/>
                  <a:moveTo>
                    <a:pt x="3762561" y="1788884"/>
                  </a:moveTo>
                  <a:cubicBezTo>
                    <a:pt x="3758744" y="1785232"/>
                    <a:pt x="3755576" y="1780955"/>
                    <a:pt x="3753194" y="1776249"/>
                  </a:cubicBezTo>
                  <a:cubicBezTo>
                    <a:pt x="3755944" y="1780805"/>
                    <a:pt x="3759153" y="1785063"/>
                    <a:pt x="3762760" y="1788983"/>
                  </a:cubicBezTo>
                  <a:close/>
                  <a:moveTo>
                    <a:pt x="3790262" y="1800225"/>
                  </a:moveTo>
                  <a:cubicBezTo>
                    <a:pt x="3787900" y="1800175"/>
                    <a:pt x="3785608" y="1799419"/>
                    <a:pt x="3783685" y="1798036"/>
                  </a:cubicBezTo>
                  <a:cubicBezTo>
                    <a:pt x="3785917" y="1799051"/>
                    <a:pt x="3788259" y="1799817"/>
                    <a:pt x="3790660" y="1800325"/>
                  </a:cubicBezTo>
                  <a:close/>
                  <a:moveTo>
                    <a:pt x="3783287" y="1797738"/>
                  </a:moveTo>
                  <a:cubicBezTo>
                    <a:pt x="3781383" y="1796892"/>
                    <a:pt x="3779371" y="1796285"/>
                    <a:pt x="3777308" y="1795947"/>
                  </a:cubicBezTo>
                  <a:cubicBezTo>
                    <a:pt x="3775943" y="1796454"/>
                    <a:pt x="3774468" y="1796624"/>
                    <a:pt x="3773023" y="1796444"/>
                  </a:cubicBezTo>
                  <a:lnTo>
                    <a:pt x="3771329" y="1797241"/>
                  </a:lnTo>
                  <a:lnTo>
                    <a:pt x="3769635" y="1795649"/>
                  </a:lnTo>
                  <a:cubicBezTo>
                    <a:pt x="3767902" y="1794972"/>
                    <a:pt x="3766407" y="1793798"/>
                    <a:pt x="3765351" y="1792266"/>
                  </a:cubicBezTo>
                  <a:lnTo>
                    <a:pt x="3763059" y="1789481"/>
                  </a:lnTo>
                  <a:cubicBezTo>
                    <a:pt x="3765251" y="1791669"/>
                    <a:pt x="3767543" y="1793758"/>
                    <a:pt x="3769635" y="1795649"/>
                  </a:cubicBezTo>
                  <a:cubicBezTo>
                    <a:pt x="3770671" y="1796206"/>
                    <a:pt x="3771847" y="1796475"/>
                    <a:pt x="3773023" y="1796444"/>
                  </a:cubicBezTo>
                  <a:cubicBezTo>
                    <a:pt x="3774378" y="1795897"/>
                    <a:pt x="3775863" y="1795718"/>
                    <a:pt x="3777308" y="1795947"/>
                  </a:cubicBezTo>
                  <a:cubicBezTo>
                    <a:pt x="3778015" y="1795868"/>
                    <a:pt x="3778693" y="1795629"/>
                    <a:pt x="3779301" y="1795251"/>
                  </a:cubicBezTo>
                  <a:cubicBezTo>
                    <a:pt x="3780746" y="1796027"/>
                    <a:pt x="3782151" y="1796882"/>
                    <a:pt x="3783486" y="1797837"/>
                  </a:cubicBezTo>
                  <a:close/>
                  <a:moveTo>
                    <a:pt x="3643187" y="1568021"/>
                  </a:moveTo>
                  <a:cubicBezTo>
                    <a:pt x="3643187" y="1568021"/>
                    <a:pt x="3643187" y="1567126"/>
                    <a:pt x="3643187" y="1566629"/>
                  </a:cubicBezTo>
                  <a:cubicBezTo>
                    <a:pt x="3644602" y="1565096"/>
                    <a:pt x="3645030" y="1562898"/>
                    <a:pt x="3644283" y="1560958"/>
                  </a:cubicBezTo>
                  <a:cubicBezTo>
                    <a:pt x="3644701" y="1561813"/>
                    <a:pt x="3645000" y="1562709"/>
                    <a:pt x="3645180" y="1563644"/>
                  </a:cubicBezTo>
                  <a:cubicBezTo>
                    <a:pt x="3644522" y="1564539"/>
                    <a:pt x="3644044" y="1565554"/>
                    <a:pt x="3643785" y="1566629"/>
                  </a:cubicBezTo>
                  <a:cubicBezTo>
                    <a:pt x="3643536" y="1567066"/>
                    <a:pt x="3643336" y="1567534"/>
                    <a:pt x="3643187" y="1568021"/>
                  </a:cubicBezTo>
                  <a:close/>
                  <a:moveTo>
                    <a:pt x="4152867" y="1563545"/>
                  </a:moveTo>
                  <a:cubicBezTo>
                    <a:pt x="4152029" y="1563186"/>
                    <a:pt x="4151162" y="1562888"/>
                    <a:pt x="4150276" y="1562649"/>
                  </a:cubicBezTo>
                  <a:lnTo>
                    <a:pt x="4130845" y="1562649"/>
                  </a:lnTo>
                  <a:cubicBezTo>
                    <a:pt x="4137282" y="1561654"/>
                    <a:pt x="4143839" y="1561654"/>
                    <a:pt x="4150276" y="1562649"/>
                  </a:cubicBezTo>
                  <a:lnTo>
                    <a:pt x="4152169" y="1562649"/>
                  </a:lnTo>
                  <a:lnTo>
                    <a:pt x="4152867" y="1563545"/>
                  </a:lnTo>
                  <a:cubicBezTo>
                    <a:pt x="4154520" y="1564340"/>
                    <a:pt x="4155736" y="1565833"/>
                    <a:pt x="4156155" y="1567624"/>
                  </a:cubicBezTo>
                  <a:cubicBezTo>
                    <a:pt x="4156095" y="1568051"/>
                    <a:pt x="4156095" y="1568489"/>
                    <a:pt x="4156155" y="1568917"/>
                  </a:cubicBezTo>
                  <a:cubicBezTo>
                    <a:pt x="4155158" y="1567026"/>
                    <a:pt x="4154162" y="1565136"/>
                    <a:pt x="4152867" y="1563445"/>
                  </a:cubicBezTo>
                  <a:close/>
                  <a:moveTo>
                    <a:pt x="4159343" y="1572200"/>
                  </a:moveTo>
                  <a:cubicBezTo>
                    <a:pt x="4157899" y="1571613"/>
                    <a:pt x="4156802" y="1570399"/>
                    <a:pt x="4156354" y="1568917"/>
                  </a:cubicBezTo>
                  <a:cubicBezTo>
                    <a:pt x="4157151" y="1570150"/>
                    <a:pt x="4158158" y="1571235"/>
                    <a:pt x="4159343" y="1572100"/>
                  </a:cubicBezTo>
                  <a:close/>
                  <a:moveTo>
                    <a:pt x="4161834" y="1573294"/>
                  </a:moveTo>
                  <a:cubicBezTo>
                    <a:pt x="4162592" y="1573404"/>
                    <a:pt x="4163369" y="1573404"/>
                    <a:pt x="4164126" y="1573294"/>
                  </a:cubicBezTo>
                  <a:cubicBezTo>
                    <a:pt x="4164126" y="1573294"/>
                    <a:pt x="4164126" y="1574190"/>
                    <a:pt x="4164126" y="1574488"/>
                  </a:cubicBezTo>
                  <a:cubicBezTo>
                    <a:pt x="4163479" y="1573871"/>
                    <a:pt x="4162691" y="1573434"/>
                    <a:pt x="4161834" y="1573195"/>
                  </a:cubicBezTo>
                  <a:close/>
                  <a:moveTo>
                    <a:pt x="4229891" y="1526834"/>
                  </a:moveTo>
                  <a:cubicBezTo>
                    <a:pt x="4230599" y="1525899"/>
                    <a:pt x="4231366" y="1524993"/>
                    <a:pt x="4232183" y="1524147"/>
                  </a:cubicBezTo>
                  <a:cubicBezTo>
                    <a:pt x="4234764" y="1520516"/>
                    <a:pt x="4237733" y="1517173"/>
                    <a:pt x="4241052" y="1514199"/>
                  </a:cubicBezTo>
                  <a:cubicBezTo>
                    <a:pt x="4238162" y="1517382"/>
                    <a:pt x="4234973" y="1520466"/>
                    <a:pt x="4232183" y="1524147"/>
                  </a:cubicBezTo>
                  <a:cubicBezTo>
                    <a:pt x="4231237" y="1525620"/>
                    <a:pt x="4230629" y="1527291"/>
                    <a:pt x="4230390" y="1529022"/>
                  </a:cubicBezTo>
                  <a:cubicBezTo>
                    <a:pt x="4230300" y="1528246"/>
                    <a:pt x="4230131" y="1527480"/>
                    <a:pt x="4229891" y="1526734"/>
                  </a:cubicBezTo>
                  <a:close/>
                  <a:moveTo>
                    <a:pt x="4282503" y="1829474"/>
                  </a:moveTo>
                  <a:cubicBezTo>
                    <a:pt x="4280610" y="1824600"/>
                    <a:pt x="4279116" y="1819526"/>
                    <a:pt x="4277721" y="1816342"/>
                  </a:cubicBezTo>
                  <a:cubicBezTo>
                    <a:pt x="4280212" y="1813198"/>
                    <a:pt x="4281198" y="1809129"/>
                    <a:pt x="4280411" y="1805199"/>
                  </a:cubicBezTo>
                  <a:cubicBezTo>
                    <a:pt x="4281477" y="1809129"/>
                    <a:pt x="4280461" y="1813328"/>
                    <a:pt x="4277721" y="1816342"/>
                  </a:cubicBezTo>
                  <a:cubicBezTo>
                    <a:pt x="4279753" y="1820511"/>
                    <a:pt x="4281358" y="1824878"/>
                    <a:pt x="4282503" y="1829375"/>
                  </a:cubicBezTo>
                  <a:close/>
                  <a:moveTo>
                    <a:pt x="4314888" y="1284084"/>
                  </a:moveTo>
                  <a:cubicBezTo>
                    <a:pt x="4314439" y="1282254"/>
                    <a:pt x="4314439" y="1280344"/>
                    <a:pt x="4314888" y="1278513"/>
                  </a:cubicBezTo>
                  <a:cubicBezTo>
                    <a:pt x="4314649" y="1280334"/>
                    <a:pt x="4314649" y="1282164"/>
                    <a:pt x="4314888" y="1283985"/>
                  </a:cubicBezTo>
                  <a:close/>
                  <a:moveTo>
                    <a:pt x="4325550" y="1390934"/>
                  </a:moveTo>
                  <a:cubicBezTo>
                    <a:pt x="4325590" y="1388178"/>
                    <a:pt x="4326237" y="1385452"/>
                    <a:pt x="4327443" y="1382975"/>
                  </a:cubicBezTo>
                  <a:cubicBezTo>
                    <a:pt x="4327443" y="1381781"/>
                    <a:pt x="4328041" y="1380488"/>
                    <a:pt x="4328240" y="1379294"/>
                  </a:cubicBezTo>
                  <a:cubicBezTo>
                    <a:pt x="4328151" y="1380090"/>
                    <a:pt x="4328151" y="1380886"/>
                    <a:pt x="4328240" y="1381682"/>
                  </a:cubicBezTo>
                  <a:cubicBezTo>
                    <a:pt x="4327772" y="1382020"/>
                    <a:pt x="4327403" y="1382458"/>
                    <a:pt x="4327144" y="1382975"/>
                  </a:cubicBezTo>
                  <a:cubicBezTo>
                    <a:pt x="4326357" y="1385591"/>
                    <a:pt x="4325729" y="1388248"/>
                    <a:pt x="4325251" y="1390934"/>
                  </a:cubicBezTo>
                  <a:cubicBezTo>
                    <a:pt x="4325101" y="1393122"/>
                    <a:pt x="4325101" y="1395311"/>
                    <a:pt x="4325251" y="1397500"/>
                  </a:cubicBezTo>
                  <a:cubicBezTo>
                    <a:pt x="4321963" y="1399689"/>
                    <a:pt x="4318774" y="1401977"/>
                    <a:pt x="4315286" y="1404265"/>
                  </a:cubicBezTo>
                  <a:cubicBezTo>
                    <a:pt x="4318366" y="1401678"/>
                    <a:pt x="4321704" y="1399410"/>
                    <a:pt x="4325251" y="1397500"/>
                  </a:cubicBezTo>
                  <a:cubicBezTo>
                    <a:pt x="4324882" y="1395281"/>
                    <a:pt x="4324992" y="1393013"/>
                    <a:pt x="4325550" y="1390834"/>
                  </a:cubicBezTo>
                  <a:close/>
                  <a:moveTo>
                    <a:pt x="4328539" y="1373623"/>
                  </a:moveTo>
                  <a:lnTo>
                    <a:pt x="4331429" y="1371036"/>
                  </a:lnTo>
                  <a:cubicBezTo>
                    <a:pt x="4332883" y="1369355"/>
                    <a:pt x="4334598" y="1367912"/>
                    <a:pt x="4336511" y="1366758"/>
                  </a:cubicBezTo>
                  <a:cubicBezTo>
                    <a:pt x="4336511" y="1366758"/>
                    <a:pt x="4337407" y="1366758"/>
                    <a:pt x="4338304" y="1366161"/>
                  </a:cubicBezTo>
                  <a:cubicBezTo>
                    <a:pt x="4335903" y="1367624"/>
                    <a:pt x="4333601" y="1369255"/>
                    <a:pt x="4331429" y="1371036"/>
                  </a:cubicBezTo>
                  <a:cubicBezTo>
                    <a:pt x="4330024" y="1372578"/>
                    <a:pt x="4329057" y="1374469"/>
                    <a:pt x="4328639" y="1376508"/>
                  </a:cubicBezTo>
                  <a:cubicBezTo>
                    <a:pt x="4328728" y="1375513"/>
                    <a:pt x="4328758" y="1374518"/>
                    <a:pt x="4328738" y="1373523"/>
                  </a:cubicBezTo>
                  <a:close/>
                  <a:moveTo>
                    <a:pt x="4345777" y="1353129"/>
                  </a:moveTo>
                  <a:cubicBezTo>
                    <a:pt x="4346226" y="1349945"/>
                    <a:pt x="4346854" y="1346791"/>
                    <a:pt x="4347671" y="1343677"/>
                  </a:cubicBezTo>
                  <a:cubicBezTo>
                    <a:pt x="4347422" y="1345697"/>
                    <a:pt x="4347422" y="1347726"/>
                    <a:pt x="4347671" y="1349746"/>
                  </a:cubicBezTo>
                  <a:cubicBezTo>
                    <a:pt x="4346834" y="1350721"/>
                    <a:pt x="4346256" y="1351875"/>
                    <a:pt x="4345977" y="1353129"/>
                  </a:cubicBezTo>
                  <a:cubicBezTo>
                    <a:pt x="4345578" y="1356004"/>
                    <a:pt x="4345578" y="1358909"/>
                    <a:pt x="4345977" y="1361784"/>
                  </a:cubicBezTo>
                  <a:cubicBezTo>
                    <a:pt x="4344901" y="1358978"/>
                    <a:pt x="4344831" y="1355884"/>
                    <a:pt x="4345777" y="1353029"/>
                  </a:cubicBezTo>
                  <a:close/>
                  <a:moveTo>
                    <a:pt x="4359429" y="2245133"/>
                  </a:moveTo>
                  <a:cubicBezTo>
                    <a:pt x="4359997" y="2247013"/>
                    <a:pt x="4359997" y="2249023"/>
                    <a:pt x="4359429" y="2250903"/>
                  </a:cubicBezTo>
                  <a:cubicBezTo>
                    <a:pt x="4359777" y="2248993"/>
                    <a:pt x="4359777" y="2247043"/>
                    <a:pt x="4359429" y="2245133"/>
                  </a:cubicBezTo>
                  <a:cubicBezTo>
                    <a:pt x="4360086" y="2243143"/>
                    <a:pt x="4359499" y="2240955"/>
                    <a:pt x="4357934" y="2239562"/>
                  </a:cubicBezTo>
                  <a:cubicBezTo>
                    <a:pt x="4359678" y="2240795"/>
                    <a:pt x="4360296" y="2243084"/>
                    <a:pt x="4359429" y="2245033"/>
                  </a:cubicBezTo>
                  <a:close/>
                  <a:moveTo>
                    <a:pt x="4358632" y="2252793"/>
                  </a:moveTo>
                  <a:cubicBezTo>
                    <a:pt x="4357635" y="2255390"/>
                    <a:pt x="4355812" y="2257589"/>
                    <a:pt x="4353450" y="2259061"/>
                  </a:cubicBezTo>
                  <a:cubicBezTo>
                    <a:pt x="4352613" y="2261200"/>
                    <a:pt x="4351328" y="2263140"/>
                    <a:pt x="4349664" y="2264732"/>
                  </a:cubicBezTo>
                  <a:cubicBezTo>
                    <a:pt x="4351188" y="2263031"/>
                    <a:pt x="4352464" y="2261120"/>
                    <a:pt x="4353450" y="2259061"/>
                  </a:cubicBezTo>
                  <a:cubicBezTo>
                    <a:pt x="4355702" y="2257420"/>
                    <a:pt x="4357486" y="2255231"/>
                    <a:pt x="4358632" y="2252694"/>
                  </a:cubicBezTo>
                  <a:close/>
                  <a:moveTo>
                    <a:pt x="4349464" y="2226330"/>
                  </a:moveTo>
                  <a:cubicBezTo>
                    <a:pt x="4350919" y="2228906"/>
                    <a:pt x="4351607" y="2231831"/>
                    <a:pt x="4351457" y="2234786"/>
                  </a:cubicBezTo>
                  <a:cubicBezTo>
                    <a:pt x="4351368" y="2231831"/>
                    <a:pt x="4350690" y="2228926"/>
                    <a:pt x="4349464" y="2226230"/>
                  </a:cubicBezTo>
                  <a:close/>
                  <a:moveTo>
                    <a:pt x="4330532" y="1837234"/>
                  </a:moveTo>
                  <a:cubicBezTo>
                    <a:pt x="4324723" y="1833524"/>
                    <a:pt x="4317997" y="1831524"/>
                    <a:pt x="4311101" y="1831464"/>
                  </a:cubicBezTo>
                  <a:cubicBezTo>
                    <a:pt x="4308481" y="1832748"/>
                    <a:pt x="4306348" y="1834847"/>
                    <a:pt x="4305023" y="1837433"/>
                  </a:cubicBezTo>
                  <a:cubicBezTo>
                    <a:pt x="4305023" y="1838030"/>
                    <a:pt x="4305023" y="1838627"/>
                    <a:pt x="4305023" y="1839324"/>
                  </a:cubicBezTo>
                  <a:cubicBezTo>
                    <a:pt x="4303917" y="1840786"/>
                    <a:pt x="4302642" y="1842119"/>
                    <a:pt x="4301237" y="1843303"/>
                  </a:cubicBezTo>
                  <a:cubicBezTo>
                    <a:pt x="4302761" y="1841443"/>
                    <a:pt x="4304156" y="1839483"/>
                    <a:pt x="4305422" y="1837433"/>
                  </a:cubicBezTo>
                  <a:cubicBezTo>
                    <a:pt x="4306119" y="1834439"/>
                    <a:pt x="4308491" y="1832111"/>
                    <a:pt x="4311500" y="1831464"/>
                  </a:cubicBezTo>
                  <a:cubicBezTo>
                    <a:pt x="4313602" y="1830797"/>
                    <a:pt x="4315874" y="1830797"/>
                    <a:pt x="4317977" y="1831464"/>
                  </a:cubicBezTo>
                  <a:cubicBezTo>
                    <a:pt x="4323955" y="1833951"/>
                    <a:pt x="4329137" y="1836041"/>
                    <a:pt x="4333422" y="1838030"/>
                  </a:cubicBezTo>
                  <a:close/>
                  <a:moveTo>
                    <a:pt x="4334219" y="1905383"/>
                  </a:moveTo>
                  <a:cubicBezTo>
                    <a:pt x="4333810" y="1908487"/>
                    <a:pt x="4332754" y="1911462"/>
                    <a:pt x="4331130" y="1914138"/>
                  </a:cubicBezTo>
                  <a:cubicBezTo>
                    <a:pt x="4332345" y="1911253"/>
                    <a:pt x="4333372" y="1908298"/>
                    <a:pt x="4334219" y="1905284"/>
                  </a:cubicBezTo>
                  <a:close/>
                  <a:moveTo>
                    <a:pt x="4320567" y="1933837"/>
                  </a:moveTo>
                  <a:cubicBezTo>
                    <a:pt x="4320737" y="1933120"/>
                    <a:pt x="4320976" y="1932424"/>
                    <a:pt x="4321265" y="1931747"/>
                  </a:cubicBezTo>
                  <a:cubicBezTo>
                    <a:pt x="4321813" y="1929678"/>
                    <a:pt x="4322580" y="1927678"/>
                    <a:pt x="4323557" y="1925778"/>
                  </a:cubicBezTo>
                  <a:cubicBezTo>
                    <a:pt x="4324354" y="1925042"/>
                    <a:pt x="4325062" y="1924206"/>
                    <a:pt x="4325649" y="1923291"/>
                  </a:cubicBezTo>
                  <a:cubicBezTo>
                    <a:pt x="4323836" y="1925917"/>
                    <a:pt x="4322361" y="1928753"/>
                    <a:pt x="4321265" y="1931747"/>
                  </a:cubicBezTo>
                  <a:cubicBezTo>
                    <a:pt x="4320797" y="1933667"/>
                    <a:pt x="4320567" y="1935637"/>
                    <a:pt x="4320567" y="1937617"/>
                  </a:cubicBezTo>
                  <a:cubicBezTo>
                    <a:pt x="4320458" y="1936324"/>
                    <a:pt x="4320458" y="1935031"/>
                    <a:pt x="4320567" y="1933737"/>
                  </a:cubicBezTo>
                  <a:close/>
                  <a:moveTo>
                    <a:pt x="4326347" y="1955027"/>
                  </a:moveTo>
                  <a:cubicBezTo>
                    <a:pt x="4323786" y="1951356"/>
                    <a:pt x="4322022" y="1947188"/>
                    <a:pt x="4321165" y="1942791"/>
                  </a:cubicBezTo>
                  <a:cubicBezTo>
                    <a:pt x="4322192" y="1947098"/>
                    <a:pt x="4323946" y="1951207"/>
                    <a:pt x="4326347" y="1954928"/>
                  </a:cubicBezTo>
                  <a:close/>
                  <a:moveTo>
                    <a:pt x="4334318" y="1905284"/>
                  </a:moveTo>
                  <a:cubicBezTo>
                    <a:pt x="4334358" y="1904518"/>
                    <a:pt x="4334358" y="1903762"/>
                    <a:pt x="4334318" y="1902996"/>
                  </a:cubicBezTo>
                  <a:cubicBezTo>
                    <a:pt x="4334528" y="1902339"/>
                    <a:pt x="4334866" y="1901732"/>
                    <a:pt x="4335315" y="1901205"/>
                  </a:cubicBezTo>
                  <a:close/>
                  <a:moveTo>
                    <a:pt x="4341493" y="1891952"/>
                  </a:moveTo>
                  <a:cubicBezTo>
                    <a:pt x="4343406" y="1888968"/>
                    <a:pt x="4344542" y="1885545"/>
                    <a:pt x="4344781" y="1882004"/>
                  </a:cubicBezTo>
                  <a:cubicBezTo>
                    <a:pt x="4344791" y="1885526"/>
                    <a:pt x="4343635" y="1888958"/>
                    <a:pt x="4341493" y="1891754"/>
                  </a:cubicBezTo>
                  <a:close/>
                  <a:moveTo>
                    <a:pt x="4343187" y="1875537"/>
                  </a:moveTo>
                  <a:lnTo>
                    <a:pt x="4343187" y="1876134"/>
                  </a:lnTo>
                  <a:cubicBezTo>
                    <a:pt x="4343934" y="1877686"/>
                    <a:pt x="4344343" y="1879387"/>
                    <a:pt x="4344383" y="1881108"/>
                  </a:cubicBezTo>
                  <a:cubicBezTo>
                    <a:pt x="4344422" y="1880780"/>
                    <a:pt x="4344422" y="1880442"/>
                    <a:pt x="4344383" y="1880113"/>
                  </a:cubicBezTo>
                  <a:cubicBezTo>
                    <a:pt x="4343794" y="1878641"/>
                    <a:pt x="4343356" y="1877099"/>
                    <a:pt x="4343087" y="1875537"/>
                  </a:cubicBezTo>
                  <a:cubicBezTo>
                    <a:pt x="4341154" y="1872334"/>
                    <a:pt x="4341652" y="1868245"/>
                    <a:pt x="4344283" y="1865588"/>
                  </a:cubicBezTo>
                  <a:cubicBezTo>
                    <a:pt x="4346505" y="1862096"/>
                    <a:pt x="4349225" y="1858953"/>
                    <a:pt x="4352354" y="1856237"/>
                  </a:cubicBezTo>
                  <a:cubicBezTo>
                    <a:pt x="4349863" y="1859519"/>
                    <a:pt x="4347163" y="1862644"/>
                    <a:pt x="4344283" y="1865588"/>
                  </a:cubicBezTo>
                  <a:cubicBezTo>
                    <a:pt x="4342818" y="1868623"/>
                    <a:pt x="4342429" y="1872055"/>
                    <a:pt x="4343187" y="1875338"/>
                  </a:cubicBezTo>
                  <a:close/>
                  <a:moveTo>
                    <a:pt x="4333222" y="1838130"/>
                  </a:moveTo>
                  <a:cubicBezTo>
                    <a:pt x="4337936" y="1839751"/>
                    <a:pt x="4342419" y="1841950"/>
                    <a:pt x="4346575" y="1844696"/>
                  </a:cubicBezTo>
                  <a:cubicBezTo>
                    <a:pt x="4343486" y="1842706"/>
                    <a:pt x="4339201" y="1840518"/>
                    <a:pt x="4333322" y="1837931"/>
                  </a:cubicBezTo>
                  <a:close/>
                  <a:moveTo>
                    <a:pt x="4305023" y="1410334"/>
                  </a:moveTo>
                  <a:cubicBezTo>
                    <a:pt x="4302682" y="1411130"/>
                    <a:pt x="4300220" y="1411557"/>
                    <a:pt x="4297749" y="1411627"/>
                  </a:cubicBezTo>
                  <a:cubicBezTo>
                    <a:pt x="4296185" y="1412125"/>
                    <a:pt x="4294680" y="1412791"/>
                    <a:pt x="4293265" y="1413617"/>
                  </a:cubicBezTo>
                  <a:lnTo>
                    <a:pt x="4295557" y="1411627"/>
                  </a:lnTo>
                  <a:lnTo>
                    <a:pt x="4297749" y="1411627"/>
                  </a:lnTo>
                  <a:cubicBezTo>
                    <a:pt x="4299553" y="1410782"/>
                    <a:pt x="4301535" y="1410403"/>
                    <a:pt x="4303528" y="1410533"/>
                  </a:cubicBezTo>
                  <a:lnTo>
                    <a:pt x="4305023" y="1410533"/>
                  </a:lnTo>
                  <a:cubicBezTo>
                    <a:pt x="4308720" y="1409021"/>
                    <a:pt x="4312237" y="1407091"/>
                    <a:pt x="4315486" y="1404763"/>
                  </a:cubicBezTo>
                  <a:cubicBezTo>
                    <a:pt x="4312566" y="1407439"/>
                    <a:pt x="4308989" y="1409289"/>
                    <a:pt x="4305123" y="1410135"/>
                  </a:cubicBezTo>
                  <a:close/>
                  <a:moveTo>
                    <a:pt x="4294361" y="1845691"/>
                  </a:moveTo>
                  <a:cubicBezTo>
                    <a:pt x="4296673" y="1845920"/>
                    <a:pt x="4298975" y="1845124"/>
                    <a:pt x="4300639" y="1843502"/>
                  </a:cubicBezTo>
                  <a:cubicBezTo>
                    <a:pt x="4299752" y="1844587"/>
                    <a:pt x="4298716" y="1845522"/>
                    <a:pt x="4297550" y="1846288"/>
                  </a:cubicBezTo>
                  <a:cubicBezTo>
                    <a:pt x="4296464" y="1846248"/>
                    <a:pt x="4295388" y="1846049"/>
                    <a:pt x="4294361" y="1845691"/>
                  </a:cubicBezTo>
                  <a:cubicBezTo>
                    <a:pt x="4293245" y="1845601"/>
                    <a:pt x="4292199" y="1845144"/>
                    <a:pt x="4291372" y="1844397"/>
                  </a:cubicBezTo>
                  <a:cubicBezTo>
                    <a:pt x="4286808" y="1840886"/>
                    <a:pt x="4283689" y="1835822"/>
                    <a:pt x="4282603" y="1830171"/>
                  </a:cubicBezTo>
                  <a:cubicBezTo>
                    <a:pt x="4284237" y="1835593"/>
                    <a:pt x="4287267" y="1840498"/>
                    <a:pt x="4291372" y="1844397"/>
                  </a:cubicBezTo>
                  <a:cubicBezTo>
                    <a:pt x="4292318" y="1844965"/>
                    <a:pt x="4293365" y="1845343"/>
                    <a:pt x="4294461" y="1845492"/>
                  </a:cubicBezTo>
                  <a:close/>
                  <a:moveTo>
                    <a:pt x="4278916" y="1800325"/>
                  </a:moveTo>
                  <a:cubicBezTo>
                    <a:pt x="4279116" y="1798971"/>
                    <a:pt x="4279116" y="1797598"/>
                    <a:pt x="4278916" y="1796246"/>
                  </a:cubicBezTo>
                  <a:cubicBezTo>
                    <a:pt x="4278119" y="1793560"/>
                    <a:pt x="4277322" y="1790873"/>
                    <a:pt x="4276824" y="1788386"/>
                  </a:cubicBezTo>
                  <a:cubicBezTo>
                    <a:pt x="4275299" y="1784725"/>
                    <a:pt x="4273137" y="1781352"/>
                    <a:pt x="4270447" y="1778437"/>
                  </a:cubicBezTo>
                  <a:cubicBezTo>
                    <a:pt x="4265365" y="1773761"/>
                    <a:pt x="4259585" y="1768489"/>
                    <a:pt x="4253706" y="1763912"/>
                  </a:cubicBezTo>
                  <a:cubicBezTo>
                    <a:pt x="4256696" y="1766061"/>
                    <a:pt x="4259556" y="1768389"/>
                    <a:pt x="4262276" y="1770876"/>
                  </a:cubicBezTo>
                  <a:cubicBezTo>
                    <a:pt x="4265305" y="1773055"/>
                    <a:pt x="4268045" y="1775592"/>
                    <a:pt x="4270447" y="1778437"/>
                  </a:cubicBezTo>
                  <a:lnTo>
                    <a:pt x="4276226" y="1783810"/>
                  </a:lnTo>
                  <a:cubicBezTo>
                    <a:pt x="4276276" y="1785481"/>
                    <a:pt x="4276475" y="1787142"/>
                    <a:pt x="4276824" y="1788784"/>
                  </a:cubicBezTo>
                  <a:cubicBezTo>
                    <a:pt x="4277970" y="1791261"/>
                    <a:pt x="4278677" y="1793918"/>
                    <a:pt x="4278916" y="1796644"/>
                  </a:cubicBezTo>
                  <a:cubicBezTo>
                    <a:pt x="4279753" y="1799449"/>
                    <a:pt x="4280421" y="1802304"/>
                    <a:pt x="4280909" y="1805199"/>
                  </a:cubicBezTo>
                  <a:cubicBezTo>
                    <a:pt x="4280441" y="1803498"/>
                    <a:pt x="4279773" y="1801867"/>
                    <a:pt x="4278916" y="1800325"/>
                  </a:cubicBezTo>
                  <a:close/>
                  <a:moveTo>
                    <a:pt x="4242646" y="1513005"/>
                  </a:moveTo>
                  <a:cubicBezTo>
                    <a:pt x="4244848" y="1510577"/>
                    <a:pt x="4246662" y="1507822"/>
                    <a:pt x="4248027" y="1504847"/>
                  </a:cubicBezTo>
                  <a:cubicBezTo>
                    <a:pt x="4246811" y="1507951"/>
                    <a:pt x="4244898" y="1510746"/>
                    <a:pt x="4242447" y="1513005"/>
                  </a:cubicBezTo>
                  <a:close/>
                  <a:moveTo>
                    <a:pt x="4240254" y="1470524"/>
                  </a:moveTo>
                  <a:cubicBezTo>
                    <a:pt x="4240842" y="1470693"/>
                    <a:pt x="4241460" y="1470693"/>
                    <a:pt x="4242048" y="1470524"/>
                  </a:cubicBezTo>
                  <a:cubicBezTo>
                    <a:pt x="4242775" y="1471340"/>
                    <a:pt x="4243443" y="1472205"/>
                    <a:pt x="4244041" y="1473110"/>
                  </a:cubicBezTo>
                  <a:cubicBezTo>
                    <a:pt x="4242955" y="1471917"/>
                    <a:pt x="4241580" y="1471031"/>
                    <a:pt x="4240055" y="1470524"/>
                  </a:cubicBezTo>
                  <a:close/>
                  <a:moveTo>
                    <a:pt x="4232781" y="1462465"/>
                  </a:moveTo>
                  <a:lnTo>
                    <a:pt x="4235771" y="1467539"/>
                  </a:lnTo>
                  <a:cubicBezTo>
                    <a:pt x="4236428" y="1468733"/>
                    <a:pt x="4237484" y="1469648"/>
                    <a:pt x="4238760" y="1470126"/>
                  </a:cubicBezTo>
                  <a:lnTo>
                    <a:pt x="4237066" y="1470126"/>
                  </a:lnTo>
                  <a:lnTo>
                    <a:pt x="4235771" y="1467639"/>
                  </a:lnTo>
                  <a:cubicBezTo>
                    <a:pt x="4234535" y="1466027"/>
                    <a:pt x="4233469" y="1464296"/>
                    <a:pt x="4232582" y="1462465"/>
                  </a:cubicBezTo>
                  <a:close/>
                  <a:moveTo>
                    <a:pt x="4194518" y="1589511"/>
                  </a:moveTo>
                  <a:cubicBezTo>
                    <a:pt x="4194538" y="1589143"/>
                    <a:pt x="4194538" y="1588784"/>
                    <a:pt x="4194518" y="1588416"/>
                  </a:cubicBezTo>
                  <a:lnTo>
                    <a:pt x="4195215" y="1585034"/>
                  </a:lnTo>
                  <a:cubicBezTo>
                    <a:pt x="4195474" y="1582815"/>
                    <a:pt x="4195903" y="1580617"/>
                    <a:pt x="4196511" y="1578468"/>
                  </a:cubicBezTo>
                  <a:cubicBezTo>
                    <a:pt x="4195425" y="1578149"/>
                    <a:pt x="4194528" y="1577393"/>
                    <a:pt x="4194020" y="1576378"/>
                  </a:cubicBezTo>
                  <a:cubicBezTo>
                    <a:pt x="4194687" y="1577254"/>
                    <a:pt x="4195534" y="1577960"/>
                    <a:pt x="4196511" y="1578468"/>
                  </a:cubicBezTo>
                  <a:lnTo>
                    <a:pt x="4195215" y="1585034"/>
                  </a:lnTo>
                  <a:cubicBezTo>
                    <a:pt x="4195215" y="1586526"/>
                    <a:pt x="4195215" y="1588018"/>
                    <a:pt x="4195215" y="1589511"/>
                  </a:cubicBezTo>
                  <a:cubicBezTo>
                    <a:pt x="4195684" y="1591272"/>
                    <a:pt x="4195684" y="1593122"/>
                    <a:pt x="4195215" y="1594883"/>
                  </a:cubicBezTo>
                  <a:cubicBezTo>
                    <a:pt x="4195116" y="1595370"/>
                    <a:pt x="4195116" y="1595888"/>
                    <a:pt x="4195215" y="1596375"/>
                  </a:cubicBezTo>
                  <a:lnTo>
                    <a:pt x="4193422" y="1597470"/>
                  </a:lnTo>
                  <a:cubicBezTo>
                    <a:pt x="4194129" y="1596743"/>
                    <a:pt x="4194647" y="1595858"/>
                    <a:pt x="4194916" y="1594883"/>
                  </a:cubicBezTo>
                  <a:cubicBezTo>
                    <a:pt x="4194558" y="1593112"/>
                    <a:pt x="4194358" y="1591311"/>
                    <a:pt x="4194319" y="1589511"/>
                  </a:cubicBezTo>
                  <a:close/>
                  <a:moveTo>
                    <a:pt x="4196311" y="1700837"/>
                  </a:moveTo>
                  <a:cubicBezTo>
                    <a:pt x="4195923" y="1697803"/>
                    <a:pt x="4194677" y="1694938"/>
                    <a:pt x="4192724" y="1692580"/>
                  </a:cubicBezTo>
                  <a:cubicBezTo>
                    <a:pt x="4195096" y="1694639"/>
                    <a:pt x="4196351" y="1697703"/>
                    <a:pt x="4196112" y="1700837"/>
                  </a:cubicBezTo>
                  <a:close/>
                  <a:moveTo>
                    <a:pt x="4196311" y="1701832"/>
                  </a:moveTo>
                  <a:cubicBezTo>
                    <a:pt x="4196311" y="1701832"/>
                    <a:pt x="4196311" y="1701235"/>
                    <a:pt x="4196311" y="1700937"/>
                  </a:cubicBezTo>
                  <a:cubicBezTo>
                    <a:pt x="4196461" y="1701822"/>
                    <a:pt x="4196461" y="1702737"/>
                    <a:pt x="4196311" y="1703623"/>
                  </a:cubicBezTo>
                  <a:cubicBezTo>
                    <a:pt x="4196840" y="1706160"/>
                    <a:pt x="4198005" y="1708517"/>
                    <a:pt x="4199699" y="1710487"/>
                  </a:cubicBezTo>
                  <a:cubicBezTo>
                    <a:pt x="4198394" y="1709333"/>
                    <a:pt x="4197168" y="1708110"/>
                    <a:pt x="4196012" y="1706806"/>
                  </a:cubicBezTo>
                  <a:cubicBezTo>
                    <a:pt x="4196102" y="1705752"/>
                    <a:pt x="4196102" y="1704677"/>
                    <a:pt x="4196012" y="1703623"/>
                  </a:cubicBezTo>
                  <a:cubicBezTo>
                    <a:pt x="4195913" y="1703026"/>
                    <a:pt x="4195913" y="1702429"/>
                    <a:pt x="4196012" y="1701832"/>
                  </a:cubicBezTo>
                  <a:close/>
                  <a:moveTo>
                    <a:pt x="4201194" y="1560958"/>
                  </a:moveTo>
                  <a:cubicBezTo>
                    <a:pt x="4200227" y="1561366"/>
                    <a:pt x="4199331" y="1561903"/>
                    <a:pt x="4198503" y="1562550"/>
                  </a:cubicBezTo>
                  <a:lnTo>
                    <a:pt x="4199301" y="1561555"/>
                  </a:lnTo>
                  <a:cubicBezTo>
                    <a:pt x="4199949" y="1561415"/>
                    <a:pt x="4200586" y="1561216"/>
                    <a:pt x="4201194" y="1560958"/>
                  </a:cubicBezTo>
                  <a:cubicBezTo>
                    <a:pt x="4204133" y="1559744"/>
                    <a:pt x="4207212" y="1558908"/>
                    <a:pt x="4210361" y="1558471"/>
                  </a:cubicBezTo>
                  <a:cubicBezTo>
                    <a:pt x="4207163" y="1559137"/>
                    <a:pt x="4204004" y="1559963"/>
                    <a:pt x="4200895" y="1560958"/>
                  </a:cubicBezTo>
                  <a:close/>
                  <a:moveTo>
                    <a:pt x="4194319" y="1568718"/>
                  </a:moveTo>
                  <a:cubicBezTo>
                    <a:pt x="4194597" y="1567962"/>
                    <a:pt x="4194926" y="1567236"/>
                    <a:pt x="4195315" y="1566529"/>
                  </a:cubicBezTo>
                  <a:cubicBezTo>
                    <a:pt x="4195983" y="1565047"/>
                    <a:pt x="4197009" y="1563744"/>
                    <a:pt x="4198304" y="1562749"/>
                  </a:cubicBezTo>
                  <a:cubicBezTo>
                    <a:pt x="4196660" y="1564569"/>
                    <a:pt x="4195215" y="1566579"/>
                    <a:pt x="4194020" y="1568718"/>
                  </a:cubicBezTo>
                  <a:close/>
                  <a:moveTo>
                    <a:pt x="4193322" y="1575085"/>
                  </a:moveTo>
                  <a:cubicBezTo>
                    <a:pt x="4192804" y="1573364"/>
                    <a:pt x="4192983" y="1571504"/>
                    <a:pt x="4193820" y="1569912"/>
                  </a:cubicBezTo>
                  <a:cubicBezTo>
                    <a:pt x="4193063" y="1571523"/>
                    <a:pt x="4192794" y="1573324"/>
                    <a:pt x="4193023" y="1575085"/>
                  </a:cubicBezTo>
                  <a:close/>
                  <a:moveTo>
                    <a:pt x="4186048" y="1599260"/>
                  </a:moveTo>
                  <a:cubicBezTo>
                    <a:pt x="4188100" y="1599559"/>
                    <a:pt x="4190193" y="1599320"/>
                    <a:pt x="4192126" y="1598564"/>
                  </a:cubicBezTo>
                  <a:cubicBezTo>
                    <a:pt x="4189386" y="1600653"/>
                    <a:pt x="4187084" y="1603260"/>
                    <a:pt x="4185350" y="1606225"/>
                  </a:cubicBezTo>
                  <a:cubicBezTo>
                    <a:pt x="4186486" y="1604175"/>
                    <a:pt x="4187822" y="1602245"/>
                    <a:pt x="4189336" y="1600454"/>
                  </a:cubicBezTo>
                  <a:close/>
                  <a:moveTo>
                    <a:pt x="4179372" y="1596375"/>
                  </a:moveTo>
                  <a:cubicBezTo>
                    <a:pt x="4179292" y="1595888"/>
                    <a:pt x="4179133" y="1595410"/>
                    <a:pt x="4178873" y="1594983"/>
                  </a:cubicBezTo>
                  <a:cubicBezTo>
                    <a:pt x="4178136" y="1594346"/>
                    <a:pt x="4177678" y="1593460"/>
                    <a:pt x="4177578" y="1592495"/>
                  </a:cubicBezTo>
                  <a:cubicBezTo>
                    <a:pt x="4176761" y="1591341"/>
                    <a:pt x="4175824" y="1590277"/>
                    <a:pt x="4174788" y="1589312"/>
                  </a:cubicBezTo>
                  <a:lnTo>
                    <a:pt x="4177379" y="1591401"/>
                  </a:lnTo>
                  <a:cubicBezTo>
                    <a:pt x="4177289" y="1591759"/>
                    <a:pt x="4177289" y="1592137"/>
                    <a:pt x="4177379" y="1592495"/>
                  </a:cubicBezTo>
                  <a:cubicBezTo>
                    <a:pt x="4177927" y="1593261"/>
                    <a:pt x="4178365" y="1594097"/>
                    <a:pt x="4178674" y="1594983"/>
                  </a:cubicBezTo>
                  <a:cubicBezTo>
                    <a:pt x="4180657" y="1596823"/>
                    <a:pt x="4182999" y="1598246"/>
                    <a:pt x="4185550" y="1599161"/>
                  </a:cubicBezTo>
                  <a:cubicBezTo>
                    <a:pt x="4183308" y="1598604"/>
                    <a:pt x="4181185" y="1597659"/>
                    <a:pt x="4179272" y="1596375"/>
                  </a:cubicBezTo>
                  <a:close/>
                  <a:moveTo>
                    <a:pt x="4179372" y="1621048"/>
                  </a:moveTo>
                  <a:cubicBezTo>
                    <a:pt x="4178485" y="1625505"/>
                    <a:pt x="4178047" y="1630032"/>
                    <a:pt x="4178076" y="1634579"/>
                  </a:cubicBezTo>
                  <a:cubicBezTo>
                    <a:pt x="4178076" y="1632589"/>
                    <a:pt x="4178076" y="1630898"/>
                    <a:pt x="4178076" y="1629206"/>
                  </a:cubicBezTo>
                  <a:cubicBezTo>
                    <a:pt x="4178296" y="1626460"/>
                    <a:pt x="4178694" y="1623734"/>
                    <a:pt x="4179272" y="1621048"/>
                  </a:cubicBezTo>
                  <a:close/>
                  <a:moveTo>
                    <a:pt x="4215842" y="1724814"/>
                  </a:moveTo>
                  <a:cubicBezTo>
                    <a:pt x="4219498" y="1727808"/>
                    <a:pt x="4221970" y="1732007"/>
                    <a:pt x="4222817" y="1736653"/>
                  </a:cubicBezTo>
                  <a:cubicBezTo>
                    <a:pt x="4221521" y="1732205"/>
                    <a:pt x="4219160" y="1728146"/>
                    <a:pt x="4215941" y="1724814"/>
                  </a:cubicBezTo>
                  <a:close/>
                  <a:moveTo>
                    <a:pt x="4235771" y="2623882"/>
                  </a:moveTo>
                  <a:cubicBezTo>
                    <a:pt x="4236807" y="2622320"/>
                    <a:pt x="4237674" y="2620648"/>
                    <a:pt x="4238361" y="2618907"/>
                  </a:cubicBezTo>
                  <a:cubicBezTo>
                    <a:pt x="4238182" y="2617335"/>
                    <a:pt x="4237445" y="2615883"/>
                    <a:pt x="4236269" y="2614828"/>
                  </a:cubicBezTo>
                  <a:cubicBezTo>
                    <a:pt x="4237833" y="2615534"/>
                    <a:pt x="4238700" y="2617226"/>
                    <a:pt x="4238361" y="2618907"/>
                  </a:cubicBezTo>
                  <a:cubicBezTo>
                    <a:pt x="4238361" y="2620887"/>
                    <a:pt x="4237395" y="2622747"/>
                    <a:pt x="4235771" y="2623882"/>
                  </a:cubicBezTo>
                  <a:cubicBezTo>
                    <a:pt x="4234734" y="2625493"/>
                    <a:pt x="4234116" y="2627344"/>
                    <a:pt x="4233977" y="2629254"/>
                  </a:cubicBezTo>
                  <a:cubicBezTo>
                    <a:pt x="4234605" y="2631025"/>
                    <a:pt x="4235472" y="2632696"/>
                    <a:pt x="4236568" y="2634228"/>
                  </a:cubicBezTo>
                  <a:cubicBezTo>
                    <a:pt x="4236010" y="2633731"/>
                    <a:pt x="4235362" y="2633323"/>
                    <a:pt x="4234674" y="2633034"/>
                  </a:cubicBezTo>
                  <a:cubicBezTo>
                    <a:pt x="4234126" y="2631850"/>
                    <a:pt x="4233887" y="2630557"/>
                    <a:pt x="4233977" y="2629254"/>
                  </a:cubicBezTo>
                  <a:cubicBezTo>
                    <a:pt x="4233668" y="2627911"/>
                    <a:pt x="4233668" y="2626518"/>
                    <a:pt x="4233977" y="2625175"/>
                  </a:cubicBezTo>
                  <a:close/>
                  <a:moveTo>
                    <a:pt x="4238660" y="2638506"/>
                  </a:moveTo>
                  <a:cubicBezTo>
                    <a:pt x="4238242" y="2637074"/>
                    <a:pt x="4237564" y="2635721"/>
                    <a:pt x="4236667" y="2634527"/>
                  </a:cubicBezTo>
                  <a:cubicBezTo>
                    <a:pt x="4237953" y="2635492"/>
                    <a:pt x="4238810" y="2636924"/>
                    <a:pt x="4239059" y="2638506"/>
                  </a:cubicBezTo>
                  <a:close/>
                  <a:moveTo>
                    <a:pt x="4229692" y="2648455"/>
                  </a:moveTo>
                  <a:cubicBezTo>
                    <a:pt x="4228536" y="2647321"/>
                    <a:pt x="4227141" y="2646475"/>
                    <a:pt x="4225607" y="2645968"/>
                  </a:cubicBezTo>
                  <a:cubicBezTo>
                    <a:pt x="4227201" y="2646366"/>
                    <a:pt x="4228676" y="2647152"/>
                    <a:pt x="4229891" y="2648256"/>
                  </a:cubicBezTo>
                  <a:close/>
                  <a:moveTo>
                    <a:pt x="4229692" y="2735108"/>
                  </a:moveTo>
                  <a:cubicBezTo>
                    <a:pt x="4230788" y="2731229"/>
                    <a:pt x="4232083" y="2725757"/>
                    <a:pt x="4232881" y="2722772"/>
                  </a:cubicBezTo>
                  <a:cubicBezTo>
                    <a:pt x="4232423" y="2727020"/>
                    <a:pt x="4231346" y="2731169"/>
                    <a:pt x="4229692" y="2735108"/>
                  </a:cubicBezTo>
                  <a:lnTo>
                    <a:pt x="4228895" y="2737695"/>
                  </a:lnTo>
                  <a:lnTo>
                    <a:pt x="4225408" y="2737695"/>
                  </a:lnTo>
                  <a:cubicBezTo>
                    <a:pt x="4227400" y="2736800"/>
                    <a:pt x="4229094" y="2737198"/>
                    <a:pt x="4229692" y="2734910"/>
                  </a:cubicBezTo>
                  <a:close/>
                  <a:moveTo>
                    <a:pt x="4231884" y="2882847"/>
                  </a:moveTo>
                  <a:lnTo>
                    <a:pt x="4236070" y="2889612"/>
                  </a:lnTo>
                  <a:cubicBezTo>
                    <a:pt x="4234874" y="2887623"/>
                    <a:pt x="4233279" y="2885036"/>
                    <a:pt x="4231884" y="2882648"/>
                  </a:cubicBezTo>
                  <a:close/>
                  <a:moveTo>
                    <a:pt x="4294760" y="2536134"/>
                  </a:moveTo>
                  <a:cubicBezTo>
                    <a:pt x="4294720" y="2538681"/>
                    <a:pt x="4295019" y="2541227"/>
                    <a:pt x="4295656" y="2543695"/>
                  </a:cubicBezTo>
                  <a:cubicBezTo>
                    <a:pt x="4294680" y="2541227"/>
                    <a:pt x="4294371" y="2538551"/>
                    <a:pt x="4294760" y="2535935"/>
                  </a:cubicBezTo>
                  <a:close/>
                  <a:moveTo>
                    <a:pt x="4294760" y="2536134"/>
                  </a:moveTo>
                  <a:cubicBezTo>
                    <a:pt x="4294730" y="2532144"/>
                    <a:pt x="4295467" y="2528194"/>
                    <a:pt x="4296952" y="2524494"/>
                  </a:cubicBezTo>
                  <a:cubicBezTo>
                    <a:pt x="4296454" y="2527777"/>
                    <a:pt x="4295158" y="2531657"/>
                    <a:pt x="4294760" y="2535636"/>
                  </a:cubicBezTo>
                  <a:close/>
                  <a:moveTo>
                    <a:pt x="4293863" y="2544889"/>
                  </a:moveTo>
                  <a:cubicBezTo>
                    <a:pt x="4291900" y="2545764"/>
                    <a:pt x="4290086" y="2546938"/>
                    <a:pt x="4288482" y="2548371"/>
                  </a:cubicBezTo>
                  <a:cubicBezTo>
                    <a:pt x="4290037" y="2546749"/>
                    <a:pt x="4291860" y="2545406"/>
                    <a:pt x="4293863" y="2544391"/>
                  </a:cubicBezTo>
                  <a:close/>
                  <a:moveTo>
                    <a:pt x="4298446" y="2505094"/>
                  </a:moveTo>
                  <a:cubicBezTo>
                    <a:pt x="4298168" y="2503979"/>
                    <a:pt x="4298168" y="2502825"/>
                    <a:pt x="4298446" y="2501711"/>
                  </a:cubicBezTo>
                  <a:cubicBezTo>
                    <a:pt x="4298486" y="2501213"/>
                    <a:pt x="4298486" y="2500716"/>
                    <a:pt x="4298446" y="2500219"/>
                  </a:cubicBezTo>
                  <a:cubicBezTo>
                    <a:pt x="4299134" y="2498836"/>
                    <a:pt x="4299971" y="2497542"/>
                    <a:pt x="4300938" y="2496339"/>
                  </a:cubicBezTo>
                  <a:cubicBezTo>
                    <a:pt x="4302133" y="2494448"/>
                    <a:pt x="4303429" y="2492658"/>
                    <a:pt x="4304425" y="2491364"/>
                  </a:cubicBezTo>
                  <a:lnTo>
                    <a:pt x="4305422" y="2490668"/>
                  </a:lnTo>
                  <a:cubicBezTo>
                    <a:pt x="4306837" y="2488937"/>
                    <a:pt x="4307943" y="2486987"/>
                    <a:pt x="4308710" y="2484898"/>
                  </a:cubicBezTo>
                  <a:cubicBezTo>
                    <a:pt x="4308102" y="2487057"/>
                    <a:pt x="4306976" y="2489046"/>
                    <a:pt x="4305422" y="2490668"/>
                  </a:cubicBezTo>
                  <a:lnTo>
                    <a:pt x="4300938" y="2496339"/>
                  </a:lnTo>
                  <a:cubicBezTo>
                    <a:pt x="4299941" y="2498020"/>
                    <a:pt x="4299174" y="2499831"/>
                    <a:pt x="4298646" y="2501711"/>
                  </a:cubicBezTo>
                  <a:cubicBezTo>
                    <a:pt x="4298815" y="2502666"/>
                    <a:pt x="4298885" y="2503631"/>
                    <a:pt x="4298845" y="2504596"/>
                  </a:cubicBezTo>
                  <a:close/>
                  <a:moveTo>
                    <a:pt x="4340496" y="2271398"/>
                  </a:moveTo>
                  <a:cubicBezTo>
                    <a:pt x="4340576" y="2273566"/>
                    <a:pt x="4339948" y="2275695"/>
                    <a:pt x="4338703" y="2277466"/>
                  </a:cubicBezTo>
                  <a:cubicBezTo>
                    <a:pt x="4339799" y="2275447"/>
                    <a:pt x="4340417" y="2273198"/>
                    <a:pt x="4340496" y="2270900"/>
                  </a:cubicBezTo>
                  <a:close/>
                  <a:moveTo>
                    <a:pt x="4338304" y="2278063"/>
                  </a:moveTo>
                  <a:cubicBezTo>
                    <a:pt x="4337178" y="2279595"/>
                    <a:pt x="4335753" y="2280879"/>
                    <a:pt x="4334119" y="2281844"/>
                  </a:cubicBezTo>
                  <a:cubicBezTo>
                    <a:pt x="4335893" y="2280709"/>
                    <a:pt x="4337447" y="2279257"/>
                    <a:pt x="4338703" y="2277566"/>
                  </a:cubicBezTo>
                  <a:close/>
                  <a:moveTo>
                    <a:pt x="4377365" y="2006761"/>
                  </a:moveTo>
                  <a:cubicBezTo>
                    <a:pt x="4379308" y="2004493"/>
                    <a:pt x="4382157" y="2003219"/>
                    <a:pt x="4385137" y="2003279"/>
                  </a:cubicBezTo>
                  <a:cubicBezTo>
                    <a:pt x="4382287" y="2003388"/>
                    <a:pt x="4379557" y="2004443"/>
                    <a:pt x="4377365" y="2006263"/>
                  </a:cubicBezTo>
                  <a:close/>
                  <a:moveTo>
                    <a:pt x="4480496" y="2150719"/>
                  </a:moveTo>
                  <a:cubicBezTo>
                    <a:pt x="4479659" y="2150172"/>
                    <a:pt x="4478972" y="2149416"/>
                    <a:pt x="4478504" y="2148531"/>
                  </a:cubicBezTo>
                  <a:cubicBezTo>
                    <a:pt x="4479341" y="2148849"/>
                    <a:pt x="4480048" y="2149446"/>
                    <a:pt x="4480496" y="2150222"/>
                  </a:cubicBezTo>
                  <a:close/>
                  <a:moveTo>
                    <a:pt x="4477009" y="2144750"/>
                  </a:moveTo>
                  <a:cubicBezTo>
                    <a:pt x="4476411" y="2142561"/>
                    <a:pt x="4476013" y="2140074"/>
                    <a:pt x="4475414" y="2137985"/>
                  </a:cubicBezTo>
                  <a:cubicBezTo>
                    <a:pt x="4476252" y="2139985"/>
                    <a:pt x="4476789" y="2142094"/>
                    <a:pt x="4477009" y="2144253"/>
                  </a:cubicBezTo>
                  <a:close/>
                  <a:moveTo>
                    <a:pt x="4477009" y="2147038"/>
                  </a:moveTo>
                  <a:cubicBezTo>
                    <a:pt x="4477109" y="2146342"/>
                    <a:pt x="4477109" y="2145645"/>
                    <a:pt x="4477009" y="2144949"/>
                  </a:cubicBezTo>
                  <a:cubicBezTo>
                    <a:pt x="4477338" y="2146163"/>
                    <a:pt x="4477806" y="2147327"/>
                    <a:pt x="4478404" y="2148431"/>
                  </a:cubicBezTo>
                  <a:cubicBezTo>
                    <a:pt x="4477307" y="2147715"/>
                    <a:pt x="4476092" y="2147208"/>
                    <a:pt x="4474816" y="2146939"/>
                  </a:cubicBezTo>
                  <a:close/>
                  <a:moveTo>
                    <a:pt x="4469037" y="2146043"/>
                  </a:moveTo>
                  <a:lnTo>
                    <a:pt x="4465550" y="2144352"/>
                  </a:lnTo>
                  <a:lnTo>
                    <a:pt x="4470631" y="2146242"/>
                  </a:lnTo>
                  <a:cubicBezTo>
                    <a:pt x="4470153" y="2145914"/>
                    <a:pt x="4469605" y="2145675"/>
                    <a:pt x="4469037" y="2145546"/>
                  </a:cubicBezTo>
                  <a:close/>
                  <a:moveTo>
                    <a:pt x="4440340" y="2085058"/>
                  </a:moveTo>
                  <a:cubicBezTo>
                    <a:pt x="4440340" y="2087744"/>
                    <a:pt x="4438646" y="2089734"/>
                    <a:pt x="4434859" y="2091027"/>
                  </a:cubicBezTo>
                  <a:cubicBezTo>
                    <a:pt x="4437450" y="2088838"/>
                    <a:pt x="4439642" y="2087445"/>
                    <a:pt x="4440340" y="2085058"/>
                  </a:cubicBezTo>
                  <a:cubicBezTo>
                    <a:pt x="4440121" y="2080979"/>
                    <a:pt x="4438746" y="2077039"/>
                    <a:pt x="4436354" y="2073716"/>
                  </a:cubicBezTo>
                  <a:cubicBezTo>
                    <a:pt x="4440140" y="2078989"/>
                    <a:pt x="4440938" y="2082272"/>
                    <a:pt x="4440340" y="2084560"/>
                  </a:cubicBezTo>
                  <a:close/>
                  <a:moveTo>
                    <a:pt x="4434162" y="2091325"/>
                  </a:moveTo>
                  <a:lnTo>
                    <a:pt x="4434760" y="2091325"/>
                  </a:lnTo>
                  <a:cubicBezTo>
                    <a:pt x="4432378" y="2093345"/>
                    <a:pt x="4430415" y="2095812"/>
                    <a:pt x="4428980" y="2098588"/>
                  </a:cubicBezTo>
                  <a:cubicBezTo>
                    <a:pt x="4429977" y="2095305"/>
                    <a:pt x="4431770" y="2091425"/>
                    <a:pt x="4434162" y="2090828"/>
                  </a:cubicBezTo>
                  <a:close/>
                  <a:moveTo>
                    <a:pt x="4429179" y="2060484"/>
                  </a:moveTo>
                  <a:cubicBezTo>
                    <a:pt x="4429239" y="2060126"/>
                    <a:pt x="4429239" y="2059748"/>
                    <a:pt x="4429179" y="2059390"/>
                  </a:cubicBezTo>
                  <a:cubicBezTo>
                    <a:pt x="4429060" y="2057927"/>
                    <a:pt x="4429409" y="2056465"/>
                    <a:pt x="4430176" y="2055211"/>
                  </a:cubicBezTo>
                  <a:cubicBezTo>
                    <a:pt x="4430096" y="2056654"/>
                    <a:pt x="4429758" y="2058067"/>
                    <a:pt x="4429179" y="2059390"/>
                  </a:cubicBezTo>
                  <a:cubicBezTo>
                    <a:pt x="4429478" y="2061350"/>
                    <a:pt x="4430046" y="2063260"/>
                    <a:pt x="4430874" y="2065061"/>
                  </a:cubicBezTo>
                  <a:cubicBezTo>
                    <a:pt x="4430086" y="2063449"/>
                    <a:pt x="4429509" y="2061748"/>
                    <a:pt x="4429179" y="2059987"/>
                  </a:cubicBezTo>
                  <a:close/>
                  <a:moveTo>
                    <a:pt x="4425194" y="2033026"/>
                  </a:moveTo>
                  <a:lnTo>
                    <a:pt x="4418817" y="2029544"/>
                  </a:lnTo>
                  <a:lnTo>
                    <a:pt x="4418817" y="2029544"/>
                  </a:lnTo>
                  <a:cubicBezTo>
                    <a:pt x="4421099" y="2030061"/>
                    <a:pt x="4423181" y="2031235"/>
                    <a:pt x="4424795" y="2032926"/>
                  </a:cubicBezTo>
                  <a:lnTo>
                    <a:pt x="4427785" y="2034518"/>
                  </a:lnTo>
                  <a:lnTo>
                    <a:pt x="4428681" y="2039492"/>
                  </a:lnTo>
                  <a:cubicBezTo>
                    <a:pt x="4428193" y="2036896"/>
                    <a:pt x="4426987" y="2034478"/>
                    <a:pt x="4425194" y="2032528"/>
                  </a:cubicBezTo>
                  <a:close/>
                  <a:moveTo>
                    <a:pt x="4442631" y="2211208"/>
                  </a:moveTo>
                  <a:cubicBezTo>
                    <a:pt x="4443329" y="2209238"/>
                    <a:pt x="4444336" y="2207387"/>
                    <a:pt x="4445621" y="2205736"/>
                  </a:cubicBezTo>
                  <a:cubicBezTo>
                    <a:pt x="4445681" y="2205069"/>
                    <a:pt x="4445681" y="2204413"/>
                    <a:pt x="4445621" y="2203746"/>
                  </a:cubicBezTo>
                  <a:lnTo>
                    <a:pt x="4448311" y="2203746"/>
                  </a:lnTo>
                  <a:cubicBezTo>
                    <a:pt x="4449856" y="2203189"/>
                    <a:pt x="4451550" y="2203189"/>
                    <a:pt x="4453094" y="2203746"/>
                  </a:cubicBezTo>
                  <a:cubicBezTo>
                    <a:pt x="4453951" y="2205089"/>
                    <a:pt x="4454918" y="2206353"/>
                    <a:pt x="4455984" y="2207527"/>
                  </a:cubicBezTo>
                  <a:cubicBezTo>
                    <a:pt x="4457698" y="2209486"/>
                    <a:pt x="4459900" y="2210959"/>
                    <a:pt x="4462361" y="2211805"/>
                  </a:cubicBezTo>
                  <a:cubicBezTo>
                    <a:pt x="4464055" y="2211805"/>
                    <a:pt x="4465151" y="2209417"/>
                    <a:pt x="4466447" y="2206830"/>
                  </a:cubicBezTo>
                  <a:cubicBezTo>
                    <a:pt x="4465251" y="2209914"/>
                    <a:pt x="4464553" y="2212302"/>
                    <a:pt x="4462361" y="2211805"/>
                  </a:cubicBezTo>
                  <a:cubicBezTo>
                    <a:pt x="4460169" y="2211307"/>
                    <a:pt x="4458874" y="2211009"/>
                    <a:pt x="4455984" y="2207527"/>
                  </a:cubicBezTo>
                  <a:cubicBezTo>
                    <a:pt x="4454609" y="2206343"/>
                    <a:pt x="4453314" y="2205089"/>
                    <a:pt x="4452098" y="2203746"/>
                  </a:cubicBezTo>
                  <a:lnTo>
                    <a:pt x="4448311" y="2203746"/>
                  </a:lnTo>
                  <a:cubicBezTo>
                    <a:pt x="4447255" y="2204164"/>
                    <a:pt x="4446328" y="2204850"/>
                    <a:pt x="4445621" y="2205736"/>
                  </a:cubicBezTo>
                  <a:cubicBezTo>
                    <a:pt x="4445302" y="2207855"/>
                    <a:pt x="4444246" y="2209795"/>
                    <a:pt x="4442631" y="2211208"/>
                  </a:cubicBezTo>
                  <a:cubicBezTo>
                    <a:pt x="4442502" y="2211745"/>
                    <a:pt x="4442333" y="2212282"/>
                    <a:pt x="4442133" y="2212799"/>
                  </a:cubicBezTo>
                  <a:cubicBezTo>
                    <a:pt x="4440350" y="2213098"/>
                    <a:pt x="4438536" y="2213098"/>
                    <a:pt x="4436753" y="2212799"/>
                  </a:cubicBezTo>
                  <a:cubicBezTo>
                    <a:pt x="4438925" y="2212969"/>
                    <a:pt x="4441057" y="2212203"/>
                    <a:pt x="4442631" y="2210710"/>
                  </a:cubicBezTo>
                  <a:close/>
                  <a:moveTo>
                    <a:pt x="4441536" y="2122962"/>
                  </a:moveTo>
                  <a:lnTo>
                    <a:pt x="4445123" y="2128235"/>
                  </a:lnTo>
                  <a:cubicBezTo>
                    <a:pt x="4445123" y="2128932"/>
                    <a:pt x="4445123" y="2129529"/>
                    <a:pt x="4445123" y="2130225"/>
                  </a:cubicBezTo>
                  <a:cubicBezTo>
                    <a:pt x="4444326" y="2127340"/>
                    <a:pt x="4442930" y="2125151"/>
                    <a:pt x="4441536" y="2122465"/>
                  </a:cubicBezTo>
                  <a:close/>
                  <a:moveTo>
                    <a:pt x="4447514" y="2135498"/>
                  </a:moveTo>
                  <a:cubicBezTo>
                    <a:pt x="4448142" y="2136821"/>
                    <a:pt x="4449098" y="2137955"/>
                    <a:pt x="4450304" y="2138781"/>
                  </a:cubicBezTo>
                  <a:cubicBezTo>
                    <a:pt x="4451839" y="2139069"/>
                    <a:pt x="4453334" y="2139507"/>
                    <a:pt x="4454788" y="2140074"/>
                  </a:cubicBezTo>
                  <a:cubicBezTo>
                    <a:pt x="4453194" y="2140104"/>
                    <a:pt x="4451639" y="2139646"/>
                    <a:pt x="4450304" y="2138781"/>
                  </a:cubicBezTo>
                  <a:cubicBezTo>
                    <a:pt x="4449607" y="2138492"/>
                    <a:pt x="4448870" y="2138294"/>
                    <a:pt x="4448112" y="2138184"/>
                  </a:cubicBezTo>
                  <a:cubicBezTo>
                    <a:pt x="4448042" y="2137139"/>
                    <a:pt x="4447833" y="2136105"/>
                    <a:pt x="4447514" y="2135100"/>
                  </a:cubicBezTo>
                  <a:close/>
                  <a:moveTo>
                    <a:pt x="4454888" y="2140074"/>
                  </a:moveTo>
                  <a:lnTo>
                    <a:pt x="4454888" y="2140074"/>
                  </a:lnTo>
                  <a:cubicBezTo>
                    <a:pt x="4456193" y="2140422"/>
                    <a:pt x="4457459" y="2140890"/>
                    <a:pt x="4458674" y="2141467"/>
                  </a:cubicBezTo>
                  <a:close/>
                  <a:moveTo>
                    <a:pt x="4470931" y="2199767"/>
                  </a:moveTo>
                  <a:cubicBezTo>
                    <a:pt x="4469137" y="2201806"/>
                    <a:pt x="4467692" y="2204124"/>
                    <a:pt x="4466646" y="2206631"/>
                  </a:cubicBezTo>
                  <a:cubicBezTo>
                    <a:pt x="4467463" y="2203836"/>
                    <a:pt x="4468927" y="2201279"/>
                    <a:pt x="4470931" y="2199170"/>
                  </a:cubicBezTo>
                  <a:close/>
                  <a:moveTo>
                    <a:pt x="4473920" y="2181361"/>
                  </a:moveTo>
                  <a:cubicBezTo>
                    <a:pt x="4473781" y="2178397"/>
                    <a:pt x="4473979" y="2175422"/>
                    <a:pt x="4474518" y="2172507"/>
                  </a:cubicBezTo>
                  <a:cubicBezTo>
                    <a:pt x="4474218" y="2174895"/>
                    <a:pt x="4473920" y="2178377"/>
                    <a:pt x="4473920" y="2180765"/>
                  </a:cubicBezTo>
                  <a:close/>
                  <a:moveTo>
                    <a:pt x="4475016" y="2168130"/>
                  </a:moveTo>
                  <a:cubicBezTo>
                    <a:pt x="4475584" y="2166498"/>
                    <a:pt x="4476252" y="2164906"/>
                    <a:pt x="4477009" y="2163354"/>
                  </a:cubicBezTo>
                  <a:cubicBezTo>
                    <a:pt x="4475993" y="2166319"/>
                    <a:pt x="4475165" y="2169343"/>
                    <a:pt x="4474518" y="2172408"/>
                  </a:cubicBezTo>
                  <a:close/>
                  <a:moveTo>
                    <a:pt x="4561009" y="2132414"/>
                  </a:moveTo>
                  <a:cubicBezTo>
                    <a:pt x="4558139" y="2134692"/>
                    <a:pt x="4554133" y="2134891"/>
                    <a:pt x="4551044" y="2132911"/>
                  </a:cubicBezTo>
                  <a:cubicBezTo>
                    <a:pt x="4554322" y="2134364"/>
                    <a:pt x="4558129" y="2133946"/>
                    <a:pt x="4561009" y="2131817"/>
                  </a:cubicBezTo>
                  <a:close/>
                  <a:moveTo>
                    <a:pt x="4564397" y="2127141"/>
                  </a:moveTo>
                  <a:cubicBezTo>
                    <a:pt x="4565045" y="2125241"/>
                    <a:pt x="4565482" y="2123271"/>
                    <a:pt x="4565692" y="2121271"/>
                  </a:cubicBezTo>
                  <a:cubicBezTo>
                    <a:pt x="4565572" y="2123281"/>
                    <a:pt x="4565134" y="2125270"/>
                    <a:pt x="4564397" y="2127141"/>
                  </a:cubicBezTo>
                  <a:cubicBezTo>
                    <a:pt x="4564008" y="2128514"/>
                    <a:pt x="4563370" y="2129787"/>
                    <a:pt x="4562504" y="2130921"/>
                  </a:cubicBezTo>
                  <a:cubicBezTo>
                    <a:pt x="4563320" y="2129548"/>
                    <a:pt x="4563948" y="2128076"/>
                    <a:pt x="4564397" y="2126544"/>
                  </a:cubicBezTo>
                  <a:close/>
                  <a:moveTo>
                    <a:pt x="4375870" y="1244687"/>
                  </a:moveTo>
                  <a:lnTo>
                    <a:pt x="4510389" y="1245782"/>
                  </a:lnTo>
                  <a:close/>
                  <a:moveTo>
                    <a:pt x="4418418" y="2028947"/>
                  </a:moveTo>
                  <a:cubicBezTo>
                    <a:pt x="4416296" y="2028250"/>
                    <a:pt x="4414313" y="2027216"/>
                    <a:pt x="4412539" y="2025862"/>
                  </a:cubicBezTo>
                  <a:close/>
                  <a:moveTo>
                    <a:pt x="4398489" y="2009845"/>
                  </a:moveTo>
                  <a:cubicBezTo>
                    <a:pt x="4397493" y="2009347"/>
                    <a:pt x="4396596" y="2008751"/>
                    <a:pt x="4395599" y="2008353"/>
                  </a:cubicBezTo>
                  <a:cubicBezTo>
                    <a:pt x="4394504" y="2007149"/>
                    <a:pt x="4393268" y="2006085"/>
                    <a:pt x="4391913" y="2005169"/>
                  </a:cubicBezTo>
                  <a:cubicBezTo>
                    <a:pt x="4394195" y="2006592"/>
                    <a:pt x="4396397" y="2008154"/>
                    <a:pt x="4398489" y="2009845"/>
                  </a:cubicBezTo>
                  <a:close/>
                  <a:moveTo>
                    <a:pt x="4391714" y="2004970"/>
                  </a:moveTo>
                  <a:cubicBezTo>
                    <a:pt x="4390059" y="2003945"/>
                    <a:pt x="4388236" y="2003209"/>
                    <a:pt x="4386333" y="2002782"/>
                  </a:cubicBezTo>
                  <a:cubicBezTo>
                    <a:pt x="4388196" y="2003020"/>
                    <a:pt x="4389960" y="2003776"/>
                    <a:pt x="4391415" y="2004970"/>
                  </a:cubicBezTo>
                  <a:close/>
                  <a:moveTo>
                    <a:pt x="4352952" y="1855739"/>
                  </a:moveTo>
                  <a:cubicBezTo>
                    <a:pt x="4353898" y="1854117"/>
                    <a:pt x="4354217" y="1852207"/>
                    <a:pt x="4353849" y="1850367"/>
                  </a:cubicBezTo>
                  <a:cubicBezTo>
                    <a:pt x="4353141" y="1849372"/>
                    <a:pt x="4352304" y="1848466"/>
                    <a:pt x="4351357" y="1847680"/>
                  </a:cubicBezTo>
                  <a:lnTo>
                    <a:pt x="4353749" y="1849471"/>
                  </a:lnTo>
                  <a:cubicBezTo>
                    <a:pt x="4353849" y="1849760"/>
                    <a:pt x="4353849" y="1850078"/>
                    <a:pt x="4353749" y="1850367"/>
                  </a:cubicBezTo>
                  <a:cubicBezTo>
                    <a:pt x="4354646" y="1852098"/>
                    <a:pt x="4354187" y="1854227"/>
                    <a:pt x="4352653" y="1855441"/>
                  </a:cubicBezTo>
                  <a:close/>
                  <a:moveTo>
                    <a:pt x="4336311" y="1301296"/>
                  </a:moveTo>
                  <a:cubicBezTo>
                    <a:pt x="4339151" y="1302489"/>
                    <a:pt x="4341672" y="1304330"/>
                    <a:pt x="4343685" y="1306668"/>
                  </a:cubicBezTo>
                  <a:cubicBezTo>
                    <a:pt x="4341323" y="1304529"/>
                    <a:pt x="4338753" y="1302629"/>
                    <a:pt x="4336013" y="1300997"/>
                  </a:cubicBezTo>
                  <a:close/>
                  <a:moveTo>
                    <a:pt x="4318774" y="1289457"/>
                  </a:moveTo>
                  <a:lnTo>
                    <a:pt x="4318076" y="1288860"/>
                  </a:lnTo>
                  <a:cubicBezTo>
                    <a:pt x="4316661" y="1287576"/>
                    <a:pt x="4315715" y="1285865"/>
                    <a:pt x="4315386" y="1283985"/>
                  </a:cubicBezTo>
                  <a:cubicBezTo>
                    <a:pt x="4316074" y="1286044"/>
                    <a:pt x="4317229" y="1287924"/>
                    <a:pt x="4318774" y="1289457"/>
                  </a:cubicBezTo>
                  <a:cubicBezTo>
                    <a:pt x="4322959" y="1292640"/>
                    <a:pt x="4326347" y="1295028"/>
                    <a:pt x="4329236" y="1296918"/>
                  </a:cubicBezTo>
                  <a:cubicBezTo>
                    <a:pt x="4325430" y="1294909"/>
                    <a:pt x="4321913" y="1292391"/>
                    <a:pt x="4318774" y="1289457"/>
                  </a:cubicBezTo>
                  <a:close/>
                  <a:moveTo>
                    <a:pt x="4315187" y="1277916"/>
                  </a:moveTo>
                  <a:cubicBezTo>
                    <a:pt x="4315286" y="1276235"/>
                    <a:pt x="4315077" y="1274553"/>
                    <a:pt x="4314589" y="1272942"/>
                  </a:cubicBezTo>
                  <a:cubicBezTo>
                    <a:pt x="4315167" y="1273539"/>
                    <a:pt x="4315675" y="1274205"/>
                    <a:pt x="4316084" y="1274931"/>
                  </a:cubicBezTo>
                  <a:cubicBezTo>
                    <a:pt x="4315545" y="1275926"/>
                    <a:pt x="4315077" y="1276961"/>
                    <a:pt x="4314689" y="1278016"/>
                  </a:cubicBezTo>
                  <a:close/>
                  <a:moveTo>
                    <a:pt x="4310404" y="1267967"/>
                  </a:moveTo>
                  <a:lnTo>
                    <a:pt x="4312098" y="1269161"/>
                  </a:lnTo>
                  <a:cubicBezTo>
                    <a:pt x="4313224" y="1270196"/>
                    <a:pt x="4314081" y="1271499"/>
                    <a:pt x="4314589" y="1272942"/>
                  </a:cubicBezTo>
                  <a:cubicBezTo>
                    <a:pt x="4313174" y="1271121"/>
                    <a:pt x="4311610" y="1269420"/>
                    <a:pt x="4309906" y="1267868"/>
                  </a:cubicBezTo>
                  <a:close/>
                  <a:moveTo>
                    <a:pt x="4301535" y="1259809"/>
                  </a:moveTo>
                  <a:cubicBezTo>
                    <a:pt x="4299403" y="1257939"/>
                    <a:pt x="4297171" y="1256178"/>
                    <a:pt x="4294859" y="1254537"/>
                  </a:cubicBezTo>
                  <a:cubicBezTo>
                    <a:pt x="4292637" y="1253651"/>
                    <a:pt x="4290634" y="1252288"/>
                    <a:pt x="4288980" y="1250557"/>
                  </a:cubicBezTo>
                  <a:cubicBezTo>
                    <a:pt x="4290874" y="1251751"/>
                    <a:pt x="4292866" y="1253044"/>
                    <a:pt x="4294859" y="1254537"/>
                  </a:cubicBezTo>
                  <a:lnTo>
                    <a:pt x="4297151" y="1255233"/>
                  </a:lnTo>
                  <a:cubicBezTo>
                    <a:pt x="4298546" y="1256725"/>
                    <a:pt x="4300041" y="1258118"/>
                    <a:pt x="4301535" y="1259809"/>
                  </a:cubicBezTo>
                  <a:cubicBezTo>
                    <a:pt x="4304654" y="1262237"/>
                    <a:pt x="4307564" y="1264933"/>
                    <a:pt x="4310205" y="1267868"/>
                  </a:cubicBezTo>
                  <a:cubicBezTo>
                    <a:pt x="4306916" y="1265381"/>
                    <a:pt x="4303827" y="1262396"/>
                    <a:pt x="4301037" y="1259610"/>
                  </a:cubicBezTo>
                  <a:close/>
                  <a:moveTo>
                    <a:pt x="4293763" y="1413517"/>
                  </a:moveTo>
                  <a:cubicBezTo>
                    <a:pt x="4291362" y="1415587"/>
                    <a:pt x="4288682" y="1417288"/>
                    <a:pt x="4285792" y="1418591"/>
                  </a:cubicBezTo>
                  <a:cubicBezTo>
                    <a:pt x="4287884" y="1417000"/>
                    <a:pt x="4290575" y="1415109"/>
                    <a:pt x="4293265" y="1413418"/>
                  </a:cubicBezTo>
                  <a:close/>
                  <a:moveTo>
                    <a:pt x="4287087" y="1246777"/>
                  </a:moveTo>
                  <a:cubicBezTo>
                    <a:pt x="4287356" y="1248139"/>
                    <a:pt x="4287974" y="1249403"/>
                    <a:pt x="4288881" y="1250458"/>
                  </a:cubicBezTo>
                  <a:lnTo>
                    <a:pt x="4287187" y="1249264"/>
                  </a:lnTo>
                  <a:cubicBezTo>
                    <a:pt x="4287047" y="1248388"/>
                    <a:pt x="4286848" y="1247523"/>
                    <a:pt x="4286589" y="1246677"/>
                  </a:cubicBezTo>
                  <a:close/>
                  <a:moveTo>
                    <a:pt x="4280212" y="1421476"/>
                  </a:moveTo>
                  <a:cubicBezTo>
                    <a:pt x="4279355" y="1421377"/>
                    <a:pt x="4278478" y="1421377"/>
                    <a:pt x="4277621" y="1421476"/>
                  </a:cubicBezTo>
                  <a:cubicBezTo>
                    <a:pt x="4275050" y="1421874"/>
                    <a:pt x="4272419" y="1421874"/>
                    <a:pt x="4269849" y="1421476"/>
                  </a:cubicBezTo>
                  <a:cubicBezTo>
                    <a:pt x="4265694" y="1421964"/>
                    <a:pt x="4261568" y="1422700"/>
                    <a:pt x="4257493" y="1423665"/>
                  </a:cubicBezTo>
                  <a:cubicBezTo>
                    <a:pt x="4261230" y="1422173"/>
                    <a:pt x="4265225" y="1421437"/>
                    <a:pt x="4269251" y="1421476"/>
                  </a:cubicBezTo>
                  <a:lnTo>
                    <a:pt x="4268952" y="1421476"/>
                  </a:lnTo>
                  <a:cubicBezTo>
                    <a:pt x="4271543" y="1421277"/>
                    <a:pt x="4274133" y="1421277"/>
                    <a:pt x="4276724" y="1421476"/>
                  </a:cubicBezTo>
                  <a:cubicBezTo>
                    <a:pt x="4279494" y="1421078"/>
                    <a:pt x="4282185" y="1420233"/>
                    <a:pt x="4284696" y="1418989"/>
                  </a:cubicBezTo>
                  <a:cubicBezTo>
                    <a:pt x="4283121" y="1419944"/>
                    <a:pt x="4281447" y="1420750"/>
                    <a:pt x="4279713" y="1421377"/>
                  </a:cubicBezTo>
                  <a:close/>
                  <a:moveTo>
                    <a:pt x="4252311" y="1426451"/>
                  </a:moveTo>
                  <a:cubicBezTo>
                    <a:pt x="4250627" y="1425973"/>
                    <a:pt x="4248874" y="1425774"/>
                    <a:pt x="4247130" y="1425854"/>
                  </a:cubicBezTo>
                  <a:cubicBezTo>
                    <a:pt x="4244549" y="1426202"/>
                    <a:pt x="4241958" y="1426401"/>
                    <a:pt x="4239358" y="1426451"/>
                  </a:cubicBezTo>
                  <a:cubicBezTo>
                    <a:pt x="4241909" y="1425874"/>
                    <a:pt x="4244519" y="1425665"/>
                    <a:pt x="4247130" y="1425854"/>
                  </a:cubicBezTo>
                  <a:cubicBezTo>
                    <a:pt x="4250518" y="1425257"/>
                    <a:pt x="4253906" y="1424561"/>
                    <a:pt x="4257094" y="1423665"/>
                  </a:cubicBezTo>
                  <a:cubicBezTo>
                    <a:pt x="4255161" y="1424183"/>
                    <a:pt x="4253368" y="1425098"/>
                    <a:pt x="4251813" y="1426351"/>
                  </a:cubicBezTo>
                  <a:close/>
                  <a:moveTo>
                    <a:pt x="4233479" y="1439583"/>
                  </a:moveTo>
                  <a:cubicBezTo>
                    <a:pt x="4233379" y="1440180"/>
                    <a:pt x="4233379" y="1440777"/>
                    <a:pt x="4233479" y="1441374"/>
                  </a:cubicBezTo>
                  <a:cubicBezTo>
                    <a:pt x="4233479" y="1442170"/>
                    <a:pt x="4232582" y="1443264"/>
                    <a:pt x="4232083" y="1444557"/>
                  </a:cubicBezTo>
                  <a:cubicBezTo>
                    <a:pt x="4232582" y="1442767"/>
                    <a:pt x="4233080" y="1441076"/>
                    <a:pt x="4233578" y="1439583"/>
                  </a:cubicBezTo>
                  <a:cubicBezTo>
                    <a:pt x="4234146" y="1436648"/>
                    <a:pt x="4235193" y="1433823"/>
                    <a:pt x="4236667" y="1431226"/>
                  </a:cubicBezTo>
                  <a:cubicBezTo>
                    <a:pt x="4234973" y="1433614"/>
                    <a:pt x="4233977" y="1436499"/>
                    <a:pt x="4232981" y="1439484"/>
                  </a:cubicBezTo>
                  <a:close/>
                  <a:moveTo>
                    <a:pt x="4229692" y="1457192"/>
                  </a:moveTo>
                  <a:cubicBezTo>
                    <a:pt x="4230390" y="1458287"/>
                    <a:pt x="4231187" y="1459481"/>
                    <a:pt x="4231984" y="1460873"/>
                  </a:cubicBezTo>
                  <a:lnTo>
                    <a:pt x="4231984" y="1460873"/>
                  </a:lnTo>
                  <a:cubicBezTo>
                    <a:pt x="4232243" y="1461242"/>
                    <a:pt x="4232442" y="1461640"/>
                    <a:pt x="4232582" y="1462067"/>
                  </a:cubicBezTo>
                  <a:cubicBezTo>
                    <a:pt x="4232283" y="1461510"/>
                    <a:pt x="4231954" y="1460983"/>
                    <a:pt x="4231585" y="1460476"/>
                  </a:cubicBezTo>
                  <a:cubicBezTo>
                    <a:pt x="4230320" y="1459640"/>
                    <a:pt x="4229483" y="1458297"/>
                    <a:pt x="4229293" y="1456795"/>
                  </a:cubicBezTo>
                  <a:lnTo>
                    <a:pt x="4227998" y="1454805"/>
                  </a:lnTo>
                  <a:cubicBezTo>
                    <a:pt x="4227998" y="1453810"/>
                    <a:pt x="4228895" y="1452716"/>
                    <a:pt x="4229293" y="1451621"/>
                  </a:cubicBezTo>
                  <a:cubicBezTo>
                    <a:pt x="4228785" y="1453402"/>
                    <a:pt x="4228716" y="1455282"/>
                    <a:pt x="4229094" y="1457093"/>
                  </a:cubicBezTo>
                  <a:close/>
                  <a:moveTo>
                    <a:pt x="4230988" y="1532206"/>
                  </a:moveTo>
                  <a:cubicBezTo>
                    <a:pt x="4230918" y="1532733"/>
                    <a:pt x="4230918" y="1533270"/>
                    <a:pt x="4230988" y="1533798"/>
                  </a:cubicBezTo>
                  <a:cubicBezTo>
                    <a:pt x="4229911" y="1538812"/>
                    <a:pt x="4228546" y="1543766"/>
                    <a:pt x="4226902" y="1548621"/>
                  </a:cubicBezTo>
                  <a:cubicBezTo>
                    <a:pt x="4226105" y="1556381"/>
                    <a:pt x="4218532" y="1557277"/>
                    <a:pt x="4210860" y="1558570"/>
                  </a:cubicBezTo>
                  <a:cubicBezTo>
                    <a:pt x="4220824" y="1556580"/>
                    <a:pt x="4223813" y="1557078"/>
                    <a:pt x="4226902" y="1548621"/>
                  </a:cubicBezTo>
                  <a:cubicBezTo>
                    <a:pt x="4226952" y="1548323"/>
                    <a:pt x="4226952" y="1548024"/>
                    <a:pt x="4226902" y="1547726"/>
                  </a:cubicBezTo>
                  <a:cubicBezTo>
                    <a:pt x="4227500" y="1543249"/>
                    <a:pt x="4230190" y="1537379"/>
                    <a:pt x="4230489" y="1532106"/>
                  </a:cubicBezTo>
                  <a:close/>
                  <a:moveTo>
                    <a:pt x="4130646" y="1562550"/>
                  </a:moveTo>
                  <a:cubicBezTo>
                    <a:pt x="4128155" y="1562550"/>
                    <a:pt x="4126062" y="1562550"/>
                    <a:pt x="4124767" y="1562550"/>
                  </a:cubicBezTo>
                  <a:cubicBezTo>
                    <a:pt x="4102148" y="1563246"/>
                    <a:pt x="4078233" y="1564440"/>
                    <a:pt x="4054418" y="1565037"/>
                  </a:cubicBezTo>
                  <a:cubicBezTo>
                    <a:pt x="4079628" y="1563942"/>
                    <a:pt x="4105237" y="1562550"/>
                    <a:pt x="4130148" y="1562450"/>
                  </a:cubicBezTo>
                  <a:close/>
                  <a:moveTo>
                    <a:pt x="3544240" y="1182806"/>
                  </a:moveTo>
                  <a:cubicBezTo>
                    <a:pt x="3544858" y="1181612"/>
                    <a:pt x="3545337" y="1180339"/>
                    <a:pt x="3545635" y="1179026"/>
                  </a:cubicBezTo>
                  <a:cubicBezTo>
                    <a:pt x="3545396" y="1177444"/>
                    <a:pt x="3545396" y="1175832"/>
                    <a:pt x="3545635" y="1174250"/>
                  </a:cubicBezTo>
                  <a:cubicBezTo>
                    <a:pt x="3545695" y="1173753"/>
                    <a:pt x="3545695" y="1173255"/>
                    <a:pt x="3545635" y="1172758"/>
                  </a:cubicBezTo>
                  <a:lnTo>
                    <a:pt x="3547329" y="1170868"/>
                  </a:lnTo>
                  <a:cubicBezTo>
                    <a:pt x="3546622" y="1171892"/>
                    <a:pt x="3546114" y="1173036"/>
                    <a:pt x="3545835" y="1174250"/>
                  </a:cubicBezTo>
                  <a:cubicBezTo>
                    <a:pt x="3546134" y="1175832"/>
                    <a:pt x="3546134" y="1177444"/>
                    <a:pt x="3545835" y="1179026"/>
                  </a:cubicBezTo>
                  <a:cubicBezTo>
                    <a:pt x="3545785" y="1179553"/>
                    <a:pt x="3545785" y="1180090"/>
                    <a:pt x="3545835" y="1180617"/>
                  </a:cubicBezTo>
                  <a:lnTo>
                    <a:pt x="3544240" y="1182806"/>
                  </a:lnTo>
                  <a:cubicBezTo>
                    <a:pt x="3542248" y="1187482"/>
                    <a:pt x="3538760" y="1192058"/>
                    <a:pt x="3536568" y="1196336"/>
                  </a:cubicBezTo>
                  <a:cubicBezTo>
                    <a:pt x="3533907" y="1202803"/>
                    <a:pt x="3535811" y="1210245"/>
                    <a:pt x="3541251" y="1214642"/>
                  </a:cubicBezTo>
                  <a:cubicBezTo>
                    <a:pt x="3535990" y="1210702"/>
                    <a:pt x="3533828" y="1203868"/>
                    <a:pt x="3535870" y="1197630"/>
                  </a:cubicBezTo>
                  <a:cubicBezTo>
                    <a:pt x="3536020" y="1197162"/>
                    <a:pt x="3536259" y="1196724"/>
                    <a:pt x="3536568" y="1196336"/>
                  </a:cubicBezTo>
                  <a:cubicBezTo>
                    <a:pt x="3538401" y="1191521"/>
                    <a:pt x="3540813" y="1186945"/>
                    <a:pt x="3543742" y="1182707"/>
                  </a:cubicBezTo>
                  <a:close/>
                  <a:moveTo>
                    <a:pt x="3544240" y="1243692"/>
                  </a:moveTo>
                  <a:lnTo>
                    <a:pt x="3537066" y="1244289"/>
                  </a:lnTo>
                  <a:cubicBezTo>
                    <a:pt x="3538361" y="1244190"/>
                    <a:pt x="3541550" y="1243593"/>
                    <a:pt x="3543543" y="1243593"/>
                  </a:cubicBezTo>
                  <a:close/>
                  <a:moveTo>
                    <a:pt x="3530888" y="676614"/>
                  </a:moveTo>
                  <a:lnTo>
                    <a:pt x="3529095" y="679300"/>
                  </a:lnTo>
                  <a:lnTo>
                    <a:pt x="3523614" y="683081"/>
                  </a:lnTo>
                  <a:cubicBezTo>
                    <a:pt x="3526095" y="681161"/>
                    <a:pt x="3528307" y="678922"/>
                    <a:pt x="3530190" y="676415"/>
                  </a:cubicBezTo>
                  <a:close/>
                  <a:moveTo>
                    <a:pt x="2675444" y="1160123"/>
                  </a:moveTo>
                  <a:cubicBezTo>
                    <a:pt x="2701849" y="1159426"/>
                    <a:pt x="2731045" y="1160123"/>
                    <a:pt x="2760141" y="1160123"/>
                  </a:cubicBezTo>
                  <a:close/>
                  <a:moveTo>
                    <a:pt x="2600113" y="1110379"/>
                  </a:moveTo>
                  <a:cubicBezTo>
                    <a:pt x="2600113" y="1101226"/>
                    <a:pt x="2600113" y="1092074"/>
                    <a:pt x="2600113" y="1083020"/>
                  </a:cubicBezTo>
                  <a:cubicBezTo>
                    <a:pt x="2600412" y="1092870"/>
                    <a:pt x="2600312" y="1102022"/>
                    <a:pt x="2600113" y="1110379"/>
                  </a:cubicBezTo>
                  <a:close/>
                  <a:moveTo>
                    <a:pt x="2600113" y="1111175"/>
                  </a:moveTo>
                  <a:cubicBezTo>
                    <a:pt x="2600113" y="1124109"/>
                    <a:pt x="2600113" y="1136843"/>
                    <a:pt x="2600113" y="1149577"/>
                  </a:cubicBezTo>
                  <a:cubicBezTo>
                    <a:pt x="2598459" y="1136564"/>
                    <a:pt x="2598459" y="1123392"/>
                    <a:pt x="2600113" y="1110379"/>
                  </a:cubicBezTo>
                  <a:close/>
                  <a:moveTo>
                    <a:pt x="2732241" y="2144054"/>
                  </a:moveTo>
                  <a:cubicBezTo>
                    <a:pt x="2772098" y="2144054"/>
                    <a:pt x="2812654" y="2144054"/>
                    <a:pt x="2852810" y="2144651"/>
                  </a:cubicBezTo>
                  <a:lnTo>
                    <a:pt x="2852810" y="2144651"/>
                  </a:lnTo>
                  <a:lnTo>
                    <a:pt x="2633593" y="2144651"/>
                  </a:lnTo>
                  <a:close/>
                  <a:moveTo>
                    <a:pt x="4221920" y="2755901"/>
                  </a:moveTo>
                  <a:lnTo>
                    <a:pt x="4225009" y="2752220"/>
                  </a:lnTo>
                  <a:cubicBezTo>
                    <a:pt x="4225706" y="2751206"/>
                    <a:pt x="4225706" y="2749852"/>
                    <a:pt x="4225009" y="2748838"/>
                  </a:cubicBezTo>
                  <a:cubicBezTo>
                    <a:pt x="4223454" y="2747703"/>
                    <a:pt x="4222139" y="2746291"/>
                    <a:pt x="4221123" y="2744659"/>
                  </a:cubicBezTo>
                  <a:lnTo>
                    <a:pt x="4218931" y="2742968"/>
                  </a:lnTo>
                  <a:lnTo>
                    <a:pt x="4220226" y="2741476"/>
                  </a:lnTo>
                  <a:cubicBezTo>
                    <a:pt x="4220226" y="2739784"/>
                    <a:pt x="4221920" y="2738392"/>
                    <a:pt x="4225208" y="2737994"/>
                  </a:cubicBezTo>
                  <a:cubicBezTo>
                    <a:pt x="4223325" y="2738789"/>
                    <a:pt x="4221621" y="2739974"/>
                    <a:pt x="4220226" y="2741476"/>
                  </a:cubicBezTo>
                  <a:cubicBezTo>
                    <a:pt x="4220196" y="2742600"/>
                    <a:pt x="4220505" y="2743714"/>
                    <a:pt x="4221123" y="2744659"/>
                  </a:cubicBezTo>
                  <a:cubicBezTo>
                    <a:pt x="4222637" y="2745833"/>
                    <a:pt x="4223943" y="2747246"/>
                    <a:pt x="4225009" y="2748838"/>
                  </a:cubicBezTo>
                  <a:lnTo>
                    <a:pt x="4226902" y="2750032"/>
                  </a:lnTo>
                  <a:lnTo>
                    <a:pt x="4225009" y="2752220"/>
                  </a:lnTo>
                  <a:cubicBezTo>
                    <a:pt x="4224072" y="2754101"/>
                    <a:pt x="4222657" y="2755712"/>
                    <a:pt x="4220923" y="2756896"/>
                  </a:cubicBezTo>
                  <a:cubicBezTo>
                    <a:pt x="4221651" y="2757821"/>
                    <a:pt x="4222488" y="2758657"/>
                    <a:pt x="4223415" y="2759383"/>
                  </a:cubicBezTo>
                  <a:cubicBezTo>
                    <a:pt x="4226912" y="2760995"/>
                    <a:pt x="4229812" y="2763681"/>
                    <a:pt x="4231685" y="2767044"/>
                  </a:cubicBezTo>
                  <a:cubicBezTo>
                    <a:pt x="4229293" y="2764119"/>
                    <a:pt x="4226513" y="2761542"/>
                    <a:pt x="4223415" y="2759383"/>
                  </a:cubicBezTo>
                  <a:cubicBezTo>
                    <a:pt x="4218950" y="2757135"/>
                    <a:pt x="4213918" y="2756270"/>
                    <a:pt x="4208966" y="2756896"/>
                  </a:cubicBezTo>
                  <a:lnTo>
                    <a:pt x="4163130" y="2756896"/>
                  </a:lnTo>
                  <a:cubicBezTo>
                    <a:pt x="4182859" y="2756568"/>
                    <a:pt x="4202459" y="2756070"/>
                    <a:pt x="4221920" y="2755404"/>
                  </a:cubicBezTo>
                  <a:close/>
                  <a:moveTo>
                    <a:pt x="4332425" y="2472661"/>
                  </a:moveTo>
                  <a:cubicBezTo>
                    <a:pt x="4334338" y="2471517"/>
                    <a:pt x="4335813" y="2469766"/>
                    <a:pt x="4336610" y="2467686"/>
                  </a:cubicBezTo>
                  <a:cubicBezTo>
                    <a:pt x="4336411" y="2468781"/>
                    <a:pt x="4335116" y="2470472"/>
                    <a:pt x="4332425" y="2472163"/>
                  </a:cubicBezTo>
                  <a:close/>
                  <a:moveTo>
                    <a:pt x="4327244" y="2289902"/>
                  </a:moveTo>
                  <a:cubicBezTo>
                    <a:pt x="4325251" y="2293981"/>
                    <a:pt x="4322959" y="2298657"/>
                    <a:pt x="4321564" y="2301244"/>
                  </a:cubicBezTo>
                  <a:cubicBezTo>
                    <a:pt x="4322959" y="2298160"/>
                    <a:pt x="4325151" y="2293484"/>
                    <a:pt x="4327244" y="2289405"/>
                  </a:cubicBezTo>
                  <a:close/>
                  <a:moveTo>
                    <a:pt x="4329535" y="2450475"/>
                  </a:moveTo>
                  <a:cubicBezTo>
                    <a:pt x="4330682" y="2449888"/>
                    <a:pt x="4331877" y="2449420"/>
                    <a:pt x="4333123" y="2449082"/>
                  </a:cubicBezTo>
                  <a:cubicBezTo>
                    <a:pt x="4330931" y="2449779"/>
                    <a:pt x="4329735" y="2450574"/>
                    <a:pt x="4329336" y="2451569"/>
                  </a:cubicBezTo>
                  <a:close/>
                  <a:moveTo>
                    <a:pt x="4356439" y="2436646"/>
                  </a:moveTo>
                  <a:cubicBezTo>
                    <a:pt x="4354377" y="2435711"/>
                    <a:pt x="4352055" y="2435492"/>
                    <a:pt x="4349863" y="2436049"/>
                  </a:cubicBezTo>
                  <a:cubicBezTo>
                    <a:pt x="4352005" y="2435343"/>
                    <a:pt x="4354317" y="2435373"/>
                    <a:pt x="4356439" y="2436149"/>
                  </a:cubicBezTo>
                  <a:close/>
                  <a:moveTo>
                    <a:pt x="4401279" y="2324126"/>
                  </a:moveTo>
                  <a:cubicBezTo>
                    <a:pt x="4402007" y="2325429"/>
                    <a:pt x="4402186" y="2326971"/>
                    <a:pt x="4401777" y="2328404"/>
                  </a:cubicBezTo>
                  <a:cubicBezTo>
                    <a:pt x="4401200" y="2326812"/>
                    <a:pt x="4400990" y="2325111"/>
                    <a:pt x="4401180" y="2323429"/>
                  </a:cubicBezTo>
                  <a:cubicBezTo>
                    <a:pt x="4401180" y="2323668"/>
                    <a:pt x="4401210" y="2323897"/>
                    <a:pt x="4401279" y="2324126"/>
                  </a:cubicBezTo>
                  <a:close/>
                  <a:moveTo>
                    <a:pt x="4401777" y="2328503"/>
                  </a:moveTo>
                  <a:cubicBezTo>
                    <a:pt x="4401907" y="2329040"/>
                    <a:pt x="4402076" y="2329578"/>
                    <a:pt x="4402276" y="2330095"/>
                  </a:cubicBezTo>
                  <a:lnTo>
                    <a:pt x="4399884" y="2330991"/>
                  </a:lnTo>
                  <a:cubicBezTo>
                    <a:pt x="4397234" y="2332911"/>
                    <a:pt x="4394354" y="2334482"/>
                    <a:pt x="4391315" y="2335667"/>
                  </a:cubicBezTo>
                  <a:cubicBezTo>
                    <a:pt x="4394085" y="2333955"/>
                    <a:pt x="4396945" y="2332403"/>
                    <a:pt x="4399884" y="2330991"/>
                  </a:cubicBezTo>
                  <a:cubicBezTo>
                    <a:pt x="4400781" y="2330195"/>
                    <a:pt x="4401439" y="2329160"/>
                    <a:pt x="4401777" y="2328006"/>
                  </a:cubicBezTo>
                  <a:close/>
                  <a:moveTo>
                    <a:pt x="4390916" y="2335965"/>
                  </a:moveTo>
                  <a:cubicBezTo>
                    <a:pt x="4388943" y="2337169"/>
                    <a:pt x="4387080" y="2338532"/>
                    <a:pt x="4385336" y="2340044"/>
                  </a:cubicBezTo>
                  <a:cubicBezTo>
                    <a:pt x="4386841" y="2338124"/>
                    <a:pt x="4388744" y="2336562"/>
                    <a:pt x="4390916" y="2335468"/>
                  </a:cubicBezTo>
                  <a:close/>
                  <a:moveTo>
                    <a:pt x="4408852" y="2263240"/>
                  </a:moveTo>
                  <a:cubicBezTo>
                    <a:pt x="4410895" y="2262712"/>
                    <a:pt x="4413027" y="2262543"/>
                    <a:pt x="4415130" y="2262742"/>
                  </a:cubicBezTo>
                  <a:cubicBezTo>
                    <a:pt x="4412928" y="2262334"/>
                    <a:pt x="4410656" y="2262334"/>
                    <a:pt x="4408454" y="2262742"/>
                  </a:cubicBezTo>
                  <a:close/>
                  <a:moveTo>
                    <a:pt x="4421009" y="2247819"/>
                  </a:moveTo>
                  <a:cubicBezTo>
                    <a:pt x="4419394" y="2248078"/>
                    <a:pt x="4417910" y="2248884"/>
                    <a:pt x="4416824" y="2250107"/>
                  </a:cubicBezTo>
                  <a:cubicBezTo>
                    <a:pt x="4417053" y="2249162"/>
                    <a:pt x="4417531" y="2248307"/>
                    <a:pt x="4418219" y="2247620"/>
                  </a:cubicBezTo>
                  <a:lnTo>
                    <a:pt x="4421009" y="2247620"/>
                  </a:lnTo>
                  <a:cubicBezTo>
                    <a:pt x="4422832" y="2247103"/>
                    <a:pt x="4424706" y="2246735"/>
                    <a:pt x="4426589" y="2246526"/>
                  </a:cubicBezTo>
                  <a:cubicBezTo>
                    <a:pt x="4427845" y="2245819"/>
                    <a:pt x="4428691" y="2244566"/>
                    <a:pt x="4428881" y="2243143"/>
                  </a:cubicBezTo>
                  <a:cubicBezTo>
                    <a:pt x="4428602" y="2240955"/>
                    <a:pt x="4427785" y="2238865"/>
                    <a:pt x="4426489" y="2237074"/>
                  </a:cubicBezTo>
                  <a:cubicBezTo>
                    <a:pt x="4427944" y="2238776"/>
                    <a:pt x="4428791" y="2240905"/>
                    <a:pt x="4428881" y="2243143"/>
                  </a:cubicBezTo>
                  <a:cubicBezTo>
                    <a:pt x="4429000" y="2244248"/>
                    <a:pt x="4428761" y="2245372"/>
                    <a:pt x="4428183" y="2246327"/>
                  </a:cubicBezTo>
                  <a:lnTo>
                    <a:pt x="4426589" y="2246327"/>
                  </a:lnTo>
                  <a:cubicBezTo>
                    <a:pt x="4424885" y="2247242"/>
                    <a:pt x="4422932" y="2247590"/>
                    <a:pt x="4421009" y="2247322"/>
                  </a:cubicBezTo>
                  <a:close/>
                  <a:moveTo>
                    <a:pt x="4425194" y="2235582"/>
                  </a:moveTo>
                  <a:cubicBezTo>
                    <a:pt x="4426559" y="2233324"/>
                    <a:pt x="4427346" y="2230757"/>
                    <a:pt x="4427486" y="2228121"/>
                  </a:cubicBezTo>
                  <a:cubicBezTo>
                    <a:pt x="4427526" y="2230628"/>
                    <a:pt x="4426718" y="2233085"/>
                    <a:pt x="4425194" y="2235085"/>
                  </a:cubicBezTo>
                  <a:close/>
                  <a:moveTo>
                    <a:pt x="4426190" y="2222748"/>
                  </a:moveTo>
                  <a:cubicBezTo>
                    <a:pt x="4427007" y="2224101"/>
                    <a:pt x="4427416" y="2225653"/>
                    <a:pt x="4427386" y="2227225"/>
                  </a:cubicBezTo>
                  <a:cubicBezTo>
                    <a:pt x="4426489" y="2223146"/>
                    <a:pt x="4424327" y="2219465"/>
                    <a:pt x="4421208" y="2216680"/>
                  </a:cubicBezTo>
                  <a:cubicBezTo>
                    <a:pt x="4423301" y="2209914"/>
                    <a:pt x="4428781" y="2211307"/>
                    <a:pt x="4434461" y="2212401"/>
                  </a:cubicBezTo>
                  <a:cubicBezTo>
                    <a:pt x="4429279" y="2211606"/>
                    <a:pt x="4423898" y="2209914"/>
                    <a:pt x="4421208" y="2216680"/>
                  </a:cubicBezTo>
                  <a:cubicBezTo>
                    <a:pt x="4424646" y="2220002"/>
                    <a:pt x="4429100" y="2222072"/>
                    <a:pt x="4433863" y="2222549"/>
                  </a:cubicBezTo>
                  <a:cubicBezTo>
                    <a:pt x="4445123" y="2222549"/>
                    <a:pt x="4456781" y="2222549"/>
                    <a:pt x="4468539" y="2222549"/>
                  </a:cubicBezTo>
                  <a:cubicBezTo>
                    <a:pt x="4477936" y="2221435"/>
                    <a:pt x="4487442" y="2221435"/>
                    <a:pt x="4496838" y="2222549"/>
                  </a:cubicBezTo>
                  <a:lnTo>
                    <a:pt x="4546660" y="2222549"/>
                  </a:lnTo>
                  <a:lnTo>
                    <a:pt x="4498133" y="2222549"/>
                  </a:lnTo>
                  <a:cubicBezTo>
                    <a:pt x="4497774" y="2222450"/>
                    <a:pt x="4497396" y="2222450"/>
                    <a:pt x="4497037" y="2222549"/>
                  </a:cubicBezTo>
                  <a:lnTo>
                    <a:pt x="4468738" y="2222549"/>
                  </a:lnTo>
                  <a:cubicBezTo>
                    <a:pt x="4457219" y="2223833"/>
                    <a:pt x="4445581" y="2223833"/>
                    <a:pt x="4434062" y="2222549"/>
                  </a:cubicBezTo>
                  <a:cubicBezTo>
                    <a:pt x="4431272" y="2222052"/>
                    <a:pt x="4428382" y="2222052"/>
                    <a:pt x="4426190" y="2222251"/>
                  </a:cubicBezTo>
                  <a:close/>
                  <a:moveTo>
                    <a:pt x="4586518" y="2072920"/>
                  </a:moveTo>
                  <a:lnTo>
                    <a:pt x="4593692" y="2071627"/>
                  </a:lnTo>
                  <a:cubicBezTo>
                    <a:pt x="4591101" y="2071726"/>
                    <a:pt x="4588610" y="2072025"/>
                    <a:pt x="4586518" y="2072423"/>
                  </a:cubicBezTo>
                  <a:close/>
                  <a:moveTo>
                    <a:pt x="4614617" y="2216779"/>
                  </a:moveTo>
                  <a:cubicBezTo>
                    <a:pt x="4614657" y="2218958"/>
                    <a:pt x="4613920" y="2221077"/>
                    <a:pt x="4612525" y="2222748"/>
                  </a:cubicBezTo>
                  <a:cubicBezTo>
                    <a:pt x="4613751" y="2220798"/>
                    <a:pt x="4614468" y="2218580"/>
                    <a:pt x="4614617" y="2216282"/>
                  </a:cubicBezTo>
                  <a:close/>
                  <a:moveTo>
                    <a:pt x="4816994" y="2456046"/>
                  </a:moveTo>
                  <a:lnTo>
                    <a:pt x="4831742" y="2456046"/>
                  </a:lnTo>
                  <a:cubicBezTo>
                    <a:pt x="4874389" y="2456046"/>
                    <a:pt x="4896909" y="2454355"/>
                    <a:pt x="4909165" y="2456046"/>
                  </a:cubicBezTo>
                  <a:cubicBezTo>
                    <a:pt x="4925806" y="2456046"/>
                    <a:pt x="4942347" y="2456046"/>
                    <a:pt x="4958987" y="2456046"/>
                  </a:cubicBezTo>
                  <a:lnTo>
                    <a:pt x="4920525" y="2456544"/>
                  </a:lnTo>
                  <a:cubicBezTo>
                    <a:pt x="4920525" y="2459130"/>
                    <a:pt x="4921421" y="2461816"/>
                    <a:pt x="4921820" y="2464403"/>
                  </a:cubicBezTo>
                  <a:cubicBezTo>
                    <a:pt x="4919439" y="2459568"/>
                    <a:pt x="4914645" y="2456385"/>
                    <a:pt x="4909265" y="2456046"/>
                  </a:cubicBezTo>
                  <a:cubicBezTo>
                    <a:pt x="4878504" y="2456315"/>
                    <a:pt x="4847754" y="2456315"/>
                    <a:pt x="4816994" y="2456046"/>
                  </a:cubicBezTo>
                  <a:close/>
                  <a:moveTo>
                    <a:pt x="4983201" y="3015066"/>
                  </a:moveTo>
                  <a:cubicBezTo>
                    <a:pt x="4983599" y="3014489"/>
                    <a:pt x="4983898" y="3013852"/>
                    <a:pt x="4984098" y="3013176"/>
                  </a:cubicBezTo>
                  <a:cubicBezTo>
                    <a:pt x="4984098" y="3010390"/>
                    <a:pt x="4984994" y="3007804"/>
                    <a:pt x="4985194" y="3005217"/>
                  </a:cubicBezTo>
                  <a:cubicBezTo>
                    <a:pt x="4985283" y="3007913"/>
                    <a:pt x="4984914" y="3010609"/>
                    <a:pt x="4984098" y="3013176"/>
                  </a:cubicBezTo>
                  <a:cubicBezTo>
                    <a:pt x="4983550" y="3016170"/>
                    <a:pt x="4983181" y="3019195"/>
                    <a:pt x="4983001" y="3022229"/>
                  </a:cubicBezTo>
                  <a:cubicBezTo>
                    <a:pt x="4982473" y="3019861"/>
                    <a:pt x="4982543" y="3017404"/>
                    <a:pt x="4983201" y="3015066"/>
                  </a:cubicBezTo>
                  <a:close/>
                  <a:moveTo>
                    <a:pt x="4987187" y="2984225"/>
                  </a:moveTo>
                  <a:lnTo>
                    <a:pt x="4988581" y="2981240"/>
                  </a:lnTo>
                  <a:cubicBezTo>
                    <a:pt x="4988023" y="2983011"/>
                    <a:pt x="4987724" y="2984852"/>
                    <a:pt x="4987685" y="2986712"/>
                  </a:cubicBezTo>
                  <a:cubicBezTo>
                    <a:pt x="4987884" y="2990065"/>
                    <a:pt x="4987515" y="2993428"/>
                    <a:pt x="4986589" y="2996661"/>
                  </a:cubicBezTo>
                  <a:cubicBezTo>
                    <a:pt x="4987176" y="2993378"/>
                    <a:pt x="4987545" y="2990045"/>
                    <a:pt x="4987685" y="2986712"/>
                  </a:cubicBezTo>
                  <a:cubicBezTo>
                    <a:pt x="4987685" y="2985857"/>
                    <a:pt x="4987515" y="2985011"/>
                    <a:pt x="4987187" y="2984225"/>
                  </a:cubicBezTo>
                  <a:close/>
                  <a:moveTo>
                    <a:pt x="4986389" y="3030487"/>
                  </a:moveTo>
                  <a:cubicBezTo>
                    <a:pt x="4985293" y="3028994"/>
                    <a:pt x="4984197" y="3027701"/>
                    <a:pt x="4983201" y="3026507"/>
                  </a:cubicBezTo>
                  <a:cubicBezTo>
                    <a:pt x="4983091" y="3025313"/>
                    <a:pt x="4983091" y="3024119"/>
                    <a:pt x="4983201" y="3022926"/>
                  </a:cubicBezTo>
                  <a:cubicBezTo>
                    <a:pt x="4983868" y="3025592"/>
                    <a:pt x="4984944" y="3028149"/>
                    <a:pt x="4986389" y="3030487"/>
                  </a:cubicBezTo>
                  <a:close/>
                  <a:moveTo>
                    <a:pt x="4990176" y="2977659"/>
                  </a:moveTo>
                  <a:cubicBezTo>
                    <a:pt x="4990474" y="2975848"/>
                    <a:pt x="4990474" y="2973998"/>
                    <a:pt x="4990176" y="2972187"/>
                  </a:cubicBezTo>
                  <a:cubicBezTo>
                    <a:pt x="4989926" y="2971302"/>
                    <a:pt x="4989478" y="2970496"/>
                    <a:pt x="4988880" y="2969799"/>
                  </a:cubicBezTo>
                  <a:cubicBezTo>
                    <a:pt x="4989090" y="2968914"/>
                    <a:pt x="4989090" y="2967999"/>
                    <a:pt x="4988880" y="2967113"/>
                  </a:cubicBezTo>
                  <a:cubicBezTo>
                    <a:pt x="4987914" y="2963581"/>
                    <a:pt x="4986399" y="2960229"/>
                    <a:pt x="4984396" y="2957164"/>
                  </a:cubicBezTo>
                  <a:cubicBezTo>
                    <a:pt x="4986768" y="2960020"/>
                    <a:pt x="4988312" y="2963452"/>
                    <a:pt x="4988880" y="2967113"/>
                  </a:cubicBezTo>
                  <a:cubicBezTo>
                    <a:pt x="4989439" y="2968755"/>
                    <a:pt x="4989777" y="2970456"/>
                    <a:pt x="4989877" y="2972187"/>
                  </a:cubicBezTo>
                  <a:cubicBezTo>
                    <a:pt x="4990395" y="2973789"/>
                    <a:pt x="4990505" y="2975510"/>
                    <a:pt x="4990176" y="2977162"/>
                  </a:cubicBezTo>
                  <a:close/>
                  <a:moveTo>
                    <a:pt x="4976425" y="2783260"/>
                  </a:moveTo>
                  <a:cubicBezTo>
                    <a:pt x="4968652" y="2751325"/>
                    <a:pt x="4963072" y="2717798"/>
                    <a:pt x="4957891" y="2683773"/>
                  </a:cubicBezTo>
                  <a:cubicBezTo>
                    <a:pt x="4963272" y="2717400"/>
                    <a:pt x="4969350" y="2750728"/>
                    <a:pt x="4976425" y="2783260"/>
                  </a:cubicBezTo>
                  <a:close/>
                  <a:moveTo>
                    <a:pt x="5005621" y="2862850"/>
                  </a:moveTo>
                  <a:cubicBezTo>
                    <a:pt x="5003488" y="2860960"/>
                    <a:pt x="5001186" y="2859259"/>
                    <a:pt x="4998745" y="2857777"/>
                  </a:cubicBezTo>
                  <a:cubicBezTo>
                    <a:pt x="5001117" y="2859299"/>
                    <a:pt x="5003359" y="2861030"/>
                    <a:pt x="5005421" y="2862950"/>
                  </a:cubicBezTo>
                  <a:close/>
                  <a:moveTo>
                    <a:pt x="4938660" y="2564388"/>
                  </a:moveTo>
                  <a:cubicBezTo>
                    <a:pt x="4937962" y="2560906"/>
                    <a:pt x="4937265" y="2557523"/>
                    <a:pt x="4936567" y="2553942"/>
                  </a:cubicBezTo>
                  <a:cubicBezTo>
                    <a:pt x="4932073" y="2533985"/>
                    <a:pt x="4928745" y="2513789"/>
                    <a:pt x="4926603" y="2493453"/>
                  </a:cubicBezTo>
                  <a:cubicBezTo>
                    <a:pt x="4924909" y="2483505"/>
                    <a:pt x="4923314" y="2473556"/>
                    <a:pt x="4921521" y="2464403"/>
                  </a:cubicBezTo>
                  <a:cubicBezTo>
                    <a:pt x="4924620" y="2473785"/>
                    <a:pt x="4926334" y="2483575"/>
                    <a:pt x="4926603" y="2493453"/>
                  </a:cubicBezTo>
                  <a:cubicBezTo>
                    <a:pt x="4930887" y="2517530"/>
                    <a:pt x="4934674" y="2541208"/>
                    <a:pt x="4938461" y="2564886"/>
                  </a:cubicBezTo>
                  <a:close/>
                  <a:moveTo>
                    <a:pt x="5002332" y="2455748"/>
                  </a:moveTo>
                  <a:lnTo>
                    <a:pt x="5031229" y="2455748"/>
                  </a:lnTo>
                  <a:cubicBezTo>
                    <a:pt x="5039968" y="2454733"/>
                    <a:pt x="5048796" y="2454733"/>
                    <a:pt x="5057535" y="2455748"/>
                  </a:cubicBezTo>
                  <a:close/>
                  <a:moveTo>
                    <a:pt x="5219058" y="2453957"/>
                  </a:moveTo>
                  <a:cubicBezTo>
                    <a:pt x="5228614" y="2453082"/>
                    <a:pt x="5238100" y="2451579"/>
                    <a:pt x="5247457" y="2449480"/>
                  </a:cubicBezTo>
                  <a:lnTo>
                    <a:pt x="5257421" y="2446595"/>
                  </a:lnTo>
                  <a:cubicBezTo>
                    <a:pt x="5254253" y="2448018"/>
                    <a:pt x="5250894" y="2448993"/>
                    <a:pt x="5247457" y="2449480"/>
                  </a:cubicBezTo>
                  <a:cubicBezTo>
                    <a:pt x="5242624" y="2450246"/>
                    <a:pt x="5238061" y="2452236"/>
                    <a:pt x="5234204" y="2455250"/>
                  </a:cubicBezTo>
                  <a:cubicBezTo>
                    <a:pt x="5233895" y="2457081"/>
                    <a:pt x="5233327" y="2458852"/>
                    <a:pt x="5232510" y="2460523"/>
                  </a:cubicBezTo>
                  <a:cubicBezTo>
                    <a:pt x="5230856" y="2464921"/>
                    <a:pt x="5227817" y="2468651"/>
                    <a:pt x="5223841" y="2471168"/>
                  </a:cubicBezTo>
                  <a:cubicBezTo>
                    <a:pt x="5227428" y="2468253"/>
                    <a:pt x="5230378" y="2464622"/>
                    <a:pt x="5232510" y="2460523"/>
                  </a:cubicBezTo>
                  <a:cubicBezTo>
                    <a:pt x="5232271" y="2458603"/>
                    <a:pt x="5232889" y="2456673"/>
                    <a:pt x="5234204" y="2455250"/>
                  </a:cubicBezTo>
                  <a:lnTo>
                    <a:pt x="5234204" y="2453460"/>
                  </a:lnTo>
                  <a:cubicBezTo>
                    <a:pt x="5229022" y="2453460"/>
                    <a:pt x="5224240" y="2453460"/>
                    <a:pt x="5218759" y="2453957"/>
                  </a:cubicBezTo>
                  <a:cubicBezTo>
                    <a:pt x="5191885" y="2456185"/>
                    <a:pt x="5164892" y="2456713"/>
                    <a:pt x="5137948" y="2455549"/>
                  </a:cubicBezTo>
                  <a:cubicBezTo>
                    <a:pt x="5165051" y="2455847"/>
                    <a:pt x="5192055" y="2455449"/>
                    <a:pt x="5218859" y="2454455"/>
                  </a:cubicBezTo>
                  <a:close/>
                  <a:moveTo>
                    <a:pt x="5208097" y="2487484"/>
                  </a:moveTo>
                  <a:cubicBezTo>
                    <a:pt x="5208616" y="2488449"/>
                    <a:pt x="5208616" y="2489603"/>
                    <a:pt x="5208097" y="2490568"/>
                  </a:cubicBezTo>
                  <a:cubicBezTo>
                    <a:pt x="5207270" y="2492210"/>
                    <a:pt x="5206035" y="2493613"/>
                    <a:pt x="5204510" y="2494648"/>
                  </a:cubicBezTo>
                  <a:cubicBezTo>
                    <a:pt x="5205906" y="2493483"/>
                    <a:pt x="5207121" y="2492101"/>
                    <a:pt x="5208097" y="2490568"/>
                  </a:cubicBezTo>
                  <a:cubicBezTo>
                    <a:pt x="5208287" y="2489703"/>
                    <a:pt x="5208217" y="2488808"/>
                    <a:pt x="5207898" y="2487982"/>
                  </a:cubicBezTo>
                  <a:close/>
                  <a:moveTo>
                    <a:pt x="5207599" y="2486290"/>
                  </a:moveTo>
                  <a:cubicBezTo>
                    <a:pt x="5209423" y="2483923"/>
                    <a:pt x="5211495" y="2481754"/>
                    <a:pt x="5213777" y="2479824"/>
                  </a:cubicBezTo>
                  <a:cubicBezTo>
                    <a:pt x="5216687" y="2476591"/>
                    <a:pt x="5220044" y="2473775"/>
                    <a:pt x="5223742" y="2471467"/>
                  </a:cubicBezTo>
                  <a:cubicBezTo>
                    <a:pt x="5220653" y="2474352"/>
                    <a:pt x="5217264" y="2476938"/>
                    <a:pt x="5213777" y="2479824"/>
                  </a:cubicBezTo>
                  <a:cubicBezTo>
                    <a:pt x="5213269" y="2480232"/>
                    <a:pt x="5212861" y="2480739"/>
                    <a:pt x="5212581" y="2481316"/>
                  </a:cubicBezTo>
                  <a:close/>
                  <a:moveTo>
                    <a:pt x="5204909" y="2499124"/>
                  </a:moveTo>
                  <a:cubicBezTo>
                    <a:pt x="5204291" y="2497940"/>
                    <a:pt x="5203852" y="2496667"/>
                    <a:pt x="5203613" y="2495344"/>
                  </a:cubicBezTo>
                  <a:cubicBezTo>
                    <a:pt x="5204221" y="2496697"/>
                    <a:pt x="5204600" y="2498139"/>
                    <a:pt x="5204709" y="2499622"/>
                  </a:cubicBezTo>
                  <a:close/>
                  <a:moveTo>
                    <a:pt x="5208397" y="2504198"/>
                  </a:moveTo>
                  <a:lnTo>
                    <a:pt x="5205606" y="2503203"/>
                  </a:lnTo>
                  <a:cubicBezTo>
                    <a:pt x="5205467" y="2502228"/>
                    <a:pt x="5205268" y="2501263"/>
                    <a:pt x="5205008" y="2500318"/>
                  </a:cubicBezTo>
                  <a:cubicBezTo>
                    <a:pt x="5205825" y="2501940"/>
                    <a:pt x="5206902" y="2503422"/>
                    <a:pt x="5208197" y="2504696"/>
                  </a:cubicBezTo>
                  <a:close/>
                  <a:moveTo>
                    <a:pt x="5221051" y="2513152"/>
                  </a:moveTo>
                  <a:cubicBezTo>
                    <a:pt x="5216527" y="2510944"/>
                    <a:pt x="5212352" y="2508058"/>
                    <a:pt x="5208695" y="2504596"/>
                  </a:cubicBezTo>
                  <a:cubicBezTo>
                    <a:pt x="5212482" y="2507979"/>
                    <a:pt x="5216667" y="2510764"/>
                    <a:pt x="5220852" y="2513649"/>
                  </a:cubicBezTo>
                  <a:close/>
                  <a:moveTo>
                    <a:pt x="5240980" y="2529667"/>
                  </a:moveTo>
                  <a:cubicBezTo>
                    <a:pt x="5237732" y="2527100"/>
                    <a:pt x="5234722" y="2524235"/>
                    <a:pt x="5232012" y="2521111"/>
                  </a:cubicBezTo>
                  <a:cubicBezTo>
                    <a:pt x="5235330" y="2523777"/>
                    <a:pt x="5238339" y="2526822"/>
                    <a:pt x="5240980" y="2530164"/>
                  </a:cubicBezTo>
                  <a:close/>
                  <a:moveTo>
                    <a:pt x="5251841" y="2533448"/>
                  </a:moveTo>
                  <a:cubicBezTo>
                    <a:pt x="5248344" y="2533885"/>
                    <a:pt x="5244796" y="2533040"/>
                    <a:pt x="5241877" y="2531060"/>
                  </a:cubicBezTo>
                  <a:cubicBezTo>
                    <a:pt x="5241528" y="2530582"/>
                    <a:pt x="5241129" y="2530145"/>
                    <a:pt x="5240681" y="2529767"/>
                  </a:cubicBezTo>
                  <a:cubicBezTo>
                    <a:pt x="5243939" y="2532164"/>
                    <a:pt x="5247805" y="2533607"/>
                    <a:pt x="5251841" y="2533945"/>
                  </a:cubicBezTo>
                  <a:close/>
                  <a:moveTo>
                    <a:pt x="5264197" y="2535139"/>
                  </a:moveTo>
                  <a:lnTo>
                    <a:pt x="5252140" y="2533448"/>
                  </a:lnTo>
                  <a:cubicBezTo>
                    <a:pt x="5256265" y="2533338"/>
                    <a:pt x="5260370" y="2534084"/>
                    <a:pt x="5264197" y="2535636"/>
                  </a:cubicBezTo>
                  <a:close/>
                  <a:moveTo>
                    <a:pt x="5369023" y="3094855"/>
                  </a:moveTo>
                  <a:cubicBezTo>
                    <a:pt x="5368325" y="3098367"/>
                    <a:pt x="5368325" y="3101988"/>
                    <a:pt x="5369023" y="3105500"/>
                  </a:cubicBezTo>
                  <a:cubicBezTo>
                    <a:pt x="5368036" y="3102187"/>
                    <a:pt x="5368036" y="3098665"/>
                    <a:pt x="5369023" y="3095352"/>
                  </a:cubicBezTo>
                  <a:close/>
                  <a:moveTo>
                    <a:pt x="5382674" y="2689742"/>
                  </a:moveTo>
                  <a:cubicBezTo>
                    <a:pt x="5380980" y="2687265"/>
                    <a:pt x="5378937" y="2685056"/>
                    <a:pt x="5376595" y="2683176"/>
                  </a:cubicBezTo>
                  <a:cubicBezTo>
                    <a:pt x="5379665" y="2684380"/>
                    <a:pt x="5381947" y="2687026"/>
                    <a:pt x="5382674" y="2690240"/>
                  </a:cubicBezTo>
                  <a:close/>
                  <a:moveTo>
                    <a:pt x="5382674" y="2689742"/>
                  </a:moveTo>
                  <a:cubicBezTo>
                    <a:pt x="5384418" y="2694627"/>
                    <a:pt x="5384418" y="2699979"/>
                    <a:pt x="5382674" y="2704864"/>
                  </a:cubicBezTo>
                  <a:cubicBezTo>
                    <a:pt x="5385354" y="2705929"/>
                    <a:pt x="5387875" y="2707371"/>
                    <a:pt x="5390147" y="2709142"/>
                  </a:cubicBezTo>
                  <a:cubicBezTo>
                    <a:pt x="5387825" y="2707441"/>
                    <a:pt x="5385314" y="2706009"/>
                    <a:pt x="5382674" y="2704864"/>
                  </a:cubicBezTo>
                  <a:cubicBezTo>
                    <a:pt x="5383730" y="2700149"/>
                    <a:pt x="5383770" y="2695264"/>
                    <a:pt x="5382774" y="2690538"/>
                  </a:cubicBezTo>
                  <a:close/>
                  <a:moveTo>
                    <a:pt x="5429307" y="2748042"/>
                  </a:moveTo>
                  <a:cubicBezTo>
                    <a:pt x="5425949" y="2745555"/>
                    <a:pt x="5422382" y="2743356"/>
                    <a:pt x="5418645" y="2741476"/>
                  </a:cubicBezTo>
                  <a:cubicBezTo>
                    <a:pt x="5419891" y="2742033"/>
                    <a:pt x="5421196" y="2742431"/>
                    <a:pt x="5422532" y="2742670"/>
                  </a:cubicBezTo>
                  <a:cubicBezTo>
                    <a:pt x="5424823" y="2745256"/>
                    <a:pt x="5427215" y="2746848"/>
                    <a:pt x="5429407" y="2748838"/>
                  </a:cubicBezTo>
                  <a:close/>
                  <a:moveTo>
                    <a:pt x="5490987" y="2210810"/>
                  </a:moveTo>
                  <a:cubicBezTo>
                    <a:pt x="5479827" y="2210810"/>
                    <a:pt x="5468766" y="2210213"/>
                    <a:pt x="5457905" y="2209517"/>
                  </a:cubicBezTo>
                  <a:cubicBezTo>
                    <a:pt x="5468866" y="2210113"/>
                    <a:pt x="5479927" y="2210511"/>
                    <a:pt x="5490987" y="2210810"/>
                  </a:cubicBezTo>
                  <a:cubicBezTo>
                    <a:pt x="5517094" y="2211506"/>
                    <a:pt x="5543699" y="2211506"/>
                    <a:pt x="5569108" y="2213297"/>
                  </a:cubicBezTo>
                  <a:cubicBezTo>
                    <a:pt x="5543101" y="2213596"/>
                    <a:pt x="5517094" y="2212899"/>
                    <a:pt x="5491087" y="2211705"/>
                  </a:cubicBezTo>
                  <a:close/>
                  <a:moveTo>
                    <a:pt x="5469763" y="2428787"/>
                  </a:moveTo>
                  <a:lnTo>
                    <a:pt x="5458802" y="2428787"/>
                  </a:lnTo>
                  <a:close/>
                  <a:moveTo>
                    <a:pt x="5466474" y="2101373"/>
                  </a:moveTo>
                  <a:cubicBezTo>
                    <a:pt x="5468049" y="2102408"/>
                    <a:pt x="5469763" y="2103204"/>
                    <a:pt x="5471556" y="2103761"/>
                  </a:cubicBezTo>
                  <a:cubicBezTo>
                    <a:pt x="5469822" y="2103542"/>
                    <a:pt x="5468138" y="2103035"/>
                    <a:pt x="5466574" y="2102269"/>
                  </a:cubicBezTo>
                  <a:close/>
                  <a:moveTo>
                    <a:pt x="5783542" y="1727201"/>
                  </a:moveTo>
                  <a:cubicBezTo>
                    <a:pt x="5784907" y="1729271"/>
                    <a:pt x="5786511" y="1731171"/>
                    <a:pt x="5788325" y="1732872"/>
                  </a:cubicBezTo>
                  <a:cubicBezTo>
                    <a:pt x="5786492" y="1731201"/>
                    <a:pt x="5784887" y="1729290"/>
                    <a:pt x="5783542" y="1727201"/>
                  </a:cubicBezTo>
                  <a:close/>
                  <a:moveTo>
                    <a:pt x="5822304" y="1733270"/>
                  </a:moveTo>
                  <a:cubicBezTo>
                    <a:pt x="5824506" y="1729529"/>
                    <a:pt x="5827764" y="1726515"/>
                    <a:pt x="5831670" y="1724615"/>
                  </a:cubicBezTo>
                  <a:cubicBezTo>
                    <a:pt x="5835994" y="1722217"/>
                    <a:pt x="5840668" y="1720506"/>
                    <a:pt x="5845520" y="1719541"/>
                  </a:cubicBezTo>
                  <a:cubicBezTo>
                    <a:pt x="5840239" y="1721530"/>
                    <a:pt x="5835556" y="1722724"/>
                    <a:pt x="5831670" y="1724615"/>
                  </a:cubicBezTo>
                  <a:cubicBezTo>
                    <a:pt x="5828013" y="1726664"/>
                    <a:pt x="5824854" y="1729480"/>
                    <a:pt x="5822403" y="1732872"/>
                  </a:cubicBezTo>
                  <a:close/>
                  <a:moveTo>
                    <a:pt x="5824496" y="1790674"/>
                  </a:moveTo>
                  <a:cubicBezTo>
                    <a:pt x="5824496" y="1789182"/>
                    <a:pt x="5825492" y="1787491"/>
                    <a:pt x="5825891" y="1785899"/>
                  </a:cubicBezTo>
                  <a:cubicBezTo>
                    <a:pt x="5825841" y="1786197"/>
                    <a:pt x="5825841" y="1786496"/>
                    <a:pt x="5825891" y="1786794"/>
                  </a:cubicBezTo>
                  <a:cubicBezTo>
                    <a:pt x="5825691" y="1787590"/>
                    <a:pt x="5825093" y="1788884"/>
                    <a:pt x="5824595" y="1790276"/>
                  </a:cubicBezTo>
                  <a:close/>
                  <a:moveTo>
                    <a:pt x="5825891" y="1785800"/>
                  </a:moveTo>
                  <a:cubicBezTo>
                    <a:pt x="5825612" y="1784685"/>
                    <a:pt x="5825612" y="1783531"/>
                    <a:pt x="5825891" y="1782417"/>
                  </a:cubicBezTo>
                  <a:cubicBezTo>
                    <a:pt x="5825941" y="1781890"/>
                    <a:pt x="5825941" y="1781352"/>
                    <a:pt x="5825891" y="1780825"/>
                  </a:cubicBezTo>
                  <a:lnTo>
                    <a:pt x="5827386" y="1778935"/>
                  </a:lnTo>
                  <a:cubicBezTo>
                    <a:pt x="5828471" y="1776587"/>
                    <a:pt x="5829737" y="1774318"/>
                    <a:pt x="5831172" y="1772170"/>
                  </a:cubicBezTo>
                  <a:cubicBezTo>
                    <a:pt x="5832537" y="1769006"/>
                    <a:pt x="5833404" y="1765653"/>
                    <a:pt x="5833762" y="1762221"/>
                  </a:cubicBezTo>
                  <a:cubicBezTo>
                    <a:pt x="5833912" y="1764111"/>
                    <a:pt x="5833912" y="1766001"/>
                    <a:pt x="5833762" y="1767892"/>
                  </a:cubicBezTo>
                  <a:cubicBezTo>
                    <a:pt x="5833165" y="1768986"/>
                    <a:pt x="5832168" y="1770578"/>
                    <a:pt x="5831072" y="1772170"/>
                  </a:cubicBezTo>
                  <a:cubicBezTo>
                    <a:pt x="5830105" y="1774577"/>
                    <a:pt x="5828840" y="1776855"/>
                    <a:pt x="5827286" y="1778935"/>
                  </a:cubicBezTo>
                  <a:cubicBezTo>
                    <a:pt x="5826698" y="1780029"/>
                    <a:pt x="5826259" y="1781203"/>
                    <a:pt x="5825990" y="1782417"/>
                  </a:cubicBezTo>
                  <a:cubicBezTo>
                    <a:pt x="5826100" y="1783412"/>
                    <a:pt x="5826100" y="1784407"/>
                    <a:pt x="5825990" y="1785402"/>
                  </a:cubicBezTo>
                  <a:close/>
                  <a:moveTo>
                    <a:pt x="5901521" y="1795748"/>
                  </a:moveTo>
                  <a:cubicBezTo>
                    <a:pt x="5903394" y="1789809"/>
                    <a:pt x="5906084" y="1784148"/>
                    <a:pt x="5909492" y="1778935"/>
                  </a:cubicBezTo>
                  <a:cubicBezTo>
                    <a:pt x="5907220" y="1784715"/>
                    <a:pt x="5904560" y="1790336"/>
                    <a:pt x="5901521" y="1795748"/>
                  </a:cubicBezTo>
                  <a:cubicBezTo>
                    <a:pt x="5900624" y="1798136"/>
                    <a:pt x="5899727" y="1800623"/>
                    <a:pt x="5898830" y="1803309"/>
                  </a:cubicBezTo>
                  <a:cubicBezTo>
                    <a:pt x="5899388" y="1800663"/>
                    <a:pt x="5900325" y="1798116"/>
                    <a:pt x="5901620" y="1795748"/>
                  </a:cubicBezTo>
                  <a:close/>
                  <a:moveTo>
                    <a:pt x="5928823" y="1776746"/>
                  </a:moveTo>
                  <a:cubicBezTo>
                    <a:pt x="5924907" y="1774995"/>
                    <a:pt x="5920732" y="1773891"/>
                    <a:pt x="5916467" y="1773463"/>
                  </a:cubicBezTo>
                  <a:cubicBezTo>
                    <a:pt x="5920911" y="1772946"/>
                    <a:pt x="5925395" y="1774199"/>
                    <a:pt x="5928923" y="1776945"/>
                  </a:cubicBezTo>
                  <a:close/>
                  <a:moveTo>
                    <a:pt x="5560140" y="1521760"/>
                  </a:moveTo>
                  <a:lnTo>
                    <a:pt x="5560140" y="1533002"/>
                  </a:lnTo>
                  <a:cubicBezTo>
                    <a:pt x="5560788" y="1538991"/>
                    <a:pt x="5560788" y="1545020"/>
                    <a:pt x="5560140" y="1551009"/>
                  </a:cubicBezTo>
                  <a:lnTo>
                    <a:pt x="5560140" y="1558073"/>
                  </a:lnTo>
                  <a:lnTo>
                    <a:pt x="5556951" y="1559266"/>
                  </a:lnTo>
                  <a:cubicBezTo>
                    <a:pt x="5558735" y="1557038"/>
                    <a:pt x="5559841" y="1554342"/>
                    <a:pt x="5560140" y="1551506"/>
                  </a:cubicBezTo>
                  <a:lnTo>
                    <a:pt x="5560140" y="1533499"/>
                  </a:lnTo>
                  <a:cubicBezTo>
                    <a:pt x="5559702" y="1529599"/>
                    <a:pt x="5559702" y="1525660"/>
                    <a:pt x="5560140" y="1521760"/>
                  </a:cubicBezTo>
                  <a:close/>
                  <a:moveTo>
                    <a:pt x="5556852" y="1558769"/>
                  </a:moveTo>
                  <a:cubicBezTo>
                    <a:pt x="5554629" y="1560819"/>
                    <a:pt x="5551551" y="1561674"/>
                    <a:pt x="5548581" y="1561057"/>
                  </a:cubicBezTo>
                  <a:cubicBezTo>
                    <a:pt x="5550972" y="1560261"/>
                    <a:pt x="5554361" y="1559565"/>
                    <a:pt x="5556852" y="1558769"/>
                  </a:cubicBezTo>
                  <a:close/>
                  <a:moveTo>
                    <a:pt x="5549079" y="1611995"/>
                  </a:moveTo>
                  <a:cubicBezTo>
                    <a:pt x="5548222" y="1609090"/>
                    <a:pt x="5547555" y="1606135"/>
                    <a:pt x="5547087" y="1603140"/>
                  </a:cubicBezTo>
                  <a:cubicBezTo>
                    <a:pt x="5547784" y="1606722"/>
                    <a:pt x="5548681" y="1610701"/>
                    <a:pt x="5549079" y="1611995"/>
                  </a:cubicBezTo>
                  <a:close/>
                  <a:moveTo>
                    <a:pt x="5542603" y="1565037"/>
                  </a:moveTo>
                  <a:cubicBezTo>
                    <a:pt x="5541706" y="1568817"/>
                    <a:pt x="5544695" y="1572797"/>
                    <a:pt x="5547186" y="1576478"/>
                  </a:cubicBezTo>
                  <a:cubicBezTo>
                    <a:pt x="5542603" y="1570807"/>
                    <a:pt x="5541507" y="1567425"/>
                    <a:pt x="5542603" y="1565037"/>
                  </a:cubicBezTo>
                  <a:close/>
                  <a:moveTo>
                    <a:pt x="5536225" y="1637165"/>
                  </a:moveTo>
                  <a:cubicBezTo>
                    <a:pt x="5536943" y="1636140"/>
                    <a:pt x="5537610" y="1635076"/>
                    <a:pt x="5538218" y="1633982"/>
                  </a:cubicBezTo>
                  <a:cubicBezTo>
                    <a:pt x="5540211" y="1629117"/>
                    <a:pt x="5542473" y="1624371"/>
                    <a:pt x="5544994" y="1619755"/>
                  </a:cubicBezTo>
                  <a:cubicBezTo>
                    <a:pt x="5546200" y="1617168"/>
                    <a:pt x="5547595" y="1614671"/>
                    <a:pt x="5549179" y="1612293"/>
                  </a:cubicBezTo>
                  <a:lnTo>
                    <a:pt x="5544994" y="1619755"/>
                  </a:lnTo>
                  <a:cubicBezTo>
                    <a:pt x="5542802" y="1624431"/>
                    <a:pt x="5540610" y="1629704"/>
                    <a:pt x="5538218" y="1633982"/>
                  </a:cubicBezTo>
                  <a:cubicBezTo>
                    <a:pt x="5536186" y="1638687"/>
                    <a:pt x="5534651" y="1643582"/>
                    <a:pt x="5533634" y="1648606"/>
                  </a:cubicBezTo>
                  <a:cubicBezTo>
                    <a:pt x="5533923" y="1644846"/>
                    <a:pt x="5534800" y="1641155"/>
                    <a:pt x="5536225" y="1637663"/>
                  </a:cubicBezTo>
                  <a:close/>
                  <a:moveTo>
                    <a:pt x="5532040" y="1663231"/>
                  </a:moveTo>
                  <a:cubicBezTo>
                    <a:pt x="5531931" y="1658416"/>
                    <a:pt x="5532429" y="1653601"/>
                    <a:pt x="5533535" y="1648905"/>
                  </a:cubicBezTo>
                  <a:cubicBezTo>
                    <a:pt x="5533535" y="1653680"/>
                    <a:pt x="5532937" y="1658853"/>
                    <a:pt x="5532040" y="1663231"/>
                  </a:cubicBezTo>
                  <a:cubicBezTo>
                    <a:pt x="5531941" y="1664484"/>
                    <a:pt x="5531941" y="1665758"/>
                    <a:pt x="5532040" y="1667011"/>
                  </a:cubicBezTo>
                  <a:cubicBezTo>
                    <a:pt x="5531213" y="1667708"/>
                    <a:pt x="5530476" y="1668514"/>
                    <a:pt x="5529848" y="1669399"/>
                  </a:cubicBezTo>
                  <a:cubicBezTo>
                    <a:pt x="5530815" y="1667439"/>
                    <a:pt x="5531552" y="1665370"/>
                    <a:pt x="5532040" y="1663231"/>
                  </a:cubicBezTo>
                  <a:close/>
                  <a:moveTo>
                    <a:pt x="5524268" y="1675965"/>
                  </a:moveTo>
                  <a:cubicBezTo>
                    <a:pt x="5525006" y="1675488"/>
                    <a:pt x="5525703" y="1674951"/>
                    <a:pt x="5526361" y="1674373"/>
                  </a:cubicBezTo>
                  <a:cubicBezTo>
                    <a:pt x="5524846" y="1677060"/>
                    <a:pt x="5523710" y="1679935"/>
                    <a:pt x="5522972" y="1682929"/>
                  </a:cubicBezTo>
                  <a:cubicBezTo>
                    <a:pt x="5523351" y="1680581"/>
                    <a:pt x="5523849" y="1678263"/>
                    <a:pt x="5524467" y="1675965"/>
                  </a:cubicBezTo>
                  <a:close/>
                  <a:moveTo>
                    <a:pt x="5517791" y="1699345"/>
                  </a:moveTo>
                  <a:cubicBezTo>
                    <a:pt x="5518199" y="1698091"/>
                    <a:pt x="5518967" y="1696987"/>
                    <a:pt x="5519983" y="1696161"/>
                  </a:cubicBezTo>
                  <a:cubicBezTo>
                    <a:pt x="5520661" y="1694908"/>
                    <a:pt x="5521159" y="1693565"/>
                    <a:pt x="5521478" y="1692182"/>
                  </a:cubicBezTo>
                  <a:cubicBezTo>
                    <a:pt x="5521428" y="1693107"/>
                    <a:pt x="5521428" y="1694042"/>
                    <a:pt x="5521478" y="1694967"/>
                  </a:cubicBezTo>
                  <a:cubicBezTo>
                    <a:pt x="5520980" y="1695286"/>
                    <a:pt x="5520542" y="1695684"/>
                    <a:pt x="5520183" y="1696161"/>
                  </a:cubicBezTo>
                  <a:cubicBezTo>
                    <a:pt x="5519694" y="1697365"/>
                    <a:pt x="5518937" y="1698449"/>
                    <a:pt x="5517990" y="1699345"/>
                  </a:cubicBezTo>
                  <a:cubicBezTo>
                    <a:pt x="5517692" y="1700389"/>
                    <a:pt x="5517692" y="1701484"/>
                    <a:pt x="5517990" y="1702528"/>
                  </a:cubicBezTo>
                  <a:cubicBezTo>
                    <a:pt x="5518917" y="1704011"/>
                    <a:pt x="5519525" y="1705672"/>
                    <a:pt x="5519784" y="1707403"/>
                  </a:cubicBezTo>
                  <a:lnTo>
                    <a:pt x="5520781" y="1708796"/>
                  </a:lnTo>
                  <a:cubicBezTo>
                    <a:pt x="5520621" y="1711462"/>
                    <a:pt x="5519605" y="1714009"/>
                    <a:pt x="5517891" y="1716059"/>
                  </a:cubicBezTo>
                  <a:cubicBezTo>
                    <a:pt x="5519595" y="1713512"/>
                    <a:pt x="5520272" y="1710428"/>
                    <a:pt x="5519784" y="1707403"/>
                  </a:cubicBezTo>
                  <a:cubicBezTo>
                    <a:pt x="5518828" y="1705931"/>
                    <a:pt x="5518220" y="1704270"/>
                    <a:pt x="5517990" y="1702528"/>
                  </a:cubicBezTo>
                  <a:cubicBezTo>
                    <a:pt x="5517632" y="1701932"/>
                    <a:pt x="5517233" y="1701374"/>
                    <a:pt x="5516795" y="1700837"/>
                  </a:cubicBezTo>
                  <a:cubicBezTo>
                    <a:pt x="5517194" y="1700379"/>
                    <a:pt x="5517522" y="1699882"/>
                    <a:pt x="5517791" y="1699345"/>
                  </a:cubicBezTo>
                  <a:close/>
                  <a:moveTo>
                    <a:pt x="5490389" y="1742622"/>
                  </a:moveTo>
                  <a:cubicBezTo>
                    <a:pt x="5492442" y="1739627"/>
                    <a:pt x="5494972" y="1736971"/>
                    <a:pt x="5497863" y="1734762"/>
                  </a:cubicBezTo>
                  <a:cubicBezTo>
                    <a:pt x="5496926" y="1735628"/>
                    <a:pt x="5496088" y="1736593"/>
                    <a:pt x="5495371" y="1737647"/>
                  </a:cubicBezTo>
                  <a:cubicBezTo>
                    <a:pt x="5492960" y="1739587"/>
                    <a:pt x="5490847" y="1741866"/>
                    <a:pt x="5489094" y="1744413"/>
                  </a:cubicBezTo>
                  <a:close/>
                  <a:moveTo>
                    <a:pt x="5476439" y="1755555"/>
                  </a:moveTo>
                  <a:cubicBezTo>
                    <a:pt x="5471337" y="1760689"/>
                    <a:pt x="5465319" y="1764837"/>
                    <a:pt x="5458702" y="1767792"/>
                  </a:cubicBezTo>
                  <a:cubicBezTo>
                    <a:pt x="5464900" y="1764141"/>
                    <a:pt x="5470829" y="1760052"/>
                    <a:pt x="5476439" y="1755555"/>
                  </a:cubicBezTo>
                  <a:close/>
                  <a:moveTo>
                    <a:pt x="5458204" y="1767892"/>
                  </a:moveTo>
                  <a:cubicBezTo>
                    <a:pt x="5456769" y="1768648"/>
                    <a:pt x="5455105" y="1768857"/>
                    <a:pt x="5453521" y="1768489"/>
                  </a:cubicBezTo>
                  <a:cubicBezTo>
                    <a:pt x="5449236" y="1768489"/>
                    <a:pt x="5447941" y="1763017"/>
                    <a:pt x="5445848" y="1760430"/>
                  </a:cubicBezTo>
                  <a:cubicBezTo>
                    <a:pt x="5448539" y="1763315"/>
                    <a:pt x="5449535" y="1770578"/>
                    <a:pt x="5458204" y="1767892"/>
                  </a:cubicBezTo>
                  <a:close/>
                  <a:moveTo>
                    <a:pt x="5444952" y="1759634"/>
                  </a:moveTo>
                  <a:cubicBezTo>
                    <a:pt x="5443357" y="1758938"/>
                    <a:pt x="5440966" y="1759634"/>
                    <a:pt x="5436581" y="1764609"/>
                  </a:cubicBezTo>
                  <a:cubicBezTo>
                    <a:pt x="5440866" y="1759037"/>
                    <a:pt x="5443257" y="1758341"/>
                    <a:pt x="5444752" y="1759634"/>
                  </a:cubicBezTo>
                  <a:close/>
                  <a:moveTo>
                    <a:pt x="5429606" y="1771473"/>
                  </a:moveTo>
                  <a:cubicBezTo>
                    <a:pt x="5429587" y="1773145"/>
                    <a:pt x="5429417" y="1774806"/>
                    <a:pt x="5429108" y="1776448"/>
                  </a:cubicBezTo>
                  <a:cubicBezTo>
                    <a:pt x="5429307" y="1774856"/>
                    <a:pt x="5429407" y="1773264"/>
                    <a:pt x="5429606" y="1771473"/>
                  </a:cubicBezTo>
                  <a:close/>
                  <a:moveTo>
                    <a:pt x="5426617" y="1780726"/>
                  </a:moveTo>
                  <a:cubicBezTo>
                    <a:pt x="5425321" y="1781153"/>
                    <a:pt x="5423926" y="1781153"/>
                    <a:pt x="5422631" y="1780726"/>
                  </a:cubicBezTo>
                  <a:cubicBezTo>
                    <a:pt x="5423937" y="1781044"/>
                    <a:pt x="5425312" y="1781044"/>
                    <a:pt x="5426617" y="1780726"/>
                  </a:cubicBezTo>
                  <a:close/>
                  <a:moveTo>
                    <a:pt x="5415656" y="1781322"/>
                  </a:moveTo>
                  <a:cubicBezTo>
                    <a:pt x="5413913" y="1783073"/>
                    <a:pt x="5412467" y="1785083"/>
                    <a:pt x="5411372" y="1787292"/>
                  </a:cubicBezTo>
                  <a:cubicBezTo>
                    <a:pt x="5412118" y="1784894"/>
                    <a:pt x="5413623" y="1782795"/>
                    <a:pt x="5415656" y="1781322"/>
                  </a:cubicBezTo>
                  <a:close/>
                  <a:moveTo>
                    <a:pt x="5409677" y="1790177"/>
                  </a:moveTo>
                  <a:cubicBezTo>
                    <a:pt x="5410265" y="1789381"/>
                    <a:pt x="5410804" y="1788555"/>
                    <a:pt x="5411272" y="1787690"/>
                  </a:cubicBezTo>
                  <a:cubicBezTo>
                    <a:pt x="5411022" y="1788267"/>
                    <a:pt x="5410823" y="1788874"/>
                    <a:pt x="5410674" y="1789481"/>
                  </a:cubicBezTo>
                  <a:cubicBezTo>
                    <a:pt x="5410265" y="1789580"/>
                    <a:pt x="5409906" y="1789829"/>
                    <a:pt x="5409677" y="1790177"/>
                  </a:cubicBezTo>
                  <a:cubicBezTo>
                    <a:pt x="5409399" y="1790615"/>
                    <a:pt x="5409070" y="1791023"/>
                    <a:pt x="5408681" y="1791371"/>
                  </a:cubicBezTo>
                  <a:cubicBezTo>
                    <a:pt x="5408133" y="1791619"/>
                    <a:pt x="5407625" y="1791958"/>
                    <a:pt x="5407186" y="1792365"/>
                  </a:cubicBezTo>
                  <a:cubicBezTo>
                    <a:pt x="5407874" y="1791480"/>
                    <a:pt x="5408711" y="1790744"/>
                    <a:pt x="5409677" y="1790177"/>
                  </a:cubicBezTo>
                  <a:close/>
                  <a:moveTo>
                    <a:pt x="5407086" y="1792664"/>
                  </a:moveTo>
                  <a:cubicBezTo>
                    <a:pt x="5405761" y="1794594"/>
                    <a:pt x="5405104" y="1796892"/>
                    <a:pt x="5405194" y="1799230"/>
                  </a:cubicBezTo>
                  <a:cubicBezTo>
                    <a:pt x="5404685" y="1796863"/>
                    <a:pt x="5405403" y="1794405"/>
                    <a:pt x="5407086" y="1792664"/>
                  </a:cubicBezTo>
                  <a:close/>
                  <a:moveTo>
                    <a:pt x="5401208" y="1809776"/>
                  </a:moveTo>
                  <a:cubicBezTo>
                    <a:pt x="5398717" y="1811368"/>
                    <a:pt x="5398517" y="1813855"/>
                    <a:pt x="5399015" y="1816840"/>
                  </a:cubicBezTo>
                  <a:cubicBezTo>
                    <a:pt x="5397560" y="1814641"/>
                    <a:pt x="5398158" y="1811676"/>
                    <a:pt x="5400360" y="1810224"/>
                  </a:cubicBezTo>
                  <a:cubicBezTo>
                    <a:pt x="5400630" y="1810044"/>
                    <a:pt x="5400908" y="1809895"/>
                    <a:pt x="5401208" y="1809776"/>
                  </a:cubicBezTo>
                  <a:close/>
                  <a:moveTo>
                    <a:pt x="5400610" y="1827584"/>
                  </a:moveTo>
                  <a:cubicBezTo>
                    <a:pt x="5400500" y="1823993"/>
                    <a:pt x="5399992" y="1820421"/>
                    <a:pt x="5399115" y="1816939"/>
                  </a:cubicBezTo>
                  <a:cubicBezTo>
                    <a:pt x="5399274" y="1817387"/>
                    <a:pt x="5399474" y="1817824"/>
                    <a:pt x="5399713" y="1818232"/>
                  </a:cubicBezTo>
                  <a:cubicBezTo>
                    <a:pt x="5401198" y="1821117"/>
                    <a:pt x="5401517" y="1824470"/>
                    <a:pt x="5400610" y="1827584"/>
                  </a:cubicBezTo>
                  <a:cubicBezTo>
                    <a:pt x="5400610" y="1830867"/>
                    <a:pt x="5398417" y="1833653"/>
                    <a:pt x="5392439" y="1835145"/>
                  </a:cubicBezTo>
                  <a:cubicBezTo>
                    <a:pt x="5396255" y="1834140"/>
                    <a:pt x="5399314" y="1831305"/>
                    <a:pt x="5400610" y="1827584"/>
                  </a:cubicBezTo>
                  <a:close/>
                  <a:moveTo>
                    <a:pt x="5386261" y="1835244"/>
                  </a:moveTo>
                  <a:cubicBezTo>
                    <a:pt x="5384118" y="1831484"/>
                    <a:pt x="5381658" y="1827922"/>
                    <a:pt x="5378887" y="1824600"/>
                  </a:cubicBezTo>
                  <a:cubicBezTo>
                    <a:pt x="5382046" y="1827604"/>
                    <a:pt x="5384557" y="1831225"/>
                    <a:pt x="5386261" y="1835244"/>
                  </a:cubicBezTo>
                  <a:close/>
                  <a:moveTo>
                    <a:pt x="5355072" y="1848576"/>
                  </a:moveTo>
                  <a:cubicBezTo>
                    <a:pt x="5355929" y="1845810"/>
                    <a:pt x="5356597" y="1842985"/>
                    <a:pt x="5357065" y="1840120"/>
                  </a:cubicBezTo>
                  <a:cubicBezTo>
                    <a:pt x="5358420" y="1837036"/>
                    <a:pt x="5359985" y="1834041"/>
                    <a:pt x="5361748" y="1831166"/>
                  </a:cubicBezTo>
                  <a:cubicBezTo>
                    <a:pt x="5363393" y="1827624"/>
                    <a:pt x="5365894" y="1824550"/>
                    <a:pt x="5369023" y="1822212"/>
                  </a:cubicBezTo>
                  <a:cubicBezTo>
                    <a:pt x="5372112" y="1819924"/>
                    <a:pt x="5375201" y="1821117"/>
                    <a:pt x="5377990" y="1823704"/>
                  </a:cubicBezTo>
                  <a:cubicBezTo>
                    <a:pt x="5372211" y="1819526"/>
                    <a:pt x="5366830" y="1823107"/>
                    <a:pt x="5361748" y="1831166"/>
                  </a:cubicBezTo>
                  <a:cubicBezTo>
                    <a:pt x="5358959" y="1836737"/>
                    <a:pt x="5357464" y="1843204"/>
                    <a:pt x="5355072" y="1848576"/>
                  </a:cubicBezTo>
                  <a:cubicBezTo>
                    <a:pt x="5354395" y="1852416"/>
                    <a:pt x="5351744" y="1855630"/>
                    <a:pt x="5348097" y="1857032"/>
                  </a:cubicBezTo>
                  <a:cubicBezTo>
                    <a:pt x="5351256" y="1855023"/>
                    <a:pt x="5353697" y="1852058"/>
                    <a:pt x="5355072" y="1848576"/>
                  </a:cubicBezTo>
                  <a:close/>
                  <a:moveTo>
                    <a:pt x="5352083" y="1887873"/>
                  </a:moveTo>
                  <a:cubicBezTo>
                    <a:pt x="5349124" y="1889843"/>
                    <a:pt x="5345676" y="1890938"/>
                    <a:pt x="5342119" y="1891057"/>
                  </a:cubicBezTo>
                  <a:cubicBezTo>
                    <a:pt x="5345606" y="1890918"/>
                    <a:pt x="5348984" y="1889814"/>
                    <a:pt x="5351884" y="1887873"/>
                  </a:cubicBezTo>
                  <a:close/>
                  <a:moveTo>
                    <a:pt x="5326175" y="1915730"/>
                  </a:moveTo>
                  <a:lnTo>
                    <a:pt x="5316211" y="1918317"/>
                  </a:lnTo>
                  <a:cubicBezTo>
                    <a:pt x="5319400" y="1917332"/>
                    <a:pt x="5322668" y="1916635"/>
                    <a:pt x="5325977" y="1916227"/>
                  </a:cubicBezTo>
                  <a:close/>
                  <a:moveTo>
                    <a:pt x="5316211" y="1918516"/>
                  </a:moveTo>
                  <a:cubicBezTo>
                    <a:pt x="5314059" y="1919311"/>
                    <a:pt x="5311817" y="1919849"/>
                    <a:pt x="5309535" y="1920108"/>
                  </a:cubicBezTo>
                  <a:cubicBezTo>
                    <a:pt x="5310631" y="1919809"/>
                    <a:pt x="5312823" y="1919212"/>
                    <a:pt x="5315215" y="1918516"/>
                  </a:cubicBezTo>
                  <a:close/>
                  <a:moveTo>
                    <a:pt x="5304553" y="1920207"/>
                  </a:moveTo>
                  <a:cubicBezTo>
                    <a:pt x="5302689" y="1919958"/>
                    <a:pt x="5300966" y="1919083"/>
                    <a:pt x="5299670" y="1917720"/>
                  </a:cubicBezTo>
                  <a:cubicBezTo>
                    <a:pt x="5299262" y="1916536"/>
                    <a:pt x="5298804" y="1915372"/>
                    <a:pt x="5298275" y="1914238"/>
                  </a:cubicBezTo>
                  <a:cubicBezTo>
                    <a:pt x="5300069" y="1917720"/>
                    <a:pt x="5301663" y="1919610"/>
                    <a:pt x="5303955" y="1920207"/>
                  </a:cubicBezTo>
                  <a:close/>
                  <a:moveTo>
                    <a:pt x="5298076" y="1913939"/>
                  </a:moveTo>
                  <a:cubicBezTo>
                    <a:pt x="5296083" y="1911353"/>
                    <a:pt x="5293592" y="1907672"/>
                    <a:pt x="5289706" y="1902797"/>
                  </a:cubicBezTo>
                  <a:cubicBezTo>
                    <a:pt x="5289397" y="1902229"/>
                    <a:pt x="5289028" y="1901692"/>
                    <a:pt x="5288610" y="1901205"/>
                  </a:cubicBezTo>
                  <a:cubicBezTo>
                    <a:pt x="5292376" y="1904826"/>
                    <a:pt x="5295386" y="1909154"/>
                    <a:pt x="5297478" y="1913939"/>
                  </a:cubicBezTo>
                  <a:close/>
                  <a:moveTo>
                    <a:pt x="5288112" y="1901105"/>
                  </a:moveTo>
                  <a:cubicBezTo>
                    <a:pt x="5286029" y="1899314"/>
                    <a:pt x="5283628" y="1897932"/>
                    <a:pt x="5281037" y="1897026"/>
                  </a:cubicBezTo>
                  <a:cubicBezTo>
                    <a:pt x="5283647" y="1897753"/>
                    <a:pt x="5286029" y="1899155"/>
                    <a:pt x="5287912" y="1901105"/>
                  </a:cubicBezTo>
                  <a:close/>
                  <a:moveTo>
                    <a:pt x="5280738" y="1896827"/>
                  </a:moveTo>
                  <a:cubicBezTo>
                    <a:pt x="5278346" y="1896131"/>
                    <a:pt x="5275855" y="1895793"/>
                    <a:pt x="5273364" y="1895833"/>
                  </a:cubicBezTo>
                  <a:cubicBezTo>
                    <a:pt x="5275796" y="1895723"/>
                    <a:pt x="5278227" y="1896061"/>
                    <a:pt x="5280539" y="1896827"/>
                  </a:cubicBezTo>
                  <a:close/>
                  <a:moveTo>
                    <a:pt x="5262404" y="1864096"/>
                  </a:moveTo>
                  <a:cubicBezTo>
                    <a:pt x="5260131" y="1865359"/>
                    <a:pt x="5257680" y="1866265"/>
                    <a:pt x="5255129" y="1866782"/>
                  </a:cubicBezTo>
                  <a:close/>
                  <a:moveTo>
                    <a:pt x="5224638" y="1885486"/>
                  </a:moveTo>
                  <a:cubicBezTo>
                    <a:pt x="5226163" y="1885476"/>
                    <a:pt x="5227678" y="1885207"/>
                    <a:pt x="5229122" y="1884690"/>
                  </a:cubicBezTo>
                  <a:cubicBezTo>
                    <a:pt x="5230856" y="1883536"/>
                    <a:pt x="5232370" y="1882083"/>
                    <a:pt x="5233606" y="1880412"/>
                  </a:cubicBezTo>
                  <a:cubicBezTo>
                    <a:pt x="5236157" y="1876234"/>
                    <a:pt x="5239954" y="1872960"/>
                    <a:pt x="5244468" y="1871060"/>
                  </a:cubicBezTo>
                  <a:cubicBezTo>
                    <a:pt x="5247616" y="1868852"/>
                    <a:pt x="5251233" y="1867389"/>
                    <a:pt x="5255030" y="1866782"/>
                  </a:cubicBezTo>
                  <a:cubicBezTo>
                    <a:pt x="5251423" y="1867976"/>
                    <a:pt x="5247895" y="1869409"/>
                    <a:pt x="5244468" y="1871060"/>
                  </a:cubicBezTo>
                  <a:cubicBezTo>
                    <a:pt x="5244069" y="1871269"/>
                    <a:pt x="5243730" y="1871577"/>
                    <a:pt x="5243471" y="1871955"/>
                  </a:cubicBezTo>
                  <a:cubicBezTo>
                    <a:pt x="5238349" y="1873756"/>
                    <a:pt x="5234314" y="1877785"/>
                    <a:pt x="5232510" y="1882899"/>
                  </a:cubicBezTo>
                  <a:cubicBezTo>
                    <a:pt x="5231524" y="1883725"/>
                    <a:pt x="5230368" y="1884342"/>
                    <a:pt x="5229122" y="1884690"/>
                  </a:cubicBezTo>
                  <a:cubicBezTo>
                    <a:pt x="5228335" y="1885227"/>
                    <a:pt x="5227458" y="1885625"/>
                    <a:pt x="5226531" y="1885884"/>
                  </a:cubicBezTo>
                  <a:cubicBezTo>
                    <a:pt x="5225904" y="1885844"/>
                    <a:pt x="5225266" y="1885844"/>
                    <a:pt x="5224638" y="1885884"/>
                  </a:cubicBezTo>
                  <a:cubicBezTo>
                    <a:pt x="5223383" y="1885983"/>
                    <a:pt x="5222107" y="1885983"/>
                    <a:pt x="5220852" y="1885884"/>
                  </a:cubicBezTo>
                  <a:cubicBezTo>
                    <a:pt x="5222017" y="1885536"/>
                    <a:pt x="5223233" y="1885396"/>
                    <a:pt x="5224439" y="1885486"/>
                  </a:cubicBezTo>
                  <a:close/>
                  <a:moveTo>
                    <a:pt x="5216468" y="1887078"/>
                  </a:moveTo>
                  <a:lnTo>
                    <a:pt x="5218560" y="1884889"/>
                  </a:lnTo>
                  <a:cubicBezTo>
                    <a:pt x="5219287" y="1884998"/>
                    <a:pt x="5220025" y="1884998"/>
                    <a:pt x="5220752" y="1884889"/>
                  </a:cubicBezTo>
                  <a:cubicBezTo>
                    <a:pt x="5219198" y="1885048"/>
                    <a:pt x="5217713" y="1885635"/>
                    <a:pt x="5216468" y="1886580"/>
                  </a:cubicBezTo>
                  <a:cubicBezTo>
                    <a:pt x="5215312" y="1887685"/>
                    <a:pt x="5214006" y="1888630"/>
                    <a:pt x="5212581" y="1889366"/>
                  </a:cubicBezTo>
                  <a:cubicBezTo>
                    <a:pt x="5213718" y="1888461"/>
                    <a:pt x="5214953" y="1887694"/>
                    <a:pt x="5216268" y="1887078"/>
                  </a:cubicBezTo>
                  <a:close/>
                  <a:moveTo>
                    <a:pt x="5180496" y="1375016"/>
                  </a:moveTo>
                  <a:cubicBezTo>
                    <a:pt x="5164852" y="1375712"/>
                    <a:pt x="5148809" y="1376409"/>
                    <a:pt x="5132567" y="1376906"/>
                  </a:cubicBezTo>
                  <a:cubicBezTo>
                    <a:pt x="5148420" y="1375294"/>
                    <a:pt x="5164364" y="1374668"/>
                    <a:pt x="5180297" y="1375016"/>
                  </a:cubicBezTo>
                  <a:close/>
                  <a:moveTo>
                    <a:pt x="5073678" y="1379095"/>
                  </a:moveTo>
                  <a:lnTo>
                    <a:pt x="5105962" y="1377503"/>
                  </a:lnTo>
                  <a:cubicBezTo>
                    <a:pt x="5106989" y="1377563"/>
                    <a:pt x="5108025" y="1377563"/>
                    <a:pt x="5109051" y="1377503"/>
                  </a:cubicBezTo>
                  <a:cubicBezTo>
                    <a:pt x="5097293" y="1377503"/>
                    <a:pt x="5085436" y="1378199"/>
                    <a:pt x="5073678" y="1378697"/>
                  </a:cubicBezTo>
                  <a:cubicBezTo>
                    <a:pt x="5055144" y="1379393"/>
                    <a:pt x="5035314" y="1380189"/>
                    <a:pt x="5021265" y="1380090"/>
                  </a:cubicBezTo>
                  <a:close/>
                  <a:moveTo>
                    <a:pt x="4672510" y="1791371"/>
                  </a:moveTo>
                  <a:cubicBezTo>
                    <a:pt x="4672510" y="1791371"/>
                    <a:pt x="4669122" y="1794156"/>
                    <a:pt x="4666930" y="1796345"/>
                  </a:cubicBezTo>
                  <a:cubicBezTo>
                    <a:pt x="4668585" y="1794544"/>
                    <a:pt x="4670388" y="1792883"/>
                    <a:pt x="4672311" y="1791371"/>
                  </a:cubicBezTo>
                  <a:close/>
                  <a:moveTo>
                    <a:pt x="4603557" y="662686"/>
                  </a:moveTo>
                  <a:cubicBezTo>
                    <a:pt x="4603069" y="664158"/>
                    <a:pt x="4603457" y="665770"/>
                    <a:pt x="4604553" y="666864"/>
                  </a:cubicBezTo>
                  <a:cubicBezTo>
                    <a:pt x="4603328" y="665849"/>
                    <a:pt x="4602919" y="664148"/>
                    <a:pt x="4603557" y="662686"/>
                  </a:cubicBezTo>
                  <a:close/>
                  <a:moveTo>
                    <a:pt x="4653379" y="773316"/>
                  </a:moveTo>
                  <a:cubicBezTo>
                    <a:pt x="4652761" y="777375"/>
                    <a:pt x="4654455" y="781434"/>
                    <a:pt x="4657763" y="783861"/>
                  </a:cubicBezTo>
                  <a:cubicBezTo>
                    <a:pt x="4653957" y="781693"/>
                    <a:pt x="4652014" y="777285"/>
                    <a:pt x="4652980" y="773017"/>
                  </a:cubicBezTo>
                  <a:close/>
                  <a:moveTo>
                    <a:pt x="4662446" y="750533"/>
                  </a:moveTo>
                  <a:cubicBezTo>
                    <a:pt x="4660115" y="757358"/>
                    <a:pt x="4657285" y="764014"/>
                    <a:pt x="4653977" y="770431"/>
                  </a:cubicBezTo>
                  <a:cubicBezTo>
                    <a:pt x="4655272" y="764163"/>
                    <a:pt x="4660553" y="757298"/>
                    <a:pt x="4662048" y="750235"/>
                  </a:cubicBezTo>
                  <a:close/>
                  <a:moveTo>
                    <a:pt x="4667229" y="793014"/>
                  </a:moveTo>
                  <a:cubicBezTo>
                    <a:pt x="4664220" y="792169"/>
                    <a:pt x="4661679" y="790169"/>
                    <a:pt x="4660155" y="787443"/>
                  </a:cubicBezTo>
                  <a:cubicBezTo>
                    <a:pt x="4662008" y="789632"/>
                    <a:pt x="4664270" y="791423"/>
                    <a:pt x="4666831" y="792716"/>
                  </a:cubicBezTo>
                  <a:close/>
                  <a:moveTo>
                    <a:pt x="4657265" y="742077"/>
                  </a:moveTo>
                  <a:cubicBezTo>
                    <a:pt x="4658022" y="742355"/>
                    <a:pt x="4658730" y="742753"/>
                    <a:pt x="4659357" y="743271"/>
                  </a:cubicBezTo>
                  <a:cubicBezTo>
                    <a:pt x="4658271" y="742833"/>
                    <a:pt x="4657055" y="742833"/>
                    <a:pt x="4655970" y="743271"/>
                  </a:cubicBezTo>
                  <a:cubicBezTo>
                    <a:pt x="4656119" y="742942"/>
                    <a:pt x="4656259" y="742614"/>
                    <a:pt x="4656368" y="742276"/>
                  </a:cubicBezTo>
                  <a:close/>
                  <a:moveTo>
                    <a:pt x="4652482" y="745857"/>
                  </a:moveTo>
                  <a:lnTo>
                    <a:pt x="4651286" y="747051"/>
                  </a:lnTo>
                  <a:lnTo>
                    <a:pt x="4647599" y="747051"/>
                  </a:lnTo>
                  <a:cubicBezTo>
                    <a:pt x="4644112" y="747051"/>
                    <a:pt x="4640524" y="747051"/>
                    <a:pt x="4637635" y="747051"/>
                  </a:cubicBezTo>
                  <a:cubicBezTo>
                    <a:pt x="4640026" y="747051"/>
                    <a:pt x="4644411" y="747051"/>
                    <a:pt x="4647599" y="747051"/>
                  </a:cubicBezTo>
                  <a:cubicBezTo>
                    <a:pt x="4648984" y="746723"/>
                    <a:pt x="4650330" y="746225"/>
                    <a:pt x="4651585" y="745559"/>
                  </a:cubicBezTo>
                  <a:close/>
                  <a:moveTo>
                    <a:pt x="4645308" y="691239"/>
                  </a:moveTo>
                  <a:cubicBezTo>
                    <a:pt x="4647300" y="688751"/>
                    <a:pt x="4645806" y="685468"/>
                    <a:pt x="4642717" y="682384"/>
                  </a:cubicBezTo>
                  <a:cubicBezTo>
                    <a:pt x="4644909" y="685170"/>
                    <a:pt x="4646503" y="688453"/>
                    <a:pt x="4644411" y="690940"/>
                  </a:cubicBezTo>
                  <a:close/>
                  <a:moveTo>
                    <a:pt x="4623087" y="671341"/>
                  </a:moveTo>
                  <a:cubicBezTo>
                    <a:pt x="4622330" y="670436"/>
                    <a:pt x="4621373" y="669720"/>
                    <a:pt x="4620297" y="669252"/>
                  </a:cubicBezTo>
                  <a:cubicBezTo>
                    <a:pt x="4621054" y="669779"/>
                    <a:pt x="4621702" y="670456"/>
                    <a:pt x="4622190" y="671242"/>
                  </a:cubicBezTo>
                  <a:close/>
                  <a:moveTo>
                    <a:pt x="4610432" y="653334"/>
                  </a:moveTo>
                  <a:cubicBezTo>
                    <a:pt x="4609246" y="655224"/>
                    <a:pt x="4607911" y="657025"/>
                    <a:pt x="4606446" y="658706"/>
                  </a:cubicBezTo>
                  <a:cubicBezTo>
                    <a:pt x="4607842" y="656617"/>
                    <a:pt x="4609436" y="654627"/>
                    <a:pt x="4610432" y="653334"/>
                  </a:cubicBezTo>
                  <a:cubicBezTo>
                    <a:pt x="4609386" y="651175"/>
                    <a:pt x="4608041" y="649166"/>
                    <a:pt x="4606446" y="647365"/>
                  </a:cubicBezTo>
                  <a:cubicBezTo>
                    <a:pt x="4607752" y="649166"/>
                    <a:pt x="4608788" y="651135"/>
                    <a:pt x="4609535" y="653235"/>
                  </a:cubicBezTo>
                  <a:close/>
                  <a:moveTo>
                    <a:pt x="4597379" y="640500"/>
                  </a:moveTo>
                  <a:cubicBezTo>
                    <a:pt x="4593343" y="638381"/>
                    <a:pt x="4588759" y="637505"/>
                    <a:pt x="4584226" y="638013"/>
                  </a:cubicBezTo>
                  <a:cubicBezTo>
                    <a:pt x="4588461" y="637615"/>
                    <a:pt x="4592716" y="638441"/>
                    <a:pt x="4596482" y="640401"/>
                  </a:cubicBezTo>
                  <a:close/>
                  <a:moveTo>
                    <a:pt x="4568582" y="634431"/>
                  </a:moveTo>
                  <a:cubicBezTo>
                    <a:pt x="4563520" y="631646"/>
                    <a:pt x="4558129" y="629507"/>
                    <a:pt x="4552539" y="628064"/>
                  </a:cubicBezTo>
                  <a:cubicBezTo>
                    <a:pt x="4558020" y="629109"/>
                    <a:pt x="4563241" y="631238"/>
                    <a:pt x="4567884" y="634332"/>
                  </a:cubicBezTo>
                  <a:close/>
                  <a:moveTo>
                    <a:pt x="4538689" y="633039"/>
                  </a:moveTo>
                  <a:lnTo>
                    <a:pt x="4543870" y="630352"/>
                  </a:lnTo>
                  <a:cubicBezTo>
                    <a:pt x="4546002" y="628074"/>
                    <a:pt x="4549241" y="627189"/>
                    <a:pt x="4552240" y="628064"/>
                  </a:cubicBezTo>
                  <a:cubicBezTo>
                    <a:pt x="4549321" y="628203"/>
                    <a:pt x="4546460" y="628989"/>
                    <a:pt x="4543870" y="630352"/>
                  </a:cubicBezTo>
                  <a:lnTo>
                    <a:pt x="4542674" y="632442"/>
                  </a:lnTo>
                  <a:cubicBezTo>
                    <a:pt x="4541448" y="633088"/>
                    <a:pt x="4540044" y="633297"/>
                    <a:pt x="4538689" y="633039"/>
                  </a:cubicBezTo>
                  <a:cubicBezTo>
                    <a:pt x="4538360" y="632979"/>
                    <a:pt x="4538021" y="632979"/>
                    <a:pt x="4537692" y="633039"/>
                  </a:cubicBezTo>
                  <a:cubicBezTo>
                    <a:pt x="4537532" y="632561"/>
                    <a:pt x="4537334" y="632093"/>
                    <a:pt x="4537094" y="631646"/>
                  </a:cubicBezTo>
                  <a:cubicBezTo>
                    <a:pt x="4537313" y="632093"/>
                    <a:pt x="4537612" y="632501"/>
                    <a:pt x="4537991" y="632840"/>
                  </a:cubicBezTo>
                  <a:close/>
                  <a:moveTo>
                    <a:pt x="4534703" y="628462"/>
                  </a:moveTo>
                  <a:lnTo>
                    <a:pt x="4535300" y="629855"/>
                  </a:lnTo>
                  <a:cubicBezTo>
                    <a:pt x="4534354" y="628850"/>
                    <a:pt x="4533148" y="628124"/>
                    <a:pt x="4531813" y="627766"/>
                  </a:cubicBezTo>
                  <a:close/>
                  <a:moveTo>
                    <a:pt x="4495842" y="613539"/>
                  </a:moveTo>
                  <a:cubicBezTo>
                    <a:pt x="4497436" y="614235"/>
                    <a:pt x="4498970" y="615061"/>
                    <a:pt x="4500425" y="616026"/>
                  </a:cubicBezTo>
                  <a:cubicBezTo>
                    <a:pt x="4505327" y="618782"/>
                    <a:pt x="4510051" y="621846"/>
                    <a:pt x="4514575" y="625179"/>
                  </a:cubicBezTo>
                  <a:cubicBezTo>
                    <a:pt x="4516339" y="626224"/>
                    <a:pt x="4518311" y="626860"/>
                    <a:pt x="4520354" y="627069"/>
                  </a:cubicBezTo>
                  <a:cubicBezTo>
                    <a:pt x="4522078" y="626970"/>
                    <a:pt x="4523812" y="626970"/>
                    <a:pt x="4525535" y="627069"/>
                  </a:cubicBezTo>
                  <a:cubicBezTo>
                    <a:pt x="4525924" y="627199"/>
                    <a:pt x="4526342" y="627199"/>
                    <a:pt x="4526731" y="627069"/>
                  </a:cubicBezTo>
                  <a:lnTo>
                    <a:pt x="4529023" y="627666"/>
                  </a:lnTo>
                  <a:cubicBezTo>
                    <a:pt x="4527867" y="627567"/>
                    <a:pt x="4526692" y="627567"/>
                    <a:pt x="4525535" y="627666"/>
                  </a:cubicBezTo>
                  <a:cubicBezTo>
                    <a:pt x="4523842" y="628164"/>
                    <a:pt x="4522048" y="628164"/>
                    <a:pt x="4520354" y="627666"/>
                  </a:cubicBezTo>
                  <a:cubicBezTo>
                    <a:pt x="4519457" y="627666"/>
                    <a:pt x="4518560" y="627666"/>
                    <a:pt x="4517763" y="627666"/>
                  </a:cubicBezTo>
                  <a:lnTo>
                    <a:pt x="4514575" y="625378"/>
                  </a:lnTo>
                  <a:cubicBezTo>
                    <a:pt x="4509672" y="622622"/>
                    <a:pt x="4504949" y="619558"/>
                    <a:pt x="4500425" y="616225"/>
                  </a:cubicBezTo>
                  <a:cubicBezTo>
                    <a:pt x="4484103" y="607808"/>
                    <a:pt x="4466935" y="601133"/>
                    <a:pt x="4449208" y="596328"/>
                  </a:cubicBezTo>
                  <a:cubicBezTo>
                    <a:pt x="4465022" y="600377"/>
                    <a:pt x="4480357" y="606117"/>
                    <a:pt x="4494945" y="613440"/>
                  </a:cubicBezTo>
                  <a:close/>
                  <a:moveTo>
                    <a:pt x="4353350" y="569765"/>
                  </a:moveTo>
                  <a:cubicBezTo>
                    <a:pt x="4352155" y="566780"/>
                    <a:pt x="4351059" y="562999"/>
                    <a:pt x="4349763" y="559119"/>
                  </a:cubicBezTo>
                  <a:cubicBezTo>
                    <a:pt x="4350361" y="563198"/>
                    <a:pt x="4351656" y="566780"/>
                    <a:pt x="4352454" y="569665"/>
                  </a:cubicBezTo>
                  <a:close/>
                  <a:moveTo>
                    <a:pt x="4326446" y="531064"/>
                  </a:moveTo>
                  <a:cubicBezTo>
                    <a:pt x="4326895" y="531760"/>
                    <a:pt x="4327433" y="532397"/>
                    <a:pt x="4328041" y="532954"/>
                  </a:cubicBezTo>
                  <a:cubicBezTo>
                    <a:pt x="4329356" y="533491"/>
                    <a:pt x="4330472" y="534436"/>
                    <a:pt x="4331229" y="535640"/>
                  </a:cubicBezTo>
                  <a:lnTo>
                    <a:pt x="4334219" y="537332"/>
                  </a:lnTo>
                  <a:cubicBezTo>
                    <a:pt x="4335823" y="537560"/>
                    <a:pt x="4337338" y="538207"/>
                    <a:pt x="4338603" y="539222"/>
                  </a:cubicBezTo>
                  <a:lnTo>
                    <a:pt x="4341393" y="539918"/>
                  </a:lnTo>
                  <a:cubicBezTo>
                    <a:pt x="4342091" y="541212"/>
                    <a:pt x="4342788" y="542903"/>
                    <a:pt x="4343585" y="544694"/>
                  </a:cubicBezTo>
                  <a:cubicBezTo>
                    <a:pt x="4346246" y="549101"/>
                    <a:pt x="4348289" y="553857"/>
                    <a:pt x="4349664" y="558821"/>
                  </a:cubicBezTo>
                  <a:cubicBezTo>
                    <a:pt x="4347770" y="554046"/>
                    <a:pt x="4345578" y="548872"/>
                    <a:pt x="4343585" y="544694"/>
                  </a:cubicBezTo>
                  <a:cubicBezTo>
                    <a:pt x="4342449" y="542455"/>
                    <a:pt x="4340726" y="540565"/>
                    <a:pt x="4338603" y="539222"/>
                  </a:cubicBezTo>
                  <a:cubicBezTo>
                    <a:pt x="4337098" y="538705"/>
                    <a:pt x="4335634" y="538068"/>
                    <a:pt x="4334219" y="537332"/>
                  </a:cubicBezTo>
                  <a:cubicBezTo>
                    <a:pt x="4333621" y="537242"/>
                    <a:pt x="4333023" y="537242"/>
                    <a:pt x="4332425" y="537332"/>
                  </a:cubicBezTo>
                  <a:cubicBezTo>
                    <a:pt x="4332106" y="536834"/>
                    <a:pt x="4331708" y="536396"/>
                    <a:pt x="4331229" y="536038"/>
                  </a:cubicBezTo>
                  <a:cubicBezTo>
                    <a:pt x="4330084" y="535252"/>
                    <a:pt x="4329018" y="534347"/>
                    <a:pt x="4328041" y="533352"/>
                  </a:cubicBezTo>
                  <a:cubicBezTo>
                    <a:pt x="4327124" y="532745"/>
                    <a:pt x="4326058" y="532397"/>
                    <a:pt x="4324952" y="532357"/>
                  </a:cubicBezTo>
                  <a:cubicBezTo>
                    <a:pt x="4325181" y="531910"/>
                    <a:pt x="4325380" y="531442"/>
                    <a:pt x="4325550" y="530964"/>
                  </a:cubicBezTo>
                  <a:close/>
                  <a:moveTo>
                    <a:pt x="4312197" y="1243593"/>
                  </a:moveTo>
                  <a:lnTo>
                    <a:pt x="4315486" y="1243593"/>
                  </a:lnTo>
                  <a:cubicBezTo>
                    <a:pt x="4329137" y="1243593"/>
                    <a:pt x="4342788" y="1243593"/>
                    <a:pt x="4356539" y="1244190"/>
                  </a:cubicBezTo>
                  <a:lnTo>
                    <a:pt x="4312197" y="1244190"/>
                  </a:lnTo>
                  <a:cubicBezTo>
                    <a:pt x="4305581" y="1245025"/>
                    <a:pt x="4298885" y="1245025"/>
                    <a:pt x="4292269" y="1244190"/>
                  </a:cubicBezTo>
                  <a:cubicBezTo>
                    <a:pt x="4297849" y="1243294"/>
                    <a:pt x="4304525" y="1243493"/>
                    <a:pt x="4311301" y="1243493"/>
                  </a:cubicBezTo>
                  <a:close/>
                  <a:moveTo>
                    <a:pt x="4286987" y="1240807"/>
                  </a:moveTo>
                  <a:cubicBezTo>
                    <a:pt x="4288173" y="1242260"/>
                    <a:pt x="4289897" y="1243165"/>
                    <a:pt x="4291771" y="1243294"/>
                  </a:cubicBezTo>
                  <a:lnTo>
                    <a:pt x="4287585" y="1243294"/>
                  </a:lnTo>
                  <a:cubicBezTo>
                    <a:pt x="4287545" y="1243722"/>
                    <a:pt x="4287545" y="1244160"/>
                    <a:pt x="4287585" y="1244588"/>
                  </a:cubicBezTo>
                  <a:cubicBezTo>
                    <a:pt x="4287585" y="1243195"/>
                    <a:pt x="4287585" y="1242001"/>
                    <a:pt x="4287585" y="1240807"/>
                  </a:cubicBezTo>
                  <a:cubicBezTo>
                    <a:pt x="4285393" y="1237624"/>
                    <a:pt x="4287585" y="1231853"/>
                    <a:pt x="4279116" y="1223795"/>
                  </a:cubicBezTo>
                  <a:cubicBezTo>
                    <a:pt x="4283619" y="1228272"/>
                    <a:pt x="4286131" y="1234361"/>
                    <a:pt x="4286091" y="1240708"/>
                  </a:cubicBezTo>
                  <a:close/>
                  <a:moveTo>
                    <a:pt x="4268952" y="1219815"/>
                  </a:moveTo>
                  <a:cubicBezTo>
                    <a:pt x="4270347" y="1219815"/>
                    <a:pt x="4271941" y="1220412"/>
                    <a:pt x="4273535" y="1220810"/>
                  </a:cubicBezTo>
                  <a:cubicBezTo>
                    <a:pt x="4274861" y="1221825"/>
                    <a:pt x="4276126" y="1222929"/>
                    <a:pt x="4277322" y="1224093"/>
                  </a:cubicBezTo>
                  <a:cubicBezTo>
                    <a:pt x="4274831" y="1222143"/>
                    <a:pt x="4271991" y="1220691"/>
                    <a:pt x="4268952" y="1219815"/>
                  </a:cubicBezTo>
                  <a:cubicBezTo>
                    <a:pt x="4259316" y="1218194"/>
                    <a:pt x="4250129" y="1214602"/>
                    <a:pt x="4241948" y="1209270"/>
                  </a:cubicBezTo>
                  <a:cubicBezTo>
                    <a:pt x="4250528" y="1213786"/>
                    <a:pt x="4259585" y="1217318"/>
                    <a:pt x="4268952" y="1219815"/>
                  </a:cubicBezTo>
                  <a:close/>
                  <a:moveTo>
                    <a:pt x="4241749" y="1209270"/>
                  </a:moveTo>
                  <a:lnTo>
                    <a:pt x="4239657" y="1207976"/>
                  </a:lnTo>
                  <a:cubicBezTo>
                    <a:pt x="4235432" y="1202942"/>
                    <a:pt x="4232462" y="1196973"/>
                    <a:pt x="4230988" y="1190566"/>
                  </a:cubicBezTo>
                  <a:cubicBezTo>
                    <a:pt x="4229293" y="1186587"/>
                    <a:pt x="4227400" y="1181911"/>
                    <a:pt x="4224710" y="1176041"/>
                  </a:cubicBezTo>
                  <a:cubicBezTo>
                    <a:pt x="4222637" y="1169544"/>
                    <a:pt x="4221103" y="1162889"/>
                    <a:pt x="4220126" y="1156144"/>
                  </a:cubicBezTo>
                  <a:cubicBezTo>
                    <a:pt x="4220724" y="1158720"/>
                    <a:pt x="4221591" y="1161217"/>
                    <a:pt x="4222717" y="1163605"/>
                  </a:cubicBezTo>
                  <a:cubicBezTo>
                    <a:pt x="4222887" y="1170529"/>
                    <a:pt x="4225338" y="1177215"/>
                    <a:pt x="4229692" y="1182607"/>
                  </a:cubicBezTo>
                  <a:cubicBezTo>
                    <a:pt x="4229872" y="1185134"/>
                    <a:pt x="4230310" y="1187631"/>
                    <a:pt x="4230988" y="1190069"/>
                  </a:cubicBezTo>
                  <a:cubicBezTo>
                    <a:pt x="4233070" y="1197093"/>
                    <a:pt x="4236837" y="1203519"/>
                    <a:pt x="4241948" y="1208772"/>
                  </a:cubicBezTo>
                  <a:close/>
                  <a:moveTo>
                    <a:pt x="4220326" y="1139629"/>
                  </a:moveTo>
                  <a:cubicBezTo>
                    <a:pt x="4221043" y="1135609"/>
                    <a:pt x="4222637" y="1131809"/>
                    <a:pt x="4225009" y="1128486"/>
                  </a:cubicBezTo>
                  <a:cubicBezTo>
                    <a:pt x="4223026" y="1131908"/>
                    <a:pt x="4221512" y="1135599"/>
                    <a:pt x="4220525" y="1139430"/>
                  </a:cubicBezTo>
                  <a:close/>
                  <a:moveTo>
                    <a:pt x="4234674" y="1116050"/>
                  </a:moveTo>
                  <a:lnTo>
                    <a:pt x="4232582" y="1118239"/>
                  </a:lnTo>
                  <a:cubicBezTo>
                    <a:pt x="4230529" y="1121890"/>
                    <a:pt x="4227988" y="1125243"/>
                    <a:pt x="4225009" y="1128187"/>
                  </a:cubicBezTo>
                  <a:cubicBezTo>
                    <a:pt x="4227211" y="1124636"/>
                    <a:pt x="4229742" y="1121303"/>
                    <a:pt x="4232582" y="1118239"/>
                  </a:cubicBezTo>
                  <a:cubicBezTo>
                    <a:pt x="4233409" y="1115533"/>
                    <a:pt x="4233050" y="1112598"/>
                    <a:pt x="4231585" y="1110180"/>
                  </a:cubicBezTo>
                  <a:cubicBezTo>
                    <a:pt x="4233050" y="1111832"/>
                    <a:pt x="4234166" y="1113762"/>
                    <a:pt x="4234874" y="1115851"/>
                  </a:cubicBezTo>
                  <a:close/>
                  <a:moveTo>
                    <a:pt x="4224710" y="1102818"/>
                  </a:moveTo>
                  <a:cubicBezTo>
                    <a:pt x="4226125" y="1103674"/>
                    <a:pt x="4227580" y="1104440"/>
                    <a:pt x="4229094" y="1105106"/>
                  </a:cubicBezTo>
                  <a:cubicBezTo>
                    <a:pt x="4230170" y="1106629"/>
                    <a:pt x="4231077" y="1108260"/>
                    <a:pt x="4231785" y="1109981"/>
                  </a:cubicBezTo>
                  <a:cubicBezTo>
                    <a:pt x="4229742" y="1107305"/>
                    <a:pt x="4227360" y="1104898"/>
                    <a:pt x="4224710" y="1102818"/>
                  </a:cubicBezTo>
                  <a:cubicBezTo>
                    <a:pt x="4222039" y="1101386"/>
                    <a:pt x="4219698" y="1099426"/>
                    <a:pt x="4217834" y="1097048"/>
                  </a:cubicBezTo>
                  <a:cubicBezTo>
                    <a:pt x="4219728" y="1098739"/>
                    <a:pt x="4222219" y="1100431"/>
                    <a:pt x="4224511" y="1102619"/>
                  </a:cubicBezTo>
                  <a:close/>
                  <a:moveTo>
                    <a:pt x="4216141" y="1095158"/>
                  </a:moveTo>
                  <a:cubicBezTo>
                    <a:pt x="4216190" y="1094630"/>
                    <a:pt x="4216190" y="1094093"/>
                    <a:pt x="4216141" y="1093566"/>
                  </a:cubicBezTo>
                  <a:cubicBezTo>
                    <a:pt x="4216250" y="1094710"/>
                    <a:pt x="4216669" y="1095814"/>
                    <a:pt x="4217336" y="1096750"/>
                  </a:cubicBezTo>
                  <a:cubicBezTo>
                    <a:pt x="4216788" y="1096222"/>
                    <a:pt x="4216320" y="1095615"/>
                    <a:pt x="4215941" y="1094959"/>
                  </a:cubicBezTo>
                  <a:close/>
                  <a:moveTo>
                    <a:pt x="4216141" y="1088293"/>
                  </a:moveTo>
                  <a:cubicBezTo>
                    <a:pt x="4216449" y="1088960"/>
                    <a:pt x="4216818" y="1089586"/>
                    <a:pt x="4217237" y="1090183"/>
                  </a:cubicBezTo>
                  <a:cubicBezTo>
                    <a:pt x="4217237" y="1090780"/>
                    <a:pt x="4217237" y="1091178"/>
                    <a:pt x="4217237" y="1091576"/>
                  </a:cubicBezTo>
                  <a:cubicBezTo>
                    <a:pt x="4217227" y="1090452"/>
                    <a:pt x="4217017" y="1089348"/>
                    <a:pt x="4216639" y="1088293"/>
                  </a:cubicBezTo>
                  <a:cubicBezTo>
                    <a:pt x="4215772" y="1086542"/>
                    <a:pt x="4215234" y="1084662"/>
                    <a:pt x="4215044" y="1082722"/>
                  </a:cubicBezTo>
                  <a:cubicBezTo>
                    <a:pt x="4214746" y="1084413"/>
                    <a:pt x="4215443" y="1086303"/>
                    <a:pt x="4215842" y="1088094"/>
                  </a:cubicBezTo>
                  <a:close/>
                  <a:moveTo>
                    <a:pt x="4215244" y="1073370"/>
                  </a:moveTo>
                  <a:cubicBezTo>
                    <a:pt x="4214865" y="1074026"/>
                    <a:pt x="4214566" y="1074733"/>
                    <a:pt x="4214347" y="1075459"/>
                  </a:cubicBezTo>
                  <a:cubicBezTo>
                    <a:pt x="4214198" y="1077648"/>
                    <a:pt x="4214198" y="1079837"/>
                    <a:pt x="4214347" y="1082025"/>
                  </a:cubicBezTo>
                  <a:cubicBezTo>
                    <a:pt x="4213650" y="1079896"/>
                    <a:pt x="4213650" y="1077588"/>
                    <a:pt x="4214347" y="1075459"/>
                  </a:cubicBezTo>
                  <a:lnTo>
                    <a:pt x="4214347" y="1073370"/>
                  </a:lnTo>
                  <a:cubicBezTo>
                    <a:pt x="4214447" y="1071649"/>
                    <a:pt x="4214447" y="1069918"/>
                    <a:pt x="4214347" y="1068197"/>
                  </a:cubicBezTo>
                  <a:cubicBezTo>
                    <a:pt x="4214676" y="1069838"/>
                    <a:pt x="4214875" y="1071500"/>
                    <a:pt x="4214945" y="1073171"/>
                  </a:cubicBezTo>
                  <a:close/>
                  <a:moveTo>
                    <a:pt x="4208966" y="1049393"/>
                  </a:moveTo>
                  <a:cubicBezTo>
                    <a:pt x="4208587" y="1047762"/>
                    <a:pt x="4208358" y="1046090"/>
                    <a:pt x="4208269" y="1044419"/>
                  </a:cubicBezTo>
                  <a:cubicBezTo>
                    <a:pt x="4208597" y="1043643"/>
                    <a:pt x="4208857" y="1042847"/>
                    <a:pt x="4209066" y="1042031"/>
                  </a:cubicBezTo>
                  <a:cubicBezTo>
                    <a:pt x="4209066" y="1038151"/>
                    <a:pt x="4209963" y="1034271"/>
                    <a:pt x="4210561" y="1030491"/>
                  </a:cubicBezTo>
                  <a:cubicBezTo>
                    <a:pt x="4210760" y="1034401"/>
                    <a:pt x="4210252" y="1038301"/>
                    <a:pt x="4209066" y="1042031"/>
                  </a:cubicBezTo>
                  <a:cubicBezTo>
                    <a:pt x="4208916" y="1044479"/>
                    <a:pt x="4208916" y="1046946"/>
                    <a:pt x="4209066" y="1049393"/>
                  </a:cubicBezTo>
                  <a:cubicBezTo>
                    <a:pt x="4209913" y="1053164"/>
                    <a:pt x="4210979" y="1056885"/>
                    <a:pt x="4212254" y="1060536"/>
                  </a:cubicBezTo>
                  <a:cubicBezTo>
                    <a:pt x="4210411" y="1057024"/>
                    <a:pt x="4209355" y="1053154"/>
                    <a:pt x="4209165" y="1049195"/>
                  </a:cubicBezTo>
                  <a:close/>
                  <a:moveTo>
                    <a:pt x="4196810" y="999650"/>
                  </a:moveTo>
                  <a:lnTo>
                    <a:pt x="4198503" y="1002137"/>
                  </a:lnTo>
                  <a:cubicBezTo>
                    <a:pt x="4202280" y="1006335"/>
                    <a:pt x="4205309" y="1011150"/>
                    <a:pt x="4207471" y="1016364"/>
                  </a:cubicBezTo>
                  <a:cubicBezTo>
                    <a:pt x="4209026" y="1019318"/>
                    <a:pt x="4210302" y="1022412"/>
                    <a:pt x="4211258" y="1025616"/>
                  </a:cubicBezTo>
                  <a:cubicBezTo>
                    <a:pt x="4211258" y="1027108"/>
                    <a:pt x="4211258" y="1028700"/>
                    <a:pt x="4210561" y="1030491"/>
                  </a:cubicBezTo>
                  <a:cubicBezTo>
                    <a:pt x="4210441" y="1025626"/>
                    <a:pt x="4209395" y="1020831"/>
                    <a:pt x="4207471" y="1016364"/>
                  </a:cubicBezTo>
                  <a:cubicBezTo>
                    <a:pt x="4204911" y="1011369"/>
                    <a:pt x="4201911" y="1006604"/>
                    <a:pt x="4198503" y="1002137"/>
                  </a:cubicBezTo>
                  <a:cubicBezTo>
                    <a:pt x="4198085" y="1001699"/>
                    <a:pt x="4197686" y="1001232"/>
                    <a:pt x="4197308" y="1000744"/>
                  </a:cubicBezTo>
                  <a:cubicBezTo>
                    <a:pt x="4197268" y="1000376"/>
                    <a:pt x="4197268" y="1000018"/>
                    <a:pt x="4197308" y="999650"/>
                  </a:cubicBezTo>
                  <a:lnTo>
                    <a:pt x="4190831" y="990696"/>
                  </a:lnTo>
                  <a:cubicBezTo>
                    <a:pt x="4193163" y="993273"/>
                    <a:pt x="4195076" y="996188"/>
                    <a:pt x="4196511" y="999351"/>
                  </a:cubicBezTo>
                  <a:close/>
                  <a:moveTo>
                    <a:pt x="4182859" y="984826"/>
                  </a:moveTo>
                  <a:lnTo>
                    <a:pt x="4187343" y="985821"/>
                  </a:lnTo>
                  <a:lnTo>
                    <a:pt x="4190233" y="990397"/>
                  </a:lnTo>
                  <a:cubicBezTo>
                    <a:pt x="4188051" y="988209"/>
                    <a:pt x="4185560" y="986328"/>
                    <a:pt x="4182859" y="984826"/>
                  </a:cubicBezTo>
                  <a:cubicBezTo>
                    <a:pt x="4179770" y="984030"/>
                    <a:pt x="4176382" y="983234"/>
                    <a:pt x="4172895" y="982040"/>
                  </a:cubicBezTo>
                  <a:cubicBezTo>
                    <a:pt x="4176263" y="982120"/>
                    <a:pt x="4179571" y="982976"/>
                    <a:pt x="4182560" y="984528"/>
                  </a:cubicBezTo>
                  <a:close/>
                  <a:moveTo>
                    <a:pt x="4172895" y="982040"/>
                  </a:moveTo>
                  <a:cubicBezTo>
                    <a:pt x="4172038" y="981891"/>
                    <a:pt x="4171161" y="981891"/>
                    <a:pt x="4170304" y="982040"/>
                  </a:cubicBezTo>
                  <a:cubicBezTo>
                    <a:pt x="4168740" y="981245"/>
                    <a:pt x="4167275" y="980280"/>
                    <a:pt x="4165920" y="979155"/>
                  </a:cubicBezTo>
                  <a:cubicBezTo>
                    <a:pt x="4168122" y="980160"/>
                    <a:pt x="4170384" y="981026"/>
                    <a:pt x="4172696" y="981742"/>
                  </a:cubicBezTo>
                  <a:close/>
                  <a:moveTo>
                    <a:pt x="4157051" y="971097"/>
                  </a:moveTo>
                  <a:cubicBezTo>
                    <a:pt x="4154660" y="968610"/>
                    <a:pt x="4152169" y="966222"/>
                    <a:pt x="4149678" y="964033"/>
                  </a:cubicBezTo>
                  <a:cubicBezTo>
                    <a:pt x="4152418" y="966073"/>
                    <a:pt x="4154889" y="968450"/>
                    <a:pt x="4157051" y="971097"/>
                  </a:cubicBezTo>
                  <a:close/>
                  <a:moveTo>
                    <a:pt x="4126261" y="931302"/>
                  </a:moveTo>
                  <a:cubicBezTo>
                    <a:pt x="4126271" y="932874"/>
                    <a:pt x="4126471" y="934446"/>
                    <a:pt x="4126859" y="935978"/>
                  </a:cubicBezTo>
                  <a:cubicBezTo>
                    <a:pt x="4128414" y="941648"/>
                    <a:pt x="4130756" y="947081"/>
                    <a:pt x="4133834" y="952095"/>
                  </a:cubicBezTo>
                  <a:cubicBezTo>
                    <a:pt x="4130367" y="947289"/>
                    <a:pt x="4127985" y="941788"/>
                    <a:pt x="4126859" y="935978"/>
                  </a:cubicBezTo>
                  <a:cubicBezTo>
                    <a:pt x="4125564" y="931252"/>
                    <a:pt x="4123172" y="926885"/>
                    <a:pt x="4119884" y="923243"/>
                  </a:cubicBezTo>
                  <a:cubicBezTo>
                    <a:pt x="4122684" y="925323"/>
                    <a:pt x="4124876" y="928108"/>
                    <a:pt x="4126261" y="931302"/>
                  </a:cubicBezTo>
                  <a:close/>
                  <a:moveTo>
                    <a:pt x="4119585" y="922945"/>
                  </a:moveTo>
                  <a:cubicBezTo>
                    <a:pt x="4111913" y="918130"/>
                    <a:pt x="4103632" y="914359"/>
                    <a:pt x="4094973" y="911703"/>
                  </a:cubicBezTo>
                  <a:cubicBezTo>
                    <a:pt x="4098760" y="913295"/>
                    <a:pt x="4102546" y="914488"/>
                    <a:pt x="4104938" y="915384"/>
                  </a:cubicBezTo>
                  <a:cubicBezTo>
                    <a:pt x="4110269" y="916568"/>
                    <a:pt x="4115261" y="918985"/>
                    <a:pt x="4119486" y="922447"/>
                  </a:cubicBezTo>
                  <a:close/>
                  <a:moveTo>
                    <a:pt x="4089692" y="509276"/>
                  </a:moveTo>
                  <a:cubicBezTo>
                    <a:pt x="4086832" y="511435"/>
                    <a:pt x="4083026" y="511893"/>
                    <a:pt x="4079728" y="510470"/>
                  </a:cubicBezTo>
                  <a:cubicBezTo>
                    <a:pt x="4083086" y="511714"/>
                    <a:pt x="4086842" y="511067"/>
                    <a:pt x="4089592" y="508779"/>
                  </a:cubicBezTo>
                  <a:close/>
                  <a:moveTo>
                    <a:pt x="4070660" y="628661"/>
                  </a:moveTo>
                  <a:cubicBezTo>
                    <a:pt x="4068069" y="628253"/>
                    <a:pt x="4065419" y="628562"/>
                    <a:pt x="4062987" y="629556"/>
                  </a:cubicBezTo>
                  <a:cubicBezTo>
                    <a:pt x="4065239" y="628223"/>
                    <a:pt x="4067860" y="627666"/>
                    <a:pt x="4070461" y="627965"/>
                  </a:cubicBezTo>
                  <a:close/>
                  <a:moveTo>
                    <a:pt x="4035984" y="644281"/>
                  </a:moveTo>
                  <a:cubicBezTo>
                    <a:pt x="4033503" y="646012"/>
                    <a:pt x="4031141" y="647902"/>
                    <a:pt x="4028909" y="649951"/>
                  </a:cubicBezTo>
                  <a:cubicBezTo>
                    <a:pt x="4031052" y="647673"/>
                    <a:pt x="4033353" y="645544"/>
                    <a:pt x="4035785" y="643584"/>
                  </a:cubicBezTo>
                  <a:close/>
                  <a:moveTo>
                    <a:pt x="4006091" y="706560"/>
                  </a:moveTo>
                  <a:cubicBezTo>
                    <a:pt x="4004795" y="704122"/>
                    <a:pt x="4004267" y="701347"/>
                    <a:pt x="4004596" y="698601"/>
                  </a:cubicBezTo>
                  <a:cubicBezTo>
                    <a:pt x="4004556" y="701098"/>
                    <a:pt x="4005064" y="703585"/>
                    <a:pt x="4006091" y="705863"/>
                  </a:cubicBezTo>
                  <a:close/>
                  <a:moveTo>
                    <a:pt x="3547728" y="743470"/>
                  </a:moveTo>
                  <a:cubicBezTo>
                    <a:pt x="3552511" y="748265"/>
                    <a:pt x="3555291" y="754702"/>
                    <a:pt x="3555500" y="761477"/>
                  </a:cubicBezTo>
                  <a:cubicBezTo>
                    <a:pt x="3558290" y="778788"/>
                    <a:pt x="3554006" y="801272"/>
                    <a:pt x="3555500" y="815200"/>
                  </a:cubicBezTo>
                  <a:cubicBezTo>
                    <a:pt x="3553806" y="803958"/>
                    <a:pt x="3557692" y="779285"/>
                    <a:pt x="3555500" y="761477"/>
                  </a:cubicBezTo>
                  <a:cubicBezTo>
                    <a:pt x="3554753" y="754155"/>
                    <a:pt x="3551176" y="747409"/>
                    <a:pt x="3545536" y="742674"/>
                  </a:cubicBezTo>
                  <a:cubicBezTo>
                    <a:pt x="3540952" y="740783"/>
                    <a:pt x="3535571" y="739590"/>
                    <a:pt x="3531486" y="737600"/>
                  </a:cubicBezTo>
                  <a:lnTo>
                    <a:pt x="3528497" y="737600"/>
                  </a:lnTo>
                  <a:lnTo>
                    <a:pt x="3526105" y="734814"/>
                  </a:lnTo>
                  <a:cubicBezTo>
                    <a:pt x="3522986" y="732695"/>
                    <a:pt x="3520704" y="729571"/>
                    <a:pt x="3519628" y="725960"/>
                  </a:cubicBezTo>
                  <a:cubicBezTo>
                    <a:pt x="3521601" y="729044"/>
                    <a:pt x="3523764" y="731999"/>
                    <a:pt x="3526105" y="734814"/>
                  </a:cubicBezTo>
                  <a:cubicBezTo>
                    <a:pt x="3527739" y="736048"/>
                    <a:pt x="3529553" y="737023"/>
                    <a:pt x="3531486" y="737699"/>
                  </a:cubicBezTo>
                  <a:cubicBezTo>
                    <a:pt x="3536578" y="737938"/>
                    <a:pt x="3541470" y="739699"/>
                    <a:pt x="3545536" y="742773"/>
                  </a:cubicBezTo>
                  <a:close/>
                  <a:moveTo>
                    <a:pt x="3541550" y="609659"/>
                  </a:moveTo>
                  <a:cubicBezTo>
                    <a:pt x="3541550" y="611848"/>
                    <a:pt x="3542447" y="613738"/>
                    <a:pt x="3542945" y="615529"/>
                  </a:cubicBezTo>
                  <a:cubicBezTo>
                    <a:pt x="3543443" y="617320"/>
                    <a:pt x="3542447" y="617419"/>
                    <a:pt x="3542148" y="618712"/>
                  </a:cubicBezTo>
                  <a:cubicBezTo>
                    <a:pt x="3542148" y="615688"/>
                    <a:pt x="3541949" y="612664"/>
                    <a:pt x="3541550" y="609659"/>
                  </a:cubicBezTo>
                  <a:cubicBezTo>
                    <a:pt x="3540155" y="603093"/>
                    <a:pt x="3538660" y="594636"/>
                    <a:pt x="3537763" y="586976"/>
                  </a:cubicBezTo>
                  <a:cubicBezTo>
                    <a:pt x="3539258" y="594437"/>
                    <a:pt x="3541550" y="602098"/>
                    <a:pt x="3541550" y="609659"/>
                  </a:cubicBezTo>
                  <a:close/>
                  <a:moveTo>
                    <a:pt x="3537664" y="586280"/>
                  </a:moveTo>
                  <a:cubicBezTo>
                    <a:pt x="3536946" y="581773"/>
                    <a:pt x="3536717" y="577206"/>
                    <a:pt x="3536966" y="572650"/>
                  </a:cubicBezTo>
                  <a:cubicBezTo>
                    <a:pt x="3537066" y="577206"/>
                    <a:pt x="3537435" y="581763"/>
                    <a:pt x="3538062" y="586280"/>
                  </a:cubicBezTo>
                  <a:close/>
                  <a:moveTo>
                    <a:pt x="3520326" y="533352"/>
                  </a:moveTo>
                  <a:cubicBezTo>
                    <a:pt x="3519628" y="530766"/>
                    <a:pt x="3518931" y="528278"/>
                    <a:pt x="3518134" y="525891"/>
                  </a:cubicBezTo>
                  <a:cubicBezTo>
                    <a:pt x="3518463" y="526647"/>
                    <a:pt x="3518901" y="527353"/>
                    <a:pt x="3519429" y="527980"/>
                  </a:cubicBezTo>
                  <a:close/>
                  <a:moveTo>
                    <a:pt x="3515443" y="519324"/>
                  </a:moveTo>
                  <a:cubicBezTo>
                    <a:pt x="3516499" y="521414"/>
                    <a:pt x="3517396" y="523572"/>
                    <a:pt x="3518134" y="525791"/>
                  </a:cubicBezTo>
                  <a:cubicBezTo>
                    <a:pt x="3516868" y="523772"/>
                    <a:pt x="3515951" y="521553"/>
                    <a:pt x="3515443" y="519225"/>
                  </a:cubicBezTo>
                  <a:close/>
                  <a:moveTo>
                    <a:pt x="3508468" y="446500"/>
                  </a:moveTo>
                  <a:cubicBezTo>
                    <a:pt x="3509774" y="437874"/>
                    <a:pt x="3510172" y="429139"/>
                    <a:pt x="3509664" y="420434"/>
                  </a:cubicBezTo>
                  <a:cubicBezTo>
                    <a:pt x="3510481" y="429099"/>
                    <a:pt x="3510072" y="437844"/>
                    <a:pt x="3508468" y="446400"/>
                  </a:cubicBezTo>
                  <a:close/>
                  <a:moveTo>
                    <a:pt x="3505579" y="352981"/>
                  </a:moveTo>
                  <a:cubicBezTo>
                    <a:pt x="3505579" y="347112"/>
                    <a:pt x="3504781" y="341441"/>
                    <a:pt x="3503984" y="335969"/>
                  </a:cubicBezTo>
                  <a:cubicBezTo>
                    <a:pt x="3505140" y="341530"/>
                    <a:pt x="3505678" y="347201"/>
                    <a:pt x="3505579" y="352882"/>
                  </a:cubicBezTo>
                  <a:close/>
                  <a:moveTo>
                    <a:pt x="3502489" y="328010"/>
                  </a:moveTo>
                  <a:cubicBezTo>
                    <a:pt x="3502858" y="329453"/>
                    <a:pt x="3503127" y="330915"/>
                    <a:pt x="3503287" y="332388"/>
                  </a:cubicBezTo>
                  <a:cubicBezTo>
                    <a:pt x="3502689" y="330000"/>
                    <a:pt x="3502091" y="327712"/>
                    <a:pt x="3501393" y="325324"/>
                  </a:cubicBezTo>
                  <a:cubicBezTo>
                    <a:pt x="3501692" y="326120"/>
                    <a:pt x="3501692" y="327015"/>
                    <a:pt x="3502489" y="327911"/>
                  </a:cubicBezTo>
                  <a:close/>
                  <a:moveTo>
                    <a:pt x="3470703" y="148933"/>
                  </a:moveTo>
                  <a:cubicBezTo>
                    <a:pt x="3471440" y="144665"/>
                    <a:pt x="3472746" y="140515"/>
                    <a:pt x="3474589" y="136596"/>
                  </a:cubicBezTo>
                  <a:cubicBezTo>
                    <a:pt x="3472915" y="140683"/>
                    <a:pt x="3471620" y="144911"/>
                    <a:pt x="3470703" y="149231"/>
                  </a:cubicBezTo>
                  <a:close/>
                  <a:moveTo>
                    <a:pt x="2678433" y="640102"/>
                  </a:moveTo>
                  <a:cubicBezTo>
                    <a:pt x="2749977" y="640500"/>
                    <a:pt x="2821552" y="640828"/>
                    <a:pt x="2893166" y="641097"/>
                  </a:cubicBezTo>
                  <a:cubicBezTo>
                    <a:pt x="2819698" y="641097"/>
                    <a:pt x="2746320" y="640868"/>
                    <a:pt x="2673052" y="640401"/>
                  </a:cubicBezTo>
                  <a:close/>
                  <a:moveTo>
                    <a:pt x="2599714" y="810126"/>
                  </a:moveTo>
                  <a:cubicBezTo>
                    <a:pt x="2522590" y="810126"/>
                    <a:pt x="2444170" y="810126"/>
                    <a:pt x="2365451" y="810126"/>
                  </a:cubicBezTo>
                  <a:close/>
                  <a:moveTo>
                    <a:pt x="1964981" y="809231"/>
                  </a:moveTo>
                  <a:lnTo>
                    <a:pt x="2068611" y="809927"/>
                  </a:lnTo>
                  <a:cubicBezTo>
                    <a:pt x="2035529" y="809927"/>
                    <a:pt x="2002647" y="809927"/>
                    <a:pt x="1969964" y="809927"/>
                  </a:cubicBezTo>
                  <a:cubicBezTo>
                    <a:pt x="1957707" y="809330"/>
                    <a:pt x="1945052" y="809032"/>
                    <a:pt x="1932198" y="808833"/>
                  </a:cubicBezTo>
                  <a:cubicBezTo>
                    <a:pt x="1943259" y="809231"/>
                    <a:pt x="1954220" y="809330"/>
                    <a:pt x="1964981" y="809529"/>
                  </a:cubicBezTo>
                  <a:close/>
                  <a:moveTo>
                    <a:pt x="1758120" y="809927"/>
                  </a:moveTo>
                  <a:cubicBezTo>
                    <a:pt x="1779743" y="809927"/>
                    <a:pt x="1801764" y="809927"/>
                    <a:pt x="1823885" y="809927"/>
                  </a:cubicBezTo>
                  <a:lnTo>
                    <a:pt x="1764099" y="811121"/>
                  </a:lnTo>
                  <a:cubicBezTo>
                    <a:pt x="1762285" y="810534"/>
                    <a:pt x="1760412" y="810136"/>
                    <a:pt x="1758519" y="809927"/>
                  </a:cubicBezTo>
                  <a:cubicBezTo>
                    <a:pt x="1746561" y="809927"/>
                    <a:pt x="1734604" y="809927"/>
                    <a:pt x="1722946" y="809231"/>
                  </a:cubicBezTo>
                  <a:cubicBezTo>
                    <a:pt x="1730917" y="809529"/>
                    <a:pt x="1747957" y="809032"/>
                    <a:pt x="1757921" y="810226"/>
                  </a:cubicBezTo>
                  <a:close/>
                  <a:moveTo>
                    <a:pt x="1720255" y="822562"/>
                  </a:moveTo>
                  <a:cubicBezTo>
                    <a:pt x="1720255" y="828233"/>
                    <a:pt x="1720255" y="834103"/>
                    <a:pt x="1720255" y="839972"/>
                  </a:cubicBezTo>
                  <a:cubicBezTo>
                    <a:pt x="1720255" y="837784"/>
                    <a:pt x="1720255" y="835396"/>
                    <a:pt x="1720255" y="833008"/>
                  </a:cubicBezTo>
                  <a:close/>
                  <a:moveTo>
                    <a:pt x="1720255" y="902152"/>
                  </a:moveTo>
                  <a:cubicBezTo>
                    <a:pt x="1720255" y="898372"/>
                    <a:pt x="1720255" y="894691"/>
                    <a:pt x="1720255" y="890910"/>
                  </a:cubicBezTo>
                  <a:cubicBezTo>
                    <a:pt x="1720255" y="894691"/>
                    <a:pt x="1720255" y="898571"/>
                    <a:pt x="1720754" y="902252"/>
                  </a:cubicBezTo>
                  <a:lnTo>
                    <a:pt x="1720754" y="902252"/>
                  </a:lnTo>
                  <a:cubicBezTo>
                    <a:pt x="1720754" y="905435"/>
                    <a:pt x="1720754" y="908619"/>
                    <a:pt x="1720754" y="912200"/>
                  </a:cubicBezTo>
                  <a:cubicBezTo>
                    <a:pt x="1720325" y="908390"/>
                    <a:pt x="1718920" y="904759"/>
                    <a:pt x="1716668" y="901655"/>
                  </a:cubicBezTo>
                  <a:cubicBezTo>
                    <a:pt x="1717874" y="902222"/>
                    <a:pt x="1719139" y="902630"/>
                    <a:pt x="1720455" y="902848"/>
                  </a:cubicBezTo>
                  <a:close/>
                  <a:moveTo>
                    <a:pt x="1708697" y="891308"/>
                  </a:moveTo>
                  <a:cubicBezTo>
                    <a:pt x="1708587" y="891935"/>
                    <a:pt x="1708587" y="892571"/>
                    <a:pt x="1708697" y="893198"/>
                  </a:cubicBezTo>
                  <a:cubicBezTo>
                    <a:pt x="1709424" y="894511"/>
                    <a:pt x="1709962" y="895914"/>
                    <a:pt x="1710291" y="897377"/>
                  </a:cubicBezTo>
                  <a:cubicBezTo>
                    <a:pt x="1710849" y="898083"/>
                    <a:pt x="1711477" y="898710"/>
                    <a:pt x="1712184" y="899267"/>
                  </a:cubicBezTo>
                  <a:cubicBezTo>
                    <a:pt x="1713629" y="899337"/>
                    <a:pt x="1714974" y="900023"/>
                    <a:pt x="1715871" y="901157"/>
                  </a:cubicBezTo>
                  <a:cubicBezTo>
                    <a:pt x="1714536" y="900749"/>
                    <a:pt x="1713290" y="900113"/>
                    <a:pt x="1712184" y="899267"/>
                  </a:cubicBezTo>
                  <a:lnTo>
                    <a:pt x="1710490" y="899267"/>
                  </a:lnTo>
                  <a:cubicBezTo>
                    <a:pt x="1710540" y="898640"/>
                    <a:pt x="1710540" y="898003"/>
                    <a:pt x="1710490" y="897377"/>
                  </a:cubicBezTo>
                  <a:cubicBezTo>
                    <a:pt x="1709604" y="896143"/>
                    <a:pt x="1709055" y="894700"/>
                    <a:pt x="1708896" y="893198"/>
                  </a:cubicBezTo>
                  <a:cubicBezTo>
                    <a:pt x="1708149" y="891805"/>
                    <a:pt x="1707252" y="890502"/>
                    <a:pt x="1706206" y="889318"/>
                  </a:cubicBezTo>
                  <a:cubicBezTo>
                    <a:pt x="1706843" y="890432"/>
                    <a:pt x="1707780" y="891368"/>
                    <a:pt x="1708896" y="892004"/>
                  </a:cubicBezTo>
                  <a:close/>
                  <a:moveTo>
                    <a:pt x="1703017" y="886135"/>
                  </a:moveTo>
                  <a:lnTo>
                    <a:pt x="1700725" y="884344"/>
                  </a:lnTo>
                  <a:cubicBezTo>
                    <a:pt x="1700725" y="883448"/>
                    <a:pt x="1699928" y="882354"/>
                    <a:pt x="1699529" y="881260"/>
                  </a:cubicBezTo>
                  <a:cubicBezTo>
                    <a:pt x="1700446" y="883299"/>
                    <a:pt x="1701692" y="885179"/>
                    <a:pt x="1703216" y="886831"/>
                  </a:cubicBezTo>
                  <a:close/>
                  <a:moveTo>
                    <a:pt x="1697736" y="876186"/>
                  </a:moveTo>
                  <a:cubicBezTo>
                    <a:pt x="1697696" y="876813"/>
                    <a:pt x="1697696" y="877449"/>
                    <a:pt x="1697736" y="878076"/>
                  </a:cubicBezTo>
                  <a:cubicBezTo>
                    <a:pt x="1696769" y="875708"/>
                    <a:pt x="1695633" y="873420"/>
                    <a:pt x="1694348" y="871212"/>
                  </a:cubicBezTo>
                  <a:close/>
                  <a:moveTo>
                    <a:pt x="1678803" y="853403"/>
                  </a:moveTo>
                  <a:cubicBezTo>
                    <a:pt x="1679581" y="853831"/>
                    <a:pt x="1680308" y="854328"/>
                    <a:pt x="1680996" y="854896"/>
                  </a:cubicBezTo>
                  <a:cubicBezTo>
                    <a:pt x="1684842" y="857413"/>
                    <a:pt x="1688021" y="860825"/>
                    <a:pt x="1690263" y="864844"/>
                  </a:cubicBezTo>
                  <a:cubicBezTo>
                    <a:pt x="1687772" y="861024"/>
                    <a:pt x="1684633" y="857661"/>
                    <a:pt x="1680996" y="854896"/>
                  </a:cubicBezTo>
                  <a:cubicBezTo>
                    <a:pt x="1675814" y="852508"/>
                    <a:pt x="1671928" y="856587"/>
                    <a:pt x="1667843" y="865342"/>
                  </a:cubicBezTo>
                  <a:cubicBezTo>
                    <a:pt x="1670533" y="859969"/>
                    <a:pt x="1673522" y="854697"/>
                    <a:pt x="1679003" y="854299"/>
                  </a:cubicBezTo>
                  <a:close/>
                  <a:moveTo>
                    <a:pt x="1653793" y="887627"/>
                  </a:moveTo>
                  <a:cubicBezTo>
                    <a:pt x="1655646" y="887527"/>
                    <a:pt x="1657410" y="886791"/>
                    <a:pt x="1658775" y="885538"/>
                  </a:cubicBezTo>
                  <a:cubicBezTo>
                    <a:pt x="1659941" y="884244"/>
                    <a:pt x="1660887" y="882762"/>
                    <a:pt x="1661565" y="881160"/>
                  </a:cubicBezTo>
                  <a:cubicBezTo>
                    <a:pt x="1663757" y="875191"/>
                    <a:pt x="1665750" y="870117"/>
                    <a:pt x="1667643" y="865839"/>
                  </a:cubicBezTo>
                  <a:cubicBezTo>
                    <a:pt x="1665651" y="870813"/>
                    <a:pt x="1663957" y="876584"/>
                    <a:pt x="1661565" y="881160"/>
                  </a:cubicBezTo>
                  <a:lnTo>
                    <a:pt x="1660868" y="883249"/>
                  </a:lnTo>
                  <a:cubicBezTo>
                    <a:pt x="1660250" y="884085"/>
                    <a:pt x="1659552" y="884851"/>
                    <a:pt x="1658775" y="885538"/>
                  </a:cubicBezTo>
                  <a:cubicBezTo>
                    <a:pt x="1657968" y="886582"/>
                    <a:pt x="1656991" y="887488"/>
                    <a:pt x="1655885" y="888224"/>
                  </a:cubicBezTo>
                  <a:lnTo>
                    <a:pt x="1653793" y="887627"/>
                  </a:lnTo>
                  <a:cubicBezTo>
                    <a:pt x="1652199" y="888065"/>
                    <a:pt x="1650505" y="888065"/>
                    <a:pt x="1648910" y="887627"/>
                  </a:cubicBezTo>
                  <a:lnTo>
                    <a:pt x="1648312" y="887627"/>
                  </a:lnTo>
                  <a:cubicBezTo>
                    <a:pt x="1650235" y="887687"/>
                    <a:pt x="1652139" y="887985"/>
                    <a:pt x="1653992" y="888522"/>
                  </a:cubicBezTo>
                  <a:close/>
                  <a:moveTo>
                    <a:pt x="1647515" y="887030"/>
                  </a:moveTo>
                  <a:cubicBezTo>
                    <a:pt x="1643410" y="887030"/>
                    <a:pt x="1639325" y="887736"/>
                    <a:pt x="1635458" y="889119"/>
                  </a:cubicBezTo>
                  <a:cubicBezTo>
                    <a:pt x="1639354" y="887577"/>
                    <a:pt x="1643599" y="887169"/>
                    <a:pt x="1647715" y="887925"/>
                  </a:cubicBezTo>
                  <a:close/>
                  <a:moveTo>
                    <a:pt x="1624996" y="895088"/>
                  </a:moveTo>
                  <a:cubicBezTo>
                    <a:pt x="1624438" y="893745"/>
                    <a:pt x="1623660" y="892502"/>
                    <a:pt x="1622704" y="891407"/>
                  </a:cubicBezTo>
                  <a:cubicBezTo>
                    <a:pt x="1623949" y="892671"/>
                    <a:pt x="1624816" y="894253"/>
                    <a:pt x="1625195" y="895984"/>
                  </a:cubicBezTo>
                  <a:close/>
                  <a:moveTo>
                    <a:pt x="1590619" y="892004"/>
                  </a:moveTo>
                  <a:cubicBezTo>
                    <a:pt x="1599686" y="890711"/>
                    <a:pt x="1610547" y="885438"/>
                    <a:pt x="1618419" y="888323"/>
                  </a:cubicBezTo>
                  <a:cubicBezTo>
                    <a:pt x="1610866" y="887299"/>
                    <a:pt x="1603174" y="888264"/>
                    <a:pt x="1596099" y="891109"/>
                  </a:cubicBezTo>
                  <a:cubicBezTo>
                    <a:pt x="1594305" y="891596"/>
                    <a:pt x="1592472" y="891905"/>
                    <a:pt x="1590619" y="892004"/>
                  </a:cubicBezTo>
                  <a:cubicBezTo>
                    <a:pt x="1588795" y="892203"/>
                    <a:pt x="1586962" y="892203"/>
                    <a:pt x="1585138" y="892004"/>
                  </a:cubicBezTo>
                  <a:cubicBezTo>
                    <a:pt x="1580804" y="891298"/>
                    <a:pt x="1576539" y="890233"/>
                    <a:pt x="1572384" y="888821"/>
                  </a:cubicBezTo>
                  <a:cubicBezTo>
                    <a:pt x="1578263" y="891179"/>
                    <a:pt x="1584490" y="892561"/>
                    <a:pt x="1590818" y="892900"/>
                  </a:cubicBezTo>
                  <a:close/>
                  <a:moveTo>
                    <a:pt x="1568697" y="887925"/>
                  </a:moveTo>
                  <a:cubicBezTo>
                    <a:pt x="1565110" y="886672"/>
                    <a:pt x="1561134" y="887229"/>
                    <a:pt x="1558035" y="889418"/>
                  </a:cubicBezTo>
                  <a:cubicBezTo>
                    <a:pt x="1560825" y="887428"/>
                    <a:pt x="1564213" y="887627"/>
                    <a:pt x="1568597" y="888821"/>
                  </a:cubicBezTo>
                  <a:close/>
                  <a:moveTo>
                    <a:pt x="1557138" y="890313"/>
                  </a:moveTo>
                  <a:cubicBezTo>
                    <a:pt x="1554318" y="895466"/>
                    <a:pt x="1552654" y="901167"/>
                    <a:pt x="1552256" y="907027"/>
                  </a:cubicBezTo>
                  <a:cubicBezTo>
                    <a:pt x="1552525" y="901495"/>
                    <a:pt x="1554278" y="896133"/>
                    <a:pt x="1557337" y="891507"/>
                  </a:cubicBezTo>
                  <a:close/>
                  <a:moveTo>
                    <a:pt x="1495757" y="914687"/>
                  </a:moveTo>
                  <a:cubicBezTo>
                    <a:pt x="1493864" y="915881"/>
                    <a:pt x="1490974" y="917772"/>
                    <a:pt x="1489878" y="918667"/>
                  </a:cubicBezTo>
                  <a:cubicBezTo>
                    <a:pt x="1491772" y="917403"/>
                    <a:pt x="1493814" y="916369"/>
                    <a:pt x="1495957" y="915583"/>
                  </a:cubicBezTo>
                  <a:close/>
                  <a:moveTo>
                    <a:pt x="1468156" y="883050"/>
                  </a:moveTo>
                  <a:cubicBezTo>
                    <a:pt x="1467349" y="880494"/>
                    <a:pt x="1467349" y="877748"/>
                    <a:pt x="1468156" y="875191"/>
                  </a:cubicBezTo>
                  <a:cubicBezTo>
                    <a:pt x="1467409" y="878076"/>
                    <a:pt x="1467478" y="881100"/>
                    <a:pt x="1468355" y="883946"/>
                  </a:cubicBezTo>
                  <a:close/>
                  <a:moveTo>
                    <a:pt x="1448227" y="844051"/>
                  </a:moveTo>
                  <a:cubicBezTo>
                    <a:pt x="1444042" y="841365"/>
                    <a:pt x="1439757" y="840370"/>
                    <a:pt x="1436270" y="844051"/>
                  </a:cubicBezTo>
                  <a:cubicBezTo>
                    <a:pt x="1440056" y="840669"/>
                    <a:pt x="1444540" y="841763"/>
                    <a:pt x="1449024" y="844947"/>
                  </a:cubicBezTo>
                  <a:close/>
                  <a:moveTo>
                    <a:pt x="1458192" y="851314"/>
                  </a:moveTo>
                  <a:cubicBezTo>
                    <a:pt x="1455870" y="849832"/>
                    <a:pt x="1453638" y="848200"/>
                    <a:pt x="1451515" y="846439"/>
                  </a:cubicBezTo>
                  <a:cubicBezTo>
                    <a:pt x="1454505" y="849125"/>
                    <a:pt x="1456896" y="851015"/>
                    <a:pt x="1458989" y="852209"/>
                  </a:cubicBezTo>
                  <a:close/>
                  <a:moveTo>
                    <a:pt x="1417437" y="831417"/>
                  </a:moveTo>
                  <a:cubicBezTo>
                    <a:pt x="1419858" y="834242"/>
                    <a:pt x="1422808" y="836570"/>
                    <a:pt x="1426106" y="838281"/>
                  </a:cubicBezTo>
                  <a:cubicBezTo>
                    <a:pt x="1423047" y="836928"/>
                    <a:pt x="1420297" y="834968"/>
                    <a:pt x="1418035" y="832511"/>
                  </a:cubicBezTo>
                  <a:close/>
                  <a:moveTo>
                    <a:pt x="1419330" y="807340"/>
                  </a:moveTo>
                  <a:cubicBezTo>
                    <a:pt x="1419380" y="807937"/>
                    <a:pt x="1419380" y="808534"/>
                    <a:pt x="1419330" y="809131"/>
                  </a:cubicBezTo>
                  <a:cubicBezTo>
                    <a:pt x="1419500" y="811877"/>
                    <a:pt x="1419201" y="814643"/>
                    <a:pt x="1418433" y="817289"/>
                  </a:cubicBezTo>
                  <a:lnTo>
                    <a:pt x="1417537" y="818583"/>
                  </a:lnTo>
                  <a:cubicBezTo>
                    <a:pt x="1417019" y="820274"/>
                    <a:pt x="1416311" y="821915"/>
                    <a:pt x="1415444" y="823458"/>
                  </a:cubicBezTo>
                  <a:cubicBezTo>
                    <a:pt x="1415773" y="821697"/>
                    <a:pt x="1416480" y="820035"/>
                    <a:pt x="1417537" y="818583"/>
                  </a:cubicBezTo>
                  <a:cubicBezTo>
                    <a:pt x="1418533" y="815518"/>
                    <a:pt x="1419131" y="812345"/>
                    <a:pt x="1419330" y="809131"/>
                  </a:cubicBezTo>
                  <a:cubicBezTo>
                    <a:pt x="1418752" y="802306"/>
                    <a:pt x="1415444" y="795999"/>
                    <a:pt x="1410163" y="791622"/>
                  </a:cubicBezTo>
                  <a:cubicBezTo>
                    <a:pt x="1415972" y="795293"/>
                    <a:pt x="1419619" y="801570"/>
                    <a:pt x="1419928" y="808435"/>
                  </a:cubicBezTo>
                  <a:close/>
                  <a:moveTo>
                    <a:pt x="1380868" y="737699"/>
                  </a:moveTo>
                  <a:cubicBezTo>
                    <a:pt x="1381306" y="738585"/>
                    <a:pt x="1381834" y="739420"/>
                    <a:pt x="1382462" y="740186"/>
                  </a:cubicBezTo>
                  <a:cubicBezTo>
                    <a:pt x="1382183" y="740803"/>
                    <a:pt x="1381954" y="741430"/>
                    <a:pt x="1381765" y="742077"/>
                  </a:cubicBezTo>
                  <a:cubicBezTo>
                    <a:pt x="1382113" y="744047"/>
                    <a:pt x="1382113" y="746076"/>
                    <a:pt x="1381765" y="748046"/>
                  </a:cubicBezTo>
                  <a:cubicBezTo>
                    <a:pt x="1382362" y="750523"/>
                    <a:pt x="1383299" y="752901"/>
                    <a:pt x="1384555" y="755110"/>
                  </a:cubicBezTo>
                  <a:cubicBezTo>
                    <a:pt x="1386248" y="757696"/>
                    <a:pt x="1388042" y="760681"/>
                    <a:pt x="1389935" y="763864"/>
                  </a:cubicBezTo>
                  <a:lnTo>
                    <a:pt x="1392227" y="767048"/>
                  </a:lnTo>
                  <a:cubicBezTo>
                    <a:pt x="1392357" y="767635"/>
                    <a:pt x="1392556" y="768202"/>
                    <a:pt x="1392825" y="768739"/>
                  </a:cubicBezTo>
                  <a:cubicBezTo>
                    <a:pt x="1395017" y="772520"/>
                    <a:pt x="1397209" y="776400"/>
                    <a:pt x="1399103" y="779981"/>
                  </a:cubicBezTo>
                  <a:cubicBezTo>
                    <a:pt x="1396243" y="776708"/>
                    <a:pt x="1394110" y="772888"/>
                    <a:pt x="1392825" y="768739"/>
                  </a:cubicBezTo>
                  <a:cubicBezTo>
                    <a:pt x="1391829" y="767048"/>
                    <a:pt x="1390932" y="765357"/>
                    <a:pt x="1389935" y="763864"/>
                  </a:cubicBezTo>
                  <a:cubicBezTo>
                    <a:pt x="1387913" y="761089"/>
                    <a:pt x="1386119" y="758164"/>
                    <a:pt x="1384555" y="755110"/>
                  </a:cubicBezTo>
                  <a:cubicBezTo>
                    <a:pt x="1383359" y="753219"/>
                    <a:pt x="1382263" y="751528"/>
                    <a:pt x="1381266" y="750135"/>
                  </a:cubicBezTo>
                  <a:cubicBezTo>
                    <a:pt x="1381505" y="749459"/>
                    <a:pt x="1381665" y="748752"/>
                    <a:pt x="1381765" y="748046"/>
                  </a:cubicBezTo>
                  <a:cubicBezTo>
                    <a:pt x="1381266" y="746086"/>
                    <a:pt x="1381266" y="744037"/>
                    <a:pt x="1381765" y="742077"/>
                  </a:cubicBezTo>
                  <a:cubicBezTo>
                    <a:pt x="1381575" y="740594"/>
                    <a:pt x="1381276" y="739132"/>
                    <a:pt x="1380868" y="737699"/>
                  </a:cubicBezTo>
                  <a:cubicBezTo>
                    <a:pt x="1380140" y="735968"/>
                    <a:pt x="1379612" y="734167"/>
                    <a:pt x="1379273" y="732327"/>
                  </a:cubicBezTo>
                  <a:cubicBezTo>
                    <a:pt x="1380170" y="734715"/>
                    <a:pt x="1380868" y="736903"/>
                    <a:pt x="1381466" y="739291"/>
                  </a:cubicBezTo>
                  <a:close/>
                  <a:moveTo>
                    <a:pt x="1378476" y="722279"/>
                  </a:moveTo>
                  <a:cubicBezTo>
                    <a:pt x="1378327" y="723473"/>
                    <a:pt x="1378327" y="724666"/>
                    <a:pt x="1378476" y="725860"/>
                  </a:cubicBezTo>
                  <a:cubicBezTo>
                    <a:pt x="1378247" y="724169"/>
                    <a:pt x="1377839" y="722498"/>
                    <a:pt x="1377281" y="720886"/>
                  </a:cubicBezTo>
                  <a:cubicBezTo>
                    <a:pt x="1377520" y="722110"/>
                    <a:pt x="1378237" y="723184"/>
                    <a:pt x="1379273" y="723870"/>
                  </a:cubicBezTo>
                  <a:close/>
                  <a:moveTo>
                    <a:pt x="1374590" y="716509"/>
                  </a:moveTo>
                  <a:cubicBezTo>
                    <a:pt x="1374281" y="716061"/>
                    <a:pt x="1373913" y="715663"/>
                    <a:pt x="1373494" y="715315"/>
                  </a:cubicBezTo>
                  <a:lnTo>
                    <a:pt x="1373494" y="710539"/>
                  </a:lnTo>
                  <a:cubicBezTo>
                    <a:pt x="1373793" y="713116"/>
                    <a:pt x="1374361" y="715643"/>
                    <a:pt x="1375188" y="718100"/>
                  </a:cubicBezTo>
                  <a:close/>
                  <a:moveTo>
                    <a:pt x="1372498" y="701386"/>
                  </a:moveTo>
                  <a:lnTo>
                    <a:pt x="1373096" y="710340"/>
                  </a:lnTo>
                  <a:cubicBezTo>
                    <a:pt x="1372687" y="707376"/>
                    <a:pt x="1372488" y="704381"/>
                    <a:pt x="1372498" y="701386"/>
                  </a:cubicBezTo>
                  <a:cubicBezTo>
                    <a:pt x="1370664" y="700670"/>
                    <a:pt x="1369010" y="699586"/>
                    <a:pt x="1367615" y="698203"/>
                  </a:cubicBezTo>
                  <a:cubicBezTo>
                    <a:pt x="1369279" y="699974"/>
                    <a:pt x="1371113" y="701566"/>
                    <a:pt x="1373096" y="702978"/>
                  </a:cubicBezTo>
                  <a:close/>
                  <a:moveTo>
                    <a:pt x="1350177" y="683678"/>
                  </a:moveTo>
                  <a:lnTo>
                    <a:pt x="1352569" y="683678"/>
                  </a:lnTo>
                  <a:lnTo>
                    <a:pt x="1356056" y="687458"/>
                  </a:lnTo>
                  <a:cubicBezTo>
                    <a:pt x="1354412" y="685787"/>
                    <a:pt x="1352399" y="684523"/>
                    <a:pt x="1350177" y="683777"/>
                  </a:cubicBezTo>
                  <a:cubicBezTo>
                    <a:pt x="1349241" y="683906"/>
                    <a:pt x="1348374" y="684324"/>
                    <a:pt x="1347686" y="684971"/>
                  </a:cubicBezTo>
                  <a:cubicBezTo>
                    <a:pt x="1348623" y="684205"/>
                    <a:pt x="1349998" y="684334"/>
                    <a:pt x="1350775" y="685269"/>
                  </a:cubicBezTo>
                  <a:cubicBezTo>
                    <a:pt x="1350775" y="685269"/>
                    <a:pt x="1350775" y="685269"/>
                    <a:pt x="1350775" y="685269"/>
                  </a:cubicBezTo>
                  <a:close/>
                  <a:moveTo>
                    <a:pt x="1347387" y="685170"/>
                  </a:moveTo>
                  <a:cubicBezTo>
                    <a:pt x="1346640" y="687170"/>
                    <a:pt x="1346371" y="689319"/>
                    <a:pt x="1346590" y="691438"/>
                  </a:cubicBezTo>
                  <a:cubicBezTo>
                    <a:pt x="1346570" y="689776"/>
                    <a:pt x="1347049" y="688145"/>
                    <a:pt x="1347985" y="686762"/>
                  </a:cubicBezTo>
                  <a:close/>
                  <a:moveTo>
                    <a:pt x="1316498" y="714419"/>
                  </a:moveTo>
                  <a:cubicBezTo>
                    <a:pt x="1316557" y="713723"/>
                    <a:pt x="1316557" y="713026"/>
                    <a:pt x="1316498" y="712330"/>
                  </a:cubicBezTo>
                  <a:lnTo>
                    <a:pt x="1318490" y="712330"/>
                  </a:lnTo>
                  <a:cubicBezTo>
                    <a:pt x="1320125" y="711524"/>
                    <a:pt x="1321948" y="711146"/>
                    <a:pt x="1323772" y="711236"/>
                  </a:cubicBezTo>
                  <a:cubicBezTo>
                    <a:pt x="1325625" y="710569"/>
                    <a:pt x="1327369" y="709634"/>
                    <a:pt x="1328953" y="708450"/>
                  </a:cubicBezTo>
                  <a:cubicBezTo>
                    <a:pt x="1331942" y="705963"/>
                    <a:pt x="1335629" y="702779"/>
                    <a:pt x="1338918" y="699695"/>
                  </a:cubicBezTo>
                  <a:cubicBezTo>
                    <a:pt x="1335928" y="702978"/>
                    <a:pt x="1332590" y="705913"/>
                    <a:pt x="1328953" y="708450"/>
                  </a:cubicBezTo>
                  <a:cubicBezTo>
                    <a:pt x="1327658" y="709644"/>
                    <a:pt x="1326462" y="710539"/>
                    <a:pt x="1325466" y="711335"/>
                  </a:cubicBezTo>
                  <a:lnTo>
                    <a:pt x="1323772" y="711335"/>
                  </a:lnTo>
                  <a:cubicBezTo>
                    <a:pt x="1322098" y="712041"/>
                    <a:pt x="1320304" y="712410"/>
                    <a:pt x="1318490" y="712430"/>
                  </a:cubicBezTo>
                  <a:cubicBezTo>
                    <a:pt x="1317584" y="712907"/>
                    <a:pt x="1316826" y="713633"/>
                    <a:pt x="1316298" y="714519"/>
                  </a:cubicBezTo>
                  <a:cubicBezTo>
                    <a:pt x="1316308" y="717076"/>
                    <a:pt x="1315083" y="719483"/>
                    <a:pt x="1313010" y="720985"/>
                  </a:cubicBezTo>
                  <a:cubicBezTo>
                    <a:pt x="1315501" y="720985"/>
                    <a:pt x="1315700" y="718200"/>
                    <a:pt x="1317095" y="716011"/>
                  </a:cubicBezTo>
                  <a:close/>
                  <a:moveTo>
                    <a:pt x="1311316" y="721682"/>
                  </a:moveTo>
                  <a:cubicBezTo>
                    <a:pt x="1308387" y="722050"/>
                    <a:pt x="1305407" y="721562"/>
                    <a:pt x="1302747" y="720289"/>
                  </a:cubicBezTo>
                  <a:cubicBezTo>
                    <a:pt x="1298024" y="717265"/>
                    <a:pt x="1293500" y="713942"/>
                    <a:pt x="1289195" y="710340"/>
                  </a:cubicBezTo>
                  <a:cubicBezTo>
                    <a:pt x="1285997" y="708967"/>
                    <a:pt x="1283515" y="706341"/>
                    <a:pt x="1282320" y="703078"/>
                  </a:cubicBezTo>
                  <a:cubicBezTo>
                    <a:pt x="1284173" y="705873"/>
                    <a:pt x="1286505" y="708331"/>
                    <a:pt x="1289195" y="710340"/>
                  </a:cubicBezTo>
                  <a:cubicBezTo>
                    <a:pt x="1289703" y="710599"/>
                    <a:pt x="1290241" y="710798"/>
                    <a:pt x="1290789" y="710937"/>
                  </a:cubicBezTo>
                  <a:cubicBezTo>
                    <a:pt x="1296669" y="717304"/>
                    <a:pt x="1306035" y="724368"/>
                    <a:pt x="1311914" y="723274"/>
                  </a:cubicBezTo>
                  <a:close/>
                  <a:moveTo>
                    <a:pt x="1260896" y="494552"/>
                  </a:moveTo>
                  <a:cubicBezTo>
                    <a:pt x="1258345" y="495229"/>
                    <a:pt x="1255635" y="495020"/>
                    <a:pt x="1253224" y="493955"/>
                  </a:cubicBezTo>
                  <a:cubicBezTo>
                    <a:pt x="1255775" y="495318"/>
                    <a:pt x="1258604" y="496064"/>
                    <a:pt x="1261494" y="496144"/>
                  </a:cubicBezTo>
                  <a:close/>
                  <a:moveTo>
                    <a:pt x="1222434" y="454757"/>
                  </a:moveTo>
                  <a:cubicBezTo>
                    <a:pt x="1219394" y="451663"/>
                    <a:pt x="1216594" y="448340"/>
                    <a:pt x="1214064" y="444808"/>
                  </a:cubicBezTo>
                  <a:cubicBezTo>
                    <a:pt x="1216794" y="448718"/>
                    <a:pt x="1219793" y="452439"/>
                    <a:pt x="1223032" y="455951"/>
                  </a:cubicBezTo>
                  <a:close/>
                  <a:moveTo>
                    <a:pt x="1170619" y="396059"/>
                  </a:moveTo>
                  <a:cubicBezTo>
                    <a:pt x="1168217" y="395293"/>
                    <a:pt x="1165746" y="394726"/>
                    <a:pt x="1163245" y="394368"/>
                  </a:cubicBezTo>
                  <a:cubicBezTo>
                    <a:pt x="1166025" y="394955"/>
                    <a:pt x="1168705" y="395930"/>
                    <a:pt x="1171217" y="397253"/>
                  </a:cubicBezTo>
                  <a:close/>
                  <a:moveTo>
                    <a:pt x="1134049" y="366213"/>
                  </a:moveTo>
                  <a:cubicBezTo>
                    <a:pt x="1134049" y="363726"/>
                    <a:pt x="1137039" y="361139"/>
                    <a:pt x="1143316" y="359050"/>
                  </a:cubicBezTo>
                  <a:cubicBezTo>
                    <a:pt x="1137935" y="362234"/>
                    <a:pt x="1135245" y="364223"/>
                    <a:pt x="1134647" y="366910"/>
                  </a:cubicBezTo>
                  <a:close/>
                  <a:moveTo>
                    <a:pt x="1140327" y="357060"/>
                  </a:moveTo>
                  <a:cubicBezTo>
                    <a:pt x="1138772" y="355946"/>
                    <a:pt x="1137338" y="354683"/>
                    <a:pt x="1136042" y="353280"/>
                  </a:cubicBezTo>
                  <a:cubicBezTo>
                    <a:pt x="1137527" y="354921"/>
                    <a:pt x="1139161" y="356424"/>
                    <a:pt x="1140925" y="357757"/>
                  </a:cubicBezTo>
                  <a:close/>
                  <a:moveTo>
                    <a:pt x="1090505" y="236979"/>
                  </a:moveTo>
                  <a:lnTo>
                    <a:pt x="1090505" y="256180"/>
                  </a:lnTo>
                  <a:cubicBezTo>
                    <a:pt x="1090196" y="250002"/>
                    <a:pt x="1090395" y="243814"/>
                    <a:pt x="1091103" y="237675"/>
                  </a:cubicBezTo>
                  <a:close/>
                  <a:moveTo>
                    <a:pt x="1038690" y="699397"/>
                  </a:moveTo>
                  <a:lnTo>
                    <a:pt x="1037295" y="701884"/>
                  </a:lnTo>
                  <a:cubicBezTo>
                    <a:pt x="1037215" y="704162"/>
                    <a:pt x="1036119" y="706281"/>
                    <a:pt x="1034306" y="707654"/>
                  </a:cubicBezTo>
                  <a:cubicBezTo>
                    <a:pt x="1032612" y="710838"/>
                    <a:pt x="1030818" y="714320"/>
                    <a:pt x="1028925" y="717603"/>
                  </a:cubicBezTo>
                  <a:cubicBezTo>
                    <a:pt x="1030718" y="714021"/>
                    <a:pt x="1032313" y="710738"/>
                    <a:pt x="1033708" y="708152"/>
                  </a:cubicBezTo>
                  <a:cubicBezTo>
                    <a:pt x="1033977" y="708042"/>
                    <a:pt x="1034196" y="707823"/>
                    <a:pt x="1034306" y="707555"/>
                  </a:cubicBezTo>
                  <a:cubicBezTo>
                    <a:pt x="1035402" y="705565"/>
                    <a:pt x="1036398" y="703675"/>
                    <a:pt x="1037295" y="701784"/>
                  </a:cubicBezTo>
                  <a:cubicBezTo>
                    <a:pt x="1037295" y="699019"/>
                    <a:pt x="1036458" y="696313"/>
                    <a:pt x="1034903" y="694024"/>
                  </a:cubicBezTo>
                  <a:cubicBezTo>
                    <a:pt x="1036000" y="696293"/>
                    <a:pt x="1037484" y="698342"/>
                    <a:pt x="1039288" y="700093"/>
                  </a:cubicBezTo>
                  <a:close/>
                  <a:moveTo>
                    <a:pt x="1030718" y="684175"/>
                  </a:moveTo>
                  <a:cubicBezTo>
                    <a:pt x="1031715" y="686961"/>
                    <a:pt x="1032711" y="689647"/>
                    <a:pt x="1033907" y="692333"/>
                  </a:cubicBezTo>
                  <a:cubicBezTo>
                    <a:pt x="1032811" y="690741"/>
                    <a:pt x="1031615" y="688950"/>
                    <a:pt x="1030718" y="687359"/>
                  </a:cubicBezTo>
                  <a:cubicBezTo>
                    <a:pt x="1030818" y="686304"/>
                    <a:pt x="1030818" y="685230"/>
                    <a:pt x="1030718" y="684175"/>
                  </a:cubicBezTo>
                  <a:cubicBezTo>
                    <a:pt x="1029682" y="680703"/>
                    <a:pt x="1028247" y="677360"/>
                    <a:pt x="1026434" y="674226"/>
                  </a:cubicBezTo>
                  <a:cubicBezTo>
                    <a:pt x="1029762" y="676714"/>
                    <a:pt x="1031605" y="680723"/>
                    <a:pt x="1031316" y="684871"/>
                  </a:cubicBezTo>
                  <a:close/>
                  <a:moveTo>
                    <a:pt x="1022747" y="670446"/>
                  </a:moveTo>
                  <a:cubicBezTo>
                    <a:pt x="1024122" y="671640"/>
                    <a:pt x="1025328" y="673013"/>
                    <a:pt x="1026334" y="674525"/>
                  </a:cubicBezTo>
                  <a:cubicBezTo>
                    <a:pt x="1024241" y="672834"/>
                    <a:pt x="1021880" y="671490"/>
                    <a:pt x="1019359" y="670545"/>
                  </a:cubicBezTo>
                  <a:cubicBezTo>
                    <a:pt x="1020614" y="671082"/>
                    <a:pt x="1021990" y="671292"/>
                    <a:pt x="1023345" y="671142"/>
                  </a:cubicBezTo>
                  <a:close/>
                  <a:moveTo>
                    <a:pt x="1019259" y="670446"/>
                  </a:moveTo>
                  <a:cubicBezTo>
                    <a:pt x="1016150" y="669849"/>
                    <a:pt x="1013231" y="668476"/>
                    <a:pt x="1010790" y="666466"/>
                  </a:cubicBezTo>
                  <a:cubicBezTo>
                    <a:pt x="1013699" y="668267"/>
                    <a:pt x="1016728" y="669869"/>
                    <a:pt x="1019857" y="671242"/>
                  </a:cubicBezTo>
                  <a:close/>
                  <a:moveTo>
                    <a:pt x="1004811" y="661392"/>
                  </a:moveTo>
                  <a:cubicBezTo>
                    <a:pt x="1005319" y="662069"/>
                    <a:pt x="1005887" y="662696"/>
                    <a:pt x="1006505" y="663283"/>
                  </a:cubicBezTo>
                  <a:lnTo>
                    <a:pt x="1002619" y="660895"/>
                  </a:lnTo>
                  <a:cubicBezTo>
                    <a:pt x="1003406" y="661681"/>
                    <a:pt x="1004363" y="662298"/>
                    <a:pt x="1005409" y="662686"/>
                  </a:cubicBezTo>
                  <a:close/>
                  <a:moveTo>
                    <a:pt x="1000128" y="659900"/>
                  </a:moveTo>
                  <a:cubicBezTo>
                    <a:pt x="999370" y="659751"/>
                    <a:pt x="998593" y="659751"/>
                    <a:pt x="997836" y="659900"/>
                  </a:cubicBezTo>
                  <a:cubicBezTo>
                    <a:pt x="997238" y="658905"/>
                    <a:pt x="996540" y="658109"/>
                    <a:pt x="995943" y="657115"/>
                  </a:cubicBezTo>
                  <a:cubicBezTo>
                    <a:pt x="997298" y="658557"/>
                    <a:pt x="998882" y="659771"/>
                    <a:pt x="1000626" y="660696"/>
                  </a:cubicBezTo>
                  <a:close/>
                  <a:moveTo>
                    <a:pt x="988868" y="645275"/>
                  </a:moveTo>
                  <a:cubicBezTo>
                    <a:pt x="986696" y="641117"/>
                    <a:pt x="984763" y="636829"/>
                    <a:pt x="983089" y="632442"/>
                  </a:cubicBezTo>
                  <a:cubicBezTo>
                    <a:pt x="985500" y="636849"/>
                    <a:pt x="987632" y="641395"/>
                    <a:pt x="989466" y="646071"/>
                  </a:cubicBezTo>
                  <a:close/>
                  <a:moveTo>
                    <a:pt x="980398" y="598516"/>
                  </a:moveTo>
                  <a:lnTo>
                    <a:pt x="980896" y="598516"/>
                  </a:lnTo>
                  <a:cubicBezTo>
                    <a:pt x="980946" y="598815"/>
                    <a:pt x="980946" y="599113"/>
                    <a:pt x="980896" y="599412"/>
                  </a:cubicBezTo>
                  <a:cubicBezTo>
                    <a:pt x="980617" y="602685"/>
                    <a:pt x="979452" y="605819"/>
                    <a:pt x="977508" y="608465"/>
                  </a:cubicBezTo>
                  <a:cubicBezTo>
                    <a:pt x="978405" y="606475"/>
                    <a:pt x="979501" y="603491"/>
                    <a:pt x="980896" y="599412"/>
                  </a:cubicBezTo>
                  <a:cubicBezTo>
                    <a:pt x="980996" y="599054"/>
                    <a:pt x="980996" y="598676"/>
                    <a:pt x="980896" y="598317"/>
                  </a:cubicBezTo>
                  <a:cubicBezTo>
                    <a:pt x="979402" y="597382"/>
                    <a:pt x="978246" y="595989"/>
                    <a:pt x="977608" y="594338"/>
                  </a:cubicBezTo>
                  <a:cubicBezTo>
                    <a:pt x="979252" y="595522"/>
                    <a:pt x="980368" y="597313"/>
                    <a:pt x="980697" y="599312"/>
                  </a:cubicBezTo>
                  <a:close/>
                  <a:moveTo>
                    <a:pt x="975914" y="583792"/>
                  </a:moveTo>
                  <a:cubicBezTo>
                    <a:pt x="975864" y="584389"/>
                    <a:pt x="975864" y="584986"/>
                    <a:pt x="975914" y="585583"/>
                  </a:cubicBezTo>
                  <a:cubicBezTo>
                    <a:pt x="976223" y="587662"/>
                    <a:pt x="976223" y="589772"/>
                    <a:pt x="975914" y="591851"/>
                  </a:cubicBezTo>
                  <a:cubicBezTo>
                    <a:pt x="975585" y="589772"/>
                    <a:pt x="975585" y="587662"/>
                    <a:pt x="975914" y="585583"/>
                  </a:cubicBezTo>
                  <a:cubicBezTo>
                    <a:pt x="975316" y="582459"/>
                    <a:pt x="974160" y="579465"/>
                    <a:pt x="972526" y="576729"/>
                  </a:cubicBezTo>
                  <a:cubicBezTo>
                    <a:pt x="974280" y="579116"/>
                    <a:pt x="975625" y="581773"/>
                    <a:pt x="976512" y="584588"/>
                  </a:cubicBezTo>
                  <a:close/>
                  <a:moveTo>
                    <a:pt x="965950" y="543997"/>
                  </a:moveTo>
                  <a:cubicBezTo>
                    <a:pt x="965950" y="523304"/>
                    <a:pt x="965950" y="502312"/>
                    <a:pt x="965950" y="481320"/>
                  </a:cubicBezTo>
                  <a:cubicBezTo>
                    <a:pt x="965950" y="505396"/>
                    <a:pt x="966548" y="529273"/>
                    <a:pt x="967046" y="552951"/>
                  </a:cubicBezTo>
                  <a:cubicBezTo>
                    <a:pt x="967016" y="555498"/>
                    <a:pt x="966438" y="558005"/>
                    <a:pt x="965352" y="560313"/>
                  </a:cubicBezTo>
                  <a:cubicBezTo>
                    <a:pt x="967086" y="555329"/>
                    <a:pt x="967494" y="549986"/>
                    <a:pt x="966548" y="544793"/>
                  </a:cubicBezTo>
                  <a:close/>
                  <a:moveTo>
                    <a:pt x="965252" y="560413"/>
                  </a:moveTo>
                  <a:cubicBezTo>
                    <a:pt x="964824" y="562014"/>
                    <a:pt x="964186" y="563556"/>
                    <a:pt x="963359" y="564989"/>
                  </a:cubicBezTo>
                  <a:cubicBezTo>
                    <a:pt x="964355" y="564691"/>
                    <a:pt x="965153" y="563198"/>
                    <a:pt x="965850" y="561209"/>
                  </a:cubicBezTo>
                  <a:close/>
                  <a:moveTo>
                    <a:pt x="662534" y="646469"/>
                  </a:moveTo>
                  <a:cubicBezTo>
                    <a:pt x="667316" y="645275"/>
                    <a:pt x="672498" y="644380"/>
                    <a:pt x="677879" y="643385"/>
                  </a:cubicBezTo>
                  <a:cubicBezTo>
                    <a:pt x="672857" y="644838"/>
                    <a:pt x="667725" y="645872"/>
                    <a:pt x="662534" y="646469"/>
                  </a:cubicBezTo>
                  <a:cubicBezTo>
                    <a:pt x="661019" y="646688"/>
                    <a:pt x="659514" y="647017"/>
                    <a:pt x="658049" y="647464"/>
                  </a:cubicBezTo>
                  <a:cubicBezTo>
                    <a:pt x="656266" y="646957"/>
                    <a:pt x="654532" y="646290"/>
                    <a:pt x="652868" y="645475"/>
                  </a:cubicBezTo>
                  <a:cubicBezTo>
                    <a:pt x="656136" y="646758"/>
                    <a:pt x="659624" y="647365"/>
                    <a:pt x="663131" y="647265"/>
                  </a:cubicBezTo>
                  <a:close/>
                  <a:moveTo>
                    <a:pt x="643203" y="646469"/>
                  </a:moveTo>
                  <a:cubicBezTo>
                    <a:pt x="642037" y="649076"/>
                    <a:pt x="640213" y="651334"/>
                    <a:pt x="637921" y="653035"/>
                  </a:cubicBezTo>
                  <a:cubicBezTo>
                    <a:pt x="639695" y="650817"/>
                    <a:pt x="641668" y="648748"/>
                    <a:pt x="643800" y="646867"/>
                  </a:cubicBezTo>
                  <a:close/>
                  <a:moveTo>
                    <a:pt x="628555" y="657214"/>
                  </a:moveTo>
                  <a:cubicBezTo>
                    <a:pt x="631893" y="656428"/>
                    <a:pt x="635072" y="655045"/>
                    <a:pt x="637921" y="653135"/>
                  </a:cubicBezTo>
                  <a:cubicBezTo>
                    <a:pt x="637065" y="654418"/>
                    <a:pt x="636128" y="655642"/>
                    <a:pt x="635131" y="656816"/>
                  </a:cubicBezTo>
                  <a:lnTo>
                    <a:pt x="628555" y="656816"/>
                  </a:lnTo>
                  <a:cubicBezTo>
                    <a:pt x="622925" y="658109"/>
                    <a:pt x="617185" y="658875"/>
                    <a:pt x="611416" y="659104"/>
                  </a:cubicBezTo>
                  <a:lnTo>
                    <a:pt x="610220" y="659104"/>
                  </a:lnTo>
                  <a:cubicBezTo>
                    <a:pt x="609164" y="658955"/>
                    <a:pt x="608088" y="658955"/>
                    <a:pt x="607032" y="659104"/>
                  </a:cubicBezTo>
                  <a:lnTo>
                    <a:pt x="611416" y="658507"/>
                  </a:lnTo>
                  <a:cubicBezTo>
                    <a:pt x="617285" y="657682"/>
                    <a:pt x="623224" y="657383"/>
                    <a:pt x="629153" y="657612"/>
                  </a:cubicBezTo>
                  <a:close/>
                  <a:moveTo>
                    <a:pt x="598662" y="661790"/>
                  </a:moveTo>
                  <a:cubicBezTo>
                    <a:pt x="601362" y="660995"/>
                    <a:pt x="604132" y="660427"/>
                    <a:pt x="606932" y="660099"/>
                  </a:cubicBezTo>
                  <a:cubicBezTo>
                    <a:pt x="603285" y="660786"/>
                    <a:pt x="599768" y="661989"/>
                    <a:pt x="596470" y="663681"/>
                  </a:cubicBezTo>
                  <a:close/>
                  <a:moveTo>
                    <a:pt x="584413" y="669948"/>
                  </a:moveTo>
                  <a:lnTo>
                    <a:pt x="588000" y="668357"/>
                  </a:lnTo>
                  <a:lnTo>
                    <a:pt x="585708" y="669849"/>
                  </a:lnTo>
                  <a:lnTo>
                    <a:pt x="584413" y="669849"/>
                  </a:lnTo>
                  <a:cubicBezTo>
                    <a:pt x="582818" y="670436"/>
                    <a:pt x="581194" y="670903"/>
                    <a:pt x="579530" y="671242"/>
                  </a:cubicBezTo>
                  <a:cubicBezTo>
                    <a:pt x="581134" y="670575"/>
                    <a:pt x="582868" y="670267"/>
                    <a:pt x="584612" y="670346"/>
                  </a:cubicBezTo>
                  <a:close/>
                  <a:moveTo>
                    <a:pt x="576740" y="671739"/>
                  </a:moveTo>
                  <a:cubicBezTo>
                    <a:pt x="577597" y="671878"/>
                    <a:pt x="578474" y="671878"/>
                    <a:pt x="579331" y="671739"/>
                  </a:cubicBezTo>
                  <a:cubicBezTo>
                    <a:pt x="577926" y="672316"/>
                    <a:pt x="576590" y="673052"/>
                    <a:pt x="575345" y="673928"/>
                  </a:cubicBezTo>
                  <a:cubicBezTo>
                    <a:pt x="575913" y="673540"/>
                    <a:pt x="576441" y="673112"/>
                    <a:pt x="576939" y="672635"/>
                  </a:cubicBezTo>
                  <a:close/>
                  <a:moveTo>
                    <a:pt x="570064" y="677410"/>
                  </a:moveTo>
                  <a:cubicBezTo>
                    <a:pt x="569247" y="678156"/>
                    <a:pt x="568479" y="678952"/>
                    <a:pt x="567772" y="679798"/>
                  </a:cubicBezTo>
                  <a:cubicBezTo>
                    <a:pt x="565729" y="679927"/>
                    <a:pt x="563697" y="680186"/>
                    <a:pt x="561694" y="680594"/>
                  </a:cubicBezTo>
                  <a:cubicBezTo>
                    <a:pt x="564653" y="680026"/>
                    <a:pt x="567533" y="679091"/>
                    <a:pt x="570263" y="677808"/>
                  </a:cubicBezTo>
                  <a:close/>
                  <a:moveTo>
                    <a:pt x="532697" y="684175"/>
                  </a:moveTo>
                  <a:cubicBezTo>
                    <a:pt x="528393" y="683469"/>
                    <a:pt x="524437" y="681370"/>
                    <a:pt x="521438" y="678206"/>
                  </a:cubicBezTo>
                  <a:cubicBezTo>
                    <a:pt x="525124" y="680196"/>
                    <a:pt x="528811" y="682583"/>
                    <a:pt x="532897" y="684573"/>
                  </a:cubicBezTo>
                  <a:close/>
                  <a:moveTo>
                    <a:pt x="519943" y="676714"/>
                  </a:moveTo>
                  <a:lnTo>
                    <a:pt x="521338" y="678206"/>
                  </a:lnTo>
                  <a:cubicBezTo>
                    <a:pt x="519195" y="677072"/>
                    <a:pt x="516724" y="676753"/>
                    <a:pt x="514363" y="677310"/>
                  </a:cubicBezTo>
                  <a:cubicBezTo>
                    <a:pt x="516236" y="676714"/>
                    <a:pt x="518239" y="676644"/>
                    <a:pt x="520142" y="677111"/>
                  </a:cubicBezTo>
                  <a:close/>
                  <a:moveTo>
                    <a:pt x="506690" y="682285"/>
                  </a:moveTo>
                  <a:lnTo>
                    <a:pt x="502405" y="683777"/>
                  </a:lnTo>
                  <a:close/>
                  <a:moveTo>
                    <a:pt x="481381" y="694323"/>
                  </a:moveTo>
                  <a:cubicBezTo>
                    <a:pt x="481819" y="694283"/>
                    <a:pt x="482237" y="694114"/>
                    <a:pt x="482576" y="693825"/>
                  </a:cubicBezTo>
                  <a:cubicBezTo>
                    <a:pt x="483284" y="692751"/>
                    <a:pt x="484240" y="691856"/>
                    <a:pt x="485366" y="691239"/>
                  </a:cubicBezTo>
                  <a:cubicBezTo>
                    <a:pt x="485855" y="690652"/>
                    <a:pt x="486423" y="690154"/>
                    <a:pt x="487060" y="689746"/>
                  </a:cubicBezTo>
                  <a:lnTo>
                    <a:pt x="491943" y="687956"/>
                  </a:lnTo>
                  <a:cubicBezTo>
                    <a:pt x="489661" y="688871"/>
                    <a:pt x="487469" y="689965"/>
                    <a:pt x="485366" y="691239"/>
                  </a:cubicBezTo>
                  <a:cubicBezTo>
                    <a:pt x="484559" y="692224"/>
                    <a:pt x="483623" y="693099"/>
                    <a:pt x="482576" y="693825"/>
                  </a:cubicBezTo>
                  <a:cubicBezTo>
                    <a:pt x="482487" y="694114"/>
                    <a:pt x="482487" y="694432"/>
                    <a:pt x="482576" y="694721"/>
                  </a:cubicBezTo>
                  <a:cubicBezTo>
                    <a:pt x="482347" y="694641"/>
                    <a:pt x="482108" y="694641"/>
                    <a:pt x="481879" y="694721"/>
                  </a:cubicBezTo>
                  <a:cubicBezTo>
                    <a:pt x="481042" y="694920"/>
                    <a:pt x="480175" y="694651"/>
                    <a:pt x="479587" y="694024"/>
                  </a:cubicBezTo>
                  <a:cubicBezTo>
                    <a:pt x="480284" y="694164"/>
                    <a:pt x="480952" y="694402"/>
                    <a:pt x="481580" y="694721"/>
                  </a:cubicBezTo>
                  <a:close/>
                  <a:moveTo>
                    <a:pt x="477295" y="693229"/>
                  </a:moveTo>
                  <a:cubicBezTo>
                    <a:pt x="472462" y="692731"/>
                    <a:pt x="467580" y="692731"/>
                    <a:pt x="462747" y="693229"/>
                  </a:cubicBezTo>
                  <a:cubicBezTo>
                    <a:pt x="467650" y="692442"/>
                    <a:pt x="472642" y="692582"/>
                    <a:pt x="477494" y="693626"/>
                  </a:cubicBezTo>
                  <a:close/>
                  <a:moveTo>
                    <a:pt x="449395" y="700690"/>
                  </a:moveTo>
                  <a:cubicBezTo>
                    <a:pt x="450999" y="700173"/>
                    <a:pt x="452514" y="699397"/>
                    <a:pt x="453879" y="698402"/>
                  </a:cubicBezTo>
                  <a:cubicBezTo>
                    <a:pt x="454596" y="697148"/>
                    <a:pt x="455672" y="696143"/>
                    <a:pt x="456968" y="695517"/>
                  </a:cubicBezTo>
                  <a:lnTo>
                    <a:pt x="458163" y="693626"/>
                  </a:lnTo>
                  <a:lnTo>
                    <a:pt x="462548" y="693626"/>
                  </a:lnTo>
                  <a:cubicBezTo>
                    <a:pt x="460565" y="693925"/>
                    <a:pt x="458662" y="694641"/>
                    <a:pt x="456968" y="695716"/>
                  </a:cubicBezTo>
                  <a:cubicBezTo>
                    <a:pt x="456011" y="696750"/>
                    <a:pt x="454985" y="697715"/>
                    <a:pt x="453879" y="698601"/>
                  </a:cubicBezTo>
                  <a:cubicBezTo>
                    <a:pt x="453550" y="698969"/>
                    <a:pt x="453311" y="699417"/>
                    <a:pt x="453181" y="699894"/>
                  </a:cubicBezTo>
                  <a:cubicBezTo>
                    <a:pt x="451976" y="700401"/>
                    <a:pt x="450700" y="700730"/>
                    <a:pt x="449395" y="700889"/>
                  </a:cubicBezTo>
                  <a:cubicBezTo>
                    <a:pt x="448060" y="701426"/>
                    <a:pt x="446645" y="701725"/>
                    <a:pt x="445210" y="701784"/>
                  </a:cubicBezTo>
                  <a:cubicBezTo>
                    <a:pt x="445309" y="701158"/>
                    <a:pt x="445309" y="700521"/>
                    <a:pt x="445210" y="699894"/>
                  </a:cubicBezTo>
                  <a:cubicBezTo>
                    <a:pt x="446306" y="701118"/>
                    <a:pt x="448030" y="701585"/>
                    <a:pt x="449594" y="701088"/>
                  </a:cubicBezTo>
                  <a:close/>
                  <a:moveTo>
                    <a:pt x="440825" y="691637"/>
                  </a:moveTo>
                  <a:cubicBezTo>
                    <a:pt x="442878" y="693835"/>
                    <a:pt x="444283" y="696551"/>
                    <a:pt x="444911" y="699496"/>
                  </a:cubicBezTo>
                  <a:cubicBezTo>
                    <a:pt x="443416" y="697904"/>
                    <a:pt x="442918" y="694721"/>
                    <a:pt x="440825" y="691637"/>
                  </a:cubicBezTo>
                  <a:cubicBezTo>
                    <a:pt x="436889" y="687578"/>
                    <a:pt x="431818" y="684802"/>
                    <a:pt x="426277" y="683678"/>
                  </a:cubicBezTo>
                  <a:cubicBezTo>
                    <a:pt x="432236" y="684384"/>
                    <a:pt x="437607" y="687607"/>
                    <a:pt x="441025" y="692532"/>
                  </a:cubicBezTo>
                  <a:close/>
                  <a:moveTo>
                    <a:pt x="359516" y="685667"/>
                  </a:moveTo>
                  <a:cubicBezTo>
                    <a:pt x="357453" y="688761"/>
                    <a:pt x="354813" y="691428"/>
                    <a:pt x="351744" y="693527"/>
                  </a:cubicBezTo>
                  <a:cubicBezTo>
                    <a:pt x="354653" y="691318"/>
                    <a:pt x="357324" y="688821"/>
                    <a:pt x="359715" y="686065"/>
                  </a:cubicBezTo>
                  <a:close/>
                  <a:moveTo>
                    <a:pt x="349551" y="695616"/>
                  </a:moveTo>
                  <a:cubicBezTo>
                    <a:pt x="344739" y="699098"/>
                    <a:pt x="339476" y="701904"/>
                    <a:pt x="333907" y="703973"/>
                  </a:cubicBezTo>
                  <a:cubicBezTo>
                    <a:pt x="339238" y="701506"/>
                    <a:pt x="344430" y="698750"/>
                    <a:pt x="349452" y="695716"/>
                  </a:cubicBezTo>
                  <a:close/>
                  <a:moveTo>
                    <a:pt x="333608" y="704073"/>
                  </a:moveTo>
                  <a:lnTo>
                    <a:pt x="329922" y="705863"/>
                  </a:lnTo>
                  <a:lnTo>
                    <a:pt x="327331" y="705863"/>
                  </a:lnTo>
                  <a:cubicBezTo>
                    <a:pt x="329324" y="705465"/>
                    <a:pt x="331383" y="704898"/>
                    <a:pt x="333509" y="704172"/>
                  </a:cubicBezTo>
                  <a:close/>
                  <a:moveTo>
                    <a:pt x="319957" y="706858"/>
                  </a:moveTo>
                  <a:cubicBezTo>
                    <a:pt x="321048" y="707007"/>
                    <a:pt x="322154" y="707007"/>
                    <a:pt x="323245" y="706858"/>
                  </a:cubicBezTo>
                  <a:cubicBezTo>
                    <a:pt x="321318" y="707366"/>
                    <a:pt x="319449" y="708062"/>
                    <a:pt x="317665" y="708947"/>
                  </a:cubicBezTo>
                  <a:cubicBezTo>
                    <a:pt x="318445" y="708341"/>
                    <a:pt x="319177" y="707674"/>
                    <a:pt x="319857" y="706958"/>
                  </a:cubicBezTo>
                  <a:close/>
                  <a:moveTo>
                    <a:pt x="295046" y="706858"/>
                  </a:moveTo>
                  <a:cubicBezTo>
                    <a:pt x="295485" y="707505"/>
                    <a:pt x="295985" y="708102"/>
                    <a:pt x="296541" y="708649"/>
                  </a:cubicBezTo>
                  <a:cubicBezTo>
                    <a:pt x="297699" y="708977"/>
                    <a:pt x="298736" y="709634"/>
                    <a:pt x="299530" y="710539"/>
                  </a:cubicBezTo>
                  <a:cubicBezTo>
                    <a:pt x="301793" y="711524"/>
                    <a:pt x="304170" y="712230"/>
                    <a:pt x="306605" y="712629"/>
                  </a:cubicBezTo>
                  <a:cubicBezTo>
                    <a:pt x="308631" y="712509"/>
                    <a:pt x="310620" y="712041"/>
                    <a:pt x="312484" y="711236"/>
                  </a:cubicBezTo>
                  <a:cubicBezTo>
                    <a:pt x="311685" y="711813"/>
                    <a:pt x="310854" y="712350"/>
                    <a:pt x="309993" y="712827"/>
                  </a:cubicBezTo>
                  <a:cubicBezTo>
                    <a:pt x="308866" y="712917"/>
                    <a:pt x="307732" y="712917"/>
                    <a:pt x="306605" y="712827"/>
                  </a:cubicBezTo>
                  <a:cubicBezTo>
                    <a:pt x="304712" y="712897"/>
                    <a:pt x="302821" y="712629"/>
                    <a:pt x="301025" y="712032"/>
                  </a:cubicBezTo>
                  <a:cubicBezTo>
                    <a:pt x="300577" y="711544"/>
                    <a:pt x="300076" y="711106"/>
                    <a:pt x="299530" y="710738"/>
                  </a:cubicBezTo>
                  <a:cubicBezTo>
                    <a:pt x="298471" y="710211"/>
                    <a:pt x="297469" y="709584"/>
                    <a:pt x="296541" y="708848"/>
                  </a:cubicBezTo>
                  <a:cubicBezTo>
                    <a:pt x="295590" y="708251"/>
                    <a:pt x="294473" y="707972"/>
                    <a:pt x="293352" y="708052"/>
                  </a:cubicBezTo>
                  <a:cubicBezTo>
                    <a:pt x="293940" y="707773"/>
                    <a:pt x="294479" y="707405"/>
                    <a:pt x="294946" y="706958"/>
                  </a:cubicBezTo>
                  <a:close/>
                  <a:moveTo>
                    <a:pt x="289665" y="708947"/>
                  </a:moveTo>
                  <a:lnTo>
                    <a:pt x="288071" y="709942"/>
                  </a:lnTo>
                  <a:lnTo>
                    <a:pt x="285181" y="708251"/>
                  </a:lnTo>
                  <a:cubicBezTo>
                    <a:pt x="286563" y="708848"/>
                    <a:pt x="288063" y="709117"/>
                    <a:pt x="289566" y="709047"/>
                  </a:cubicBezTo>
                  <a:close/>
                  <a:moveTo>
                    <a:pt x="281096" y="705863"/>
                  </a:moveTo>
                  <a:cubicBezTo>
                    <a:pt x="281591" y="706381"/>
                    <a:pt x="282162" y="706818"/>
                    <a:pt x="282790" y="707157"/>
                  </a:cubicBezTo>
                  <a:cubicBezTo>
                    <a:pt x="279402" y="705764"/>
                    <a:pt x="275715" y="704669"/>
                    <a:pt x="271929" y="703476"/>
                  </a:cubicBezTo>
                  <a:close/>
                  <a:moveTo>
                    <a:pt x="258178" y="698899"/>
                  </a:moveTo>
                  <a:cubicBezTo>
                    <a:pt x="255401" y="697865"/>
                    <a:pt x="252731" y="696571"/>
                    <a:pt x="250206" y="695019"/>
                  </a:cubicBezTo>
                  <a:cubicBezTo>
                    <a:pt x="248554" y="693089"/>
                    <a:pt x="247453" y="690751"/>
                    <a:pt x="247018" y="688254"/>
                  </a:cubicBezTo>
                  <a:cubicBezTo>
                    <a:pt x="248965" y="693268"/>
                    <a:pt x="253002" y="697188"/>
                    <a:pt x="258078" y="698999"/>
                  </a:cubicBezTo>
                  <a:close/>
                  <a:moveTo>
                    <a:pt x="246719" y="676614"/>
                  </a:moveTo>
                  <a:cubicBezTo>
                    <a:pt x="246515" y="680325"/>
                    <a:pt x="246515" y="684046"/>
                    <a:pt x="246719" y="687757"/>
                  </a:cubicBezTo>
                  <a:cubicBezTo>
                    <a:pt x="245693" y="684115"/>
                    <a:pt x="245693" y="680255"/>
                    <a:pt x="246719" y="676614"/>
                  </a:cubicBezTo>
                  <a:cubicBezTo>
                    <a:pt x="246817" y="675291"/>
                    <a:pt x="246817" y="673958"/>
                    <a:pt x="246719" y="672635"/>
                  </a:cubicBezTo>
                  <a:cubicBezTo>
                    <a:pt x="246902" y="673142"/>
                    <a:pt x="247172" y="673610"/>
                    <a:pt x="247516" y="674027"/>
                  </a:cubicBezTo>
                  <a:cubicBezTo>
                    <a:pt x="246918" y="675022"/>
                    <a:pt x="246719" y="675918"/>
                    <a:pt x="246619" y="676714"/>
                  </a:cubicBezTo>
                  <a:close/>
                  <a:moveTo>
                    <a:pt x="243331" y="652737"/>
                  </a:moveTo>
                  <a:cubicBezTo>
                    <a:pt x="243331" y="653931"/>
                    <a:pt x="244128" y="654826"/>
                    <a:pt x="244527" y="655821"/>
                  </a:cubicBezTo>
                  <a:lnTo>
                    <a:pt x="244527" y="657711"/>
                  </a:lnTo>
                  <a:cubicBezTo>
                    <a:pt x="244825" y="659592"/>
                    <a:pt x="244825" y="661502"/>
                    <a:pt x="244527" y="663382"/>
                  </a:cubicBezTo>
                  <a:cubicBezTo>
                    <a:pt x="244374" y="664636"/>
                    <a:pt x="244374" y="665909"/>
                    <a:pt x="244527" y="667163"/>
                  </a:cubicBezTo>
                  <a:cubicBezTo>
                    <a:pt x="245663" y="669003"/>
                    <a:pt x="246377" y="671082"/>
                    <a:pt x="246619" y="673231"/>
                  </a:cubicBezTo>
                  <a:cubicBezTo>
                    <a:pt x="245497" y="671381"/>
                    <a:pt x="244785" y="669312"/>
                    <a:pt x="244527" y="667163"/>
                  </a:cubicBezTo>
                  <a:cubicBezTo>
                    <a:pt x="244218" y="666655"/>
                    <a:pt x="243849" y="666188"/>
                    <a:pt x="243430" y="665770"/>
                  </a:cubicBezTo>
                  <a:cubicBezTo>
                    <a:pt x="243531" y="664745"/>
                    <a:pt x="243497" y="663701"/>
                    <a:pt x="243331" y="662686"/>
                  </a:cubicBezTo>
                  <a:cubicBezTo>
                    <a:pt x="243132" y="660806"/>
                    <a:pt x="243132" y="658895"/>
                    <a:pt x="243331" y="657015"/>
                  </a:cubicBezTo>
                  <a:cubicBezTo>
                    <a:pt x="243414" y="655592"/>
                    <a:pt x="243414" y="654160"/>
                    <a:pt x="243331" y="652737"/>
                  </a:cubicBezTo>
                  <a:cubicBezTo>
                    <a:pt x="242612" y="650538"/>
                    <a:pt x="242112" y="648270"/>
                    <a:pt x="241836" y="645972"/>
                  </a:cubicBezTo>
                  <a:cubicBezTo>
                    <a:pt x="241836" y="647663"/>
                    <a:pt x="242434" y="649951"/>
                    <a:pt x="243331" y="652737"/>
                  </a:cubicBezTo>
                  <a:close/>
                  <a:moveTo>
                    <a:pt x="241537" y="638809"/>
                  </a:moveTo>
                  <a:cubicBezTo>
                    <a:pt x="238693" y="634889"/>
                    <a:pt x="236382" y="630601"/>
                    <a:pt x="234662" y="626074"/>
                  </a:cubicBezTo>
                  <a:cubicBezTo>
                    <a:pt x="237126" y="629984"/>
                    <a:pt x="239291" y="634073"/>
                    <a:pt x="241139" y="638311"/>
                  </a:cubicBezTo>
                  <a:close/>
                  <a:moveTo>
                    <a:pt x="223402" y="611848"/>
                  </a:moveTo>
                  <a:cubicBezTo>
                    <a:pt x="228750" y="614802"/>
                    <a:pt x="232775" y="619677"/>
                    <a:pt x="234662" y="625477"/>
                  </a:cubicBezTo>
                  <a:cubicBezTo>
                    <a:pt x="231463" y="620503"/>
                    <a:pt x="227684" y="615927"/>
                    <a:pt x="223402" y="611848"/>
                  </a:cubicBezTo>
                  <a:lnTo>
                    <a:pt x="222705" y="611848"/>
                  </a:lnTo>
                  <a:lnTo>
                    <a:pt x="215430" y="605381"/>
                  </a:lnTo>
                  <a:cubicBezTo>
                    <a:pt x="218273" y="607301"/>
                    <a:pt x="220941" y="609460"/>
                    <a:pt x="223402" y="611848"/>
                  </a:cubicBezTo>
                  <a:close/>
                  <a:moveTo>
                    <a:pt x="171886" y="604486"/>
                  </a:moveTo>
                  <a:cubicBezTo>
                    <a:pt x="175821" y="604505"/>
                    <a:pt x="179741" y="603998"/>
                    <a:pt x="183544" y="602993"/>
                  </a:cubicBezTo>
                  <a:cubicBezTo>
                    <a:pt x="189822" y="600208"/>
                    <a:pt x="195502" y="595830"/>
                    <a:pt x="202377" y="597621"/>
                  </a:cubicBezTo>
                  <a:cubicBezTo>
                    <a:pt x="202730" y="597780"/>
                    <a:pt x="203065" y="597979"/>
                    <a:pt x="203374" y="598218"/>
                  </a:cubicBezTo>
                  <a:cubicBezTo>
                    <a:pt x="207517" y="599660"/>
                    <a:pt x="211341" y="601889"/>
                    <a:pt x="214633" y="604784"/>
                  </a:cubicBezTo>
                  <a:cubicBezTo>
                    <a:pt x="211094" y="602247"/>
                    <a:pt x="207323" y="600048"/>
                    <a:pt x="203374" y="598218"/>
                  </a:cubicBezTo>
                  <a:cubicBezTo>
                    <a:pt x="196199" y="595930"/>
                    <a:pt x="192114" y="600407"/>
                    <a:pt x="183445" y="602993"/>
                  </a:cubicBezTo>
                  <a:cubicBezTo>
                    <a:pt x="179490" y="605272"/>
                    <a:pt x="174779" y="605839"/>
                    <a:pt x="170391" y="604585"/>
                  </a:cubicBezTo>
                  <a:cubicBezTo>
                    <a:pt x="169851" y="604247"/>
                    <a:pt x="169350" y="603839"/>
                    <a:pt x="168897" y="603391"/>
                  </a:cubicBezTo>
                  <a:cubicBezTo>
                    <a:pt x="169640" y="603928"/>
                    <a:pt x="170489" y="604297"/>
                    <a:pt x="171388" y="604486"/>
                  </a:cubicBezTo>
                  <a:close/>
                  <a:moveTo>
                    <a:pt x="169196" y="603093"/>
                  </a:moveTo>
                  <a:cubicBezTo>
                    <a:pt x="167681" y="602078"/>
                    <a:pt x="166474" y="600665"/>
                    <a:pt x="165708" y="599014"/>
                  </a:cubicBezTo>
                  <a:cubicBezTo>
                    <a:pt x="166482" y="600496"/>
                    <a:pt x="167492" y="601839"/>
                    <a:pt x="168697" y="602993"/>
                  </a:cubicBezTo>
                  <a:close/>
                  <a:moveTo>
                    <a:pt x="157438" y="583096"/>
                  </a:moveTo>
                  <a:cubicBezTo>
                    <a:pt x="158666" y="583981"/>
                    <a:pt x="159714" y="585096"/>
                    <a:pt x="160527" y="586379"/>
                  </a:cubicBezTo>
                  <a:cubicBezTo>
                    <a:pt x="161621" y="587493"/>
                    <a:pt x="162590" y="588727"/>
                    <a:pt x="163416" y="590060"/>
                  </a:cubicBezTo>
                  <a:cubicBezTo>
                    <a:pt x="163267" y="591254"/>
                    <a:pt x="163267" y="592448"/>
                    <a:pt x="163416" y="593641"/>
                  </a:cubicBezTo>
                  <a:cubicBezTo>
                    <a:pt x="163876" y="595532"/>
                    <a:pt x="164441" y="597392"/>
                    <a:pt x="165110" y="599213"/>
                  </a:cubicBezTo>
                  <a:cubicBezTo>
                    <a:pt x="164214" y="597273"/>
                    <a:pt x="163707" y="595174"/>
                    <a:pt x="163616" y="593045"/>
                  </a:cubicBezTo>
                  <a:cubicBezTo>
                    <a:pt x="163028" y="590508"/>
                    <a:pt x="162089" y="588060"/>
                    <a:pt x="160826" y="585782"/>
                  </a:cubicBezTo>
                  <a:cubicBezTo>
                    <a:pt x="158855" y="584021"/>
                    <a:pt x="156295" y="583066"/>
                    <a:pt x="153651" y="583096"/>
                  </a:cubicBezTo>
                  <a:cubicBezTo>
                    <a:pt x="154910" y="583225"/>
                    <a:pt x="156179" y="583225"/>
                    <a:pt x="157438" y="583096"/>
                  </a:cubicBezTo>
                  <a:close/>
                  <a:moveTo>
                    <a:pt x="602050" y="1831265"/>
                  </a:moveTo>
                  <a:lnTo>
                    <a:pt x="595174" y="1825196"/>
                  </a:lnTo>
                  <a:cubicBezTo>
                    <a:pt x="595174" y="1822013"/>
                    <a:pt x="595174" y="1818929"/>
                    <a:pt x="595174" y="1815248"/>
                  </a:cubicBezTo>
                  <a:cubicBezTo>
                    <a:pt x="596310" y="1820879"/>
                    <a:pt x="598692" y="1826181"/>
                    <a:pt x="602149" y="1830768"/>
                  </a:cubicBezTo>
                  <a:lnTo>
                    <a:pt x="629452" y="1855043"/>
                  </a:lnTo>
                  <a:cubicBezTo>
                    <a:pt x="619428" y="1848208"/>
                    <a:pt x="610230" y="1840229"/>
                    <a:pt x="602050" y="1831265"/>
                  </a:cubicBezTo>
                  <a:close/>
                  <a:moveTo>
                    <a:pt x="657153" y="1880313"/>
                  </a:moveTo>
                  <a:cubicBezTo>
                    <a:pt x="668612" y="1890261"/>
                    <a:pt x="680071" y="1900807"/>
                    <a:pt x="691530" y="1911153"/>
                  </a:cubicBezTo>
                  <a:cubicBezTo>
                    <a:pt x="679373" y="1900707"/>
                    <a:pt x="667815" y="1890261"/>
                    <a:pt x="656854" y="1880313"/>
                  </a:cubicBezTo>
                  <a:close/>
                  <a:moveTo>
                    <a:pt x="1170021" y="2357255"/>
                  </a:moveTo>
                  <a:cubicBezTo>
                    <a:pt x="1203501" y="2389589"/>
                    <a:pt x="1237181" y="2422220"/>
                    <a:pt x="1269067" y="2453957"/>
                  </a:cubicBezTo>
                  <a:cubicBezTo>
                    <a:pt x="1269067" y="2451171"/>
                    <a:pt x="1269067" y="2448087"/>
                    <a:pt x="1269864" y="2445103"/>
                  </a:cubicBezTo>
                  <a:cubicBezTo>
                    <a:pt x="1269515" y="2449042"/>
                    <a:pt x="1269515" y="2453002"/>
                    <a:pt x="1269864" y="2456942"/>
                  </a:cubicBezTo>
                  <a:cubicBezTo>
                    <a:pt x="1269924" y="2455947"/>
                    <a:pt x="1269924" y="2454952"/>
                    <a:pt x="1269864" y="2453957"/>
                  </a:cubicBezTo>
                  <a:cubicBezTo>
                    <a:pt x="1236912" y="2421654"/>
                    <a:pt x="1203631" y="2389419"/>
                    <a:pt x="1170021" y="2357255"/>
                  </a:cubicBezTo>
                  <a:close/>
                  <a:moveTo>
                    <a:pt x="1259701" y="2715410"/>
                  </a:moveTo>
                  <a:cubicBezTo>
                    <a:pt x="1259252" y="2715111"/>
                    <a:pt x="1258744" y="2714903"/>
                    <a:pt x="1258206" y="2714813"/>
                  </a:cubicBezTo>
                  <a:cubicBezTo>
                    <a:pt x="1258814" y="2713987"/>
                    <a:pt x="1259322" y="2713082"/>
                    <a:pt x="1259701" y="2712127"/>
                  </a:cubicBezTo>
                  <a:cubicBezTo>
                    <a:pt x="1259701" y="2709441"/>
                    <a:pt x="1260797" y="2706257"/>
                    <a:pt x="1260797" y="2703173"/>
                  </a:cubicBezTo>
                  <a:cubicBezTo>
                    <a:pt x="1261036" y="2706197"/>
                    <a:pt x="1260667" y="2709242"/>
                    <a:pt x="1259701" y="2712127"/>
                  </a:cubicBezTo>
                  <a:cubicBezTo>
                    <a:pt x="1259651" y="2713321"/>
                    <a:pt x="1259850" y="2714505"/>
                    <a:pt x="1260298" y="2715609"/>
                  </a:cubicBezTo>
                  <a:cubicBezTo>
                    <a:pt x="1261554" y="2716166"/>
                    <a:pt x="1262600" y="2717111"/>
                    <a:pt x="1263288" y="2718295"/>
                  </a:cubicBezTo>
                  <a:cubicBezTo>
                    <a:pt x="1263726" y="2718614"/>
                    <a:pt x="1264244" y="2718822"/>
                    <a:pt x="1264782" y="2718892"/>
                  </a:cubicBezTo>
                  <a:cubicBezTo>
                    <a:pt x="1264394" y="2719847"/>
                    <a:pt x="1264165" y="2720852"/>
                    <a:pt x="1264085" y="2721877"/>
                  </a:cubicBezTo>
                  <a:cubicBezTo>
                    <a:pt x="1264035" y="2720643"/>
                    <a:pt x="1263766" y="2719429"/>
                    <a:pt x="1263288" y="2718295"/>
                  </a:cubicBezTo>
                  <a:cubicBezTo>
                    <a:pt x="1261673" y="2717937"/>
                    <a:pt x="1260338" y="2716823"/>
                    <a:pt x="1259701" y="2715311"/>
                  </a:cubicBezTo>
                  <a:close/>
                  <a:moveTo>
                    <a:pt x="1263088" y="2730930"/>
                  </a:moveTo>
                  <a:cubicBezTo>
                    <a:pt x="1262889" y="2727846"/>
                    <a:pt x="1262889" y="2724762"/>
                    <a:pt x="1263088" y="2721678"/>
                  </a:cubicBezTo>
                  <a:cubicBezTo>
                    <a:pt x="1263088" y="2724563"/>
                    <a:pt x="1263088" y="2727945"/>
                    <a:pt x="1263088" y="2730930"/>
                  </a:cubicBezTo>
                  <a:cubicBezTo>
                    <a:pt x="1263088" y="2732024"/>
                    <a:pt x="1263088" y="2733019"/>
                    <a:pt x="1263088" y="2733616"/>
                  </a:cubicBezTo>
                  <a:cubicBezTo>
                    <a:pt x="1263128" y="2732681"/>
                    <a:pt x="1263228" y="2731756"/>
                    <a:pt x="1263387" y="2730831"/>
                  </a:cubicBezTo>
                  <a:close/>
                  <a:moveTo>
                    <a:pt x="1264184" y="2751524"/>
                  </a:moveTo>
                  <a:cubicBezTo>
                    <a:pt x="1267841" y="2752081"/>
                    <a:pt x="1271548" y="2752280"/>
                    <a:pt x="1275245" y="2752121"/>
                  </a:cubicBezTo>
                  <a:cubicBezTo>
                    <a:pt x="1271668" y="2752489"/>
                    <a:pt x="1268051" y="2752429"/>
                    <a:pt x="1264483" y="2751922"/>
                  </a:cubicBezTo>
                  <a:close/>
                  <a:moveTo>
                    <a:pt x="1270263" y="2796890"/>
                  </a:moveTo>
                  <a:cubicBezTo>
                    <a:pt x="1272575" y="2796333"/>
                    <a:pt x="1274797" y="2795428"/>
                    <a:pt x="1276839" y="2794204"/>
                  </a:cubicBezTo>
                  <a:cubicBezTo>
                    <a:pt x="1274936" y="2795468"/>
                    <a:pt x="1272804" y="2796353"/>
                    <a:pt x="1270562" y="2796791"/>
                  </a:cubicBezTo>
                  <a:close/>
                  <a:moveTo>
                    <a:pt x="1282818" y="2789429"/>
                  </a:moveTo>
                  <a:cubicBezTo>
                    <a:pt x="1285259" y="2787041"/>
                    <a:pt x="1287521" y="2784474"/>
                    <a:pt x="1289594" y="2781768"/>
                  </a:cubicBezTo>
                  <a:cubicBezTo>
                    <a:pt x="1287700" y="2784504"/>
                    <a:pt x="1285528" y="2787041"/>
                    <a:pt x="1283117" y="2789329"/>
                  </a:cubicBezTo>
                  <a:close/>
                  <a:moveTo>
                    <a:pt x="1290092" y="2780375"/>
                  </a:moveTo>
                  <a:cubicBezTo>
                    <a:pt x="1290570" y="2777072"/>
                    <a:pt x="1290570" y="2773729"/>
                    <a:pt x="1290092" y="2770426"/>
                  </a:cubicBezTo>
                  <a:cubicBezTo>
                    <a:pt x="1291118" y="2773620"/>
                    <a:pt x="1291228" y="2777032"/>
                    <a:pt x="1290391" y="2780276"/>
                  </a:cubicBezTo>
                  <a:close/>
                  <a:moveTo>
                    <a:pt x="2298091" y="2906028"/>
                  </a:moveTo>
                  <a:lnTo>
                    <a:pt x="2282148" y="2906028"/>
                  </a:lnTo>
                  <a:cubicBezTo>
                    <a:pt x="2280175" y="2906336"/>
                    <a:pt x="2278322" y="2907162"/>
                    <a:pt x="2276768" y="2908416"/>
                  </a:cubicBezTo>
                  <a:cubicBezTo>
                    <a:pt x="2276070" y="2910813"/>
                    <a:pt x="2275672" y="2913280"/>
                    <a:pt x="2275572" y="2915778"/>
                  </a:cubicBezTo>
                  <a:cubicBezTo>
                    <a:pt x="2275572" y="2916474"/>
                    <a:pt x="2276170" y="2917270"/>
                    <a:pt x="2276568" y="2918265"/>
                  </a:cubicBezTo>
                  <a:cubicBezTo>
                    <a:pt x="2276260" y="2919061"/>
                    <a:pt x="2276060" y="2919896"/>
                    <a:pt x="2275970" y="2920752"/>
                  </a:cubicBezTo>
                  <a:cubicBezTo>
                    <a:pt x="2276499" y="2924801"/>
                    <a:pt x="2278073" y="2928641"/>
                    <a:pt x="2280554" y="2931895"/>
                  </a:cubicBezTo>
                  <a:cubicBezTo>
                    <a:pt x="2277395" y="2929209"/>
                    <a:pt x="2275721" y="2925179"/>
                    <a:pt x="2276070" y="2921050"/>
                  </a:cubicBezTo>
                  <a:cubicBezTo>
                    <a:pt x="2275811" y="2919399"/>
                    <a:pt x="2275811" y="2917727"/>
                    <a:pt x="2276070" y="2916076"/>
                  </a:cubicBezTo>
                  <a:cubicBezTo>
                    <a:pt x="2274894" y="2913609"/>
                    <a:pt x="2275373" y="2910684"/>
                    <a:pt x="2277266" y="2908714"/>
                  </a:cubicBezTo>
                  <a:cubicBezTo>
                    <a:pt x="2277266" y="2908018"/>
                    <a:pt x="2277266" y="2907321"/>
                    <a:pt x="2278063" y="2906525"/>
                  </a:cubicBezTo>
                  <a:lnTo>
                    <a:pt x="2282647" y="2906525"/>
                  </a:lnTo>
                  <a:cubicBezTo>
                    <a:pt x="2287948" y="2906068"/>
                    <a:pt x="2293289" y="2906068"/>
                    <a:pt x="2298590" y="2906525"/>
                  </a:cubicBezTo>
                  <a:lnTo>
                    <a:pt x="2306860" y="2906525"/>
                  </a:lnTo>
                  <a:cubicBezTo>
                    <a:pt x="2304020" y="2906705"/>
                    <a:pt x="2301171" y="2906505"/>
                    <a:pt x="2298390" y="2905929"/>
                  </a:cubicBezTo>
                  <a:close/>
                  <a:moveTo>
                    <a:pt x="2306462" y="2906028"/>
                  </a:moveTo>
                  <a:lnTo>
                    <a:pt x="2307458" y="2906028"/>
                  </a:lnTo>
                  <a:lnTo>
                    <a:pt x="2339543" y="2906028"/>
                  </a:lnTo>
                  <a:cubicBezTo>
                    <a:pt x="2328782" y="2905630"/>
                    <a:pt x="2317622" y="2905630"/>
                    <a:pt x="2306760" y="2905829"/>
                  </a:cubicBezTo>
                  <a:close/>
                  <a:moveTo>
                    <a:pt x="3301906" y="2597617"/>
                  </a:moveTo>
                  <a:cubicBezTo>
                    <a:pt x="3303650" y="2597090"/>
                    <a:pt x="3305294" y="2596284"/>
                    <a:pt x="3306789" y="2595229"/>
                  </a:cubicBezTo>
                  <a:cubicBezTo>
                    <a:pt x="3305453" y="2596145"/>
                    <a:pt x="3303969" y="2596811"/>
                    <a:pt x="3302404" y="2597219"/>
                  </a:cubicBezTo>
                  <a:close/>
                  <a:moveTo>
                    <a:pt x="3308084" y="2594135"/>
                  </a:moveTo>
                  <a:cubicBezTo>
                    <a:pt x="3309309" y="2592861"/>
                    <a:pt x="3310166" y="2591279"/>
                    <a:pt x="3310575" y="2589558"/>
                  </a:cubicBezTo>
                  <a:cubicBezTo>
                    <a:pt x="3310236" y="2591120"/>
                    <a:pt x="3309479" y="2592563"/>
                    <a:pt x="3308383" y="2593737"/>
                  </a:cubicBezTo>
                  <a:close/>
                  <a:moveTo>
                    <a:pt x="3349337" y="2601298"/>
                  </a:moveTo>
                  <a:cubicBezTo>
                    <a:pt x="3349645" y="2602800"/>
                    <a:pt x="3350363" y="2604173"/>
                    <a:pt x="3351429" y="2605277"/>
                  </a:cubicBezTo>
                  <a:cubicBezTo>
                    <a:pt x="3350323" y="2604084"/>
                    <a:pt x="3349685" y="2602532"/>
                    <a:pt x="3349635" y="2600900"/>
                  </a:cubicBezTo>
                  <a:close/>
                  <a:moveTo>
                    <a:pt x="3378632" y="2629453"/>
                  </a:moveTo>
                  <a:cubicBezTo>
                    <a:pt x="3380914" y="2628418"/>
                    <a:pt x="3383036" y="2627045"/>
                    <a:pt x="3384910" y="2625374"/>
                  </a:cubicBezTo>
                  <a:cubicBezTo>
                    <a:pt x="3383126" y="2626906"/>
                    <a:pt x="3381103" y="2628149"/>
                    <a:pt x="3378931" y="2629055"/>
                  </a:cubicBezTo>
                  <a:close/>
                  <a:moveTo>
                    <a:pt x="3475287" y="2647360"/>
                  </a:moveTo>
                  <a:cubicBezTo>
                    <a:pt x="3475426" y="2644913"/>
                    <a:pt x="3475755" y="2642486"/>
                    <a:pt x="3476283" y="2640098"/>
                  </a:cubicBezTo>
                  <a:cubicBezTo>
                    <a:pt x="3475924" y="2642366"/>
                    <a:pt x="3475685" y="2644664"/>
                    <a:pt x="3475586" y="2646963"/>
                  </a:cubicBezTo>
                  <a:close/>
                  <a:moveTo>
                    <a:pt x="3478575" y="2633432"/>
                  </a:moveTo>
                  <a:cubicBezTo>
                    <a:pt x="3479591" y="2631383"/>
                    <a:pt x="3481016" y="2629552"/>
                    <a:pt x="3482760" y="2628060"/>
                  </a:cubicBezTo>
                  <a:cubicBezTo>
                    <a:pt x="3481196" y="2629483"/>
                    <a:pt x="3479880" y="2631164"/>
                    <a:pt x="3478874" y="2633034"/>
                  </a:cubicBezTo>
                  <a:close/>
                  <a:moveTo>
                    <a:pt x="3488539" y="2619902"/>
                  </a:moveTo>
                  <a:cubicBezTo>
                    <a:pt x="3487812" y="2621345"/>
                    <a:pt x="3487812" y="2623036"/>
                    <a:pt x="3488539" y="2624478"/>
                  </a:cubicBezTo>
                  <a:cubicBezTo>
                    <a:pt x="3487812" y="2622827"/>
                    <a:pt x="3488081" y="2620897"/>
                    <a:pt x="3489237" y="2619504"/>
                  </a:cubicBezTo>
                  <a:close/>
                  <a:moveTo>
                    <a:pt x="3507372" y="2629851"/>
                  </a:moveTo>
                  <a:cubicBezTo>
                    <a:pt x="3508737" y="2628915"/>
                    <a:pt x="3510312" y="2628339"/>
                    <a:pt x="3511956" y="2628159"/>
                  </a:cubicBezTo>
                  <a:cubicBezTo>
                    <a:pt x="3510591" y="2628358"/>
                    <a:pt x="3509275" y="2628796"/>
                    <a:pt x="3508070" y="2629453"/>
                  </a:cubicBezTo>
                  <a:close/>
                  <a:moveTo>
                    <a:pt x="3516838" y="2632139"/>
                  </a:moveTo>
                  <a:cubicBezTo>
                    <a:pt x="3520196" y="2632965"/>
                    <a:pt x="3523674" y="2631353"/>
                    <a:pt x="3525208" y="2628259"/>
                  </a:cubicBezTo>
                  <a:cubicBezTo>
                    <a:pt x="3523674" y="2630955"/>
                    <a:pt x="3520575" y="2632358"/>
                    <a:pt x="3517536" y="2631741"/>
                  </a:cubicBezTo>
                  <a:close/>
                  <a:moveTo>
                    <a:pt x="3538062" y="2627463"/>
                  </a:moveTo>
                  <a:cubicBezTo>
                    <a:pt x="3538062" y="2629353"/>
                    <a:pt x="3537365" y="2631244"/>
                    <a:pt x="3539258" y="2633233"/>
                  </a:cubicBezTo>
                  <a:cubicBezTo>
                    <a:pt x="3537963" y="2630846"/>
                    <a:pt x="3538660" y="2628956"/>
                    <a:pt x="3538760" y="2627065"/>
                  </a:cubicBezTo>
                  <a:close/>
                  <a:moveTo>
                    <a:pt x="3590674" y="2636815"/>
                  </a:moveTo>
                  <a:cubicBezTo>
                    <a:pt x="3588602" y="2639949"/>
                    <a:pt x="3586200" y="2642854"/>
                    <a:pt x="3583500" y="2645470"/>
                  </a:cubicBezTo>
                  <a:cubicBezTo>
                    <a:pt x="3585892" y="2642585"/>
                    <a:pt x="3588084" y="2639402"/>
                    <a:pt x="3590674" y="2636815"/>
                  </a:cubicBezTo>
                  <a:cubicBezTo>
                    <a:pt x="3591681" y="2635402"/>
                    <a:pt x="3592618" y="2633950"/>
                    <a:pt x="3593464" y="2632437"/>
                  </a:cubicBezTo>
                  <a:lnTo>
                    <a:pt x="3596852" y="2632437"/>
                  </a:lnTo>
                  <a:cubicBezTo>
                    <a:pt x="3594760" y="2633353"/>
                    <a:pt x="3592897" y="2634716"/>
                    <a:pt x="3591372" y="2636417"/>
                  </a:cubicBezTo>
                  <a:close/>
                  <a:moveTo>
                    <a:pt x="3615287" y="2628159"/>
                  </a:moveTo>
                  <a:cubicBezTo>
                    <a:pt x="3612477" y="2629095"/>
                    <a:pt x="3609617" y="2629900"/>
                    <a:pt x="3606717" y="2630547"/>
                  </a:cubicBezTo>
                  <a:cubicBezTo>
                    <a:pt x="3605930" y="2630786"/>
                    <a:pt x="3605163" y="2631084"/>
                    <a:pt x="3604425" y="2631443"/>
                  </a:cubicBezTo>
                  <a:lnTo>
                    <a:pt x="3603031" y="2631443"/>
                  </a:lnTo>
                  <a:cubicBezTo>
                    <a:pt x="3601028" y="2631930"/>
                    <a:pt x="3598995" y="2632288"/>
                    <a:pt x="3596952" y="2632537"/>
                  </a:cubicBezTo>
                  <a:cubicBezTo>
                    <a:pt x="3598835" y="2631602"/>
                    <a:pt x="3600938" y="2631224"/>
                    <a:pt x="3603031" y="2631443"/>
                  </a:cubicBezTo>
                  <a:cubicBezTo>
                    <a:pt x="3604276" y="2631293"/>
                    <a:pt x="3605502" y="2631064"/>
                    <a:pt x="3606717" y="2630746"/>
                  </a:cubicBezTo>
                  <a:cubicBezTo>
                    <a:pt x="3609487" y="2629672"/>
                    <a:pt x="3612357" y="2628866"/>
                    <a:pt x="3615287" y="2628358"/>
                  </a:cubicBezTo>
                  <a:lnTo>
                    <a:pt x="3620369" y="2626667"/>
                  </a:lnTo>
                  <a:lnTo>
                    <a:pt x="3626447" y="2627761"/>
                  </a:lnTo>
                  <a:cubicBezTo>
                    <a:pt x="3622969" y="2627453"/>
                    <a:pt x="3619462" y="2627453"/>
                    <a:pt x="3615984" y="2627761"/>
                  </a:cubicBezTo>
                  <a:close/>
                  <a:moveTo>
                    <a:pt x="3643386" y="2624280"/>
                  </a:moveTo>
                  <a:cubicBezTo>
                    <a:pt x="3641942" y="2624846"/>
                    <a:pt x="3640576" y="2625583"/>
                    <a:pt x="3639301" y="2626468"/>
                  </a:cubicBezTo>
                  <a:cubicBezTo>
                    <a:pt x="3638285" y="2627155"/>
                    <a:pt x="3637178" y="2627692"/>
                    <a:pt x="3636013" y="2628060"/>
                  </a:cubicBezTo>
                  <a:lnTo>
                    <a:pt x="3635315" y="2628060"/>
                  </a:lnTo>
                  <a:lnTo>
                    <a:pt x="3634020" y="2628060"/>
                  </a:lnTo>
                  <a:cubicBezTo>
                    <a:pt x="3631509" y="2628269"/>
                    <a:pt x="3628978" y="2628030"/>
                    <a:pt x="3626546" y="2627364"/>
                  </a:cubicBezTo>
                  <a:cubicBezTo>
                    <a:pt x="3629048" y="2627393"/>
                    <a:pt x="3631549" y="2627622"/>
                    <a:pt x="3634020" y="2628060"/>
                  </a:cubicBezTo>
                  <a:lnTo>
                    <a:pt x="3636013" y="2628060"/>
                  </a:lnTo>
                  <a:cubicBezTo>
                    <a:pt x="3638235" y="2626389"/>
                    <a:pt x="3640736" y="2625115"/>
                    <a:pt x="3643386" y="2624280"/>
                  </a:cubicBezTo>
                  <a:cubicBezTo>
                    <a:pt x="3648289" y="2622031"/>
                    <a:pt x="3653490" y="2620489"/>
                    <a:pt x="3658831" y="2619703"/>
                  </a:cubicBezTo>
                  <a:cubicBezTo>
                    <a:pt x="3654447" y="2620897"/>
                    <a:pt x="3649066" y="2622588"/>
                    <a:pt x="3644084" y="2623882"/>
                  </a:cubicBezTo>
                  <a:close/>
                  <a:moveTo>
                    <a:pt x="3666404" y="2618808"/>
                  </a:moveTo>
                  <a:cubicBezTo>
                    <a:pt x="3664013" y="2618808"/>
                    <a:pt x="3661522" y="2619405"/>
                    <a:pt x="3658931" y="2619703"/>
                  </a:cubicBezTo>
                  <a:lnTo>
                    <a:pt x="3662219" y="2618509"/>
                  </a:lnTo>
                  <a:cubicBezTo>
                    <a:pt x="3663564" y="2618002"/>
                    <a:pt x="3665059" y="2618002"/>
                    <a:pt x="3666404" y="2618509"/>
                  </a:cubicBezTo>
                  <a:lnTo>
                    <a:pt x="3668198" y="2618509"/>
                  </a:lnTo>
                  <a:cubicBezTo>
                    <a:pt x="3668427" y="2619027"/>
                    <a:pt x="3668686" y="2619524"/>
                    <a:pt x="3668995" y="2620001"/>
                  </a:cubicBezTo>
                  <a:cubicBezTo>
                    <a:pt x="3668477" y="2619345"/>
                    <a:pt x="3667829" y="2618808"/>
                    <a:pt x="3667102" y="2618410"/>
                  </a:cubicBezTo>
                  <a:close/>
                  <a:moveTo>
                    <a:pt x="3706262" y="2618111"/>
                  </a:moveTo>
                  <a:cubicBezTo>
                    <a:pt x="3705803" y="2620051"/>
                    <a:pt x="3704837" y="2621832"/>
                    <a:pt x="3703472" y="2623285"/>
                  </a:cubicBezTo>
                  <a:lnTo>
                    <a:pt x="3702475" y="2625573"/>
                  </a:lnTo>
                  <a:cubicBezTo>
                    <a:pt x="3701260" y="2625941"/>
                    <a:pt x="3700034" y="2626239"/>
                    <a:pt x="3698788" y="2626468"/>
                  </a:cubicBezTo>
                  <a:cubicBezTo>
                    <a:pt x="3695600" y="2627622"/>
                    <a:pt x="3692202" y="2628060"/>
                    <a:pt x="3688824" y="2627761"/>
                  </a:cubicBezTo>
                  <a:cubicBezTo>
                    <a:pt x="3684380" y="2627941"/>
                    <a:pt x="3679956" y="2627125"/>
                    <a:pt x="3675870" y="2625374"/>
                  </a:cubicBezTo>
                  <a:cubicBezTo>
                    <a:pt x="3674894" y="2625135"/>
                    <a:pt x="3673927" y="2624837"/>
                    <a:pt x="3672981" y="2624478"/>
                  </a:cubicBezTo>
                  <a:cubicBezTo>
                    <a:pt x="3672771" y="2623921"/>
                    <a:pt x="3672512" y="2623384"/>
                    <a:pt x="3672183" y="2622887"/>
                  </a:cubicBezTo>
                  <a:cubicBezTo>
                    <a:pt x="3673290" y="2623882"/>
                    <a:pt x="3674535" y="2624717"/>
                    <a:pt x="3675870" y="2625374"/>
                  </a:cubicBezTo>
                  <a:cubicBezTo>
                    <a:pt x="3680075" y="2626697"/>
                    <a:pt x="3684420" y="2627503"/>
                    <a:pt x="3688824" y="2627761"/>
                  </a:cubicBezTo>
                  <a:cubicBezTo>
                    <a:pt x="3692182" y="2627622"/>
                    <a:pt x="3695510" y="2627195"/>
                    <a:pt x="3698788" y="2626468"/>
                  </a:cubicBezTo>
                  <a:cubicBezTo>
                    <a:pt x="3700622" y="2625881"/>
                    <a:pt x="3702256" y="2624777"/>
                    <a:pt x="3703472" y="2623285"/>
                  </a:cubicBezTo>
                  <a:cubicBezTo>
                    <a:pt x="3704279" y="2621494"/>
                    <a:pt x="3705215" y="2619773"/>
                    <a:pt x="3706262" y="2618111"/>
                  </a:cubicBezTo>
                  <a:cubicBezTo>
                    <a:pt x="3706302" y="2617912"/>
                    <a:pt x="3706302" y="2617713"/>
                    <a:pt x="3706262" y="2617514"/>
                  </a:cubicBezTo>
                  <a:cubicBezTo>
                    <a:pt x="3707178" y="2614918"/>
                    <a:pt x="3709809" y="2613336"/>
                    <a:pt x="3712539" y="2613734"/>
                  </a:cubicBezTo>
                  <a:cubicBezTo>
                    <a:pt x="3710018" y="2614002"/>
                    <a:pt x="3707786" y="2615495"/>
                    <a:pt x="3706561" y="2617713"/>
                  </a:cubicBezTo>
                  <a:close/>
                  <a:moveTo>
                    <a:pt x="3719415" y="2616520"/>
                  </a:moveTo>
                  <a:lnTo>
                    <a:pt x="3717521" y="2615226"/>
                  </a:lnTo>
                  <a:cubicBezTo>
                    <a:pt x="3720461" y="2616977"/>
                    <a:pt x="3723201" y="2619047"/>
                    <a:pt x="3725692" y="2621394"/>
                  </a:cubicBezTo>
                  <a:cubicBezTo>
                    <a:pt x="3723829" y="2619494"/>
                    <a:pt x="3721836" y="2617733"/>
                    <a:pt x="3719714" y="2616122"/>
                  </a:cubicBezTo>
                  <a:close/>
                  <a:moveTo>
                    <a:pt x="3734162" y="2627662"/>
                  </a:moveTo>
                  <a:cubicBezTo>
                    <a:pt x="3733564" y="2627563"/>
                    <a:pt x="3732966" y="2627563"/>
                    <a:pt x="3732368" y="2627662"/>
                  </a:cubicBezTo>
                  <a:lnTo>
                    <a:pt x="3728283" y="2623981"/>
                  </a:lnTo>
                  <a:cubicBezTo>
                    <a:pt x="3730156" y="2625404"/>
                    <a:pt x="3732119" y="2626697"/>
                    <a:pt x="3734162" y="2627861"/>
                  </a:cubicBezTo>
                  <a:cubicBezTo>
                    <a:pt x="3736025" y="2628010"/>
                    <a:pt x="3737839" y="2628597"/>
                    <a:pt x="3739443" y="2629552"/>
                  </a:cubicBezTo>
                  <a:cubicBezTo>
                    <a:pt x="3737680" y="2629035"/>
                    <a:pt x="3736006" y="2628259"/>
                    <a:pt x="3734461" y="2627264"/>
                  </a:cubicBezTo>
                  <a:close/>
                  <a:moveTo>
                    <a:pt x="3739543" y="2629353"/>
                  </a:moveTo>
                  <a:lnTo>
                    <a:pt x="3741336" y="2629353"/>
                  </a:lnTo>
                  <a:lnTo>
                    <a:pt x="3744525" y="2633233"/>
                  </a:lnTo>
                  <a:cubicBezTo>
                    <a:pt x="3743160" y="2631602"/>
                    <a:pt x="3741586" y="2630169"/>
                    <a:pt x="3739842" y="2628956"/>
                  </a:cubicBezTo>
                  <a:close/>
                  <a:moveTo>
                    <a:pt x="3751301" y="2641391"/>
                  </a:moveTo>
                  <a:cubicBezTo>
                    <a:pt x="3750783" y="2640804"/>
                    <a:pt x="3750314" y="2640168"/>
                    <a:pt x="3749906" y="2639501"/>
                  </a:cubicBezTo>
                  <a:cubicBezTo>
                    <a:pt x="3751450" y="2641242"/>
                    <a:pt x="3753154" y="2642844"/>
                    <a:pt x="3754988" y="2644276"/>
                  </a:cubicBezTo>
                  <a:cubicBezTo>
                    <a:pt x="3753593" y="2643491"/>
                    <a:pt x="3752427" y="2642356"/>
                    <a:pt x="3751600" y="2640993"/>
                  </a:cubicBezTo>
                  <a:close/>
                  <a:moveTo>
                    <a:pt x="3758276" y="2646366"/>
                  </a:moveTo>
                  <a:cubicBezTo>
                    <a:pt x="3757210" y="2645809"/>
                    <a:pt x="3756213" y="2645142"/>
                    <a:pt x="3755287" y="2644376"/>
                  </a:cubicBezTo>
                  <a:cubicBezTo>
                    <a:pt x="3756881" y="2645172"/>
                    <a:pt x="3758595" y="2645679"/>
                    <a:pt x="3760368" y="2645868"/>
                  </a:cubicBezTo>
                  <a:close/>
                  <a:moveTo>
                    <a:pt x="3770632" y="2648057"/>
                  </a:moveTo>
                  <a:cubicBezTo>
                    <a:pt x="3768818" y="2647052"/>
                    <a:pt x="3766875" y="2646316"/>
                    <a:pt x="3764852" y="2645868"/>
                  </a:cubicBezTo>
                  <a:cubicBezTo>
                    <a:pt x="3763467" y="2646067"/>
                    <a:pt x="3762052" y="2646067"/>
                    <a:pt x="3760667" y="2645868"/>
                  </a:cubicBezTo>
                  <a:cubicBezTo>
                    <a:pt x="3762052" y="2645620"/>
                    <a:pt x="3763467" y="2645620"/>
                    <a:pt x="3764852" y="2645868"/>
                  </a:cubicBezTo>
                  <a:lnTo>
                    <a:pt x="3768240" y="2645868"/>
                  </a:lnTo>
                  <a:cubicBezTo>
                    <a:pt x="3768928" y="2646823"/>
                    <a:pt x="3769725" y="2647699"/>
                    <a:pt x="3770632" y="2648455"/>
                  </a:cubicBezTo>
                  <a:cubicBezTo>
                    <a:pt x="3773621" y="2650146"/>
                    <a:pt x="3776610" y="2652236"/>
                    <a:pt x="3779699" y="2654126"/>
                  </a:cubicBezTo>
                  <a:cubicBezTo>
                    <a:pt x="3776321" y="2652564"/>
                    <a:pt x="3773282" y="2650365"/>
                    <a:pt x="3770731" y="2647659"/>
                  </a:cubicBezTo>
                  <a:close/>
                  <a:moveTo>
                    <a:pt x="3790560" y="2657409"/>
                  </a:moveTo>
                  <a:cubicBezTo>
                    <a:pt x="3788747" y="2657339"/>
                    <a:pt x="3786963" y="2656971"/>
                    <a:pt x="3785279" y="2656315"/>
                  </a:cubicBezTo>
                  <a:cubicBezTo>
                    <a:pt x="3787103" y="2656185"/>
                    <a:pt x="3788936" y="2656563"/>
                    <a:pt x="3790560" y="2657409"/>
                  </a:cubicBezTo>
                  <a:lnTo>
                    <a:pt x="3792255" y="2657409"/>
                  </a:lnTo>
                  <a:lnTo>
                    <a:pt x="3793849" y="2659498"/>
                  </a:lnTo>
                  <a:cubicBezTo>
                    <a:pt x="3792912" y="2658513"/>
                    <a:pt x="3791836" y="2657678"/>
                    <a:pt x="3790660" y="2657011"/>
                  </a:cubicBezTo>
                  <a:close/>
                  <a:moveTo>
                    <a:pt x="3793948" y="2659498"/>
                  </a:moveTo>
                  <a:cubicBezTo>
                    <a:pt x="3795124" y="2660403"/>
                    <a:pt x="3796161" y="2661478"/>
                    <a:pt x="3797038" y="2662682"/>
                  </a:cubicBezTo>
                  <a:cubicBezTo>
                    <a:pt x="3795872" y="2661667"/>
                    <a:pt x="3794895" y="2660453"/>
                    <a:pt x="3794148" y="2659100"/>
                  </a:cubicBezTo>
                  <a:close/>
                  <a:moveTo>
                    <a:pt x="3803215" y="2662284"/>
                  </a:moveTo>
                  <a:cubicBezTo>
                    <a:pt x="3802637" y="2662761"/>
                    <a:pt x="3802000" y="2663169"/>
                    <a:pt x="3801322" y="2663477"/>
                  </a:cubicBezTo>
                  <a:cubicBezTo>
                    <a:pt x="3800565" y="2664363"/>
                    <a:pt x="3799329" y="2664681"/>
                    <a:pt x="3798233" y="2664273"/>
                  </a:cubicBezTo>
                  <a:cubicBezTo>
                    <a:pt x="3797924" y="2663766"/>
                    <a:pt x="3797555" y="2663299"/>
                    <a:pt x="3797137" y="2662880"/>
                  </a:cubicBezTo>
                  <a:cubicBezTo>
                    <a:pt x="3798363" y="2663716"/>
                    <a:pt x="3799907" y="2663935"/>
                    <a:pt x="3801322" y="2663477"/>
                  </a:cubicBezTo>
                  <a:cubicBezTo>
                    <a:pt x="3802956" y="2661269"/>
                    <a:pt x="3803803" y="2658563"/>
                    <a:pt x="3803714" y="2655817"/>
                  </a:cubicBezTo>
                  <a:cubicBezTo>
                    <a:pt x="3803415" y="2652176"/>
                    <a:pt x="3803415" y="2648515"/>
                    <a:pt x="3803714" y="2644873"/>
                  </a:cubicBezTo>
                  <a:cubicBezTo>
                    <a:pt x="3803714" y="2648157"/>
                    <a:pt x="3803714" y="2652335"/>
                    <a:pt x="3803714" y="2655817"/>
                  </a:cubicBezTo>
                  <a:cubicBezTo>
                    <a:pt x="3803853" y="2659269"/>
                    <a:pt x="3804700" y="2662652"/>
                    <a:pt x="3806205" y="2665766"/>
                  </a:cubicBezTo>
                  <a:cubicBezTo>
                    <a:pt x="3805208" y="2664701"/>
                    <a:pt x="3804272" y="2663567"/>
                    <a:pt x="3803415" y="2662383"/>
                  </a:cubicBezTo>
                  <a:close/>
                  <a:moveTo>
                    <a:pt x="3812183" y="2671238"/>
                  </a:moveTo>
                  <a:cubicBezTo>
                    <a:pt x="3809652" y="2670093"/>
                    <a:pt x="3807580" y="2668134"/>
                    <a:pt x="3806304" y="2665666"/>
                  </a:cubicBezTo>
                  <a:cubicBezTo>
                    <a:pt x="3809024" y="2668452"/>
                    <a:pt x="3811994" y="2670979"/>
                    <a:pt x="3815173" y="2673227"/>
                  </a:cubicBezTo>
                  <a:cubicBezTo>
                    <a:pt x="3814037" y="2672710"/>
                    <a:pt x="3813070" y="2671884"/>
                    <a:pt x="3812383" y="2670840"/>
                  </a:cubicBezTo>
                  <a:close/>
                  <a:moveTo>
                    <a:pt x="3826133" y="2673227"/>
                  </a:moveTo>
                  <a:lnTo>
                    <a:pt x="3824639" y="2673227"/>
                  </a:lnTo>
                  <a:cubicBezTo>
                    <a:pt x="3822317" y="2673765"/>
                    <a:pt x="3819936" y="2673964"/>
                    <a:pt x="3817564" y="2673824"/>
                  </a:cubicBezTo>
                  <a:cubicBezTo>
                    <a:pt x="3819856" y="2673824"/>
                    <a:pt x="3822248" y="2673028"/>
                    <a:pt x="3824639" y="2673227"/>
                  </a:cubicBezTo>
                  <a:cubicBezTo>
                    <a:pt x="3828346" y="2672252"/>
                    <a:pt x="3832172" y="2671815"/>
                    <a:pt x="3835998" y="2671934"/>
                  </a:cubicBezTo>
                  <a:cubicBezTo>
                    <a:pt x="3832750" y="2671695"/>
                    <a:pt x="3829482" y="2671994"/>
                    <a:pt x="3826333" y="2672829"/>
                  </a:cubicBezTo>
                  <a:close/>
                  <a:moveTo>
                    <a:pt x="3838091" y="2672232"/>
                  </a:moveTo>
                  <a:lnTo>
                    <a:pt x="3836098" y="2671735"/>
                  </a:lnTo>
                  <a:cubicBezTo>
                    <a:pt x="3837055" y="2671625"/>
                    <a:pt x="3837991" y="2671387"/>
                    <a:pt x="3838888" y="2671039"/>
                  </a:cubicBezTo>
                  <a:cubicBezTo>
                    <a:pt x="3838579" y="2671407"/>
                    <a:pt x="3838370" y="2671854"/>
                    <a:pt x="3838290" y="2672332"/>
                  </a:cubicBezTo>
                  <a:close/>
                  <a:moveTo>
                    <a:pt x="3838888" y="2670939"/>
                  </a:moveTo>
                  <a:cubicBezTo>
                    <a:pt x="3839257" y="2670273"/>
                    <a:pt x="3839815" y="2669715"/>
                    <a:pt x="3840482" y="2669347"/>
                  </a:cubicBezTo>
                  <a:cubicBezTo>
                    <a:pt x="3840114" y="2669845"/>
                    <a:pt x="3839635" y="2670252"/>
                    <a:pt x="3839087" y="2670541"/>
                  </a:cubicBezTo>
                  <a:close/>
                  <a:moveTo>
                    <a:pt x="3840582" y="2669248"/>
                  </a:moveTo>
                  <a:cubicBezTo>
                    <a:pt x="3840831" y="2668959"/>
                    <a:pt x="3841000" y="2668621"/>
                    <a:pt x="3841080" y="2668253"/>
                  </a:cubicBezTo>
                  <a:cubicBezTo>
                    <a:pt x="3841419" y="2668671"/>
                    <a:pt x="3841867" y="2668979"/>
                    <a:pt x="3842376" y="2669148"/>
                  </a:cubicBezTo>
                  <a:close/>
                  <a:moveTo>
                    <a:pt x="3846062" y="2671238"/>
                  </a:moveTo>
                  <a:lnTo>
                    <a:pt x="3845166" y="2670541"/>
                  </a:lnTo>
                  <a:cubicBezTo>
                    <a:pt x="3847089" y="2671128"/>
                    <a:pt x="3849052" y="2671556"/>
                    <a:pt x="3851045" y="2671835"/>
                  </a:cubicBezTo>
                  <a:close/>
                  <a:moveTo>
                    <a:pt x="3862902" y="2912892"/>
                  </a:moveTo>
                  <a:lnTo>
                    <a:pt x="3859016" y="2908018"/>
                  </a:lnTo>
                  <a:lnTo>
                    <a:pt x="3859016" y="2901153"/>
                  </a:lnTo>
                  <a:cubicBezTo>
                    <a:pt x="3858378" y="2896129"/>
                    <a:pt x="3858378" y="2891055"/>
                    <a:pt x="3859016" y="2886031"/>
                  </a:cubicBezTo>
                  <a:lnTo>
                    <a:pt x="3859016" y="2901153"/>
                  </a:lnTo>
                  <a:cubicBezTo>
                    <a:pt x="3859564" y="2905242"/>
                    <a:pt x="3860889" y="2909192"/>
                    <a:pt x="3862902" y="2912793"/>
                  </a:cubicBezTo>
                  <a:cubicBezTo>
                    <a:pt x="3866150" y="2917151"/>
                    <a:pt x="3870734" y="2920334"/>
                    <a:pt x="3875956" y="2921846"/>
                  </a:cubicBezTo>
                  <a:cubicBezTo>
                    <a:pt x="3870495" y="2920782"/>
                    <a:pt x="3865792" y="2917349"/>
                    <a:pt x="3863101" y="2912495"/>
                  </a:cubicBezTo>
                  <a:close/>
                  <a:moveTo>
                    <a:pt x="3922689" y="3031382"/>
                  </a:moveTo>
                  <a:lnTo>
                    <a:pt x="3922689" y="3031382"/>
                  </a:lnTo>
                  <a:close/>
                  <a:moveTo>
                    <a:pt x="3921792" y="3055557"/>
                  </a:moveTo>
                  <a:cubicBezTo>
                    <a:pt x="3921543" y="3056911"/>
                    <a:pt x="3921543" y="3058284"/>
                    <a:pt x="3921792" y="3059636"/>
                  </a:cubicBezTo>
                  <a:cubicBezTo>
                    <a:pt x="3921543" y="3059179"/>
                    <a:pt x="3921244" y="3058741"/>
                    <a:pt x="3920895" y="3058343"/>
                  </a:cubicBezTo>
                  <a:cubicBezTo>
                    <a:pt x="3921393" y="3056950"/>
                    <a:pt x="3921792" y="3056154"/>
                    <a:pt x="3922091" y="3055160"/>
                  </a:cubicBezTo>
                  <a:close/>
                  <a:moveTo>
                    <a:pt x="3901165" y="3167779"/>
                  </a:moveTo>
                  <a:cubicBezTo>
                    <a:pt x="3901215" y="3166754"/>
                    <a:pt x="3901215" y="3165720"/>
                    <a:pt x="3901165" y="3164695"/>
                  </a:cubicBezTo>
                  <a:lnTo>
                    <a:pt x="3901165" y="3164695"/>
                  </a:lnTo>
                  <a:cubicBezTo>
                    <a:pt x="3900837" y="3162377"/>
                    <a:pt x="3900229" y="3160109"/>
                    <a:pt x="3899372" y="3157930"/>
                  </a:cubicBezTo>
                  <a:cubicBezTo>
                    <a:pt x="3897598" y="3156139"/>
                    <a:pt x="3896143" y="3154050"/>
                    <a:pt x="3895087" y="3151762"/>
                  </a:cubicBezTo>
                  <a:cubicBezTo>
                    <a:pt x="3897010" y="3153423"/>
                    <a:pt x="3898485" y="3155542"/>
                    <a:pt x="3899372" y="3157930"/>
                  </a:cubicBezTo>
                  <a:cubicBezTo>
                    <a:pt x="3901225" y="3159651"/>
                    <a:pt x="3901923" y="3162287"/>
                    <a:pt x="3901165" y="3164695"/>
                  </a:cubicBezTo>
                  <a:cubicBezTo>
                    <a:pt x="3901265" y="3165193"/>
                    <a:pt x="3901365" y="3166287"/>
                    <a:pt x="3901464" y="3167381"/>
                  </a:cubicBezTo>
                  <a:close/>
                  <a:moveTo>
                    <a:pt x="3898774" y="3119926"/>
                  </a:moveTo>
                  <a:cubicBezTo>
                    <a:pt x="3900189" y="3122881"/>
                    <a:pt x="3900976" y="3126104"/>
                    <a:pt x="3901066" y="3129377"/>
                  </a:cubicBezTo>
                  <a:cubicBezTo>
                    <a:pt x="3900867" y="3126183"/>
                    <a:pt x="3900189" y="3123030"/>
                    <a:pt x="3899073" y="3120025"/>
                  </a:cubicBezTo>
                  <a:close/>
                  <a:moveTo>
                    <a:pt x="3888311" y="2972784"/>
                  </a:moveTo>
                  <a:cubicBezTo>
                    <a:pt x="3890653" y="2975450"/>
                    <a:pt x="3893633" y="2977470"/>
                    <a:pt x="3896981" y="2978654"/>
                  </a:cubicBezTo>
                  <a:cubicBezTo>
                    <a:pt x="3893393" y="2978007"/>
                    <a:pt x="3890244" y="2975868"/>
                    <a:pt x="3888311" y="2972784"/>
                  </a:cubicBezTo>
                  <a:close/>
                  <a:moveTo>
                    <a:pt x="3888311" y="2972784"/>
                  </a:moveTo>
                  <a:cubicBezTo>
                    <a:pt x="3885741" y="2970356"/>
                    <a:pt x="3885352" y="2966407"/>
                    <a:pt x="3887415" y="2963532"/>
                  </a:cubicBezTo>
                  <a:cubicBezTo>
                    <a:pt x="3886757" y="2966526"/>
                    <a:pt x="3887026" y="2969650"/>
                    <a:pt x="3888212" y="2972486"/>
                  </a:cubicBezTo>
                  <a:close/>
                  <a:moveTo>
                    <a:pt x="3888311" y="2953981"/>
                  </a:moveTo>
                  <a:cubicBezTo>
                    <a:pt x="3887833" y="2950608"/>
                    <a:pt x="3887066" y="2947275"/>
                    <a:pt x="3886020" y="2944032"/>
                  </a:cubicBezTo>
                  <a:lnTo>
                    <a:pt x="3888710" y="2950897"/>
                  </a:lnTo>
                  <a:cubicBezTo>
                    <a:pt x="3888750" y="2951822"/>
                    <a:pt x="3888750" y="2952757"/>
                    <a:pt x="3888710" y="2953682"/>
                  </a:cubicBezTo>
                  <a:close/>
                  <a:moveTo>
                    <a:pt x="3881137" y="2932691"/>
                  </a:moveTo>
                  <a:lnTo>
                    <a:pt x="3882731" y="2935775"/>
                  </a:lnTo>
                  <a:cubicBezTo>
                    <a:pt x="3884007" y="2938321"/>
                    <a:pt x="3885103" y="2940948"/>
                    <a:pt x="3886020" y="2943634"/>
                  </a:cubicBezTo>
                  <a:cubicBezTo>
                    <a:pt x="3884824" y="2939854"/>
                    <a:pt x="3883230" y="2936073"/>
                    <a:pt x="3881536" y="2932392"/>
                  </a:cubicBezTo>
                  <a:close/>
                  <a:moveTo>
                    <a:pt x="3875557" y="3232048"/>
                  </a:moveTo>
                  <a:cubicBezTo>
                    <a:pt x="3876852" y="3233640"/>
                    <a:pt x="3879044" y="3235630"/>
                    <a:pt x="3881436" y="3238913"/>
                  </a:cubicBezTo>
                  <a:cubicBezTo>
                    <a:pt x="3879433" y="3236664"/>
                    <a:pt x="3877600" y="3234267"/>
                    <a:pt x="3875956" y="3231750"/>
                  </a:cubicBezTo>
                  <a:close/>
                  <a:moveTo>
                    <a:pt x="3885521" y="3215334"/>
                  </a:moveTo>
                  <a:cubicBezTo>
                    <a:pt x="3882851" y="3218617"/>
                    <a:pt x="3879882" y="3221642"/>
                    <a:pt x="3876653" y="3224388"/>
                  </a:cubicBezTo>
                  <a:cubicBezTo>
                    <a:pt x="3875637" y="3225532"/>
                    <a:pt x="3874820" y="3226845"/>
                    <a:pt x="3874262" y="3228268"/>
                  </a:cubicBezTo>
                  <a:cubicBezTo>
                    <a:pt x="3874551" y="3226726"/>
                    <a:pt x="3875408" y="3225343"/>
                    <a:pt x="3876653" y="3224388"/>
                  </a:cubicBezTo>
                  <a:cubicBezTo>
                    <a:pt x="3878447" y="3222209"/>
                    <a:pt x="3880410" y="3220179"/>
                    <a:pt x="3882532" y="3218319"/>
                  </a:cubicBezTo>
                  <a:cubicBezTo>
                    <a:pt x="3884605" y="3215494"/>
                    <a:pt x="3886438" y="3212499"/>
                    <a:pt x="3888012" y="3209365"/>
                  </a:cubicBezTo>
                  <a:cubicBezTo>
                    <a:pt x="3887285" y="3211225"/>
                    <a:pt x="3886647" y="3213116"/>
                    <a:pt x="3886119" y="3215036"/>
                  </a:cubicBezTo>
                  <a:close/>
                  <a:moveTo>
                    <a:pt x="3891600" y="3202799"/>
                  </a:moveTo>
                  <a:cubicBezTo>
                    <a:pt x="3893015" y="3200441"/>
                    <a:pt x="3894728" y="3198272"/>
                    <a:pt x="3896682" y="3196332"/>
                  </a:cubicBezTo>
                  <a:cubicBezTo>
                    <a:pt x="3895785" y="3197924"/>
                    <a:pt x="3894091" y="3199615"/>
                    <a:pt x="3892198" y="3202501"/>
                  </a:cubicBezTo>
                  <a:close/>
                  <a:moveTo>
                    <a:pt x="3901564" y="3187179"/>
                  </a:moveTo>
                  <a:lnTo>
                    <a:pt x="3901564" y="3192552"/>
                  </a:lnTo>
                  <a:cubicBezTo>
                    <a:pt x="3900000" y="3193368"/>
                    <a:pt x="3898585" y="3194442"/>
                    <a:pt x="3897379" y="3195735"/>
                  </a:cubicBezTo>
                  <a:cubicBezTo>
                    <a:pt x="3899551" y="3193328"/>
                    <a:pt x="3900996" y="3190363"/>
                    <a:pt x="3901564" y="3187179"/>
                  </a:cubicBezTo>
                  <a:lnTo>
                    <a:pt x="3901564" y="3174545"/>
                  </a:lnTo>
                  <a:cubicBezTo>
                    <a:pt x="3901564" y="3172654"/>
                    <a:pt x="3901564" y="3170565"/>
                    <a:pt x="3901066" y="3168476"/>
                  </a:cubicBezTo>
                  <a:cubicBezTo>
                    <a:pt x="3902331" y="3174525"/>
                    <a:pt x="3902670" y="3180732"/>
                    <a:pt x="3902062" y="3186881"/>
                  </a:cubicBezTo>
                  <a:close/>
                  <a:moveTo>
                    <a:pt x="3903756" y="3110773"/>
                  </a:moveTo>
                  <a:cubicBezTo>
                    <a:pt x="3903198" y="3113240"/>
                    <a:pt x="3902032" y="3115529"/>
                    <a:pt x="3900368" y="3117439"/>
                  </a:cubicBezTo>
                  <a:cubicBezTo>
                    <a:pt x="3901564" y="3115449"/>
                    <a:pt x="3902660" y="3113061"/>
                    <a:pt x="3903756" y="3110773"/>
                  </a:cubicBezTo>
                  <a:cubicBezTo>
                    <a:pt x="3903916" y="3110156"/>
                    <a:pt x="3903916" y="3109499"/>
                    <a:pt x="3903756" y="3108883"/>
                  </a:cubicBezTo>
                  <a:cubicBezTo>
                    <a:pt x="3904593" y="3108266"/>
                    <a:pt x="3905360" y="3107569"/>
                    <a:pt x="3906048" y="3106794"/>
                  </a:cubicBezTo>
                  <a:cubicBezTo>
                    <a:pt x="3905370" y="3107838"/>
                    <a:pt x="3904773" y="3108942"/>
                    <a:pt x="3904254" y="3110077"/>
                  </a:cubicBezTo>
                  <a:close/>
                  <a:moveTo>
                    <a:pt x="3910532" y="3100824"/>
                  </a:moveTo>
                  <a:cubicBezTo>
                    <a:pt x="3909834" y="3101342"/>
                    <a:pt x="3909197" y="3101939"/>
                    <a:pt x="3908639" y="3102615"/>
                  </a:cubicBezTo>
                  <a:cubicBezTo>
                    <a:pt x="3910143" y="3099710"/>
                    <a:pt x="3911479" y="3096725"/>
                    <a:pt x="3912624" y="3093661"/>
                  </a:cubicBezTo>
                  <a:cubicBezTo>
                    <a:pt x="3911847" y="3095919"/>
                    <a:pt x="3911309" y="3098258"/>
                    <a:pt x="3911030" y="3100625"/>
                  </a:cubicBezTo>
                  <a:close/>
                  <a:moveTo>
                    <a:pt x="3922489" y="3066899"/>
                  </a:moveTo>
                  <a:cubicBezTo>
                    <a:pt x="3922220" y="3068720"/>
                    <a:pt x="3921543" y="3070461"/>
                    <a:pt x="3920496" y="3071973"/>
                  </a:cubicBezTo>
                  <a:cubicBezTo>
                    <a:pt x="3921094" y="3070182"/>
                    <a:pt x="3921792" y="3068491"/>
                    <a:pt x="3922489" y="3066899"/>
                  </a:cubicBezTo>
                  <a:cubicBezTo>
                    <a:pt x="3922689" y="3065844"/>
                    <a:pt x="3922689" y="3064770"/>
                    <a:pt x="3922489" y="3063715"/>
                  </a:cubicBezTo>
                  <a:cubicBezTo>
                    <a:pt x="3921822" y="3062422"/>
                    <a:pt x="3921443" y="3060990"/>
                    <a:pt x="3921393" y="3059537"/>
                  </a:cubicBezTo>
                  <a:cubicBezTo>
                    <a:pt x="3922011" y="3060850"/>
                    <a:pt x="3922380" y="3062263"/>
                    <a:pt x="3922489" y="3063715"/>
                  </a:cubicBezTo>
                  <a:lnTo>
                    <a:pt x="3923486" y="3065009"/>
                  </a:lnTo>
                  <a:cubicBezTo>
                    <a:pt x="3923346" y="3065576"/>
                    <a:pt x="3923187" y="3066143"/>
                    <a:pt x="3922988" y="3066700"/>
                  </a:cubicBezTo>
                  <a:close/>
                  <a:moveTo>
                    <a:pt x="3922489" y="3049091"/>
                  </a:moveTo>
                  <a:cubicBezTo>
                    <a:pt x="3922639" y="3046544"/>
                    <a:pt x="3922639" y="3043977"/>
                    <a:pt x="3922489" y="3041430"/>
                  </a:cubicBezTo>
                  <a:cubicBezTo>
                    <a:pt x="3922489" y="3043221"/>
                    <a:pt x="3922489" y="3044813"/>
                    <a:pt x="3922988" y="3046106"/>
                  </a:cubicBezTo>
                  <a:close/>
                  <a:moveTo>
                    <a:pt x="3858319" y="2754707"/>
                  </a:moveTo>
                  <a:cubicBezTo>
                    <a:pt x="3893891" y="2754111"/>
                    <a:pt x="3929763" y="2754707"/>
                    <a:pt x="3965735" y="2754707"/>
                  </a:cubicBezTo>
                  <a:cubicBezTo>
                    <a:pt x="3930660" y="2754309"/>
                    <a:pt x="3894788" y="2754111"/>
                    <a:pt x="3859215" y="2754509"/>
                  </a:cubicBezTo>
                  <a:close/>
                  <a:moveTo>
                    <a:pt x="4161834" y="3016459"/>
                  </a:moveTo>
                  <a:cubicBezTo>
                    <a:pt x="4162263" y="3015703"/>
                    <a:pt x="4162721" y="3014977"/>
                    <a:pt x="4163230" y="3014270"/>
                  </a:cubicBezTo>
                  <a:cubicBezTo>
                    <a:pt x="4164435" y="3014748"/>
                    <a:pt x="4165721" y="3014986"/>
                    <a:pt x="4167016" y="3014967"/>
                  </a:cubicBezTo>
                  <a:cubicBezTo>
                    <a:pt x="4169318" y="3014628"/>
                    <a:pt x="4171580" y="3014091"/>
                    <a:pt x="4173792" y="3013375"/>
                  </a:cubicBezTo>
                  <a:cubicBezTo>
                    <a:pt x="4171679" y="3014389"/>
                    <a:pt x="4169368" y="3014937"/>
                    <a:pt x="4167016" y="3014967"/>
                  </a:cubicBezTo>
                  <a:cubicBezTo>
                    <a:pt x="4165232" y="3015215"/>
                    <a:pt x="4163479" y="3015723"/>
                    <a:pt x="4161834" y="3016459"/>
                  </a:cubicBezTo>
                  <a:cubicBezTo>
                    <a:pt x="4160918" y="3017663"/>
                    <a:pt x="4160918" y="3019334"/>
                    <a:pt x="4161834" y="3020538"/>
                  </a:cubicBezTo>
                  <a:cubicBezTo>
                    <a:pt x="4161037" y="3018150"/>
                    <a:pt x="4161237" y="3016957"/>
                    <a:pt x="4162731" y="3016260"/>
                  </a:cubicBezTo>
                  <a:close/>
                  <a:moveTo>
                    <a:pt x="4167713" y="3048394"/>
                  </a:moveTo>
                  <a:cubicBezTo>
                    <a:pt x="4166049" y="3050782"/>
                    <a:pt x="4163827" y="3052722"/>
                    <a:pt x="4161237" y="3054065"/>
                  </a:cubicBezTo>
                  <a:cubicBezTo>
                    <a:pt x="4164106" y="3052682"/>
                    <a:pt x="4166617" y="3050673"/>
                    <a:pt x="4168610" y="3048195"/>
                  </a:cubicBezTo>
                  <a:close/>
                  <a:moveTo>
                    <a:pt x="4388525" y="3093661"/>
                  </a:moveTo>
                  <a:cubicBezTo>
                    <a:pt x="4390019" y="3090478"/>
                    <a:pt x="4391514" y="3087095"/>
                    <a:pt x="4393009" y="3083215"/>
                  </a:cubicBezTo>
                  <a:cubicBezTo>
                    <a:pt x="4390817" y="3089612"/>
                    <a:pt x="4389770" y="3096347"/>
                    <a:pt x="4389920" y="3103112"/>
                  </a:cubicBezTo>
                  <a:cubicBezTo>
                    <a:pt x="4389232" y="3099999"/>
                    <a:pt x="4388774" y="3096845"/>
                    <a:pt x="4388525" y="3093661"/>
                  </a:cubicBezTo>
                  <a:close/>
                  <a:moveTo>
                    <a:pt x="4396696" y="3121319"/>
                  </a:moveTo>
                  <a:cubicBezTo>
                    <a:pt x="4399266" y="3123189"/>
                    <a:pt x="4401439" y="3125557"/>
                    <a:pt x="4403073" y="3128283"/>
                  </a:cubicBezTo>
                  <a:cubicBezTo>
                    <a:pt x="4400522" y="3126323"/>
                    <a:pt x="4398310" y="3123975"/>
                    <a:pt x="4396496" y="3121319"/>
                  </a:cubicBezTo>
                  <a:close/>
                  <a:moveTo>
                    <a:pt x="4403173" y="3128382"/>
                  </a:moveTo>
                  <a:cubicBezTo>
                    <a:pt x="4403551" y="3128800"/>
                    <a:pt x="4403990" y="3129168"/>
                    <a:pt x="4404468" y="3129477"/>
                  </a:cubicBezTo>
                  <a:cubicBezTo>
                    <a:pt x="4404966" y="3130869"/>
                    <a:pt x="4405464" y="3132362"/>
                    <a:pt x="4406062" y="3133854"/>
                  </a:cubicBezTo>
                  <a:cubicBezTo>
                    <a:pt x="4405195" y="3131944"/>
                    <a:pt x="4404159" y="3130113"/>
                    <a:pt x="4402973" y="3128382"/>
                  </a:cubicBezTo>
                  <a:close/>
                  <a:moveTo>
                    <a:pt x="4330134" y="2454952"/>
                  </a:moveTo>
                  <a:cubicBezTo>
                    <a:pt x="4330970" y="2456335"/>
                    <a:pt x="4331937" y="2457638"/>
                    <a:pt x="4333023" y="2458832"/>
                  </a:cubicBezTo>
                  <a:cubicBezTo>
                    <a:pt x="4334637" y="2460424"/>
                    <a:pt x="4335863" y="2462364"/>
                    <a:pt x="4336610" y="2464503"/>
                  </a:cubicBezTo>
                  <a:cubicBezTo>
                    <a:pt x="4335704" y="2462443"/>
                    <a:pt x="4334498" y="2460533"/>
                    <a:pt x="4333023" y="2458832"/>
                  </a:cubicBezTo>
                  <a:cubicBezTo>
                    <a:pt x="4331688" y="2457439"/>
                    <a:pt x="4330253" y="2456146"/>
                    <a:pt x="4328738" y="2454952"/>
                  </a:cubicBezTo>
                  <a:lnTo>
                    <a:pt x="4328738" y="2452664"/>
                  </a:lnTo>
                  <a:cubicBezTo>
                    <a:pt x="4328808" y="2453499"/>
                    <a:pt x="4329127" y="2454295"/>
                    <a:pt x="4329635" y="2454952"/>
                  </a:cubicBezTo>
                  <a:lnTo>
                    <a:pt x="4525236" y="2454952"/>
                  </a:lnTo>
                  <a:cubicBezTo>
                    <a:pt x="4460966" y="2454952"/>
                    <a:pt x="4393308" y="2455151"/>
                    <a:pt x="4329934" y="2454952"/>
                  </a:cubicBezTo>
                  <a:close/>
                  <a:moveTo>
                    <a:pt x="4589806" y="2454952"/>
                  </a:moveTo>
                  <a:cubicBezTo>
                    <a:pt x="4579842" y="2454952"/>
                    <a:pt x="4568681" y="2454952"/>
                    <a:pt x="4559913" y="2454952"/>
                  </a:cubicBezTo>
                  <a:close/>
                  <a:moveTo>
                    <a:pt x="4585521" y="2670243"/>
                  </a:moveTo>
                  <a:cubicBezTo>
                    <a:pt x="4586318" y="2661886"/>
                    <a:pt x="4587115" y="2653330"/>
                    <a:pt x="4587813" y="2645072"/>
                  </a:cubicBezTo>
                  <a:cubicBezTo>
                    <a:pt x="4588511" y="2636815"/>
                    <a:pt x="4589806" y="2630149"/>
                    <a:pt x="4590702" y="2622190"/>
                  </a:cubicBezTo>
                  <a:cubicBezTo>
                    <a:pt x="4588809" y="2638606"/>
                    <a:pt x="4587016" y="2654723"/>
                    <a:pt x="4585322" y="2670243"/>
                  </a:cubicBezTo>
                  <a:close/>
                  <a:moveTo>
                    <a:pt x="4601962" y="2517331"/>
                  </a:moveTo>
                  <a:lnTo>
                    <a:pt x="4602859" y="2510267"/>
                  </a:lnTo>
                  <a:cubicBezTo>
                    <a:pt x="4602361" y="2513152"/>
                    <a:pt x="4602062" y="2515739"/>
                    <a:pt x="4601763" y="2517331"/>
                  </a:cubicBezTo>
                  <a:close/>
                  <a:moveTo>
                    <a:pt x="4604653" y="2491563"/>
                  </a:moveTo>
                  <a:cubicBezTo>
                    <a:pt x="4605450" y="2482510"/>
                    <a:pt x="4606247" y="2474054"/>
                    <a:pt x="4606746" y="2470969"/>
                  </a:cubicBezTo>
                  <a:cubicBezTo>
                    <a:pt x="4604424" y="2469985"/>
                    <a:pt x="4602421" y="2468363"/>
                    <a:pt x="4600966" y="2466294"/>
                  </a:cubicBezTo>
                  <a:cubicBezTo>
                    <a:pt x="4602620" y="2468164"/>
                    <a:pt x="4604573" y="2469746"/>
                    <a:pt x="4606746" y="2470969"/>
                  </a:cubicBezTo>
                  <a:cubicBezTo>
                    <a:pt x="4606247" y="2473357"/>
                    <a:pt x="4605450" y="2482212"/>
                    <a:pt x="4604453" y="2491563"/>
                  </a:cubicBezTo>
                  <a:close/>
                  <a:moveTo>
                    <a:pt x="4665535" y="3072868"/>
                  </a:moveTo>
                  <a:cubicBezTo>
                    <a:pt x="4666033" y="3071675"/>
                    <a:pt x="4666731" y="3070381"/>
                    <a:pt x="4667329" y="3068789"/>
                  </a:cubicBezTo>
                  <a:cubicBezTo>
                    <a:pt x="4667558" y="3066531"/>
                    <a:pt x="4668306" y="3064342"/>
                    <a:pt x="4669521" y="3062422"/>
                  </a:cubicBezTo>
                  <a:cubicBezTo>
                    <a:pt x="4669850" y="3061149"/>
                    <a:pt x="4670079" y="3059855"/>
                    <a:pt x="4670219" y="3058542"/>
                  </a:cubicBezTo>
                  <a:lnTo>
                    <a:pt x="4669521" y="3053866"/>
                  </a:lnTo>
                  <a:cubicBezTo>
                    <a:pt x="4670129" y="3055348"/>
                    <a:pt x="4670368" y="3056950"/>
                    <a:pt x="4670219" y="3058542"/>
                  </a:cubicBezTo>
                  <a:lnTo>
                    <a:pt x="4670219" y="3060830"/>
                  </a:lnTo>
                  <a:cubicBezTo>
                    <a:pt x="4669850" y="3061338"/>
                    <a:pt x="4669521" y="3061865"/>
                    <a:pt x="4669222" y="3062422"/>
                  </a:cubicBezTo>
                  <a:cubicBezTo>
                    <a:pt x="4668624" y="3064591"/>
                    <a:pt x="4667897" y="3066720"/>
                    <a:pt x="4667030" y="3068789"/>
                  </a:cubicBezTo>
                  <a:cubicBezTo>
                    <a:pt x="4666761" y="3071734"/>
                    <a:pt x="4667309" y="3074699"/>
                    <a:pt x="4668624" y="3077345"/>
                  </a:cubicBezTo>
                  <a:close/>
                  <a:moveTo>
                    <a:pt x="4669023" y="3077544"/>
                  </a:moveTo>
                  <a:cubicBezTo>
                    <a:pt x="4673297" y="3083235"/>
                    <a:pt x="4677991" y="3088587"/>
                    <a:pt x="4683073" y="3093562"/>
                  </a:cubicBezTo>
                  <a:cubicBezTo>
                    <a:pt x="4677274" y="3089254"/>
                    <a:pt x="4672421" y="3083802"/>
                    <a:pt x="4668824" y="3077544"/>
                  </a:cubicBezTo>
                  <a:close/>
                  <a:moveTo>
                    <a:pt x="4996354" y="3054264"/>
                  </a:moveTo>
                  <a:lnTo>
                    <a:pt x="4996354" y="3054264"/>
                  </a:lnTo>
                  <a:cubicBezTo>
                    <a:pt x="4996145" y="3051558"/>
                    <a:pt x="4995786" y="3048872"/>
                    <a:pt x="4995258" y="3046206"/>
                  </a:cubicBezTo>
                  <a:cubicBezTo>
                    <a:pt x="4994520" y="3043768"/>
                    <a:pt x="4993554" y="3041400"/>
                    <a:pt x="4992368" y="3039142"/>
                  </a:cubicBezTo>
                  <a:cubicBezTo>
                    <a:pt x="4993225" y="3040485"/>
                    <a:pt x="4993922" y="3041918"/>
                    <a:pt x="4994460" y="3043420"/>
                  </a:cubicBezTo>
                  <a:cubicBezTo>
                    <a:pt x="4994789" y="3044335"/>
                    <a:pt x="4995049" y="3045260"/>
                    <a:pt x="4995258" y="3046206"/>
                  </a:cubicBezTo>
                  <a:cubicBezTo>
                    <a:pt x="4996124" y="3048802"/>
                    <a:pt x="4996533" y="3051528"/>
                    <a:pt x="4996453" y="3054264"/>
                  </a:cubicBezTo>
                  <a:lnTo>
                    <a:pt x="4996453" y="3054264"/>
                  </a:lnTo>
                  <a:cubicBezTo>
                    <a:pt x="4996702" y="3056304"/>
                    <a:pt x="4997201" y="3058313"/>
                    <a:pt x="4997948" y="3060233"/>
                  </a:cubicBezTo>
                  <a:cubicBezTo>
                    <a:pt x="4996882" y="3058423"/>
                    <a:pt x="4996334" y="3056363"/>
                    <a:pt x="4996354" y="3054264"/>
                  </a:cubicBezTo>
                  <a:close/>
                  <a:moveTo>
                    <a:pt x="4999343" y="3062920"/>
                  </a:moveTo>
                  <a:cubicBezTo>
                    <a:pt x="4998965" y="3062402"/>
                    <a:pt x="4998665" y="3061835"/>
                    <a:pt x="4998446" y="3061228"/>
                  </a:cubicBezTo>
                  <a:cubicBezTo>
                    <a:pt x="4998785" y="3061895"/>
                    <a:pt x="4999184" y="3062522"/>
                    <a:pt x="4999642" y="3063119"/>
                  </a:cubicBezTo>
                  <a:close/>
                  <a:moveTo>
                    <a:pt x="5002731" y="3067396"/>
                  </a:moveTo>
                  <a:cubicBezTo>
                    <a:pt x="5003727" y="3068590"/>
                    <a:pt x="5004624" y="3069784"/>
                    <a:pt x="5005322" y="3070779"/>
                  </a:cubicBezTo>
                  <a:cubicBezTo>
                    <a:pt x="5005222" y="3072102"/>
                    <a:pt x="5005222" y="3073435"/>
                    <a:pt x="5005322" y="3074759"/>
                  </a:cubicBezTo>
                  <a:cubicBezTo>
                    <a:pt x="5004684" y="3072202"/>
                    <a:pt x="5003747" y="3069735"/>
                    <a:pt x="5002532" y="3067396"/>
                  </a:cubicBezTo>
                  <a:close/>
                  <a:moveTo>
                    <a:pt x="5008211" y="3087294"/>
                  </a:moveTo>
                  <a:cubicBezTo>
                    <a:pt x="5006388" y="3083464"/>
                    <a:pt x="5005372" y="3079295"/>
                    <a:pt x="5005222" y="3075057"/>
                  </a:cubicBezTo>
                  <a:cubicBezTo>
                    <a:pt x="5005909" y="3079206"/>
                    <a:pt x="5006916" y="3083295"/>
                    <a:pt x="5008211" y="3087294"/>
                  </a:cubicBezTo>
                  <a:cubicBezTo>
                    <a:pt x="5009646" y="3090517"/>
                    <a:pt x="5011719" y="3093432"/>
                    <a:pt x="5014290" y="3095850"/>
                  </a:cubicBezTo>
                  <a:cubicBezTo>
                    <a:pt x="5011360" y="3093631"/>
                    <a:pt x="5009168" y="3090577"/>
                    <a:pt x="5008012" y="3087095"/>
                  </a:cubicBezTo>
                  <a:close/>
                  <a:moveTo>
                    <a:pt x="5100482" y="3100526"/>
                  </a:moveTo>
                  <a:lnTo>
                    <a:pt x="5111941" y="3100526"/>
                  </a:lnTo>
                  <a:cubicBezTo>
                    <a:pt x="5120909" y="3101322"/>
                    <a:pt x="5129976" y="3101919"/>
                    <a:pt x="5138944" y="3102416"/>
                  </a:cubicBezTo>
                  <a:close/>
                  <a:moveTo>
                    <a:pt x="5141137" y="3102913"/>
                  </a:moveTo>
                  <a:cubicBezTo>
                    <a:pt x="5180396" y="3105202"/>
                    <a:pt x="5219855" y="3107589"/>
                    <a:pt x="5259115" y="3110475"/>
                  </a:cubicBezTo>
                  <a:close/>
                  <a:moveTo>
                    <a:pt x="5346503" y="3118832"/>
                  </a:moveTo>
                  <a:cubicBezTo>
                    <a:pt x="5345347" y="3122164"/>
                    <a:pt x="5345826" y="3125855"/>
                    <a:pt x="5347799" y="3128780"/>
                  </a:cubicBezTo>
                  <a:cubicBezTo>
                    <a:pt x="5345646" y="3125855"/>
                    <a:pt x="5345088" y="3122055"/>
                    <a:pt x="5346304" y="3118632"/>
                  </a:cubicBezTo>
                  <a:close/>
                  <a:moveTo>
                    <a:pt x="5384966" y="3080230"/>
                  </a:moveTo>
                  <a:cubicBezTo>
                    <a:pt x="5382674" y="3079335"/>
                    <a:pt x="5380980" y="3079335"/>
                    <a:pt x="5377891" y="3081822"/>
                  </a:cubicBezTo>
                  <a:cubicBezTo>
                    <a:pt x="5378917" y="3080777"/>
                    <a:pt x="5380013" y="3079813"/>
                    <a:pt x="5381179" y="3078937"/>
                  </a:cubicBezTo>
                  <a:lnTo>
                    <a:pt x="5384966" y="3080230"/>
                  </a:lnTo>
                  <a:lnTo>
                    <a:pt x="5389948" y="3082419"/>
                  </a:lnTo>
                  <a:cubicBezTo>
                    <a:pt x="5387457" y="3081524"/>
                    <a:pt x="5385962" y="3080230"/>
                    <a:pt x="5384966" y="3080230"/>
                  </a:cubicBezTo>
                  <a:close/>
                  <a:moveTo>
                    <a:pt x="5401606" y="3086299"/>
                  </a:moveTo>
                  <a:cubicBezTo>
                    <a:pt x="5402394" y="3086647"/>
                    <a:pt x="5403240" y="3086846"/>
                    <a:pt x="5404097" y="3086896"/>
                  </a:cubicBezTo>
                  <a:cubicBezTo>
                    <a:pt x="5405024" y="3087453"/>
                    <a:pt x="5405990" y="3087951"/>
                    <a:pt x="5406987" y="3088388"/>
                  </a:cubicBezTo>
                  <a:cubicBezTo>
                    <a:pt x="5405004" y="3087761"/>
                    <a:pt x="5403081" y="3086995"/>
                    <a:pt x="5401208" y="3086100"/>
                  </a:cubicBezTo>
                  <a:close/>
                  <a:moveTo>
                    <a:pt x="5407485" y="3088687"/>
                  </a:moveTo>
                  <a:cubicBezTo>
                    <a:pt x="5412826" y="3090686"/>
                    <a:pt x="5418277" y="3092348"/>
                    <a:pt x="5423827" y="3093661"/>
                  </a:cubicBezTo>
                  <a:cubicBezTo>
                    <a:pt x="5418018" y="3092806"/>
                    <a:pt x="5412368" y="3091064"/>
                    <a:pt x="5407086" y="3088488"/>
                  </a:cubicBezTo>
                  <a:close/>
                  <a:moveTo>
                    <a:pt x="5429008" y="3094855"/>
                  </a:moveTo>
                  <a:cubicBezTo>
                    <a:pt x="5427394" y="3094586"/>
                    <a:pt x="5425800" y="3094218"/>
                    <a:pt x="5424225" y="3093761"/>
                  </a:cubicBezTo>
                  <a:cubicBezTo>
                    <a:pt x="5426537" y="3094129"/>
                    <a:pt x="5428869" y="3094288"/>
                    <a:pt x="5431201" y="3094258"/>
                  </a:cubicBezTo>
                  <a:cubicBezTo>
                    <a:pt x="5430324" y="3094248"/>
                    <a:pt x="5429447" y="3094377"/>
                    <a:pt x="5428610" y="3094656"/>
                  </a:cubicBezTo>
                  <a:close/>
                  <a:moveTo>
                    <a:pt x="5434090" y="3094159"/>
                  </a:moveTo>
                  <a:cubicBezTo>
                    <a:pt x="5434718" y="3094218"/>
                    <a:pt x="5435356" y="3094218"/>
                    <a:pt x="5435983" y="3094159"/>
                  </a:cubicBezTo>
                  <a:cubicBezTo>
                    <a:pt x="5438126" y="3094129"/>
                    <a:pt x="5440238" y="3094606"/>
                    <a:pt x="5442161" y="3095552"/>
                  </a:cubicBezTo>
                  <a:cubicBezTo>
                    <a:pt x="5439401" y="3094726"/>
                    <a:pt x="5436561" y="3094198"/>
                    <a:pt x="5433692" y="3093960"/>
                  </a:cubicBezTo>
                  <a:close/>
                  <a:moveTo>
                    <a:pt x="5440766" y="2771819"/>
                  </a:moveTo>
                  <a:cubicBezTo>
                    <a:pt x="5440945" y="2772158"/>
                    <a:pt x="5441225" y="2772436"/>
                    <a:pt x="5441563" y="2772615"/>
                  </a:cubicBezTo>
                  <a:cubicBezTo>
                    <a:pt x="5444623" y="2777042"/>
                    <a:pt x="5446476" y="2782186"/>
                    <a:pt x="5446944" y="2787538"/>
                  </a:cubicBezTo>
                  <a:cubicBezTo>
                    <a:pt x="5445679" y="2782017"/>
                    <a:pt x="5443596" y="2776724"/>
                    <a:pt x="5440766" y="2771819"/>
                  </a:cubicBezTo>
                  <a:close/>
                  <a:moveTo>
                    <a:pt x="5449535" y="2816390"/>
                  </a:moveTo>
                  <a:cubicBezTo>
                    <a:pt x="5449535" y="2814300"/>
                    <a:pt x="5449535" y="2812211"/>
                    <a:pt x="5449535" y="2810122"/>
                  </a:cubicBezTo>
                  <a:cubicBezTo>
                    <a:pt x="5450123" y="2813445"/>
                    <a:pt x="5451488" y="2816579"/>
                    <a:pt x="5453521" y="2819275"/>
                  </a:cubicBezTo>
                  <a:close/>
                  <a:moveTo>
                    <a:pt x="5475443" y="2845241"/>
                  </a:moveTo>
                  <a:cubicBezTo>
                    <a:pt x="5475512" y="2844813"/>
                    <a:pt x="5475512" y="2844376"/>
                    <a:pt x="5475443" y="2843948"/>
                  </a:cubicBezTo>
                  <a:cubicBezTo>
                    <a:pt x="5474945" y="2842406"/>
                    <a:pt x="5474745" y="2840784"/>
                    <a:pt x="5474845" y="2839172"/>
                  </a:cubicBezTo>
                  <a:cubicBezTo>
                    <a:pt x="5473609" y="2836138"/>
                    <a:pt x="5471895" y="2833313"/>
                    <a:pt x="5469763" y="2830815"/>
                  </a:cubicBezTo>
                  <a:cubicBezTo>
                    <a:pt x="5467212" y="2828537"/>
                    <a:pt x="5464481" y="2826478"/>
                    <a:pt x="5461592" y="2824647"/>
                  </a:cubicBezTo>
                  <a:cubicBezTo>
                    <a:pt x="5458344" y="2823871"/>
                    <a:pt x="5455434" y="2822060"/>
                    <a:pt x="5453321" y="2819474"/>
                  </a:cubicBezTo>
                  <a:cubicBezTo>
                    <a:pt x="5456012" y="2821066"/>
                    <a:pt x="5458901" y="2822757"/>
                    <a:pt x="5461592" y="2824647"/>
                  </a:cubicBezTo>
                  <a:cubicBezTo>
                    <a:pt x="5462728" y="2824995"/>
                    <a:pt x="5463894" y="2825224"/>
                    <a:pt x="5465079" y="2825344"/>
                  </a:cubicBezTo>
                  <a:cubicBezTo>
                    <a:pt x="5466275" y="2826637"/>
                    <a:pt x="5467969" y="2828726"/>
                    <a:pt x="5469763" y="2830815"/>
                  </a:cubicBezTo>
                  <a:cubicBezTo>
                    <a:pt x="5471836" y="2832696"/>
                    <a:pt x="5473619" y="2834875"/>
                    <a:pt x="5475044" y="2837282"/>
                  </a:cubicBezTo>
                  <a:cubicBezTo>
                    <a:pt x="5475014" y="2837909"/>
                    <a:pt x="5475014" y="2838546"/>
                    <a:pt x="5475044" y="2839172"/>
                  </a:cubicBezTo>
                  <a:cubicBezTo>
                    <a:pt x="5475662" y="2840685"/>
                    <a:pt x="5475871" y="2842326"/>
                    <a:pt x="5475642" y="2843948"/>
                  </a:cubicBezTo>
                  <a:cubicBezTo>
                    <a:pt x="5476379" y="2846514"/>
                    <a:pt x="5477495" y="2848962"/>
                    <a:pt x="5478930" y="2851210"/>
                  </a:cubicBezTo>
                  <a:cubicBezTo>
                    <a:pt x="5477605" y="2849221"/>
                    <a:pt x="5476429" y="2847121"/>
                    <a:pt x="5475443" y="2844943"/>
                  </a:cubicBezTo>
                  <a:close/>
                  <a:moveTo>
                    <a:pt x="5484709" y="2883245"/>
                  </a:moveTo>
                  <a:cubicBezTo>
                    <a:pt x="5483534" y="2879982"/>
                    <a:pt x="5482537" y="2876659"/>
                    <a:pt x="5481720" y="2873297"/>
                  </a:cubicBezTo>
                  <a:cubicBezTo>
                    <a:pt x="5481351" y="2872441"/>
                    <a:pt x="5480913" y="2871605"/>
                    <a:pt x="5480425" y="2870809"/>
                  </a:cubicBezTo>
                  <a:lnTo>
                    <a:pt x="5481521" y="2869317"/>
                  </a:lnTo>
                  <a:cubicBezTo>
                    <a:pt x="5481630" y="2867656"/>
                    <a:pt x="5482298" y="2866084"/>
                    <a:pt x="5483414" y="2864840"/>
                  </a:cubicBezTo>
                  <a:cubicBezTo>
                    <a:pt x="5483663" y="2860075"/>
                    <a:pt x="5482258" y="2855359"/>
                    <a:pt x="5479428" y="2851509"/>
                  </a:cubicBezTo>
                  <a:cubicBezTo>
                    <a:pt x="5482696" y="2855130"/>
                    <a:pt x="5484161" y="2860025"/>
                    <a:pt x="5483414" y="2864840"/>
                  </a:cubicBezTo>
                  <a:cubicBezTo>
                    <a:pt x="5483065" y="2866432"/>
                    <a:pt x="5482428" y="2867954"/>
                    <a:pt x="5481521" y="2869317"/>
                  </a:cubicBezTo>
                  <a:cubicBezTo>
                    <a:pt x="5481271" y="2870630"/>
                    <a:pt x="5481271" y="2871983"/>
                    <a:pt x="5481521" y="2873297"/>
                  </a:cubicBezTo>
                  <a:cubicBezTo>
                    <a:pt x="5482955" y="2876460"/>
                    <a:pt x="5483962" y="2879813"/>
                    <a:pt x="5484510" y="2883245"/>
                  </a:cubicBezTo>
                  <a:cubicBezTo>
                    <a:pt x="5485178" y="2885434"/>
                    <a:pt x="5485407" y="2887732"/>
                    <a:pt x="5485208" y="2890010"/>
                  </a:cubicBezTo>
                  <a:cubicBezTo>
                    <a:pt x="5485158" y="2887643"/>
                    <a:pt x="5484948" y="2885285"/>
                    <a:pt x="5484610" y="2882947"/>
                  </a:cubicBezTo>
                  <a:close/>
                  <a:moveTo>
                    <a:pt x="5489891" y="2891901"/>
                  </a:moveTo>
                  <a:cubicBezTo>
                    <a:pt x="5492262" y="2892597"/>
                    <a:pt x="5494704" y="2893025"/>
                    <a:pt x="5497165" y="2893194"/>
                  </a:cubicBezTo>
                  <a:cubicBezTo>
                    <a:pt x="5495371" y="2893791"/>
                    <a:pt x="5492382" y="2892697"/>
                    <a:pt x="5489891" y="2891204"/>
                  </a:cubicBezTo>
                  <a:close/>
                  <a:moveTo>
                    <a:pt x="5683898" y="2501512"/>
                  </a:moveTo>
                  <a:lnTo>
                    <a:pt x="5719670" y="2537924"/>
                  </a:lnTo>
                  <a:cubicBezTo>
                    <a:pt x="5707713" y="2525688"/>
                    <a:pt x="5695656" y="2513152"/>
                    <a:pt x="5683898" y="2501512"/>
                  </a:cubicBezTo>
                  <a:close/>
                  <a:moveTo>
                    <a:pt x="5795100" y="2615226"/>
                  </a:moveTo>
                  <a:cubicBezTo>
                    <a:pt x="5790118" y="2609854"/>
                    <a:pt x="5785136" y="2604681"/>
                    <a:pt x="5779656" y="2599209"/>
                  </a:cubicBezTo>
                  <a:lnTo>
                    <a:pt x="5805762" y="2625772"/>
                  </a:lnTo>
                  <a:cubicBezTo>
                    <a:pt x="5801717" y="2622857"/>
                    <a:pt x="5798180" y="2619295"/>
                    <a:pt x="5795300" y="2615226"/>
                  </a:cubicBezTo>
                  <a:close/>
                  <a:moveTo>
                    <a:pt x="6067228" y="2214690"/>
                  </a:moveTo>
                  <a:cubicBezTo>
                    <a:pt x="6012923" y="2214690"/>
                    <a:pt x="5957620" y="2215784"/>
                    <a:pt x="5903912" y="2215784"/>
                  </a:cubicBezTo>
                  <a:cubicBezTo>
                    <a:pt x="5854090" y="2215784"/>
                    <a:pt x="5803770" y="2216381"/>
                    <a:pt x="5753748" y="2216381"/>
                  </a:cubicBezTo>
                  <a:cubicBezTo>
                    <a:pt x="5792909" y="2216381"/>
                    <a:pt x="5832168" y="2215884"/>
                    <a:pt x="5871030" y="2215486"/>
                  </a:cubicBezTo>
                  <a:cubicBezTo>
                    <a:pt x="5881891" y="2215486"/>
                    <a:pt x="5892951" y="2215486"/>
                    <a:pt x="5903912" y="2215486"/>
                  </a:cubicBezTo>
                  <a:cubicBezTo>
                    <a:pt x="5958317" y="2214690"/>
                    <a:pt x="6012723" y="2214690"/>
                    <a:pt x="6067228" y="2214690"/>
                  </a:cubicBezTo>
                  <a:close/>
                  <a:moveTo>
                    <a:pt x="5961905" y="1816740"/>
                  </a:moveTo>
                  <a:cubicBezTo>
                    <a:pt x="5958537" y="1816471"/>
                    <a:pt x="5955199" y="1815874"/>
                    <a:pt x="5951941" y="1814949"/>
                  </a:cubicBezTo>
                  <a:cubicBezTo>
                    <a:pt x="5949559" y="1814740"/>
                    <a:pt x="5947198" y="1814382"/>
                    <a:pt x="5944866" y="1813855"/>
                  </a:cubicBezTo>
                  <a:lnTo>
                    <a:pt x="5942375" y="1810671"/>
                  </a:lnTo>
                  <a:cubicBezTo>
                    <a:pt x="5940272" y="1809000"/>
                    <a:pt x="5938658" y="1806801"/>
                    <a:pt x="5937691" y="1804304"/>
                  </a:cubicBezTo>
                  <a:cubicBezTo>
                    <a:pt x="5938488" y="1805697"/>
                    <a:pt x="5939983" y="1807488"/>
                    <a:pt x="5942375" y="1810671"/>
                  </a:cubicBezTo>
                  <a:cubicBezTo>
                    <a:pt x="5945284" y="1812900"/>
                    <a:pt x="5948712" y="1814372"/>
                    <a:pt x="5952339" y="1814949"/>
                  </a:cubicBezTo>
                  <a:cubicBezTo>
                    <a:pt x="5955627" y="1815546"/>
                    <a:pt x="5959215" y="1815845"/>
                    <a:pt x="5962303" y="1816740"/>
                  </a:cubicBezTo>
                  <a:lnTo>
                    <a:pt x="5964097" y="1816740"/>
                  </a:lnTo>
                  <a:lnTo>
                    <a:pt x="5965492" y="1817536"/>
                  </a:lnTo>
                  <a:cubicBezTo>
                    <a:pt x="5964097" y="1816740"/>
                    <a:pt x="5962901" y="1816740"/>
                    <a:pt x="5961905" y="1816143"/>
                  </a:cubicBezTo>
                  <a:close/>
                  <a:moveTo>
                    <a:pt x="5965492" y="1817834"/>
                  </a:moveTo>
                  <a:cubicBezTo>
                    <a:pt x="5968382" y="1818710"/>
                    <a:pt x="5970654" y="1820938"/>
                    <a:pt x="5971570" y="1823804"/>
                  </a:cubicBezTo>
                  <a:cubicBezTo>
                    <a:pt x="5970445" y="1820928"/>
                    <a:pt x="5968272" y="1818580"/>
                    <a:pt x="5965492" y="1817237"/>
                  </a:cubicBezTo>
                  <a:close/>
                  <a:moveTo>
                    <a:pt x="5971670" y="1824003"/>
                  </a:moveTo>
                  <a:cubicBezTo>
                    <a:pt x="5972118" y="1825226"/>
                    <a:pt x="5972118" y="1826559"/>
                    <a:pt x="5971670" y="1827783"/>
                  </a:cubicBezTo>
                  <a:cubicBezTo>
                    <a:pt x="5971939" y="1826340"/>
                    <a:pt x="5971939" y="1824848"/>
                    <a:pt x="5971670" y="1823406"/>
                  </a:cubicBezTo>
                  <a:close/>
                  <a:moveTo>
                    <a:pt x="5975955" y="1829872"/>
                  </a:moveTo>
                  <a:cubicBezTo>
                    <a:pt x="5977748" y="1830569"/>
                    <a:pt x="5979741" y="1830768"/>
                    <a:pt x="5981535" y="1831464"/>
                  </a:cubicBezTo>
                  <a:cubicBezTo>
                    <a:pt x="5979602" y="1830927"/>
                    <a:pt x="5977738" y="1830191"/>
                    <a:pt x="5975955" y="1829275"/>
                  </a:cubicBezTo>
                  <a:close/>
                  <a:moveTo>
                    <a:pt x="5981933" y="1831663"/>
                  </a:moveTo>
                  <a:lnTo>
                    <a:pt x="5984624" y="1831663"/>
                  </a:lnTo>
                  <a:cubicBezTo>
                    <a:pt x="5984853" y="1832210"/>
                    <a:pt x="5985112" y="1832748"/>
                    <a:pt x="5985421" y="1833255"/>
                  </a:cubicBezTo>
                  <a:cubicBezTo>
                    <a:pt x="5984484" y="1832220"/>
                    <a:pt x="5983278" y="1831464"/>
                    <a:pt x="5981933" y="1831066"/>
                  </a:cubicBezTo>
                  <a:close/>
                  <a:moveTo>
                    <a:pt x="6000168" y="1857032"/>
                  </a:moveTo>
                  <a:cubicBezTo>
                    <a:pt x="5999192" y="1858047"/>
                    <a:pt x="5998354" y="1859181"/>
                    <a:pt x="5997677" y="1860415"/>
                  </a:cubicBezTo>
                  <a:cubicBezTo>
                    <a:pt x="5997677" y="1861211"/>
                    <a:pt x="5997677" y="1861907"/>
                    <a:pt x="5997677" y="1862703"/>
                  </a:cubicBezTo>
                  <a:lnTo>
                    <a:pt x="5997677" y="1860614"/>
                  </a:lnTo>
                  <a:cubicBezTo>
                    <a:pt x="5997677" y="1860614"/>
                    <a:pt x="5997677" y="1860614"/>
                    <a:pt x="5997677" y="1860614"/>
                  </a:cubicBezTo>
                  <a:lnTo>
                    <a:pt x="5997677" y="1859917"/>
                  </a:lnTo>
                  <a:cubicBezTo>
                    <a:pt x="5997677" y="1859917"/>
                    <a:pt x="5997677" y="1859917"/>
                    <a:pt x="5997677" y="1859321"/>
                  </a:cubicBezTo>
                  <a:cubicBezTo>
                    <a:pt x="5997677" y="1856535"/>
                    <a:pt x="5997677" y="1853749"/>
                    <a:pt x="5997677" y="1851163"/>
                  </a:cubicBezTo>
                  <a:cubicBezTo>
                    <a:pt x="5997199" y="1848496"/>
                    <a:pt x="5996102" y="1845979"/>
                    <a:pt x="5994488" y="1843801"/>
                  </a:cubicBezTo>
                  <a:cubicBezTo>
                    <a:pt x="5995684" y="1844796"/>
                    <a:pt x="5996781" y="1845890"/>
                    <a:pt x="5997777" y="1846885"/>
                  </a:cubicBezTo>
                  <a:cubicBezTo>
                    <a:pt x="5998773" y="1847880"/>
                    <a:pt x="5997777" y="1849670"/>
                    <a:pt x="5997777" y="1851163"/>
                  </a:cubicBezTo>
                  <a:cubicBezTo>
                    <a:pt x="5998345" y="1853849"/>
                    <a:pt x="5998345" y="1856635"/>
                    <a:pt x="5997777" y="1859321"/>
                  </a:cubicBezTo>
                  <a:lnTo>
                    <a:pt x="5997777" y="1859321"/>
                  </a:lnTo>
                  <a:lnTo>
                    <a:pt x="6000268" y="1856833"/>
                  </a:lnTo>
                  <a:cubicBezTo>
                    <a:pt x="6002072" y="1854734"/>
                    <a:pt x="6004045" y="1852764"/>
                    <a:pt x="6006147" y="1850964"/>
                  </a:cubicBezTo>
                  <a:close/>
                  <a:moveTo>
                    <a:pt x="6153421" y="1708398"/>
                  </a:moveTo>
                  <a:lnTo>
                    <a:pt x="6152225" y="1708398"/>
                  </a:lnTo>
                  <a:cubicBezTo>
                    <a:pt x="6152614" y="1708020"/>
                    <a:pt x="6153232" y="1708020"/>
                    <a:pt x="6153620" y="1708398"/>
                  </a:cubicBezTo>
                  <a:lnTo>
                    <a:pt x="6155214" y="1708398"/>
                  </a:lnTo>
                  <a:lnTo>
                    <a:pt x="6155214" y="1713671"/>
                  </a:lnTo>
                  <a:cubicBezTo>
                    <a:pt x="6155254" y="1711572"/>
                    <a:pt x="6154627" y="1709522"/>
                    <a:pt x="6153421" y="1707801"/>
                  </a:cubicBezTo>
                  <a:close/>
                  <a:moveTo>
                    <a:pt x="6157905" y="1764012"/>
                  </a:moveTo>
                  <a:cubicBezTo>
                    <a:pt x="6157277" y="1758898"/>
                    <a:pt x="6157018" y="1753745"/>
                    <a:pt x="6157108" y="1748591"/>
                  </a:cubicBezTo>
                  <a:cubicBezTo>
                    <a:pt x="6157407" y="1753068"/>
                    <a:pt x="6157705" y="1758142"/>
                    <a:pt x="6157905" y="1763415"/>
                  </a:cubicBezTo>
                  <a:close/>
                  <a:moveTo>
                    <a:pt x="6157905" y="1764012"/>
                  </a:moveTo>
                  <a:lnTo>
                    <a:pt x="6157905" y="1764012"/>
                  </a:lnTo>
                  <a:lnTo>
                    <a:pt x="6158503" y="1776050"/>
                  </a:lnTo>
                  <a:cubicBezTo>
                    <a:pt x="6158403" y="1771473"/>
                    <a:pt x="6158203" y="1767494"/>
                    <a:pt x="6157905" y="1763415"/>
                  </a:cubicBezTo>
                  <a:close/>
                  <a:moveTo>
                    <a:pt x="6193876" y="1913243"/>
                  </a:moveTo>
                  <a:lnTo>
                    <a:pt x="6195172" y="1913243"/>
                  </a:lnTo>
                  <a:cubicBezTo>
                    <a:pt x="6208025" y="1913243"/>
                    <a:pt x="6221278" y="1914238"/>
                    <a:pt x="6233734" y="1914238"/>
                  </a:cubicBezTo>
                  <a:cubicBezTo>
                    <a:pt x="6220880" y="1914238"/>
                    <a:pt x="6206631" y="1914238"/>
                    <a:pt x="6195172" y="1913243"/>
                  </a:cubicBezTo>
                  <a:lnTo>
                    <a:pt x="6183712" y="1913243"/>
                  </a:lnTo>
                  <a:cubicBezTo>
                    <a:pt x="6187071" y="1912726"/>
                    <a:pt x="6190478" y="1912556"/>
                    <a:pt x="6193876" y="1912745"/>
                  </a:cubicBezTo>
                  <a:close/>
                  <a:moveTo>
                    <a:pt x="6183912" y="1913243"/>
                  </a:moveTo>
                  <a:cubicBezTo>
                    <a:pt x="6180215" y="1913492"/>
                    <a:pt x="6176508" y="1913322"/>
                    <a:pt x="6172851" y="1912745"/>
                  </a:cubicBezTo>
                  <a:cubicBezTo>
                    <a:pt x="6170958" y="1912745"/>
                    <a:pt x="6169165" y="1912745"/>
                    <a:pt x="6167371" y="1912745"/>
                  </a:cubicBezTo>
                  <a:cubicBezTo>
                    <a:pt x="6167371" y="1911750"/>
                    <a:pt x="6167371" y="1910557"/>
                    <a:pt x="6167371" y="1909263"/>
                  </a:cubicBezTo>
                  <a:cubicBezTo>
                    <a:pt x="6165976" y="1906338"/>
                    <a:pt x="6165727" y="1903005"/>
                    <a:pt x="6166674" y="1899911"/>
                  </a:cubicBezTo>
                  <a:cubicBezTo>
                    <a:pt x="6166674" y="1898220"/>
                    <a:pt x="6166674" y="1896728"/>
                    <a:pt x="6166674" y="1894937"/>
                  </a:cubicBezTo>
                  <a:cubicBezTo>
                    <a:pt x="6166674" y="1899911"/>
                    <a:pt x="6167371" y="1904886"/>
                    <a:pt x="6167670" y="1909263"/>
                  </a:cubicBezTo>
                  <a:cubicBezTo>
                    <a:pt x="6169005" y="1911253"/>
                    <a:pt x="6171088" y="1912616"/>
                    <a:pt x="6173449" y="1913044"/>
                  </a:cubicBezTo>
                  <a:cubicBezTo>
                    <a:pt x="6176040" y="1912148"/>
                    <a:pt x="6179727" y="1912248"/>
                    <a:pt x="6183513" y="1912546"/>
                  </a:cubicBezTo>
                  <a:close/>
                  <a:moveTo>
                    <a:pt x="6174844" y="1691883"/>
                  </a:moveTo>
                  <a:cubicBezTo>
                    <a:pt x="6179577" y="1690112"/>
                    <a:pt x="6184669" y="1689496"/>
                    <a:pt x="6189691" y="1690093"/>
                  </a:cubicBezTo>
                  <a:cubicBezTo>
                    <a:pt x="6184589" y="1689416"/>
                    <a:pt x="6179398" y="1689794"/>
                    <a:pt x="6174445" y="1691187"/>
                  </a:cubicBezTo>
                  <a:close/>
                  <a:moveTo>
                    <a:pt x="6184809" y="1725311"/>
                  </a:moveTo>
                  <a:cubicBezTo>
                    <a:pt x="6185696" y="1727281"/>
                    <a:pt x="6186801" y="1729151"/>
                    <a:pt x="6188097" y="1730882"/>
                  </a:cubicBezTo>
                  <a:cubicBezTo>
                    <a:pt x="6186284" y="1729201"/>
                    <a:pt x="6184998" y="1727022"/>
                    <a:pt x="6184410" y="1724615"/>
                  </a:cubicBezTo>
                  <a:close/>
                  <a:moveTo>
                    <a:pt x="6205534" y="1693177"/>
                  </a:moveTo>
                  <a:lnTo>
                    <a:pt x="6205534" y="1693177"/>
                  </a:lnTo>
                  <a:cubicBezTo>
                    <a:pt x="6203572" y="1694380"/>
                    <a:pt x="6201848" y="1695922"/>
                    <a:pt x="6200453" y="1697753"/>
                  </a:cubicBezTo>
                  <a:cubicBezTo>
                    <a:pt x="6201011" y="1696818"/>
                    <a:pt x="6201718" y="1695972"/>
                    <a:pt x="6202545" y="1695266"/>
                  </a:cubicBezTo>
                  <a:cubicBezTo>
                    <a:pt x="6202087" y="1694778"/>
                    <a:pt x="6201549" y="1694370"/>
                    <a:pt x="6200951" y="1694072"/>
                  </a:cubicBezTo>
                  <a:cubicBezTo>
                    <a:pt x="6198988" y="1693604"/>
                    <a:pt x="6197194" y="1692609"/>
                    <a:pt x="6195769" y="1691187"/>
                  </a:cubicBezTo>
                  <a:cubicBezTo>
                    <a:pt x="6194006" y="1690490"/>
                    <a:pt x="6192162" y="1689993"/>
                    <a:pt x="6190289" y="1689694"/>
                  </a:cubicBezTo>
                  <a:cubicBezTo>
                    <a:pt x="6191734" y="1689794"/>
                    <a:pt x="6193159" y="1689993"/>
                    <a:pt x="6194574" y="1690291"/>
                  </a:cubicBezTo>
                  <a:lnTo>
                    <a:pt x="6195769" y="1691187"/>
                  </a:lnTo>
                  <a:cubicBezTo>
                    <a:pt x="6197623" y="1691893"/>
                    <a:pt x="6199377" y="1692868"/>
                    <a:pt x="6200951" y="1694072"/>
                  </a:cubicBezTo>
                  <a:cubicBezTo>
                    <a:pt x="6202675" y="1694132"/>
                    <a:pt x="6204369" y="1693674"/>
                    <a:pt x="6205834" y="1692779"/>
                  </a:cubicBezTo>
                  <a:cubicBezTo>
                    <a:pt x="6207199" y="1691207"/>
                    <a:pt x="6208952" y="1690003"/>
                    <a:pt x="6210916" y="1689297"/>
                  </a:cubicBezTo>
                  <a:cubicBezTo>
                    <a:pt x="6209112" y="1690560"/>
                    <a:pt x="6207169" y="1691625"/>
                    <a:pt x="6205136" y="1692480"/>
                  </a:cubicBezTo>
                  <a:close/>
                  <a:moveTo>
                    <a:pt x="6210916" y="1689496"/>
                  </a:moveTo>
                  <a:lnTo>
                    <a:pt x="6212211" y="1688600"/>
                  </a:lnTo>
                  <a:lnTo>
                    <a:pt x="6216196" y="1687904"/>
                  </a:lnTo>
                  <a:cubicBezTo>
                    <a:pt x="6214284" y="1688083"/>
                    <a:pt x="6212390" y="1688381"/>
                    <a:pt x="6210517" y="1688799"/>
                  </a:cubicBezTo>
                  <a:close/>
                  <a:moveTo>
                    <a:pt x="6219385" y="1687307"/>
                  </a:moveTo>
                  <a:cubicBezTo>
                    <a:pt x="6222385" y="1686700"/>
                    <a:pt x="6225324" y="1685805"/>
                    <a:pt x="6228154" y="1684621"/>
                  </a:cubicBezTo>
                  <a:cubicBezTo>
                    <a:pt x="6225214" y="1685745"/>
                    <a:pt x="6222126" y="1686411"/>
                    <a:pt x="6218987" y="1686610"/>
                  </a:cubicBezTo>
                  <a:close/>
                  <a:moveTo>
                    <a:pt x="6238118" y="1679646"/>
                  </a:moveTo>
                  <a:cubicBezTo>
                    <a:pt x="6237700" y="1679985"/>
                    <a:pt x="6237231" y="1680253"/>
                    <a:pt x="6236723" y="1680442"/>
                  </a:cubicBezTo>
                  <a:cubicBezTo>
                    <a:pt x="6235418" y="1681646"/>
                    <a:pt x="6233843" y="1682531"/>
                    <a:pt x="6232140" y="1683029"/>
                  </a:cubicBezTo>
                  <a:cubicBezTo>
                    <a:pt x="6233724" y="1682263"/>
                    <a:pt x="6235248" y="1681397"/>
                    <a:pt x="6236723" y="1680442"/>
                  </a:cubicBezTo>
                  <a:cubicBezTo>
                    <a:pt x="6238417" y="1678651"/>
                    <a:pt x="6237520" y="1677060"/>
                    <a:pt x="6238218" y="1673578"/>
                  </a:cubicBezTo>
                  <a:cubicBezTo>
                    <a:pt x="6237899" y="1675348"/>
                    <a:pt x="6237730" y="1677149"/>
                    <a:pt x="6237720" y="1678950"/>
                  </a:cubicBezTo>
                  <a:close/>
                  <a:moveTo>
                    <a:pt x="6238118" y="1673379"/>
                  </a:moveTo>
                  <a:cubicBezTo>
                    <a:pt x="6238168" y="1671648"/>
                    <a:pt x="6238846" y="1669986"/>
                    <a:pt x="6240011" y="1668703"/>
                  </a:cubicBezTo>
                  <a:cubicBezTo>
                    <a:pt x="6239134" y="1669936"/>
                    <a:pt x="6238397" y="1671279"/>
                    <a:pt x="6237820" y="1672682"/>
                  </a:cubicBezTo>
                  <a:close/>
                  <a:moveTo>
                    <a:pt x="6292823" y="1437892"/>
                  </a:moveTo>
                  <a:cubicBezTo>
                    <a:pt x="6291827" y="1433475"/>
                    <a:pt x="6289196" y="1429605"/>
                    <a:pt x="6285449" y="1427048"/>
                  </a:cubicBezTo>
                  <a:cubicBezTo>
                    <a:pt x="6283636" y="1426799"/>
                    <a:pt x="6281832" y="1426431"/>
                    <a:pt x="6280069" y="1425953"/>
                  </a:cubicBezTo>
                  <a:lnTo>
                    <a:pt x="6280069" y="1425953"/>
                  </a:lnTo>
                  <a:cubicBezTo>
                    <a:pt x="6276621" y="1425157"/>
                    <a:pt x="6273273" y="1423954"/>
                    <a:pt x="6270104" y="1422372"/>
                  </a:cubicBezTo>
                  <a:cubicBezTo>
                    <a:pt x="6272794" y="1423367"/>
                    <a:pt x="6276581" y="1424958"/>
                    <a:pt x="6280069" y="1425953"/>
                  </a:cubicBezTo>
                  <a:cubicBezTo>
                    <a:pt x="6281932" y="1425774"/>
                    <a:pt x="6283805" y="1426152"/>
                    <a:pt x="6285449" y="1427048"/>
                  </a:cubicBezTo>
                  <a:lnTo>
                    <a:pt x="6287840" y="1427048"/>
                  </a:lnTo>
                  <a:cubicBezTo>
                    <a:pt x="6291786" y="1433843"/>
                    <a:pt x="6297038" y="1439792"/>
                    <a:pt x="6303285" y="1444557"/>
                  </a:cubicBezTo>
                  <a:cubicBezTo>
                    <a:pt x="6299400" y="1441573"/>
                    <a:pt x="6295912" y="1439484"/>
                    <a:pt x="6292524" y="1437196"/>
                  </a:cubicBezTo>
                  <a:close/>
                  <a:moveTo>
                    <a:pt x="6360780" y="1557277"/>
                  </a:moveTo>
                  <a:cubicBezTo>
                    <a:pt x="6362982" y="1556401"/>
                    <a:pt x="6365294" y="1555834"/>
                    <a:pt x="6367656" y="1555585"/>
                  </a:cubicBezTo>
                  <a:cubicBezTo>
                    <a:pt x="6365264" y="1555287"/>
                    <a:pt x="6362873" y="1555685"/>
                    <a:pt x="6360481" y="1556282"/>
                  </a:cubicBezTo>
                  <a:close/>
                  <a:moveTo>
                    <a:pt x="6371542" y="1553596"/>
                  </a:moveTo>
                  <a:cubicBezTo>
                    <a:pt x="6371542" y="1553596"/>
                    <a:pt x="6371044" y="1554193"/>
                    <a:pt x="6370744" y="1554193"/>
                  </a:cubicBezTo>
                  <a:cubicBezTo>
                    <a:pt x="6370396" y="1554700"/>
                    <a:pt x="6369997" y="1555168"/>
                    <a:pt x="6369549" y="1555585"/>
                  </a:cubicBezTo>
                  <a:cubicBezTo>
                    <a:pt x="6368981" y="1555536"/>
                    <a:pt x="6368423" y="1555536"/>
                    <a:pt x="6367855" y="1555585"/>
                  </a:cubicBezTo>
                  <a:cubicBezTo>
                    <a:pt x="6368921" y="1555386"/>
                    <a:pt x="6369928" y="1554909"/>
                    <a:pt x="6370744" y="1554193"/>
                  </a:cubicBezTo>
                  <a:cubicBezTo>
                    <a:pt x="6371342" y="1553556"/>
                    <a:pt x="6371881" y="1552850"/>
                    <a:pt x="6372339" y="1552103"/>
                  </a:cubicBezTo>
                  <a:cubicBezTo>
                    <a:pt x="6372050" y="1552282"/>
                    <a:pt x="6371751" y="1552452"/>
                    <a:pt x="6371442" y="1552601"/>
                  </a:cubicBezTo>
                  <a:close/>
                  <a:moveTo>
                    <a:pt x="6375527" y="1547626"/>
                  </a:moveTo>
                  <a:cubicBezTo>
                    <a:pt x="6374690" y="1549099"/>
                    <a:pt x="6373724" y="1550502"/>
                    <a:pt x="6372638" y="1551805"/>
                  </a:cubicBezTo>
                  <a:cubicBezTo>
                    <a:pt x="6374481" y="1548582"/>
                    <a:pt x="6376145" y="1545259"/>
                    <a:pt x="6377620" y="1541856"/>
                  </a:cubicBezTo>
                  <a:close/>
                  <a:moveTo>
                    <a:pt x="6387485" y="1521859"/>
                  </a:moveTo>
                  <a:cubicBezTo>
                    <a:pt x="6386089" y="1524346"/>
                    <a:pt x="6384695" y="1526933"/>
                    <a:pt x="6383399" y="1529719"/>
                  </a:cubicBezTo>
                  <a:cubicBezTo>
                    <a:pt x="6386239" y="1523869"/>
                    <a:pt x="6388730" y="1517850"/>
                    <a:pt x="6390873" y="1511711"/>
                  </a:cubicBezTo>
                  <a:cubicBezTo>
                    <a:pt x="6389777" y="1513502"/>
                    <a:pt x="6388581" y="1516785"/>
                    <a:pt x="6387186" y="1520864"/>
                  </a:cubicBezTo>
                  <a:close/>
                  <a:moveTo>
                    <a:pt x="6770018" y="1107494"/>
                  </a:moveTo>
                  <a:cubicBezTo>
                    <a:pt x="6767338" y="1104340"/>
                    <a:pt x="6764877" y="1101018"/>
                    <a:pt x="6762645" y="1097545"/>
                  </a:cubicBezTo>
                  <a:cubicBezTo>
                    <a:pt x="6765136" y="1100928"/>
                    <a:pt x="6767627" y="1104311"/>
                    <a:pt x="6770018" y="1107494"/>
                  </a:cubicBezTo>
                  <a:close/>
                  <a:moveTo>
                    <a:pt x="6762545" y="1097545"/>
                  </a:moveTo>
                  <a:lnTo>
                    <a:pt x="6759854" y="1094660"/>
                  </a:lnTo>
                  <a:cubicBezTo>
                    <a:pt x="6760134" y="1093854"/>
                    <a:pt x="6760333" y="1093019"/>
                    <a:pt x="6760452" y="1092173"/>
                  </a:cubicBezTo>
                  <a:cubicBezTo>
                    <a:pt x="6760143" y="1089855"/>
                    <a:pt x="6760522" y="1087507"/>
                    <a:pt x="6761549" y="1085408"/>
                  </a:cubicBezTo>
                  <a:cubicBezTo>
                    <a:pt x="6761389" y="1087686"/>
                    <a:pt x="6761020" y="1089955"/>
                    <a:pt x="6760452" y="1092173"/>
                  </a:cubicBezTo>
                  <a:cubicBezTo>
                    <a:pt x="6760772" y="1094183"/>
                    <a:pt x="6761479" y="1096113"/>
                    <a:pt x="6762545" y="1097844"/>
                  </a:cubicBezTo>
                  <a:close/>
                  <a:moveTo>
                    <a:pt x="6734645" y="1195341"/>
                  </a:moveTo>
                  <a:cubicBezTo>
                    <a:pt x="6733758" y="1198197"/>
                    <a:pt x="6733758" y="1201241"/>
                    <a:pt x="6734645" y="1204096"/>
                  </a:cubicBezTo>
                  <a:cubicBezTo>
                    <a:pt x="6733778" y="1201341"/>
                    <a:pt x="6733778" y="1198396"/>
                    <a:pt x="6734645" y="1195640"/>
                  </a:cubicBezTo>
                  <a:close/>
                  <a:moveTo>
                    <a:pt x="6695983" y="1210265"/>
                  </a:moveTo>
                  <a:lnTo>
                    <a:pt x="6665592" y="1209071"/>
                  </a:lnTo>
                  <a:lnTo>
                    <a:pt x="6656225" y="1209071"/>
                  </a:lnTo>
                  <a:lnTo>
                    <a:pt x="6616367" y="1207180"/>
                  </a:lnTo>
                  <a:cubicBezTo>
                    <a:pt x="6624438" y="1207180"/>
                    <a:pt x="6632310" y="1207877"/>
                    <a:pt x="6639883" y="1208076"/>
                  </a:cubicBezTo>
                  <a:lnTo>
                    <a:pt x="6665193" y="1209071"/>
                  </a:lnTo>
                  <a:cubicBezTo>
                    <a:pt x="6674759" y="1209867"/>
                    <a:pt x="6685620" y="1209867"/>
                    <a:pt x="6695983" y="1210563"/>
                  </a:cubicBezTo>
                  <a:close/>
                  <a:moveTo>
                    <a:pt x="6574517" y="1160123"/>
                  </a:moveTo>
                  <a:cubicBezTo>
                    <a:pt x="6574905" y="1159566"/>
                    <a:pt x="6575115" y="1158909"/>
                    <a:pt x="6575115" y="1158233"/>
                  </a:cubicBezTo>
                  <a:cubicBezTo>
                    <a:pt x="6575035" y="1158531"/>
                    <a:pt x="6575035" y="1158830"/>
                    <a:pt x="6575115" y="1159128"/>
                  </a:cubicBezTo>
                  <a:close/>
                  <a:moveTo>
                    <a:pt x="6579997" y="1109384"/>
                  </a:moveTo>
                  <a:cubicBezTo>
                    <a:pt x="6580535" y="1107375"/>
                    <a:pt x="6580844" y="1105295"/>
                    <a:pt x="6580894" y="1103216"/>
                  </a:cubicBezTo>
                  <a:lnTo>
                    <a:pt x="6581492" y="1104410"/>
                  </a:lnTo>
                  <a:cubicBezTo>
                    <a:pt x="6580695" y="1105504"/>
                    <a:pt x="6580695" y="1107096"/>
                    <a:pt x="6579997" y="1108887"/>
                  </a:cubicBezTo>
                  <a:close/>
                  <a:moveTo>
                    <a:pt x="6685719" y="887826"/>
                  </a:moveTo>
                  <a:cubicBezTo>
                    <a:pt x="6683627" y="890960"/>
                    <a:pt x="6683039" y="894860"/>
                    <a:pt x="6684125" y="898471"/>
                  </a:cubicBezTo>
                  <a:cubicBezTo>
                    <a:pt x="6682461" y="894760"/>
                    <a:pt x="6683079" y="890423"/>
                    <a:pt x="6685719" y="887328"/>
                  </a:cubicBezTo>
                  <a:close/>
                  <a:moveTo>
                    <a:pt x="6688709" y="881160"/>
                  </a:moveTo>
                  <a:cubicBezTo>
                    <a:pt x="6688808" y="882314"/>
                    <a:pt x="6688808" y="883488"/>
                    <a:pt x="6688709" y="884642"/>
                  </a:cubicBezTo>
                  <a:cubicBezTo>
                    <a:pt x="6687613" y="885299"/>
                    <a:pt x="6686636" y="886144"/>
                    <a:pt x="6685819" y="887129"/>
                  </a:cubicBezTo>
                  <a:cubicBezTo>
                    <a:pt x="6687094" y="885359"/>
                    <a:pt x="6687942" y="883309"/>
                    <a:pt x="6688310" y="881160"/>
                  </a:cubicBezTo>
                  <a:cubicBezTo>
                    <a:pt x="6687364" y="877310"/>
                    <a:pt x="6685928" y="873599"/>
                    <a:pt x="6684025" y="870117"/>
                  </a:cubicBezTo>
                  <a:cubicBezTo>
                    <a:pt x="6686895" y="872893"/>
                    <a:pt x="6688569" y="876673"/>
                    <a:pt x="6688709" y="880663"/>
                  </a:cubicBezTo>
                  <a:close/>
                  <a:moveTo>
                    <a:pt x="6684325" y="869819"/>
                  </a:moveTo>
                  <a:lnTo>
                    <a:pt x="6684325" y="869819"/>
                  </a:lnTo>
                  <a:lnTo>
                    <a:pt x="6683129" y="866933"/>
                  </a:lnTo>
                  <a:close/>
                  <a:moveTo>
                    <a:pt x="6661207" y="916379"/>
                  </a:moveTo>
                  <a:lnTo>
                    <a:pt x="6661207" y="916379"/>
                  </a:lnTo>
                  <a:cubicBezTo>
                    <a:pt x="6663230" y="915155"/>
                    <a:pt x="6665362" y="914120"/>
                    <a:pt x="6667584" y="913295"/>
                  </a:cubicBezTo>
                  <a:cubicBezTo>
                    <a:pt x="6669159" y="912101"/>
                    <a:pt x="6670633" y="910768"/>
                    <a:pt x="6671968" y="909315"/>
                  </a:cubicBezTo>
                  <a:cubicBezTo>
                    <a:pt x="6674619" y="906102"/>
                    <a:pt x="6677588" y="903167"/>
                    <a:pt x="6680837" y="900560"/>
                  </a:cubicBezTo>
                  <a:cubicBezTo>
                    <a:pt x="6677748" y="903047"/>
                    <a:pt x="6674958" y="906430"/>
                    <a:pt x="6671968" y="909315"/>
                  </a:cubicBezTo>
                  <a:cubicBezTo>
                    <a:pt x="6671211" y="910300"/>
                    <a:pt x="6670514" y="911335"/>
                    <a:pt x="6669876" y="912399"/>
                  </a:cubicBezTo>
                  <a:lnTo>
                    <a:pt x="6667584" y="913295"/>
                  </a:lnTo>
                  <a:cubicBezTo>
                    <a:pt x="6665681" y="914737"/>
                    <a:pt x="6663519" y="915782"/>
                    <a:pt x="6661207" y="916379"/>
                  </a:cubicBezTo>
                  <a:cubicBezTo>
                    <a:pt x="6659533" y="917324"/>
                    <a:pt x="6658048" y="918577"/>
                    <a:pt x="6656823" y="920060"/>
                  </a:cubicBezTo>
                  <a:cubicBezTo>
                    <a:pt x="6658218" y="917175"/>
                    <a:pt x="6659414" y="915185"/>
                    <a:pt x="6661207" y="915881"/>
                  </a:cubicBezTo>
                  <a:close/>
                  <a:moveTo>
                    <a:pt x="6657022" y="920159"/>
                  </a:moveTo>
                  <a:cubicBezTo>
                    <a:pt x="6656464" y="921791"/>
                    <a:pt x="6655617" y="923303"/>
                    <a:pt x="6654531" y="924636"/>
                  </a:cubicBezTo>
                  <a:cubicBezTo>
                    <a:pt x="6654919" y="922796"/>
                    <a:pt x="6655776" y="921075"/>
                    <a:pt x="6657022" y="919662"/>
                  </a:cubicBezTo>
                  <a:close/>
                  <a:moveTo>
                    <a:pt x="6652239" y="925333"/>
                  </a:moveTo>
                  <a:cubicBezTo>
                    <a:pt x="6653056" y="925661"/>
                    <a:pt x="6653983" y="925412"/>
                    <a:pt x="6654531" y="924736"/>
                  </a:cubicBezTo>
                  <a:lnTo>
                    <a:pt x="6654531" y="925333"/>
                  </a:lnTo>
                  <a:cubicBezTo>
                    <a:pt x="6652787" y="925910"/>
                    <a:pt x="6650984" y="926278"/>
                    <a:pt x="6649150" y="926427"/>
                  </a:cubicBezTo>
                  <a:cubicBezTo>
                    <a:pt x="6650246" y="926029"/>
                    <a:pt x="6651282" y="925502"/>
                    <a:pt x="6652239" y="924835"/>
                  </a:cubicBezTo>
                  <a:close/>
                  <a:moveTo>
                    <a:pt x="6648652" y="926427"/>
                  </a:moveTo>
                  <a:cubicBezTo>
                    <a:pt x="6644566" y="927521"/>
                    <a:pt x="6639983" y="927621"/>
                    <a:pt x="6635897" y="928317"/>
                  </a:cubicBezTo>
                  <a:cubicBezTo>
                    <a:pt x="6640102" y="927273"/>
                    <a:pt x="6644357" y="926477"/>
                    <a:pt x="6648652" y="925930"/>
                  </a:cubicBezTo>
                  <a:close/>
                  <a:moveTo>
                    <a:pt x="6632410" y="929412"/>
                  </a:moveTo>
                  <a:cubicBezTo>
                    <a:pt x="6629550" y="930665"/>
                    <a:pt x="6627099" y="932705"/>
                    <a:pt x="6625335" y="935281"/>
                  </a:cubicBezTo>
                  <a:cubicBezTo>
                    <a:pt x="6626869" y="932386"/>
                    <a:pt x="6629371" y="930138"/>
                    <a:pt x="6632410" y="928914"/>
                  </a:cubicBezTo>
                  <a:close/>
                  <a:moveTo>
                    <a:pt x="6619357" y="984826"/>
                  </a:moveTo>
                  <a:cubicBezTo>
                    <a:pt x="6620851" y="981642"/>
                    <a:pt x="6623043" y="978459"/>
                    <a:pt x="6624837" y="974877"/>
                  </a:cubicBezTo>
                  <a:cubicBezTo>
                    <a:pt x="6623143" y="978260"/>
                    <a:pt x="6621150" y="981642"/>
                    <a:pt x="6619357" y="984826"/>
                  </a:cubicBezTo>
                  <a:cubicBezTo>
                    <a:pt x="6618589" y="986249"/>
                    <a:pt x="6618091" y="987801"/>
                    <a:pt x="6617862" y="989402"/>
                  </a:cubicBezTo>
                  <a:cubicBezTo>
                    <a:pt x="6618220" y="990736"/>
                    <a:pt x="6618220" y="992148"/>
                    <a:pt x="6617862" y="993481"/>
                  </a:cubicBezTo>
                  <a:cubicBezTo>
                    <a:pt x="6617513" y="992148"/>
                    <a:pt x="6617513" y="990736"/>
                    <a:pt x="6617862" y="989402"/>
                  </a:cubicBezTo>
                  <a:cubicBezTo>
                    <a:pt x="6617782" y="988915"/>
                    <a:pt x="6617613" y="988437"/>
                    <a:pt x="6617364" y="988010"/>
                  </a:cubicBezTo>
                  <a:cubicBezTo>
                    <a:pt x="6618101" y="986826"/>
                    <a:pt x="6618759" y="985592"/>
                    <a:pt x="6619357" y="984329"/>
                  </a:cubicBezTo>
                  <a:close/>
                  <a:moveTo>
                    <a:pt x="6617961" y="993581"/>
                  </a:moveTo>
                  <a:cubicBezTo>
                    <a:pt x="6617922" y="994049"/>
                    <a:pt x="6617922" y="994506"/>
                    <a:pt x="6617961" y="994974"/>
                  </a:cubicBezTo>
                  <a:cubicBezTo>
                    <a:pt x="6617364" y="995670"/>
                    <a:pt x="6616865" y="996566"/>
                    <a:pt x="6616367" y="997262"/>
                  </a:cubicBezTo>
                  <a:cubicBezTo>
                    <a:pt x="6617015" y="995919"/>
                    <a:pt x="6617553" y="994516"/>
                    <a:pt x="6617961" y="993084"/>
                  </a:cubicBezTo>
                  <a:close/>
                  <a:moveTo>
                    <a:pt x="6609592" y="1014672"/>
                  </a:moveTo>
                  <a:cubicBezTo>
                    <a:pt x="6610000" y="1012802"/>
                    <a:pt x="6610269" y="1010912"/>
                    <a:pt x="6610388" y="1009002"/>
                  </a:cubicBezTo>
                  <a:lnTo>
                    <a:pt x="6613278" y="1004127"/>
                  </a:lnTo>
                  <a:cubicBezTo>
                    <a:pt x="6614225" y="1001789"/>
                    <a:pt x="6615361" y="999520"/>
                    <a:pt x="6616666" y="997361"/>
                  </a:cubicBezTo>
                  <a:cubicBezTo>
                    <a:pt x="6615799" y="999739"/>
                    <a:pt x="6614663" y="1002008"/>
                    <a:pt x="6613278" y="1004127"/>
                  </a:cubicBezTo>
                  <a:cubicBezTo>
                    <a:pt x="6611883" y="1007509"/>
                    <a:pt x="6610787" y="1011091"/>
                    <a:pt x="6609592" y="1014672"/>
                  </a:cubicBezTo>
                  <a:cubicBezTo>
                    <a:pt x="6608695" y="1019040"/>
                    <a:pt x="6606891" y="1023168"/>
                    <a:pt x="6604310" y="1026810"/>
                  </a:cubicBezTo>
                  <a:cubicBezTo>
                    <a:pt x="6606522" y="1022800"/>
                    <a:pt x="6608286" y="1018562"/>
                    <a:pt x="6609592" y="1014175"/>
                  </a:cubicBezTo>
                  <a:close/>
                  <a:moveTo>
                    <a:pt x="6601421" y="1030789"/>
                  </a:moveTo>
                  <a:cubicBezTo>
                    <a:pt x="6599807" y="1032849"/>
                    <a:pt x="6597764" y="1034550"/>
                    <a:pt x="6595442" y="1035764"/>
                  </a:cubicBezTo>
                  <a:cubicBezTo>
                    <a:pt x="6597654" y="1034391"/>
                    <a:pt x="6599667" y="1032709"/>
                    <a:pt x="6601421" y="1030789"/>
                  </a:cubicBezTo>
                  <a:close/>
                  <a:moveTo>
                    <a:pt x="6580097" y="1094362"/>
                  </a:moveTo>
                  <a:cubicBezTo>
                    <a:pt x="6580276" y="1091367"/>
                    <a:pt x="6580735" y="1088402"/>
                    <a:pt x="6581492" y="1085507"/>
                  </a:cubicBezTo>
                  <a:lnTo>
                    <a:pt x="6581492" y="1084314"/>
                  </a:lnTo>
                  <a:cubicBezTo>
                    <a:pt x="6582090" y="1080732"/>
                    <a:pt x="6582588" y="1077051"/>
                    <a:pt x="6582986" y="1073668"/>
                  </a:cubicBezTo>
                  <a:cubicBezTo>
                    <a:pt x="6582757" y="1077250"/>
                    <a:pt x="6582259" y="1080812"/>
                    <a:pt x="6581492" y="1084314"/>
                  </a:cubicBezTo>
                  <a:cubicBezTo>
                    <a:pt x="6580994" y="1087696"/>
                    <a:pt x="6580296" y="1091178"/>
                    <a:pt x="6579798" y="1094262"/>
                  </a:cubicBezTo>
                  <a:cubicBezTo>
                    <a:pt x="6579698" y="1095755"/>
                    <a:pt x="6579698" y="1097247"/>
                    <a:pt x="6579798" y="1098739"/>
                  </a:cubicBezTo>
                  <a:cubicBezTo>
                    <a:pt x="6580356" y="1100092"/>
                    <a:pt x="6580625" y="1101555"/>
                    <a:pt x="6580595" y="1103017"/>
                  </a:cubicBezTo>
                  <a:cubicBezTo>
                    <a:pt x="6580097" y="1101644"/>
                    <a:pt x="6579828" y="1100202"/>
                    <a:pt x="6579798" y="1098739"/>
                  </a:cubicBezTo>
                  <a:cubicBezTo>
                    <a:pt x="6579638" y="1098262"/>
                    <a:pt x="6579439" y="1097794"/>
                    <a:pt x="6579200" y="1097346"/>
                  </a:cubicBezTo>
                  <a:close/>
                  <a:moveTo>
                    <a:pt x="6577805" y="1117443"/>
                  </a:moveTo>
                  <a:lnTo>
                    <a:pt x="6577805" y="1119333"/>
                  </a:lnTo>
                  <a:lnTo>
                    <a:pt x="6577207" y="1121024"/>
                  </a:lnTo>
                  <a:close/>
                  <a:moveTo>
                    <a:pt x="6574517" y="1132266"/>
                  </a:moveTo>
                  <a:cubicBezTo>
                    <a:pt x="6574517" y="1130874"/>
                    <a:pt x="6575115" y="1129182"/>
                    <a:pt x="6575413" y="1127690"/>
                  </a:cubicBezTo>
                  <a:cubicBezTo>
                    <a:pt x="6575035" y="1130993"/>
                    <a:pt x="6575035" y="1134336"/>
                    <a:pt x="6575413" y="1137639"/>
                  </a:cubicBezTo>
                  <a:cubicBezTo>
                    <a:pt x="6574896" y="1135719"/>
                    <a:pt x="6574587" y="1133749"/>
                    <a:pt x="6574517" y="1131769"/>
                  </a:cubicBezTo>
                  <a:close/>
                  <a:moveTo>
                    <a:pt x="6574517" y="1150373"/>
                  </a:moveTo>
                  <a:cubicBezTo>
                    <a:pt x="6574118" y="1152144"/>
                    <a:pt x="6574118" y="1153975"/>
                    <a:pt x="6574517" y="1155745"/>
                  </a:cubicBezTo>
                  <a:cubicBezTo>
                    <a:pt x="6574905" y="1156303"/>
                    <a:pt x="6575115" y="1156959"/>
                    <a:pt x="6575115" y="1157636"/>
                  </a:cubicBezTo>
                  <a:cubicBezTo>
                    <a:pt x="6574646" y="1156959"/>
                    <a:pt x="6574377" y="1156163"/>
                    <a:pt x="6574317" y="1155348"/>
                  </a:cubicBezTo>
                  <a:cubicBezTo>
                    <a:pt x="6573699" y="1153666"/>
                    <a:pt x="6573739" y="1151826"/>
                    <a:pt x="6574417" y="1150174"/>
                  </a:cubicBezTo>
                  <a:close/>
                  <a:moveTo>
                    <a:pt x="6574517" y="1160322"/>
                  </a:moveTo>
                  <a:cubicBezTo>
                    <a:pt x="6573191" y="1162272"/>
                    <a:pt x="6571408" y="1163874"/>
                    <a:pt x="6569335" y="1164998"/>
                  </a:cubicBezTo>
                  <a:cubicBezTo>
                    <a:pt x="6571119" y="1163466"/>
                    <a:pt x="6572813" y="1161834"/>
                    <a:pt x="6574417" y="1160123"/>
                  </a:cubicBezTo>
                  <a:close/>
                  <a:moveTo>
                    <a:pt x="6569036" y="1165097"/>
                  </a:moveTo>
                  <a:cubicBezTo>
                    <a:pt x="6567801" y="1166162"/>
                    <a:pt x="6566276" y="1166858"/>
                    <a:pt x="6564652" y="1167087"/>
                  </a:cubicBezTo>
                  <a:cubicBezTo>
                    <a:pt x="6564811" y="1168609"/>
                    <a:pt x="6564811" y="1170141"/>
                    <a:pt x="6564652" y="1171664"/>
                  </a:cubicBezTo>
                  <a:cubicBezTo>
                    <a:pt x="6564752" y="1170141"/>
                    <a:pt x="6564752" y="1168609"/>
                    <a:pt x="6564652" y="1167087"/>
                  </a:cubicBezTo>
                  <a:cubicBezTo>
                    <a:pt x="6566207" y="1166490"/>
                    <a:pt x="6567651" y="1165644"/>
                    <a:pt x="6568937" y="1164600"/>
                  </a:cubicBezTo>
                  <a:close/>
                  <a:moveTo>
                    <a:pt x="6563954" y="1191859"/>
                  </a:moveTo>
                  <a:cubicBezTo>
                    <a:pt x="6562360" y="1189482"/>
                    <a:pt x="6561563" y="1186656"/>
                    <a:pt x="6561663" y="1183801"/>
                  </a:cubicBezTo>
                  <a:cubicBezTo>
                    <a:pt x="6561792" y="1186457"/>
                    <a:pt x="6562539" y="1189044"/>
                    <a:pt x="6563855" y="1191362"/>
                  </a:cubicBezTo>
                  <a:close/>
                  <a:moveTo>
                    <a:pt x="6563954" y="1206086"/>
                  </a:moveTo>
                  <a:lnTo>
                    <a:pt x="6573919" y="1206086"/>
                  </a:lnTo>
                  <a:cubicBezTo>
                    <a:pt x="6573690" y="1205061"/>
                    <a:pt x="6573291" y="1204087"/>
                    <a:pt x="6572723" y="1203201"/>
                  </a:cubicBezTo>
                  <a:cubicBezTo>
                    <a:pt x="6573490" y="1204126"/>
                    <a:pt x="6574158" y="1205121"/>
                    <a:pt x="6574716" y="1206186"/>
                  </a:cubicBezTo>
                  <a:lnTo>
                    <a:pt x="6573919" y="1206186"/>
                  </a:lnTo>
                  <a:cubicBezTo>
                    <a:pt x="6573949" y="1206414"/>
                    <a:pt x="6573949" y="1206653"/>
                    <a:pt x="6573919" y="1206882"/>
                  </a:cubicBezTo>
                  <a:cubicBezTo>
                    <a:pt x="6570610" y="1206444"/>
                    <a:pt x="6567282" y="1206186"/>
                    <a:pt x="6563954" y="1206086"/>
                  </a:cubicBezTo>
                  <a:cubicBezTo>
                    <a:pt x="6555484" y="1206086"/>
                    <a:pt x="6546915" y="1205489"/>
                    <a:pt x="6538446" y="1205191"/>
                  </a:cubicBezTo>
                  <a:cubicBezTo>
                    <a:pt x="6546915" y="1204793"/>
                    <a:pt x="6555684" y="1204992"/>
                    <a:pt x="6563556" y="1205589"/>
                  </a:cubicBezTo>
                  <a:close/>
                  <a:moveTo>
                    <a:pt x="6534061" y="1205091"/>
                  </a:moveTo>
                  <a:cubicBezTo>
                    <a:pt x="6526289" y="1205091"/>
                    <a:pt x="6518517" y="1205091"/>
                    <a:pt x="6511641" y="1204494"/>
                  </a:cubicBezTo>
                  <a:close/>
                  <a:moveTo>
                    <a:pt x="6488723" y="1203897"/>
                  </a:moveTo>
                  <a:lnTo>
                    <a:pt x="6491214" y="1203897"/>
                  </a:lnTo>
                  <a:cubicBezTo>
                    <a:pt x="6495359" y="1203649"/>
                    <a:pt x="6499525" y="1203649"/>
                    <a:pt x="6503670" y="1203897"/>
                  </a:cubicBezTo>
                  <a:cubicBezTo>
                    <a:pt x="6505623" y="1204166"/>
                    <a:pt x="6507586" y="1204335"/>
                    <a:pt x="6509549" y="1204395"/>
                  </a:cubicBezTo>
                  <a:lnTo>
                    <a:pt x="6491214" y="1204395"/>
                  </a:lnTo>
                  <a:cubicBezTo>
                    <a:pt x="6486850" y="1204853"/>
                    <a:pt x="6482435" y="1204584"/>
                    <a:pt x="6478161" y="1203599"/>
                  </a:cubicBezTo>
                  <a:cubicBezTo>
                    <a:pt x="6481290" y="1202574"/>
                    <a:pt x="6484658" y="1202505"/>
                    <a:pt x="6487826" y="1203400"/>
                  </a:cubicBezTo>
                  <a:close/>
                  <a:moveTo>
                    <a:pt x="6458830" y="1011091"/>
                  </a:moveTo>
                  <a:cubicBezTo>
                    <a:pt x="6458581" y="1013807"/>
                    <a:pt x="6458581" y="1016533"/>
                    <a:pt x="6458830" y="1019249"/>
                  </a:cubicBezTo>
                  <a:cubicBezTo>
                    <a:pt x="6458232" y="1016563"/>
                    <a:pt x="6458232" y="1013777"/>
                    <a:pt x="6458830" y="1011091"/>
                  </a:cubicBezTo>
                  <a:cubicBezTo>
                    <a:pt x="6458979" y="1009201"/>
                    <a:pt x="6458979" y="1007310"/>
                    <a:pt x="6458830" y="1005420"/>
                  </a:cubicBezTo>
                  <a:cubicBezTo>
                    <a:pt x="6457993" y="1003649"/>
                    <a:pt x="6457296" y="1001819"/>
                    <a:pt x="6456737" y="999948"/>
                  </a:cubicBezTo>
                  <a:cubicBezTo>
                    <a:pt x="6457833" y="1001590"/>
                    <a:pt x="6458551" y="1003460"/>
                    <a:pt x="6458830" y="1005420"/>
                  </a:cubicBezTo>
                  <a:cubicBezTo>
                    <a:pt x="6458830" y="1006315"/>
                    <a:pt x="6459727" y="1007211"/>
                    <a:pt x="6460126" y="1007907"/>
                  </a:cubicBezTo>
                  <a:cubicBezTo>
                    <a:pt x="6459338" y="1008832"/>
                    <a:pt x="6458631" y="1009837"/>
                    <a:pt x="6458033" y="1010892"/>
                  </a:cubicBezTo>
                  <a:close/>
                  <a:moveTo>
                    <a:pt x="6455741" y="999053"/>
                  </a:moveTo>
                  <a:cubicBezTo>
                    <a:pt x="6455342" y="997421"/>
                    <a:pt x="6455143" y="995750"/>
                    <a:pt x="6455143" y="994078"/>
                  </a:cubicBezTo>
                  <a:cubicBezTo>
                    <a:pt x="6455402" y="996028"/>
                    <a:pt x="6455801" y="997958"/>
                    <a:pt x="6456339" y="999849"/>
                  </a:cubicBezTo>
                  <a:close/>
                  <a:moveTo>
                    <a:pt x="6455143" y="987612"/>
                  </a:moveTo>
                  <a:cubicBezTo>
                    <a:pt x="6455143" y="986438"/>
                    <a:pt x="6454974" y="985264"/>
                    <a:pt x="6454645" y="984130"/>
                  </a:cubicBezTo>
                  <a:cubicBezTo>
                    <a:pt x="6454994" y="984448"/>
                    <a:pt x="6455353" y="984746"/>
                    <a:pt x="6455741" y="985025"/>
                  </a:cubicBezTo>
                  <a:cubicBezTo>
                    <a:pt x="6455203" y="985672"/>
                    <a:pt x="6454735" y="986368"/>
                    <a:pt x="6454346" y="987114"/>
                  </a:cubicBezTo>
                  <a:close/>
                  <a:moveTo>
                    <a:pt x="6471086" y="1198127"/>
                  </a:moveTo>
                  <a:cubicBezTo>
                    <a:pt x="6472501" y="1200764"/>
                    <a:pt x="6475022" y="1202624"/>
                    <a:pt x="6477962" y="1203201"/>
                  </a:cubicBezTo>
                  <a:cubicBezTo>
                    <a:pt x="6475022" y="1204494"/>
                    <a:pt x="6472680" y="1206832"/>
                    <a:pt x="6471385" y="1209767"/>
                  </a:cubicBezTo>
                  <a:cubicBezTo>
                    <a:pt x="6471754" y="1205688"/>
                    <a:pt x="6471385" y="1201579"/>
                    <a:pt x="6470289" y="1197630"/>
                  </a:cubicBezTo>
                  <a:close/>
                  <a:moveTo>
                    <a:pt x="6475371" y="1091775"/>
                  </a:moveTo>
                  <a:cubicBezTo>
                    <a:pt x="6477623" y="1079598"/>
                    <a:pt x="6475510" y="1067023"/>
                    <a:pt x="6469392" y="1056258"/>
                  </a:cubicBezTo>
                  <a:cubicBezTo>
                    <a:pt x="6475202" y="1066953"/>
                    <a:pt x="6477035" y="1079359"/>
                    <a:pt x="6474573" y="1091278"/>
                  </a:cubicBezTo>
                  <a:close/>
                  <a:moveTo>
                    <a:pt x="6468695" y="908022"/>
                  </a:moveTo>
                  <a:cubicBezTo>
                    <a:pt x="6468695" y="914687"/>
                    <a:pt x="6466104" y="921353"/>
                    <a:pt x="6465506" y="927919"/>
                  </a:cubicBezTo>
                  <a:cubicBezTo>
                    <a:pt x="6465506" y="920557"/>
                    <a:pt x="6467997" y="914190"/>
                    <a:pt x="6468695" y="908022"/>
                  </a:cubicBezTo>
                  <a:cubicBezTo>
                    <a:pt x="6469173" y="904201"/>
                    <a:pt x="6468625" y="900321"/>
                    <a:pt x="6467100" y="896780"/>
                  </a:cubicBezTo>
                  <a:lnTo>
                    <a:pt x="6467698" y="897476"/>
                  </a:lnTo>
                  <a:cubicBezTo>
                    <a:pt x="6468475" y="900769"/>
                    <a:pt x="6468545" y="904201"/>
                    <a:pt x="6467897" y="907524"/>
                  </a:cubicBezTo>
                  <a:close/>
                  <a:moveTo>
                    <a:pt x="6464709" y="845743"/>
                  </a:moveTo>
                  <a:cubicBezTo>
                    <a:pt x="6464201" y="846907"/>
                    <a:pt x="6463772" y="848100"/>
                    <a:pt x="6463413" y="849324"/>
                  </a:cubicBezTo>
                  <a:cubicBezTo>
                    <a:pt x="6463413" y="853105"/>
                    <a:pt x="6461819" y="857283"/>
                    <a:pt x="6460822" y="861661"/>
                  </a:cubicBezTo>
                  <a:cubicBezTo>
                    <a:pt x="6461421" y="857502"/>
                    <a:pt x="6462288" y="853373"/>
                    <a:pt x="6463413" y="849324"/>
                  </a:cubicBezTo>
                  <a:cubicBezTo>
                    <a:pt x="6463513" y="847832"/>
                    <a:pt x="6463513" y="846340"/>
                    <a:pt x="6463413" y="844847"/>
                  </a:cubicBezTo>
                  <a:lnTo>
                    <a:pt x="6462517" y="844151"/>
                  </a:lnTo>
                  <a:lnTo>
                    <a:pt x="6463413" y="844847"/>
                  </a:lnTo>
                  <a:lnTo>
                    <a:pt x="6463413" y="844847"/>
                  </a:lnTo>
                  <a:cubicBezTo>
                    <a:pt x="6463573" y="844996"/>
                    <a:pt x="6463733" y="845126"/>
                    <a:pt x="6463912" y="845245"/>
                  </a:cubicBezTo>
                  <a:close/>
                  <a:moveTo>
                    <a:pt x="6460026" y="833705"/>
                  </a:moveTo>
                  <a:cubicBezTo>
                    <a:pt x="6460563" y="831536"/>
                    <a:pt x="6461331" y="829437"/>
                    <a:pt x="6462317" y="827437"/>
                  </a:cubicBezTo>
                  <a:cubicBezTo>
                    <a:pt x="6462836" y="825616"/>
                    <a:pt x="6463204" y="823746"/>
                    <a:pt x="6463413" y="821866"/>
                  </a:cubicBezTo>
                  <a:cubicBezTo>
                    <a:pt x="6462845" y="818811"/>
                    <a:pt x="6462845" y="815668"/>
                    <a:pt x="6463413" y="812613"/>
                  </a:cubicBezTo>
                  <a:cubicBezTo>
                    <a:pt x="6463663" y="815698"/>
                    <a:pt x="6463663" y="818791"/>
                    <a:pt x="6463413" y="821866"/>
                  </a:cubicBezTo>
                  <a:cubicBezTo>
                    <a:pt x="6463413" y="822761"/>
                    <a:pt x="6463413" y="823756"/>
                    <a:pt x="6463413" y="824950"/>
                  </a:cubicBezTo>
                  <a:cubicBezTo>
                    <a:pt x="6463413" y="826144"/>
                    <a:pt x="6462517" y="826442"/>
                    <a:pt x="6462019" y="827437"/>
                  </a:cubicBezTo>
                  <a:cubicBezTo>
                    <a:pt x="6461510" y="829606"/>
                    <a:pt x="6460743" y="831715"/>
                    <a:pt x="6459727" y="833705"/>
                  </a:cubicBezTo>
                  <a:cubicBezTo>
                    <a:pt x="6459338" y="835406"/>
                    <a:pt x="6459338" y="837177"/>
                    <a:pt x="6459727" y="838878"/>
                  </a:cubicBezTo>
                  <a:cubicBezTo>
                    <a:pt x="6460374" y="840699"/>
                    <a:pt x="6461351" y="842390"/>
                    <a:pt x="6462617" y="843852"/>
                  </a:cubicBezTo>
                  <a:cubicBezTo>
                    <a:pt x="6460972" y="842698"/>
                    <a:pt x="6459916" y="840878"/>
                    <a:pt x="6459727" y="838878"/>
                  </a:cubicBezTo>
                  <a:cubicBezTo>
                    <a:pt x="6459249" y="837903"/>
                    <a:pt x="6458910" y="836868"/>
                    <a:pt x="6458730" y="835794"/>
                  </a:cubicBezTo>
                  <a:cubicBezTo>
                    <a:pt x="6458949" y="834938"/>
                    <a:pt x="6459109" y="834083"/>
                    <a:pt x="6459228" y="833207"/>
                  </a:cubicBezTo>
                  <a:close/>
                  <a:moveTo>
                    <a:pt x="6460723" y="862059"/>
                  </a:moveTo>
                  <a:cubicBezTo>
                    <a:pt x="6460026" y="866138"/>
                    <a:pt x="6459428" y="870416"/>
                    <a:pt x="6458631" y="873997"/>
                  </a:cubicBezTo>
                  <a:cubicBezTo>
                    <a:pt x="6458701" y="869858"/>
                    <a:pt x="6459139" y="865730"/>
                    <a:pt x="6459926" y="861661"/>
                  </a:cubicBezTo>
                  <a:close/>
                  <a:moveTo>
                    <a:pt x="6458531" y="874097"/>
                  </a:moveTo>
                  <a:cubicBezTo>
                    <a:pt x="6458182" y="876634"/>
                    <a:pt x="6458182" y="879220"/>
                    <a:pt x="6458531" y="881757"/>
                  </a:cubicBezTo>
                  <a:cubicBezTo>
                    <a:pt x="6459308" y="884244"/>
                    <a:pt x="6460344" y="886652"/>
                    <a:pt x="6461620" y="888920"/>
                  </a:cubicBezTo>
                  <a:cubicBezTo>
                    <a:pt x="6463812" y="891159"/>
                    <a:pt x="6465576" y="893795"/>
                    <a:pt x="6466801" y="896680"/>
                  </a:cubicBezTo>
                  <a:cubicBezTo>
                    <a:pt x="6464759" y="894322"/>
                    <a:pt x="6463015" y="891716"/>
                    <a:pt x="6461620" y="888920"/>
                  </a:cubicBezTo>
                  <a:lnTo>
                    <a:pt x="6460424" y="887527"/>
                  </a:lnTo>
                  <a:cubicBezTo>
                    <a:pt x="6459438" y="885737"/>
                    <a:pt x="6458800" y="883777"/>
                    <a:pt x="6458531" y="881757"/>
                  </a:cubicBezTo>
                  <a:cubicBezTo>
                    <a:pt x="6458013" y="880404"/>
                    <a:pt x="6457644" y="879011"/>
                    <a:pt x="6457435" y="877579"/>
                  </a:cubicBezTo>
                  <a:cubicBezTo>
                    <a:pt x="6457634" y="876265"/>
                    <a:pt x="6457734" y="874932"/>
                    <a:pt x="6457734" y="873599"/>
                  </a:cubicBezTo>
                  <a:close/>
                  <a:moveTo>
                    <a:pt x="6462716" y="946225"/>
                  </a:moveTo>
                  <a:cubicBezTo>
                    <a:pt x="6463613" y="944534"/>
                    <a:pt x="6464679" y="942932"/>
                    <a:pt x="6465904" y="941450"/>
                  </a:cubicBezTo>
                  <a:cubicBezTo>
                    <a:pt x="6466054" y="940594"/>
                    <a:pt x="6466054" y="939718"/>
                    <a:pt x="6465904" y="938863"/>
                  </a:cubicBezTo>
                  <a:cubicBezTo>
                    <a:pt x="6464978" y="935630"/>
                    <a:pt x="6464709" y="932247"/>
                    <a:pt x="6465108" y="928914"/>
                  </a:cubicBezTo>
                  <a:cubicBezTo>
                    <a:pt x="6465108" y="930008"/>
                    <a:pt x="6465108" y="931202"/>
                    <a:pt x="6465108" y="932197"/>
                  </a:cubicBezTo>
                  <a:cubicBezTo>
                    <a:pt x="6465656" y="934336"/>
                    <a:pt x="6465855" y="936555"/>
                    <a:pt x="6465706" y="938763"/>
                  </a:cubicBezTo>
                  <a:cubicBezTo>
                    <a:pt x="6465665" y="939231"/>
                    <a:pt x="6465665" y="939689"/>
                    <a:pt x="6465706" y="940156"/>
                  </a:cubicBezTo>
                  <a:lnTo>
                    <a:pt x="6464908" y="941350"/>
                  </a:lnTo>
                  <a:cubicBezTo>
                    <a:pt x="6464450" y="943270"/>
                    <a:pt x="6463324" y="944961"/>
                    <a:pt x="6461720" y="946126"/>
                  </a:cubicBezTo>
                  <a:cubicBezTo>
                    <a:pt x="6458780" y="951617"/>
                    <a:pt x="6456478" y="957427"/>
                    <a:pt x="6454844" y="963436"/>
                  </a:cubicBezTo>
                  <a:cubicBezTo>
                    <a:pt x="6455970" y="957119"/>
                    <a:pt x="6458381" y="951090"/>
                    <a:pt x="6461919" y="945727"/>
                  </a:cubicBezTo>
                  <a:close/>
                  <a:moveTo>
                    <a:pt x="6455741" y="963834"/>
                  </a:moveTo>
                  <a:cubicBezTo>
                    <a:pt x="6455741" y="965725"/>
                    <a:pt x="6454944" y="967515"/>
                    <a:pt x="6454744" y="969207"/>
                  </a:cubicBezTo>
                  <a:cubicBezTo>
                    <a:pt x="6454157" y="970500"/>
                    <a:pt x="6453658" y="971823"/>
                    <a:pt x="6453250" y="973186"/>
                  </a:cubicBezTo>
                  <a:cubicBezTo>
                    <a:pt x="6453250" y="969605"/>
                    <a:pt x="6454047" y="966520"/>
                    <a:pt x="6454944" y="963337"/>
                  </a:cubicBezTo>
                  <a:close/>
                  <a:moveTo>
                    <a:pt x="6453250" y="973286"/>
                  </a:moveTo>
                  <a:cubicBezTo>
                    <a:pt x="6452652" y="975633"/>
                    <a:pt x="6452652" y="978101"/>
                    <a:pt x="6453250" y="980449"/>
                  </a:cubicBezTo>
                  <a:cubicBezTo>
                    <a:pt x="6454107" y="981443"/>
                    <a:pt x="6454694" y="982647"/>
                    <a:pt x="6454944" y="983931"/>
                  </a:cubicBezTo>
                  <a:cubicBezTo>
                    <a:pt x="6454047" y="982956"/>
                    <a:pt x="6453459" y="981752"/>
                    <a:pt x="6453250" y="980449"/>
                  </a:cubicBezTo>
                  <a:cubicBezTo>
                    <a:pt x="6452961" y="979931"/>
                    <a:pt x="6452552" y="979484"/>
                    <a:pt x="6452054" y="979155"/>
                  </a:cubicBezTo>
                  <a:cubicBezTo>
                    <a:pt x="6451157" y="976768"/>
                    <a:pt x="6451955" y="974877"/>
                    <a:pt x="6452453" y="972788"/>
                  </a:cubicBezTo>
                  <a:close/>
                  <a:moveTo>
                    <a:pt x="6416382" y="1480671"/>
                  </a:moveTo>
                  <a:cubicBezTo>
                    <a:pt x="6415834" y="1481626"/>
                    <a:pt x="6415834" y="1482801"/>
                    <a:pt x="6416382" y="1483756"/>
                  </a:cubicBezTo>
                  <a:cubicBezTo>
                    <a:pt x="6415843" y="1483179"/>
                    <a:pt x="6415375" y="1482552"/>
                    <a:pt x="6414986" y="1481865"/>
                  </a:cubicBezTo>
                  <a:cubicBezTo>
                    <a:pt x="6415435" y="1481408"/>
                    <a:pt x="6415933" y="1481010"/>
                    <a:pt x="6416481" y="1480671"/>
                  </a:cubicBezTo>
                  <a:cubicBezTo>
                    <a:pt x="6417099" y="1479806"/>
                    <a:pt x="6417966" y="1479149"/>
                    <a:pt x="6418972" y="1478781"/>
                  </a:cubicBezTo>
                  <a:lnTo>
                    <a:pt x="6424751" y="1475399"/>
                  </a:lnTo>
                  <a:cubicBezTo>
                    <a:pt x="6420367" y="1476791"/>
                    <a:pt x="6417278" y="1478483"/>
                    <a:pt x="6415584" y="1479876"/>
                  </a:cubicBezTo>
                  <a:close/>
                  <a:moveTo>
                    <a:pt x="6446275" y="1321492"/>
                  </a:moveTo>
                  <a:cubicBezTo>
                    <a:pt x="6444680" y="1322586"/>
                    <a:pt x="6443784" y="1316020"/>
                    <a:pt x="6443286" y="1315522"/>
                  </a:cubicBezTo>
                  <a:lnTo>
                    <a:pt x="6444979" y="1309255"/>
                  </a:lnTo>
                  <a:cubicBezTo>
                    <a:pt x="6444382" y="1313373"/>
                    <a:pt x="6444830" y="1317582"/>
                    <a:pt x="6446275" y="1321492"/>
                  </a:cubicBezTo>
                  <a:cubicBezTo>
                    <a:pt x="6450260" y="1321492"/>
                    <a:pt x="6454645" y="1321492"/>
                    <a:pt x="6459328" y="1321492"/>
                  </a:cubicBezTo>
                  <a:close/>
                  <a:moveTo>
                    <a:pt x="6469093" y="1322287"/>
                  </a:moveTo>
                  <a:lnTo>
                    <a:pt x="6500979" y="1323481"/>
                  </a:lnTo>
                  <a:cubicBezTo>
                    <a:pt x="6490218" y="1322685"/>
                    <a:pt x="6478759" y="1322188"/>
                    <a:pt x="6467798" y="1321591"/>
                  </a:cubicBezTo>
                  <a:close/>
                  <a:moveTo>
                    <a:pt x="6502573" y="1323481"/>
                  </a:moveTo>
                  <a:lnTo>
                    <a:pt x="6506061" y="1323481"/>
                  </a:lnTo>
                  <a:cubicBezTo>
                    <a:pt x="6506659" y="1323481"/>
                    <a:pt x="6514232" y="1323481"/>
                    <a:pt x="6519912" y="1324178"/>
                  </a:cubicBezTo>
                  <a:cubicBezTo>
                    <a:pt x="6513036" y="1323282"/>
                    <a:pt x="6507257" y="1323183"/>
                    <a:pt x="6500979" y="1322785"/>
                  </a:cubicBezTo>
                  <a:close/>
                  <a:moveTo>
                    <a:pt x="6526688" y="1325471"/>
                  </a:moveTo>
                  <a:cubicBezTo>
                    <a:pt x="6527345" y="1326506"/>
                    <a:pt x="6528152" y="1327441"/>
                    <a:pt x="6529079" y="1328257"/>
                  </a:cubicBezTo>
                  <a:cubicBezTo>
                    <a:pt x="6527435" y="1327630"/>
                    <a:pt x="6526109" y="1326376"/>
                    <a:pt x="6525392" y="1324775"/>
                  </a:cubicBezTo>
                  <a:close/>
                  <a:moveTo>
                    <a:pt x="6567342" y="1324874"/>
                  </a:moveTo>
                  <a:lnTo>
                    <a:pt x="6557378" y="1325471"/>
                  </a:lnTo>
                  <a:cubicBezTo>
                    <a:pt x="6551449" y="1324317"/>
                    <a:pt x="6545321" y="1324625"/>
                    <a:pt x="6539542" y="1326367"/>
                  </a:cubicBezTo>
                  <a:cubicBezTo>
                    <a:pt x="6538864" y="1327660"/>
                    <a:pt x="6537828" y="1328734"/>
                    <a:pt x="6536552" y="1329451"/>
                  </a:cubicBezTo>
                  <a:cubicBezTo>
                    <a:pt x="6537140" y="1328098"/>
                    <a:pt x="6538207" y="1326993"/>
                    <a:pt x="6539542" y="1326367"/>
                  </a:cubicBezTo>
                  <a:cubicBezTo>
                    <a:pt x="6539940" y="1325789"/>
                    <a:pt x="6540239" y="1325153"/>
                    <a:pt x="6540439" y="1324476"/>
                  </a:cubicBezTo>
                  <a:lnTo>
                    <a:pt x="6567841" y="1324476"/>
                  </a:lnTo>
                  <a:cubicBezTo>
                    <a:pt x="6582488" y="1323979"/>
                    <a:pt x="6597036" y="1324476"/>
                    <a:pt x="6611584" y="1324476"/>
                  </a:cubicBezTo>
                  <a:cubicBezTo>
                    <a:pt x="6595243" y="1324377"/>
                    <a:pt x="6580695" y="1324377"/>
                    <a:pt x="6566047" y="1324178"/>
                  </a:cubicBezTo>
                  <a:close/>
                  <a:moveTo>
                    <a:pt x="6655328" y="1432022"/>
                  </a:moveTo>
                  <a:cubicBezTo>
                    <a:pt x="6656394" y="1428321"/>
                    <a:pt x="6657251" y="1424570"/>
                    <a:pt x="6657919" y="1420780"/>
                  </a:cubicBezTo>
                  <a:cubicBezTo>
                    <a:pt x="6656892" y="1424391"/>
                    <a:pt x="6655597" y="1427913"/>
                    <a:pt x="6654032" y="1431326"/>
                  </a:cubicBezTo>
                  <a:close/>
                  <a:moveTo>
                    <a:pt x="6658019" y="1419785"/>
                  </a:moveTo>
                  <a:cubicBezTo>
                    <a:pt x="6659653" y="1407389"/>
                    <a:pt x="6660221" y="1394873"/>
                    <a:pt x="6659712" y="1382378"/>
                  </a:cubicBezTo>
                  <a:cubicBezTo>
                    <a:pt x="6659712" y="1376110"/>
                    <a:pt x="6658915" y="1369643"/>
                    <a:pt x="6658517" y="1363276"/>
                  </a:cubicBezTo>
                  <a:cubicBezTo>
                    <a:pt x="6657869" y="1357824"/>
                    <a:pt x="6657869" y="1352313"/>
                    <a:pt x="6658517" y="1346861"/>
                  </a:cubicBezTo>
                  <a:cubicBezTo>
                    <a:pt x="6658517" y="1341488"/>
                    <a:pt x="6658517" y="1336315"/>
                    <a:pt x="6658517" y="1331241"/>
                  </a:cubicBezTo>
                  <a:cubicBezTo>
                    <a:pt x="6659633" y="1336385"/>
                    <a:pt x="6659633" y="1341717"/>
                    <a:pt x="6658517" y="1346861"/>
                  </a:cubicBezTo>
                  <a:cubicBezTo>
                    <a:pt x="6658517" y="1358600"/>
                    <a:pt x="6659513" y="1370539"/>
                    <a:pt x="6659812" y="1382378"/>
                  </a:cubicBezTo>
                  <a:cubicBezTo>
                    <a:pt x="6659892" y="1394585"/>
                    <a:pt x="6658865" y="1406772"/>
                    <a:pt x="6656723" y="1418790"/>
                  </a:cubicBezTo>
                  <a:close/>
                  <a:moveTo>
                    <a:pt x="6684325" y="1327958"/>
                  </a:moveTo>
                  <a:cubicBezTo>
                    <a:pt x="6675725" y="1328396"/>
                    <a:pt x="6667116" y="1328396"/>
                    <a:pt x="6658517" y="1327958"/>
                  </a:cubicBezTo>
                  <a:cubicBezTo>
                    <a:pt x="6658467" y="1328824"/>
                    <a:pt x="6658467" y="1329679"/>
                    <a:pt x="6658517" y="1330545"/>
                  </a:cubicBezTo>
                  <a:cubicBezTo>
                    <a:pt x="6657600" y="1328774"/>
                    <a:pt x="6656085" y="1327401"/>
                    <a:pt x="6654232" y="1326665"/>
                  </a:cubicBezTo>
                  <a:cubicBezTo>
                    <a:pt x="6664196" y="1327162"/>
                    <a:pt x="6674161" y="1327461"/>
                    <a:pt x="6684125" y="1327461"/>
                  </a:cubicBezTo>
                  <a:cubicBezTo>
                    <a:pt x="6694090" y="1327461"/>
                    <a:pt x="6702360" y="1326764"/>
                    <a:pt x="6710132" y="1327461"/>
                  </a:cubicBezTo>
                  <a:cubicBezTo>
                    <a:pt x="6700267" y="1327262"/>
                    <a:pt x="6691698" y="1327560"/>
                    <a:pt x="6683029" y="1327262"/>
                  </a:cubicBezTo>
                  <a:close/>
                  <a:moveTo>
                    <a:pt x="6724182" y="1371434"/>
                  </a:moveTo>
                  <a:cubicBezTo>
                    <a:pt x="6725019" y="1371812"/>
                    <a:pt x="6725886" y="1372111"/>
                    <a:pt x="6726773" y="1372330"/>
                  </a:cubicBezTo>
                  <a:cubicBezTo>
                    <a:pt x="6727370" y="1373324"/>
                    <a:pt x="6727969" y="1374419"/>
                    <a:pt x="6728567" y="1375613"/>
                  </a:cubicBezTo>
                  <a:cubicBezTo>
                    <a:pt x="6726743" y="1373703"/>
                    <a:pt x="6724670" y="1372061"/>
                    <a:pt x="6722388" y="1370738"/>
                  </a:cubicBezTo>
                  <a:close/>
                  <a:moveTo>
                    <a:pt x="6728766" y="1376011"/>
                  </a:moveTo>
                  <a:cubicBezTo>
                    <a:pt x="6730310" y="1377732"/>
                    <a:pt x="6731586" y="1379682"/>
                    <a:pt x="6732552" y="1381781"/>
                  </a:cubicBezTo>
                  <a:cubicBezTo>
                    <a:pt x="6730440" y="1379851"/>
                    <a:pt x="6728567" y="1377682"/>
                    <a:pt x="6726972" y="1375314"/>
                  </a:cubicBezTo>
                  <a:close/>
                  <a:moveTo>
                    <a:pt x="6733748" y="1384169"/>
                  </a:moveTo>
                  <a:lnTo>
                    <a:pt x="6732752" y="1381980"/>
                  </a:lnTo>
                  <a:cubicBezTo>
                    <a:pt x="6733838" y="1383482"/>
                    <a:pt x="6735223" y="1384736"/>
                    <a:pt x="6736837" y="1385661"/>
                  </a:cubicBezTo>
                  <a:cubicBezTo>
                    <a:pt x="6733449" y="1384666"/>
                    <a:pt x="6732054" y="1384069"/>
                    <a:pt x="6731954" y="1383472"/>
                  </a:cubicBezTo>
                  <a:close/>
                  <a:moveTo>
                    <a:pt x="6763641" y="1182209"/>
                  </a:moveTo>
                  <a:cubicBezTo>
                    <a:pt x="6762276" y="1182259"/>
                    <a:pt x="6760931" y="1182528"/>
                    <a:pt x="6759656" y="1183005"/>
                  </a:cubicBezTo>
                  <a:cubicBezTo>
                    <a:pt x="6761081" y="1182418"/>
                    <a:pt x="6762595" y="1182080"/>
                    <a:pt x="6764139" y="1182010"/>
                  </a:cubicBezTo>
                  <a:close/>
                  <a:moveTo>
                    <a:pt x="6775598" y="1113662"/>
                  </a:moveTo>
                  <a:cubicBezTo>
                    <a:pt x="6775648" y="1113364"/>
                    <a:pt x="6775648" y="1113065"/>
                    <a:pt x="6775598" y="1112767"/>
                  </a:cubicBezTo>
                  <a:lnTo>
                    <a:pt x="6776794" y="1114359"/>
                  </a:lnTo>
                  <a:close/>
                  <a:moveTo>
                    <a:pt x="6781677" y="1126198"/>
                  </a:moveTo>
                  <a:cubicBezTo>
                    <a:pt x="6781677" y="1129481"/>
                    <a:pt x="6781677" y="1132863"/>
                    <a:pt x="6781677" y="1136146"/>
                  </a:cubicBezTo>
                  <a:cubicBezTo>
                    <a:pt x="6780112" y="1132834"/>
                    <a:pt x="6779524" y="1129143"/>
                    <a:pt x="6779983" y="1125501"/>
                  </a:cubicBezTo>
                  <a:close/>
                  <a:moveTo>
                    <a:pt x="6781677" y="1136743"/>
                  </a:moveTo>
                  <a:cubicBezTo>
                    <a:pt x="6782803" y="1140405"/>
                    <a:pt x="6785204" y="1143548"/>
                    <a:pt x="6788452" y="1145598"/>
                  </a:cubicBezTo>
                  <a:cubicBezTo>
                    <a:pt x="6784068" y="1144235"/>
                    <a:pt x="6780810" y="1140554"/>
                    <a:pt x="6779983" y="113604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79" name="Freeform: Shape 1578">
              <a:extLst>
                <a:ext uri="{FF2B5EF4-FFF2-40B4-BE49-F238E27FC236}">
                  <a16:creationId xmlns:a16="http://schemas.microsoft.com/office/drawing/2014/main" id="{6388AEFA-1A80-4970-A46D-BF0034924A8A}"/>
                </a:ext>
              </a:extLst>
            </p:cNvPr>
            <p:cNvSpPr/>
            <p:nvPr/>
          </p:nvSpPr>
          <p:spPr>
            <a:xfrm>
              <a:off x="4477837" y="1832950"/>
              <a:ext cx="13949" cy="15731"/>
            </a:xfrm>
            <a:custGeom>
              <a:avLst/>
              <a:gdLst>
                <a:gd name="connsiteX0" fmla="*/ 10961 w 13949"/>
                <a:gd name="connsiteY0" fmla="*/ 141 h 15731"/>
                <a:gd name="connsiteX1" fmla="*/ 13950 w 13949"/>
                <a:gd name="connsiteY1" fmla="*/ 15065 h 15731"/>
                <a:gd name="connsiteX2" fmla="*/ 0 w 13949"/>
                <a:gd name="connsiteY2" fmla="*/ 12080 h 15731"/>
                <a:gd name="connsiteX3" fmla="*/ 10961 w 13949"/>
                <a:gd name="connsiteY3" fmla="*/ 141 h 15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49" h="15731">
                  <a:moveTo>
                    <a:pt x="10961" y="141"/>
                  </a:moveTo>
                  <a:cubicBezTo>
                    <a:pt x="11031" y="5255"/>
                    <a:pt x="12047" y="10319"/>
                    <a:pt x="13950" y="15065"/>
                  </a:cubicBezTo>
                  <a:cubicBezTo>
                    <a:pt x="9565" y="16159"/>
                    <a:pt x="2790" y="16358"/>
                    <a:pt x="0" y="12080"/>
                  </a:cubicBezTo>
                  <a:cubicBezTo>
                    <a:pt x="2192" y="8001"/>
                    <a:pt x="4483" y="-1251"/>
                    <a:pt x="10961" y="141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580" name="Freeform: Shape 1579">
              <a:extLst>
                <a:ext uri="{FF2B5EF4-FFF2-40B4-BE49-F238E27FC236}">
                  <a16:creationId xmlns:a16="http://schemas.microsoft.com/office/drawing/2014/main" id="{AAA77465-28FF-4767-84E3-5208094C7BDF}"/>
                </a:ext>
              </a:extLst>
            </p:cNvPr>
            <p:cNvSpPr/>
            <p:nvPr/>
          </p:nvSpPr>
          <p:spPr>
            <a:xfrm>
              <a:off x="2818763" y="1750907"/>
              <a:ext cx="541553" cy="543407"/>
            </a:xfrm>
            <a:custGeom>
              <a:avLst/>
              <a:gdLst>
                <a:gd name="connsiteX0" fmla="*/ 251103 w 541553"/>
                <a:gd name="connsiteY0" fmla="*/ 1698 h 543407"/>
                <a:gd name="connsiteX1" fmla="*/ 246120 w 541553"/>
                <a:gd name="connsiteY1" fmla="*/ 6673 h 543407"/>
                <a:gd name="connsiteX2" fmla="*/ 249110 w 541553"/>
                <a:gd name="connsiteY2" fmla="*/ 17517 h 543407"/>
                <a:gd name="connsiteX3" fmla="*/ 251103 w 541553"/>
                <a:gd name="connsiteY3" fmla="*/ 1698 h 543407"/>
                <a:gd name="connsiteX4" fmla="*/ 541067 w 541553"/>
                <a:gd name="connsiteY4" fmla="*/ 158093 h 543407"/>
                <a:gd name="connsiteX5" fmla="*/ 541067 w 541553"/>
                <a:gd name="connsiteY5" fmla="*/ 176100 h 543407"/>
                <a:gd name="connsiteX6" fmla="*/ 541067 w 541553"/>
                <a:gd name="connsiteY6" fmla="*/ 158093 h 543407"/>
                <a:gd name="connsiteX7" fmla="*/ 537779 w 541553"/>
                <a:gd name="connsiteY7" fmla="*/ 183860 h 543407"/>
                <a:gd name="connsiteX8" fmla="*/ 529508 w 541553"/>
                <a:gd name="connsiteY8" fmla="*/ 186148 h 543407"/>
                <a:gd name="connsiteX9" fmla="*/ 537779 w 541553"/>
                <a:gd name="connsiteY9" fmla="*/ 183860 h 543407"/>
                <a:gd name="connsiteX10" fmla="*/ 530006 w 541553"/>
                <a:gd name="connsiteY10" fmla="*/ 237086 h 543407"/>
                <a:gd name="connsiteX11" fmla="*/ 528014 w 541553"/>
                <a:gd name="connsiteY11" fmla="*/ 228231 h 543407"/>
                <a:gd name="connsiteX12" fmla="*/ 530006 w 541553"/>
                <a:gd name="connsiteY12" fmla="*/ 237086 h 543407"/>
                <a:gd name="connsiteX13" fmla="*/ 523530 w 541553"/>
                <a:gd name="connsiteY13" fmla="*/ 190128 h 543407"/>
                <a:gd name="connsiteX14" fmla="*/ 528114 w 541553"/>
                <a:gd name="connsiteY14" fmla="*/ 201569 h 543407"/>
                <a:gd name="connsiteX15" fmla="*/ 523530 w 541553"/>
                <a:gd name="connsiteY15" fmla="*/ 190128 h 543407"/>
                <a:gd name="connsiteX16" fmla="*/ 525921 w 541553"/>
                <a:gd name="connsiteY16" fmla="*/ 244846 h 543407"/>
                <a:gd name="connsiteX17" fmla="*/ 519145 w 541553"/>
                <a:gd name="connsiteY17" fmla="*/ 259072 h 543407"/>
                <a:gd name="connsiteX18" fmla="*/ 525921 w 541553"/>
                <a:gd name="connsiteY18" fmla="*/ 244846 h 543407"/>
                <a:gd name="connsiteX19" fmla="*/ 514462 w 541553"/>
                <a:gd name="connsiteY19" fmla="*/ 273996 h 543407"/>
                <a:gd name="connsiteX20" fmla="*/ 512968 w 541553"/>
                <a:gd name="connsiteY20" fmla="*/ 288322 h 543407"/>
                <a:gd name="connsiteX21" fmla="*/ 514462 w 541553"/>
                <a:gd name="connsiteY21" fmla="*/ 273996 h 543407"/>
                <a:gd name="connsiteX22" fmla="*/ 500910 w 541553"/>
                <a:gd name="connsiteY22" fmla="*/ 321252 h 543407"/>
                <a:gd name="connsiteX23" fmla="*/ 498719 w 541553"/>
                <a:gd name="connsiteY23" fmla="*/ 324436 h 543407"/>
                <a:gd name="connsiteX24" fmla="*/ 500910 w 541553"/>
                <a:gd name="connsiteY24" fmla="*/ 321252 h 543407"/>
                <a:gd name="connsiteX25" fmla="*/ 500213 w 541553"/>
                <a:gd name="connsiteY25" fmla="*/ 332494 h 543407"/>
                <a:gd name="connsiteX26" fmla="*/ 498419 w 541553"/>
                <a:gd name="connsiteY26" fmla="*/ 327619 h 543407"/>
                <a:gd name="connsiteX27" fmla="*/ 500213 w 541553"/>
                <a:gd name="connsiteY27" fmla="*/ 332395 h 543407"/>
                <a:gd name="connsiteX28" fmla="*/ 426775 w 541553"/>
                <a:gd name="connsiteY28" fmla="*/ 385521 h 543407"/>
                <a:gd name="connsiteX29" fmla="*/ 434448 w 541553"/>
                <a:gd name="connsiteY29" fmla="*/ 393579 h 543407"/>
                <a:gd name="connsiteX30" fmla="*/ 439131 w 541553"/>
                <a:gd name="connsiteY30" fmla="*/ 392982 h 543407"/>
                <a:gd name="connsiteX31" fmla="*/ 426775 w 541553"/>
                <a:gd name="connsiteY31" fmla="*/ 385521 h 543407"/>
                <a:gd name="connsiteX32" fmla="*/ 410533 w 541553"/>
                <a:gd name="connsiteY32" fmla="*/ 396564 h 543407"/>
                <a:gd name="connsiteX33" fmla="*/ 410035 w 541553"/>
                <a:gd name="connsiteY33" fmla="*/ 401538 h 543407"/>
                <a:gd name="connsiteX34" fmla="*/ 410533 w 541553"/>
                <a:gd name="connsiteY34" fmla="*/ 396564 h 543407"/>
                <a:gd name="connsiteX35" fmla="*/ 403559 w 541553"/>
                <a:gd name="connsiteY35" fmla="*/ 405518 h 543407"/>
                <a:gd name="connsiteX36" fmla="*/ 407544 w 541553"/>
                <a:gd name="connsiteY36" fmla="*/ 405518 h 543407"/>
                <a:gd name="connsiteX37" fmla="*/ 403559 w 541553"/>
                <a:gd name="connsiteY37" fmla="*/ 405518 h 543407"/>
                <a:gd name="connsiteX38" fmla="*/ 391601 w 541553"/>
                <a:gd name="connsiteY38" fmla="*/ 414571 h 543407"/>
                <a:gd name="connsiteX39" fmla="*/ 392199 w 541553"/>
                <a:gd name="connsiteY39" fmla="*/ 412780 h 543407"/>
                <a:gd name="connsiteX40" fmla="*/ 390604 w 541553"/>
                <a:gd name="connsiteY40" fmla="*/ 415268 h 543407"/>
                <a:gd name="connsiteX41" fmla="*/ 391601 w 541553"/>
                <a:gd name="connsiteY41" fmla="*/ 414571 h 543407"/>
                <a:gd name="connsiteX42" fmla="*/ 388013 w 541553"/>
                <a:gd name="connsiteY42" fmla="*/ 417755 h 543407"/>
                <a:gd name="connsiteX43" fmla="*/ 386121 w 541553"/>
                <a:gd name="connsiteY43" fmla="*/ 424321 h 543407"/>
                <a:gd name="connsiteX44" fmla="*/ 388013 w 541553"/>
                <a:gd name="connsiteY44" fmla="*/ 417755 h 543407"/>
                <a:gd name="connsiteX45" fmla="*/ 380042 w 541553"/>
                <a:gd name="connsiteY45" fmla="*/ 442030 h 543407"/>
                <a:gd name="connsiteX46" fmla="*/ 381537 w 541553"/>
                <a:gd name="connsiteY46" fmla="*/ 452675 h 543407"/>
                <a:gd name="connsiteX47" fmla="*/ 380640 w 541553"/>
                <a:gd name="connsiteY47" fmla="*/ 443323 h 543407"/>
                <a:gd name="connsiteX48" fmla="*/ 380042 w 541553"/>
                <a:gd name="connsiteY48" fmla="*/ 441831 h 543407"/>
                <a:gd name="connsiteX49" fmla="*/ 350149 w 541553"/>
                <a:gd name="connsiteY49" fmla="*/ 447302 h 543407"/>
                <a:gd name="connsiteX50" fmla="*/ 342875 w 541553"/>
                <a:gd name="connsiteY50" fmla="*/ 456257 h 543407"/>
                <a:gd name="connsiteX51" fmla="*/ 359117 w 541553"/>
                <a:gd name="connsiteY51" fmla="*/ 448795 h 543407"/>
                <a:gd name="connsiteX52" fmla="*/ 349750 w 541553"/>
                <a:gd name="connsiteY52" fmla="*/ 447302 h 543407"/>
                <a:gd name="connsiteX53" fmla="*/ 329224 w 541553"/>
                <a:gd name="connsiteY53" fmla="*/ 482123 h 543407"/>
                <a:gd name="connsiteX54" fmla="*/ 336199 w 541553"/>
                <a:gd name="connsiteY54" fmla="*/ 473667 h 543407"/>
                <a:gd name="connsiteX55" fmla="*/ 328825 w 541553"/>
                <a:gd name="connsiteY55" fmla="*/ 482123 h 543407"/>
                <a:gd name="connsiteX56" fmla="*/ 307302 w 541553"/>
                <a:gd name="connsiteY56" fmla="*/ 540821 h 543407"/>
                <a:gd name="connsiteX57" fmla="*/ 297338 w 541553"/>
                <a:gd name="connsiteY57" fmla="*/ 543407 h 543407"/>
                <a:gd name="connsiteX58" fmla="*/ 270434 w 541553"/>
                <a:gd name="connsiteY58" fmla="*/ 527887 h 543407"/>
                <a:gd name="connsiteX59" fmla="*/ 278804 w 541553"/>
                <a:gd name="connsiteY59" fmla="*/ 539030 h 543407"/>
                <a:gd name="connsiteX60" fmla="*/ 268840 w 541553"/>
                <a:gd name="connsiteY60" fmla="*/ 526296 h 543407"/>
                <a:gd name="connsiteX61" fmla="*/ 270035 w 541553"/>
                <a:gd name="connsiteY61" fmla="*/ 527887 h 543407"/>
                <a:gd name="connsiteX62" fmla="*/ 261864 w 541553"/>
                <a:gd name="connsiteY62" fmla="*/ 521918 h 543407"/>
                <a:gd name="connsiteX63" fmla="*/ 254491 w 541553"/>
                <a:gd name="connsiteY63" fmla="*/ 520923 h 543407"/>
                <a:gd name="connsiteX64" fmla="*/ 261466 w 541553"/>
                <a:gd name="connsiteY64" fmla="*/ 521918 h 543407"/>
                <a:gd name="connsiteX65" fmla="*/ 243530 w 541553"/>
                <a:gd name="connsiteY65" fmla="*/ 489187 h 543407"/>
                <a:gd name="connsiteX66" fmla="*/ 236355 w 541553"/>
                <a:gd name="connsiteY66" fmla="*/ 491575 h 543407"/>
                <a:gd name="connsiteX67" fmla="*/ 243131 w 541553"/>
                <a:gd name="connsiteY67" fmla="*/ 489187 h 543407"/>
                <a:gd name="connsiteX68" fmla="*/ 214733 w 541553"/>
                <a:gd name="connsiteY68" fmla="*/ 505503 h 543407"/>
                <a:gd name="connsiteX69" fmla="*/ 224697 w 541553"/>
                <a:gd name="connsiteY69" fmla="*/ 497046 h 543407"/>
                <a:gd name="connsiteX70" fmla="*/ 225693 w 541553"/>
                <a:gd name="connsiteY70" fmla="*/ 496151 h 543407"/>
                <a:gd name="connsiteX71" fmla="*/ 214334 w 541553"/>
                <a:gd name="connsiteY71" fmla="*/ 505503 h 543407"/>
                <a:gd name="connsiteX72" fmla="*/ 207658 w 541553"/>
                <a:gd name="connsiteY72" fmla="*/ 510975 h 543407"/>
                <a:gd name="connsiteX73" fmla="*/ 210249 w 541553"/>
                <a:gd name="connsiteY73" fmla="*/ 509781 h 543407"/>
                <a:gd name="connsiteX74" fmla="*/ 205765 w 541553"/>
                <a:gd name="connsiteY74" fmla="*/ 510577 h 543407"/>
                <a:gd name="connsiteX75" fmla="*/ 207260 w 541553"/>
                <a:gd name="connsiteY75" fmla="*/ 511472 h 543407"/>
                <a:gd name="connsiteX76" fmla="*/ 197694 w 541553"/>
                <a:gd name="connsiteY76" fmla="*/ 512168 h 543407"/>
                <a:gd name="connsiteX77" fmla="*/ 201978 w 541553"/>
                <a:gd name="connsiteY77" fmla="*/ 510477 h 543407"/>
                <a:gd name="connsiteX78" fmla="*/ 199786 w 541553"/>
                <a:gd name="connsiteY78" fmla="*/ 510477 h 543407"/>
                <a:gd name="connsiteX79" fmla="*/ 113793 w 541553"/>
                <a:gd name="connsiteY79" fmla="*/ 1997 h 543407"/>
                <a:gd name="connsiteX80" fmla="*/ 161722 w 541553"/>
                <a:gd name="connsiteY80" fmla="*/ 107 h 543407"/>
                <a:gd name="connsiteX81" fmla="*/ 113295 w 541553"/>
                <a:gd name="connsiteY81" fmla="*/ 1997 h 543407"/>
                <a:gd name="connsiteX82" fmla="*/ 136711 w 541553"/>
                <a:gd name="connsiteY82" fmla="*/ 507791 h 543407"/>
                <a:gd name="connsiteX83" fmla="*/ 133323 w 541553"/>
                <a:gd name="connsiteY83" fmla="*/ 505105 h 543407"/>
                <a:gd name="connsiteX84" fmla="*/ 136711 w 541553"/>
                <a:gd name="connsiteY84" fmla="*/ 507791 h 543407"/>
                <a:gd name="connsiteX85" fmla="*/ 54405 w 541553"/>
                <a:gd name="connsiteY85" fmla="*/ 4086 h 543407"/>
                <a:gd name="connsiteX86" fmla="*/ 89779 w 541553"/>
                <a:gd name="connsiteY86" fmla="*/ 2892 h 543407"/>
                <a:gd name="connsiteX87" fmla="*/ 86690 w 541553"/>
                <a:gd name="connsiteY87" fmla="*/ 2892 h 543407"/>
                <a:gd name="connsiteX88" fmla="*/ 73736 w 541553"/>
                <a:gd name="connsiteY88" fmla="*/ 469488 h 543407"/>
                <a:gd name="connsiteX89" fmla="*/ 73736 w 541553"/>
                <a:gd name="connsiteY89" fmla="*/ 469488 h 543407"/>
                <a:gd name="connsiteX90" fmla="*/ 73736 w 541553"/>
                <a:gd name="connsiteY90" fmla="*/ 468792 h 543407"/>
                <a:gd name="connsiteX91" fmla="*/ 73736 w 541553"/>
                <a:gd name="connsiteY91" fmla="*/ 469588 h 543407"/>
                <a:gd name="connsiteX92" fmla="*/ 66761 w 541553"/>
                <a:gd name="connsiteY92" fmla="*/ 457152 h 543407"/>
                <a:gd name="connsiteX93" fmla="*/ 69651 w 541553"/>
                <a:gd name="connsiteY93" fmla="*/ 462126 h 543407"/>
                <a:gd name="connsiteX94" fmla="*/ 66462 w 541553"/>
                <a:gd name="connsiteY94" fmla="*/ 454963 h 543407"/>
                <a:gd name="connsiteX95" fmla="*/ 66961 w 541553"/>
                <a:gd name="connsiteY95" fmla="*/ 457251 h 543407"/>
                <a:gd name="connsiteX96" fmla="*/ 52811 w 541553"/>
                <a:gd name="connsiteY96" fmla="*/ 442229 h 543407"/>
                <a:gd name="connsiteX97" fmla="*/ 55601 w 541553"/>
                <a:gd name="connsiteY97" fmla="*/ 442826 h 543407"/>
                <a:gd name="connsiteX98" fmla="*/ 51814 w 541553"/>
                <a:gd name="connsiteY98" fmla="*/ 440637 h 543407"/>
                <a:gd name="connsiteX99" fmla="*/ 52811 w 541553"/>
                <a:gd name="connsiteY99" fmla="*/ 442328 h 543407"/>
                <a:gd name="connsiteX100" fmla="*/ 42050 w 541553"/>
                <a:gd name="connsiteY100" fmla="*/ 432280 h 543407"/>
                <a:gd name="connsiteX101" fmla="*/ 45537 w 541553"/>
                <a:gd name="connsiteY101" fmla="*/ 431186 h 543407"/>
                <a:gd name="connsiteX102" fmla="*/ 42050 w 541553"/>
                <a:gd name="connsiteY102" fmla="*/ 431882 h 543407"/>
                <a:gd name="connsiteX103" fmla="*/ 20925 w 541553"/>
                <a:gd name="connsiteY103" fmla="*/ 435961 h 543407"/>
                <a:gd name="connsiteX104" fmla="*/ 26206 w 541553"/>
                <a:gd name="connsiteY104" fmla="*/ 437851 h 543407"/>
                <a:gd name="connsiteX105" fmla="*/ 24911 w 541553"/>
                <a:gd name="connsiteY105" fmla="*/ 437851 h 543407"/>
                <a:gd name="connsiteX106" fmla="*/ 20925 w 541553"/>
                <a:gd name="connsiteY106" fmla="*/ 435762 h 543407"/>
                <a:gd name="connsiteX107" fmla="*/ 9267 w 541553"/>
                <a:gd name="connsiteY107" fmla="*/ 427604 h 543407"/>
                <a:gd name="connsiteX108" fmla="*/ 14747 w 541553"/>
                <a:gd name="connsiteY108" fmla="*/ 430091 h 543407"/>
                <a:gd name="connsiteX109" fmla="*/ 13950 w 541553"/>
                <a:gd name="connsiteY109" fmla="*/ 428599 h 543407"/>
                <a:gd name="connsiteX110" fmla="*/ 9267 w 541553"/>
                <a:gd name="connsiteY110" fmla="*/ 427405 h 543407"/>
                <a:gd name="connsiteX111" fmla="*/ 0 w 541553"/>
                <a:gd name="connsiteY111" fmla="*/ 433573 h 543407"/>
                <a:gd name="connsiteX112" fmla="*/ 2391 w 541553"/>
                <a:gd name="connsiteY112" fmla="*/ 431086 h 543407"/>
                <a:gd name="connsiteX113" fmla="*/ 0 w 541553"/>
                <a:gd name="connsiteY113" fmla="*/ 433175 h 543407"/>
                <a:gd name="connsiteX114" fmla="*/ 1295 w 541553"/>
                <a:gd name="connsiteY114" fmla="*/ 318367 h 543407"/>
                <a:gd name="connsiteX115" fmla="*/ 398 w 541553"/>
                <a:gd name="connsiteY115" fmla="*/ 389301 h 543407"/>
                <a:gd name="connsiteX116" fmla="*/ 996 w 541553"/>
                <a:gd name="connsiteY116" fmla="*/ 386814 h 543407"/>
                <a:gd name="connsiteX117" fmla="*/ 99 w 541553"/>
                <a:gd name="connsiteY117" fmla="*/ 406314 h 543407"/>
                <a:gd name="connsiteX118" fmla="*/ 99 w 541553"/>
                <a:gd name="connsiteY118" fmla="*/ 413676 h 543407"/>
                <a:gd name="connsiteX119" fmla="*/ 99 w 541553"/>
                <a:gd name="connsiteY119" fmla="*/ 427206 h 543407"/>
                <a:gd name="connsiteX120" fmla="*/ 99 w 541553"/>
                <a:gd name="connsiteY120" fmla="*/ 406115 h 543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541553" h="543407">
                  <a:moveTo>
                    <a:pt x="251103" y="1698"/>
                  </a:moveTo>
                  <a:lnTo>
                    <a:pt x="246120" y="6673"/>
                  </a:lnTo>
                  <a:lnTo>
                    <a:pt x="249110" y="17517"/>
                  </a:lnTo>
                  <a:cubicBezTo>
                    <a:pt x="258476" y="16224"/>
                    <a:pt x="257978" y="6275"/>
                    <a:pt x="251103" y="1698"/>
                  </a:cubicBezTo>
                  <a:close/>
                  <a:moveTo>
                    <a:pt x="541067" y="158093"/>
                  </a:moveTo>
                  <a:lnTo>
                    <a:pt x="541067" y="176100"/>
                  </a:lnTo>
                  <a:cubicBezTo>
                    <a:pt x="541715" y="170111"/>
                    <a:pt x="541715" y="164082"/>
                    <a:pt x="541067" y="158093"/>
                  </a:cubicBezTo>
                  <a:close/>
                  <a:moveTo>
                    <a:pt x="537779" y="183860"/>
                  </a:moveTo>
                  <a:cubicBezTo>
                    <a:pt x="534790" y="184656"/>
                    <a:pt x="531900" y="185352"/>
                    <a:pt x="529508" y="186148"/>
                  </a:cubicBezTo>
                  <a:cubicBezTo>
                    <a:pt x="532478" y="186765"/>
                    <a:pt x="535557" y="185909"/>
                    <a:pt x="537779" y="183860"/>
                  </a:cubicBezTo>
                  <a:close/>
                  <a:moveTo>
                    <a:pt x="530006" y="237086"/>
                  </a:moveTo>
                  <a:cubicBezTo>
                    <a:pt x="530006" y="235792"/>
                    <a:pt x="528711" y="231813"/>
                    <a:pt x="528014" y="228231"/>
                  </a:cubicBezTo>
                  <a:cubicBezTo>
                    <a:pt x="528482" y="231226"/>
                    <a:pt x="529149" y="234181"/>
                    <a:pt x="530006" y="237086"/>
                  </a:cubicBezTo>
                  <a:close/>
                  <a:moveTo>
                    <a:pt x="523530" y="190128"/>
                  </a:moveTo>
                  <a:cubicBezTo>
                    <a:pt x="522434" y="192515"/>
                    <a:pt x="523530" y="195898"/>
                    <a:pt x="528114" y="201569"/>
                  </a:cubicBezTo>
                  <a:cubicBezTo>
                    <a:pt x="525323" y="197888"/>
                    <a:pt x="522633" y="193908"/>
                    <a:pt x="523530" y="190128"/>
                  </a:cubicBezTo>
                  <a:close/>
                  <a:moveTo>
                    <a:pt x="525921" y="244846"/>
                  </a:moveTo>
                  <a:cubicBezTo>
                    <a:pt x="523400" y="249462"/>
                    <a:pt x="521138" y="254208"/>
                    <a:pt x="519145" y="259072"/>
                  </a:cubicBezTo>
                  <a:cubicBezTo>
                    <a:pt x="521537" y="254794"/>
                    <a:pt x="523729" y="249522"/>
                    <a:pt x="525921" y="244846"/>
                  </a:cubicBezTo>
                  <a:close/>
                  <a:moveTo>
                    <a:pt x="514462" y="273996"/>
                  </a:moveTo>
                  <a:cubicBezTo>
                    <a:pt x="513356" y="278691"/>
                    <a:pt x="512858" y="283506"/>
                    <a:pt x="512968" y="288322"/>
                  </a:cubicBezTo>
                  <a:cubicBezTo>
                    <a:pt x="513864" y="283745"/>
                    <a:pt x="513964" y="278771"/>
                    <a:pt x="514462" y="273996"/>
                  </a:cubicBezTo>
                  <a:close/>
                  <a:moveTo>
                    <a:pt x="500910" y="321252"/>
                  </a:moveTo>
                  <a:cubicBezTo>
                    <a:pt x="499894" y="322078"/>
                    <a:pt x="499127" y="323182"/>
                    <a:pt x="498719" y="324436"/>
                  </a:cubicBezTo>
                  <a:cubicBezTo>
                    <a:pt x="499675" y="323540"/>
                    <a:pt x="500422" y="322456"/>
                    <a:pt x="500910" y="321252"/>
                  </a:cubicBezTo>
                  <a:close/>
                  <a:moveTo>
                    <a:pt x="500213" y="332494"/>
                  </a:moveTo>
                  <a:cubicBezTo>
                    <a:pt x="499954" y="330763"/>
                    <a:pt x="499346" y="329102"/>
                    <a:pt x="498419" y="327619"/>
                  </a:cubicBezTo>
                  <a:cubicBezTo>
                    <a:pt x="498658" y="329320"/>
                    <a:pt x="499276" y="330952"/>
                    <a:pt x="500213" y="332395"/>
                  </a:cubicBezTo>
                  <a:close/>
                  <a:moveTo>
                    <a:pt x="426775" y="385521"/>
                  </a:moveTo>
                  <a:cubicBezTo>
                    <a:pt x="428868" y="388108"/>
                    <a:pt x="430163" y="393480"/>
                    <a:pt x="434448" y="393579"/>
                  </a:cubicBezTo>
                  <a:cubicBezTo>
                    <a:pt x="436032" y="393948"/>
                    <a:pt x="437696" y="393738"/>
                    <a:pt x="439131" y="392982"/>
                  </a:cubicBezTo>
                  <a:cubicBezTo>
                    <a:pt x="430462" y="395668"/>
                    <a:pt x="429466" y="388406"/>
                    <a:pt x="426775" y="385521"/>
                  </a:cubicBezTo>
                  <a:close/>
                  <a:moveTo>
                    <a:pt x="410533" y="396564"/>
                  </a:moveTo>
                  <a:cubicBezTo>
                    <a:pt x="410533" y="398355"/>
                    <a:pt x="410533" y="399947"/>
                    <a:pt x="410035" y="401538"/>
                  </a:cubicBezTo>
                  <a:cubicBezTo>
                    <a:pt x="410344" y="399897"/>
                    <a:pt x="410514" y="398236"/>
                    <a:pt x="410533" y="396564"/>
                  </a:cubicBezTo>
                  <a:close/>
                  <a:moveTo>
                    <a:pt x="403559" y="405518"/>
                  </a:moveTo>
                  <a:cubicBezTo>
                    <a:pt x="404853" y="405946"/>
                    <a:pt x="406249" y="405946"/>
                    <a:pt x="407544" y="405518"/>
                  </a:cubicBezTo>
                  <a:cubicBezTo>
                    <a:pt x="406239" y="405836"/>
                    <a:pt x="404864" y="405836"/>
                    <a:pt x="403559" y="405518"/>
                  </a:cubicBezTo>
                  <a:close/>
                  <a:moveTo>
                    <a:pt x="391601" y="414571"/>
                  </a:moveTo>
                  <a:cubicBezTo>
                    <a:pt x="391760" y="413964"/>
                    <a:pt x="391960" y="413357"/>
                    <a:pt x="392199" y="412780"/>
                  </a:cubicBezTo>
                  <a:cubicBezTo>
                    <a:pt x="391731" y="413646"/>
                    <a:pt x="391192" y="414482"/>
                    <a:pt x="390604" y="415268"/>
                  </a:cubicBezTo>
                  <a:cubicBezTo>
                    <a:pt x="390844" y="414920"/>
                    <a:pt x="391192" y="414671"/>
                    <a:pt x="391601" y="414571"/>
                  </a:cubicBezTo>
                  <a:close/>
                  <a:moveTo>
                    <a:pt x="388013" y="417755"/>
                  </a:moveTo>
                  <a:cubicBezTo>
                    <a:pt x="386330" y="419496"/>
                    <a:pt x="385612" y="421953"/>
                    <a:pt x="386121" y="424321"/>
                  </a:cubicBezTo>
                  <a:cubicBezTo>
                    <a:pt x="386031" y="421983"/>
                    <a:pt x="386688" y="419685"/>
                    <a:pt x="388013" y="417755"/>
                  </a:cubicBezTo>
                  <a:close/>
                  <a:moveTo>
                    <a:pt x="380042" y="442030"/>
                  </a:moveTo>
                  <a:cubicBezTo>
                    <a:pt x="380919" y="445512"/>
                    <a:pt x="381428" y="449083"/>
                    <a:pt x="381537" y="452675"/>
                  </a:cubicBezTo>
                  <a:cubicBezTo>
                    <a:pt x="382444" y="449561"/>
                    <a:pt x="382125" y="446208"/>
                    <a:pt x="380640" y="443323"/>
                  </a:cubicBezTo>
                  <a:cubicBezTo>
                    <a:pt x="380391" y="442845"/>
                    <a:pt x="380192" y="442348"/>
                    <a:pt x="380042" y="441831"/>
                  </a:cubicBezTo>
                  <a:close/>
                  <a:moveTo>
                    <a:pt x="350149" y="447302"/>
                  </a:moveTo>
                  <a:cubicBezTo>
                    <a:pt x="347020" y="449641"/>
                    <a:pt x="344519" y="452715"/>
                    <a:pt x="342875" y="456257"/>
                  </a:cubicBezTo>
                  <a:cubicBezTo>
                    <a:pt x="347957" y="448198"/>
                    <a:pt x="353338" y="444616"/>
                    <a:pt x="359117" y="448795"/>
                  </a:cubicBezTo>
                  <a:cubicBezTo>
                    <a:pt x="355928" y="446208"/>
                    <a:pt x="352839" y="445014"/>
                    <a:pt x="349750" y="447302"/>
                  </a:cubicBezTo>
                  <a:close/>
                  <a:moveTo>
                    <a:pt x="329224" y="482123"/>
                  </a:moveTo>
                  <a:cubicBezTo>
                    <a:pt x="332870" y="480720"/>
                    <a:pt x="335522" y="477507"/>
                    <a:pt x="336199" y="473667"/>
                  </a:cubicBezTo>
                  <a:cubicBezTo>
                    <a:pt x="334724" y="477209"/>
                    <a:pt x="332133" y="480173"/>
                    <a:pt x="328825" y="482123"/>
                  </a:cubicBezTo>
                  <a:close/>
                  <a:moveTo>
                    <a:pt x="307302" y="540821"/>
                  </a:moveTo>
                  <a:cubicBezTo>
                    <a:pt x="303904" y="541378"/>
                    <a:pt x="300576" y="542243"/>
                    <a:pt x="297338" y="543407"/>
                  </a:cubicBezTo>
                  <a:close/>
                  <a:moveTo>
                    <a:pt x="270434" y="527887"/>
                  </a:moveTo>
                  <a:cubicBezTo>
                    <a:pt x="274320" y="532762"/>
                    <a:pt x="276811" y="536443"/>
                    <a:pt x="278804" y="539030"/>
                  </a:cubicBezTo>
                  <a:cubicBezTo>
                    <a:pt x="276393" y="534145"/>
                    <a:pt x="272995" y="529817"/>
                    <a:pt x="268840" y="526296"/>
                  </a:cubicBezTo>
                  <a:cubicBezTo>
                    <a:pt x="269298" y="526783"/>
                    <a:pt x="269696" y="527311"/>
                    <a:pt x="270035" y="527887"/>
                  </a:cubicBezTo>
                  <a:close/>
                  <a:moveTo>
                    <a:pt x="261864" y="521918"/>
                  </a:moveTo>
                  <a:cubicBezTo>
                    <a:pt x="259493" y="521122"/>
                    <a:pt x="256992" y="520794"/>
                    <a:pt x="254491" y="520923"/>
                  </a:cubicBezTo>
                  <a:cubicBezTo>
                    <a:pt x="256852" y="520923"/>
                    <a:pt x="259204" y="521262"/>
                    <a:pt x="261466" y="521918"/>
                  </a:cubicBezTo>
                  <a:close/>
                  <a:moveTo>
                    <a:pt x="243530" y="489187"/>
                  </a:moveTo>
                  <a:lnTo>
                    <a:pt x="236355" y="491575"/>
                  </a:lnTo>
                  <a:cubicBezTo>
                    <a:pt x="238717" y="491107"/>
                    <a:pt x="240999" y="490301"/>
                    <a:pt x="243131" y="489187"/>
                  </a:cubicBezTo>
                  <a:close/>
                  <a:moveTo>
                    <a:pt x="214733" y="505503"/>
                  </a:moveTo>
                  <a:cubicBezTo>
                    <a:pt x="217304" y="501911"/>
                    <a:pt x="220731" y="499006"/>
                    <a:pt x="224697" y="497046"/>
                  </a:cubicBezTo>
                  <a:cubicBezTo>
                    <a:pt x="224956" y="496668"/>
                    <a:pt x="225295" y="496360"/>
                    <a:pt x="225693" y="496151"/>
                  </a:cubicBezTo>
                  <a:cubicBezTo>
                    <a:pt x="220990" y="497962"/>
                    <a:pt x="217004" y="501245"/>
                    <a:pt x="214334" y="505503"/>
                  </a:cubicBezTo>
                  <a:close/>
                  <a:moveTo>
                    <a:pt x="207658" y="510975"/>
                  </a:moveTo>
                  <a:cubicBezTo>
                    <a:pt x="208585" y="510716"/>
                    <a:pt x="209451" y="510318"/>
                    <a:pt x="210249" y="509781"/>
                  </a:cubicBezTo>
                  <a:cubicBezTo>
                    <a:pt x="208804" y="510298"/>
                    <a:pt x="207289" y="510567"/>
                    <a:pt x="205765" y="510577"/>
                  </a:cubicBezTo>
                  <a:cubicBezTo>
                    <a:pt x="206283" y="510845"/>
                    <a:pt x="206781" y="511144"/>
                    <a:pt x="207260" y="511472"/>
                  </a:cubicBezTo>
                  <a:close/>
                  <a:moveTo>
                    <a:pt x="197694" y="512168"/>
                  </a:moveTo>
                  <a:cubicBezTo>
                    <a:pt x="198939" y="511223"/>
                    <a:pt x="200424" y="510636"/>
                    <a:pt x="201978" y="510477"/>
                  </a:cubicBezTo>
                  <a:cubicBezTo>
                    <a:pt x="201251" y="510587"/>
                    <a:pt x="200514" y="510587"/>
                    <a:pt x="199786" y="510477"/>
                  </a:cubicBezTo>
                  <a:close/>
                  <a:moveTo>
                    <a:pt x="113793" y="1997"/>
                  </a:moveTo>
                  <a:cubicBezTo>
                    <a:pt x="130035" y="1997"/>
                    <a:pt x="146078" y="803"/>
                    <a:pt x="161722" y="107"/>
                  </a:cubicBezTo>
                  <a:cubicBezTo>
                    <a:pt x="145560" y="-271"/>
                    <a:pt x="129377" y="355"/>
                    <a:pt x="113295" y="1997"/>
                  </a:cubicBezTo>
                  <a:close/>
                  <a:moveTo>
                    <a:pt x="136711" y="507791"/>
                  </a:moveTo>
                  <a:cubicBezTo>
                    <a:pt x="135466" y="507055"/>
                    <a:pt x="134320" y="506149"/>
                    <a:pt x="133323" y="505105"/>
                  </a:cubicBezTo>
                  <a:cubicBezTo>
                    <a:pt x="134300" y="506179"/>
                    <a:pt x="135446" y="507084"/>
                    <a:pt x="136711" y="507791"/>
                  </a:cubicBezTo>
                  <a:close/>
                  <a:moveTo>
                    <a:pt x="54405" y="4086"/>
                  </a:moveTo>
                  <a:cubicBezTo>
                    <a:pt x="66163" y="4086"/>
                    <a:pt x="78021" y="3191"/>
                    <a:pt x="89779" y="2892"/>
                  </a:cubicBezTo>
                  <a:cubicBezTo>
                    <a:pt x="88753" y="2952"/>
                    <a:pt x="87716" y="2952"/>
                    <a:pt x="86690" y="2892"/>
                  </a:cubicBezTo>
                  <a:close/>
                  <a:moveTo>
                    <a:pt x="73736" y="469488"/>
                  </a:moveTo>
                  <a:lnTo>
                    <a:pt x="73736" y="469488"/>
                  </a:lnTo>
                  <a:cubicBezTo>
                    <a:pt x="73736" y="469488"/>
                    <a:pt x="73736" y="468891"/>
                    <a:pt x="73736" y="468792"/>
                  </a:cubicBezTo>
                  <a:cubicBezTo>
                    <a:pt x="73756" y="469060"/>
                    <a:pt x="73756" y="469319"/>
                    <a:pt x="73736" y="469588"/>
                  </a:cubicBezTo>
                  <a:close/>
                  <a:moveTo>
                    <a:pt x="66761" y="457152"/>
                  </a:moveTo>
                  <a:cubicBezTo>
                    <a:pt x="67628" y="458863"/>
                    <a:pt x="68595" y="460524"/>
                    <a:pt x="69651" y="462126"/>
                  </a:cubicBezTo>
                  <a:cubicBezTo>
                    <a:pt x="68555" y="459938"/>
                    <a:pt x="67459" y="457351"/>
                    <a:pt x="66462" y="454963"/>
                  </a:cubicBezTo>
                  <a:cubicBezTo>
                    <a:pt x="66751" y="455689"/>
                    <a:pt x="66920" y="456465"/>
                    <a:pt x="66961" y="457251"/>
                  </a:cubicBezTo>
                  <a:close/>
                  <a:moveTo>
                    <a:pt x="52811" y="442229"/>
                  </a:moveTo>
                  <a:cubicBezTo>
                    <a:pt x="53748" y="442368"/>
                    <a:pt x="54684" y="442567"/>
                    <a:pt x="55601" y="442826"/>
                  </a:cubicBezTo>
                  <a:cubicBezTo>
                    <a:pt x="54276" y="442219"/>
                    <a:pt x="53010" y="441483"/>
                    <a:pt x="51814" y="440637"/>
                  </a:cubicBezTo>
                  <a:cubicBezTo>
                    <a:pt x="52103" y="441224"/>
                    <a:pt x="52443" y="441791"/>
                    <a:pt x="52811" y="442328"/>
                  </a:cubicBezTo>
                  <a:close/>
                  <a:moveTo>
                    <a:pt x="42050" y="432280"/>
                  </a:moveTo>
                  <a:cubicBezTo>
                    <a:pt x="43156" y="431743"/>
                    <a:pt x="44331" y="431375"/>
                    <a:pt x="45537" y="431186"/>
                  </a:cubicBezTo>
                  <a:cubicBezTo>
                    <a:pt x="44341" y="430718"/>
                    <a:pt x="42976" y="430987"/>
                    <a:pt x="42050" y="431882"/>
                  </a:cubicBezTo>
                  <a:close/>
                  <a:moveTo>
                    <a:pt x="20925" y="435961"/>
                  </a:moveTo>
                  <a:cubicBezTo>
                    <a:pt x="22420" y="437165"/>
                    <a:pt x="24283" y="437831"/>
                    <a:pt x="26206" y="437851"/>
                  </a:cubicBezTo>
                  <a:cubicBezTo>
                    <a:pt x="25787" y="438000"/>
                    <a:pt x="25329" y="438000"/>
                    <a:pt x="24911" y="437851"/>
                  </a:cubicBezTo>
                  <a:cubicBezTo>
                    <a:pt x="23496" y="437334"/>
                    <a:pt x="22150" y="436638"/>
                    <a:pt x="20925" y="435762"/>
                  </a:cubicBezTo>
                  <a:close/>
                  <a:moveTo>
                    <a:pt x="9267" y="427604"/>
                  </a:moveTo>
                  <a:cubicBezTo>
                    <a:pt x="11329" y="427753"/>
                    <a:pt x="13272" y="428639"/>
                    <a:pt x="14747" y="430091"/>
                  </a:cubicBezTo>
                  <a:cubicBezTo>
                    <a:pt x="14418" y="429624"/>
                    <a:pt x="14159" y="429126"/>
                    <a:pt x="13950" y="428599"/>
                  </a:cubicBezTo>
                  <a:cubicBezTo>
                    <a:pt x="12585" y="427644"/>
                    <a:pt x="10920" y="427216"/>
                    <a:pt x="9267" y="427405"/>
                  </a:cubicBezTo>
                  <a:close/>
                  <a:moveTo>
                    <a:pt x="0" y="433573"/>
                  </a:moveTo>
                  <a:cubicBezTo>
                    <a:pt x="717" y="432678"/>
                    <a:pt x="1524" y="431842"/>
                    <a:pt x="2391" y="431086"/>
                  </a:cubicBezTo>
                  <a:lnTo>
                    <a:pt x="0" y="433175"/>
                  </a:lnTo>
                  <a:close/>
                  <a:moveTo>
                    <a:pt x="1295" y="318367"/>
                  </a:moveTo>
                  <a:cubicBezTo>
                    <a:pt x="1295" y="342045"/>
                    <a:pt x="996" y="365693"/>
                    <a:pt x="398" y="389301"/>
                  </a:cubicBezTo>
                  <a:cubicBezTo>
                    <a:pt x="398" y="388605"/>
                    <a:pt x="398" y="387610"/>
                    <a:pt x="996" y="386814"/>
                  </a:cubicBezTo>
                  <a:close/>
                  <a:moveTo>
                    <a:pt x="99" y="406314"/>
                  </a:moveTo>
                  <a:cubicBezTo>
                    <a:pt x="99" y="408801"/>
                    <a:pt x="99" y="411189"/>
                    <a:pt x="99" y="413676"/>
                  </a:cubicBezTo>
                  <a:lnTo>
                    <a:pt x="99" y="427206"/>
                  </a:lnTo>
                  <a:cubicBezTo>
                    <a:pt x="966" y="420202"/>
                    <a:pt x="966" y="413119"/>
                    <a:pt x="99" y="40611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581" name="Graphic 231">
              <a:extLst>
                <a:ext uri="{FF2B5EF4-FFF2-40B4-BE49-F238E27FC236}">
                  <a16:creationId xmlns:a16="http://schemas.microsoft.com/office/drawing/2014/main" id="{7A269635-82C6-4162-BDD6-7C9B92ACB084}"/>
                </a:ext>
              </a:extLst>
            </p:cNvPr>
            <p:cNvGrpSpPr/>
            <p:nvPr/>
          </p:nvGrpSpPr>
          <p:grpSpPr>
            <a:xfrm>
              <a:off x="1977767" y="1619193"/>
              <a:ext cx="500349" cy="901057"/>
              <a:chOff x="1977767" y="1619193"/>
              <a:chExt cx="500349" cy="901057"/>
            </a:xfrm>
            <a:solidFill>
              <a:srgbClr val="ECE8E4"/>
            </a:solidFill>
          </p:grpSpPr>
          <p:sp>
            <p:nvSpPr>
              <p:cNvPr id="2267" name="Freeform: Shape 2266">
                <a:extLst>
                  <a:ext uri="{FF2B5EF4-FFF2-40B4-BE49-F238E27FC236}">
                    <a16:creationId xmlns:a16="http://schemas.microsoft.com/office/drawing/2014/main" id="{04F11B14-636B-4180-A42C-292F4D8DB622}"/>
                  </a:ext>
                </a:extLst>
              </p:cNvPr>
              <p:cNvSpPr/>
              <p:nvPr/>
            </p:nvSpPr>
            <p:spPr>
              <a:xfrm>
                <a:off x="1977767" y="1997046"/>
                <a:ext cx="1394" cy="13530"/>
              </a:xfrm>
              <a:custGeom>
                <a:avLst/>
                <a:gdLst>
                  <a:gd name="connsiteX0" fmla="*/ 0 w 1394"/>
                  <a:gd name="connsiteY0" fmla="*/ 8158 h 13530"/>
                  <a:gd name="connsiteX1" fmla="*/ 1395 w 1394"/>
                  <a:gd name="connsiteY1" fmla="*/ 0 h 13530"/>
                  <a:gd name="connsiteX2" fmla="*/ 100 w 1394"/>
                  <a:gd name="connsiteY2" fmla="*/ 13530 h 13530"/>
                  <a:gd name="connsiteX3" fmla="*/ 0 w 1394"/>
                  <a:gd name="connsiteY3" fmla="*/ 8158 h 13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4" h="13530">
                    <a:moveTo>
                      <a:pt x="0" y="8158"/>
                    </a:moveTo>
                    <a:cubicBezTo>
                      <a:pt x="289" y="5412"/>
                      <a:pt x="757" y="2686"/>
                      <a:pt x="1395" y="0"/>
                    </a:cubicBezTo>
                    <a:cubicBezTo>
                      <a:pt x="508" y="4457"/>
                      <a:pt x="70" y="8984"/>
                      <a:pt x="100" y="13530"/>
                    </a:cubicBezTo>
                    <a:cubicBezTo>
                      <a:pt x="0" y="11541"/>
                      <a:pt x="0" y="9849"/>
                      <a:pt x="0" y="815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68" name="Freeform: Shape 2267">
                <a:extLst>
                  <a:ext uri="{FF2B5EF4-FFF2-40B4-BE49-F238E27FC236}">
                    <a16:creationId xmlns:a16="http://schemas.microsoft.com/office/drawing/2014/main" id="{1C7AAB6E-39E1-4C0C-878F-72DBA11D68B7}"/>
                  </a:ext>
                </a:extLst>
              </p:cNvPr>
              <p:cNvSpPr/>
              <p:nvPr/>
            </p:nvSpPr>
            <p:spPr>
              <a:xfrm>
                <a:off x="1992423" y="1945910"/>
                <a:ext cx="788" cy="5173"/>
              </a:xfrm>
              <a:custGeom>
                <a:avLst/>
                <a:gdLst>
                  <a:gd name="connsiteX0" fmla="*/ 291 w 788"/>
                  <a:gd name="connsiteY0" fmla="*/ 5173 h 5173"/>
                  <a:gd name="connsiteX1" fmla="*/ 789 w 788"/>
                  <a:gd name="connsiteY1" fmla="*/ 0 h 5173"/>
                  <a:gd name="connsiteX2" fmla="*/ 291 w 788"/>
                  <a:gd name="connsiteY2" fmla="*/ 5173 h 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8" h="5173">
                    <a:moveTo>
                      <a:pt x="291" y="5173"/>
                    </a:moveTo>
                    <a:cubicBezTo>
                      <a:pt x="-227" y="3452"/>
                      <a:pt x="-48" y="1592"/>
                      <a:pt x="789" y="0"/>
                    </a:cubicBezTo>
                    <a:cubicBezTo>
                      <a:pt x="141" y="1641"/>
                      <a:pt x="-38" y="3432"/>
                      <a:pt x="291" y="517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69" name="Freeform: Shape 2268">
                <a:extLst>
                  <a:ext uri="{FF2B5EF4-FFF2-40B4-BE49-F238E27FC236}">
                    <a16:creationId xmlns:a16="http://schemas.microsoft.com/office/drawing/2014/main" id="{E3B9C9C7-6390-4B7E-BC0E-A138F8D046CD}"/>
                  </a:ext>
                </a:extLst>
              </p:cNvPr>
              <p:cNvSpPr/>
              <p:nvPr/>
            </p:nvSpPr>
            <p:spPr>
              <a:xfrm>
                <a:off x="1994288" y="1965509"/>
                <a:ext cx="470" cy="5372"/>
              </a:xfrm>
              <a:custGeom>
                <a:avLst/>
                <a:gdLst>
                  <a:gd name="connsiteX0" fmla="*/ 120 w 470"/>
                  <a:gd name="connsiteY0" fmla="*/ 5372 h 5372"/>
                  <a:gd name="connsiteX1" fmla="*/ 120 w 470"/>
                  <a:gd name="connsiteY1" fmla="*/ 0 h 5372"/>
                  <a:gd name="connsiteX2" fmla="*/ 120 w 470"/>
                  <a:gd name="connsiteY2" fmla="*/ 5372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" h="5372">
                    <a:moveTo>
                      <a:pt x="120" y="5372"/>
                    </a:moveTo>
                    <a:cubicBezTo>
                      <a:pt x="-40" y="3582"/>
                      <a:pt x="-40" y="1791"/>
                      <a:pt x="120" y="0"/>
                    </a:cubicBezTo>
                    <a:cubicBezTo>
                      <a:pt x="588" y="1761"/>
                      <a:pt x="588" y="3611"/>
                      <a:pt x="120" y="537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0" name="Freeform: Shape 2269">
                <a:extLst>
                  <a:ext uri="{FF2B5EF4-FFF2-40B4-BE49-F238E27FC236}">
                    <a16:creationId xmlns:a16="http://schemas.microsoft.com/office/drawing/2014/main" id="{512FDD99-AE66-4729-932B-29B883B7B7D9}"/>
                  </a:ext>
                </a:extLst>
              </p:cNvPr>
              <p:cNvSpPr/>
              <p:nvPr/>
            </p:nvSpPr>
            <p:spPr>
              <a:xfrm>
                <a:off x="1994407" y="1954466"/>
                <a:ext cx="1295" cy="6566"/>
              </a:xfrm>
              <a:custGeom>
                <a:avLst/>
                <a:gdLst>
                  <a:gd name="connsiteX0" fmla="*/ 1295 w 1295"/>
                  <a:gd name="connsiteY0" fmla="*/ 0 h 6566"/>
                  <a:gd name="connsiteX1" fmla="*/ 0 w 1295"/>
                  <a:gd name="connsiteY1" fmla="*/ 6566 h 6566"/>
                  <a:gd name="connsiteX2" fmla="*/ 1295 w 1295"/>
                  <a:gd name="connsiteY2" fmla="*/ 0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5" h="6566">
                    <a:moveTo>
                      <a:pt x="1295" y="0"/>
                    </a:moveTo>
                    <a:lnTo>
                      <a:pt x="0" y="6566"/>
                    </a:lnTo>
                    <a:cubicBezTo>
                      <a:pt x="259" y="4348"/>
                      <a:pt x="688" y="2149"/>
                      <a:pt x="12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1" name="Freeform: Shape 2270">
                <a:extLst>
                  <a:ext uri="{FF2B5EF4-FFF2-40B4-BE49-F238E27FC236}">
                    <a16:creationId xmlns:a16="http://schemas.microsoft.com/office/drawing/2014/main" id="{C79A3942-BBDE-40D7-91FC-8476E479407D}"/>
                  </a:ext>
                </a:extLst>
              </p:cNvPr>
              <p:cNvSpPr/>
              <p:nvPr/>
            </p:nvSpPr>
            <p:spPr>
              <a:xfrm>
                <a:off x="1992215" y="2068578"/>
                <a:ext cx="3605" cy="8257"/>
              </a:xfrm>
              <a:custGeom>
                <a:avLst/>
                <a:gdLst>
                  <a:gd name="connsiteX0" fmla="*/ 3587 w 3605"/>
                  <a:gd name="connsiteY0" fmla="*/ 8257 h 8257"/>
                  <a:gd name="connsiteX1" fmla="*/ 0 w 3605"/>
                  <a:gd name="connsiteY1" fmla="*/ 0 h 8257"/>
                  <a:gd name="connsiteX2" fmla="*/ 3587 w 3605"/>
                  <a:gd name="connsiteY2" fmla="*/ 8257 h 8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05" h="8257">
                    <a:moveTo>
                      <a:pt x="3587" y="8257"/>
                    </a:moveTo>
                    <a:cubicBezTo>
                      <a:pt x="3199" y="5223"/>
                      <a:pt x="1953" y="2358"/>
                      <a:pt x="0" y="0"/>
                    </a:cubicBezTo>
                    <a:cubicBezTo>
                      <a:pt x="2442" y="2020"/>
                      <a:pt x="3777" y="5094"/>
                      <a:pt x="3587" y="825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2" name="Freeform: Shape 2271">
                <a:extLst>
                  <a:ext uri="{FF2B5EF4-FFF2-40B4-BE49-F238E27FC236}">
                    <a16:creationId xmlns:a16="http://schemas.microsoft.com/office/drawing/2014/main" id="{73BA5931-51C0-426B-BAFE-52F1E1C17BB3}"/>
                  </a:ext>
                </a:extLst>
              </p:cNvPr>
              <p:cNvSpPr/>
              <p:nvPr/>
            </p:nvSpPr>
            <p:spPr>
              <a:xfrm>
                <a:off x="1995703" y="2079621"/>
                <a:ext cx="3686" cy="6864"/>
              </a:xfrm>
              <a:custGeom>
                <a:avLst/>
                <a:gdLst>
                  <a:gd name="connsiteX0" fmla="*/ 299 w 3686"/>
                  <a:gd name="connsiteY0" fmla="*/ 0 h 6864"/>
                  <a:gd name="connsiteX1" fmla="*/ 3687 w 3686"/>
                  <a:gd name="connsiteY1" fmla="*/ 6865 h 6864"/>
                  <a:gd name="connsiteX2" fmla="*/ 0 w 3686"/>
                  <a:gd name="connsiteY2" fmla="*/ 3184 h 6864"/>
                  <a:gd name="connsiteX3" fmla="*/ 299 w 3686"/>
                  <a:gd name="connsiteY3" fmla="*/ 0 h 6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6" h="6864">
                    <a:moveTo>
                      <a:pt x="299" y="0"/>
                    </a:moveTo>
                    <a:cubicBezTo>
                      <a:pt x="827" y="2537"/>
                      <a:pt x="1993" y="4895"/>
                      <a:pt x="3687" y="6865"/>
                    </a:cubicBezTo>
                    <a:cubicBezTo>
                      <a:pt x="2382" y="5710"/>
                      <a:pt x="1156" y="4487"/>
                      <a:pt x="0" y="3184"/>
                    </a:cubicBezTo>
                    <a:cubicBezTo>
                      <a:pt x="189" y="2129"/>
                      <a:pt x="289" y="1064"/>
                      <a:pt x="2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3" name="Freeform: Shape 2272">
                <a:extLst>
                  <a:ext uri="{FF2B5EF4-FFF2-40B4-BE49-F238E27FC236}">
                    <a16:creationId xmlns:a16="http://schemas.microsoft.com/office/drawing/2014/main" id="{107418E8-26AC-4B96-9A46-EFD3D2CEC3E1}"/>
                  </a:ext>
                </a:extLst>
              </p:cNvPr>
              <p:cNvSpPr/>
              <p:nvPr/>
            </p:nvSpPr>
            <p:spPr>
              <a:xfrm>
                <a:off x="1998094" y="1936956"/>
                <a:ext cx="2690" cy="1591"/>
              </a:xfrm>
              <a:custGeom>
                <a:avLst/>
                <a:gdLst>
                  <a:gd name="connsiteX0" fmla="*/ 797 w 2690"/>
                  <a:gd name="connsiteY0" fmla="*/ 597 h 1591"/>
                  <a:gd name="connsiteX1" fmla="*/ 2690 w 2690"/>
                  <a:gd name="connsiteY1" fmla="*/ 0 h 1591"/>
                  <a:gd name="connsiteX2" fmla="*/ 0 w 2690"/>
                  <a:gd name="connsiteY2" fmla="*/ 1592 h 1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90" h="1591">
                    <a:moveTo>
                      <a:pt x="797" y="597"/>
                    </a:moveTo>
                    <a:cubicBezTo>
                      <a:pt x="1445" y="458"/>
                      <a:pt x="2082" y="259"/>
                      <a:pt x="2690" y="0"/>
                    </a:cubicBezTo>
                    <a:cubicBezTo>
                      <a:pt x="1724" y="408"/>
                      <a:pt x="827" y="945"/>
                      <a:pt x="0" y="159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4" name="Freeform: Shape 2273">
                <a:extLst>
                  <a:ext uri="{FF2B5EF4-FFF2-40B4-BE49-F238E27FC236}">
                    <a16:creationId xmlns:a16="http://schemas.microsoft.com/office/drawing/2014/main" id="{E02CD0B0-D95C-4618-BE27-F92A444D327B}"/>
                  </a:ext>
                </a:extLst>
              </p:cNvPr>
              <p:cNvSpPr/>
              <p:nvPr/>
            </p:nvSpPr>
            <p:spPr>
              <a:xfrm>
                <a:off x="2015631" y="2100812"/>
                <a:ext cx="6975" cy="11839"/>
              </a:xfrm>
              <a:custGeom>
                <a:avLst/>
                <a:gdLst>
                  <a:gd name="connsiteX0" fmla="*/ 0 w 6975"/>
                  <a:gd name="connsiteY0" fmla="*/ 0 h 11839"/>
                  <a:gd name="connsiteX1" fmla="*/ 6975 w 6975"/>
                  <a:gd name="connsiteY1" fmla="*/ 11839 h 11839"/>
                  <a:gd name="connsiteX2" fmla="*/ 0 w 6975"/>
                  <a:gd name="connsiteY2" fmla="*/ 0 h 11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75" h="11839">
                    <a:moveTo>
                      <a:pt x="0" y="0"/>
                    </a:moveTo>
                    <a:cubicBezTo>
                      <a:pt x="3657" y="2995"/>
                      <a:pt x="6128" y="7193"/>
                      <a:pt x="6975" y="11839"/>
                    </a:cubicBezTo>
                    <a:cubicBezTo>
                      <a:pt x="5650" y="7382"/>
                      <a:pt x="3258" y="332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5" name="Freeform: Shape 2274">
                <a:extLst>
                  <a:ext uri="{FF2B5EF4-FFF2-40B4-BE49-F238E27FC236}">
                    <a16:creationId xmlns:a16="http://schemas.microsoft.com/office/drawing/2014/main" id="{392AD0A2-6132-4C9B-AA6A-A4F4B345CB01}"/>
                  </a:ext>
                </a:extLst>
              </p:cNvPr>
              <p:cNvSpPr/>
              <p:nvPr/>
            </p:nvSpPr>
            <p:spPr>
              <a:xfrm>
                <a:off x="2010450" y="1924122"/>
                <a:ext cx="16042" cy="9948"/>
              </a:xfrm>
              <a:custGeom>
                <a:avLst/>
                <a:gdLst>
                  <a:gd name="connsiteX0" fmla="*/ 16043 w 16042"/>
                  <a:gd name="connsiteY0" fmla="*/ 0 h 9948"/>
                  <a:gd name="connsiteX1" fmla="*/ 0 w 16042"/>
                  <a:gd name="connsiteY1" fmla="*/ 9949 h 9948"/>
                  <a:gd name="connsiteX2" fmla="*/ 16043 w 16042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42" h="9948">
                    <a:moveTo>
                      <a:pt x="16043" y="0"/>
                    </a:moveTo>
                    <a:cubicBezTo>
                      <a:pt x="15246" y="7760"/>
                      <a:pt x="7672" y="8655"/>
                      <a:pt x="0" y="9949"/>
                    </a:cubicBezTo>
                    <a:cubicBezTo>
                      <a:pt x="9765" y="8257"/>
                      <a:pt x="12954" y="8755"/>
                      <a:pt x="16043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6" name="Freeform: Shape 2275">
                <a:extLst>
                  <a:ext uri="{FF2B5EF4-FFF2-40B4-BE49-F238E27FC236}">
                    <a16:creationId xmlns:a16="http://schemas.microsoft.com/office/drawing/2014/main" id="{88D501AA-321E-40C0-9EC8-7D49EAB287E9}"/>
                  </a:ext>
                </a:extLst>
              </p:cNvPr>
              <p:cNvSpPr/>
              <p:nvPr/>
            </p:nvSpPr>
            <p:spPr>
              <a:xfrm>
                <a:off x="2027489" y="1827918"/>
                <a:ext cx="1295" cy="5173"/>
              </a:xfrm>
              <a:custGeom>
                <a:avLst/>
                <a:gdLst>
                  <a:gd name="connsiteX0" fmla="*/ 1295 w 1295"/>
                  <a:gd name="connsiteY0" fmla="*/ 5173 h 5173"/>
                  <a:gd name="connsiteX1" fmla="*/ 0 w 1295"/>
                  <a:gd name="connsiteY1" fmla="*/ 3184 h 5173"/>
                  <a:gd name="connsiteX2" fmla="*/ 1295 w 1295"/>
                  <a:gd name="connsiteY2" fmla="*/ 0 h 5173"/>
                  <a:gd name="connsiteX3" fmla="*/ 1295 w 1295"/>
                  <a:gd name="connsiteY3" fmla="*/ 5173 h 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5" h="5173">
                    <a:moveTo>
                      <a:pt x="1295" y="5173"/>
                    </a:moveTo>
                    <a:lnTo>
                      <a:pt x="0" y="3184"/>
                    </a:lnTo>
                    <a:cubicBezTo>
                      <a:pt x="0" y="2189"/>
                      <a:pt x="897" y="1094"/>
                      <a:pt x="1295" y="0"/>
                    </a:cubicBezTo>
                    <a:cubicBezTo>
                      <a:pt x="897" y="1701"/>
                      <a:pt x="897" y="3472"/>
                      <a:pt x="1295" y="517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7" name="Freeform: Shape 2276">
                <a:extLst>
                  <a:ext uri="{FF2B5EF4-FFF2-40B4-BE49-F238E27FC236}">
                    <a16:creationId xmlns:a16="http://schemas.microsoft.com/office/drawing/2014/main" id="{14F60EC1-A128-4484-8D75-48ADFB29E41B}"/>
                  </a:ext>
                </a:extLst>
              </p:cNvPr>
              <p:cNvSpPr/>
              <p:nvPr/>
            </p:nvSpPr>
            <p:spPr>
              <a:xfrm>
                <a:off x="2031176" y="1836772"/>
                <a:ext cx="996" cy="1591"/>
              </a:xfrm>
              <a:custGeom>
                <a:avLst/>
                <a:gdLst>
                  <a:gd name="connsiteX0" fmla="*/ 997 w 996"/>
                  <a:gd name="connsiteY0" fmla="*/ 1592 h 1591"/>
                  <a:gd name="connsiteX1" fmla="*/ 0 w 996"/>
                  <a:gd name="connsiteY1" fmla="*/ 0 h 1591"/>
                  <a:gd name="connsiteX2" fmla="*/ 0 w 996"/>
                  <a:gd name="connsiteY2" fmla="*/ 0 h 1591"/>
                  <a:gd name="connsiteX3" fmla="*/ 997 w 996"/>
                  <a:gd name="connsiteY3" fmla="*/ 1592 h 1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" h="1591">
                    <a:moveTo>
                      <a:pt x="997" y="1592"/>
                    </a:moveTo>
                    <a:cubicBezTo>
                      <a:pt x="698" y="1035"/>
                      <a:pt x="369" y="507"/>
                      <a:pt x="0" y="0"/>
                    </a:cubicBezTo>
                    <a:lnTo>
                      <a:pt x="0" y="0"/>
                    </a:lnTo>
                    <a:cubicBezTo>
                      <a:pt x="449" y="448"/>
                      <a:pt x="787" y="995"/>
                      <a:pt x="997" y="159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8" name="Freeform: Shape 2277">
                <a:extLst>
                  <a:ext uri="{FF2B5EF4-FFF2-40B4-BE49-F238E27FC236}">
                    <a16:creationId xmlns:a16="http://schemas.microsoft.com/office/drawing/2014/main" id="{0A3A6FDB-BCF4-46DF-867C-BEFF0E7B648C}"/>
                  </a:ext>
                </a:extLst>
              </p:cNvPr>
              <p:cNvSpPr/>
              <p:nvPr/>
            </p:nvSpPr>
            <p:spPr>
              <a:xfrm>
                <a:off x="2031176" y="1815482"/>
                <a:ext cx="1494" cy="4974"/>
              </a:xfrm>
              <a:custGeom>
                <a:avLst/>
                <a:gdLst>
                  <a:gd name="connsiteX0" fmla="*/ 1395 w 1494"/>
                  <a:gd name="connsiteY0" fmla="*/ 1791 h 4974"/>
                  <a:gd name="connsiteX1" fmla="*/ 0 w 1494"/>
                  <a:gd name="connsiteY1" fmla="*/ 4974 h 4974"/>
                  <a:gd name="connsiteX2" fmla="*/ 1495 w 1494"/>
                  <a:gd name="connsiteY2" fmla="*/ 0 h 4974"/>
                  <a:gd name="connsiteX3" fmla="*/ 1395 w 1494"/>
                  <a:gd name="connsiteY3" fmla="*/ 1791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4" h="4974">
                    <a:moveTo>
                      <a:pt x="1395" y="1791"/>
                    </a:moveTo>
                    <a:cubicBezTo>
                      <a:pt x="1395" y="2587"/>
                      <a:pt x="498" y="3681"/>
                      <a:pt x="0" y="4974"/>
                    </a:cubicBezTo>
                    <a:cubicBezTo>
                      <a:pt x="498" y="3184"/>
                      <a:pt x="997" y="1492"/>
                      <a:pt x="1495" y="0"/>
                    </a:cubicBezTo>
                    <a:cubicBezTo>
                      <a:pt x="1365" y="587"/>
                      <a:pt x="1325" y="1194"/>
                      <a:pt x="1395" y="179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79" name="Freeform: Shape 2278">
                <a:extLst>
                  <a:ext uri="{FF2B5EF4-FFF2-40B4-BE49-F238E27FC236}">
                    <a16:creationId xmlns:a16="http://schemas.microsoft.com/office/drawing/2014/main" id="{C2E4170A-D10C-41B8-BD80-2DA9CD07F2B4}"/>
                  </a:ext>
                </a:extLst>
              </p:cNvPr>
              <p:cNvSpPr/>
              <p:nvPr/>
            </p:nvSpPr>
            <p:spPr>
              <a:xfrm>
                <a:off x="2031873" y="1890595"/>
                <a:ext cx="8868" cy="9948"/>
              </a:xfrm>
              <a:custGeom>
                <a:avLst/>
                <a:gdLst>
                  <a:gd name="connsiteX0" fmla="*/ 8868 w 8868"/>
                  <a:gd name="connsiteY0" fmla="*/ 0 h 9948"/>
                  <a:gd name="connsiteX1" fmla="*/ 0 w 8868"/>
                  <a:gd name="connsiteY1" fmla="*/ 9949 h 9948"/>
                  <a:gd name="connsiteX2" fmla="*/ 8868 w 8868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68" h="9948">
                    <a:moveTo>
                      <a:pt x="8868" y="0"/>
                    </a:moveTo>
                    <a:cubicBezTo>
                      <a:pt x="5979" y="3184"/>
                      <a:pt x="2790" y="6268"/>
                      <a:pt x="0" y="9949"/>
                    </a:cubicBezTo>
                    <a:cubicBezTo>
                      <a:pt x="2581" y="6317"/>
                      <a:pt x="5550" y="2975"/>
                      <a:pt x="886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0" name="Freeform: Shape 2279">
                <a:extLst>
                  <a:ext uri="{FF2B5EF4-FFF2-40B4-BE49-F238E27FC236}">
                    <a16:creationId xmlns:a16="http://schemas.microsoft.com/office/drawing/2014/main" id="{8CA98915-6C64-4085-A0B5-A7C7F20CED98}"/>
                  </a:ext>
                </a:extLst>
              </p:cNvPr>
              <p:cNvSpPr/>
              <p:nvPr/>
            </p:nvSpPr>
            <p:spPr>
              <a:xfrm>
                <a:off x="2035261" y="1843537"/>
                <a:ext cx="2989" cy="2586"/>
              </a:xfrm>
              <a:custGeom>
                <a:avLst/>
                <a:gdLst>
                  <a:gd name="connsiteX0" fmla="*/ 1295 w 2989"/>
                  <a:gd name="connsiteY0" fmla="*/ 2487 h 2586"/>
                  <a:gd name="connsiteX1" fmla="*/ 0 w 2989"/>
                  <a:gd name="connsiteY1" fmla="*/ 0 h 2586"/>
                  <a:gd name="connsiteX2" fmla="*/ 2990 w 2989"/>
                  <a:gd name="connsiteY2" fmla="*/ 2587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2586">
                    <a:moveTo>
                      <a:pt x="1295" y="2487"/>
                    </a:moveTo>
                    <a:lnTo>
                      <a:pt x="0" y="0"/>
                    </a:lnTo>
                    <a:cubicBezTo>
                      <a:pt x="658" y="1194"/>
                      <a:pt x="1714" y="2109"/>
                      <a:pt x="2990" y="25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1" name="Freeform: Shape 2280">
                <a:extLst>
                  <a:ext uri="{FF2B5EF4-FFF2-40B4-BE49-F238E27FC236}">
                    <a16:creationId xmlns:a16="http://schemas.microsoft.com/office/drawing/2014/main" id="{9E73A869-5F80-4316-9EDC-7B67F2B0786D}"/>
                  </a:ext>
                </a:extLst>
              </p:cNvPr>
              <p:cNvSpPr/>
              <p:nvPr/>
            </p:nvSpPr>
            <p:spPr>
              <a:xfrm>
                <a:off x="2039745" y="1846024"/>
                <a:ext cx="3786" cy="2586"/>
              </a:xfrm>
              <a:custGeom>
                <a:avLst/>
                <a:gdLst>
                  <a:gd name="connsiteX0" fmla="*/ 1794 w 3786"/>
                  <a:gd name="connsiteY0" fmla="*/ 0 h 2586"/>
                  <a:gd name="connsiteX1" fmla="*/ 3787 w 3786"/>
                  <a:gd name="connsiteY1" fmla="*/ 2587 h 2586"/>
                  <a:gd name="connsiteX2" fmla="*/ 0 w 3786"/>
                  <a:gd name="connsiteY2" fmla="*/ 497 h 2586"/>
                  <a:gd name="connsiteX3" fmla="*/ 1794 w 3786"/>
                  <a:gd name="connsiteY3" fmla="*/ 0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6" h="2586">
                    <a:moveTo>
                      <a:pt x="1794" y="0"/>
                    </a:moveTo>
                    <a:cubicBezTo>
                      <a:pt x="2521" y="816"/>
                      <a:pt x="3189" y="1681"/>
                      <a:pt x="3787" y="2587"/>
                    </a:cubicBezTo>
                    <a:cubicBezTo>
                      <a:pt x="2700" y="1602"/>
                      <a:pt x="1405" y="885"/>
                      <a:pt x="0" y="497"/>
                    </a:cubicBezTo>
                    <a:cubicBezTo>
                      <a:pt x="638" y="507"/>
                      <a:pt x="1256" y="338"/>
                      <a:pt x="179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2" name="Freeform: Shape 2281">
                <a:extLst>
                  <a:ext uri="{FF2B5EF4-FFF2-40B4-BE49-F238E27FC236}">
                    <a16:creationId xmlns:a16="http://schemas.microsoft.com/office/drawing/2014/main" id="{08660E1F-8D4B-4BD7-9230-62B15D036EDD}"/>
                  </a:ext>
                </a:extLst>
              </p:cNvPr>
              <p:cNvSpPr/>
              <p:nvPr/>
            </p:nvSpPr>
            <p:spPr>
              <a:xfrm>
                <a:off x="2046322" y="1799564"/>
                <a:ext cx="10163" cy="2785"/>
              </a:xfrm>
              <a:custGeom>
                <a:avLst/>
                <a:gdLst>
                  <a:gd name="connsiteX0" fmla="*/ 10164 w 10163"/>
                  <a:gd name="connsiteY0" fmla="*/ 0 h 2785"/>
                  <a:gd name="connsiteX1" fmla="*/ 5181 w 10163"/>
                  <a:gd name="connsiteY1" fmla="*/ 2786 h 2785"/>
                  <a:gd name="connsiteX2" fmla="*/ 0 w 10163"/>
                  <a:gd name="connsiteY2" fmla="*/ 2189 h 2785"/>
                  <a:gd name="connsiteX3" fmla="*/ 10164 w 10163"/>
                  <a:gd name="connsiteY3" fmla="*/ 0 h 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163" h="2785">
                    <a:moveTo>
                      <a:pt x="10164" y="0"/>
                    </a:moveTo>
                    <a:cubicBezTo>
                      <a:pt x="8330" y="577"/>
                      <a:pt x="6636" y="1532"/>
                      <a:pt x="5181" y="2786"/>
                    </a:cubicBezTo>
                    <a:cubicBezTo>
                      <a:pt x="3497" y="2308"/>
                      <a:pt x="1744" y="2109"/>
                      <a:pt x="0" y="2189"/>
                    </a:cubicBezTo>
                    <a:cubicBezTo>
                      <a:pt x="3388" y="1592"/>
                      <a:pt x="6776" y="896"/>
                      <a:pt x="1016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3" name="Freeform: Shape 2282">
                <a:extLst>
                  <a:ext uri="{FF2B5EF4-FFF2-40B4-BE49-F238E27FC236}">
                    <a16:creationId xmlns:a16="http://schemas.microsoft.com/office/drawing/2014/main" id="{4849BC02-69B7-4169-90BB-C10549451AB5}"/>
                  </a:ext>
                </a:extLst>
              </p:cNvPr>
              <p:cNvSpPr/>
              <p:nvPr/>
            </p:nvSpPr>
            <p:spPr>
              <a:xfrm>
                <a:off x="2052898" y="2139512"/>
                <a:ext cx="16740" cy="14525"/>
              </a:xfrm>
              <a:custGeom>
                <a:avLst/>
                <a:gdLst>
                  <a:gd name="connsiteX0" fmla="*/ 16740 w 16740"/>
                  <a:gd name="connsiteY0" fmla="*/ 14525 h 14525"/>
                  <a:gd name="connsiteX1" fmla="*/ 0 w 16740"/>
                  <a:gd name="connsiteY1" fmla="*/ 0 h 14525"/>
                  <a:gd name="connsiteX2" fmla="*/ 8569 w 16740"/>
                  <a:gd name="connsiteY2" fmla="*/ 6964 h 14525"/>
                  <a:gd name="connsiteX3" fmla="*/ 16740 w 16740"/>
                  <a:gd name="connsiteY3" fmla="*/ 14525 h 1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40" h="14525">
                    <a:moveTo>
                      <a:pt x="16740" y="14525"/>
                    </a:moveTo>
                    <a:cubicBezTo>
                      <a:pt x="11658" y="9849"/>
                      <a:pt x="5879" y="4576"/>
                      <a:pt x="0" y="0"/>
                    </a:cubicBezTo>
                    <a:cubicBezTo>
                      <a:pt x="2989" y="2149"/>
                      <a:pt x="5849" y="4477"/>
                      <a:pt x="8569" y="6964"/>
                    </a:cubicBezTo>
                    <a:cubicBezTo>
                      <a:pt x="11599" y="9143"/>
                      <a:pt x="14339" y="11680"/>
                      <a:pt x="16740" y="1452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4" name="Freeform: Shape 2283">
                <a:extLst>
                  <a:ext uri="{FF2B5EF4-FFF2-40B4-BE49-F238E27FC236}">
                    <a16:creationId xmlns:a16="http://schemas.microsoft.com/office/drawing/2014/main" id="{37C866D7-0395-4E51-9C11-828F9968DC48}"/>
                  </a:ext>
                </a:extLst>
              </p:cNvPr>
              <p:cNvSpPr/>
              <p:nvPr/>
            </p:nvSpPr>
            <p:spPr>
              <a:xfrm>
                <a:off x="2069041" y="1796927"/>
                <a:ext cx="7772" cy="447"/>
              </a:xfrm>
              <a:custGeom>
                <a:avLst/>
                <a:gdLst>
                  <a:gd name="connsiteX0" fmla="*/ 7772 w 7772"/>
                  <a:gd name="connsiteY0" fmla="*/ 149 h 447"/>
                  <a:gd name="connsiteX1" fmla="*/ 0 w 7772"/>
                  <a:gd name="connsiteY1" fmla="*/ 149 h 447"/>
                  <a:gd name="connsiteX2" fmla="*/ 7772 w 7772"/>
                  <a:gd name="connsiteY2" fmla="*/ 149 h 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72" h="447">
                    <a:moveTo>
                      <a:pt x="7772" y="149"/>
                    </a:moveTo>
                    <a:cubicBezTo>
                      <a:pt x="5201" y="547"/>
                      <a:pt x="2571" y="547"/>
                      <a:pt x="0" y="149"/>
                    </a:cubicBezTo>
                    <a:cubicBezTo>
                      <a:pt x="2591" y="-50"/>
                      <a:pt x="5181" y="-50"/>
                      <a:pt x="7772" y="1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5" name="Freeform: Shape 2284">
                <a:extLst>
                  <a:ext uri="{FF2B5EF4-FFF2-40B4-BE49-F238E27FC236}">
                    <a16:creationId xmlns:a16="http://schemas.microsoft.com/office/drawing/2014/main" id="{89548312-9FFE-4247-AFAD-EE7FA515279A}"/>
                  </a:ext>
                </a:extLst>
              </p:cNvPr>
              <p:cNvSpPr/>
              <p:nvPr/>
            </p:nvSpPr>
            <p:spPr>
              <a:xfrm>
                <a:off x="2076514" y="2164384"/>
                <a:ext cx="2092" cy="7859"/>
              </a:xfrm>
              <a:custGeom>
                <a:avLst/>
                <a:gdLst>
                  <a:gd name="connsiteX0" fmla="*/ 2092 w 2092"/>
                  <a:gd name="connsiteY0" fmla="*/ 7860 h 7859"/>
                  <a:gd name="connsiteX1" fmla="*/ 0 w 2092"/>
                  <a:gd name="connsiteY1" fmla="*/ 0 h 7859"/>
                  <a:gd name="connsiteX2" fmla="*/ 2092 w 2092"/>
                  <a:gd name="connsiteY2" fmla="*/ 7860 h 7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92" h="7859">
                    <a:moveTo>
                      <a:pt x="2092" y="7860"/>
                    </a:moveTo>
                    <a:cubicBezTo>
                      <a:pt x="1295" y="5174"/>
                      <a:pt x="498" y="2487"/>
                      <a:pt x="0" y="0"/>
                    </a:cubicBezTo>
                    <a:cubicBezTo>
                      <a:pt x="1146" y="2477"/>
                      <a:pt x="1853" y="5133"/>
                      <a:pt x="2092" y="786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6" name="Freeform: Shape 2285">
                <a:extLst>
                  <a:ext uri="{FF2B5EF4-FFF2-40B4-BE49-F238E27FC236}">
                    <a16:creationId xmlns:a16="http://schemas.microsoft.com/office/drawing/2014/main" id="{06B6F66C-F2F7-426C-8614-E02AF641DF4C}"/>
                  </a:ext>
                </a:extLst>
              </p:cNvPr>
              <p:cNvSpPr/>
              <p:nvPr/>
            </p:nvSpPr>
            <p:spPr>
              <a:xfrm>
                <a:off x="2077411" y="2181098"/>
                <a:ext cx="3105" cy="11142"/>
              </a:xfrm>
              <a:custGeom>
                <a:avLst/>
                <a:gdLst>
                  <a:gd name="connsiteX0" fmla="*/ 2690 w 3105"/>
                  <a:gd name="connsiteY0" fmla="*/ 0 h 11142"/>
                  <a:gd name="connsiteX1" fmla="*/ 0 w 3105"/>
                  <a:gd name="connsiteY1" fmla="*/ 11143 h 11142"/>
                  <a:gd name="connsiteX2" fmla="*/ 2690 w 3105"/>
                  <a:gd name="connsiteY2" fmla="*/ 0 h 1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05" h="11142">
                    <a:moveTo>
                      <a:pt x="2690" y="0"/>
                    </a:moveTo>
                    <a:cubicBezTo>
                      <a:pt x="3756" y="3930"/>
                      <a:pt x="2740" y="8128"/>
                      <a:pt x="0" y="11143"/>
                    </a:cubicBezTo>
                    <a:cubicBezTo>
                      <a:pt x="2491" y="7999"/>
                      <a:pt x="3478" y="3930"/>
                      <a:pt x="269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7" name="Freeform: Shape 2286">
                <a:extLst>
                  <a:ext uri="{FF2B5EF4-FFF2-40B4-BE49-F238E27FC236}">
                    <a16:creationId xmlns:a16="http://schemas.microsoft.com/office/drawing/2014/main" id="{9A480963-CA7D-431F-8CEB-5853D9C2685B}"/>
                  </a:ext>
                </a:extLst>
              </p:cNvPr>
              <p:cNvSpPr/>
              <p:nvPr/>
            </p:nvSpPr>
            <p:spPr>
              <a:xfrm>
                <a:off x="2082393" y="2205970"/>
                <a:ext cx="8768" cy="14226"/>
              </a:xfrm>
              <a:custGeom>
                <a:avLst/>
                <a:gdLst>
                  <a:gd name="connsiteX0" fmla="*/ 8769 w 8768"/>
                  <a:gd name="connsiteY0" fmla="*/ 14227 h 14226"/>
                  <a:gd name="connsiteX1" fmla="*/ 0 w 8768"/>
                  <a:gd name="connsiteY1" fmla="*/ 0 h 14226"/>
                  <a:gd name="connsiteX2" fmla="*/ 8769 w 8768"/>
                  <a:gd name="connsiteY2" fmla="*/ 14227 h 1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" h="14226">
                    <a:moveTo>
                      <a:pt x="8769" y="14227"/>
                    </a:moveTo>
                    <a:cubicBezTo>
                      <a:pt x="4205" y="10715"/>
                      <a:pt x="1086" y="5651"/>
                      <a:pt x="0" y="0"/>
                    </a:cubicBezTo>
                    <a:cubicBezTo>
                      <a:pt x="1634" y="5422"/>
                      <a:pt x="4663" y="10327"/>
                      <a:pt x="8769" y="1422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8" name="Freeform: Shape 2287">
                <a:extLst>
                  <a:ext uri="{FF2B5EF4-FFF2-40B4-BE49-F238E27FC236}">
                    <a16:creationId xmlns:a16="http://schemas.microsoft.com/office/drawing/2014/main" id="{330B580E-B8A0-4242-AE84-01006FF7B7BD}"/>
                  </a:ext>
                </a:extLst>
              </p:cNvPr>
              <p:cNvSpPr/>
              <p:nvPr/>
            </p:nvSpPr>
            <p:spPr>
              <a:xfrm>
                <a:off x="2084984" y="1789715"/>
                <a:ext cx="7971" cy="5073"/>
              </a:xfrm>
              <a:custGeom>
                <a:avLst/>
                <a:gdLst>
                  <a:gd name="connsiteX0" fmla="*/ 0 w 7971"/>
                  <a:gd name="connsiteY0" fmla="*/ 5074 h 5073"/>
                  <a:gd name="connsiteX1" fmla="*/ 7971 w 7971"/>
                  <a:gd name="connsiteY1" fmla="*/ 0 h 5073"/>
                  <a:gd name="connsiteX2" fmla="*/ 0 w 7971"/>
                  <a:gd name="connsiteY2" fmla="*/ 5074 h 5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71" h="5073">
                    <a:moveTo>
                      <a:pt x="0" y="5074"/>
                    </a:moveTo>
                    <a:cubicBezTo>
                      <a:pt x="2591" y="3582"/>
                      <a:pt x="5281" y="1691"/>
                      <a:pt x="7971" y="0"/>
                    </a:cubicBezTo>
                    <a:cubicBezTo>
                      <a:pt x="5570" y="2069"/>
                      <a:pt x="2889" y="3771"/>
                      <a:pt x="0" y="50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89" name="Freeform: Shape 2288">
                <a:extLst>
                  <a:ext uri="{FF2B5EF4-FFF2-40B4-BE49-F238E27FC236}">
                    <a16:creationId xmlns:a16="http://schemas.microsoft.com/office/drawing/2014/main" id="{578E2C09-A986-4134-9AB4-74E131C6EF0E}"/>
                  </a:ext>
                </a:extLst>
              </p:cNvPr>
              <p:cNvSpPr/>
              <p:nvPr/>
            </p:nvSpPr>
            <p:spPr>
              <a:xfrm>
                <a:off x="2088571" y="1626456"/>
                <a:ext cx="5878" cy="3979"/>
              </a:xfrm>
              <a:custGeom>
                <a:avLst/>
                <a:gdLst>
                  <a:gd name="connsiteX0" fmla="*/ 0 w 5878"/>
                  <a:gd name="connsiteY0" fmla="*/ 0 h 3979"/>
                  <a:gd name="connsiteX1" fmla="*/ 5879 w 5878"/>
                  <a:gd name="connsiteY1" fmla="*/ 3979 h 3979"/>
                  <a:gd name="connsiteX2" fmla="*/ 0 w 5878"/>
                  <a:gd name="connsiteY2" fmla="*/ 0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8" h="3979">
                    <a:moveTo>
                      <a:pt x="0" y="0"/>
                    </a:moveTo>
                    <a:cubicBezTo>
                      <a:pt x="1893" y="1194"/>
                      <a:pt x="3886" y="2487"/>
                      <a:pt x="5879" y="3979"/>
                    </a:cubicBezTo>
                    <a:cubicBezTo>
                      <a:pt x="3657" y="3094"/>
                      <a:pt x="1654" y="173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0" name="Freeform: Shape 2289">
                <a:extLst>
                  <a:ext uri="{FF2B5EF4-FFF2-40B4-BE49-F238E27FC236}">
                    <a16:creationId xmlns:a16="http://schemas.microsoft.com/office/drawing/2014/main" id="{94609824-2CC7-4195-82D6-21E3B526AB66}"/>
                  </a:ext>
                </a:extLst>
              </p:cNvPr>
              <p:cNvSpPr/>
              <p:nvPr/>
            </p:nvSpPr>
            <p:spPr>
              <a:xfrm>
                <a:off x="2094151" y="2219301"/>
                <a:ext cx="6277" cy="2785"/>
              </a:xfrm>
              <a:custGeom>
                <a:avLst/>
                <a:gdLst>
                  <a:gd name="connsiteX0" fmla="*/ 0 w 6277"/>
                  <a:gd name="connsiteY0" fmla="*/ 2189 h 2785"/>
                  <a:gd name="connsiteX1" fmla="*/ 6278 w 6277"/>
                  <a:gd name="connsiteY1" fmla="*/ 0 h 2785"/>
                  <a:gd name="connsiteX2" fmla="*/ 3189 w 6277"/>
                  <a:gd name="connsiteY2" fmla="*/ 2786 h 2785"/>
                  <a:gd name="connsiteX3" fmla="*/ 0 w 6277"/>
                  <a:gd name="connsiteY3" fmla="*/ 2189 h 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77" h="2785">
                    <a:moveTo>
                      <a:pt x="0" y="2189"/>
                    </a:moveTo>
                    <a:cubicBezTo>
                      <a:pt x="2312" y="2417"/>
                      <a:pt x="4614" y="1622"/>
                      <a:pt x="6278" y="0"/>
                    </a:cubicBezTo>
                    <a:cubicBezTo>
                      <a:pt x="5391" y="1084"/>
                      <a:pt x="4355" y="2019"/>
                      <a:pt x="3189" y="2786"/>
                    </a:cubicBezTo>
                    <a:cubicBezTo>
                      <a:pt x="2102" y="2746"/>
                      <a:pt x="1026" y="2547"/>
                      <a:pt x="0" y="21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1" name="Freeform: Shape 2290">
                <a:extLst>
                  <a:ext uri="{FF2B5EF4-FFF2-40B4-BE49-F238E27FC236}">
                    <a16:creationId xmlns:a16="http://schemas.microsoft.com/office/drawing/2014/main" id="{B64B66F5-CF03-431B-AF64-A50AA2500039}"/>
                  </a:ext>
                </a:extLst>
              </p:cNvPr>
              <p:cNvSpPr/>
              <p:nvPr/>
            </p:nvSpPr>
            <p:spPr>
              <a:xfrm>
                <a:off x="2100727" y="1635708"/>
                <a:ext cx="8668" cy="8058"/>
              </a:xfrm>
              <a:custGeom>
                <a:avLst/>
                <a:gdLst>
                  <a:gd name="connsiteX0" fmla="*/ 8669 w 8668"/>
                  <a:gd name="connsiteY0" fmla="*/ 8059 h 8058"/>
                  <a:gd name="connsiteX1" fmla="*/ 0 w 8668"/>
                  <a:gd name="connsiteY1" fmla="*/ 0 h 8058"/>
                  <a:gd name="connsiteX2" fmla="*/ 8669 w 8668"/>
                  <a:gd name="connsiteY2" fmla="*/ 8059 h 8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68" h="8058">
                    <a:moveTo>
                      <a:pt x="8669" y="8059"/>
                    </a:moveTo>
                    <a:cubicBezTo>
                      <a:pt x="5879" y="5671"/>
                      <a:pt x="2790" y="2686"/>
                      <a:pt x="0" y="0"/>
                    </a:cubicBezTo>
                    <a:cubicBezTo>
                      <a:pt x="3129" y="2428"/>
                      <a:pt x="6029" y="5124"/>
                      <a:pt x="8669" y="805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2" name="Freeform: Shape 2291">
                <a:extLst>
                  <a:ext uri="{FF2B5EF4-FFF2-40B4-BE49-F238E27FC236}">
                    <a16:creationId xmlns:a16="http://schemas.microsoft.com/office/drawing/2014/main" id="{BFA0B6AB-60AA-4EB9-AD91-518D927FC293}"/>
                  </a:ext>
                </a:extLst>
              </p:cNvPr>
              <p:cNvSpPr/>
              <p:nvPr/>
            </p:nvSpPr>
            <p:spPr>
              <a:xfrm>
                <a:off x="2097539" y="1786307"/>
                <a:ext cx="7274" cy="1119"/>
              </a:xfrm>
              <a:custGeom>
                <a:avLst/>
                <a:gdLst>
                  <a:gd name="connsiteX0" fmla="*/ 0 w 7274"/>
                  <a:gd name="connsiteY0" fmla="*/ 1119 h 1119"/>
                  <a:gd name="connsiteX1" fmla="*/ 5780 w 7274"/>
                  <a:gd name="connsiteY1" fmla="*/ 25 h 1119"/>
                  <a:gd name="connsiteX2" fmla="*/ 7274 w 7274"/>
                  <a:gd name="connsiteY2" fmla="*/ 25 h 1119"/>
                  <a:gd name="connsiteX3" fmla="*/ 0 w 7274"/>
                  <a:gd name="connsiteY3" fmla="*/ 1119 h 1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74" h="1119">
                    <a:moveTo>
                      <a:pt x="0" y="1119"/>
                    </a:moveTo>
                    <a:cubicBezTo>
                      <a:pt x="1804" y="274"/>
                      <a:pt x="3787" y="-105"/>
                      <a:pt x="5780" y="25"/>
                    </a:cubicBezTo>
                    <a:lnTo>
                      <a:pt x="7274" y="25"/>
                    </a:lnTo>
                    <a:cubicBezTo>
                      <a:pt x="4923" y="751"/>
                      <a:pt x="2461" y="1119"/>
                      <a:pt x="0" y="111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3" name="Freeform: Shape 2292">
                <a:extLst>
                  <a:ext uri="{FF2B5EF4-FFF2-40B4-BE49-F238E27FC236}">
                    <a16:creationId xmlns:a16="http://schemas.microsoft.com/office/drawing/2014/main" id="{4EBA849F-FCEB-4C26-AD3E-64245C7384F5}"/>
                  </a:ext>
                </a:extLst>
              </p:cNvPr>
              <p:cNvSpPr/>
              <p:nvPr/>
            </p:nvSpPr>
            <p:spPr>
              <a:xfrm>
                <a:off x="2104713" y="2207363"/>
                <a:ext cx="6078" cy="5969"/>
              </a:xfrm>
              <a:custGeom>
                <a:avLst/>
                <a:gdLst>
                  <a:gd name="connsiteX0" fmla="*/ 6078 w 6078"/>
                  <a:gd name="connsiteY0" fmla="*/ 0 h 5969"/>
                  <a:gd name="connsiteX1" fmla="*/ 0 w 6078"/>
                  <a:gd name="connsiteY1" fmla="*/ 5969 h 5969"/>
                  <a:gd name="connsiteX2" fmla="*/ 6078 w 6078"/>
                  <a:gd name="connsiteY2" fmla="*/ 0 h 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78" h="5969">
                    <a:moveTo>
                      <a:pt x="6078" y="0"/>
                    </a:moveTo>
                    <a:cubicBezTo>
                      <a:pt x="3458" y="1283"/>
                      <a:pt x="1335" y="3383"/>
                      <a:pt x="0" y="5969"/>
                    </a:cubicBezTo>
                    <a:cubicBezTo>
                      <a:pt x="698" y="2975"/>
                      <a:pt x="3069" y="647"/>
                      <a:pt x="607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4" name="Freeform: Shape 2293">
                <a:extLst>
                  <a:ext uri="{FF2B5EF4-FFF2-40B4-BE49-F238E27FC236}">
                    <a16:creationId xmlns:a16="http://schemas.microsoft.com/office/drawing/2014/main" id="{999764BA-AAB5-423D-9953-FD0555B51696}"/>
                  </a:ext>
                </a:extLst>
              </p:cNvPr>
              <p:cNvSpPr/>
              <p:nvPr/>
            </p:nvSpPr>
            <p:spPr>
              <a:xfrm>
                <a:off x="2090863" y="1619193"/>
                <a:ext cx="19928" cy="626"/>
              </a:xfrm>
              <a:custGeom>
                <a:avLst/>
                <a:gdLst>
                  <a:gd name="connsiteX0" fmla="*/ 0 w 19928"/>
                  <a:gd name="connsiteY0" fmla="*/ 0 h 626"/>
                  <a:gd name="connsiteX1" fmla="*/ 19929 w 19928"/>
                  <a:gd name="connsiteY1" fmla="*/ 0 h 626"/>
                  <a:gd name="connsiteX2" fmla="*/ 0 w 19928"/>
                  <a:gd name="connsiteY2" fmla="*/ 0 h 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8" h="626">
                    <a:moveTo>
                      <a:pt x="0" y="0"/>
                    </a:moveTo>
                    <a:cubicBezTo>
                      <a:pt x="6676" y="0"/>
                      <a:pt x="13352" y="0"/>
                      <a:pt x="19929" y="0"/>
                    </a:cubicBezTo>
                    <a:cubicBezTo>
                      <a:pt x="13312" y="836"/>
                      <a:pt x="6616" y="83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5" name="Freeform: Shape 2294">
                <a:extLst>
                  <a:ext uri="{FF2B5EF4-FFF2-40B4-BE49-F238E27FC236}">
                    <a16:creationId xmlns:a16="http://schemas.microsoft.com/office/drawing/2014/main" id="{63AE2E54-3C9B-4D76-86E1-507D958DD1D6}"/>
                  </a:ext>
                </a:extLst>
              </p:cNvPr>
              <p:cNvSpPr/>
              <p:nvPr/>
            </p:nvSpPr>
            <p:spPr>
              <a:xfrm>
                <a:off x="2113781" y="1649039"/>
                <a:ext cx="1494" cy="4974"/>
              </a:xfrm>
              <a:custGeom>
                <a:avLst/>
                <a:gdLst>
                  <a:gd name="connsiteX0" fmla="*/ 1495 w 1494"/>
                  <a:gd name="connsiteY0" fmla="*/ 1990 h 4974"/>
                  <a:gd name="connsiteX1" fmla="*/ 598 w 1494"/>
                  <a:gd name="connsiteY1" fmla="*/ 4974 h 4974"/>
                  <a:gd name="connsiteX2" fmla="*/ 0 w 1494"/>
                  <a:gd name="connsiteY2" fmla="*/ 0 h 4974"/>
                  <a:gd name="connsiteX3" fmla="*/ 1495 w 1494"/>
                  <a:gd name="connsiteY3" fmla="*/ 1990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4" h="4974">
                    <a:moveTo>
                      <a:pt x="1495" y="1990"/>
                    </a:moveTo>
                    <a:cubicBezTo>
                      <a:pt x="1136" y="2965"/>
                      <a:pt x="827" y="3960"/>
                      <a:pt x="598" y="4974"/>
                    </a:cubicBezTo>
                    <a:cubicBezTo>
                      <a:pt x="698" y="3293"/>
                      <a:pt x="488" y="1612"/>
                      <a:pt x="0" y="0"/>
                    </a:cubicBezTo>
                    <a:cubicBezTo>
                      <a:pt x="578" y="597"/>
                      <a:pt x="1086" y="1263"/>
                      <a:pt x="1495" y="199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6" name="Freeform: Shape 2295">
                <a:extLst>
                  <a:ext uri="{FF2B5EF4-FFF2-40B4-BE49-F238E27FC236}">
                    <a16:creationId xmlns:a16="http://schemas.microsoft.com/office/drawing/2014/main" id="{4C738B4A-75C1-434A-90E6-D9C5091A890B}"/>
                  </a:ext>
                </a:extLst>
              </p:cNvPr>
              <p:cNvSpPr/>
              <p:nvPr/>
            </p:nvSpPr>
            <p:spPr>
              <a:xfrm>
                <a:off x="2114578" y="1660580"/>
                <a:ext cx="3388" cy="5471"/>
              </a:xfrm>
              <a:custGeom>
                <a:avLst/>
                <a:gdLst>
                  <a:gd name="connsiteX0" fmla="*/ 2691 w 3388"/>
                  <a:gd name="connsiteY0" fmla="*/ 4875 h 5471"/>
                  <a:gd name="connsiteX1" fmla="*/ 0 w 3388"/>
                  <a:gd name="connsiteY1" fmla="*/ 0 h 5471"/>
                  <a:gd name="connsiteX2" fmla="*/ 3388 w 3388"/>
                  <a:gd name="connsiteY2" fmla="*/ 5472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8" h="5471">
                    <a:moveTo>
                      <a:pt x="2691" y="4875"/>
                    </a:moveTo>
                    <a:cubicBezTo>
                      <a:pt x="1276" y="3592"/>
                      <a:pt x="329" y="1880"/>
                      <a:pt x="0" y="0"/>
                    </a:cubicBezTo>
                    <a:cubicBezTo>
                      <a:pt x="688" y="2059"/>
                      <a:pt x="1844" y="3940"/>
                      <a:pt x="3388" y="547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7" name="Freeform: Shape 2296">
                <a:extLst>
                  <a:ext uri="{FF2B5EF4-FFF2-40B4-BE49-F238E27FC236}">
                    <a16:creationId xmlns:a16="http://schemas.microsoft.com/office/drawing/2014/main" id="{B33B43E3-EADD-40DA-9303-A95E36EC70C1}"/>
                  </a:ext>
                </a:extLst>
              </p:cNvPr>
              <p:cNvSpPr/>
              <p:nvPr/>
            </p:nvSpPr>
            <p:spPr>
              <a:xfrm>
                <a:off x="2115574" y="1773399"/>
                <a:ext cx="9964" cy="6765"/>
              </a:xfrm>
              <a:custGeom>
                <a:avLst/>
                <a:gdLst>
                  <a:gd name="connsiteX0" fmla="*/ 0 w 9964"/>
                  <a:gd name="connsiteY0" fmla="*/ 6765 h 6765"/>
                  <a:gd name="connsiteX1" fmla="*/ 9964 w 9964"/>
                  <a:gd name="connsiteY1" fmla="*/ 0 h 6765"/>
                  <a:gd name="connsiteX2" fmla="*/ 0 w 9964"/>
                  <a:gd name="connsiteY2" fmla="*/ 6765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6765">
                    <a:moveTo>
                      <a:pt x="0" y="6765"/>
                    </a:moveTo>
                    <a:cubicBezTo>
                      <a:pt x="3079" y="4178"/>
                      <a:pt x="6417" y="1910"/>
                      <a:pt x="9964" y="0"/>
                    </a:cubicBezTo>
                    <a:cubicBezTo>
                      <a:pt x="6377" y="2189"/>
                      <a:pt x="2890" y="4477"/>
                      <a:pt x="0" y="67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8" name="Freeform: Shape 2297">
                <a:extLst>
                  <a:ext uri="{FF2B5EF4-FFF2-40B4-BE49-F238E27FC236}">
                    <a16:creationId xmlns:a16="http://schemas.microsoft.com/office/drawing/2014/main" id="{DD773DE2-7567-4176-A57D-26AE42BB92EE}"/>
                  </a:ext>
                </a:extLst>
              </p:cNvPr>
              <p:cNvSpPr/>
              <p:nvPr/>
            </p:nvSpPr>
            <p:spPr>
              <a:xfrm>
                <a:off x="2120183" y="2307646"/>
                <a:ext cx="772" cy="5870"/>
              </a:xfrm>
              <a:custGeom>
                <a:avLst/>
                <a:gdLst>
                  <a:gd name="connsiteX0" fmla="*/ 75 w 772"/>
                  <a:gd name="connsiteY0" fmla="*/ 2089 h 5870"/>
                  <a:gd name="connsiteX1" fmla="*/ 772 w 772"/>
                  <a:gd name="connsiteY1" fmla="*/ 0 h 5870"/>
                  <a:gd name="connsiteX2" fmla="*/ 75 w 772"/>
                  <a:gd name="connsiteY2" fmla="*/ 5870 h 5870"/>
                  <a:gd name="connsiteX3" fmla="*/ 75 w 772"/>
                  <a:gd name="connsiteY3" fmla="*/ 2089 h 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2" h="5870">
                    <a:moveTo>
                      <a:pt x="75" y="2089"/>
                    </a:moveTo>
                    <a:cubicBezTo>
                      <a:pt x="244" y="1373"/>
                      <a:pt x="483" y="677"/>
                      <a:pt x="772" y="0"/>
                    </a:cubicBezTo>
                    <a:cubicBezTo>
                      <a:pt x="304" y="1920"/>
                      <a:pt x="75" y="3890"/>
                      <a:pt x="75" y="5870"/>
                    </a:cubicBezTo>
                    <a:cubicBezTo>
                      <a:pt x="-25" y="4616"/>
                      <a:pt x="-25" y="3343"/>
                      <a:pt x="75" y="20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99" name="Freeform: Shape 2298">
                <a:extLst>
                  <a:ext uri="{FF2B5EF4-FFF2-40B4-BE49-F238E27FC236}">
                    <a16:creationId xmlns:a16="http://schemas.microsoft.com/office/drawing/2014/main" id="{84532165-B049-4458-8455-A2FBBC8299A1}"/>
                  </a:ext>
                </a:extLst>
              </p:cNvPr>
              <p:cNvSpPr/>
              <p:nvPr/>
            </p:nvSpPr>
            <p:spPr>
              <a:xfrm>
                <a:off x="2124904" y="1766832"/>
                <a:ext cx="336" cy="6566"/>
              </a:xfrm>
              <a:custGeom>
                <a:avLst/>
                <a:gdLst>
                  <a:gd name="connsiteX0" fmla="*/ 336 w 336"/>
                  <a:gd name="connsiteY0" fmla="*/ 0 h 6566"/>
                  <a:gd name="connsiteX1" fmla="*/ 336 w 336"/>
                  <a:gd name="connsiteY1" fmla="*/ 6566 h 6566"/>
                  <a:gd name="connsiteX2" fmla="*/ 336 w 336"/>
                  <a:gd name="connsiteY2" fmla="*/ 0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" h="6566">
                    <a:moveTo>
                      <a:pt x="336" y="0"/>
                    </a:moveTo>
                    <a:cubicBezTo>
                      <a:pt x="187" y="2189"/>
                      <a:pt x="187" y="4377"/>
                      <a:pt x="336" y="6566"/>
                    </a:cubicBezTo>
                    <a:cubicBezTo>
                      <a:pt x="-112" y="4397"/>
                      <a:pt x="-112" y="2169"/>
                      <a:pt x="33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0" name="Freeform: Shape 2299">
                <a:extLst>
                  <a:ext uri="{FF2B5EF4-FFF2-40B4-BE49-F238E27FC236}">
                    <a16:creationId xmlns:a16="http://schemas.microsoft.com/office/drawing/2014/main" id="{6E6C1ADF-1821-4E5C-9C11-754293964D46}"/>
                  </a:ext>
                </a:extLst>
              </p:cNvPr>
              <p:cNvSpPr/>
              <p:nvPr/>
            </p:nvSpPr>
            <p:spPr>
              <a:xfrm>
                <a:off x="2127333" y="1755192"/>
                <a:ext cx="1095" cy="3680"/>
              </a:xfrm>
              <a:custGeom>
                <a:avLst/>
                <a:gdLst>
                  <a:gd name="connsiteX0" fmla="*/ 1096 w 1095"/>
                  <a:gd name="connsiteY0" fmla="*/ 2388 h 3680"/>
                  <a:gd name="connsiteX1" fmla="*/ 0 w 1095"/>
                  <a:gd name="connsiteY1" fmla="*/ 3681 h 3680"/>
                  <a:gd name="connsiteX2" fmla="*/ 797 w 1095"/>
                  <a:gd name="connsiteY2" fmla="*/ 0 h 3680"/>
                  <a:gd name="connsiteX3" fmla="*/ 1096 w 1095"/>
                  <a:gd name="connsiteY3" fmla="*/ 2388 h 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5" h="3680">
                    <a:moveTo>
                      <a:pt x="1096" y="2388"/>
                    </a:moveTo>
                    <a:cubicBezTo>
                      <a:pt x="628" y="2726"/>
                      <a:pt x="259" y="3164"/>
                      <a:pt x="0" y="3681"/>
                    </a:cubicBezTo>
                    <a:cubicBezTo>
                      <a:pt x="0" y="2487"/>
                      <a:pt x="598" y="1194"/>
                      <a:pt x="797" y="0"/>
                    </a:cubicBezTo>
                    <a:cubicBezTo>
                      <a:pt x="807" y="806"/>
                      <a:pt x="906" y="1602"/>
                      <a:pt x="1096" y="238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1" name="Freeform: Shape 2300">
                <a:extLst>
                  <a:ext uri="{FF2B5EF4-FFF2-40B4-BE49-F238E27FC236}">
                    <a16:creationId xmlns:a16="http://schemas.microsoft.com/office/drawing/2014/main" id="{7FA905B9-7CCD-4B23-B074-A62DE2FF60C3}"/>
                  </a:ext>
                </a:extLst>
              </p:cNvPr>
              <p:cNvSpPr/>
              <p:nvPr/>
            </p:nvSpPr>
            <p:spPr>
              <a:xfrm>
                <a:off x="2128429" y="1746935"/>
                <a:ext cx="2889" cy="5471"/>
              </a:xfrm>
              <a:custGeom>
                <a:avLst/>
                <a:gdLst>
                  <a:gd name="connsiteX0" fmla="*/ 0 w 2889"/>
                  <a:gd name="connsiteY0" fmla="*/ 2587 h 5471"/>
                  <a:gd name="connsiteX1" fmla="*/ 2890 w 2889"/>
                  <a:gd name="connsiteY1" fmla="*/ 0 h 5471"/>
                  <a:gd name="connsiteX2" fmla="*/ 100 w 2889"/>
                  <a:gd name="connsiteY2" fmla="*/ 5472 h 5471"/>
                  <a:gd name="connsiteX3" fmla="*/ 0 w 2889"/>
                  <a:gd name="connsiteY3" fmla="*/ 2587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" h="5471">
                    <a:moveTo>
                      <a:pt x="0" y="2587"/>
                    </a:moveTo>
                    <a:lnTo>
                      <a:pt x="2890" y="0"/>
                    </a:lnTo>
                    <a:cubicBezTo>
                      <a:pt x="1485" y="1542"/>
                      <a:pt x="518" y="3432"/>
                      <a:pt x="100" y="5472"/>
                    </a:cubicBezTo>
                    <a:cubicBezTo>
                      <a:pt x="120" y="4507"/>
                      <a:pt x="90" y="3542"/>
                      <a:pt x="0" y="25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2" name="Freeform: Shape 2301">
                <a:extLst>
                  <a:ext uri="{FF2B5EF4-FFF2-40B4-BE49-F238E27FC236}">
                    <a16:creationId xmlns:a16="http://schemas.microsoft.com/office/drawing/2014/main" id="{7499A752-E980-4BB6-BA77-48D45A69A22B}"/>
                  </a:ext>
                </a:extLst>
              </p:cNvPr>
              <p:cNvSpPr/>
              <p:nvPr/>
            </p:nvSpPr>
            <p:spPr>
              <a:xfrm>
                <a:off x="2134009" y="2277004"/>
                <a:ext cx="1195" cy="4079"/>
              </a:xfrm>
              <a:custGeom>
                <a:avLst/>
                <a:gdLst>
                  <a:gd name="connsiteX0" fmla="*/ 199 w 1195"/>
                  <a:gd name="connsiteY0" fmla="*/ 1791 h 4079"/>
                  <a:gd name="connsiteX1" fmla="*/ 1196 w 1195"/>
                  <a:gd name="connsiteY1" fmla="*/ 0 h 4079"/>
                  <a:gd name="connsiteX2" fmla="*/ 0 w 1195"/>
                  <a:gd name="connsiteY2" fmla="*/ 4079 h 4079"/>
                  <a:gd name="connsiteX3" fmla="*/ 199 w 1195"/>
                  <a:gd name="connsiteY3" fmla="*/ 1791 h 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5" h="4079">
                    <a:moveTo>
                      <a:pt x="199" y="1791"/>
                    </a:moveTo>
                    <a:cubicBezTo>
                      <a:pt x="409" y="1134"/>
                      <a:pt x="747" y="527"/>
                      <a:pt x="1196" y="0"/>
                    </a:cubicBezTo>
                    <a:lnTo>
                      <a:pt x="0" y="4079"/>
                    </a:lnTo>
                    <a:cubicBezTo>
                      <a:pt x="110" y="3323"/>
                      <a:pt x="179" y="2557"/>
                      <a:pt x="199" y="179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3" name="Freeform: Shape 2302">
                <a:extLst>
                  <a:ext uri="{FF2B5EF4-FFF2-40B4-BE49-F238E27FC236}">
                    <a16:creationId xmlns:a16="http://schemas.microsoft.com/office/drawing/2014/main" id="{49EC3972-7201-4CB3-A476-997FDD794D6A}"/>
                  </a:ext>
                </a:extLst>
              </p:cNvPr>
              <p:cNvSpPr/>
              <p:nvPr/>
            </p:nvSpPr>
            <p:spPr>
              <a:xfrm>
                <a:off x="2133012" y="2213929"/>
                <a:ext cx="13352" cy="6566"/>
              </a:xfrm>
              <a:custGeom>
                <a:avLst/>
                <a:gdLst>
                  <a:gd name="connsiteX0" fmla="*/ 13352 w 13352"/>
                  <a:gd name="connsiteY0" fmla="*/ 6566 h 6566"/>
                  <a:gd name="connsiteX1" fmla="*/ 0 w 13352"/>
                  <a:gd name="connsiteY1" fmla="*/ 0 h 6566"/>
                  <a:gd name="connsiteX2" fmla="*/ 13352 w 13352"/>
                  <a:gd name="connsiteY2" fmla="*/ 6566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52" h="6566">
                    <a:moveTo>
                      <a:pt x="13352" y="6566"/>
                    </a:moveTo>
                    <a:cubicBezTo>
                      <a:pt x="10164" y="4775"/>
                      <a:pt x="5879" y="2587"/>
                      <a:pt x="0" y="0"/>
                    </a:cubicBezTo>
                    <a:cubicBezTo>
                      <a:pt x="4713" y="1622"/>
                      <a:pt x="9197" y="3820"/>
                      <a:pt x="13352" y="656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4" name="Freeform: Shape 2303">
                <a:extLst>
                  <a:ext uri="{FF2B5EF4-FFF2-40B4-BE49-F238E27FC236}">
                    <a16:creationId xmlns:a16="http://schemas.microsoft.com/office/drawing/2014/main" id="{AD7D6568-238E-4E59-8FDB-CFEF737151C3}"/>
                  </a:ext>
                </a:extLst>
              </p:cNvPr>
              <p:cNvSpPr/>
              <p:nvPr/>
            </p:nvSpPr>
            <p:spPr>
              <a:xfrm>
                <a:off x="2144073" y="2231737"/>
                <a:ext cx="8071" cy="9351"/>
              </a:xfrm>
              <a:custGeom>
                <a:avLst/>
                <a:gdLst>
                  <a:gd name="connsiteX0" fmla="*/ 8071 w 8071"/>
                  <a:gd name="connsiteY0" fmla="*/ 0 h 9351"/>
                  <a:gd name="connsiteX1" fmla="*/ 0 w 8071"/>
                  <a:gd name="connsiteY1" fmla="*/ 9352 h 9351"/>
                  <a:gd name="connsiteX2" fmla="*/ 8071 w 8071"/>
                  <a:gd name="connsiteY2" fmla="*/ 0 h 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71" h="9351">
                    <a:moveTo>
                      <a:pt x="8071" y="0"/>
                    </a:moveTo>
                    <a:cubicBezTo>
                      <a:pt x="5580" y="3283"/>
                      <a:pt x="2880" y="6407"/>
                      <a:pt x="0" y="9352"/>
                    </a:cubicBezTo>
                    <a:cubicBezTo>
                      <a:pt x="2222" y="5860"/>
                      <a:pt x="4942" y="2716"/>
                      <a:pt x="807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5" name="Freeform: Shape 2304">
                <a:extLst>
                  <a:ext uri="{FF2B5EF4-FFF2-40B4-BE49-F238E27FC236}">
                    <a16:creationId xmlns:a16="http://schemas.microsoft.com/office/drawing/2014/main" id="{D28961C0-E700-4B45-B369-C9CC8ED1042B}"/>
                  </a:ext>
                </a:extLst>
              </p:cNvPr>
              <p:cNvSpPr/>
              <p:nvPr/>
            </p:nvSpPr>
            <p:spPr>
              <a:xfrm>
                <a:off x="2143076" y="2251834"/>
                <a:ext cx="1325" cy="5571"/>
              </a:xfrm>
              <a:custGeom>
                <a:avLst/>
                <a:gdLst>
                  <a:gd name="connsiteX0" fmla="*/ 100 w 1325"/>
                  <a:gd name="connsiteY0" fmla="*/ 597 h 5571"/>
                  <a:gd name="connsiteX1" fmla="*/ 1295 w 1325"/>
                  <a:gd name="connsiteY1" fmla="*/ 5571 h 5571"/>
                  <a:gd name="connsiteX2" fmla="*/ 1295 w 1325"/>
                  <a:gd name="connsiteY2" fmla="*/ 4576 h 5571"/>
                  <a:gd name="connsiteX3" fmla="*/ 0 w 1325"/>
                  <a:gd name="connsiteY3" fmla="*/ 0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5" h="5571">
                    <a:moveTo>
                      <a:pt x="100" y="597"/>
                    </a:moveTo>
                    <a:cubicBezTo>
                      <a:pt x="847" y="2149"/>
                      <a:pt x="1256" y="3850"/>
                      <a:pt x="1295" y="5571"/>
                    </a:cubicBezTo>
                    <a:cubicBezTo>
                      <a:pt x="1335" y="5243"/>
                      <a:pt x="1335" y="4905"/>
                      <a:pt x="1295" y="4576"/>
                    </a:cubicBezTo>
                    <a:cubicBezTo>
                      <a:pt x="707" y="3104"/>
                      <a:pt x="269" y="156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6" name="Freeform: Shape 2305">
                <a:extLst>
                  <a:ext uri="{FF2B5EF4-FFF2-40B4-BE49-F238E27FC236}">
                    <a16:creationId xmlns:a16="http://schemas.microsoft.com/office/drawing/2014/main" id="{F7A46CD9-C83C-4A90-9CED-3025F6AA21B0}"/>
                  </a:ext>
                </a:extLst>
              </p:cNvPr>
              <p:cNvSpPr/>
              <p:nvPr/>
            </p:nvSpPr>
            <p:spPr>
              <a:xfrm>
                <a:off x="2143176" y="1682666"/>
                <a:ext cx="3985" cy="9948"/>
              </a:xfrm>
              <a:custGeom>
                <a:avLst/>
                <a:gdLst>
                  <a:gd name="connsiteX0" fmla="*/ 3786 w 3985"/>
                  <a:gd name="connsiteY0" fmla="*/ 9949 h 9948"/>
                  <a:gd name="connsiteX1" fmla="*/ 0 w 3985"/>
                  <a:gd name="connsiteY1" fmla="*/ 0 h 9948"/>
                  <a:gd name="connsiteX2" fmla="*/ 3986 w 3985"/>
                  <a:gd name="connsiteY2" fmla="*/ 5372 h 9948"/>
                  <a:gd name="connsiteX3" fmla="*/ 3786 w 3985"/>
                  <a:gd name="connsiteY3" fmla="*/ 9949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5" h="9948">
                    <a:moveTo>
                      <a:pt x="3786" y="9949"/>
                    </a:moveTo>
                    <a:cubicBezTo>
                      <a:pt x="3188" y="6417"/>
                      <a:pt x="1903" y="3034"/>
                      <a:pt x="0" y="0"/>
                    </a:cubicBezTo>
                    <a:cubicBezTo>
                      <a:pt x="1694" y="1492"/>
                      <a:pt x="3049" y="3323"/>
                      <a:pt x="3986" y="5372"/>
                    </a:cubicBezTo>
                    <a:cubicBezTo>
                      <a:pt x="3766" y="6885"/>
                      <a:pt x="3697" y="8417"/>
                      <a:pt x="3786" y="99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7" name="Freeform: Shape 2306">
                <a:extLst>
                  <a:ext uri="{FF2B5EF4-FFF2-40B4-BE49-F238E27FC236}">
                    <a16:creationId xmlns:a16="http://schemas.microsoft.com/office/drawing/2014/main" id="{5F70D75C-16B7-41BF-A40C-ABD2B1389987}"/>
                  </a:ext>
                </a:extLst>
              </p:cNvPr>
              <p:cNvSpPr/>
              <p:nvPr/>
            </p:nvSpPr>
            <p:spPr>
              <a:xfrm>
                <a:off x="2145468" y="1719576"/>
                <a:ext cx="1893" cy="9451"/>
              </a:xfrm>
              <a:custGeom>
                <a:avLst/>
                <a:gdLst>
                  <a:gd name="connsiteX0" fmla="*/ 0 w 1893"/>
                  <a:gd name="connsiteY0" fmla="*/ 9451 h 9451"/>
                  <a:gd name="connsiteX1" fmla="*/ 1893 w 1893"/>
                  <a:gd name="connsiteY1" fmla="*/ 0 h 9451"/>
                  <a:gd name="connsiteX2" fmla="*/ 1893 w 1893"/>
                  <a:gd name="connsiteY2" fmla="*/ 6069 h 9451"/>
                  <a:gd name="connsiteX3" fmla="*/ 0 w 1893"/>
                  <a:gd name="connsiteY3" fmla="*/ 9451 h 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93" h="9451">
                    <a:moveTo>
                      <a:pt x="0" y="9451"/>
                    </a:moveTo>
                    <a:cubicBezTo>
                      <a:pt x="449" y="6268"/>
                      <a:pt x="1076" y="3114"/>
                      <a:pt x="1893" y="0"/>
                    </a:cubicBezTo>
                    <a:cubicBezTo>
                      <a:pt x="1644" y="2020"/>
                      <a:pt x="1644" y="4049"/>
                      <a:pt x="1893" y="6069"/>
                    </a:cubicBezTo>
                    <a:cubicBezTo>
                      <a:pt x="986" y="7014"/>
                      <a:pt x="339" y="8178"/>
                      <a:pt x="0" y="945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8" name="Freeform: Shape 2307">
                <a:extLst>
                  <a:ext uri="{FF2B5EF4-FFF2-40B4-BE49-F238E27FC236}">
                    <a16:creationId xmlns:a16="http://schemas.microsoft.com/office/drawing/2014/main" id="{78AF9532-E18E-493A-9BCA-04B439492120}"/>
                  </a:ext>
                </a:extLst>
              </p:cNvPr>
              <p:cNvSpPr/>
              <p:nvPr/>
            </p:nvSpPr>
            <p:spPr>
              <a:xfrm>
                <a:off x="2150649" y="2223380"/>
                <a:ext cx="2565" cy="2686"/>
              </a:xfrm>
              <a:custGeom>
                <a:avLst/>
                <a:gdLst>
                  <a:gd name="connsiteX0" fmla="*/ 2491 w 2565"/>
                  <a:gd name="connsiteY0" fmla="*/ 1791 h 2686"/>
                  <a:gd name="connsiteX1" fmla="*/ 2491 w 2565"/>
                  <a:gd name="connsiteY1" fmla="*/ 2686 h 2686"/>
                  <a:gd name="connsiteX2" fmla="*/ 0 w 2565"/>
                  <a:gd name="connsiteY2" fmla="*/ 0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65" h="2686">
                    <a:moveTo>
                      <a:pt x="2491" y="1791"/>
                    </a:moveTo>
                    <a:cubicBezTo>
                      <a:pt x="2591" y="2079"/>
                      <a:pt x="2591" y="2398"/>
                      <a:pt x="2491" y="2686"/>
                    </a:cubicBezTo>
                    <a:cubicBezTo>
                      <a:pt x="1783" y="1691"/>
                      <a:pt x="947" y="78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09" name="Freeform: Shape 2308">
                <a:extLst>
                  <a:ext uri="{FF2B5EF4-FFF2-40B4-BE49-F238E27FC236}">
                    <a16:creationId xmlns:a16="http://schemas.microsoft.com/office/drawing/2014/main" id="{0DB5E2CA-9F4E-4550-A495-14FDF8F538F6}"/>
                  </a:ext>
                </a:extLst>
              </p:cNvPr>
              <p:cNvSpPr/>
              <p:nvPr/>
            </p:nvSpPr>
            <p:spPr>
              <a:xfrm>
                <a:off x="2185724" y="2378780"/>
                <a:ext cx="5380" cy="2188"/>
              </a:xfrm>
              <a:custGeom>
                <a:avLst/>
                <a:gdLst>
                  <a:gd name="connsiteX0" fmla="*/ 0 w 5380"/>
                  <a:gd name="connsiteY0" fmla="*/ 0 h 2188"/>
                  <a:gd name="connsiteX1" fmla="*/ 5381 w 5380"/>
                  <a:gd name="connsiteY1" fmla="*/ 2189 h 2188"/>
                  <a:gd name="connsiteX2" fmla="*/ 0 w 5380"/>
                  <a:gd name="connsiteY2" fmla="*/ 0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80" h="2188">
                    <a:moveTo>
                      <a:pt x="0" y="0"/>
                    </a:moveTo>
                    <a:cubicBezTo>
                      <a:pt x="1973" y="179"/>
                      <a:pt x="3846" y="945"/>
                      <a:pt x="5381" y="2189"/>
                    </a:cubicBezTo>
                    <a:cubicBezTo>
                      <a:pt x="3727" y="1164"/>
                      <a:pt x="1903" y="42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0" name="Freeform: Shape 2309">
                <a:extLst>
                  <a:ext uri="{FF2B5EF4-FFF2-40B4-BE49-F238E27FC236}">
                    <a16:creationId xmlns:a16="http://schemas.microsoft.com/office/drawing/2014/main" id="{FBDC262B-7D39-4EB9-95C9-26451FCD4B75}"/>
                  </a:ext>
                </a:extLst>
              </p:cNvPr>
              <p:cNvSpPr/>
              <p:nvPr/>
            </p:nvSpPr>
            <p:spPr>
              <a:xfrm>
                <a:off x="2206251" y="2393205"/>
                <a:ext cx="2291" cy="4974"/>
              </a:xfrm>
              <a:custGeom>
                <a:avLst/>
                <a:gdLst>
                  <a:gd name="connsiteX0" fmla="*/ 0 w 2291"/>
                  <a:gd name="connsiteY0" fmla="*/ 0 h 4974"/>
                  <a:gd name="connsiteX1" fmla="*/ 2292 w 2291"/>
                  <a:gd name="connsiteY1" fmla="*/ 4974 h 4974"/>
                  <a:gd name="connsiteX2" fmla="*/ 0 w 2291"/>
                  <a:gd name="connsiteY2" fmla="*/ 0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91" h="4974">
                    <a:moveTo>
                      <a:pt x="0" y="0"/>
                    </a:moveTo>
                    <a:cubicBezTo>
                      <a:pt x="1136" y="1462"/>
                      <a:pt x="1923" y="3164"/>
                      <a:pt x="2292" y="4974"/>
                    </a:cubicBezTo>
                    <a:cubicBezTo>
                      <a:pt x="1196" y="3492"/>
                      <a:pt x="418" y="180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1" name="Freeform: Shape 2310">
                <a:extLst>
                  <a:ext uri="{FF2B5EF4-FFF2-40B4-BE49-F238E27FC236}">
                    <a16:creationId xmlns:a16="http://schemas.microsoft.com/office/drawing/2014/main" id="{2058CB20-7424-4704-B82F-1C775F19FA94}"/>
                  </a:ext>
                </a:extLst>
              </p:cNvPr>
              <p:cNvSpPr/>
              <p:nvPr/>
            </p:nvSpPr>
            <p:spPr>
              <a:xfrm>
                <a:off x="2212329" y="2401662"/>
                <a:ext cx="5878" cy="3084"/>
              </a:xfrm>
              <a:custGeom>
                <a:avLst/>
                <a:gdLst>
                  <a:gd name="connsiteX0" fmla="*/ 0 w 5878"/>
                  <a:gd name="connsiteY0" fmla="*/ 0 h 3084"/>
                  <a:gd name="connsiteX1" fmla="*/ 5879 w 5878"/>
                  <a:gd name="connsiteY1" fmla="*/ 3084 h 3084"/>
                  <a:gd name="connsiteX2" fmla="*/ 0 w 5878"/>
                  <a:gd name="connsiteY2" fmla="*/ 0 h 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8" h="3084">
                    <a:moveTo>
                      <a:pt x="0" y="0"/>
                    </a:moveTo>
                    <a:lnTo>
                      <a:pt x="5879" y="3084"/>
                    </a:lnTo>
                    <a:cubicBezTo>
                      <a:pt x="3756" y="2388"/>
                      <a:pt x="1773" y="135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2" name="Freeform: Shape 2311">
                <a:extLst>
                  <a:ext uri="{FF2B5EF4-FFF2-40B4-BE49-F238E27FC236}">
                    <a16:creationId xmlns:a16="http://schemas.microsoft.com/office/drawing/2014/main" id="{9DC1CA68-773A-4D6B-89C9-E6A5A96D03D1}"/>
                  </a:ext>
                </a:extLst>
              </p:cNvPr>
              <p:cNvSpPr/>
              <p:nvPr/>
            </p:nvSpPr>
            <p:spPr>
              <a:xfrm>
                <a:off x="2175560" y="1620088"/>
                <a:ext cx="134519" cy="1094"/>
              </a:xfrm>
              <a:custGeom>
                <a:avLst/>
                <a:gdLst>
                  <a:gd name="connsiteX0" fmla="*/ 0 w 134519"/>
                  <a:gd name="connsiteY0" fmla="*/ 0 h 1094"/>
                  <a:gd name="connsiteX1" fmla="*/ 134519 w 134519"/>
                  <a:gd name="connsiteY1" fmla="*/ 1094 h 1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4519" h="1094">
                    <a:moveTo>
                      <a:pt x="0" y="0"/>
                    </a:moveTo>
                    <a:lnTo>
                      <a:pt x="134519" y="1094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3" name="Freeform: Shape 2312">
                <a:extLst>
                  <a:ext uri="{FF2B5EF4-FFF2-40B4-BE49-F238E27FC236}">
                    <a16:creationId xmlns:a16="http://schemas.microsoft.com/office/drawing/2014/main" id="{7C793037-2CCC-4D72-9226-C4C8F87A7216}"/>
                  </a:ext>
                </a:extLst>
              </p:cNvPr>
              <p:cNvSpPr/>
              <p:nvPr/>
            </p:nvSpPr>
            <p:spPr>
              <a:xfrm>
                <a:off x="2225083" y="2408526"/>
                <a:ext cx="3885" cy="6566"/>
              </a:xfrm>
              <a:custGeom>
                <a:avLst/>
                <a:gdLst>
                  <a:gd name="connsiteX0" fmla="*/ 2989 w 3885"/>
                  <a:gd name="connsiteY0" fmla="*/ 1592 h 6566"/>
                  <a:gd name="connsiteX1" fmla="*/ 3886 w 3885"/>
                  <a:gd name="connsiteY1" fmla="*/ 6566 h 6566"/>
                  <a:gd name="connsiteX2" fmla="*/ 0 w 3885"/>
                  <a:gd name="connsiteY2" fmla="*/ 0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85" h="6566">
                    <a:moveTo>
                      <a:pt x="2989" y="1592"/>
                    </a:moveTo>
                    <a:lnTo>
                      <a:pt x="3886" y="6566"/>
                    </a:lnTo>
                    <a:cubicBezTo>
                      <a:pt x="3218" y="4059"/>
                      <a:pt x="1873" y="179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4" name="Freeform: Shape 2313">
                <a:extLst>
                  <a:ext uri="{FF2B5EF4-FFF2-40B4-BE49-F238E27FC236}">
                    <a16:creationId xmlns:a16="http://schemas.microsoft.com/office/drawing/2014/main" id="{6507E3C6-08ED-4190-9CC9-3C6F1FC147FD}"/>
                  </a:ext>
                </a:extLst>
              </p:cNvPr>
              <p:cNvSpPr/>
              <p:nvPr/>
            </p:nvSpPr>
            <p:spPr>
              <a:xfrm>
                <a:off x="2229245" y="2430712"/>
                <a:ext cx="1019" cy="4178"/>
              </a:xfrm>
              <a:custGeom>
                <a:avLst/>
                <a:gdLst>
                  <a:gd name="connsiteX0" fmla="*/ 23 w 1019"/>
                  <a:gd name="connsiteY0" fmla="*/ 4178 h 4178"/>
                  <a:gd name="connsiteX1" fmla="*/ 1019 w 1019"/>
                  <a:gd name="connsiteY1" fmla="*/ 0 h 4178"/>
                  <a:gd name="connsiteX2" fmla="*/ 23 w 1019"/>
                  <a:gd name="connsiteY2" fmla="*/ 4178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9" h="4178">
                    <a:moveTo>
                      <a:pt x="23" y="4178"/>
                    </a:moveTo>
                    <a:cubicBezTo>
                      <a:pt x="-97" y="2716"/>
                      <a:pt x="252" y="1253"/>
                      <a:pt x="1019" y="0"/>
                    </a:cubicBezTo>
                    <a:cubicBezTo>
                      <a:pt x="940" y="1442"/>
                      <a:pt x="601" y="2855"/>
                      <a:pt x="23" y="417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5" name="Freeform: Shape 2314">
                <a:extLst>
                  <a:ext uri="{FF2B5EF4-FFF2-40B4-BE49-F238E27FC236}">
                    <a16:creationId xmlns:a16="http://schemas.microsoft.com/office/drawing/2014/main" id="{494BD6D5-1DC1-45FD-95E9-ECAF29EF96AB}"/>
                  </a:ext>
                </a:extLst>
              </p:cNvPr>
              <p:cNvSpPr/>
              <p:nvPr/>
            </p:nvSpPr>
            <p:spPr>
              <a:xfrm>
                <a:off x="2234549" y="2460558"/>
                <a:ext cx="5480" cy="5969"/>
              </a:xfrm>
              <a:custGeom>
                <a:avLst/>
                <a:gdLst>
                  <a:gd name="connsiteX0" fmla="*/ 5481 w 5480"/>
                  <a:gd name="connsiteY0" fmla="*/ 0 h 5969"/>
                  <a:gd name="connsiteX1" fmla="*/ 0 w 5480"/>
                  <a:gd name="connsiteY1" fmla="*/ 5969 h 5969"/>
                  <a:gd name="connsiteX2" fmla="*/ 5481 w 5480"/>
                  <a:gd name="connsiteY2" fmla="*/ 0 h 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80" h="5969">
                    <a:moveTo>
                      <a:pt x="5481" y="0"/>
                    </a:moveTo>
                    <a:cubicBezTo>
                      <a:pt x="5481" y="2686"/>
                      <a:pt x="3787" y="4676"/>
                      <a:pt x="0" y="5969"/>
                    </a:cubicBezTo>
                    <a:cubicBezTo>
                      <a:pt x="2591" y="3780"/>
                      <a:pt x="4783" y="2388"/>
                      <a:pt x="548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6" name="Freeform: Shape 2315">
                <a:extLst>
                  <a:ext uri="{FF2B5EF4-FFF2-40B4-BE49-F238E27FC236}">
                    <a16:creationId xmlns:a16="http://schemas.microsoft.com/office/drawing/2014/main" id="{72AD1AC8-A71C-422B-A0DB-AC09FE8917BF}"/>
                  </a:ext>
                </a:extLst>
              </p:cNvPr>
              <p:cNvSpPr/>
              <p:nvPr/>
            </p:nvSpPr>
            <p:spPr>
              <a:xfrm>
                <a:off x="2249994" y="2514282"/>
                <a:ext cx="4484" cy="1294"/>
              </a:xfrm>
              <a:custGeom>
                <a:avLst/>
                <a:gdLst>
                  <a:gd name="connsiteX0" fmla="*/ 0 w 4484"/>
                  <a:gd name="connsiteY0" fmla="*/ 0 h 1294"/>
                  <a:gd name="connsiteX1" fmla="*/ 4484 w 4484"/>
                  <a:gd name="connsiteY1" fmla="*/ 1293 h 1294"/>
                  <a:gd name="connsiteX2" fmla="*/ 0 w 4484"/>
                  <a:gd name="connsiteY2" fmla="*/ 0 h 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4" h="1294">
                    <a:moveTo>
                      <a:pt x="0" y="0"/>
                    </a:moveTo>
                    <a:cubicBezTo>
                      <a:pt x="1534" y="288"/>
                      <a:pt x="3029" y="726"/>
                      <a:pt x="4484" y="1293"/>
                    </a:cubicBezTo>
                    <a:cubicBezTo>
                      <a:pt x="2889" y="1323"/>
                      <a:pt x="1335" y="86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7" name="Freeform: Shape 2316">
                <a:extLst>
                  <a:ext uri="{FF2B5EF4-FFF2-40B4-BE49-F238E27FC236}">
                    <a16:creationId xmlns:a16="http://schemas.microsoft.com/office/drawing/2014/main" id="{C569EBA8-CCAD-42CC-9F5D-17270F2FB4B7}"/>
                  </a:ext>
                </a:extLst>
              </p:cNvPr>
              <p:cNvSpPr/>
              <p:nvPr/>
            </p:nvSpPr>
            <p:spPr>
              <a:xfrm>
                <a:off x="2275104" y="2513485"/>
                <a:ext cx="1594" cy="6765"/>
              </a:xfrm>
              <a:custGeom>
                <a:avLst/>
                <a:gdLst>
                  <a:gd name="connsiteX0" fmla="*/ 0 w 1594"/>
                  <a:gd name="connsiteY0" fmla="*/ 0 h 6765"/>
                  <a:gd name="connsiteX1" fmla="*/ 1595 w 1594"/>
                  <a:gd name="connsiteY1" fmla="*/ 6765 h 6765"/>
                  <a:gd name="connsiteX2" fmla="*/ 0 w 1594"/>
                  <a:gd name="connsiteY2" fmla="*/ 0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4" h="6765">
                    <a:moveTo>
                      <a:pt x="0" y="0"/>
                    </a:moveTo>
                    <a:cubicBezTo>
                      <a:pt x="887" y="2159"/>
                      <a:pt x="1425" y="4437"/>
                      <a:pt x="1595" y="6765"/>
                    </a:cubicBezTo>
                    <a:cubicBezTo>
                      <a:pt x="997" y="4577"/>
                      <a:pt x="598" y="208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8" name="Freeform: Shape 2317">
                <a:extLst>
                  <a:ext uri="{FF2B5EF4-FFF2-40B4-BE49-F238E27FC236}">
                    <a16:creationId xmlns:a16="http://schemas.microsoft.com/office/drawing/2014/main" id="{792F47E0-3198-42CC-A0C4-C984ADE95326}"/>
                  </a:ext>
                </a:extLst>
              </p:cNvPr>
              <p:cNvSpPr/>
              <p:nvPr/>
            </p:nvSpPr>
            <p:spPr>
              <a:xfrm>
                <a:off x="2350734" y="2507815"/>
                <a:ext cx="9964" cy="1856"/>
              </a:xfrm>
              <a:custGeom>
                <a:avLst/>
                <a:gdLst>
                  <a:gd name="connsiteX0" fmla="*/ 9964 w 9964"/>
                  <a:gd name="connsiteY0" fmla="*/ 0 h 1856"/>
                  <a:gd name="connsiteX1" fmla="*/ 0 w 9964"/>
                  <a:gd name="connsiteY1" fmla="*/ 497 h 1856"/>
                  <a:gd name="connsiteX2" fmla="*/ 9964 w 9964"/>
                  <a:gd name="connsiteY2" fmla="*/ 0 h 1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1856">
                    <a:moveTo>
                      <a:pt x="9964" y="0"/>
                    </a:moveTo>
                    <a:cubicBezTo>
                      <a:pt x="7094" y="2278"/>
                      <a:pt x="3089" y="2477"/>
                      <a:pt x="0" y="497"/>
                    </a:cubicBezTo>
                    <a:cubicBezTo>
                      <a:pt x="3169" y="2119"/>
                      <a:pt x="6975" y="1930"/>
                      <a:pt x="996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19" name="Freeform: Shape 2318">
                <a:extLst>
                  <a:ext uri="{FF2B5EF4-FFF2-40B4-BE49-F238E27FC236}">
                    <a16:creationId xmlns:a16="http://schemas.microsoft.com/office/drawing/2014/main" id="{4D90FCB7-C14C-4A4C-9F3B-9D9E25370473}"/>
                  </a:ext>
                </a:extLst>
              </p:cNvPr>
              <p:cNvSpPr/>
              <p:nvPr/>
            </p:nvSpPr>
            <p:spPr>
              <a:xfrm>
                <a:off x="2386208" y="2447127"/>
                <a:ext cx="7174" cy="1293"/>
              </a:xfrm>
              <a:custGeom>
                <a:avLst/>
                <a:gdLst>
                  <a:gd name="connsiteX0" fmla="*/ 0 w 7174"/>
                  <a:gd name="connsiteY0" fmla="*/ 1293 h 1293"/>
                  <a:gd name="connsiteX1" fmla="*/ 7175 w 7174"/>
                  <a:gd name="connsiteY1" fmla="*/ 0 h 1293"/>
                  <a:gd name="connsiteX2" fmla="*/ 0 w 7174"/>
                  <a:gd name="connsiteY2" fmla="*/ 1293 h 1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4" h="1293">
                    <a:moveTo>
                      <a:pt x="0" y="1293"/>
                    </a:moveTo>
                    <a:lnTo>
                      <a:pt x="7175" y="0"/>
                    </a:lnTo>
                    <a:cubicBezTo>
                      <a:pt x="4584" y="597"/>
                      <a:pt x="2093" y="895"/>
                      <a:pt x="0" y="12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20" name="Freeform: Shape 2319">
                <a:extLst>
                  <a:ext uri="{FF2B5EF4-FFF2-40B4-BE49-F238E27FC236}">
                    <a16:creationId xmlns:a16="http://schemas.microsoft.com/office/drawing/2014/main" id="{3D0EBE2B-69EA-482E-8F3C-A24D7D671EE8}"/>
                  </a:ext>
                </a:extLst>
              </p:cNvPr>
              <p:cNvSpPr/>
              <p:nvPr/>
            </p:nvSpPr>
            <p:spPr>
              <a:xfrm>
                <a:off x="2400258" y="2409621"/>
                <a:ext cx="2689" cy="4576"/>
              </a:xfrm>
              <a:custGeom>
                <a:avLst/>
                <a:gdLst>
                  <a:gd name="connsiteX0" fmla="*/ 2690 w 2689"/>
                  <a:gd name="connsiteY0" fmla="*/ 0 h 4576"/>
                  <a:gd name="connsiteX1" fmla="*/ 0 w 2689"/>
                  <a:gd name="connsiteY1" fmla="*/ 4577 h 4576"/>
                  <a:gd name="connsiteX2" fmla="*/ 1992 w 2689"/>
                  <a:gd name="connsiteY2" fmla="*/ 498 h 4576"/>
                  <a:gd name="connsiteX3" fmla="*/ 2690 w 2689"/>
                  <a:gd name="connsiteY3" fmla="*/ 0 h 4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89" h="4576">
                    <a:moveTo>
                      <a:pt x="2690" y="0"/>
                    </a:moveTo>
                    <a:cubicBezTo>
                      <a:pt x="1485" y="1323"/>
                      <a:pt x="567" y="2885"/>
                      <a:pt x="0" y="4577"/>
                    </a:cubicBezTo>
                    <a:cubicBezTo>
                      <a:pt x="139" y="3015"/>
                      <a:pt x="847" y="1562"/>
                      <a:pt x="1992" y="498"/>
                    </a:cubicBezTo>
                    <a:cubicBezTo>
                      <a:pt x="1992" y="498"/>
                      <a:pt x="2491" y="298"/>
                      <a:pt x="269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21" name="Freeform: Shape 2320">
                <a:extLst>
                  <a:ext uri="{FF2B5EF4-FFF2-40B4-BE49-F238E27FC236}">
                    <a16:creationId xmlns:a16="http://schemas.microsoft.com/office/drawing/2014/main" id="{12127A36-F82F-4C02-86B5-C69F0DFC907D}"/>
                  </a:ext>
                </a:extLst>
              </p:cNvPr>
              <p:cNvSpPr/>
              <p:nvPr/>
            </p:nvSpPr>
            <p:spPr>
              <a:xfrm>
                <a:off x="2400955" y="2423748"/>
                <a:ext cx="5081" cy="8456"/>
              </a:xfrm>
              <a:custGeom>
                <a:avLst/>
                <a:gdLst>
                  <a:gd name="connsiteX0" fmla="*/ 0 w 5081"/>
                  <a:gd name="connsiteY0" fmla="*/ 0 h 8456"/>
                  <a:gd name="connsiteX1" fmla="*/ 5082 w 5081"/>
                  <a:gd name="connsiteY1" fmla="*/ 8456 h 8456"/>
                  <a:gd name="connsiteX2" fmla="*/ 1295 w 5081"/>
                  <a:gd name="connsiteY2" fmla="*/ 5372 h 8456"/>
                  <a:gd name="connsiteX3" fmla="*/ 0 w 5081"/>
                  <a:gd name="connsiteY3" fmla="*/ 0 h 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1" h="8456">
                    <a:moveTo>
                      <a:pt x="0" y="0"/>
                    </a:moveTo>
                    <a:cubicBezTo>
                      <a:pt x="1295" y="2587"/>
                      <a:pt x="3189" y="5372"/>
                      <a:pt x="5082" y="8456"/>
                    </a:cubicBezTo>
                    <a:cubicBezTo>
                      <a:pt x="3986" y="7233"/>
                      <a:pt x="2711" y="6198"/>
                      <a:pt x="1295" y="5372"/>
                    </a:cubicBezTo>
                    <a:cubicBezTo>
                      <a:pt x="997" y="3880"/>
                      <a:pt x="399" y="199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22" name="Freeform: Shape 2321">
                <a:extLst>
                  <a:ext uri="{FF2B5EF4-FFF2-40B4-BE49-F238E27FC236}">
                    <a16:creationId xmlns:a16="http://schemas.microsoft.com/office/drawing/2014/main" id="{CDF8B5E6-89AC-4942-9974-EB2096A6D64B}"/>
                  </a:ext>
                </a:extLst>
              </p:cNvPr>
              <p:cNvSpPr/>
              <p:nvPr/>
            </p:nvSpPr>
            <p:spPr>
              <a:xfrm>
                <a:off x="2411119" y="2385346"/>
                <a:ext cx="2590" cy="5571"/>
              </a:xfrm>
              <a:custGeom>
                <a:avLst/>
                <a:gdLst>
                  <a:gd name="connsiteX0" fmla="*/ 0 w 2590"/>
                  <a:gd name="connsiteY0" fmla="*/ 0 h 5571"/>
                  <a:gd name="connsiteX1" fmla="*/ 2591 w 2590"/>
                  <a:gd name="connsiteY1" fmla="*/ 5572 h 5571"/>
                  <a:gd name="connsiteX2" fmla="*/ 0 w 2590"/>
                  <a:gd name="connsiteY2" fmla="*/ 0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90" h="5571">
                    <a:moveTo>
                      <a:pt x="0" y="0"/>
                    </a:moveTo>
                    <a:cubicBezTo>
                      <a:pt x="1336" y="1602"/>
                      <a:pt x="2222" y="3522"/>
                      <a:pt x="2591" y="5572"/>
                    </a:cubicBezTo>
                    <a:cubicBezTo>
                      <a:pt x="1086" y="4079"/>
                      <a:pt x="170" y="210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23" name="Freeform: Shape 2322">
                <a:extLst>
                  <a:ext uri="{FF2B5EF4-FFF2-40B4-BE49-F238E27FC236}">
                    <a16:creationId xmlns:a16="http://schemas.microsoft.com/office/drawing/2014/main" id="{E408792B-2D45-4125-939F-A7EF538B6C13}"/>
                  </a:ext>
                </a:extLst>
              </p:cNvPr>
              <p:cNvSpPr/>
              <p:nvPr/>
            </p:nvSpPr>
            <p:spPr>
              <a:xfrm>
                <a:off x="2413809" y="2371417"/>
                <a:ext cx="2391" cy="7959"/>
              </a:xfrm>
              <a:custGeom>
                <a:avLst/>
                <a:gdLst>
                  <a:gd name="connsiteX0" fmla="*/ 0 w 2391"/>
                  <a:gd name="connsiteY0" fmla="*/ 7959 h 7959"/>
                  <a:gd name="connsiteX1" fmla="*/ 2391 w 2391"/>
                  <a:gd name="connsiteY1" fmla="*/ 0 h 7959"/>
                  <a:gd name="connsiteX2" fmla="*/ 0 w 2391"/>
                  <a:gd name="connsiteY2" fmla="*/ 7959 h 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1" h="7959">
                    <a:moveTo>
                      <a:pt x="0" y="7959"/>
                    </a:moveTo>
                    <a:cubicBezTo>
                      <a:pt x="996" y="5372"/>
                      <a:pt x="1794" y="2706"/>
                      <a:pt x="2391" y="0"/>
                    </a:cubicBezTo>
                    <a:cubicBezTo>
                      <a:pt x="2092" y="2776"/>
                      <a:pt x="1285" y="5472"/>
                      <a:pt x="0" y="795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24" name="Freeform: Shape 2323">
                <a:extLst>
                  <a:ext uri="{FF2B5EF4-FFF2-40B4-BE49-F238E27FC236}">
                    <a16:creationId xmlns:a16="http://schemas.microsoft.com/office/drawing/2014/main" id="{792E4422-F16B-42B7-9F41-DF680B955A5E}"/>
                  </a:ext>
                </a:extLst>
              </p:cNvPr>
              <p:cNvSpPr/>
              <p:nvPr/>
            </p:nvSpPr>
            <p:spPr>
              <a:xfrm>
                <a:off x="2416599" y="2352813"/>
                <a:ext cx="2790" cy="2686"/>
              </a:xfrm>
              <a:custGeom>
                <a:avLst/>
                <a:gdLst>
                  <a:gd name="connsiteX0" fmla="*/ 2790 w 2790"/>
                  <a:gd name="connsiteY0" fmla="*/ 0 h 2686"/>
                  <a:gd name="connsiteX1" fmla="*/ 0 w 2790"/>
                  <a:gd name="connsiteY1" fmla="*/ 2686 h 2686"/>
                  <a:gd name="connsiteX2" fmla="*/ 2790 w 2790"/>
                  <a:gd name="connsiteY2" fmla="*/ 0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0" h="2686">
                    <a:moveTo>
                      <a:pt x="2790" y="0"/>
                    </a:moveTo>
                    <a:cubicBezTo>
                      <a:pt x="2013" y="1045"/>
                      <a:pt x="1076" y="1950"/>
                      <a:pt x="0" y="2686"/>
                    </a:cubicBezTo>
                    <a:cubicBezTo>
                      <a:pt x="608" y="1512"/>
                      <a:pt x="1595" y="567"/>
                      <a:pt x="279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325" name="Freeform: Shape 2324">
                <a:extLst>
                  <a:ext uri="{FF2B5EF4-FFF2-40B4-BE49-F238E27FC236}">
                    <a16:creationId xmlns:a16="http://schemas.microsoft.com/office/drawing/2014/main" id="{D1B476A9-F8B3-42D7-9967-FF628007A5E2}"/>
                  </a:ext>
                </a:extLst>
              </p:cNvPr>
              <p:cNvSpPr/>
              <p:nvPr/>
            </p:nvSpPr>
            <p:spPr>
              <a:xfrm>
                <a:off x="2476585" y="2206169"/>
                <a:ext cx="1531" cy="14027"/>
              </a:xfrm>
              <a:custGeom>
                <a:avLst/>
                <a:gdLst>
                  <a:gd name="connsiteX0" fmla="*/ 1395 w 1531"/>
                  <a:gd name="connsiteY0" fmla="*/ 0 h 14027"/>
                  <a:gd name="connsiteX1" fmla="*/ 0 w 1531"/>
                  <a:gd name="connsiteY1" fmla="*/ 14028 h 14027"/>
                  <a:gd name="connsiteX2" fmla="*/ 1395 w 1531"/>
                  <a:gd name="connsiteY2" fmla="*/ 0 h 14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31" h="14027">
                    <a:moveTo>
                      <a:pt x="1395" y="0"/>
                    </a:moveTo>
                    <a:cubicBezTo>
                      <a:pt x="1794" y="4726"/>
                      <a:pt x="1315" y="9471"/>
                      <a:pt x="0" y="14028"/>
                    </a:cubicBezTo>
                    <a:cubicBezTo>
                      <a:pt x="1285" y="9471"/>
                      <a:pt x="1754" y="4726"/>
                      <a:pt x="13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82" name="Graphic 231">
              <a:extLst>
                <a:ext uri="{FF2B5EF4-FFF2-40B4-BE49-F238E27FC236}">
                  <a16:creationId xmlns:a16="http://schemas.microsoft.com/office/drawing/2014/main" id="{0A1CBA76-23E6-4F99-8EC2-1483940CC0D9}"/>
                </a:ext>
              </a:extLst>
            </p:cNvPr>
            <p:cNvGrpSpPr/>
            <p:nvPr/>
          </p:nvGrpSpPr>
          <p:grpSpPr>
            <a:xfrm>
              <a:off x="1442678" y="1938448"/>
              <a:ext cx="838051" cy="737500"/>
              <a:chOff x="1442678" y="1938448"/>
              <a:chExt cx="838051" cy="737500"/>
            </a:xfrm>
            <a:solidFill>
              <a:srgbClr val="ECE8E4"/>
            </a:solidFill>
          </p:grpSpPr>
          <p:sp>
            <p:nvSpPr>
              <p:cNvPr id="2208" name="Freeform: Shape 2207">
                <a:extLst>
                  <a:ext uri="{FF2B5EF4-FFF2-40B4-BE49-F238E27FC236}">
                    <a16:creationId xmlns:a16="http://schemas.microsoft.com/office/drawing/2014/main" id="{387FCCAF-797B-4D47-A48C-B5911CD3B446}"/>
                  </a:ext>
                </a:extLst>
              </p:cNvPr>
              <p:cNvSpPr/>
              <p:nvPr/>
            </p:nvSpPr>
            <p:spPr>
              <a:xfrm>
                <a:off x="1442678" y="1942527"/>
                <a:ext cx="597" cy="1392"/>
              </a:xfrm>
              <a:custGeom>
                <a:avLst/>
                <a:gdLst>
                  <a:gd name="connsiteX0" fmla="*/ 0 w 597"/>
                  <a:gd name="connsiteY0" fmla="*/ 0 h 1392"/>
                  <a:gd name="connsiteX1" fmla="*/ 598 w 597"/>
                  <a:gd name="connsiteY1" fmla="*/ 0 h 1392"/>
                  <a:gd name="connsiteX2" fmla="*/ 598 w 597"/>
                  <a:gd name="connsiteY2" fmla="*/ 1393 h 1392"/>
                  <a:gd name="connsiteX3" fmla="*/ 0 w 597"/>
                  <a:gd name="connsiteY3" fmla="*/ 0 h 1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97" h="1392">
                    <a:moveTo>
                      <a:pt x="0" y="0"/>
                    </a:moveTo>
                    <a:lnTo>
                      <a:pt x="598" y="0"/>
                    </a:lnTo>
                    <a:cubicBezTo>
                      <a:pt x="558" y="468"/>
                      <a:pt x="558" y="925"/>
                      <a:pt x="598" y="1393"/>
                    </a:cubicBezTo>
                    <a:cubicBezTo>
                      <a:pt x="598" y="1393"/>
                      <a:pt x="100" y="49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09" name="Freeform: Shape 2208">
                <a:extLst>
                  <a:ext uri="{FF2B5EF4-FFF2-40B4-BE49-F238E27FC236}">
                    <a16:creationId xmlns:a16="http://schemas.microsoft.com/office/drawing/2014/main" id="{85F1F17F-847B-4082-B50B-FFA03D20AA34}"/>
                  </a:ext>
                </a:extLst>
              </p:cNvPr>
              <p:cNvSpPr/>
              <p:nvPr/>
            </p:nvSpPr>
            <p:spPr>
              <a:xfrm>
                <a:off x="1470778" y="1996449"/>
                <a:ext cx="3088" cy="1193"/>
              </a:xfrm>
              <a:custGeom>
                <a:avLst/>
                <a:gdLst>
                  <a:gd name="connsiteX0" fmla="*/ 0 w 3088"/>
                  <a:gd name="connsiteY0" fmla="*/ 0 h 1193"/>
                  <a:gd name="connsiteX1" fmla="*/ 3089 w 3088"/>
                  <a:gd name="connsiteY1" fmla="*/ 1194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88" h="1193">
                    <a:moveTo>
                      <a:pt x="0" y="0"/>
                    </a:moveTo>
                    <a:cubicBezTo>
                      <a:pt x="986" y="507"/>
                      <a:pt x="2023" y="905"/>
                      <a:pt x="3089" y="119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0" name="Freeform: Shape 2209">
                <a:extLst>
                  <a:ext uri="{FF2B5EF4-FFF2-40B4-BE49-F238E27FC236}">
                    <a16:creationId xmlns:a16="http://schemas.microsoft.com/office/drawing/2014/main" id="{A8130C08-0ABF-475B-BDBF-BB19491591DF}"/>
                  </a:ext>
                </a:extLst>
              </p:cNvPr>
              <p:cNvSpPr/>
              <p:nvPr/>
            </p:nvSpPr>
            <p:spPr>
              <a:xfrm>
                <a:off x="1474464" y="1997842"/>
                <a:ext cx="4085" cy="1094"/>
              </a:xfrm>
              <a:custGeom>
                <a:avLst/>
                <a:gdLst>
                  <a:gd name="connsiteX0" fmla="*/ 0 w 4085"/>
                  <a:gd name="connsiteY0" fmla="*/ 0 h 1094"/>
                  <a:gd name="connsiteX1" fmla="*/ 4085 w 4085"/>
                  <a:gd name="connsiteY1" fmla="*/ 1094 h 1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85" h="1094">
                    <a:moveTo>
                      <a:pt x="0" y="0"/>
                    </a:moveTo>
                    <a:lnTo>
                      <a:pt x="4085" y="1094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1" name="Freeform: Shape 2210">
                <a:extLst>
                  <a:ext uri="{FF2B5EF4-FFF2-40B4-BE49-F238E27FC236}">
                    <a16:creationId xmlns:a16="http://schemas.microsoft.com/office/drawing/2014/main" id="{B8DE5582-B054-4B77-8F5D-0AA1CA0E303D}"/>
                  </a:ext>
                </a:extLst>
              </p:cNvPr>
              <p:cNvSpPr/>
              <p:nvPr/>
            </p:nvSpPr>
            <p:spPr>
              <a:xfrm>
                <a:off x="1502464" y="2041219"/>
                <a:ext cx="6775" cy="6267"/>
              </a:xfrm>
              <a:custGeom>
                <a:avLst/>
                <a:gdLst>
                  <a:gd name="connsiteX0" fmla="*/ 6776 w 6775"/>
                  <a:gd name="connsiteY0" fmla="*/ 6268 h 6267"/>
                  <a:gd name="connsiteX1" fmla="*/ 0 w 6775"/>
                  <a:gd name="connsiteY1" fmla="*/ 0 h 6267"/>
                  <a:gd name="connsiteX2" fmla="*/ 6776 w 6775"/>
                  <a:gd name="connsiteY2" fmla="*/ 6268 h 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75" h="6267">
                    <a:moveTo>
                      <a:pt x="6776" y="6268"/>
                    </a:moveTo>
                    <a:cubicBezTo>
                      <a:pt x="4384" y="4278"/>
                      <a:pt x="2093" y="2089"/>
                      <a:pt x="0" y="0"/>
                    </a:cubicBezTo>
                    <a:cubicBezTo>
                      <a:pt x="3019" y="1074"/>
                      <a:pt x="5471" y="3343"/>
                      <a:pt x="6776" y="626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2" name="Freeform: Shape 2211">
                <a:extLst>
                  <a:ext uri="{FF2B5EF4-FFF2-40B4-BE49-F238E27FC236}">
                    <a16:creationId xmlns:a16="http://schemas.microsoft.com/office/drawing/2014/main" id="{06A4AC08-EA5B-4838-88E7-45724BF1F67B}"/>
                  </a:ext>
                </a:extLst>
              </p:cNvPr>
              <p:cNvSpPr/>
              <p:nvPr/>
            </p:nvSpPr>
            <p:spPr>
              <a:xfrm>
                <a:off x="1526379" y="2057535"/>
                <a:ext cx="6377" cy="3481"/>
              </a:xfrm>
              <a:custGeom>
                <a:avLst/>
                <a:gdLst>
                  <a:gd name="connsiteX0" fmla="*/ 6377 w 6377"/>
                  <a:gd name="connsiteY0" fmla="*/ 0 h 3481"/>
                  <a:gd name="connsiteX1" fmla="*/ 1993 w 6377"/>
                  <a:gd name="connsiteY1" fmla="*/ 3482 h 3481"/>
                  <a:gd name="connsiteX2" fmla="*/ 0 w 6377"/>
                  <a:gd name="connsiteY2" fmla="*/ 2288 h 3481"/>
                  <a:gd name="connsiteX3" fmla="*/ 6377 w 6377"/>
                  <a:gd name="connsiteY3" fmla="*/ 0 h 3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77" h="3481">
                    <a:moveTo>
                      <a:pt x="6377" y="0"/>
                    </a:moveTo>
                    <a:cubicBezTo>
                      <a:pt x="4773" y="975"/>
                      <a:pt x="3308" y="2139"/>
                      <a:pt x="1993" y="3482"/>
                    </a:cubicBezTo>
                    <a:cubicBezTo>
                      <a:pt x="1395" y="3482"/>
                      <a:pt x="698" y="2786"/>
                      <a:pt x="0" y="2288"/>
                    </a:cubicBezTo>
                    <a:cubicBezTo>
                      <a:pt x="2192" y="2786"/>
                      <a:pt x="3189" y="1393"/>
                      <a:pt x="637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3" name="Freeform: Shape 2212">
                <a:extLst>
                  <a:ext uri="{FF2B5EF4-FFF2-40B4-BE49-F238E27FC236}">
                    <a16:creationId xmlns:a16="http://schemas.microsoft.com/office/drawing/2014/main" id="{DD509F39-9F27-4F6D-B4B9-848E91DD8B4A}"/>
                  </a:ext>
                </a:extLst>
              </p:cNvPr>
              <p:cNvSpPr/>
              <p:nvPr/>
            </p:nvSpPr>
            <p:spPr>
              <a:xfrm>
                <a:off x="1550920" y="2137523"/>
                <a:ext cx="1964" cy="14326"/>
              </a:xfrm>
              <a:custGeom>
                <a:avLst/>
                <a:gdLst>
                  <a:gd name="connsiteX0" fmla="*/ 1965 w 1964"/>
                  <a:gd name="connsiteY0" fmla="*/ 14326 h 14326"/>
                  <a:gd name="connsiteX1" fmla="*/ 1367 w 1964"/>
                  <a:gd name="connsiteY1" fmla="*/ 0 h 14326"/>
                  <a:gd name="connsiteX2" fmla="*/ 1965 w 1964"/>
                  <a:gd name="connsiteY2" fmla="*/ 14326 h 14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64" h="14326">
                    <a:moveTo>
                      <a:pt x="1965" y="14326"/>
                    </a:moveTo>
                    <a:cubicBezTo>
                      <a:pt x="-427" y="9899"/>
                      <a:pt x="-646" y="4616"/>
                      <a:pt x="1367" y="0"/>
                    </a:cubicBezTo>
                    <a:cubicBezTo>
                      <a:pt x="-437" y="4646"/>
                      <a:pt x="-228" y="9839"/>
                      <a:pt x="1965" y="1432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4" name="Freeform: Shape 2213">
                <a:extLst>
                  <a:ext uri="{FF2B5EF4-FFF2-40B4-BE49-F238E27FC236}">
                    <a16:creationId xmlns:a16="http://schemas.microsoft.com/office/drawing/2014/main" id="{99EC0FC6-5BBF-4E5F-9485-0B1B4F573841}"/>
                  </a:ext>
                </a:extLst>
              </p:cNvPr>
              <p:cNvSpPr/>
              <p:nvPr/>
            </p:nvSpPr>
            <p:spPr>
              <a:xfrm>
                <a:off x="1562948" y="2165578"/>
                <a:ext cx="6576" cy="6168"/>
              </a:xfrm>
              <a:custGeom>
                <a:avLst/>
                <a:gdLst>
                  <a:gd name="connsiteX0" fmla="*/ 0 w 6576"/>
                  <a:gd name="connsiteY0" fmla="*/ 0 h 6168"/>
                  <a:gd name="connsiteX1" fmla="*/ 6577 w 6576"/>
                  <a:gd name="connsiteY1" fmla="*/ 6168 h 6168"/>
                  <a:gd name="connsiteX2" fmla="*/ 2292 w 6576"/>
                  <a:gd name="connsiteY2" fmla="*/ 2786 h 6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76" h="6168">
                    <a:moveTo>
                      <a:pt x="0" y="0"/>
                    </a:moveTo>
                    <a:cubicBezTo>
                      <a:pt x="2192" y="2189"/>
                      <a:pt x="4484" y="4278"/>
                      <a:pt x="6577" y="6168"/>
                    </a:cubicBezTo>
                    <a:cubicBezTo>
                      <a:pt x="4843" y="5492"/>
                      <a:pt x="3348" y="4318"/>
                      <a:pt x="2292" y="27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5" name="Freeform: Shape 2214">
                <a:extLst>
                  <a:ext uri="{FF2B5EF4-FFF2-40B4-BE49-F238E27FC236}">
                    <a16:creationId xmlns:a16="http://schemas.microsoft.com/office/drawing/2014/main" id="{F952F928-1687-406B-83B4-2278FE9512A6}"/>
                  </a:ext>
                </a:extLst>
              </p:cNvPr>
              <p:cNvSpPr/>
              <p:nvPr/>
            </p:nvSpPr>
            <p:spPr>
              <a:xfrm>
                <a:off x="1572913" y="2171948"/>
                <a:ext cx="4284" cy="663"/>
              </a:xfrm>
              <a:custGeom>
                <a:avLst/>
                <a:gdLst>
                  <a:gd name="connsiteX0" fmla="*/ 4285 w 4284"/>
                  <a:gd name="connsiteY0" fmla="*/ 97 h 663"/>
                  <a:gd name="connsiteX1" fmla="*/ 0 w 4284"/>
                  <a:gd name="connsiteY1" fmla="*/ 595 h 663"/>
                  <a:gd name="connsiteX2" fmla="*/ 4285 w 4284"/>
                  <a:gd name="connsiteY2" fmla="*/ 97 h 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84" h="663">
                    <a:moveTo>
                      <a:pt x="4285" y="97"/>
                    </a:moveTo>
                    <a:cubicBezTo>
                      <a:pt x="2920" y="605"/>
                      <a:pt x="1445" y="774"/>
                      <a:pt x="0" y="595"/>
                    </a:cubicBezTo>
                    <a:cubicBezTo>
                      <a:pt x="1355" y="47"/>
                      <a:pt x="2840" y="-132"/>
                      <a:pt x="4285" y="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6" name="Freeform: Shape 2215">
                <a:extLst>
                  <a:ext uri="{FF2B5EF4-FFF2-40B4-BE49-F238E27FC236}">
                    <a16:creationId xmlns:a16="http://schemas.microsoft.com/office/drawing/2014/main" id="{CC353548-C4BB-4F1D-9404-613EAEA676F9}"/>
                  </a:ext>
                </a:extLst>
              </p:cNvPr>
              <p:cNvSpPr/>
              <p:nvPr/>
            </p:nvSpPr>
            <p:spPr>
              <a:xfrm>
                <a:off x="1586654" y="2319286"/>
                <a:ext cx="254" cy="169128"/>
              </a:xfrm>
              <a:custGeom>
                <a:avLst/>
                <a:gdLst>
                  <a:gd name="connsiteX0" fmla="*/ 10 w 254"/>
                  <a:gd name="connsiteY0" fmla="*/ 169129 h 169128"/>
                  <a:gd name="connsiteX1" fmla="*/ 10 w 254"/>
                  <a:gd name="connsiteY1" fmla="*/ 0 h 169128"/>
                  <a:gd name="connsiteX2" fmla="*/ 10 w 254"/>
                  <a:gd name="connsiteY2" fmla="*/ 169129 h 169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" h="169128">
                    <a:moveTo>
                      <a:pt x="10" y="169129"/>
                    </a:moveTo>
                    <a:cubicBezTo>
                      <a:pt x="10" y="112719"/>
                      <a:pt x="10" y="56111"/>
                      <a:pt x="10" y="0"/>
                    </a:cubicBezTo>
                    <a:cubicBezTo>
                      <a:pt x="-90" y="56410"/>
                      <a:pt x="608" y="113018"/>
                      <a:pt x="10" y="16912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7" name="Freeform: Shape 2216">
                <a:extLst>
                  <a:ext uri="{FF2B5EF4-FFF2-40B4-BE49-F238E27FC236}">
                    <a16:creationId xmlns:a16="http://schemas.microsoft.com/office/drawing/2014/main" id="{BEB25367-9A28-4AC0-A2A5-8AA9B8101F01}"/>
                  </a:ext>
                </a:extLst>
              </p:cNvPr>
              <p:cNvSpPr/>
              <p:nvPr/>
            </p:nvSpPr>
            <p:spPr>
              <a:xfrm>
                <a:off x="1586165" y="2578351"/>
                <a:ext cx="1494" cy="19897"/>
              </a:xfrm>
              <a:custGeom>
                <a:avLst/>
                <a:gdLst>
                  <a:gd name="connsiteX0" fmla="*/ 199 w 1494"/>
                  <a:gd name="connsiteY0" fmla="*/ 0 h 19897"/>
                  <a:gd name="connsiteX1" fmla="*/ 1495 w 1494"/>
                  <a:gd name="connsiteY1" fmla="*/ 19897 h 19897"/>
                  <a:gd name="connsiteX2" fmla="*/ 0 w 1494"/>
                  <a:gd name="connsiteY2" fmla="*/ 19897 h 19897"/>
                  <a:gd name="connsiteX3" fmla="*/ 199 w 1494"/>
                  <a:gd name="connsiteY3" fmla="*/ 0 h 1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4" h="19897">
                    <a:moveTo>
                      <a:pt x="199" y="0"/>
                    </a:moveTo>
                    <a:cubicBezTo>
                      <a:pt x="199" y="6566"/>
                      <a:pt x="897" y="13132"/>
                      <a:pt x="1495" y="19897"/>
                    </a:cubicBezTo>
                    <a:lnTo>
                      <a:pt x="0" y="19897"/>
                    </a:lnTo>
                    <a:cubicBezTo>
                      <a:pt x="100" y="13132"/>
                      <a:pt x="199" y="6566"/>
                      <a:pt x="1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8" name="Freeform: Shape 2217">
                <a:extLst>
                  <a:ext uri="{FF2B5EF4-FFF2-40B4-BE49-F238E27FC236}">
                    <a16:creationId xmlns:a16="http://schemas.microsoft.com/office/drawing/2014/main" id="{2D82DB84-6208-4184-AC1E-91A12862B813}"/>
                  </a:ext>
                </a:extLst>
              </p:cNvPr>
              <p:cNvSpPr/>
              <p:nvPr/>
            </p:nvSpPr>
            <p:spPr>
              <a:xfrm>
                <a:off x="1583575" y="2174134"/>
                <a:ext cx="6576" cy="2188"/>
              </a:xfrm>
              <a:custGeom>
                <a:avLst/>
                <a:gdLst>
                  <a:gd name="connsiteX0" fmla="*/ 0 w 6576"/>
                  <a:gd name="connsiteY0" fmla="*/ 0 h 2188"/>
                  <a:gd name="connsiteX1" fmla="*/ 6577 w 6576"/>
                  <a:gd name="connsiteY1" fmla="*/ 2189 h 2188"/>
                  <a:gd name="connsiteX2" fmla="*/ 0 w 6576"/>
                  <a:gd name="connsiteY2" fmla="*/ 0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76" h="2188">
                    <a:moveTo>
                      <a:pt x="0" y="0"/>
                    </a:moveTo>
                    <a:cubicBezTo>
                      <a:pt x="2113" y="955"/>
                      <a:pt x="4314" y="1681"/>
                      <a:pt x="6577" y="2189"/>
                    </a:cubicBezTo>
                    <a:cubicBezTo>
                      <a:pt x="4215" y="2139"/>
                      <a:pt x="1923" y="138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19" name="Freeform: Shape 2218">
                <a:extLst>
                  <a:ext uri="{FF2B5EF4-FFF2-40B4-BE49-F238E27FC236}">
                    <a16:creationId xmlns:a16="http://schemas.microsoft.com/office/drawing/2014/main" id="{385FD294-108A-4042-AF00-9B4FC1BB1446}"/>
                  </a:ext>
                </a:extLst>
              </p:cNvPr>
              <p:cNvSpPr/>
              <p:nvPr/>
            </p:nvSpPr>
            <p:spPr>
              <a:xfrm>
                <a:off x="1853610" y="1938448"/>
                <a:ext cx="76227" cy="2586"/>
              </a:xfrm>
              <a:custGeom>
                <a:avLst/>
                <a:gdLst>
                  <a:gd name="connsiteX0" fmla="*/ 0 w 76227"/>
                  <a:gd name="connsiteY0" fmla="*/ 2587 h 2586"/>
                  <a:gd name="connsiteX1" fmla="*/ 76228 w 76227"/>
                  <a:gd name="connsiteY1" fmla="*/ 0 h 2586"/>
                  <a:gd name="connsiteX2" fmla="*/ 70349 w 76227"/>
                  <a:gd name="connsiteY2" fmla="*/ 0 h 2586"/>
                  <a:gd name="connsiteX3" fmla="*/ 0 w 76227"/>
                  <a:gd name="connsiteY3" fmla="*/ 2587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27" h="2586">
                    <a:moveTo>
                      <a:pt x="0" y="2587"/>
                    </a:moveTo>
                    <a:cubicBezTo>
                      <a:pt x="25509" y="1492"/>
                      <a:pt x="51317" y="99"/>
                      <a:pt x="76228" y="0"/>
                    </a:cubicBezTo>
                    <a:cubicBezTo>
                      <a:pt x="73737" y="0"/>
                      <a:pt x="71644" y="0"/>
                      <a:pt x="70349" y="0"/>
                    </a:cubicBezTo>
                    <a:cubicBezTo>
                      <a:pt x="47729" y="796"/>
                      <a:pt x="23815" y="1990"/>
                      <a:pt x="0" y="25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0" name="Freeform: Shape 2219">
                <a:extLst>
                  <a:ext uri="{FF2B5EF4-FFF2-40B4-BE49-F238E27FC236}">
                    <a16:creationId xmlns:a16="http://schemas.microsoft.com/office/drawing/2014/main" id="{59B5106A-0D93-4A3E-8717-A9CD79DA598C}"/>
                  </a:ext>
                </a:extLst>
              </p:cNvPr>
              <p:cNvSpPr/>
              <p:nvPr/>
            </p:nvSpPr>
            <p:spPr>
              <a:xfrm>
                <a:off x="1949966" y="1938548"/>
                <a:ext cx="2590" cy="895"/>
              </a:xfrm>
              <a:custGeom>
                <a:avLst/>
                <a:gdLst>
                  <a:gd name="connsiteX0" fmla="*/ 1893 w 2590"/>
                  <a:gd name="connsiteY0" fmla="*/ 0 h 895"/>
                  <a:gd name="connsiteX1" fmla="*/ 2591 w 2590"/>
                  <a:gd name="connsiteY1" fmla="*/ 895 h 895"/>
                  <a:gd name="connsiteX2" fmla="*/ 0 w 2590"/>
                  <a:gd name="connsiteY2" fmla="*/ 0 h 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90" h="895">
                    <a:moveTo>
                      <a:pt x="1893" y="0"/>
                    </a:moveTo>
                    <a:lnTo>
                      <a:pt x="2591" y="895"/>
                    </a:lnTo>
                    <a:cubicBezTo>
                      <a:pt x="1754" y="537"/>
                      <a:pt x="887" y="23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1" name="Freeform: Shape 2220">
                <a:extLst>
                  <a:ext uri="{FF2B5EF4-FFF2-40B4-BE49-F238E27FC236}">
                    <a16:creationId xmlns:a16="http://schemas.microsoft.com/office/drawing/2014/main" id="{48C6B517-D5DE-48A9-94A0-0B451877C36F}"/>
                  </a:ext>
                </a:extLst>
              </p:cNvPr>
              <p:cNvSpPr/>
              <p:nvPr/>
            </p:nvSpPr>
            <p:spPr>
              <a:xfrm>
                <a:off x="1956044" y="1944815"/>
                <a:ext cx="2989" cy="3283"/>
              </a:xfrm>
              <a:custGeom>
                <a:avLst/>
                <a:gdLst>
                  <a:gd name="connsiteX0" fmla="*/ 0 w 2989"/>
                  <a:gd name="connsiteY0" fmla="*/ 0 h 3283"/>
                  <a:gd name="connsiteX1" fmla="*/ 2989 w 2989"/>
                  <a:gd name="connsiteY1" fmla="*/ 3283 h 3283"/>
                  <a:gd name="connsiteX2" fmla="*/ 0 w 2989"/>
                  <a:gd name="connsiteY2" fmla="*/ 0 h 3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3283">
                    <a:moveTo>
                      <a:pt x="0" y="0"/>
                    </a:moveTo>
                    <a:cubicBezTo>
                      <a:pt x="787" y="1273"/>
                      <a:pt x="1794" y="2388"/>
                      <a:pt x="2989" y="3283"/>
                    </a:cubicBezTo>
                    <a:cubicBezTo>
                      <a:pt x="1544" y="2696"/>
                      <a:pt x="448" y="148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2" name="Freeform: Shape 2221">
                <a:extLst>
                  <a:ext uri="{FF2B5EF4-FFF2-40B4-BE49-F238E27FC236}">
                    <a16:creationId xmlns:a16="http://schemas.microsoft.com/office/drawing/2014/main" id="{A9D60031-1896-440D-BEF4-20465615047F}"/>
                  </a:ext>
                </a:extLst>
              </p:cNvPr>
              <p:cNvSpPr/>
              <p:nvPr/>
            </p:nvSpPr>
            <p:spPr>
              <a:xfrm>
                <a:off x="1961525" y="1949193"/>
                <a:ext cx="2291" cy="1193"/>
              </a:xfrm>
              <a:custGeom>
                <a:avLst/>
                <a:gdLst>
                  <a:gd name="connsiteX0" fmla="*/ 0 w 2291"/>
                  <a:gd name="connsiteY0" fmla="*/ 0 h 1193"/>
                  <a:gd name="connsiteX1" fmla="*/ 2292 w 2291"/>
                  <a:gd name="connsiteY1" fmla="*/ 0 h 1193"/>
                  <a:gd name="connsiteX2" fmla="*/ 2292 w 2291"/>
                  <a:gd name="connsiteY2" fmla="*/ 1194 h 1193"/>
                  <a:gd name="connsiteX3" fmla="*/ 0 w 2291"/>
                  <a:gd name="connsiteY3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1" h="1193">
                    <a:moveTo>
                      <a:pt x="0" y="0"/>
                    </a:moveTo>
                    <a:cubicBezTo>
                      <a:pt x="757" y="109"/>
                      <a:pt x="1534" y="109"/>
                      <a:pt x="2292" y="0"/>
                    </a:cubicBezTo>
                    <a:cubicBezTo>
                      <a:pt x="2292" y="0"/>
                      <a:pt x="2292" y="895"/>
                      <a:pt x="2292" y="1194"/>
                    </a:cubicBezTo>
                    <a:cubicBezTo>
                      <a:pt x="1634" y="617"/>
                      <a:pt x="847" y="20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3" name="Freeform: Shape 2222">
                <a:extLst>
                  <a:ext uri="{FF2B5EF4-FFF2-40B4-BE49-F238E27FC236}">
                    <a16:creationId xmlns:a16="http://schemas.microsoft.com/office/drawing/2014/main" id="{B0F2BE7C-ADBF-4DFF-B607-CEA51DE44417}"/>
                  </a:ext>
                </a:extLst>
              </p:cNvPr>
              <p:cNvSpPr/>
              <p:nvPr/>
            </p:nvSpPr>
            <p:spPr>
              <a:xfrm>
                <a:off x="1964813" y="1955361"/>
                <a:ext cx="3587" cy="4874"/>
              </a:xfrm>
              <a:custGeom>
                <a:avLst/>
                <a:gdLst>
                  <a:gd name="connsiteX0" fmla="*/ 100 w 3587"/>
                  <a:gd name="connsiteY0" fmla="*/ 0 h 4874"/>
                  <a:gd name="connsiteX1" fmla="*/ 3587 w 3587"/>
                  <a:gd name="connsiteY1" fmla="*/ 4875 h 4874"/>
                  <a:gd name="connsiteX2" fmla="*/ 0 w 3587"/>
                  <a:gd name="connsiteY2" fmla="*/ 1194 h 4874"/>
                  <a:gd name="connsiteX3" fmla="*/ 100 w 3587"/>
                  <a:gd name="connsiteY3" fmla="*/ 0 h 4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87" h="4874">
                    <a:moveTo>
                      <a:pt x="100" y="0"/>
                    </a:moveTo>
                    <a:cubicBezTo>
                      <a:pt x="977" y="1811"/>
                      <a:pt x="2152" y="3462"/>
                      <a:pt x="3587" y="4875"/>
                    </a:cubicBezTo>
                    <a:cubicBezTo>
                      <a:pt x="2272" y="3771"/>
                      <a:pt x="1066" y="2537"/>
                      <a:pt x="0" y="1194"/>
                    </a:cubicBezTo>
                    <a:cubicBezTo>
                      <a:pt x="80" y="796"/>
                      <a:pt x="110" y="398"/>
                      <a:pt x="10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4" name="Freeform: Shape 2223">
                <a:extLst>
                  <a:ext uri="{FF2B5EF4-FFF2-40B4-BE49-F238E27FC236}">
                    <a16:creationId xmlns:a16="http://schemas.microsoft.com/office/drawing/2014/main" id="{1BB6B7AD-DB7D-453B-9BD3-1A9F4AA686DF}"/>
                  </a:ext>
                </a:extLst>
              </p:cNvPr>
              <p:cNvSpPr/>
              <p:nvPr/>
            </p:nvSpPr>
            <p:spPr>
              <a:xfrm>
                <a:off x="1973980" y="1965310"/>
                <a:ext cx="2790" cy="3183"/>
              </a:xfrm>
              <a:custGeom>
                <a:avLst/>
                <a:gdLst>
                  <a:gd name="connsiteX0" fmla="*/ 2790 w 2790"/>
                  <a:gd name="connsiteY0" fmla="*/ 2089 h 3183"/>
                  <a:gd name="connsiteX1" fmla="*/ 2790 w 2790"/>
                  <a:gd name="connsiteY1" fmla="*/ 3184 h 3183"/>
                  <a:gd name="connsiteX2" fmla="*/ 0 w 2790"/>
                  <a:gd name="connsiteY2" fmla="*/ 0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0" h="3183">
                    <a:moveTo>
                      <a:pt x="2790" y="2089"/>
                    </a:moveTo>
                    <a:cubicBezTo>
                      <a:pt x="2700" y="2447"/>
                      <a:pt x="2700" y="2825"/>
                      <a:pt x="2790" y="3184"/>
                    </a:cubicBezTo>
                    <a:cubicBezTo>
                      <a:pt x="1973" y="2029"/>
                      <a:pt x="1036" y="96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5" name="Freeform: Shape 2224">
                <a:extLst>
                  <a:ext uri="{FF2B5EF4-FFF2-40B4-BE49-F238E27FC236}">
                    <a16:creationId xmlns:a16="http://schemas.microsoft.com/office/drawing/2014/main" id="{7BF6780B-0D3E-4A0F-8E04-C10DDDEEFEAE}"/>
                  </a:ext>
                </a:extLst>
              </p:cNvPr>
              <p:cNvSpPr/>
              <p:nvPr/>
            </p:nvSpPr>
            <p:spPr>
              <a:xfrm>
                <a:off x="1977767" y="1997046"/>
                <a:ext cx="1394" cy="13530"/>
              </a:xfrm>
              <a:custGeom>
                <a:avLst/>
                <a:gdLst>
                  <a:gd name="connsiteX0" fmla="*/ 0 w 1394"/>
                  <a:gd name="connsiteY0" fmla="*/ 8158 h 13530"/>
                  <a:gd name="connsiteX1" fmla="*/ 1395 w 1394"/>
                  <a:gd name="connsiteY1" fmla="*/ 0 h 13530"/>
                  <a:gd name="connsiteX2" fmla="*/ 100 w 1394"/>
                  <a:gd name="connsiteY2" fmla="*/ 13530 h 13530"/>
                  <a:gd name="connsiteX3" fmla="*/ 0 w 1394"/>
                  <a:gd name="connsiteY3" fmla="*/ 8158 h 13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4" h="13530">
                    <a:moveTo>
                      <a:pt x="0" y="8158"/>
                    </a:moveTo>
                    <a:cubicBezTo>
                      <a:pt x="289" y="5412"/>
                      <a:pt x="757" y="2686"/>
                      <a:pt x="1395" y="0"/>
                    </a:cubicBezTo>
                    <a:cubicBezTo>
                      <a:pt x="508" y="4457"/>
                      <a:pt x="70" y="8984"/>
                      <a:pt x="100" y="13530"/>
                    </a:cubicBezTo>
                    <a:cubicBezTo>
                      <a:pt x="0" y="11541"/>
                      <a:pt x="0" y="9849"/>
                      <a:pt x="0" y="815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6" name="Freeform: Shape 2225">
                <a:extLst>
                  <a:ext uri="{FF2B5EF4-FFF2-40B4-BE49-F238E27FC236}">
                    <a16:creationId xmlns:a16="http://schemas.microsoft.com/office/drawing/2014/main" id="{CFC497C7-EB95-476C-ACD0-51E67AC5F10F}"/>
                  </a:ext>
                </a:extLst>
              </p:cNvPr>
              <p:cNvSpPr/>
              <p:nvPr/>
            </p:nvSpPr>
            <p:spPr>
              <a:xfrm>
                <a:off x="1978464" y="1970981"/>
                <a:ext cx="6875" cy="4178"/>
              </a:xfrm>
              <a:custGeom>
                <a:avLst/>
                <a:gdLst>
                  <a:gd name="connsiteX0" fmla="*/ 498 w 6875"/>
                  <a:gd name="connsiteY0" fmla="*/ 1393 h 4178"/>
                  <a:gd name="connsiteX1" fmla="*/ 0 w 6875"/>
                  <a:gd name="connsiteY1" fmla="*/ 0 h 4178"/>
                  <a:gd name="connsiteX2" fmla="*/ 6875 w 6875"/>
                  <a:gd name="connsiteY2" fmla="*/ 4178 h 4178"/>
                  <a:gd name="connsiteX3" fmla="*/ 498 w 6875"/>
                  <a:gd name="connsiteY3" fmla="*/ 1393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75" h="4178">
                    <a:moveTo>
                      <a:pt x="498" y="1393"/>
                    </a:moveTo>
                    <a:cubicBezTo>
                      <a:pt x="418" y="905"/>
                      <a:pt x="249" y="428"/>
                      <a:pt x="0" y="0"/>
                    </a:cubicBezTo>
                    <a:cubicBezTo>
                      <a:pt x="1983" y="1840"/>
                      <a:pt x="4324" y="3263"/>
                      <a:pt x="6875" y="4178"/>
                    </a:cubicBezTo>
                    <a:cubicBezTo>
                      <a:pt x="4603" y="3631"/>
                      <a:pt x="2441" y="2686"/>
                      <a:pt x="498" y="13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7" name="Freeform: Shape 2226">
                <a:extLst>
                  <a:ext uri="{FF2B5EF4-FFF2-40B4-BE49-F238E27FC236}">
                    <a16:creationId xmlns:a16="http://schemas.microsoft.com/office/drawing/2014/main" id="{70A2FC7A-A1C5-4229-BC2E-5BC790F0B8CD}"/>
                  </a:ext>
                </a:extLst>
              </p:cNvPr>
              <p:cNvSpPr/>
              <p:nvPr/>
            </p:nvSpPr>
            <p:spPr>
              <a:xfrm>
                <a:off x="1992215" y="2068578"/>
                <a:ext cx="3605" cy="8257"/>
              </a:xfrm>
              <a:custGeom>
                <a:avLst/>
                <a:gdLst>
                  <a:gd name="connsiteX0" fmla="*/ 3587 w 3605"/>
                  <a:gd name="connsiteY0" fmla="*/ 8257 h 8257"/>
                  <a:gd name="connsiteX1" fmla="*/ 0 w 3605"/>
                  <a:gd name="connsiteY1" fmla="*/ 0 h 8257"/>
                  <a:gd name="connsiteX2" fmla="*/ 3587 w 3605"/>
                  <a:gd name="connsiteY2" fmla="*/ 8257 h 8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05" h="8257">
                    <a:moveTo>
                      <a:pt x="3587" y="8257"/>
                    </a:moveTo>
                    <a:cubicBezTo>
                      <a:pt x="3199" y="5223"/>
                      <a:pt x="1953" y="2358"/>
                      <a:pt x="0" y="0"/>
                    </a:cubicBezTo>
                    <a:cubicBezTo>
                      <a:pt x="2442" y="2020"/>
                      <a:pt x="3777" y="5094"/>
                      <a:pt x="3587" y="825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8" name="Freeform: Shape 2227">
                <a:extLst>
                  <a:ext uri="{FF2B5EF4-FFF2-40B4-BE49-F238E27FC236}">
                    <a16:creationId xmlns:a16="http://schemas.microsoft.com/office/drawing/2014/main" id="{7BBBA96A-EB47-466C-9D9B-F5298769B9A0}"/>
                  </a:ext>
                </a:extLst>
              </p:cNvPr>
              <p:cNvSpPr/>
              <p:nvPr/>
            </p:nvSpPr>
            <p:spPr>
              <a:xfrm>
                <a:off x="1995703" y="2079621"/>
                <a:ext cx="3686" cy="6864"/>
              </a:xfrm>
              <a:custGeom>
                <a:avLst/>
                <a:gdLst>
                  <a:gd name="connsiteX0" fmla="*/ 299 w 3686"/>
                  <a:gd name="connsiteY0" fmla="*/ 0 h 6864"/>
                  <a:gd name="connsiteX1" fmla="*/ 3687 w 3686"/>
                  <a:gd name="connsiteY1" fmla="*/ 6865 h 6864"/>
                  <a:gd name="connsiteX2" fmla="*/ 0 w 3686"/>
                  <a:gd name="connsiteY2" fmla="*/ 3184 h 6864"/>
                  <a:gd name="connsiteX3" fmla="*/ 299 w 3686"/>
                  <a:gd name="connsiteY3" fmla="*/ 0 h 6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6" h="6864">
                    <a:moveTo>
                      <a:pt x="299" y="0"/>
                    </a:moveTo>
                    <a:cubicBezTo>
                      <a:pt x="827" y="2537"/>
                      <a:pt x="1993" y="4895"/>
                      <a:pt x="3687" y="6865"/>
                    </a:cubicBezTo>
                    <a:cubicBezTo>
                      <a:pt x="2382" y="5710"/>
                      <a:pt x="1156" y="4487"/>
                      <a:pt x="0" y="3184"/>
                    </a:cubicBezTo>
                    <a:cubicBezTo>
                      <a:pt x="189" y="2129"/>
                      <a:pt x="289" y="1064"/>
                      <a:pt x="2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29" name="Freeform: Shape 2228">
                <a:extLst>
                  <a:ext uri="{FF2B5EF4-FFF2-40B4-BE49-F238E27FC236}">
                    <a16:creationId xmlns:a16="http://schemas.microsoft.com/office/drawing/2014/main" id="{F01EEFF9-9FCF-4DD1-81DB-CC23D1183094}"/>
                  </a:ext>
                </a:extLst>
              </p:cNvPr>
              <p:cNvSpPr/>
              <p:nvPr/>
            </p:nvSpPr>
            <p:spPr>
              <a:xfrm>
                <a:off x="2015631" y="2100812"/>
                <a:ext cx="6975" cy="11839"/>
              </a:xfrm>
              <a:custGeom>
                <a:avLst/>
                <a:gdLst>
                  <a:gd name="connsiteX0" fmla="*/ 0 w 6975"/>
                  <a:gd name="connsiteY0" fmla="*/ 0 h 11839"/>
                  <a:gd name="connsiteX1" fmla="*/ 6975 w 6975"/>
                  <a:gd name="connsiteY1" fmla="*/ 11839 h 11839"/>
                  <a:gd name="connsiteX2" fmla="*/ 0 w 6975"/>
                  <a:gd name="connsiteY2" fmla="*/ 0 h 11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75" h="11839">
                    <a:moveTo>
                      <a:pt x="0" y="0"/>
                    </a:moveTo>
                    <a:cubicBezTo>
                      <a:pt x="3657" y="2995"/>
                      <a:pt x="6128" y="7193"/>
                      <a:pt x="6975" y="11839"/>
                    </a:cubicBezTo>
                    <a:cubicBezTo>
                      <a:pt x="5650" y="7382"/>
                      <a:pt x="3258" y="332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0" name="Freeform: Shape 2229">
                <a:extLst>
                  <a:ext uri="{FF2B5EF4-FFF2-40B4-BE49-F238E27FC236}">
                    <a16:creationId xmlns:a16="http://schemas.microsoft.com/office/drawing/2014/main" id="{E7CE5D35-1C7D-488E-921C-79286196E090}"/>
                  </a:ext>
                </a:extLst>
              </p:cNvPr>
              <p:cNvSpPr/>
              <p:nvPr/>
            </p:nvSpPr>
            <p:spPr>
              <a:xfrm>
                <a:off x="2052898" y="2139512"/>
                <a:ext cx="16740" cy="14525"/>
              </a:xfrm>
              <a:custGeom>
                <a:avLst/>
                <a:gdLst>
                  <a:gd name="connsiteX0" fmla="*/ 16740 w 16740"/>
                  <a:gd name="connsiteY0" fmla="*/ 14525 h 14525"/>
                  <a:gd name="connsiteX1" fmla="*/ 0 w 16740"/>
                  <a:gd name="connsiteY1" fmla="*/ 0 h 14525"/>
                  <a:gd name="connsiteX2" fmla="*/ 8569 w 16740"/>
                  <a:gd name="connsiteY2" fmla="*/ 6964 h 14525"/>
                  <a:gd name="connsiteX3" fmla="*/ 16740 w 16740"/>
                  <a:gd name="connsiteY3" fmla="*/ 14525 h 14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740" h="14525">
                    <a:moveTo>
                      <a:pt x="16740" y="14525"/>
                    </a:moveTo>
                    <a:cubicBezTo>
                      <a:pt x="11658" y="9849"/>
                      <a:pt x="5879" y="4576"/>
                      <a:pt x="0" y="0"/>
                    </a:cubicBezTo>
                    <a:cubicBezTo>
                      <a:pt x="2989" y="2149"/>
                      <a:pt x="5849" y="4477"/>
                      <a:pt x="8569" y="6964"/>
                    </a:cubicBezTo>
                    <a:cubicBezTo>
                      <a:pt x="11599" y="9143"/>
                      <a:pt x="14339" y="11680"/>
                      <a:pt x="16740" y="1452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1" name="Freeform: Shape 2230">
                <a:extLst>
                  <a:ext uri="{FF2B5EF4-FFF2-40B4-BE49-F238E27FC236}">
                    <a16:creationId xmlns:a16="http://schemas.microsoft.com/office/drawing/2014/main" id="{57FEC887-BA0B-4EBC-AB77-7D6A87062019}"/>
                  </a:ext>
                </a:extLst>
              </p:cNvPr>
              <p:cNvSpPr/>
              <p:nvPr/>
            </p:nvSpPr>
            <p:spPr>
              <a:xfrm>
                <a:off x="2076514" y="2164384"/>
                <a:ext cx="2092" cy="7859"/>
              </a:xfrm>
              <a:custGeom>
                <a:avLst/>
                <a:gdLst>
                  <a:gd name="connsiteX0" fmla="*/ 2092 w 2092"/>
                  <a:gd name="connsiteY0" fmla="*/ 7860 h 7859"/>
                  <a:gd name="connsiteX1" fmla="*/ 0 w 2092"/>
                  <a:gd name="connsiteY1" fmla="*/ 0 h 7859"/>
                  <a:gd name="connsiteX2" fmla="*/ 2092 w 2092"/>
                  <a:gd name="connsiteY2" fmla="*/ 7860 h 7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92" h="7859">
                    <a:moveTo>
                      <a:pt x="2092" y="7860"/>
                    </a:moveTo>
                    <a:cubicBezTo>
                      <a:pt x="1295" y="5174"/>
                      <a:pt x="498" y="2487"/>
                      <a:pt x="0" y="0"/>
                    </a:cubicBezTo>
                    <a:cubicBezTo>
                      <a:pt x="1146" y="2477"/>
                      <a:pt x="1853" y="5133"/>
                      <a:pt x="2092" y="786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2" name="Freeform: Shape 2231">
                <a:extLst>
                  <a:ext uri="{FF2B5EF4-FFF2-40B4-BE49-F238E27FC236}">
                    <a16:creationId xmlns:a16="http://schemas.microsoft.com/office/drawing/2014/main" id="{A8AA56FF-AAC4-4BDD-93C1-7250F94718E1}"/>
                  </a:ext>
                </a:extLst>
              </p:cNvPr>
              <p:cNvSpPr/>
              <p:nvPr/>
            </p:nvSpPr>
            <p:spPr>
              <a:xfrm>
                <a:off x="2077411" y="2181098"/>
                <a:ext cx="3105" cy="11142"/>
              </a:xfrm>
              <a:custGeom>
                <a:avLst/>
                <a:gdLst>
                  <a:gd name="connsiteX0" fmla="*/ 2690 w 3105"/>
                  <a:gd name="connsiteY0" fmla="*/ 0 h 11142"/>
                  <a:gd name="connsiteX1" fmla="*/ 0 w 3105"/>
                  <a:gd name="connsiteY1" fmla="*/ 11143 h 11142"/>
                  <a:gd name="connsiteX2" fmla="*/ 2690 w 3105"/>
                  <a:gd name="connsiteY2" fmla="*/ 0 h 1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05" h="11142">
                    <a:moveTo>
                      <a:pt x="2690" y="0"/>
                    </a:moveTo>
                    <a:cubicBezTo>
                      <a:pt x="3756" y="3930"/>
                      <a:pt x="2740" y="8128"/>
                      <a:pt x="0" y="11143"/>
                    </a:cubicBezTo>
                    <a:cubicBezTo>
                      <a:pt x="2491" y="7999"/>
                      <a:pt x="3478" y="3930"/>
                      <a:pt x="269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3" name="Freeform: Shape 2232">
                <a:extLst>
                  <a:ext uri="{FF2B5EF4-FFF2-40B4-BE49-F238E27FC236}">
                    <a16:creationId xmlns:a16="http://schemas.microsoft.com/office/drawing/2014/main" id="{169CB604-B5C8-459B-B355-D86DCF91EB7D}"/>
                  </a:ext>
                </a:extLst>
              </p:cNvPr>
              <p:cNvSpPr/>
              <p:nvPr/>
            </p:nvSpPr>
            <p:spPr>
              <a:xfrm>
                <a:off x="2082393" y="2205970"/>
                <a:ext cx="8768" cy="14226"/>
              </a:xfrm>
              <a:custGeom>
                <a:avLst/>
                <a:gdLst>
                  <a:gd name="connsiteX0" fmla="*/ 8769 w 8768"/>
                  <a:gd name="connsiteY0" fmla="*/ 14227 h 14226"/>
                  <a:gd name="connsiteX1" fmla="*/ 0 w 8768"/>
                  <a:gd name="connsiteY1" fmla="*/ 0 h 14226"/>
                  <a:gd name="connsiteX2" fmla="*/ 8769 w 8768"/>
                  <a:gd name="connsiteY2" fmla="*/ 14227 h 1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68" h="14226">
                    <a:moveTo>
                      <a:pt x="8769" y="14227"/>
                    </a:moveTo>
                    <a:cubicBezTo>
                      <a:pt x="4205" y="10715"/>
                      <a:pt x="1086" y="5651"/>
                      <a:pt x="0" y="0"/>
                    </a:cubicBezTo>
                    <a:cubicBezTo>
                      <a:pt x="1634" y="5422"/>
                      <a:pt x="4663" y="10327"/>
                      <a:pt x="8769" y="1422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4" name="Freeform: Shape 2233">
                <a:extLst>
                  <a:ext uri="{FF2B5EF4-FFF2-40B4-BE49-F238E27FC236}">
                    <a16:creationId xmlns:a16="http://schemas.microsoft.com/office/drawing/2014/main" id="{71314961-0418-4694-8A25-2824A31734E1}"/>
                  </a:ext>
                </a:extLst>
              </p:cNvPr>
              <p:cNvSpPr/>
              <p:nvPr/>
            </p:nvSpPr>
            <p:spPr>
              <a:xfrm>
                <a:off x="2094151" y="2219301"/>
                <a:ext cx="6277" cy="2785"/>
              </a:xfrm>
              <a:custGeom>
                <a:avLst/>
                <a:gdLst>
                  <a:gd name="connsiteX0" fmla="*/ 0 w 6277"/>
                  <a:gd name="connsiteY0" fmla="*/ 2189 h 2785"/>
                  <a:gd name="connsiteX1" fmla="*/ 6278 w 6277"/>
                  <a:gd name="connsiteY1" fmla="*/ 0 h 2785"/>
                  <a:gd name="connsiteX2" fmla="*/ 3189 w 6277"/>
                  <a:gd name="connsiteY2" fmla="*/ 2786 h 2785"/>
                  <a:gd name="connsiteX3" fmla="*/ 0 w 6277"/>
                  <a:gd name="connsiteY3" fmla="*/ 2189 h 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77" h="2785">
                    <a:moveTo>
                      <a:pt x="0" y="2189"/>
                    </a:moveTo>
                    <a:cubicBezTo>
                      <a:pt x="2312" y="2417"/>
                      <a:pt x="4614" y="1622"/>
                      <a:pt x="6278" y="0"/>
                    </a:cubicBezTo>
                    <a:cubicBezTo>
                      <a:pt x="5391" y="1084"/>
                      <a:pt x="4355" y="2019"/>
                      <a:pt x="3189" y="2786"/>
                    </a:cubicBezTo>
                    <a:cubicBezTo>
                      <a:pt x="2102" y="2746"/>
                      <a:pt x="1026" y="2547"/>
                      <a:pt x="0" y="21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5" name="Freeform: Shape 2234">
                <a:extLst>
                  <a:ext uri="{FF2B5EF4-FFF2-40B4-BE49-F238E27FC236}">
                    <a16:creationId xmlns:a16="http://schemas.microsoft.com/office/drawing/2014/main" id="{202958DD-615E-4A9E-8BE5-56A53C395F4E}"/>
                  </a:ext>
                </a:extLst>
              </p:cNvPr>
              <p:cNvSpPr/>
              <p:nvPr/>
            </p:nvSpPr>
            <p:spPr>
              <a:xfrm>
                <a:off x="2104713" y="2207363"/>
                <a:ext cx="6078" cy="5969"/>
              </a:xfrm>
              <a:custGeom>
                <a:avLst/>
                <a:gdLst>
                  <a:gd name="connsiteX0" fmla="*/ 6078 w 6078"/>
                  <a:gd name="connsiteY0" fmla="*/ 0 h 5969"/>
                  <a:gd name="connsiteX1" fmla="*/ 0 w 6078"/>
                  <a:gd name="connsiteY1" fmla="*/ 5969 h 5969"/>
                  <a:gd name="connsiteX2" fmla="*/ 6078 w 6078"/>
                  <a:gd name="connsiteY2" fmla="*/ 0 h 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078" h="5969">
                    <a:moveTo>
                      <a:pt x="6078" y="0"/>
                    </a:moveTo>
                    <a:cubicBezTo>
                      <a:pt x="3458" y="1283"/>
                      <a:pt x="1335" y="3383"/>
                      <a:pt x="0" y="5969"/>
                    </a:cubicBezTo>
                    <a:cubicBezTo>
                      <a:pt x="698" y="2975"/>
                      <a:pt x="3069" y="647"/>
                      <a:pt x="607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6" name="Freeform: Shape 2235">
                <a:extLst>
                  <a:ext uri="{FF2B5EF4-FFF2-40B4-BE49-F238E27FC236}">
                    <a16:creationId xmlns:a16="http://schemas.microsoft.com/office/drawing/2014/main" id="{676F8FBA-60E0-4C2F-96A2-BECACD6E5FB5}"/>
                  </a:ext>
                </a:extLst>
              </p:cNvPr>
              <p:cNvSpPr/>
              <p:nvPr/>
            </p:nvSpPr>
            <p:spPr>
              <a:xfrm>
                <a:off x="2120183" y="2307646"/>
                <a:ext cx="772" cy="5870"/>
              </a:xfrm>
              <a:custGeom>
                <a:avLst/>
                <a:gdLst>
                  <a:gd name="connsiteX0" fmla="*/ 75 w 772"/>
                  <a:gd name="connsiteY0" fmla="*/ 2089 h 5870"/>
                  <a:gd name="connsiteX1" fmla="*/ 772 w 772"/>
                  <a:gd name="connsiteY1" fmla="*/ 0 h 5870"/>
                  <a:gd name="connsiteX2" fmla="*/ 75 w 772"/>
                  <a:gd name="connsiteY2" fmla="*/ 5870 h 5870"/>
                  <a:gd name="connsiteX3" fmla="*/ 75 w 772"/>
                  <a:gd name="connsiteY3" fmla="*/ 2089 h 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2" h="5870">
                    <a:moveTo>
                      <a:pt x="75" y="2089"/>
                    </a:moveTo>
                    <a:cubicBezTo>
                      <a:pt x="244" y="1373"/>
                      <a:pt x="483" y="677"/>
                      <a:pt x="772" y="0"/>
                    </a:cubicBezTo>
                    <a:cubicBezTo>
                      <a:pt x="304" y="1920"/>
                      <a:pt x="75" y="3890"/>
                      <a:pt x="75" y="5870"/>
                    </a:cubicBezTo>
                    <a:cubicBezTo>
                      <a:pt x="-25" y="4616"/>
                      <a:pt x="-25" y="3343"/>
                      <a:pt x="75" y="20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7" name="Freeform: Shape 2236">
                <a:extLst>
                  <a:ext uri="{FF2B5EF4-FFF2-40B4-BE49-F238E27FC236}">
                    <a16:creationId xmlns:a16="http://schemas.microsoft.com/office/drawing/2014/main" id="{B986E759-7980-40DE-A1DC-F6CECB008462}"/>
                  </a:ext>
                </a:extLst>
              </p:cNvPr>
              <p:cNvSpPr/>
              <p:nvPr/>
            </p:nvSpPr>
            <p:spPr>
              <a:xfrm>
                <a:off x="2134009" y="2277004"/>
                <a:ext cx="996" cy="4079"/>
              </a:xfrm>
              <a:custGeom>
                <a:avLst/>
                <a:gdLst>
                  <a:gd name="connsiteX0" fmla="*/ 0 w 996"/>
                  <a:gd name="connsiteY0" fmla="*/ 4079 h 4079"/>
                  <a:gd name="connsiteX1" fmla="*/ 0 w 996"/>
                  <a:gd name="connsiteY1" fmla="*/ 1791 h 4079"/>
                  <a:gd name="connsiteX2" fmla="*/ 997 w 996"/>
                  <a:gd name="connsiteY2" fmla="*/ 0 h 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" h="4079">
                    <a:moveTo>
                      <a:pt x="0" y="4079"/>
                    </a:moveTo>
                    <a:cubicBezTo>
                      <a:pt x="40" y="3313"/>
                      <a:pt x="40" y="2557"/>
                      <a:pt x="0" y="1791"/>
                    </a:cubicBezTo>
                    <a:cubicBezTo>
                      <a:pt x="209" y="1134"/>
                      <a:pt x="548" y="527"/>
                      <a:pt x="99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8" name="Freeform: Shape 2237">
                <a:extLst>
                  <a:ext uri="{FF2B5EF4-FFF2-40B4-BE49-F238E27FC236}">
                    <a16:creationId xmlns:a16="http://schemas.microsoft.com/office/drawing/2014/main" id="{5170112E-0E47-47B0-A1E9-18BC68C0A3CC}"/>
                  </a:ext>
                </a:extLst>
              </p:cNvPr>
              <p:cNvSpPr/>
              <p:nvPr/>
            </p:nvSpPr>
            <p:spPr>
              <a:xfrm>
                <a:off x="2133809" y="2653564"/>
                <a:ext cx="4184" cy="3780"/>
              </a:xfrm>
              <a:custGeom>
                <a:avLst/>
                <a:gdLst>
                  <a:gd name="connsiteX0" fmla="*/ 0 w 4184"/>
                  <a:gd name="connsiteY0" fmla="*/ 3781 h 3780"/>
                  <a:gd name="connsiteX1" fmla="*/ 4185 w 4184"/>
                  <a:gd name="connsiteY1" fmla="*/ 0 h 3780"/>
                  <a:gd name="connsiteX2" fmla="*/ 0 w 4184"/>
                  <a:gd name="connsiteY2" fmla="*/ 3781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84" h="3780">
                    <a:moveTo>
                      <a:pt x="0" y="3781"/>
                    </a:moveTo>
                    <a:cubicBezTo>
                      <a:pt x="1594" y="2756"/>
                      <a:pt x="3009" y="1482"/>
                      <a:pt x="4185" y="0"/>
                    </a:cubicBezTo>
                    <a:cubicBezTo>
                      <a:pt x="3059" y="1532"/>
                      <a:pt x="1634" y="2815"/>
                      <a:pt x="0" y="378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39" name="Freeform: Shape 2238">
                <a:extLst>
                  <a:ext uri="{FF2B5EF4-FFF2-40B4-BE49-F238E27FC236}">
                    <a16:creationId xmlns:a16="http://schemas.microsoft.com/office/drawing/2014/main" id="{5056F86A-B15D-427C-ADD1-62A550E019F2}"/>
                  </a:ext>
                </a:extLst>
              </p:cNvPr>
              <p:cNvSpPr/>
              <p:nvPr/>
            </p:nvSpPr>
            <p:spPr>
              <a:xfrm>
                <a:off x="2133012" y="2213929"/>
                <a:ext cx="13352" cy="6566"/>
              </a:xfrm>
              <a:custGeom>
                <a:avLst/>
                <a:gdLst>
                  <a:gd name="connsiteX0" fmla="*/ 13352 w 13352"/>
                  <a:gd name="connsiteY0" fmla="*/ 6566 h 6566"/>
                  <a:gd name="connsiteX1" fmla="*/ 0 w 13352"/>
                  <a:gd name="connsiteY1" fmla="*/ 0 h 6566"/>
                  <a:gd name="connsiteX2" fmla="*/ 13352 w 13352"/>
                  <a:gd name="connsiteY2" fmla="*/ 6566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52" h="6566">
                    <a:moveTo>
                      <a:pt x="13352" y="6566"/>
                    </a:moveTo>
                    <a:cubicBezTo>
                      <a:pt x="10164" y="4775"/>
                      <a:pt x="5879" y="2587"/>
                      <a:pt x="0" y="0"/>
                    </a:cubicBezTo>
                    <a:cubicBezTo>
                      <a:pt x="4713" y="1622"/>
                      <a:pt x="9197" y="3820"/>
                      <a:pt x="13352" y="656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0" name="Freeform: Shape 2239">
                <a:extLst>
                  <a:ext uri="{FF2B5EF4-FFF2-40B4-BE49-F238E27FC236}">
                    <a16:creationId xmlns:a16="http://schemas.microsoft.com/office/drawing/2014/main" id="{EA0842A9-596F-4A13-9400-95FD5C07AD5D}"/>
                  </a:ext>
                </a:extLst>
              </p:cNvPr>
              <p:cNvSpPr/>
              <p:nvPr/>
            </p:nvSpPr>
            <p:spPr>
              <a:xfrm>
                <a:off x="2144073" y="2231737"/>
                <a:ext cx="8071" cy="9351"/>
              </a:xfrm>
              <a:custGeom>
                <a:avLst/>
                <a:gdLst>
                  <a:gd name="connsiteX0" fmla="*/ 8071 w 8071"/>
                  <a:gd name="connsiteY0" fmla="*/ 0 h 9351"/>
                  <a:gd name="connsiteX1" fmla="*/ 0 w 8071"/>
                  <a:gd name="connsiteY1" fmla="*/ 9352 h 9351"/>
                  <a:gd name="connsiteX2" fmla="*/ 8071 w 8071"/>
                  <a:gd name="connsiteY2" fmla="*/ 0 h 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71" h="9351">
                    <a:moveTo>
                      <a:pt x="8071" y="0"/>
                    </a:moveTo>
                    <a:cubicBezTo>
                      <a:pt x="5580" y="3283"/>
                      <a:pt x="2880" y="6407"/>
                      <a:pt x="0" y="9352"/>
                    </a:cubicBezTo>
                    <a:cubicBezTo>
                      <a:pt x="2222" y="5860"/>
                      <a:pt x="4942" y="2716"/>
                      <a:pt x="807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1" name="Freeform: Shape 2240">
                <a:extLst>
                  <a:ext uri="{FF2B5EF4-FFF2-40B4-BE49-F238E27FC236}">
                    <a16:creationId xmlns:a16="http://schemas.microsoft.com/office/drawing/2014/main" id="{3DED06B1-E859-42C6-AC13-054F5C4C31A5}"/>
                  </a:ext>
                </a:extLst>
              </p:cNvPr>
              <p:cNvSpPr/>
              <p:nvPr/>
            </p:nvSpPr>
            <p:spPr>
              <a:xfrm>
                <a:off x="2143076" y="2251834"/>
                <a:ext cx="1325" cy="5571"/>
              </a:xfrm>
              <a:custGeom>
                <a:avLst/>
                <a:gdLst>
                  <a:gd name="connsiteX0" fmla="*/ 100 w 1325"/>
                  <a:gd name="connsiteY0" fmla="*/ 597 h 5571"/>
                  <a:gd name="connsiteX1" fmla="*/ 1295 w 1325"/>
                  <a:gd name="connsiteY1" fmla="*/ 5571 h 5571"/>
                  <a:gd name="connsiteX2" fmla="*/ 1295 w 1325"/>
                  <a:gd name="connsiteY2" fmla="*/ 4576 h 5571"/>
                  <a:gd name="connsiteX3" fmla="*/ 0 w 1325"/>
                  <a:gd name="connsiteY3" fmla="*/ 0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25" h="5571">
                    <a:moveTo>
                      <a:pt x="100" y="597"/>
                    </a:moveTo>
                    <a:cubicBezTo>
                      <a:pt x="847" y="2149"/>
                      <a:pt x="1256" y="3850"/>
                      <a:pt x="1295" y="5571"/>
                    </a:cubicBezTo>
                    <a:cubicBezTo>
                      <a:pt x="1335" y="5243"/>
                      <a:pt x="1335" y="4905"/>
                      <a:pt x="1295" y="4576"/>
                    </a:cubicBezTo>
                    <a:cubicBezTo>
                      <a:pt x="707" y="3104"/>
                      <a:pt x="269" y="156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2" name="Freeform: Shape 2241">
                <a:extLst>
                  <a:ext uri="{FF2B5EF4-FFF2-40B4-BE49-F238E27FC236}">
                    <a16:creationId xmlns:a16="http://schemas.microsoft.com/office/drawing/2014/main" id="{69E658B6-C0B1-4000-BCA7-EE1A19687AB9}"/>
                  </a:ext>
                </a:extLst>
              </p:cNvPr>
              <p:cNvSpPr/>
              <p:nvPr/>
            </p:nvSpPr>
            <p:spPr>
              <a:xfrm>
                <a:off x="2149154" y="2602228"/>
                <a:ext cx="2013" cy="8456"/>
              </a:xfrm>
              <a:custGeom>
                <a:avLst/>
                <a:gdLst>
                  <a:gd name="connsiteX0" fmla="*/ 0 w 2013"/>
                  <a:gd name="connsiteY0" fmla="*/ 0 h 8456"/>
                  <a:gd name="connsiteX1" fmla="*/ 1993 w 2013"/>
                  <a:gd name="connsiteY1" fmla="*/ 8456 h 8456"/>
                  <a:gd name="connsiteX2" fmla="*/ 0 w 2013"/>
                  <a:gd name="connsiteY2" fmla="*/ 0 h 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13" h="8456">
                    <a:moveTo>
                      <a:pt x="0" y="0"/>
                    </a:moveTo>
                    <a:cubicBezTo>
                      <a:pt x="1455" y="2577"/>
                      <a:pt x="2143" y="5502"/>
                      <a:pt x="1993" y="8456"/>
                    </a:cubicBezTo>
                    <a:cubicBezTo>
                      <a:pt x="1884" y="5531"/>
                      <a:pt x="1206" y="266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3" name="Freeform: Shape 2242">
                <a:extLst>
                  <a:ext uri="{FF2B5EF4-FFF2-40B4-BE49-F238E27FC236}">
                    <a16:creationId xmlns:a16="http://schemas.microsoft.com/office/drawing/2014/main" id="{A197C842-BD6C-4AC2-8768-6FC79790CD44}"/>
                  </a:ext>
                </a:extLst>
              </p:cNvPr>
              <p:cNvSpPr/>
              <p:nvPr/>
            </p:nvSpPr>
            <p:spPr>
              <a:xfrm>
                <a:off x="2150749" y="2223380"/>
                <a:ext cx="2525" cy="2686"/>
              </a:xfrm>
              <a:custGeom>
                <a:avLst/>
                <a:gdLst>
                  <a:gd name="connsiteX0" fmla="*/ 2491 w 2525"/>
                  <a:gd name="connsiteY0" fmla="*/ 2686 h 2686"/>
                  <a:gd name="connsiteX1" fmla="*/ 0 w 2525"/>
                  <a:gd name="connsiteY1" fmla="*/ 0 h 2686"/>
                  <a:gd name="connsiteX2" fmla="*/ 2392 w 2525"/>
                  <a:gd name="connsiteY2" fmla="*/ 1791 h 2686"/>
                  <a:gd name="connsiteX3" fmla="*/ 2491 w 2525"/>
                  <a:gd name="connsiteY3" fmla="*/ 2686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25" h="2686">
                    <a:moveTo>
                      <a:pt x="2491" y="2686"/>
                    </a:moveTo>
                    <a:cubicBezTo>
                      <a:pt x="1784" y="1691"/>
                      <a:pt x="947" y="786"/>
                      <a:pt x="0" y="0"/>
                    </a:cubicBezTo>
                    <a:lnTo>
                      <a:pt x="2392" y="1791"/>
                    </a:lnTo>
                    <a:cubicBezTo>
                      <a:pt x="2521" y="2069"/>
                      <a:pt x="2561" y="2388"/>
                      <a:pt x="2491" y="26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4" name="Freeform: Shape 2243">
                <a:extLst>
                  <a:ext uri="{FF2B5EF4-FFF2-40B4-BE49-F238E27FC236}">
                    <a16:creationId xmlns:a16="http://schemas.microsoft.com/office/drawing/2014/main" id="{9383D595-78DD-4DCF-8198-864E3A9BD721}"/>
                  </a:ext>
                </a:extLst>
              </p:cNvPr>
              <p:cNvSpPr/>
              <p:nvPr/>
            </p:nvSpPr>
            <p:spPr>
              <a:xfrm>
                <a:off x="2153140" y="2628692"/>
                <a:ext cx="5181" cy="6267"/>
              </a:xfrm>
              <a:custGeom>
                <a:avLst/>
                <a:gdLst>
                  <a:gd name="connsiteX0" fmla="*/ 5181 w 5181"/>
                  <a:gd name="connsiteY0" fmla="*/ 0 h 6267"/>
                  <a:gd name="connsiteX1" fmla="*/ 0 w 5181"/>
                  <a:gd name="connsiteY1" fmla="*/ 6268 h 6267"/>
                  <a:gd name="connsiteX2" fmla="*/ 5181 w 5181"/>
                  <a:gd name="connsiteY2" fmla="*/ 0 h 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1" h="6267">
                    <a:moveTo>
                      <a:pt x="5181" y="0"/>
                    </a:moveTo>
                    <a:cubicBezTo>
                      <a:pt x="4185" y="2596"/>
                      <a:pt x="2362" y="4795"/>
                      <a:pt x="0" y="6268"/>
                    </a:cubicBezTo>
                    <a:cubicBezTo>
                      <a:pt x="2232" y="4656"/>
                      <a:pt x="4016" y="2497"/>
                      <a:pt x="518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5" name="Freeform: Shape 2244">
                <a:extLst>
                  <a:ext uri="{FF2B5EF4-FFF2-40B4-BE49-F238E27FC236}">
                    <a16:creationId xmlns:a16="http://schemas.microsoft.com/office/drawing/2014/main" id="{A7E9DFBB-56DF-4BD4-B289-AF6C1F35706E}"/>
                  </a:ext>
                </a:extLst>
              </p:cNvPr>
              <p:cNvSpPr/>
              <p:nvPr/>
            </p:nvSpPr>
            <p:spPr>
              <a:xfrm>
                <a:off x="2157624" y="2615460"/>
                <a:ext cx="1919" cy="5571"/>
              </a:xfrm>
              <a:custGeom>
                <a:avLst/>
                <a:gdLst>
                  <a:gd name="connsiteX0" fmla="*/ 0 w 1919"/>
                  <a:gd name="connsiteY0" fmla="*/ 0 h 5571"/>
                  <a:gd name="connsiteX1" fmla="*/ 1495 w 1919"/>
                  <a:gd name="connsiteY1" fmla="*/ 5571 h 5571"/>
                  <a:gd name="connsiteX2" fmla="*/ 0 w 1919"/>
                  <a:gd name="connsiteY2" fmla="*/ 0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19" h="5571">
                    <a:moveTo>
                      <a:pt x="0" y="0"/>
                    </a:moveTo>
                    <a:cubicBezTo>
                      <a:pt x="1794" y="1244"/>
                      <a:pt x="2421" y="3601"/>
                      <a:pt x="1495" y="5571"/>
                    </a:cubicBezTo>
                    <a:cubicBezTo>
                      <a:pt x="2152" y="3582"/>
                      <a:pt x="1565" y="139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6" name="Freeform: Shape 2245">
                <a:extLst>
                  <a:ext uri="{FF2B5EF4-FFF2-40B4-BE49-F238E27FC236}">
                    <a16:creationId xmlns:a16="http://schemas.microsoft.com/office/drawing/2014/main" id="{0B2C74EF-6C11-423D-92F9-9BA4027E0135}"/>
                  </a:ext>
                </a:extLst>
              </p:cNvPr>
              <p:cNvSpPr/>
              <p:nvPr/>
            </p:nvSpPr>
            <p:spPr>
              <a:xfrm>
                <a:off x="2185724" y="2378780"/>
                <a:ext cx="5380" cy="2188"/>
              </a:xfrm>
              <a:custGeom>
                <a:avLst/>
                <a:gdLst>
                  <a:gd name="connsiteX0" fmla="*/ 5381 w 5380"/>
                  <a:gd name="connsiteY0" fmla="*/ 2189 h 2188"/>
                  <a:gd name="connsiteX1" fmla="*/ 0 w 5380"/>
                  <a:gd name="connsiteY1" fmla="*/ 0 h 2188"/>
                  <a:gd name="connsiteX2" fmla="*/ 5381 w 5380"/>
                  <a:gd name="connsiteY2" fmla="*/ 2189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80" h="2188">
                    <a:moveTo>
                      <a:pt x="5381" y="2189"/>
                    </a:moveTo>
                    <a:cubicBezTo>
                      <a:pt x="3727" y="1164"/>
                      <a:pt x="1903" y="428"/>
                      <a:pt x="0" y="0"/>
                    </a:cubicBezTo>
                    <a:cubicBezTo>
                      <a:pt x="1973" y="179"/>
                      <a:pt x="3846" y="945"/>
                      <a:pt x="5381" y="21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7" name="Freeform: Shape 2246">
                <a:extLst>
                  <a:ext uri="{FF2B5EF4-FFF2-40B4-BE49-F238E27FC236}">
                    <a16:creationId xmlns:a16="http://schemas.microsoft.com/office/drawing/2014/main" id="{560571D6-41C0-4062-BA5B-6AB43E5A03EE}"/>
                  </a:ext>
                </a:extLst>
              </p:cNvPr>
              <p:cNvSpPr/>
              <p:nvPr/>
            </p:nvSpPr>
            <p:spPr>
              <a:xfrm>
                <a:off x="2180841" y="2675478"/>
                <a:ext cx="14647" cy="470"/>
              </a:xfrm>
              <a:custGeom>
                <a:avLst/>
                <a:gdLst>
                  <a:gd name="connsiteX0" fmla="*/ 14648 w 14647"/>
                  <a:gd name="connsiteY0" fmla="*/ 470 h 470"/>
                  <a:gd name="connsiteX1" fmla="*/ 0 w 14647"/>
                  <a:gd name="connsiteY1" fmla="*/ 470 h 470"/>
                  <a:gd name="connsiteX2" fmla="*/ 14648 w 14647"/>
                  <a:gd name="connsiteY2" fmla="*/ 470 h 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47" h="470">
                    <a:moveTo>
                      <a:pt x="14648" y="470"/>
                    </a:moveTo>
                    <a:cubicBezTo>
                      <a:pt x="9765" y="470"/>
                      <a:pt x="4683" y="470"/>
                      <a:pt x="0" y="470"/>
                    </a:cubicBezTo>
                    <a:cubicBezTo>
                      <a:pt x="4862" y="-157"/>
                      <a:pt x="9785" y="-157"/>
                      <a:pt x="14648" y="47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8" name="Freeform: Shape 2247">
                <a:extLst>
                  <a:ext uri="{FF2B5EF4-FFF2-40B4-BE49-F238E27FC236}">
                    <a16:creationId xmlns:a16="http://schemas.microsoft.com/office/drawing/2014/main" id="{4AE58BDD-0E6C-4387-916A-B808EF2182A2}"/>
                  </a:ext>
                </a:extLst>
              </p:cNvPr>
              <p:cNvSpPr/>
              <p:nvPr/>
            </p:nvSpPr>
            <p:spPr>
              <a:xfrm>
                <a:off x="2205852" y="2393205"/>
                <a:ext cx="2291" cy="4974"/>
              </a:xfrm>
              <a:custGeom>
                <a:avLst/>
                <a:gdLst>
                  <a:gd name="connsiteX0" fmla="*/ 2292 w 2291"/>
                  <a:gd name="connsiteY0" fmla="*/ 4974 h 4974"/>
                  <a:gd name="connsiteX1" fmla="*/ 0 w 2291"/>
                  <a:gd name="connsiteY1" fmla="*/ 0 h 4974"/>
                  <a:gd name="connsiteX2" fmla="*/ 2292 w 2291"/>
                  <a:gd name="connsiteY2" fmla="*/ 4974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91" h="4974">
                    <a:moveTo>
                      <a:pt x="2292" y="4974"/>
                    </a:moveTo>
                    <a:cubicBezTo>
                      <a:pt x="1196" y="3492"/>
                      <a:pt x="419" y="1801"/>
                      <a:pt x="0" y="0"/>
                    </a:cubicBezTo>
                    <a:cubicBezTo>
                      <a:pt x="1136" y="1462"/>
                      <a:pt x="1923" y="3164"/>
                      <a:pt x="2292" y="49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49" name="Freeform: Shape 2248">
                <a:extLst>
                  <a:ext uri="{FF2B5EF4-FFF2-40B4-BE49-F238E27FC236}">
                    <a16:creationId xmlns:a16="http://schemas.microsoft.com/office/drawing/2014/main" id="{032014B3-3160-4499-821B-547E13D71F54}"/>
                  </a:ext>
                </a:extLst>
              </p:cNvPr>
              <p:cNvSpPr/>
              <p:nvPr/>
            </p:nvSpPr>
            <p:spPr>
              <a:xfrm>
                <a:off x="2205553" y="2662916"/>
                <a:ext cx="2605" cy="9053"/>
              </a:xfrm>
              <a:custGeom>
                <a:avLst/>
                <a:gdLst>
                  <a:gd name="connsiteX0" fmla="*/ 0 w 2605"/>
                  <a:gd name="connsiteY0" fmla="*/ 9053 h 9053"/>
                  <a:gd name="connsiteX1" fmla="*/ 2392 w 2605"/>
                  <a:gd name="connsiteY1" fmla="*/ 0 h 9053"/>
                  <a:gd name="connsiteX2" fmla="*/ 0 w 2605"/>
                  <a:gd name="connsiteY2" fmla="*/ 9053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05" h="9053">
                    <a:moveTo>
                      <a:pt x="0" y="9053"/>
                    </a:moveTo>
                    <a:cubicBezTo>
                      <a:pt x="1266" y="6178"/>
                      <a:pt x="2073" y="3124"/>
                      <a:pt x="2392" y="0"/>
                    </a:cubicBezTo>
                    <a:cubicBezTo>
                      <a:pt x="3049" y="3223"/>
                      <a:pt x="2172" y="6576"/>
                      <a:pt x="0" y="905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0" name="Freeform: Shape 2249">
                <a:extLst>
                  <a:ext uri="{FF2B5EF4-FFF2-40B4-BE49-F238E27FC236}">
                    <a16:creationId xmlns:a16="http://schemas.microsoft.com/office/drawing/2014/main" id="{0C5F76B7-0667-4F29-9392-0083D8418220}"/>
                  </a:ext>
                </a:extLst>
              </p:cNvPr>
              <p:cNvSpPr/>
              <p:nvPr/>
            </p:nvSpPr>
            <p:spPr>
              <a:xfrm>
                <a:off x="2208144" y="2656946"/>
                <a:ext cx="8071" cy="5969"/>
              </a:xfrm>
              <a:custGeom>
                <a:avLst/>
                <a:gdLst>
                  <a:gd name="connsiteX0" fmla="*/ 0 w 8071"/>
                  <a:gd name="connsiteY0" fmla="*/ 5969 h 5969"/>
                  <a:gd name="connsiteX1" fmla="*/ 8071 w 8071"/>
                  <a:gd name="connsiteY1" fmla="*/ 0 h 5969"/>
                  <a:gd name="connsiteX2" fmla="*/ 0 w 8071"/>
                  <a:gd name="connsiteY2" fmla="*/ 5969 h 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71" h="5969">
                    <a:moveTo>
                      <a:pt x="0" y="5969"/>
                    </a:moveTo>
                    <a:lnTo>
                      <a:pt x="8071" y="0"/>
                    </a:lnTo>
                    <a:cubicBezTo>
                      <a:pt x="5759" y="2457"/>
                      <a:pt x="3019" y="4477"/>
                      <a:pt x="0" y="596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1" name="Freeform: Shape 2250">
                <a:extLst>
                  <a:ext uri="{FF2B5EF4-FFF2-40B4-BE49-F238E27FC236}">
                    <a16:creationId xmlns:a16="http://schemas.microsoft.com/office/drawing/2014/main" id="{34AC0E68-B558-40F5-8FEB-5C54B43F7F17}"/>
                  </a:ext>
                </a:extLst>
              </p:cNvPr>
              <p:cNvSpPr/>
              <p:nvPr/>
            </p:nvSpPr>
            <p:spPr>
              <a:xfrm>
                <a:off x="2210037" y="2643914"/>
                <a:ext cx="6975" cy="7461"/>
              </a:xfrm>
              <a:custGeom>
                <a:avLst/>
                <a:gdLst>
                  <a:gd name="connsiteX0" fmla="*/ 6975 w 6975"/>
                  <a:gd name="connsiteY0" fmla="*/ 7462 h 7461"/>
                  <a:gd name="connsiteX1" fmla="*/ 0 w 6975"/>
                  <a:gd name="connsiteY1" fmla="*/ 0 h 7461"/>
                  <a:gd name="connsiteX2" fmla="*/ 6975 w 6975"/>
                  <a:gd name="connsiteY2" fmla="*/ 7462 h 7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75" h="7461">
                    <a:moveTo>
                      <a:pt x="6975" y="7462"/>
                    </a:moveTo>
                    <a:cubicBezTo>
                      <a:pt x="5002" y="4676"/>
                      <a:pt x="2650" y="2159"/>
                      <a:pt x="0" y="0"/>
                    </a:cubicBezTo>
                    <a:cubicBezTo>
                      <a:pt x="2939" y="1840"/>
                      <a:pt x="5341" y="4407"/>
                      <a:pt x="6975" y="746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2" name="Freeform: Shape 2251">
                <a:extLst>
                  <a:ext uri="{FF2B5EF4-FFF2-40B4-BE49-F238E27FC236}">
                    <a16:creationId xmlns:a16="http://schemas.microsoft.com/office/drawing/2014/main" id="{2819E7D7-53DF-42E2-A109-32866DC50883}"/>
                  </a:ext>
                </a:extLst>
              </p:cNvPr>
              <p:cNvSpPr/>
              <p:nvPr/>
            </p:nvSpPr>
            <p:spPr>
              <a:xfrm>
                <a:off x="2212329" y="2401662"/>
                <a:ext cx="5878" cy="3084"/>
              </a:xfrm>
              <a:custGeom>
                <a:avLst/>
                <a:gdLst>
                  <a:gd name="connsiteX0" fmla="*/ 0 w 5878"/>
                  <a:gd name="connsiteY0" fmla="*/ 0 h 3084"/>
                  <a:gd name="connsiteX1" fmla="*/ 5879 w 5878"/>
                  <a:gd name="connsiteY1" fmla="*/ 3084 h 3084"/>
                  <a:gd name="connsiteX2" fmla="*/ 0 w 5878"/>
                  <a:gd name="connsiteY2" fmla="*/ 0 h 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8" h="3084">
                    <a:moveTo>
                      <a:pt x="0" y="0"/>
                    </a:moveTo>
                    <a:lnTo>
                      <a:pt x="5879" y="3084"/>
                    </a:lnTo>
                    <a:cubicBezTo>
                      <a:pt x="3756" y="2388"/>
                      <a:pt x="1773" y="135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3" name="Freeform: Shape 2252">
                <a:extLst>
                  <a:ext uri="{FF2B5EF4-FFF2-40B4-BE49-F238E27FC236}">
                    <a16:creationId xmlns:a16="http://schemas.microsoft.com/office/drawing/2014/main" id="{F07E52E1-61AA-4697-92F5-10B273D27C6F}"/>
                  </a:ext>
                </a:extLst>
              </p:cNvPr>
              <p:cNvSpPr/>
              <p:nvPr/>
            </p:nvSpPr>
            <p:spPr>
              <a:xfrm>
                <a:off x="2220699" y="2622225"/>
                <a:ext cx="5580" cy="1162"/>
              </a:xfrm>
              <a:custGeom>
                <a:avLst/>
                <a:gdLst>
                  <a:gd name="connsiteX0" fmla="*/ 0 w 5580"/>
                  <a:gd name="connsiteY0" fmla="*/ 1094 h 1162"/>
                  <a:gd name="connsiteX1" fmla="*/ 5580 w 5580"/>
                  <a:gd name="connsiteY1" fmla="*/ 0 h 1162"/>
                  <a:gd name="connsiteX2" fmla="*/ 0 w 5580"/>
                  <a:gd name="connsiteY2" fmla="*/ 1094 h 1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80" h="1162">
                    <a:moveTo>
                      <a:pt x="0" y="1094"/>
                    </a:moveTo>
                    <a:cubicBezTo>
                      <a:pt x="1823" y="577"/>
                      <a:pt x="3697" y="209"/>
                      <a:pt x="5580" y="0"/>
                    </a:cubicBezTo>
                    <a:cubicBezTo>
                      <a:pt x="3886" y="945"/>
                      <a:pt x="1933" y="1333"/>
                      <a:pt x="0" y="109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4" name="Freeform: Shape 2253">
                <a:extLst>
                  <a:ext uri="{FF2B5EF4-FFF2-40B4-BE49-F238E27FC236}">
                    <a16:creationId xmlns:a16="http://schemas.microsoft.com/office/drawing/2014/main" id="{C9236922-4B7B-4B2C-AB16-49659A2B5D62}"/>
                  </a:ext>
                </a:extLst>
              </p:cNvPr>
              <p:cNvSpPr/>
              <p:nvPr/>
            </p:nvSpPr>
            <p:spPr>
              <a:xfrm>
                <a:off x="2224884" y="2603621"/>
                <a:ext cx="2309" cy="7461"/>
              </a:xfrm>
              <a:custGeom>
                <a:avLst/>
                <a:gdLst>
                  <a:gd name="connsiteX0" fmla="*/ 2292 w 2309"/>
                  <a:gd name="connsiteY0" fmla="*/ 0 h 7461"/>
                  <a:gd name="connsiteX1" fmla="*/ 0 w 2309"/>
                  <a:gd name="connsiteY1" fmla="*/ 7462 h 7461"/>
                  <a:gd name="connsiteX2" fmla="*/ 2292 w 2309"/>
                  <a:gd name="connsiteY2" fmla="*/ 0 h 7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09" h="7461">
                    <a:moveTo>
                      <a:pt x="2292" y="0"/>
                    </a:moveTo>
                    <a:cubicBezTo>
                      <a:pt x="2441" y="2676"/>
                      <a:pt x="1634" y="5323"/>
                      <a:pt x="0" y="7462"/>
                    </a:cubicBezTo>
                    <a:cubicBezTo>
                      <a:pt x="1365" y="5203"/>
                      <a:pt x="2152" y="2637"/>
                      <a:pt x="229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5" name="Freeform: Shape 2254">
                <a:extLst>
                  <a:ext uri="{FF2B5EF4-FFF2-40B4-BE49-F238E27FC236}">
                    <a16:creationId xmlns:a16="http://schemas.microsoft.com/office/drawing/2014/main" id="{7EC55300-265A-4856-9332-42D898158DDC}"/>
                  </a:ext>
                </a:extLst>
              </p:cNvPr>
              <p:cNvSpPr/>
              <p:nvPr/>
            </p:nvSpPr>
            <p:spPr>
              <a:xfrm>
                <a:off x="2226179" y="2612774"/>
                <a:ext cx="2391" cy="6068"/>
              </a:xfrm>
              <a:custGeom>
                <a:avLst/>
                <a:gdLst>
                  <a:gd name="connsiteX0" fmla="*/ 0 w 2391"/>
                  <a:gd name="connsiteY0" fmla="*/ 0 h 6068"/>
                  <a:gd name="connsiteX1" fmla="*/ 2391 w 2391"/>
                  <a:gd name="connsiteY1" fmla="*/ 6069 h 6068"/>
                  <a:gd name="connsiteX2" fmla="*/ 0 w 2391"/>
                  <a:gd name="connsiteY2" fmla="*/ 0 h 6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1" h="6068">
                    <a:moveTo>
                      <a:pt x="0" y="0"/>
                    </a:moveTo>
                    <a:cubicBezTo>
                      <a:pt x="1455" y="1701"/>
                      <a:pt x="2302" y="3830"/>
                      <a:pt x="2391" y="6069"/>
                    </a:cubicBezTo>
                    <a:cubicBezTo>
                      <a:pt x="2113" y="3880"/>
                      <a:pt x="1295" y="179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6" name="Freeform: Shape 2255">
                <a:extLst>
                  <a:ext uri="{FF2B5EF4-FFF2-40B4-BE49-F238E27FC236}">
                    <a16:creationId xmlns:a16="http://schemas.microsoft.com/office/drawing/2014/main" id="{F3FEBC72-7528-4EF3-9D96-6BB6525B49D8}"/>
                  </a:ext>
                </a:extLst>
              </p:cNvPr>
              <p:cNvSpPr/>
              <p:nvPr/>
            </p:nvSpPr>
            <p:spPr>
              <a:xfrm>
                <a:off x="2224884" y="2408526"/>
                <a:ext cx="3886" cy="6566"/>
              </a:xfrm>
              <a:custGeom>
                <a:avLst/>
                <a:gdLst>
                  <a:gd name="connsiteX0" fmla="*/ 3886 w 3886"/>
                  <a:gd name="connsiteY0" fmla="*/ 6566 h 6566"/>
                  <a:gd name="connsiteX1" fmla="*/ 0 w 3886"/>
                  <a:gd name="connsiteY1" fmla="*/ 0 h 6566"/>
                  <a:gd name="connsiteX2" fmla="*/ 2990 w 3886"/>
                  <a:gd name="connsiteY2" fmla="*/ 1592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86" h="6566">
                    <a:moveTo>
                      <a:pt x="3886" y="6566"/>
                    </a:moveTo>
                    <a:cubicBezTo>
                      <a:pt x="3218" y="4059"/>
                      <a:pt x="1873" y="1791"/>
                      <a:pt x="0" y="0"/>
                    </a:cubicBezTo>
                    <a:lnTo>
                      <a:pt x="2990" y="1592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7" name="Freeform: Shape 2256">
                <a:extLst>
                  <a:ext uri="{FF2B5EF4-FFF2-40B4-BE49-F238E27FC236}">
                    <a16:creationId xmlns:a16="http://schemas.microsoft.com/office/drawing/2014/main" id="{854866A8-2B4F-4DFC-9488-CE2D28AC05E6}"/>
                  </a:ext>
                </a:extLst>
              </p:cNvPr>
              <p:cNvSpPr/>
              <p:nvPr/>
            </p:nvSpPr>
            <p:spPr>
              <a:xfrm>
                <a:off x="2229245" y="2430712"/>
                <a:ext cx="1019" cy="4178"/>
              </a:xfrm>
              <a:custGeom>
                <a:avLst/>
                <a:gdLst>
                  <a:gd name="connsiteX0" fmla="*/ 1019 w 1019"/>
                  <a:gd name="connsiteY0" fmla="*/ 0 h 4178"/>
                  <a:gd name="connsiteX1" fmla="*/ 23 w 1019"/>
                  <a:gd name="connsiteY1" fmla="*/ 4178 h 4178"/>
                  <a:gd name="connsiteX2" fmla="*/ 1019 w 1019"/>
                  <a:gd name="connsiteY2" fmla="*/ 0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9" h="4178">
                    <a:moveTo>
                      <a:pt x="1019" y="0"/>
                    </a:moveTo>
                    <a:cubicBezTo>
                      <a:pt x="940" y="1442"/>
                      <a:pt x="601" y="2855"/>
                      <a:pt x="23" y="4178"/>
                    </a:cubicBezTo>
                    <a:cubicBezTo>
                      <a:pt x="-97" y="2716"/>
                      <a:pt x="252" y="1253"/>
                      <a:pt x="101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8" name="Freeform: Shape 2257">
                <a:extLst>
                  <a:ext uri="{FF2B5EF4-FFF2-40B4-BE49-F238E27FC236}">
                    <a16:creationId xmlns:a16="http://schemas.microsoft.com/office/drawing/2014/main" id="{0FE741A2-1274-4103-9B4B-3C08F35227D5}"/>
                  </a:ext>
                </a:extLst>
              </p:cNvPr>
              <p:cNvSpPr/>
              <p:nvPr/>
            </p:nvSpPr>
            <p:spPr>
              <a:xfrm>
                <a:off x="2220898" y="2586987"/>
                <a:ext cx="13252" cy="5193"/>
              </a:xfrm>
              <a:custGeom>
                <a:avLst/>
                <a:gdLst>
                  <a:gd name="connsiteX0" fmla="*/ 13253 w 13252"/>
                  <a:gd name="connsiteY0" fmla="*/ 915 h 5193"/>
                  <a:gd name="connsiteX1" fmla="*/ 0 w 13252"/>
                  <a:gd name="connsiteY1" fmla="*/ 5193 h 5193"/>
                  <a:gd name="connsiteX2" fmla="*/ 13253 w 13252"/>
                  <a:gd name="connsiteY2" fmla="*/ 915 h 5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252" h="5193">
                    <a:moveTo>
                      <a:pt x="13253" y="915"/>
                    </a:moveTo>
                    <a:cubicBezTo>
                      <a:pt x="8071" y="120"/>
                      <a:pt x="2690" y="-1572"/>
                      <a:pt x="0" y="5193"/>
                    </a:cubicBezTo>
                    <a:cubicBezTo>
                      <a:pt x="2092" y="-1572"/>
                      <a:pt x="7174" y="-179"/>
                      <a:pt x="13253" y="91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59" name="Freeform: Shape 2258">
                <a:extLst>
                  <a:ext uri="{FF2B5EF4-FFF2-40B4-BE49-F238E27FC236}">
                    <a16:creationId xmlns:a16="http://schemas.microsoft.com/office/drawing/2014/main" id="{C9E20B00-196D-4E28-92EB-92810DEE7295}"/>
                  </a:ext>
                </a:extLst>
              </p:cNvPr>
              <p:cNvSpPr/>
              <p:nvPr/>
            </p:nvSpPr>
            <p:spPr>
              <a:xfrm>
                <a:off x="2234549" y="2460558"/>
                <a:ext cx="5480" cy="5969"/>
              </a:xfrm>
              <a:custGeom>
                <a:avLst/>
                <a:gdLst>
                  <a:gd name="connsiteX0" fmla="*/ 0 w 5480"/>
                  <a:gd name="connsiteY0" fmla="*/ 5969 h 5969"/>
                  <a:gd name="connsiteX1" fmla="*/ 5481 w 5480"/>
                  <a:gd name="connsiteY1" fmla="*/ 0 h 5969"/>
                  <a:gd name="connsiteX2" fmla="*/ 0 w 5480"/>
                  <a:gd name="connsiteY2" fmla="*/ 5969 h 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80" h="5969">
                    <a:moveTo>
                      <a:pt x="0" y="5969"/>
                    </a:moveTo>
                    <a:cubicBezTo>
                      <a:pt x="2591" y="3780"/>
                      <a:pt x="4783" y="2388"/>
                      <a:pt x="5481" y="0"/>
                    </a:cubicBezTo>
                    <a:cubicBezTo>
                      <a:pt x="5281" y="2686"/>
                      <a:pt x="3488" y="4676"/>
                      <a:pt x="0" y="596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60" name="Freeform: Shape 2259">
                <a:extLst>
                  <a:ext uri="{FF2B5EF4-FFF2-40B4-BE49-F238E27FC236}">
                    <a16:creationId xmlns:a16="http://schemas.microsoft.com/office/drawing/2014/main" id="{65B7067C-9F32-4ACC-9DAE-81782B520911}"/>
                  </a:ext>
                </a:extLst>
              </p:cNvPr>
              <p:cNvSpPr/>
              <p:nvPr/>
            </p:nvSpPr>
            <p:spPr>
              <a:xfrm>
                <a:off x="2242322" y="2581236"/>
                <a:ext cx="2989" cy="5471"/>
              </a:xfrm>
              <a:custGeom>
                <a:avLst/>
                <a:gdLst>
                  <a:gd name="connsiteX0" fmla="*/ 0 w 2989"/>
                  <a:gd name="connsiteY0" fmla="*/ 5472 h 5471"/>
                  <a:gd name="connsiteX1" fmla="*/ 2990 w 2989"/>
                  <a:gd name="connsiteY1" fmla="*/ 0 h 5471"/>
                  <a:gd name="connsiteX2" fmla="*/ 0 w 2989"/>
                  <a:gd name="connsiteY2" fmla="*/ 5472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5471">
                    <a:moveTo>
                      <a:pt x="0" y="5472"/>
                    </a:moveTo>
                    <a:cubicBezTo>
                      <a:pt x="698" y="3502"/>
                      <a:pt x="1704" y="1652"/>
                      <a:pt x="2990" y="0"/>
                    </a:cubicBezTo>
                    <a:cubicBezTo>
                      <a:pt x="2671" y="2119"/>
                      <a:pt x="1614" y="4059"/>
                      <a:pt x="0" y="547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61" name="Freeform: Shape 2260">
                <a:extLst>
                  <a:ext uri="{FF2B5EF4-FFF2-40B4-BE49-F238E27FC236}">
                    <a16:creationId xmlns:a16="http://schemas.microsoft.com/office/drawing/2014/main" id="{9BA6364B-FE01-4DE5-9400-20707902F11B}"/>
                  </a:ext>
                </a:extLst>
              </p:cNvPr>
              <p:cNvSpPr/>
              <p:nvPr/>
            </p:nvSpPr>
            <p:spPr>
              <a:xfrm>
                <a:off x="2249994" y="2514282"/>
                <a:ext cx="4484" cy="1294"/>
              </a:xfrm>
              <a:custGeom>
                <a:avLst/>
                <a:gdLst>
                  <a:gd name="connsiteX0" fmla="*/ 4484 w 4484"/>
                  <a:gd name="connsiteY0" fmla="*/ 1293 h 1294"/>
                  <a:gd name="connsiteX1" fmla="*/ 0 w 4484"/>
                  <a:gd name="connsiteY1" fmla="*/ 0 h 1294"/>
                  <a:gd name="connsiteX2" fmla="*/ 4484 w 4484"/>
                  <a:gd name="connsiteY2" fmla="*/ 1293 h 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4" h="1294">
                    <a:moveTo>
                      <a:pt x="4484" y="1293"/>
                    </a:moveTo>
                    <a:cubicBezTo>
                      <a:pt x="2889" y="1323"/>
                      <a:pt x="1335" y="866"/>
                      <a:pt x="0" y="0"/>
                    </a:cubicBezTo>
                    <a:cubicBezTo>
                      <a:pt x="1534" y="288"/>
                      <a:pt x="3029" y="726"/>
                      <a:pt x="4484" y="12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62" name="Freeform: Shape 2261">
                <a:extLst>
                  <a:ext uri="{FF2B5EF4-FFF2-40B4-BE49-F238E27FC236}">
                    <a16:creationId xmlns:a16="http://schemas.microsoft.com/office/drawing/2014/main" id="{AE1757B8-9F8F-4A2E-9E00-0F320478FCB0}"/>
                  </a:ext>
                </a:extLst>
              </p:cNvPr>
              <p:cNvSpPr/>
              <p:nvPr/>
            </p:nvSpPr>
            <p:spPr>
              <a:xfrm>
                <a:off x="2248001" y="2578829"/>
                <a:ext cx="7672" cy="4198"/>
              </a:xfrm>
              <a:custGeom>
                <a:avLst/>
                <a:gdLst>
                  <a:gd name="connsiteX0" fmla="*/ 4783 w 7672"/>
                  <a:gd name="connsiteY0" fmla="*/ 418 h 4198"/>
                  <a:gd name="connsiteX1" fmla="*/ 7673 w 7672"/>
                  <a:gd name="connsiteY1" fmla="*/ 4198 h 4198"/>
                  <a:gd name="connsiteX2" fmla="*/ 3787 w 7672"/>
                  <a:gd name="connsiteY2" fmla="*/ 418 h 4198"/>
                  <a:gd name="connsiteX3" fmla="*/ 0 w 7672"/>
                  <a:gd name="connsiteY3" fmla="*/ 418 h 4198"/>
                  <a:gd name="connsiteX4" fmla="*/ 4783 w 7672"/>
                  <a:gd name="connsiteY4" fmla="*/ 418 h 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72" h="4198">
                    <a:moveTo>
                      <a:pt x="4783" y="418"/>
                    </a:moveTo>
                    <a:cubicBezTo>
                      <a:pt x="5640" y="1761"/>
                      <a:pt x="6607" y="3024"/>
                      <a:pt x="7673" y="4198"/>
                    </a:cubicBezTo>
                    <a:cubicBezTo>
                      <a:pt x="6298" y="3024"/>
                      <a:pt x="5002" y="1761"/>
                      <a:pt x="3787" y="418"/>
                    </a:cubicBezTo>
                    <a:lnTo>
                      <a:pt x="0" y="418"/>
                    </a:lnTo>
                    <a:cubicBezTo>
                      <a:pt x="1545" y="-139"/>
                      <a:pt x="3239" y="-139"/>
                      <a:pt x="4783" y="41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63" name="Freeform: Shape 2262">
                <a:extLst>
                  <a:ext uri="{FF2B5EF4-FFF2-40B4-BE49-F238E27FC236}">
                    <a16:creationId xmlns:a16="http://schemas.microsoft.com/office/drawing/2014/main" id="{DD2975DD-403E-432A-8795-AC80AA6D59CE}"/>
                  </a:ext>
                </a:extLst>
              </p:cNvPr>
              <p:cNvSpPr/>
              <p:nvPr/>
            </p:nvSpPr>
            <p:spPr>
              <a:xfrm>
                <a:off x="2262051" y="2582331"/>
                <a:ext cx="4085" cy="5040"/>
              </a:xfrm>
              <a:custGeom>
                <a:avLst/>
                <a:gdLst>
                  <a:gd name="connsiteX0" fmla="*/ 4086 w 4085"/>
                  <a:gd name="connsiteY0" fmla="*/ 0 h 5040"/>
                  <a:gd name="connsiteX1" fmla="*/ 0 w 4085"/>
                  <a:gd name="connsiteY1" fmla="*/ 4974 h 5040"/>
                  <a:gd name="connsiteX2" fmla="*/ 4086 w 4085"/>
                  <a:gd name="connsiteY2" fmla="*/ 0 h 5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85" h="5040">
                    <a:moveTo>
                      <a:pt x="4086" y="0"/>
                    </a:moveTo>
                    <a:cubicBezTo>
                      <a:pt x="2890" y="3084"/>
                      <a:pt x="2192" y="5472"/>
                      <a:pt x="0" y="4974"/>
                    </a:cubicBezTo>
                    <a:cubicBezTo>
                      <a:pt x="1694" y="4776"/>
                      <a:pt x="2790" y="2587"/>
                      <a:pt x="408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64" name="Freeform: Shape 2263">
                <a:extLst>
                  <a:ext uri="{FF2B5EF4-FFF2-40B4-BE49-F238E27FC236}">
                    <a16:creationId xmlns:a16="http://schemas.microsoft.com/office/drawing/2014/main" id="{E34CE484-DA38-43E1-823D-8957E4F0A95F}"/>
                  </a:ext>
                </a:extLst>
              </p:cNvPr>
              <p:cNvSpPr/>
              <p:nvPr/>
            </p:nvSpPr>
            <p:spPr>
              <a:xfrm>
                <a:off x="2274208" y="2538755"/>
                <a:ext cx="2491" cy="9053"/>
              </a:xfrm>
              <a:custGeom>
                <a:avLst/>
                <a:gdLst>
                  <a:gd name="connsiteX0" fmla="*/ 498 w 2491"/>
                  <a:gd name="connsiteY0" fmla="*/ 4776 h 9053"/>
                  <a:gd name="connsiteX1" fmla="*/ 2491 w 2491"/>
                  <a:gd name="connsiteY1" fmla="*/ 0 h 9053"/>
                  <a:gd name="connsiteX2" fmla="*/ 0 w 2491"/>
                  <a:gd name="connsiteY2" fmla="*/ 9053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91" h="9053">
                    <a:moveTo>
                      <a:pt x="498" y="4776"/>
                    </a:moveTo>
                    <a:cubicBezTo>
                      <a:pt x="1066" y="3144"/>
                      <a:pt x="1734" y="1552"/>
                      <a:pt x="2491" y="0"/>
                    </a:cubicBezTo>
                    <a:cubicBezTo>
                      <a:pt x="1475" y="2965"/>
                      <a:pt x="648" y="5989"/>
                      <a:pt x="0" y="905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65" name="Freeform: Shape 2264">
                <a:extLst>
                  <a:ext uri="{FF2B5EF4-FFF2-40B4-BE49-F238E27FC236}">
                    <a16:creationId xmlns:a16="http://schemas.microsoft.com/office/drawing/2014/main" id="{03E8F042-0641-4FDE-87FD-8CBC7AE41E92}"/>
                  </a:ext>
                </a:extLst>
              </p:cNvPr>
              <p:cNvSpPr/>
              <p:nvPr/>
            </p:nvSpPr>
            <p:spPr>
              <a:xfrm>
                <a:off x="2278194" y="2524031"/>
                <a:ext cx="1992" cy="2188"/>
              </a:xfrm>
              <a:custGeom>
                <a:avLst/>
                <a:gdLst>
                  <a:gd name="connsiteX0" fmla="*/ 1992 w 1992"/>
                  <a:gd name="connsiteY0" fmla="*/ 2189 h 2188"/>
                  <a:gd name="connsiteX1" fmla="*/ 0 w 1992"/>
                  <a:gd name="connsiteY1" fmla="*/ 0 h 2188"/>
                  <a:gd name="connsiteX2" fmla="*/ 1992 w 1992"/>
                  <a:gd name="connsiteY2" fmla="*/ 2189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" h="2188">
                    <a:moveTo>
                      <a:pt x="1992" y="2189"/>
                    </a:moveTo>
                    <a:cubicBezTo>
                      <a:pt x="1156" y="1642"/>
                      <a:pt x="468" y="886"/>
                      <a:pt x="0" y="0"/>
                    </a:cubicBezTo>
                    <a:cubicBezTo>
                      <a:pt x="926" y="438"/>
                      <a:pt x="1644" y="1224"/>
                      <a:pt x="1992" y="21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66" name="Freeform: Shape 2265">
                <a:extLst>
                  <a:ext uri="{FF2B5EF4-FFF2-40B4-BE49-F238E27FC236}">
                    <a16:creationId xmlns:a16="http://schemas.microsoft.com/office/drawing/2014/main" id="{92DB1286-DA73-475B-9D26-3AEEF16435FF}"/>
                  </a:ext>
                </a:extLst>
              </p:cNvPr>
              <p:cNvSpPr/>
              <p:nvPr/>
            </p:nvSpPr>
            <p:spPr>
              <a:xfrm>
                <a:off x="2280662" y="2527513"/>
                <a:ext cx="67" cy="2288"/>
              </a:xfrm>
              <a:custGeom>
                <a:avLst/>
                <a:gdLst>
                  <a:gd name="connsiteX0" fmla="*/ 23 w 67"/>
                  <a:gd name="connsiteY0" fmla="*/ 1095 h 2288"/>
                  <a:gd name="connsiteX1" fmla="*/ 23 w 67"/>
                  <a:gd name="connsiteY1" fmla="*/ 2288 h 2288"/>
                  <a:gd name="connsiteX2" fmla="*/ 23 w 67"/>
                  <a:gd name="connsiteY2" fmla="*/ 0 h 2288"/>
                  <a:gd name="connsiteX3" fmla="*/ 23 w 67"/>
                  <a:gd name="connsiteY3" fmla="*/ 1095 h 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" h="2288">
                    <a:moveTo>
                      <a:pt x="23" y="1095"/>
                    </a:moveTo>
                    <a:cubicBezTo>
                      <a:pt x="-8" y="1492"/>
                      <a:pt x="-8" y="1890"/>
                      <a:pt x="23" y="2288"/>
                    </a:cubicBezTo>
                    <a:cubicBezTo>
                      <a:pt x="23" y="1393"/>
                      <a:pt x="23" y="696"/>
                      <a:pt x="23" y="0"/>
                    </a:cubicBezTo>
                    <a:cubicBezTo>
                      <a:pt x="82" y="358"/>
                      <a:pt x="82" y="736"/>
                      <a:pt x="23" y="10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83" name="Graphic 231">
              <a:extLst>
                <a:ext uri="{FF2B5EF4-FFF2-40B4-BE49-F238E27FC236}">
                  <a16:creationId xmlns:a16="http://schemas.microsoft.com/office/drawing/2014/main" id="{CD52D434-2148-4C3A-AB14-9DE09B4CA8E1}"/>
                </a:ext>
              </a:extLst>
            </p:cNvPr>
            <p:cNvGrpSpPr/>
            <p:nvPr/>
          </p:nvGrpSpPr>
          <p:grpSpPr>
            <a:xfrm>
              <a:off x="1334301" y="1449169"/>
              <a:ext cx="813059" cy="525990"/>
              <a:chOff x="1334301" y="1449169"/>
              <a:chExt cx="813059" cy="525990"/>
            </a:xfrm>
            <a:solidFill>
              <a:srgbClr val="ECE8E4"/>
            </a:solidFill>
          </p:grpSpPr>
          <p:sp>
            <p:nvSpPr>
              <p:cNvPr id="2148" name="Freeform: Shape 2147">
                <a:extLst>
                  <a:ext uri="{FF2B5EF4-FFF2-40B4-BE49-F238E27FC236}">
                    <a16:creationId xmlns:a16="http://schemas.microsoft.com/office/drawing/2014/main" id="{C73A8BF1-D568-4806-8451-ABC2E7FF5A6A}"/>
                  </a:ext>
                </a:extLst>
              </p:cNvPr>
              <p:cNvSpPr/>
              <p:nvPr/>
            </p:nvSpPr>
            <p:spPr>
              <a:xfrm>
                <a:off x="1334301" y="1572235"/>
                <a:ext cx="6141" cy="18305"/>
              </a:xfrm>
              <a:custGeom>
                <a:avLst/>
                <a:gdLst>
                  <a:gd name="connsiteX0" fmla="*/ 6142 w 6141"/>
                  <a:gd name="connsiteY0" fmla="*/ 18306 h 18305"/>
                  <a:gd name="connsiteX1" fmla="*/ 761 w 6141"/>
                  <a:gd name="connsiteY1" fmla="*/ 1293 h 18305"/>
                  <a:gd name="connsiteX2" fmla="*/ 1459 w 6141"/>
                  <a:gd name="connsiteY2" fmla="*/ 0 h 18305"/>
                  <a:gd name="connsiteX3" fmla="*/ 6142 w 6141"/>
                  <a:gd name="connsiteY3" fmla="*/ 18306 h 18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41" h="18305">
                    <a:moveTo>
                      <a:pt x="6142" y="18306"/>
                    </a:moveTo>
                    <a:cubicBezTo>
                      <a:pt x="880" y="14366"/>
                      <a:pt x="-1282" y="7531"/>
                      <a:pt x="761" y="1293"/>
                    </a:cubicBezTo>
                    <a:cubicBezTo>
                      <a:pt x="910" y="826"/>
                      <a:pt x="1150" y="388"/>
                      <a:pt x="1459" y="0"/>
                    </a:cubicBezTo>
                    <a:cubicBezTo>
                      <a:pt x="-1202" y="6467"/>
                      <a:pt x="701" y="13908"/>
                      <a:pt x="6142" y="1830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49" name="Freeform: Shape 2148">
                <a:extLst>
                  <a:ext uri="{FF2B5EF4-FFF2-40B4-BE49-F238E27FC236}">
                    <a16:creationId xmlns:a16="http://schemas.microsoft.com/office/drawing/2014/main" id="{5B212394-A00C-457B-800E-3D43373954BA}"/>
                  </a:ext>
                </a:extLst>
              </p:cNvPr>
              <p:cNvSpPr/>
              <p:nvPr/>
            </p:nvSpPr>
            <p:spPr>
              <a:xfrm>
                <a:off x="1343233" y="1554924"/>
                <a:ext cx="1594" cy="3780"/>
              </a:xfrm>
              <a:custGeom>
                <a:avLst/>
                <a:gdLst>
                  <a:gd name="connsiteX0" fmla="*/ 1594 w 1594"/>
                  <a:gd name="connsiteY0" fmla="*/ 0 h 3780"/>
                  <a:gd name="connsiteX1" fmla="*/ 1594 w 1594"/>
                  <a:gd name="connsiteY1" fmla="*/ 1592 h 3780"/>
                  <a:gd name="connsiteX2" fmla="*/ 0 w 1594"/>
                  <a:gd name="connsiteY2" fmla="*/ 3781 h 3780"/>
                  <a:gd name="connsiteX3" fmla="*/ 1594 w 1594"/>
                  <a:gd name="connsiteY3" fmla="*/ 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94" h="3780">
                    <a:moveTo>
                      <a:pt x="1594" y="0"/>
                    </a:moveTo>
                    <a:cubicBezTo>
                      <a:pt x="1544" y="527"/>
                      <a:pt x="1544" y="1064"/>
                      <a:pt x="1594" y="1592"/>
                    </a:cubicBezTo>
                    <a:lnTo>
                      <a:pt x="0" y="3781"/>
                    </a:lnTo>
                    <a:cubicBezTo>
                      <a:pt x="688" y="2597"/>
                      <a:pt x="1225" y="1323"/>
                      <a:pt x="159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0" name="Freeform: Shape 2149">
                <a:extLst>
                  <a:ext uri="{FF2B5EF4-FFF2-40B4-BE49-F238E27FC236}">
                    <a16:creationId xmlns:a16="http://schemas.microsoft.com/office/drawing/2014/main" id="{8467AE59-FC8D-4406-BE33-289DB35F0482}"/>
                  </a:ext>
                </a:extLst>
              </p:cNvPr>
              <p:cNvSpPr/>
              <p:nvPr/>
            </p:nvSpPr>
            <p:spPr>
              <a:xfrm>
                <a:off x="1345027" y="1546766"/>
                <a:ext cx="1693" cy="3382"/>
              </a:xfrm>
              <a:custGeom>
                <a:avLst/>
                <a:gdLst>
                  <a:gd name="connsiteX0" fmla="*/ 0 w 1693"/>
                  <a:gd name="connsiteY0" fmla="*/ 1890 h 3382"/>
                  <a:gd name="connsiteX1" fmla="*/ 1694 w 1693"/>
                  <a:gd name="connsiteY1" fmla="*/ 0 h 3382"/>
                  <a:gd name="connsiteX2" fmla="*/ 199 w 1693"/>
                  <a:gd name="connsiteY2" fmla="*/ 3383 h 3382"/>
                  <a:gd name="connsiteX3" fmla="*/ 0 w 1693"/>
                  <a:gd name="connsiteY3" fmla="*/ 1890 h 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" h="3382">
                    <a:moveTo>
                      <a:pt x="0" y="1890"/>
                    </a:moveTo>
                    <a:lnTo>
                      <a:pt x="1694" y="0"/>
                    </a:lnTo>
                    <a:cubicBezTo>
                      <a:pt x="986" y="1025"/>
                      <a:pt x="478" y="2169"/>
                      <a:pt x="199" y="3383"/>
                    </a:cubicBezTo>
                    <a:cubicBezTo>
                      <a:pt x="189" y="2875"/>
                      <a:pt x="120" y="2378"/>
                      <a:pt x="0" y="189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1" name="Freeform: Shape 2150">
                <a:extLst>
                  <a:ext uri="{FF2B5EF4-FFF2-40B4-BE49-F238E27FC236}">
                    <a16:creationId xmlns:a16="http://schemas.microsoft.com/office/drawing/2014/main" id="{CDF86704-069F-4ABE-8211-D5ED965E942C}"/>
                  </a:ext>
                </a:extLst>
              </p:cNvPr>
              <p:cNvSpPr/>
              <p:nvPr/>
            </p:nvSpPr>
            <p:spPr>
              <a:xfrm>
                <a:off x="1347020" y="1538011"/>
                <a:ext cx="996" cy="1392"/>
              </a:xfrm>
              <a:custGeom>
                <a:avLst/>
                <a:gdLst>
                  <a:gd name="connsiteX0" fmla="*/ 0 w 996"/>
                  <a:gd name="connsiteY0" fmla="*/ 696 h 1392"/>
                  <a:gd name="connsiteX1" fmla="*/ 997 w 996"/>
                  <a:gd name="connsiteY1" fmla="*/ 0 h 1392"/>
                  <a:gd name="connsiteX2" fmla="*/ 997 w 996"/>
                  <a:gd name="connsiteY2" fmla="*/ 1393 h 1392"/>
                  <a:gd name="connsiteX3" fmla="*/ 0 w 996"/>
                  <a:gd name="connsiteY3" fmla="*/ 696 h 1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" h="1392">
                    <a:moveTo>
                      <a:pt x="0" y="696"/>
                    </a:moveTo>
                    <a:cubicBezTo>
                      <a:pt x="299" y="418"/>
                      <a:pt x="638" y="189"/>
                      <a:pt x="997" y="0"/>
                    </a:cubicBezTo>
                    <a:cubicBezTo>
                      <a:pt x="897" y="458"/>
                      <a:pt x="897" y="935"/>
                      <a:pt x="997" y="1393"/>
                    </a:cubicBezTo>
                    <a:cubicBezTo>
                      <a:pt x="757" y="1055"/>
                      <a:pt x="399" y="806"/>
                      <a:pt x="0" y="6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2" name="Freeform: Shape 2151">
                <a:extLst>
                  <a:ext uri="{FF2B5EF4-FFF2-40B4-BE49-F238E27FC236}">
                    <a16:creationId xmlns:a16="http://schemas.microsoft.com/office/drawing/2014/main" id="{E0A4036B-B4AF-4442-B3EA-CE39ED2393E5}"/>
                  </a:ext>
                </a:extLst>
              </p:cNvPr>
              <p:cNvSpPr/>
              <p:nvPr/>
            </p:nvSpPr>
            <p:spPr>
              <a:xfrm>
                <a:off x="1348016" y="1526968"/>
                <a:ext cx="2491" cy="3084"/>
              </a:xfrm>
              <a:custGeom>
                <a:avLst/>
                <a:gdLst>
                  <a:gd name="connsiteX0" fmla="*/ 897 w 2491"/>
                  <a:gd name="connsiteY0" fmla="*/ 3084 h 3084"/>
                  <a:gd name="connsiteX1" fmla="*/ 0 w 2491"/>
                  <a:gd name="connsiteY1" fmla="*/ 1791 h 3084"/>
                  <a:gd name="connsiteX2" fmla="*/ 2491 w 2491"/>
                  <a:gd name="connsiteY2" fmla="*/ 0 h 3084"/>
                  <a:gd name="connsiteX3" fmla="*/ 897 w 2491"/>
                  <a:gd name="connsiteY3" fmla="*/ 3084 h 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1" h="3084">
                    <a:moveTo>
                      <a:pt x="897" y="3084"/>
                    </a:moveTo>
                    <a:lnTo>
                      <a:pt x="0" y="1791"/>
                    </a:lnTo>
                    <a:cubicBezTo>
                      <a:pt x="787" y="1144"/>
                      <a:pt x="1624" y="547"/>
                      <a:pt x="2491" y="0"/>
                    </a:cubicBezTo>
                    <a:cubicBezTo>
                      <a:pt x="1565" y="776"/>
                      <a:pt x="986" y="1880"/>
                      <a:pt x="897" y="30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3" name="Freeform: Shape 2152">
                <a:extLst>
                  <a:ext uri="{FF2B5EF4-FFF2-40B4-BE49-F238E27FC236}">
                    <a16:creationId xmlns:a16="http://schemas.microsoft.com/office/drawing/2014/main" id="{74D39F17-BC87-4546-B686-24751C60C93A}"/>
                  </a:ext>
                </a:extLst>
              </p:cNvPr>
              <p:cNvSpPr/>
              <p:nvPr/>
            </p:nvSpPr>
            <p:spPr>
              <a:xfrm>
                <a:off x="1348714" y="1541891"/>
                <a:ext cx="1295" cy="1989"/>
              </a:xfrm>
              <a:custGeom>
                <a:avLst/>
                <a:gdLst>
                  <a:gd name="connsiteX0" fmla="*/ 1295 w 1295"/>
                  <a:gd name="connsiteY0" fmla="*/ 696 h 1989"/>
                  <a:gd name="connsiteX1" fmla="*/ 0 w 1295"/>
                  <a:gd name="connsiteY1" fmla="*/ 1990 h 1989"/>
                  <a:gd name="connsiteX2" fmla="*/ 498 w 1295"/>
                  <a:gd name="connsiteY2" fmla="*/ 0 h 1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5" h="1989">
                    <a:moveTo>
                      <a:pt x="1295" y="696"/>
                    </a:moveTo>
                    <a:lnTo>
                      <a:pt x="0" y="1990"/>
                    </a:lnTo>
                    <a:cubicBezTo>
                      <a:pt x="389" y="1403"/>
                      <a:pt x="568" y="696"/>
                      <a:pt x="4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4" name="Freeform: Shape 2153">
                <a:extLst>
                  <a:ext uri="{FF2B5EF4-FFF2-40B4-BE49-F238E27FC236}">
                    <a16:creationId xmlns:a16="http://schemas.microsoft.com/office/drawing/2014/main" id="{9741F4FF-A18A-4078-9088-D21169B43071}"/>
                  </a:ext>
                </a:extLst>
              </p:cNvPr>
              <p:cNvSpPr/>
              <p:nvPr/>
            </p:nvSpPr>
            <p:spPr>
              <a:xfrm>
                <a:off x="1349212" y="1602778"/>
                <a:ext cx="3786" cy="8456"/>
              </a:xfrm>
              <a:custGeom>
                <a:avLst/>
                <a:gdLst>
                  <a:gd name="connsiteX0" fmla="*/ 0 w 3786"/>
                  <a:gd name="connsiteY0" fmla="*/ 0 h 8456"/>
                  <a:gd name="connsiteX1" fmla="*/ 3787 w 3786"/>
                  <a:gd name="connsiteY1" fmla="*/ 8456 h 8456"/>
                  <a:gd name="connsiteX2" fmla="*/ 0 w 3786"/>
                  <a:gd name="connsiteY2" fmla="*/ 0 h 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86" h="8456">
                    <a:moveTo>
                      <a:pt x="0" y="0"/>
                    </a:moveTo>
                    <a:cubicBezTo>
                      <a:pt x="1575" y="2666"/>
                      <a:pt x="2840" y="5502"/>
                      <a:pt x="3787" y="8456"/>
                    </a:cubicBezTo>
                    <a:cubicBezTo>
                      <a:pt x="2123" y="5840"/>
                      <a:pt x="847" y="298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5" name="Freeform: Shape 2154">
                <a:extLst>
                  <a:ext uri="{FF2B5EF4-FFF2-40B4-BE49-F238E27FC236}">
                    <a16:creationId xmlns:a16="http://schemas.microsoft.com/office/drawing/2014/main" id="{4208A2CC-35CF-43D4-B572-E2F08A42B3EC}"/>
                  </a:ext>
                </a:extLst>
              </p:cNvPr>
              <p:cNvSpPr/>
              <p:nvPr/>
            </p:nvSpPr>
            <p:spPr>
              <a:xfrm>
                <a:off x="1349710" y="1533534"/>
                <a:ext cx="1295" cy="2288"/>
              </a:xfrm>
              <a:custGeom>
                <a:avLst/>
                <a:gdLst>
                  <a:gd name="connsiteX0" fmla="*/ 399 w 1295"/>
                  <a:gd name="connsiteY0" fmla="*/ 0 h 2288"/>
                  <a:gd name="connsiteX1" fmla="*/ 1295 w 1295"/>
                  <a:gd name="connsiteY1" fmla="*/ 1094 h 2288"/>
                  <a:gd name="connsiteX2" fmla="*/ 0 w 1295"/>
                  <a:gd name="connsiteY2" fmla="*/ 2288 h 2288"/>
                  <a:gd name="connsiteX3" fmla="*/ 399 w 1295"/>
                  <a:gd name="connsiteY3" fmla="*/ 0 h 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5" h="2288">
                    <a:moveTo>
                      <a:pt x="399" y="0"/>
                    </a:moveTo>
                    <a:lnTo>
                      <a:pt x="1295" y="1094"/>
                    </a:lnTo>
                    <a:lnTo>
                      <a:pt x="0" y="2288"/>
                    </a:lnTo>
                    <a:cubicBezTo>
                      <a:pt x="389" y="1592"/>
                      <a:pt x="528" y="786"/>
                      <a:pt x="3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6" name="Freeform: Shape 2155">
                <a:extLst>
                  <a:ext uri="{FF2B5EF4-FFF2-40B4-BE49-F238E27FC236}">
                    <a16:creationId xmlns:a16="http://schemas.microsoft.com/office/drawing/2014/main" id="{21A2CFE0-6F7B-4053-A9C7-96C8869C4159}"/>
                  </a:ext>
                </a:extLst>
              </p:cNvPr>
              <p:cNvSpPr/>
              <p:nvPr/>
            </p:nvSpPr>
            <p:spPr>
              <a:xfrm>
                <a:off x="1352969" y="1496824"/>
                <a:ext cx="925" cy="7063"/>
              </a:xfrm>
              <a:custGeom>
                <a:avLst/>
                <a:gdLst>
                  <a:gd name="connsiteX0" fmla="*/ 926 w 925"/>
                  <a:gd name="connsiteY0" fmla="*/ 7064 h 7063"/>
                  <a:gd name="connsiteX1" fmla="*/ 29 w 925"/>
                  <a:gd name="connsiteY1" fmla="*/ 0 h 7063"/>
                  <a:gd name="connsiteX2" fmla="*/ 926 w 925"/>
                  <a:gd name="connsiteY2" fmla="*/ 7064 h 7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5" h="7063">
                    <a:moveTo>
                      <a:pt x="926" y="7064"/>
                    </a:moveTo>
                    <a:cubicBezTo>
                      <a:pt x="208" y="4785"/>
                      <a:pt x="-101" y="2388"/>
                      <a:pt x="29" y="0"/>
                    </a:cubicBezTo>
                    <a:cubicBezTo>
                      <a:pt x="228" y="1592"/>
                      <a:pt x="527" y="4178"/>
                      <a:pt x="926" y="706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7" name="Freeform: Shape 2156">
                <a:extLst>
                  <a:ext uri="{FF2B5EF4-FFF2-40B4-BE49-F238E27FC236}">
                    <a16:creationId xmlns:a16="http://schemas.microsoft.com/office/drawing/2014/main" id="{47B68D73-75D8-48CB-B8C3-AA8C23F18A53}"/>
                  </a:ext>
                </a:extLst>
              </p:cNvPr>
              <p:cNvSpPr/>
              <p:nvPr/>
            </p:nvSpPr>
            <p:spPr>
              <a:xfrm>
                <a:off x="1353895" y="1522889"/>
                <a:ext cx="1295" cy="1492"/>
              </a:xfrm>
              <a:custGeom>
                <a:avLst/>
                <a:gdLst>
                  <a:gd name="connsiteX0" fmla="*/ 0 w 1295"/>
                  <a:gd name="connsiteY0" fmla="*/ 1492 h 1492"/>
                  <a:gd name="connsiteX1" fmla="*/ 1295 w 1295"/>
                  <a:gd name="connsiteY1" fmla="*/ 0 h 1492"/>
                  <a:gd name="connsiteX2" fmla="*/ 1295 w 1295"/>
                  <a:gd name="connsiteY2" fmla="*/ 895 h 1492"/>
                  <a:gd name="connsiteX3" fmla="*/ 0 w 1295"/>
                  <a:gd name="connsiteY3" fmla="*/ 1492 h 1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5" h="1492">
                    <a:moveTo>
                      <a:pt x="0" y="1492"/>
                    </a:moveTo>
                    <a:cubicBezTo>
                      <a:pt x="488" y="1045"/>
                      <a:pt x="927" y="547"/>
                      <a:pt x="1295" y="0"/>
                    </a:cubicBezTo>
                    <a:cubicBezTo>
                      <a:pt x="1295" y="0"/>
                      <a:pt x="1295" y="597"/>
                      <a:pt x="1295" y="895"/>
                    </a:cubicBezTo>
                    <a:cubicBezTo>
                      <a:pt x="837" y="1045"/>
                      <a:pt x="409" y="1244"/>
                      <a:pt x="0" y="149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8" name="Freeform: Shape 2157">
                <a:extLst>
                  <a:ext uri="{FF2B5EF4-FFF2-40B4-BE49-F238E27FC236}">
                    <a16:creationId xmlns:a16="http://schemas.microsoft.com/office/drawing/2014/main" id="{891C6A78-3B4B-4C20-A2C4-AB989132A572}"/>
                  </a:ext>
                </a:extLst>
              </p:cNvPr>
              <p:cNvSpPr/>
              <p:nvPr/>
            </p:nvSpPr>
            <p:spPr>
              <a:xfrm>
                <a:off x="1355988" y="1520004"/>
                <a:ext cx="44" cy="895"/>
              </a:xfrm>
              <a:custGeom>
                <a:avLst/>
                <a:gdLst>
                  <a:gd name="connsiteX0" fmla="*/ 0 w 44"/>
                  <a:gd name="connsiteY0" fmla="*/ 696 h 895"/>
                  <a:gd name="connsiteX1" fmla="*/ 0 w 44"/>
                  <a:gd name="connsiteY1" fmla="*/ 0 h 895"/>
                  <a:gd name="connsiteX2" fmla="*/ 0 w 44"/>
                  <a:gd name="connsiteY2" fmla="*/ 895 h 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" h="895">
                    <a:moveTo>
                      <a:pt x="0" y="696"/>
                    </a:moveTo>
                    <a:cubicBezTo>
                      <a:pt x="60" y="468"/>
                      <a:pt x="60" y="229"/>
                      <a:pt x="0" y="0"/>
                    </a:cubicBezTo>
                    <a:lnTo>
                      <a:pt x="0" y="895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59" name="Freeform: Shape 2158">
                <a:extLst>
                  <a:ext uri="{FF2B5EF4-FFF2-40B4-BE49-F238E27FC236}">
                    <a16:creationId xmlns:a16="http://schemas.microsoft.com/office/drawing/2014/main" id="{FC0B7217-5196-4066-B433-F6C870CC5446}"/>
                  </a:ext>
                </a:extLst>
              </p:cNvPr>
              <p:cNvSpPr/>
              <p:nvPr/>
            </p:nvSpPr>
            <p:spPr>
              <a:xfrm>
                <a:off x="1356785" y="1514234"/>
                <a:ext cx="1195" cy="4277"/>
              </a:xfrm>
              <a:custGeom>
                <a:avLst/>
                <a:gdLst>
                  <a:gd name="connsiteX0" fmla="*/ 0 w 1195"/>
                  <a:gd name="connsiteY0" fmla="*/ 0 h 4277"/>
                  <a:gd name="connsiteX1" fmla="*/ 1196 w 1195"/>
                  <a:gd name="connsiteY1" fmla="*/ 1492 h 4277"/>
                  <a:gd name="connsiteX2" fmla="*/ 0 w 1195"/>
                  <a:gd name="connsiteY2" fmla="*/ 4278 h 4277"/>
                  <a:gd name="connsiteX3" fmla="*/ 0 w 1195"/>
                  <a:gd name="connsiteY3" fmla="*/ 0 h 4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5" h="4277">
                    <a:moveTo>
                      <a:pt x="0" y="0"/>
                    </a:moveTo>
                    <a:cubicBezTo>
                      <a:pt x="349" y="537"/>
                      <a:pt x="747" y="1035"/>
                      <a:pt x="1196" y="1492"/>
                    </a:cubicBezTo>
                    <a:cubicBezTo>
                      <a:pt x="1196" y="2189"/>
                      <a:pt x="498" y="3283"/>
                      <a:pt x="0" y="4278"/>
                    </a:cubicBezTo>
                    <a:cubicBezTo>
                      <a:pt x="249" y="2865"/>
                      <a:pt x="249" y="141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0" name="Freeform: Shape 2159">
                <a:extLst>
                  <a:ext uri="{FF2B5EF4-FFF2-40B4-BE49-F238E27FC236}">
                    <a16:creationId xmlns:a16="http://schemas.microsoft.com/office/drawing/2014/main" id="{A587564A-98B5-418A-A6A7-83060C384D89}"/>
                  </a:ext>
                </a:extLst>
              </p:cNvPr>
              <p:cNvSpPr/>
              <p:nvPr/>
            </p:nvSpPr>
            <p:spPr>
              <a:xfrm>
                <a:off x="1361169" y="1642573"/>
                <a:ext cx="6177" cy="13231"/>
              </a:xfrm>
              <a:custGeom>
                <a:avLst/>
                <a:gdLst>
                  <a:gd name="connsiteX0" fmla="*/ 0 w 6177"/>
                  <a:gd name="connsiteY0" fmla="*/ 0 h 13231"/>
                  <a:gd name="connsiteX1" fmla="*/ 6178 w 6177"/>
                  <a:gd name="connsiteY1" fmla="*/ 13232 h 13231"/>
                  <a:gd name="connsiteX2" fmla="*/ 698 w 6177"/>
                  <a:gd name="connsiteY2" fmla="*/ 5571 h 13231"/>
                  <a:gd name="connsiteX3" fmla="*/ 0 w 6177"/>
                  <a:gd name="connsiteY3" fmla="*/ 0 h 1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7" h="13231">
                    <a:moveTo>
                      <a:pt x="0" y="0"/>
                    </a:moveTo>
                    <a:cubicBezTo>
                      <a:pt x="1604" y="4606"/>
                      <a:pt x="3677" y="9043"/>
                      <a:pt x="6178" y="13232"/>
                    </a:cubicBezTo>
                    <a:cubicBezTo>
                      <a:pt x="4384" y="10347"/>
                      <a:pt x="2292" y="7760"/>
                      <a:pt x="698" y="5571"/>
                    </a:cubicBezTo>
                    <a:cubicBezTo>
                      <a:pt x="309" y="3741"/>
                      <a:pt x="70" y="187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1" name="Freeform: Shape 2160">
                <a:extLst>
                  <a:ext uri="{FF2B5EF4-FFF2-40B4-BE49-F238E27FC236}">
                    <a16:creationId xmlns:a16="http://schemas.microsoft.com/office/drawing/2014/main" id="{982CAF70-9A54-42DB-BD63-671A04E0A449}"/>
                  </a:ext>
                </a:extLst>
              </p:cNvPr>
              <p:cNvSpPr/>
              <p:nvPr/>
            </p:nvSpPr>
            <p:spPr>
              <a:xfrm>
                <a:off x="1429922" y="1842144"/>
                <a:ext cx="998" cy="9053"/>
              </a:xfrm>
              <a:custGeom>
                <a:avLst/>
                <a:gdLst>
                  <a:gd name="connsiteX0" fmla="*/ 998 w 998"/>
                  <a:gd name="connsiteY0" fmla="*/ 0 h 9053"/>
                  <a:gd name="connsiteX1" fmla="*/ 2 w 998"/>
                  <a:gd name="connsiteY1" fmla="*/ 9053 h 9053"/>
                  <a:gd name="connsiteX2" fmla="*/ 998 w 998"/>
                  <a:gd name="connsiteY2" fmla="*/ 0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8" h="9053">
                    <a:moveTo>
                      <a:pt x="998" y="0"/>
                    </a:moveTo>
                    <a:cubicBezTo>
                      <a:pt x="998" y="2786"/>
                      <a:pt x="301" y="5870"/>
                      <a:pt x="2" y="9053"/>
                    </a:cubicBezTo>
                    <a:cubicBezTo>
                      <a:pt x="-28" y="6009"/>
                      <a:pt x="311" y="2965"/>
                      <a:pt x="9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2" name="Freeform: Shape 2161">
                <a:extLst>
                  <a:ext uri="{FF2B5EF4-FFF2-40B4-BE49-F238E27FC236}">
                    <a16:creationId xmlns:a16="http://schemas.microsoft.com/office/drawing/2014/main" id="{3C870796-5D5A-4CDC-8BA2-CD1947BD4F2B}"/>
                  </a:ext>
                </a:extLst>
              </p:cNvPr>
              <p:cNvSpPr/>
              <p:nvPr/>
            </p:nvSpPr>
            <p:spPr>
              <a:xfrm>
                <a:off x="1428728" y="1910492"/>
                <a:ext cx="3587" cy="4775"/>
              </a:xfrm>
              <a:custGeom>
                <a:avLst/>
                <a:gdLst>
                  <a:gd name="connsiteX0" fmla="*/ 0 w 3587"/>
                  <a:gd name="connsiteY0" fmla="*/ 4775 h 4775"/>
                  <a:gd name="connsiteX1" fmla="*/ 3587 w 3587"/>
                  <a:gd name="connsiteY1" fmla="*/ 0 h 4775"/>
                  <a:gd name="connsiteX2" fmla="*/ 0 w 3587"/>
                  <a:gd name="connsiteY2" fmla="*/ 4775 h 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87" h="4775">
                    <a:moveTo>
                      <a:pt x="0" y="4775"/>
                    </a:moveTo>
                    <a:cubicBezTo>
                      <a:pt x="1076" y="3104"/>
                      <a:pt x="2282" y="1502"/>
                      <a:pt x="3587" y="0"/>
                    </a:cubicBezTo>
                    <a:cubicBezTo>
                      <a:pt x="2860" y="1890"/>
                      <a:pt x="1614" y="3542"/>
                      <a:pt x="0" y="477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3" name="Freeform: Shape 2162">
                <a:extLst>
                  <a:ext uri="{FF2B5EF4-FFF2-40B4-BE49-F238E27FC236}">
                    <a16:creationId xmlns:a16="http://schemas.microsoft.com/office/drawing/2014/main" id="{2FF9ACA7-F40C-4DC4-9321-D9208739F953}"/>
                  </a:ext>
                </a:extLst>
              </p:cNvPr>
              <p:cNvSpPr/>
              <p:nvPr/>
            </p:nvSpPr>
            <p:spPr>
              <a:xfrm>
                <a:off x="1429724" y="1866121"/>
                <a:ext cx="1793" cy="6466"/>
              </a:xfrm>
              <a:custGeom>
                <a:avLst/>
                <a:gdLst>
                  <a:gd name="connsiteX0" fmla="*/ 1794 w 1793"/>
                  <a:gd name="connsiteY0" fmla="*/ 6467 h 6466"/>
                  <a:gd name="connsiteX1" fmla="*/ 0 w 1793"/>
                  <a:gd name="connsiteY1" fmla="*/ 3781 h 6466"/>
                  <a:gd name="connsiteX2" fmla="*/ 0 w 1793"/>
                  <a:gd name="connsiteY2" fmla="*/ 0 h 6466"/>
                  <a:gd name="connsiteX3" fmla="*/ 1794 w 1793"/>
                  <a:gd name="connsiteY3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3" h="6466">
                    <a:moveTo>
                      <a:pt x="1794" y="6467"/>
                    </a:moveTo>
                    <a:cubicBezTo>
                      <a:pt x="1305" y="5502"/>
                      <a:pt x="698" y="4606"/>
                      <a:pt x="0" y="3781"/>
                    </a:cubicBezTo>
                    <a:cubicBezTo>
                      <a:pt x="0" y="2686"/>
                      <a:pt x="0" y="1293"/>
                      <a:pt x="0" y="0"/>
                    </a:cubicBezTo>
                    <a:cubicBezTo>
                      <a:pt x="349" y="2219"/>
                      <a:pt x="957" y="4387"/>
                      <a:pt x="1794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4" name="Freeform: Shape 2163">
                <a:extLst>
                  <a:ext uri="{FF2B5EF4-FFF2-40B4-BE49-F238E27FC236}">
                    <a16:creationId xmlns:a16="http://schemas.microsoft.com/office/drawing/2014/main" id="{FEC9DE36-9CC0-4B90-8F1F-82B469A2B5F8}"/>
                  </a:ext>
                </a:extLst>
              </p:cNvPr>
              <p:cNvSpPr/>
              <p:nvPr/>
            </p:nvSpPr>
            <p:spPr>
              <a:xfrm>
                <a:off x="1432713" y="1897061"/>
                <a:ext cx="1195" cy="6864"/>
              </a:xfrm>
              <a:custGeom>
                <a:avLst/>
                <a:gdLst>
                  <a:gd name="connsiteX0" fmla="*/ 0 w 1195"/>
                  <a:gd name="connsiteY0" fmla="*/ 1691 h 6864"/>
                  <a:gd name="connsiteX1" fmla="*/ 1196 w 1195"/>
                  <a:gd name="connsiteY1" fmla="*/ 0 h 6864"/>
                  <a:gd name="connsiteX2" fmla="*/ 498 w 1195"/>
                  <a:gd name="connsiteY2" fmla="*/ 6865 h 6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5" h="6864">
                    <a:moveTo>
                      <a:pt x="0" y="1691"/>
                    </a:moveTo>
                    <a:lnTo>
                      <a:pt x="1196" y="0"/>
                    </a:lnTo>
                    <a:cubicBezTo>
                      <a:pt x="638" y="2239"/>
                      <a:pt x="399" y="4557"/>
                      <a:pt x="498" y="68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5" name="Freeform: Shape 2164">
                <a:extLst>
                  <a:ext uri="{FF2B5EF4-FFF2-40B4-BE49-F238E27FC236}">
                    <a16:creationId xmlns:a16="http://schemas.microsoft.com/office/drawing/2014/main" id="{A1B58631-FA1C-465C-8155-6F5E3624A038}"/>
                  </a:ext>
                </a:extLst>
              </p:cNvPr>
              <p:cNvSpPr/>
              <p:nvPr/>
            </p:nvSpPr>
            <p:spPr>
              <a:xfrm>
                <a:off x="1433411" y="1884327"/>
                <a:ext cx="697" cy="2686"/>
              </a:xfrm>
              <a:custGeom>
                <a:avLst/>
                <a:gdLst>
                  <a:gd name="connsiteX0" fmla="*/ 698 w 697"/>
                  <a:gd name="connsiteY0" fmla="*/ 0 h 2686"/>
                  <a:gd name="connsiteX1" fmla="*/ 698 w 697"/>
                  <a:gd name="connsiteY1" fmla="*/ 2686 h 2686"/>
                  <a:gd name="connsiteX2" fmla="*/ 0 w 697"/>
                  <a:gd name="connsiteY2" fmla="*/ 1592 h 2686"/>
                  <a:gd name="connsiteX3" fmla="*/ 698 w 697"/>
                  <a:gd name="connsiteY3" fmla="*/ 0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" h="2686">
                    <a:moveTo>
                      <a:pt x="698" y="0"/>
                    </a:moveTo>
                    <a:cubicBezTo>
                      <a:pt x="598" y="895"/>
                      <a:pt x="598" y="1791"/>
                      <a:pt x="698" y="2686"/>
                    </a:cubicBezTo>
                    <a:lnTo>
                      <a:pt x="0" y="1592"/>
                    </a:lnTo>
                    <a:cubicBezTo>
                      <a:pt x="339" y="1114"/>
                      <a:pt x="578" y="577"/>
                      <a:pt x="6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6" name="Freeform: Shape 2165">
                <a:extLst>
                  <a:ext uri="{FF2B5EF4-FFF2-40B4-BE49-F238E27FC236}">
                    <a16:creationId xmlns:a16="http://schemas.microsoft.com/office/drawing/2014/main" id="{3F919A66-58A1-47DA-B1C7-AA81FA1B851D}"/>
                  </a:ext>
                </a:extLst>
              </p:cNvPr>
              <p:cNvSpPr/>
              <p:nvPr/>
            </p:nvSpPr>
            <p:spPr>
              <a:xfrm>
                <a:off x="1433012" y="1875473"/>
                <a:ext cx="1694" cy="4874"/>
              </a:xfrm>
              <a:custGeom>
                <a:avLst/>
                <a:gdLst>
                  <a:gd name="connsiteX0" fmla="*/ 0 w 1694"/>
                  <a:gd name="connsiteY0" fmla="*/ 0 h 4874"/>
                  <a:gd name="connsiteX1" fmla="*/ 1694 w 1694"/>
                  <a:gd name="connsiteY1" fmla="*/ 2388 h 4874"/>
                  <a:gd name="connsiteX2" fmla="*/ 1196 w 1694"/>
                  <a:gd name="connsiteY2" fmla="*/ 4875 h 4874"/>
                  <a:gd name="connsiteX3" fmla="*/ 0 w 1694"/>
                  <a:gd name="connsiteY3" fmla="*/ 0 h 4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4" h="4874">
                    <a:moveTo>
                      <a:pt x="0" y="0"/>
                    </a:moveTo>
                    <a:cubicBezTo>
                      <a:pt x="508" y="836"/>
                      <a:pt x="1076" y="1632"/>
                      <a:pt x="1694" y="2388"/>
                    </a:cubicBezTo>
                    <a:cubicBezTo>
                      <a:pt x="1485" y="3204"/>
                      <a:pt x="1315" y="4039"/>
                      <a:pt x="1196" y="4875"/>
                    </a:cubicBezTo>
                    <a:cubicBezTo>
                      <a:pt x="1066" y="3194"/>
                      <a:pt x="668" y="155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7" name="Freeform: Shape 2166">
                <a:extLst>
                  <a:ext uri="{FF2B5EF4-FFF2-40B4-BE49-F238E27FC236}">
                    <a16:creationId xmlns:a16="http://schemas.microsoft.com/office/drawing/2014/main" id="{625B2D06-18FA-4D27-836E-3B0972A5F3A3}"/>
                  </a:ext>
                </a:extLst>
              </p:cNvPr>
              <p:cNvSpPr/>
              <p:nvPr/>
            </p:nvSpPr>
            <p:spPr>
              <a:xfrm>
                <a:off x="1442678" y="1936856"/>
                <a:ext cx="1993" cy="5670"/>
              </a:xfrm>
              <a:custGeom>
                <a:avLst/>
                <a:gdLst>
                  <a:gd name="connsiteX0" fmla="*/ 1096 w 1993"/>
                  <a:gd name="connsiteY0" fmla="*/ 0 h 5670"/>
                  <a:gd name="connsiteX1" fmla="*/ 1993 w 1993"/>
                  <a:gd name="connsiteY1" fmla="*/ 2686 h 5670"/>
                  <a:gd name="connsiteX2" fmla="*/ 598 w 1993"/>
                  <a:gd name="connsiteY2" fmla="*/ 5671 h 5670"/>
                  <a:gd name="connsiteX3" fmla="*/ 0 w 1993"/>
                  <a:gd name="connsiteY3" fmla="*/ 5671 h 5670"/>
                  <a:gd name="connsiteX4" fmla="*/ 1096 w 1993"/>
                  <a:gd name="connsiteY4" fmla="*/ 0 h 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3" h="5670">
                    <a:moveTo>
                      <a:pt x="1096" y="0"/>
                    </a:moveTo>
                    <a:cubicBezTo>
                      <a:pt x="1515" y="856"/>
                      <a:pt x="1814" y="1751"/>
                      <a:pt x="1993" y="2686"/>
                    </a:cubicBezTo>
                    <a:cubicBezTo>
                      <a:pt x="1335" y="3582"/>
                      <a:pt x="857" y="4596"/>
                      <a:pt x="598" y="5671"/>
                    </a:cubicBezTo>
                    <a:lnTo>
                      <a:pt x="0" y="5671"/>
                    </a:lnTo>
                    <a:cubicBezTo>
                      <a:pt x="1415" y="4139"/>
                      <a:pt x="1843" y="1940"/>
                      <a:pt x="10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8" name="Freeform: Shape 2167">
                <a:extLst>
                  <a:ext uri="{FF2B5EF4-FFF2-40B4-BE49-F238E27FC236}">
                    <a16:creationId xmlns:a16="http://schemas.microsoft.com/office/drawing/2014/main" id="{AA72D5F6-F45E-475E-BF13-1AF20A35343B}"/>
                  </a:ext>
                </a:extLst>
              </p:cNvPr>
              <p:cNvSpPr/>
              <p:nvPr/>
            </p:nvSpPr>
            <p:spPr>
              <a:xfrm>
                <a:off x="1853610" y="1938448"/>
                <a:ext cx="76227" cy="2586"/>
              </a:xfrm>
              <a:custGeom>
                <a:avLst/>
                <a:gdLst>
                  <a:gd name="connsiteX0" fmla="*/ 0 w 76227"/>
                  <a:gd name="connsiteY0" fmla="*/ 2587 h 2586"/>
                  <a:gd name="connsiteX1" fmla="*/ 76228 w 76227"/>
                  <a:gd name="connsiteY1" fmla="*/ 0 h 2586"/>
                  <a:gd name="connsiteX2" fmla="*/ 70349 w 76227"/>
                  <a:gd name="connsiteY2" fmla="*/ 0 h 2586"/>
                  <a:gd name="connsiteX3" fmla="*/ 0 w 76227"/>
                  <a:gd name="connsiteY3" fmla="*/ 2587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27" h="2586">
                    <a:moveTo>
                      <a:pt x="0" y="2587"/>
                    </a:moveTo>
                    <a:cubicBezTo>
                      <a:pt x="25509" y="1492"/>
                      <a:pt x="51317" y="99"/>
                      <a:pt x="76228" y="0"/>
                    </a:cubicBezTo>
                    <a:cubicBezTo>
                      <a:pt x="73737" y="0"/>
                      <a:pt x="71644" y="0"/>
                      <a:pt x="70349" y="0"/>
                    </a:cubicBezTo>
                    <a:cubicBezTo>
                      <a:pt x="47729" y="796"/>
                      <a:pt x="23815" y="1990"/>
                      <a:pt x="0" y="25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69" name="Freeform: Shape 2168">
                <a:extLst>
                  <a:ext uri="{FF2B5EF4-FFF2-40B4-BE49-F238E27FC236}">
                    <a16:creationId xmlns:a16="http://schemas.microsoft.com/office/drawing/2014/main" id="{11EA8A23-3839-49E2-8219-60C6E22007B6}"/>
                  </a:ext>
                </a:extLst>
              </p:cNvPr>
              <p:cNvSpPr/>
              <p:nvPr/>
            </p:nvSpPr>
            <p:spPr>
              <a:xfrm>
                <a:off x="1949966" y="1938548"/>
                <a:ext cx="2590" cy="895"/>
              </a:xfrm>
              <a:custGeom>
                <a:avLst/>
                <a:gdLst>
                  <a:gd name="connsiteX0" fmla="*/ 1893 w 2590"/>
                  <a:gd name="connsiteY0" fmla="*/ 0 h 895"/>
                  <a:gd name="connsiteX1" fmla="*/ 2591 w 2590"/>
                  <a:gd name="connsiteY1" fmla="*/ 895 h 895"/>
                  <a:gd name="connsiteX2" fmla="*/ 0 w 2590"/>
                  <a:gd name="connsiteY2" fmla="*/ 0 h 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90" h="895">
                    <a:moveTo>
                      <a:pt x="1893" y="0"/>
                    </a:moveTo>
                    <a:lnTo>
                      <a:pt x="2591" y="895"/>
                    </a:lnTo>
                    <a:cubicBezTo>
                      <a:pt x="1754" y="537"/>
                      <a:pt x="887" y="23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0" name="Freeform: Shape 2169">
                <a:extLst>
                  <a:ext uri="{FF2B5EF4-FFF2-40B4-BE49-F238E27FC236}">
                    <a16:creationId xmlns:a16="http://schemas.microsoft.com/office/drawing/2014/main" id="{E693CBF3-4DD9-4856-B36B-C4A245B9C8CE}"/>
                  </a:ext>
                </a:extLst>
              </p:cNvPr>
              <p:cNvSpPr/>
              <p:nvPr/>
            </p:nvSpPr>
            <p:spPr>
              <a:xfrm>
                <a:off x="1956044" y="1944815"/>
                <a:ext cx="2989" cy="3283"/>
              </a:xfrm>
              <a:custGeom>
                <a:avLst/>
                <a:gdLst>
                  <a:gd name="connsiteX0" fmla="*/ 0 w 2989"/>
                  <a:gd name="connsiteY0" fmla="*/ 0 h 3283"/>
                  <a:gd name="connsiteX1" fmla="*/ 2989 w 2989"/>
                  <a:gd name="connsiteY1" fmla="*/ 3283 h 3283"/>
                  <a:gd name="connsiteX2" fmla="*/ 0 w 2989"/>
                  <a:gd name="connsiteY2" fmla="*/ 0 h 3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3283">
                    <a:moveTo>
                      <a:pt x="0" y="0"/>
                    </a:moveTo>
                    <a:cubicBezTo>
                      <a:pt x="787" y="1273"/>
                      <a:pt x="1794" y="2388"/>
                      <a:pt x="2989" y="3283"/>
                    </a:cubicBezTo>
                    <a:cubicBezTo>
                      <a:pt x="1544" y="2696"/>
                      <a:pt x="448" y="148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1" name="Freeform: Shape 2170">
                <a:extLst>
                  <a:ext uri="{FF2B5EF4-FFF2-40B4-BE49-F238E27FC236}">
                    <a16:creationId xmlns:a16="http://schemas.microsoft.com/office/drawing/2014/main" id="{8F15ED2D-FF52-4290-8BF1-2552DEE9187D}"/>
                  </a:ext>
                </a:extLst>
              </p:cNvPr>
              <p:cNvSpPr/>
              <p:nvPr/>
            </p:nvSpPr>
            <p:spPr>
              <a:xfrm>
                <a:off x="1961525" y="1949193"/>
                <a:ext cx="2291" cy="1193"/>
              </a:xfrm>
              <a:custGeom>
                <a:avLst/>
                <a:gdLst>
                  <a:gd name="connsiteX0" fmla="*/ 0 w 2291"/>
                  <a:gd name="connsiteY0" fmla="*/ 0 h 1193"/>
                  <a:gd name="connsiteX1" fmla="*/ 2292 w 2291"/>
                  <a:gd name="connsiteY1" fmla="*/ 0 h 1193"/>
                  <a:gd name="connsiteX2" fmla="*/ 2292 w 2291"/>
                  <a:gd name="connsiteY2" fmla="*/ 1194 h 1193"/>
                  <a:gd name="connsiteX3" fmla="*/ 0 w 2291"/>
                  <a:gd name="connsiteY3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91" h="1193">
                    <a:moveTo>
                      <a:pt x="0" y="0"/>
                    </a:moveTo>
                    <a:cubicBezTo>
                      <a:pt x="757" y="109"/>
                      <a:pt x="1534" y="109"/>
                      <a:pt x="2292" y="0"/>
                    </a:cubicBezTo>
                    <a:cubicBezTo>
                      <a:pt x="2292" y="0"/>
                      <a:pt x="2292" y="895"/>
                      <a:pt x="2292" y="1194"/>
                    </a:cubicBezTo>
                    <a:cubicBezTo>
                      <a:pt x="1634" y="617"/>
                      <a:pt x="847" y="20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2" name="Freeform: Shape 2171">
                <a:extLst>
                  <a:ext uri="{FF2B5EF4-FFF2-40B4-BE49-F238E27FC236}">
                    <a16:creationId xmlns:a16="http://schemas.microsoft.com/office/drawing/2014/main" id="{5DB32F40-E85F-48C5-B7EA-924CCA157935}"/>
                  </a:ext>
                </a:extLst>
              </p:cNvPr>
              <p:cNvSpPr/>
              <p:nvPr/>
            </p:nvSpPr>
            <p:spPr>
              <a:xfrm>
                <a:off x="1964813" y="1955361"/>
                <a:ext cx="3587" cy="4874"/>
              </a:xfrm>
              <a:custGeom>
                <a:avLst/>
                <a:gdLst>
                  <a:gd name="connsiteX0" fmla="*/ 100 w 3587"/>
                  <a:gd name="connsiteY0" fmla="*/ 0 h 4874"/>
                  <a:gd name="connsiteX1" fmla="*/ 3587 w 3587"/>
                  <a:gd name="connsiteY1" fmla="*/ 4875 h 4874"/>
                  <a:gd name="connsiteX2" fmla="*/ 0 w 3587"/>
                  <a:gd name="connsiteY2" fmla="*/ 1194 h 4874"/>
                  <a:gd name="connsiteX3" fmla="*/ 100 w 3587"/>
                  <a:gd name="connsiteY3" fmla="*/ 0 h 4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87" h="4874">
                    <a:moveTo>
                      <a:pt x="100" y="0"/>
                    </a:moveTo>
                    <a:cubicBezTo>
                      <a:pt x="977" y="1811"/>
                      <a:pt x="2152" y="3462"/>
                      <a:pt x="3587" y="4875"/>
                    </a:cubicBezTo>
                    <a:cubicBezTo>
                      <a:pt x="2272" y="3771"/>
                      <a:pt x="1066" y="2537"/>
                      <a:pt x="0" y="1194"/>
                    </a:cubicBezTo>
                    <a:cubicBezTo>
                      <a:pt x="80" y="796"/>
                      <a:pt x="110" y="398"/>
                      <a:pt x="10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3" name="Freeform: Shape 2172">
                <a:extLst>
                  <a:ext uri="{FF2B5EF4-FFF2-40B4-BE49-F238E27FC236}">
                    <a16:creationId xmlns:a16="http://schemas.microsoft.com/office/drawing/2014/main" id="{D96CA90D-A094-443E-84AC-5CF44B72219C}"/>
                  </a:ext>
                </a:extLst>
              </p:cNvPr>
              <p:cNvSpPr/>
              <p:nvPr/>
            </p:nvSpPr>
            <p:spPr>
              <a:xfrm>
                <a:off x="1973980" y="1965310"/>
                <a:ext cx="2790" cy="3183"/>
              </a:xfrm>
              <a:custGeom>
                <a:avLst/>
                <a:gdLst>
                  <a:gd name="connsiteX0" fmla="*/ 2790 w 2790"/>
                  <a:gd name="connsiteY0" fmla="*/ 2089 h 3183"/>
                  <a:gd name="connsiteX1" fmla="*/ 2790 w 2790"/>
                  <a:gd name="connsiteY1" fmla="*/ 3184 h 3183"/>
                  <a:gd name="connsiteX2" fmla="*/ 0 w 2790"/>
                  <a:gd name="connsiteY2" fmla="*/ 0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0" h="3183">
                    <a:moveTo>
                      <a:pt x="2790" y="2089"/>
                    </a:moveTo>
                    <a:cubicBezTo>
                      <a:pt x="2700" y="2447"/>
                      <a:pt x="2700" y="2825"/>
                      <a:pt x="2790" y="3184"/>
                    </a:cubicBezTo>
                    <a:cubicBezTo>
                      <a:pt x="1973" y="2029"/>
                      <a:pt x="1036" y="96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4" name="Freeform: Shape 2173">
                <a:extLst>
                  <a:ext uri="{FF2B5EF4-FFF2-40B4-BE49-F238E27FC236}">
                    <a16:creationId xmlns:a16="http://schemas.microsoft.com/office/drawing/2014/main" id="{4E55C66D-7556-4A75-AAF8-6783A80AA8E1}"/>
                  </a:ext>
                </a:extLst>
              </p:cNvPr>
              <p:cNvSpPr/>
              <p:nvPr/>
            </p:nvSpPr>
            <p:spPr>
              <a:xfrm>
                <a:off x="1978265" y="1970981"/>
                <a:ext cx="6875" cy="4178"/>
              </a:xfrm>
              <a:custGeom>
                <a:avLst/>
                <a:gdLst>
                  <a:gd name="connsiteX0" fmla="*/ 0 w 6875"/>
                  <a:gd name="connsiteY0" fmla="*/ 0 h 4178"/>
                  <a:gd name="connsiteX1" fmla="*/ 6875 w 6875"/>
                  <a:gd name="connsiteY1" fmla="*/ 4178 h 4178"/>
                  <a:gd name="connsiteX2" fmla="*/ 498 w 6875"/>
                  <a:gd name="connsiteY2" fmla="*/ 1393 h 4178"/>
                  <a:gd name="connsiteX3" fmla="*/ 0 w 6875"/>
                  <a:gd name="connsiteY3" fmla="*/ 0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75" h="4178">
                    <a:moveTo>
                      <a:pt x="0" y="0"/>
                    </a:moveTo>
                    <a:cubicBezTo>
                      <a:pt x="1983" y="1840"/>
                      <a:pt x="4325" y="3263"/>
                      <a:pt x="6875" y="4178"/>
                    </a:cubicBezTo>
                    <a:cubicBezTo>
                      <a:pt x="4604" y="3631"/>
                      <a:pt x="2441" y="2686"/>
                      <a:pt x="498" y="1393"/>
                    </a:cubicBezTo>
                    <a:cubicBezTo>
                      <a:pt x="418" y="905"/>
                      <a:pt x="249" y="42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5" name="Freeform: Shape 2174">
                <a:extLst>
                  <a:ext uri="{FF2B5EF4-FFF2-40B4-BE49-F238E27FC236}">
                    <a16:creationId xmlns:a16="http://schemas.microsoft.com/office/drawing/2014/main" id="{11D3F060-3F00-47BD-9DBB-4963D556202A}"/>
                  </a:ext>
                </a:extLst>
              </p:cNvPr>
              <p:cNvSpPr/>
              <p:nvPr/>
            </p:nvSpPr>
            <p:spPr>
              <a:xfrm>
                <a:off x="1992423" y="1945910"/>
                <a:ext cx="788" cy="5173"/>
              </a:xfrm>
              <a:custGeom>
                <a:avLst/>
                <a:gdLst>
                  <a:gd name="connsiteX0" fmla="*/ 789 w 788"/>
                  <a:gd name="connsiteY0" fmla="*/ 0 h 5173"/>
                  <a:gd name="connsiteX1" fmla="*/ 291 w 788"/>
                  <a:gd name="connsiteY1" fmla="*/ 5173 h 5173"/>
                  <a:gd name="connsiteX2" fmla="*/ 789 w 788"/>
                  <a:gd name="connsiteY2" fmla="*/ 0 h 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8" h="5173">
                    <a:moveTo>
                      <a:pt x="789" y="0"/>
                    </a:moveTo>
                    <a:cubicBezTo>
                      <a:pt x="141" y="1641"/>
                      <a:pt x="-38" y="3432"/>
                      <a:pt x="291" y="5173"/>
                    </a:cubicBezTo>
                    <a:cubicBezTo>
                      <a:pt x="-227" y="3452"/>
                      <a:pt x="-48" y="1592"/>
                      <a:pt x="78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6" name="Freeform: Shape 2175">
                <a:extLst>
                  <a:ext uri="{FF2B5EF4-FFF2-40B4-BE49-F238E27FC236}">
                    <a16:creationId xmlns:a16="http://schemas.microsoft.com/office/drawing/2014/main" id="{BAEB8ADB-036D-479D-BFBD-17D863D5AF86}"/>
                  </a:ext>
                </a:extLst>
              </p:cNvPr>
              <p:cNvSpPr/>
              <p:nvPr/>
            </p:nvSpPr>
            <p:spPr>
              <a:xfrm>
                <a:off x="1993889" y="1965509"/>
                <a:ext cx="470" cy="5372"/>
              </a:xfrm>
              <a:custGeom>
                <a:avLst/>
                <a:gdLst>
                  <a:gd name="connsiteX0" fmla="*/ 120 w 470"/>
                  <a:gd name="connsiteY0" fmla="*/ 0 h 5372"/>
                  <a:gd name="connsiteX1" fmla="*/ 120 w 470"/>
                  <a:gd name="connsiteY1" fmla="*/ 5372 h 5372"/>
                  <a:gd name="connsiteX2" fmla="*/ 120 w 470"/>
                  <a:gd name="connsiteY2" fmla="*/ 0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" h="5372">
                    <a:moveTo>
                      <a:pt x="120" y="0"/>
                    </a:moveTo>
                    <a:cubicBezTo>
                      <a:pt x="588" y="1761"/>
                      <a:pt x="588" y="3611"/>
                      <a:pt x="120" y="5372"/>
                    </a:cubicBezTo>
                    <a:cubicBezTo>
                      <a:pt x="-40" y="3582"/>
                      <a:pt x="-40" y="1791"/>
                      <a:pt x="12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7" name="Freeform: Shape 2176">
                <a:extLst>
                  <a:ext uri="{FF2B5EF4-FFF2-40B4-BE49-F238E27FC236}">
                    <a16:creationId xmlns:a16="http://schemas.microsoft.com/office/drawing/2014/main" id="{73F6ADCD-8656-4636-93CA-C9F62350D833}"/>
                  </a:ext>
                </a:extLst>
              </p:cNvPr>
              <p:cNvSpPr/>
              <p:nvPr/>
            </p:nvSpPr>
            <p:spPr>
              <a:xfrm>
                <a:off x="1994407" y="1954466"/>
                <a:ext cx="1295" cy="6566"/>
              </a:xfrm>
              <a:custGeom>
                <a:avLst/>
                <a:gdLst>
                  <a:gd name="connsiteX0" fmla="*/ 0 w 1295"/>
                  <a:gd name="connsiteY0" fmla="*/ 6566 h 6566"/>
                  <a:gd name="connsiteX1" fmla="*/ 1295 w 1295"/>
                  <a:gd name="connsiteY1" fmla="*/ 0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95" h="6566">
                    <a:moveTo>
                      <a:pt x="0" y="6566"/>
                    </a:moveTo>
                    <a:cubicBezTo>
                      <a:pt x="259" y="4348"/>
                      <a:pt x="688" y="2149"/>
                      <a:pt x="12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8" name="Freeform: Shape 2177">
                <a:extLst>
                  <a:ext uri="{FF2B5EF4-FFF2-40B4-BE49-F238E27FC236}">
                    <a16:creationId xmlns:a16="http://schemas.microsoft.com/office/drawing/2014/main" id="{AB078E15-CF53-46B2-AC21-8D445836BB35}"/>
                  </a:ext>
                </a:extLst>
              </p:cNvPr>
              <p:cNvSpPr/>
              <p:nvPr/>
            </p:nvSpPr>
            <p:spPr>
              <a:xfrm>
                <a:off x="1998094" y="1936956"/>
                <a:ext cx="2690" cy="1591"/>
              </a:xfrm>
              <a:custGeom>
                <a:avLst/>
                <a:gdLst>
                  <a:gd name="connsiteX0" fmla="*/ 797 w 2690"/>
                  <a:gd name="connsiteY0" fmla="*/ 597 h 1591"/>
                  <a:gd name="connsiteX1" fmla="*/ 2690 w 2690"/>
                  <a:gd name="connsiteY1" fmla="*/ 0 h 1591"/>
                  <a:gd name="connsiteX2" fmla="*/ 0 w 2690"/>
                  <a:gd name="connsiteY2" fmla="*/ 1592 h 1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90" h="1591">
                    <a:moveTo>
                      <a:pt x="797" y="597"/>
                    </a:moveTo>
                    <a:cubicBezTo>
                      <a:pt x="1445" y="458"/>
                      <a:pt x="2082" y="259"/>
                      <a:pt x="2690" y="0"/>
                    </a:cubicBezTo>
                    <a:cubicBezTo>
                      <a:pt x="1724" y="408"/>
                      <a:pt x="827" y="945"/>
                      <a:pt x="0" y="159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79" name="Freeform: Shape 2178">
                <a:extLst>
                  <a:ext uri="{FF2B5EF4-FFF2-40B4-BE49-F238E27FC236}">
                    <a16:creationId xmlns:a16="http://schemas.microsoft.com/office/drawing/2014/main" id="{A6A4FD26-CBAC-47BE-AA4F-BBF6204BE016}"/>
                  </a:ext>
                </a:extLst>
              </p:cNvPr>
              <p:cNvSpPr/>
              <p:nvPr/>
            </p:nvSpPr>
            <p:spPr>
              <a:xfrm>
                <a:off x="2013938" y="1458521"/>
                <a:ext cx="1594" cy="5571"/>
              </a:xfrm>
              <a:custGeom>
                <a:avLst/>
                <a:gdLst>
                  <a:gd name="connsiteX0" fmla="*/ 0 w 1594"/>
                  <a:gd name="connsiteY0" fmla="*/ 0 h 5571"/>
                  <a:gd name="connsiteX1" fmla="*/ 1594 w 1594"/>
                  <a:gd name="connsiteY1" fmla="*/ 5571 h 5571"/>
                  <a:gd name="connsiteX2" fmla="*/ 0 w 1594"/>
                  <a:gd name="connsiteY2" fmla="*/ 0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4" h="5571">
                    <a:moveTo>
                      <a:pt x="0" y="0"/>
                    </a:moveTo>
                    <a:cubicBezTo>
                      <a:pt x="498" y="1890"/>
                      <a:pt x="1196" y="3781"/>
                      <a:pt x="1594" y="5571"/>
                    </a:cubicBezTo>
                    <a:cubicBezTo>
                      <a:pt x="727" y="3820"/>
                      <a:pt x="189" y="194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0" name="Freeform: Shape 2179">
                <a:extLst>
                  <a:ext uri="{FF2B5EF4-FFF2-40B4-BE49-F238E27FC236}">
                    <a16:creationId xmlns:a16="http://schemas.microsoft.com/office/drawing/2014/main" id="{2A8C7961-D0B9-4AE4-9275-8B3DA3B6F4B8}"/>
                  </a:ext>
                </a:extLst>
              </p:cNvPr>
              <p:cNvSpPr/>
              <p:nvPr/>
            </p:nvSpPr>
            <p:spPr>
              <a:xfrm>
                <a:off x="2013738" y="1449169"/>
                <a:ext cx="896" cy="2089"/>
              </a:xfrm>
              <a:custGeom>
                <a:avLst/>
                <a:gdLst>
                  <a:gd name="connsiteX0" fmla="*/ 897 w 896"/>
                  <a:gd name="connsiteY0" fmla="*/ 0 h 2089"/>
                  <a:gd name="connsiteX1" fmla="*/ 0 w 896"/>
                  <a:gd name="connsiteY1" fmla="*/ 2089 h 2089"/>
                  <a:gd name="connsiteX2" fmla="*/ 0 w 896"/>
                  <a:gd name="connsiteY2" fmla="*/ 0 h 2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" h="2089">
                    <a:moveTo>
                      <a:pt x="897" y="0"/>
                    </a:moveTo>
                    <a:cubicBezTo>
                      <a:pt x="518" y="657"/>
                      <a:pt x="219" y="1363"/>
                      <a:pt x="0" y="2089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1" name="Freeform: Shape 2180">
                <a:extLst>
                  <a:ext uri="{FF2B5EF4-FFF2-40B4-BE49-F238E27FC236}">
                    <a16:creationId xmlns:a16="http://schemas.microsoft.com/office/drawing/2014/main" id="{72BCD991-9D9A-4AD4-9564-0EDB2D914490}"/>
                  </a:ext>
                </a:extLst>
              </p:cNvPr>
              <p:cNvSpPr/>
              <p:nvPr/>
            </p:nvSpPr>
            <p:spPr>
              <a:xfrm>
                <a:off x="2017325" y="1472847"/>
                <a:ext cx="6875" cy="5770"/>
              </a:xfrm>
              <a:custGeom>
                <a:avLst/>
                <a:gdLst>
                  <a:gd name="connsiteX0" fmla="*/ 0 w 6875"/>
                  <a:gd name="connsiteY0" fmla="*/ 0 h 5770"/>
                  <a:gd name="connsiteX1" fmla="*/ 6875 w 6875"/>
                  <a:gd name="connsiteY1" fmla="*/ 5770 h 5770"/>
                  <a:gd name="connsiteX2" fmla="*/ 0 w 6875"/>
                  <a:gd name="connsiteY2" fmla="*/ 0 h 5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75" h="5770">
                    <a:moveTo>
                      <a:pt x="0" y="0"/>
                    </a:moveTo>
                    <a:cubicBezTo>
                      <a:pt x="2092" y="1890"/>
                      <a:pt x="4584" y="3681"/>
                      <a:pt x="6875" y="5770"/>
                    </a:cubicBezTo>
                    <a:cubicBezTo>
                      <a:pt x="4205" y="4338"/>
                      <a:pt x="1873" y="237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2" name="Freeform: Shape 2181">
                <a:extLst>
                  <a:ext uri="{FF2B5EF4-FFF2-40B4-BE49-F238E27FC236}">
                    <a16:creationId xmlns:a16="http://schemas.microsoft.com/office/drawing/2014/main" id="{282FB94B-CA99-4954-9FC8-70886E69B4BC}"/>
                  </a:ext>
                </a:extLst>
              </p:cNvPr>
              <p:cNvSpPr/>
              <p:nvPr/>
            </p:nvSpPr>
            <p:spPr>
              <a:xfrm>
                <a:off x="2020215" y="1504285"/>
                <a:ext cx="4682" cy="11142"/>
              </a:xfrm>
              <a:custGeom>
                <a:avLst/>
                <a:gdLst>
                  <a:gd name="connsiteX0" fmla="*/ 0 w 4682"/>
                  <a:gd name="connsiteY0" fmla="*/ 11143 h 11142"/>
                  <a:gd name="connsiteX1" fmla="*/ 4683 w 4682"/>
                  <a:gd name="connsiteY1" fmla="*/ 0 h 11142"/>
                  <a:gd name="connsiteX2" fmla="*/ 0 w 4682"/>
                  <a:gd name="connsiteY2" fmla="*/ 11143 h 1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82" h="11142">
                    <a:moveTo>
                      <a:pt x="0" y="11143"/>
                    </a:moveTo>
                    <a:cubicBezTo>
                      <a:pt x="717" y="7123"/>
                      <a:pt x="2312" y="3323"/>
                      <a:pt x="4683" y="0"/>
                    </a:cubicBezTo>
                    <a:cubicBezTo>
                      <a:pt x="2611" y="3482"/>
                      <a:pt x="1036" y="7233"/>
                      <a:pt x="0" y="1114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3" name="Freeform: Shape 2182">
                <a:extLst>
                  <a:ext uri="{FF2B5EF4-FFF2-40B4-BE49-F238E27FC236}">
                    <a16:creationId xmlns:a16="http://schemas.microsoft.com/office/drawing/2014/main" id="{2DA1D7E5-7C42-48E0-B760-83211E3B06B0}"/>
                  </a:ext>
                </a:extLst>
              </p:cNvPr>
              <p:cNvSpPr/>
              <p:nvPr/>
            </p:nvSpPr>
            <p:spPr>
              <a:xfrm>
                <a:off x="2010450" y="1924122"/>
                <a:ext cx="16042" cy="9948"/>
              </a:xfrm>
              <a:custGeom>
                <a:avLst/>
                <a:gdLst>
                  <a:gd name="connsiteX0" fmla="*/ 16043 w 16042"/>
                  <a:gd name="connsiteY0" fmla="*/ 0 h 9948"/>
                  <a:gd name="connsiteX1" fmla="*/ 0 w 16042"/>
                  <a:gd name="connsiteY1" fmla="*/ 9949 h 9948"/>
                  <a:gd name="connsiteX2" fmla="*/ 16043 w 16042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42" h="9948">
                    <a:moveTo>
                      <a:pt x="16043" y="0"/>
                    </a:moveTo>
                    <a:cubicBezTo>
                      <a:pt x="15246" y="7760"/>
                      <a:pt x="7672" y="8655"/>
                      <a:pt x="0" y="9949"/>
                    </a:cubicBezTo>
                    <a:cubicBezTo>
                      <a:pt x="9765" y="8257"/>
                      <a:pt x="12954" y="8755"/>
                      <a:pt x="16043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4" name="Freeform: Shape 2183">
                <a:extLst>
                  <a:ext uri="{FF2B5EF4-FFF2-40B4-BE49-F238E27FC236}">
                    <a16:creationId xmlns:a16="http://schemas.microsoft.com/office/drawing/2014/main" id="{91C160A1-95E1-455F-B2E6-DFBFE81A1B58}"/>
                  </a:ext>
                </a:extLst>
              </p:cNvPr>
              <p:cNvSpPr/>
              <p:nvPr/>
            </p:nvSpPr>
            <p:spPr>
              <a:xfrm>
                <a:off x="2027489" y="1827918"/>
                <a:ext cx="1295" cy="5173"/>
              </a:xfrm>
              <a:custGeom>
                <a:avLst/>
                <a:gdLst>
                  <a:gd name="connsiteX0" fmla="*/ 1295 w 1295"/>
                  <a:gd name="connsiteY0" fmla="*/ 0 h 5173"/>
                  <a:gd name="connsiteX1" fmla="*/ 1295 w 1295"/>
                  <a:gd name="connsiteY1" fmla="*/ 5173 h 5173"/>
                  <a:gd name="connsiteX2" fmla="*/ 0 w 1295"/>
                  <a:gd name="connsiteY2" fmla="*/ 3184 h 5173"/>
                  <a:gd name="connsiteX3" fmla="*/ 1295 w 1295"/>
                  <a:gd name="connsiteY3" fmla="*/ 0 h 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5" h="5173">
                    <a:moveTo>
                      <a:pt x="1295" y="0"/>
                    </a:moveTo>
                    <a:cubicBezTo>
                      <a:pt x="897" y="1701"/>
                      <a:pt x="897" y="3472"/>
                      <a:pt x="1295" y="5173"/>
                    </a:cubicBezTo>
                    <a:lnTo>
                      <a:pt x="0" y="3184"/>
                    </a:lnTo>
                    <a:cubicBezTo>
                      <a:pt x="498" y="2189"/>
                      <a:pt x="1295" y="1094"/>
                      <a:pt x="12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5" name="Freeform: Shape 2184">
                <a:extLst>
                  <a:ext uri="{FF2B5EF4-FFF2-40B4-BE49-F238E27FC236}">
                    <a16:creationId xmlns:a16="http://schemas.microsoft.com/office/drawing/2014/main" id="{48ADDA4D-BBA1-4A6F-8633-731D403D1BBD}"/>
                  </a:ext>
                </a:extLst>
              </p:cNvPr>
              <p:cNvSpPr/>
              <p:nvPr/>
            </p:nvSpPr>
            <p:spPr>
              <a:xfrm>
                <a:off x="2020016" y="1531644"/>
                <a:ext cx="10861" cy="34422"/>
              </a:xfrm>
              <a:custGeom>
                <a:avLst/>
                <a:gdLst>
                  <a:gd name="connsiteX0" fmla="*/ 9566 w 10861"/>
                  <a:gd name="connsiteY0" fmla="*/ 26961 h 34422"/>
                  <a:gd name="connsiteX1" fmla="*/ 10861 w 10861"/>
                  <a:gd name="connsiteY1" fmla="*/ 34423 h 34422"/>
                  <a:gd name="connsiteX2" fmla="*/ 4584 w 10861"/>
                  <a:gd name="connsiteY2" fmla="*/ 19897 h 34422"/>
                  <a:gd name="connsiteX3" fmla="*/ 0 w 10861"/>
                  <a:gd name="connsiteY3" fmla="*/ 0 h 34422"/>
                  <a:gd name="connsiteX4" fmla="*/ 2591 w 10861"/>
                  <a:gd name="connsiteY4" fmla="*/ 7462 h 34422"/>
                  <a:gd name="connsiteX5" fmla="*/ 9566 w 10861"/>
                  <a:gd name="connsiteY5" fmla="*/ 26961 h 34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861" h="34422">
                    <a:moveTo>
                      <a:pt x="9566" y="26961"/>
                    </a:moveTo>
                    <a:cubicBezTo>
                      <a:pt x="9745" y="29488"/>
                      <a:pt x="10184" y="31985"/>
                      <a:pt x="10861" y="34423"/>
                    </a:cubicBezTo>
                    <a:cubicBezTo>
                      <a:pt x="9167" y="30443"/>
                      <a:pt x="7274" y="25767"/>
                      <a:pt x="4584" y="19897"/>
                    </a:cubicBezTo>
                    <a:cubicBezTo>
                      <a:pt x="2501" y="13401"/>
                      <a:pt x="976" y="6745"/>
                      <a:pt x="0" y="0"/>
                    </a:cubicBezTo>
                    <a:cubicBezTo>
                      <a:pt x="598" y="2577"/>
                      <a:pt x="1465" y="5074"/>
                      <a:pt x="2591" y="7462"/>
                    </a:cubicBezTo>
                    <a:cubicBezTo>
                      <a:pt x="2650" y="14565"/>
                      <a:pt x="5112" y="21430"/>
                      <a:pt x="9566" y="2696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6" name="Freeform: Shape 2185">
                <a:extLst>
                  <a:ext uri="{FF2B5EF4-FFF2-40B4-BE49-F238E27FC236}">
                    <a16:creationId xmlns:a16="http://schemas.microsoft.com/office/drawing/2014/main" id="{F74DBE34-75C5-4118-ADAE-51AF4B5C0666}"/>
                  </a:ext>
                </a:extLst>
              </p:cNvPr>
              <p:cNvSpPr/>
              <p:nvPr/>
            </p:nvSpPr>
            <p:spPr>
              <a:xfrm>
                <a:off x="2031176" y="1836772"/>
                <a:ext cx="996" cy="1591"/>
              </a:xfrm>
              <a:custGeom>
                <a:avLst/>
                <a:gdLst>
                  <a:gd name="connsiteX0" fmla="*/ 997 w 996"/>
                  <a:gd name="connsiteY0" fmla="*/ 1592 h 1591"/>
                  <a:gd name="connsiteX1" fmla="*/ 0 w 996"/>
                  <a:gd name="connsiteY1" fmla="*/ 0 h 1591"/>
                  <a:gd name="connsiteX2" fmla="*/ 0 w 996"/>
                  <a:gd name="connsiteY2" fmla="*/ 0 h 1591"/>
                  <a:gd name="connsiteX3" fmla="*/ 997 w 996"/>
                  <a:gd name="connsiteY3" fmla="*/ 1592 h 1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" h="1591">
                    <a:moveTo>
                      <a:pt x="997" y="1592"/>
                    </a:moveTo>
                    <a:cubicBezTo>
                      <a:pt x="698" y="1035"/>
                      <a:pt x="369" y="507"/>
                      <a:pt x="0" y="0"/>
                    </a:cubicBezTo>
                    <a:lnTo>
                      <a:pt x="0" y="0"/>
                    </a:lnTo>
                    <a:cubicBezTo>
                      <a:pt x="449" y="448"/>
                      <a:pt x="787" y="995"/>
                      <a:pt x="997" y="159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7" name="Freeform: Shape 2186">
                <a:extLst>
                  <a:ext uri="{FF2B5EF4-FFF2-40B4-BE49-F238E27FC236}">
                    <a16:creationId xmlns:a16="http://schemas.microsoft.com/office/drawing/2014/main" id="{3D9BDA86-9047-458C-8546-4E12217AECD5}"/>
                  </a:ext>
                </a:extLst>
              </p:cNvPr>
              <p:cNvSpPr/>
              <p:nvPr/>
            </p:nvSpPr>
            <p:spPr>
              <a:xfrm>
                <a:off x="2031176" y="1815482"/>
                <a:ext cx="1494" cy="4974"/>
              </a:xfrm>
              <a:custGeom>
                <a:avLst/>
                <a:gdLst>
                  <a:gd name="connsiteX0" fmla="*/ 1395 w 1494"/>
                  <a:gd name="connsiteY0" fmla="*/ 1791 h 4974"/>
                  <a:gd name="connsiteX1" fmla="*/ 0 w 1494"/>
                  <a:gd name="connsiteY1" fmla="*/ 4974 h 4974"/>
                  <a:gd name="connsiteX2" fmla="*/ 1495 w 1494"/>
                  <a:gd name="connsiteY2" fmla="*/ 0 h 4974"/>
                  <a:gd name="connsiteX3" fmla="*/ 1395 w 1494"/>
                  <a:gd name="connsiteY3" fmla="*/ 1791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4" h="4974">
                    <a:moveTo>
                      <a:pt x="1395" y="1791"/>
                    </a:moveTo>
                    <a:cubicBezTo>
                      <a:pt x="1395" y="2587"/>
                      <a:pt x="498" y="3681"/>
                      <a:pt x="0" y="4974"/>
                    </a:cubicBezTo>
                    <a:cubicBezTo>
                      <a:pt x="498" y="3184"/>
                      <a:pt x="997" y="1492"/>
                      <a:pt x="1495" y="0"/>
                    </a:cubicBezTo>
                    <a:cubicBezTo>
                      <a:pt x="1365" y="587"/>
                      <a:pt x="1325" y="1194"/>
                      <a:pt x="1395" y="179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8" name="Freeform: Shape 2187">
                <a:extLst>
                  <a:ext uri="{FF2B5EF4-FFF2-40B4-BE49-F238E27FC236}">
                    <a16:creationId xmlns:a16="http://schemas.microsoft.com/office/drawing/2014/main" id="{1635823A-CC12-4826-A261-41144C246EBE}"/>
                  </a:ext>
                </a:extLst>
              </p:cNvPr>
              <p:cNvSpPr/>
              <p:nvPr/>
            </p:nvSpPr>
            <p:spPr>
              <a:xfrm>
                <a:off x="2031873" y="1890595"/>
                <a:ext cx="8868" cy="9948"/>
              </a:xfrm>
              <a:custGeom>
                <a:avLst/>
                <a:gdLst>
                  <a:gd name="connsiteX0" fmla="*/ 8868 w 8868"/>
                  <a:gd name="connsiteY0" fmla="*/ 0 h 9948"/>
                  <a:gd name="connsiteX1" fmla="*/ 0 w 8868"/>
                  <a:gd name="connsiteY1" fmla="*/ 9949 h 9948"/>
                  <a:gd name="connsiteX2" fmla="*/ 8868 w 8868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68" h="9948">
                    <a:moveTo>
                      <a:pt x="8868" y="0"/>
                    </a:moveTo>
                    <a:cubicBezTo>
                      <a:pt x="5979" y="3184"/>
                      <a:pt x="2790" y="6268"/>
                      <a:pt x="0" y="9949"/>
                    </a:cubicBezTo>
                    <a:cubicBezTo>
                      <a:pt x="2581" y="6317"/>
                      <a:pt x="5550" y="2975"/>
                      <a:pt x="886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89" name="Freeform: Shape 2188">
                <a:extLst>
                  <a:ext uri="{FF2B5EF4-FFF2-40B4-BE49-F238E27FC236}">
                    <a16:creationId xmlns:a16="http://schemas.microsoft.com/office/drawing/2014/main" id="{36CBC618-03AC-460F-9615-489E0C9EEA34}"/>
                  </a:ext>
                </a:extLst>
              </p:cNvPr>
              <p:cNvSpPr/>
              <p:nvPr/>
            </p:nvSpPr>
            <p:spPr>
              <a:xfrm>
                <a:off x="2031475" y="1486377"/>
                <a:ext cx="3088" cy="8058"/>
              </a:xfrm>
              <a:custGeom>
                <a:avLst/>
                <a:gdLst>
                  <a:gd name="connsiteX0" fmla="*/ 0 w 3088"/>
                  <a:gd name="connsiteY0" fmla="*/ 0 h 8058"/>
                  <a:gd name="connsiteX1" fmla="*/ 3089 w 3088"/>
                  <a:gd name="connsiteY1" fmla="*/ 5870 h 8058"/>
                  <a:gd name="connsiteX2" fmla="*/ 997 w 3088"/>
                  <a:gd name="connsiteY2" fmla="*/ 8058 h 8058"/>
                  <a:gd name="connsiteX3" fmla="*/ 0 w 3088"/>
                  <a:gd name="connsiteY3" fmla="*/ 0 h 8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88" h="8058">
                    <a:moveTo>
                      <a:pt x="0" y="0"/>
                    </a:moveTo>
                    <a:cubicBezTo>
                      <a:pt x="1415" y="1731"/>
                      <a:pt x="2461" y="3721"/>
                      <a:pt x="3089" y="5870"/>
                    </a:cubicBezTo>
                    <a:lnTo>
                      <a:pt x="997" y="8058"/>
                    </a:lnTo>
                    <a:cubicBezTo>
                      <a:pt x="1824" y="5352"/>
                      <a:pt x="1465" y="241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0" name="Freeform: Shape 2189">
                <a:extLst>
                  <a:ext uri="{FF2B5EF4-FFF2-40B4-BE49-F238E27FC236}">
                    <a16:creationId xmlns:a16="http://schemas.microsoft.com/office/drawing/2014/main" id="{C064CC55-C163-4BAD-A30C-04CDA084E83D}"/>
                  </a:ext>
                </a:extLst>
              </p:cNvPr>
              <p:cNvSpPr/>
              <p:nvPr/>
            </p:nvSpPr>
            <p:spPr>
              <a:xfrm>
                <a:off x="2035261" y="1843537"/>
                <a:ext cx="2989" cy="2586"/>
              </a:xfrm>
              <a:custGeom>
                <a:avLst/>
                <a:gdLst>
                  <a:gd name="connsiteX0" fmla="*/ 1295 w 2989"/>
                  <a:gd name="connsiteY0" fmla="*/ 2487 h 2586"/>
                  <a:gd name="connsiteX1" fmla="*/ 0 w 2989"/>
                  <a:gd name="connsiteY1" fmla="*/ 0 h 2586"/>
                  <a:gd name="connsiteX2" fmla="*/ 2990 w 2989"/>
                  <a:gd name="connsiteY2" fmla="*/ 2587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2586">
                    <a:moveTo>
                      <a:pt x="1295" y="2487"/>
                    </a:moveTo>
                    <a:lnTo>
                      <a:pt x="0" y="0"/>
                    </a:lnTo>
                    <a:cubicBezTo>
                      <a:pt x="658" y="1194"/>
                      <a:pt x="1714" y="2109"/>
                      <a:pt x="2990" y="25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1" name="Freeform: Shape 2190">
                <a:extLst>
                  <a:ext uri="{FF2B5EF4-FFF2-40B4-BE49-F238E27FC236}">
                    <a16:creationId xmlns:a16="http://schemas.microsoft.com/office/drawing/2014/main" id="{22D9FC39-80D7-4318-AD44-EFCF782D3B1A}"/>
                  </a:ext>
                </a:extLst>
              </p:cNvPr>
              <p:cNvSpPr/>
              <p:nvPr/>
            </p:nvSpPr>
            <p:spPr>
              <a:xfrm>
                <a:off x="2039745" y="1846024"/>
                <a:ext cx="3786" cy="2586"/>
              </a:xfrm>
              <a:custGeom>
                <a:avLst/>
                <a:gdLst>
                  <a:gd name="connsiteX0" fmla="*/ 1794 w 3786"/>
                  <a:gd name="connsiteY0" fmla="*/ 0 h 2586"/>
                  <a:gd name="connsiteX1" fmla="*/ 3787 w 3786"/>
                  <a:gd name="connsiteY1" fmla="*/ 2587 h 2586"/>
                  <a:gd name="connsiteX2" fmla="*/ 0 w 3786"/>
                  <a:gd name="connsiteY2" fmla="*/ 497 h 2586"/>
                  <a:gd name="connsiteX3" fmla="*/ 1794 w 3786"/>
                  <a:gd name="connsiteY3" fmla="*/ 0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86" h="2586">
                    <a:moveTo>
                      <a:pt x="1794" y="0"/>
                    </a:moveTo>
                    <a:cubicBezTo>
                      <a:pt x="2521" y="816"/>
                      <a:pt x="3189" y="1681"/>
                      <a:pt x="3787" y="2587"/>
                    </a:cubicBezTo>
                    <a:cubicBezTo>
                      <a:pt x="2700" y="1602"/>
                      <a:pt x="1405" y="885"/>
                      <a:pt x="0" y="497"/>
                    </a:cubicBezTo>
                    <a:cubicBezTo>
                      <a:pt x="638" y="507"/>
                      <a:pt x="1256" y="338"/>
                      <a:pt x="179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2" name="Freeform: Shape 2191">
                <a:extLst>
                  <a:ext uri="{FF2B5EF4-FFF2-40B4-BE49-F238E27FC236}">
                    <a16:creationId xmlns:a16="http://schemas.microsoft.com/office/drawing/2014/main" id="{A8FF9010-10C6-4E77-9FD3-49E00A858950}"/>
                  </a:ext>
                </a:extLst>
              </p:cNvPr>
              <p:cNvSpPr/>
              <p:nvPr/>
            </p:nvSpPr>
            <p:spPr>
              <a:xfrm>
                <a:off x="2041838" y="1584770"/>
                <a:ext cx="26804" cy="11043"/>
              </a:xfrm>
              <a:custGeom>
                <a:avLst/>
                <a:gdLst>
                  <a:gd name="connsiteX0" fmla="*/ 0 w 26804"/>
                  <a:gd name="connsiteY0" fmla="*/ 0 h 11043"/>
                  <a:gd name="connsiteX1" fmla="*/ 26804 w 26804"/>
                  <a:gd name="connsiteY1" fmla="*/ 11043 h 11043"/>
                  <a:gd name="connsiteX2" fmla="*/ 0 w 26804"/>
                  <a:gd name="connsiteY2" fmla="*/ 0 h 1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804" h="11043">
                    <a:moveTo>
                      <a:pt x="0" y="0"/>
                    </a:moveTo>
                    <a:cubicBezTo>
                      <a:pt x="8490" y="4676"/>
                      <a:pt x="17488" y="8377"/>
                      <a:pt x="26804" y="11043"/>
                    </a:cubicBezTo>
                    <a:cubicBezTo>
                      <a:pt x="17199" y="9242"/>
                      <a:pt x="8081" y="548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3" name="Freeform: Shape 2192">
                <a:extLst>
                  <a:ext uri="{FF2B5EF4-FFF2-40B4-BE49-F238E27FC236}">
                    <a16:creationId xmlns:a16="http://schemas.microsoft.com/office/drawing/2014/main" id="{D237F3F5-8AA9-4FC2-B263-3BBFC483C104}"/>
                  </a:ext>
                </a:extLst>
              </p:cNvPr>
              <p:cNvSpPr/>
              <p:nvPr/>
            </p:nvSpPr>
            <p:spPr>
              <a:xfrm>
                <a:off x="2046322" y="1799564"/>
                <a:ext cx="9964" cy="2785"/>
              </a:xfrm>
              <a:custGeom>
                <a:avLst/>
                <a:gdLst>
                  <a:gd name="connsiteX0" fmla="*/ 0 w 9964"/>
                  <a:gd name="connsiteY0" fmla="*/ 2189 h 2785"/>
                  <a:gd name="connsiteX1" fmla="*/ 9964 w 9964"/>
                  <a:gd name="connsiteY1" fmla="*/ 0 h 2785"/>
                  <a:gd name="connsiteX2" fmla="*/ 4982 w 9964"/>
                  <a:gd name="connsiteY2" fmla="*/ 2786 h 2785"/>
                  <a:gd name="connsiteX3" fmla="*/ 0 w 9964"/>
                  <a:gd name="connsiteY3" fmla="*/ 2189 h 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4" h="2785">
                    <a:moveTo>
                      <a:pt x="0" y="2189"/>
                    </a:moveTo>
                    <a:cubicBezTo>
                      <a:pt x="3388" y="1592"/>
                      <a:pt x="6776" y="896"/>
                      <a:pt x="9964" y="0"/>
                    </a:cubicBezTo>
                    <a:cubicBezTo>
                      <a:pt x="8131" y="577"/>
                      <a:pt x="6437" y="1532"/>
                      <a:pt x="4982" y="2786"/>
                    </a:cubicBezTo>
                    <a:cubicBezTo>
                      <a:pt x="3368" y="2328"/>
                      <a:pt x="1684" y="2129"/>
                      <a:pt x="0" y="21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4" name="Freeform: Shape 2193">
                <a:extLst>
                  <a:ext uri="{FF2B5EF4-FFF2-40B4-BE49-F238E27FC236}">
                    <a16:creationId xmlns:a16="http://schemas.microsoft.com/office/drawing/2014/main" id="{B0588250-4A66-4141-9C80-445F7BE17CC2}"/>
                  </a:ext>
                </a:extLst>
              </p:cNvPr>
              <p:cNvSpPr/>
              <p:nvPr/>
            </p:nvSpPr>
            <p:spPr>
              <a:xfrm>
                <a:off x="2068642" y="1797226"/>
                <a:ext cx="7772" cy="447"/>
              </a:xfrm>
              <a:custGeom>
                <a:avLst/>
                <a:gdLst>
                  <a:gd name="connsiteX0" fmla="*/ 0 w 7772"/>
                  <a:gd name="connsiteY0" fmla="*/ 149 h 447"/>
                  <a:gd name="connsiteX1" fmla="*/ 7772 w 7772"/>
                  <a:gd name="connsiteY1" fmla="*/ 149 h 447"/>
                  <a:gd name="connsiteX2" fmla="*/ 0 w 7772"/>
                  <a:gd name="connsiteY2" fmla="*/ 149 h 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772" h="447">
                    <a:moveTo>
                      <a:pt x="0" y="149"/>
                    </a:moveTo>
                    <a:cubicBezTo>
                      <a:pt x="2591" y="-50"/>
                      <a:pt x="5181" y="-50"/>
                      <a:pt x="7772" y="149"/>
                    </a:cubicBezTo>
                    <a:cubicBezTo>
                      <a:pt x="5201" y="547"/>
                      <a:pt x="2571" y="547"/>
                      <a:pt x="0" y="1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5" name="Freeform: Shape 2194">
                <a:extLst>
                  <a:ext uri="{FF2B5EF4-FFF2-40B4-BE49-F238E27FC236}">
                    <a16:creationId xmlns:a16="http://schemas.microsoft.com/office/drawing/2014/main" id="{839EA435-8B39-4F66-91C1-4A91EC51B2E1}"/>
                  </a:ext>
                </a:extLst>
              </p:cNvPr>
              <p:cNvSpPr/>
              <p:nvPr/>
            </p:nvSpPr>
            <p:spPr>
              <a:xfrm>
                <a:off x="2077311" y="1599694"/>
                <a:ext cx="8469" cy="17012"/>
              </a:xfrm>
              <a:custGeom>
                <a:avLst/>
                <a:gdLst>
                  <a:gd name="connsiteX0" fmla="*/ 8470 w 8469"/>
                  <a:gd name="connsiteY0" fmla="*/ 17012 h 17012"/>
                  <a:gd name="connsiteX1" fmla="*/ 0 w 8469"/>
                  <a:gd name="connsiteY1" fmla="*/ 0 h 17012"/>
                  <a:gd name="connsiteX2" fmla="*/ 8470 w 8469"/>
                  <a:gd name="connsiteY2" fmla="*/ 17012 h 17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69" h="17012">
                    <a:moveTo>
                      <a:pt x="8470" y="17012"/>
                    </a:moveTo>
                    <a:cubicBezTo>
                      <a:pt x="6278" y="13829"/>
                      <a:pt x="8470" y="8058"/>
                      <a:pt x="0" y="0"/>
                    </a:cubicBezTo>
                    <a:cubicBezTo>
                      <a:pt x="5082" y="4238"/>
                      <a:pt x="8151" y="10406"/>
                      <a:pt x="8470" y="1701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6" name="Freeform: Shape 2195">
                <a:extLst>
                  <a:ext uri="{FF2B5EF4-FFF2-40B4-BE49-F238E27FC236}">
                    <a16:creationId xmlns:a16="http://schemas.microsoft.com/office/drawing/2014/main" id="{042A4A11-A077-4F1A-8830-1CF78E44C07F}"/>
                  </a:ext>
                </a:extLst>
              </p:cNvPr>
              <p:cNvSpPr/>
              <p:nvPr/>
            </p:nvSpPr>
            <p:spPr>
              <a:xfrm>
                <a:off x="2084984" y="1789715"/>
                <a:ext cx="7971" cy="5073"/>
              </a:xfrm>
              <a:custGeom>
                <a:avLst/>
                <a:gdLst>
                  <a:gd name="connsiteX0" fmla="*/ 0 w 7971"/>
                  <a:gd name="connsiteY0" fmla="*/ 5074 h 5073"/>
                  <a:gd name="connsiteX1" fmla="*/ 7971 w 7971"/>
                  <a:gd name="connsiteY1" fmla="*/ 0 h 5073"/>
                  <a:gd name="connsiteX2" fmla="*/ 0 w 7971"/>
                  <a:gd name="connsiteY2" fmla="*/ 5074 h 5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71" h="5073">
                    <a:moveTo>
                      <a:pt x="0" y="5074"/>
                    </a:moveTo>
                    <a:cubicBezTo>
                      <a:pt x="2591" y="3582"/>
                      <a:pt x="5281" y="1691"/>
                      <a:pt x="7971" y="0"/>
                    </a:cubicBezTo>
                    <a:cubicBezTo>
                      <a:pt x="5570" y="2069"/>
                      <a:pt x="2889" y="3771"/>
                      <a:pt x="0" y="50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7" name="Freeform: Shape 2196">
                <a:extLst>
                  <a:ext uri="{FF2B5EF4-FFF2-40B4-BE49-F238E27FC236}">
                    <a16:creationId xmlns:a16="http://schemas.microsoft.com/office/drawing/2014/main" id="{89573AEA-12FE-4D8F-A499-6EDA45773D67}"/>
                  </a:ext>
                </a:extLst>
              </p:cNvPr>
              <p:cNvSpPr/>
              <p:nvPr/>
            </p:nvSpPr>
            <p:spPr>
              <a:xfrm>
                <a:off x="2088571" y="1626456"/>
                <a:ext cx="5878" cy="3979"/>
              </a:xfrm>
              <a:custGeom>
                <a:avLst/>
                <a:gdLst>
                  <a:gd name="connsiteX0" fmla="*/ 0 w 5878"/>
                  <a:gd name="connsiteY0" fmla="*/ 0 h 3979"/>
                  <a:gd name="connsiteX1" fmla="*/ 5879 w 5878"/>
                  <a:gd name="connsiteY1" fmla="*/ 3979 h 3979"/>
                  <a:gd name="connsiteX2" fmla="*/ 0 w 5878"/>
                  <a:gd name="connsiteY2" fmla="*/ 0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8" h="3979">
                    <a:moveTo>
                      <a:pt x="0" y="0"/>
                    </a:moveTo>
                    <a:cubicBezTo>
                      <a:pt x="1893" y="1194"/>
                      <a:pt x="3886" y="2487"/>
                      <a:pt x="5879" y="3979"/>
                    </a:cubicBezTo>
                    <a:cubicBezTo>
                      <a:pt x="3657" y="3094"/>
                      <a:pt x="1654" y="173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8" name="Freeform: Shape 2197">
                <a:extLst>
                  <a:ext uri="{FF2B5EF4-FFF2-40B4-BE49-F238E27FC236}">
                    <a16:creationId xmlns:a16="http://schemas.microsoft.com/office/drawing/2014/main" id="{3AD04B84-D6B5-4ABB-B74A-79CC73CEBDA7}"/>
                  </a:ext>
                </a:extLst>
              </p:cNvPr>
              <p:cNvSpPr/>
              <p:nvPr/>
            </p:nvSpPr>
            <p:spPr>
              <a:xfrm>
                <a:off x="2100727" y="1635708"/>
                <a:ext cx="8668" cy="8058"/>
              </a:xfrm>
              <a:custGeom>
                <a:avLst/>
                <a:gdLst>
                  <a:gd name="connsiteX0" fmla="*/ 8669 w 8668"/>
                  <a:gd name="connsiteY0" fmla="*/ 8059 h 8058"/>
                  <a:gd name="connsiteX1" fmla="*/ 0 w 8668"/>
                  <a:gd name="connsiteY1" fmla="*/ 0 h 8058"/>
                  <a:gd name="connsiteX2" fmla="*/ 8669 w 8668"/>
                  <a:gd name="connsiteY2" fmla="*/ 8059 h 8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668" h="8058">
                    <a:moveTo>
                      <a:pt x="8669" y="8059"/>
                    </a:moveTo>
                    <a:cubicBezTo>
                      <a:pt x="5879" y="5671"/>
                      <a:pt x="2790" y="2686"/>
                      <a:pt x="0" y="0"/>
                    </a:cubicBezTo>
                    <a:cubicBezTo>
                      <a:pt x="3129" y="2428"/>
                      <a:pt x="6029" y="5124"/>
                      <a:pt x="8669" y="805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99" name="Freeform: Shape 2198">
                <a:extLst>
                  <a:ext uri="{FF2B5EF4-FFF2-40B4-BE49-F238E27FC236}">
                    <a16:creationId xmlns:a16="http://schemas.microsoft.com/office/drawing/2014/main" id="{45AF3261-2768-49AB-AD73-B28157C2E7F5}"/>
                  </a:ext>
                </a:extLst>
              </p:cNvPr>
              <p:cNvSpPr/>
              <p:nvPr/>
            </p:nvSpPr>
            <p:spPr>
              <a:xfrm>
                <a:off x="2097539" y="1786325"/>
                <a:ext cx="7274" cy="1300"/>
              </a:xfrm>
              <a:custGeom>
                <a:avLst/>
                <a:gdLst>
                  <a:gd name="connsiteX0" fmla="*/ 5780 w 7274"/>
                  <a:gd name="connsiteY0" fmla="*/ 7 h 1300"/>
                  <a:gd name="connsiteX1" fmla="*/ 7274 w 7274"/>
                  <a:gd name="connsiteY1" fmla="*/ 7 h 1300"/>
                  <a:gd name="connsiteX2" fmla="*/ 0 w 7274"/>
                  <a:gd name="connsiteY2" fmla="*/ 1300 h 1300"/>
                  <a:gd name="connsiteX3" fmla="*/ 5780 w 7274"/>
                  <a:gd name="connsiteY3" fmla="*/ 7 h 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74" h="1300">
                    <a:moveTo>
                      <a:pt x="5780" y="7"/>
                    </a:moveTo>
                    <a:lnTo>
                      <a:pt x="7274" y="7"/>
                    </a:lnTo>
                    <a:cubicBezTo>
                      <a:pt x="4932" y="803"/>
                      <a:pt x="2471" y="1231"/>
                      <a:pt x="0" y="1300"/>
                    </a:cubicBezTo>
                    <a:cubicBezTo>
                      <a:pt x="1784" y="385"/>
                      <a:pt x="3776" y="-63"/>
                      <a:pt x="5780" y="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00" name="Freeform: Shape 2199">
                <a:extLst>
                  <a:ext uri="{FF2B5EF4-FFF2-40B4-BE49-F238E27FC236}">
                    <a16:creationId xmlns:a16="http://schemas.microsoft.com/office/drawing/2014/main" id="{C1F420A9-74CF-4462-AE79-3BD30C14AFC1}"/>
                  </a:ext>
                </a:extLst>
              </p:cNvPr>
              <p:cNvSpPr/>
              <p:nvPr/>
            </p:nvSpPr>
            <p:spPr>
              <a:xfrm>
                <a:off x="2113781" y="1649039"/>
                <a:ext cx="1494" cy="4974"/>
              </a:xfrm>
              <a:custGeom>
                <a:avLst/>
                <a:gdLst>
                  <a:gd name="connsiteX0" fmla="*/ 1495 w 1494"/>
                  <a:gd name="connsiteY0" fmla="*/ 1990 h 4974"/>
                  <a:gd name="connsiteX1" fmla="*/ 598 w 1494"/>
                  <a:gd name="connsiteY1" fmla="*/ 4974 h 4974"/>
                  <a:gd name="connsiteX2" fmla="*/ 0 w 1494"/>
                  <a:gd name="connsiteY2" fmla="*/ 0 h 4974"/>
                  <a:gd name="connsiteX3" fmla="*/ 1495 w 1494"/>
                  <a:gd name="connsiteY3" fmla="*/ 1990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4" h="4974">
                    <a:moveTo>
                      <a:pt x="1495" y="1990"/>
                    </a:moveTo>
                    <a:cubicBezTo>
                      <a:pt x="1136" y="2965"/>
                      <a:pt x="827" y="3960"/>
                      <a:pt x="598" y="4974"/>
                    </a:cubicBezTo>
                    <a:cubicBezTo>
                      <a:pt x="698" y="3293"/>
                      <a:pt x="488" y="1612"/>
                      <a:pt x="0" y="0"/>
                    </a:cubicBezTo>
                    <a:cubicBezTo>
                      <a:pt x="578" y="597"/>
                      <a:pt x="1086" y="1263"/>
                      <a:pt x="1495" y="199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01" name="Freeform: Shape 2200">
                <a:extLst>
                  <a:ext uri="{FF2B5EF4-FFF2-40B4-BE49-F238E27FC236}">
                    <a16:creationId xmlns:a16="http://schemas.microsoft.com/office/drawing/2014/main" id="{EF03D99F-10FA-4450-B102-B3402BE10BB5}"/>
                  </a:ext>
                </a:extLst>
              </p:cNvPr>
              <p:cNvSpPr/>
              <p:nvPr/>
            </p:nvSpPr>
            <p:spPr>
              <a:xfrm>
                <a:off x="2114578" y="1660580"/>
                <a:ext cx="3388" cy="5471"/>
              </a:xfrm>
              <a:custGeom>
                <a:avLst/>
                <a:gdLst>
                  <a:gd name="connsiteX0" fmla="*/ 2691 w 3388"/>
                  <a:gd name="connsiteY0" fmla="*/ 4875 h 5471"/>
                  <a:gd name="connsiteX1" fmla="*/ 0 w 3388"/>
                  <a:gd name="connsiteY1" fmla="*/ 0 h 5471"/>
                  <a:gd name="connsiteX2" fmla="*/ 3388 w 3388"/>
                  <a:gd name="connsiteY2" fmla="*/ 5472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8" h="5471">
                    <a:moveTo>
                      <a:pt x="2691" y="4875"/>
                    </a:moveTo>
                    <a:cubicBezTo>
                      <a:pt x="1276" y="3592"/>
                      <a:pt x="329" y="1880"/>
                      <a:pt x="0" y="0"/>
                    </a:cubicBezTo>
                    <a:cubicBezTo>
                      <a:pt x="688" y="2059"/>
                      <a:pt x="1844" y="3940"/>
                      <a:pt x="3388" y="547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02" name="Freeform: Shape 2201">
                <a:extLst>
                  <a:ext uri="{FF2B5EF4-FFF2-40B4-BE49-F238E27FC236}">
                    <a16:creationId xmlns:a16="http://schemas.microsoft.com/office/drawing/2014/main" id="{058E888F-D98B-4836-9F9A-BC0E42C4BC36}"/>
                  </a:ext>
                </a:extLst>
              </p:cNvPr>
              <p:cNvSpPr/>
              <p:nvPr/>
            </p:nvSpPr>
            <p:spPr>
              <a:xfrm>
                <a:off x="2115574" y="1773399"/>
                <a:ext cx="9964" cy="6765"/>
              </a:xfrm>
              <a:custGeom>
                <a:avLst/>
                <a:gdLst>
                  <a:gd name="connsiteX0" fmla="*/ 0 w 9964"/>
                  <a:gd name="connsiteY0" fmla="*/ 6765 h 6765"/>
                  <a:gd name="connsiteX1" fmla="*/ 9964 w 9964"/>
                  <a:gd name="connsiteY1" fmla="*/ 0 h 6765"/>
                  <a:gd name="connsiteX2" fmla="*/ 0 w 9964"/>
                  <a:gd name="connsiteY2" fmla="*/ 6765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6765">
                    <a:moveTo>
                      <a:pt x="0" y="6765"/>
                    </a:moveTo>
                    <a:cubicBezTo>
                      <a:pt x="3079" y="4178"/>
                      <a:pt x="6417" y="1910"/>
                      <a:pt x="9964" y="0"/>
                    </a:cubicBezTo>
                    <a:cubicBezTo>
                      <a:pt x="6377" y="2189"/>
                      <a:pt x="2890" y="4477"/>
                      <a:pt x="0" y="67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03" name="Freeform: Shape 2202">
                <a:extLst>
                  <a:ext uri="{FF2B5EF4-FFF2-40B4-BE49-F238E27FC236}">
                    <a16:creationId xmlns:a16="http://schemas.microsoft.com/office/drawing/2014/main" id="{437A5B17-C2E4-433E-822A-D2FAED646A21}"/>
                  </a:ext>
                </a:extLst>
              </p:cNvPr>
              <p:cNvSpPr/>
              <p:nvPr/>
            </p:nvSpPr>
            <p:spPr>
              <a:xfrm>
                <a:off x="2124904" y="1766832"/>
                <a:ext cx="336" cy="6566"/>
              </a:xfrm>
              <a:custGeom>
                <a:avLst/>
                <a:gdLst>
                  <a:gd name="connsiteX0" fmla="*/ 336 w 336"/>
                  <a:gd name="connsiteY0" fmla="*/ 0 h 6566"/>
                  <a:gd name="connsiteX1" fmla="*/ 336 w 336"/>
                  <a:gd name="connsiteY1" fmla="*/ 6566 h 6566"/>
                  <a:gd name="connsiteX2" fmla="*/ 336 w 336"/>
                  <a:gd name="connsiteY2" fmla="*/ 0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" h="6566">
                    <a:moveTo>
                      <a:pt x="336" y="0"/>
                    </a:moveTo>
                    <a:cubicBezTo>
                      <a:pt x="187" y="2189"/>
                      <a:pt x="187" y="4377"/>
                      <a:pt x="336" y="6566"/>
                    </a:cubicBezTo>
                    <a:cubicBezTo>
                      <a:pt x="-112" y="4397"/>
                      <a:pt x="-112" y="2169"/>
                      <a:pt x="33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04" name="Freeform: Shape 2203">
                <a:extLst>
                  <a:ext uri="{FF2B5EF4-FFF2-40B4-BE49-F238E27FC236}">
                    <a16:creationId xmlns:a16="http://schemas.microsoft.com/office/drawing/2014/main" id="{8021CB81-FE19-4222-9267-24E82D990F93}"/>
                  </a:ext>
                </a:extLst>
              </p:cNvPr>
              <p:cNvSpPr/>
              <p:nvPr/>
            </p:nvSpPr>
            <p:spPr>
              <a:xfrm>
                <a:off x="2127333" y="1754993"/>
                <a:ext cx="1095" cy="3680"/>
              </a:xfrm>
              <a:custGeom>
                <a:avLst/>
                <a:gdLst>
                  <a:gd name="connsiteX0" fmla="*/ 1096 w 1095"/>
                  <a:gd name="connsiteY0" fmla="*/ 0 h 3680"/>
                  <a:gd name="connsiteX1" fmla="*/ 1096 w 1095"/>
                  <a:gd name="connsiteY1" fmla="*/ 2388 h 3680"/>
                  <a:gd name="connsiteX2" fmla="*/ 0 w 1095"/>
                  <a:gd name="connsiteY2" fmla="*/ 3681 h 3680"/>
                  <a:gd name="connsiteX3" fmla="*/ 1096 w 1095"/>
                  <a:gd name="connsiteY3" fmla="*/ 0 h 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5" h="3680">
                    <a:moveTo>
                      <a:pt x="1096" y="0"/>
                    </a:moveTo>
                    <a:cubicBezTo>
                      <a:pt x="1006" y="796"/>
                      <a:pt x="1006" y="1592"/>
                      <a:pt x="1096" y="2388"/>
                    </a:cubicBezTo>
                    <a:cubicBezTo>
                      <a:pt x="628" y="2726"/>
                      <a:pt x="259" y="3164"/>
                      <a:pt x="0" y="3681"/>
                    </a:cubicBezTo>
                    <a:cubicBezTo>
                      <a:pt x="99" y="2686"/>
                      <a:pt x="398" y="1393"/>
                      <a:pt x="10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05" name="Freeform: Shape 2204">
                <a:extLst>
                  <a:ext uri="{FF2B5EF4-FFF2-40B4-BE49-F238E27FC236}">
                    <a16:creationId xmlns:a16="http://schemas.microsoft.com/office/drawing/2014/main" id="{FDFC2B96-22A7-4939-B948-BDAABDA71EBE}"/>
                  </a:ext>
                </a:extLst>
              </p:cNvPr>
              <p:cNvSpPr/>
              <p:nvPr/>
            </p:nvSpPr>
            <p:spPr>
              <a:xfrm>
                <a:off x="2128429" y="1746935"/>
                <a:ext cx="2889" cy="5471"/>
              </a:xfrm>
              <a:custGeom>
                <a:avLst/>
                <a:gdLst>
                  <a:gd name="connsiteX0" fmla="*/ 0 w 2889"/>
                  <a:gd name="connsiteY0" fmla="*/ 2587 h 5471"/>
                  <a:gd name="connsiteX1" fmla="*/ 2890 w 2889"/>
                  <a:gd name="connsiteY1" fmla="*/ 0 h 5471"/>
                  <a:gd name="connsiteX2" fmla="*/ 100 w 2889"/>
                  <a:gd name="connsiteY2" fmla="*/ 5472 h 5471"/>
                  <a:gd name="connsiteX3" fmla="*/ 0 w 2889"/>
                  <a:gd name="connsiteY3" fmla="*/ 2587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9" h="5471">
                    <a:moveTo>
                      <a:pt x="0" y="2587"/>
                    </a:moveTo>
                    <a:lnTo>
                      <a:pt x="2890" y="0"/>
                    </a:lnTo>
                    <a:cubicBezTo>
                      <a:pt x="1485" y="1542"/>
                      <a:pt x="518" y="3432"/>
                      <a:pt x="100" y="5472"/>
                    </a:cubicBezTo>
                    <a:cubicBezTo>
                      <a:pt x="120" y="4507"/>
                      <a:pt x="90" y="3542"/>
                      <a:pt x="0" y="25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06" name="Freeform: Shape 2205">
                <a:extLst>
                  <a:ext uri="{FF2B5EF4-FFF2-40B4-BE49-F238E27FC236}">
                    <a16:creationId xmlns:a16="http://schemas.microsoft.com/office/drawing/2014/main" id="{910B6E9F-3450-42B2-B5F9-11925F29D1DA}"/>
                  </a:ext>
                </a:extLst>
              </p:cNvPr>
              <p:cNvSpPr/>
              <p:nvPr/>
            </p:nvSpPr>
            <p:spPr>
              <a:xfrm>
                <a:off x="2143176" y="1682666"/>
                <a:ext cx="3985" cy="9948"/>
              </a:xfrm>
              <a:custGeom>
                <a:avLst/>
                <a:gdLst>
                  <a:gd name="connsiteX0" fmla="*/ 3786 w 3985"/>
                  <a:gd name="connsiteY0" fmla="*/ 9949 h 9948"/>
                  <a:gd name="connsiteX1" fmla="*/ 0 w 3985"/>
                  <a:gd name="connsiteY1" fmla="*/ 0 h 9948"/>
                  <a:gd name="connsiteX2" fmla="*/ 3986 w 3985"/>
                  <a:gd name="connsiteY2" fmla="*/ 5372 h 9948"/>
                  <a:gd name="connsiteX3" fmla="*/ 3786 w 3985"/>
                  <a:gd name="connsiteY3" fmla="*/ 9949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5" h="9948">
                    <a:moveTo>
                      <a:pt x="3786" y="9949"/>
                    </a:moveTo>
                    <a:cubicBezTo>
                      <a:pt x="3188" y="6417"/>
                      <a:pt x="1903" y="3034"/>
                      <a:pt x="0" y="0"/>
                    </a:cubicBezTo>
                    <a:cubicBezTo>
                      <a:pt x="1694" y="1492"/>
                      <a:pt x="3049" y="3323"/>
                      <a:pt x="3986" y="5372"/>
                    </a:cubicBezTo>
                    <a:cubicBezTo>
                      <a:pt x="3766" y="6885"/>
                      <a:pt x="3697" y="8417"/>
                      <a:pt x="3786" y="99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207" name="Freeform: Shape 2206">
                <a:extLst>
                  <a:ext uri="{FF2B5EF4-FFF2-40B4-BE49-F238E27FC236}">
                    <a16:creationId xmlns:a16="http://schemas.microsoft.com/office/drawing/2014/main" id="{A2D44898-CD00-4C1C-AE1F-0362CF347803}"/>
                  </a:ext>
                </a:extLst>
              </p:cNvPr>
              <p:cNvSpPr/>
              <p:nvPr/>
            </p:nvSpPr>
            <p:spPr>
              <a:xfrm>
                <a:off x="2145667" y="1719576"/>
                <a:ext cx="1693" cy="9451"/>
              </a:xfrm>
              <a:custGeom>
                <a:avLst/>
                <a:gdLst>
                  <a:gd name="connsiteX0" fmla="*/ 1694 w 1693"/>
                  <a:gd name="connsiteY0" fmla="*/ 0 h 9451"/>
                  <a:gd name="connsiteX1" fmla="*/ 1694 w 1693"/>
                  <a:gd name="connsiteY1" fmla="*/ 6069 h 9451"/>
                  <a:gd name="connsiteX2" fmla="*/ 0 w 1693"/>
                  <a:gd name="connsiteY2" fmla="*/ 9451 h 9451"/>
                  <a:gd name="connsiteX3" fmla="*/ 1694 w 1693"/>
                  <a:gd name="connsiteY3" fmla="*/ 0 h 9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" h="9451">
                    <a:moveTo>
                      <a:pt x="1694" y="0"/>
                    </a:moveTo>
                    <a:cubicBezTo>
                      <a:pt x="1445" y="2020"/>
                      <a:pt x="1445" y="4049"/>
                      <a:pt x="1694" y="6069"/>
                    </a:cubicBezTo>
                    <a:cubicBezTo>
                      <a:pt x="857" y="7044"/>
                      <a:pt x="279" y="8198"/>
                      <a:pt x="0" y="9451"/>
                    </a:cubicBezTo>
                    <a:cubicBezTo>
                      <a:pt x="379" y="6268"/>
                      <a:pt x="947" y="3114"/>
                      <a:pt x="169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84" name="Graphic 231">
              <a:extLst>
                <a:ext uri="{FF2B5EF4-FFF2-40B4-BE49-F238E27FC236}">
                  <a16:creationId xmlns:a16="http://schemas.microsoft.com/office/drawing/2014/main" id="{E29C1ED3-EE56-4D0A-9B08-4E05F102ADEB}"/>
                </a:ext>
              </a:extLst>
            </p:cNvPr>
            <p:cNvGrpSpPr/>
            <p:nvPr/>
          </p:nvGrpSpPr>
          <p:grpSpPr>
            <a:xfrm>
              <a:off x="398615" y="1018786"/>
              <a:ext cx="959365" cy="604685"/>
              <a:chOff x="398615" y="1018786"/>
              <a:chExt cx="959365" cy="604685"/>
            </a:xfrm>
            <a:solidFill>
              <a:srgbClr val="ECE8E4"/>
            </a:solidFill>
          </p:grpSpPr>
          <p:sp>
            <p:nvSpPr>
              <p:cNvPr id="2118" name="Freeform: Shape 2117">
                <a:extLst>
                  <a:ext uri="{FF2B5EF4-FFF2-40B4-BE49-F238E27FC236}">
                    <a16:creationId xmlns:a16="http://schemas.microsoft.com/office/drawing/2014/main" id="{B0703741-FD77-4223-BD5A-CDBEE9D931F0}"/>
                  </a:ext>
                </a:extLst>
              </p:cNvPr>
              <p:cNvSpPr/>
              <p:nvPr/>
            </p:nvSpPr>
            <p:spPr>
              <a:xfrm>
                <a:off x="398615" y="1486377"/>
                <a:ext cx="1188" cy="38402"/>
              </a:xfrm>
              <a:custGeom>
                <a:avLst/>
                <a:gdLst>
                  <a:gd name="connsiteX0" fmla="*/ 1188 w 1188"/>
                  <a:gd name="connsiteY0" fmla="*/ 0 h 38402"/>
                  <a:gd name="connsiteX1" fmla="*/ 1188 w 1188"/>
                  <a:gd name="connsiteY1" fmla="*/ 38402 h 38402"/>
                  <a:gd name="connsiteX2" fmla="*/ 1188 w 1188"/>
                  <a:gd name="connsiteY2" fmla="*/ 0 h 38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88" h="38402">
                    <a:moveTo>
                      <a:pt x="1188" y="0"/>
                    </a:moveTo>
                    <a:cubicBezTo>
                      <a:pt x="1188" y="12933"/>
                      <a:pt x="1188" y="25668"/>
                      <a:pt x="1188" y="38402"/>
                    </a:cubicBezTo>
                    <a:cubicBezTo>
                      <a:pt x="-396" y="25648"/>
                      <a:pt x="-396" y="12754"/>
                      <a:pt x="118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19" name="Freeform: Shape 2118">
                <a:extLst>
                  <a:ext uri="{FF2B5EF4-FFF2-40B4-BE49-F238E27FC236}">
                    <a16:creationId xmlns:a16="http://schemas.microsoft.com/office/drawing/2014/main" id="{735D9C56-6656-4E30-984F-BE0393C42CC7}"/>
                  </a:ext>
                </a:extLst>
              </p:cNvPr>
              <p:cNvSpPr/>
              <p:nvPr/>
            </p:nvSpPr>
            <p:spPr>
              <a:xfrm>
                <a:off x="1003247" y="1536121"/>
                <a:ext cx="34277" cy="843"/>
              </a:xfrm>
              <a:custGeom>
                <a:avLst/>
                <a:gdLst>
                  <a:gd name="connsiteX0" fmla="*/ 0 w 34277"/>
                  <a:gd name="connsiteY0" fmla="*/ 0 h 843"/>
                  <a:gd name="connsiteX1" fmla="*/ 34278 w 34277"/>
                  <a:gd name="connsiteY1" fmla="*/ 0 h 843"/>
                  <a:gd name="connsiteX2" fmla="*/ 0 w 34277"/>
                  <a:gd name="connsiteY2" fmla="*/ 0 h 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77" h="843">
                    <a:moveTo>
                      <a:pt x="0" y="0"/>
                    </a:moveTo>
                    <a:lnTo>
                      <a:pt x="34278" y="0"/>
                    </a:lnTo>
                    <a:cubicBezTo>
                      <a:pt x="22878" y="1124"/>
                      <a:pt x="11399" y="112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0" name="Freeform: Shape 2119">
                <a:extLst>
                  <a:ext uri="{FF2B5EF4-FFF2-40B4-BE49-F238E27FC236}">
                    <a16:creationId xmlns:a16="http://schemas.microsoft.com/office/drawing/2014/main" id="{57D43E4B-9F9B-4D33-84E0-D34EE447DDBD}"/>
                  </a:ext>
                </a:extLst>
              </p:cNvPr>
              <p:cNvSpPr/>
              <p:nvPr/>
            </p:nvSpPr>
            <p:spPr>
              <a:xfrm>
                <a:off x="1085255" y="1535126"/>
                <a:ext cx="15771" cy="6466"/>
              </a:xfrm>
              <a:custGeom>
                <a:avLst/>
                <a:gdLst>
                  <a:gd name="connsiteX0" fmla="*/ 15644 w 15771"/>
                  <a:gd name="connsiteY0" fmla="*/ 6467 h 6466"/>
                  <a:gd name="connsiteX1" fmla="*/ 0 w 15771"/>
                  <a:gd name="connsiteY1" fmla="*/ 0 h 6466"/>
                  <a:gd name="connsiteX2" fmla="*/ 15644 w 15771"/>
                  <a:gd name="connsiteY2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771" h="6466">
                    <a:moveTo>
                      <a:pt x="15644" y="6467"/>
                    </a:moveTo>
                    <a:cubicBezTo>
                      <a:pt x="11449" y="2398"/>
                      <a:pt x="5849" y="80"/>
                      <a:pt x="0" y="0"/>
                    </a:cubicBezTo>
                    <a:cubicBezTo>
                      <a:pt x="9466" y="100"/>
                      <a:pt x="16840" y="1492"/>
                      <a:pt x="15644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1" name="Freeform: Shape 2120">
                <a:extLst>
                  <a:ext uri="{FF2B5EF4-FFF2-40B4-BE49-F238E27FC236}">
                    <a16:creationId xmlns:a16="http://schemas.microsoft.com/office/drawing/2014/main" id="{90BEBF86-CB66-499D-83DE-02EFED618573}"/>
                  </a:ext>
                </a:extLst>
              </p:cNvPr>
              <p:cNvSpPr/>
              <p:nvPr/>
            </p:nvSpPr>
            <p:spPr>
              <a:xfrm>
                <a:off x="1167660" y="1568952"/>
                <a:ext cx="5181" cy="5173"/>
              </a:xfrm>
              <a:custGeom>
                <a:avLst/>
                <a:gdLst>
                  <a:gd name="connsiteX0" fmla="*/ 5182 w 5181"/>
                  <a:gd name="connsiteY0" fmla="*/ 0 h 5173"/>
                  <a:gd name="connsiteX1" fmla="*/ 0 w 5181"/>
                  <a:gd name="connsiteY1" fmla="*/ 5173 h 5173"/>
                  <a:gd name="connsiteX2" fmla="*/ 5182 w 5181"/>
                  <a:gd name="connsiteY2" fmla="*/ 0 h 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1" h="5173">
                    <a:moveTo>
                      <a:pt x="5182" y="0"/>
                    </a:moveTo>
                    <a:cubicBezTo>
                      <a:pt x="3986" y="2189"/>
                      <a:pt x="2192" y="3979"/>
                      <a:pt x="0" y="5173"/>
                    </a:cubicBezTo>
                    <a:cubicBezTo>
                      <a:pt x="2143" y="3930"/>
                      <a:pt x="3936" y="2139"/>
                      <a:pt x="518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2" name="Freeform: Shape 2121">
                <a:extLst>
                  <a:ext uri="{FF2B5EF4-FFF2-40B4-BE49-F238E27FC236}">
                    <a16:creationId xmlns:a16="http://schemas.microsoft.com/office/drawing/2014/main" id="{E7A56000-6585-4195-B5E2-ADD04A9BB96D}"/>
                  </a:ext>
                </a:extLst>
              </p:cNvPr>
              <p:cNvSpPr/>
              <p:nvPr/>
            </p:nvSpPr>
            <p:spPr>
              <a:xfrm>
                <a:off x="1291219" y="1580975"/>
                <a:ext cx="7174" cy="1408"/>
              </a:xfrm>
              <a:custGeom>
                <a:avLst/>
                <a:gdLst>
                  <a:gd name="connsiteX0" fmla="*/ 7174 w 7174"/>
                  <a:gd name="connsiteY0" fmla="*/ 214 h 1408"/>
                  <a:gd name="connsiteX1" fmla="*/ 0 w 7174"/>
                  <a:gd name="connsiteY1" fmla="*/ 1408 h 1408"/>
                  <a:gd name="connsiteX2" fmla="*/ 7174 w 7174"/>
                  <a:gd name="connsiteY2" fmla="*/ 214 h 1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4" h="1408">
                    <a:moveTo>
                      <a:pt x="7174" y="214"/>
                    </a:moveTo>
                    <a:cubicBezTo>
                      <a:pt x="4713" y="-94"/>
                      <a:pt x="2222" y="324"/>
                      <a:pt x="0" y="1408"/>
                    </a:cubicBezTo>
                    <a:cubicBezTo>
                      <a:pt x="2152" y="125"/>
                      <a:pt x="4713" y="-303"/>
                      <a:pt x="7174" y="21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3" name="Freeform: Shape 2122">
                <a:extLst>
                  <a:ext uri="{FF2B5EF4-FFF2-40B4-BE49-F238E27FC236}">
                    <a16:creationId xmlns:a16="http://schemas.microsoft.com/office/drawing/2014/main" id="{22EBB750-3547-4EAA-A386-07559E2132DC}"/>
                  </a:ext>
                </a:extLst>
              </p:cNvPr>
              <p:cNvSpPr/>
              <p:nvPr/>
            </p:nvSpPr>
            <p:spPr>
              <a:xfrm>
                <a:off x="1302279" y="1582184"/>
                <a:ext cx="8868" cy="4178"/>
              </a:xfrm>
              <a:custGeom>
                <a:avLst/>
                <a:gdLst>
                  <a:gd name="connsiteX0" fmla="*/ 0 w 8868"/>
                  <a:gd name="connsiteY0" fmla="*/ 0 h 4178"/>
                  <a:gd name="connsiteX1" fmla="*/ 8868 w 8868"/>
                  <a:gd name="connsiteY1" fmla="*/ 4178 h 4178"/>
                  <a:gd name="connsiteX2" fmla="*/ 0 w 8868"/>
                  <a:gd name="connsiteY2" fmla="*/ 0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68" h="4178">
                    <a:moveTo>
                      <a:pt x="0" y="0"/>
                    </a:moveTo>
                    <a:cubicBezTo>
                      <a:pt x="3109" y="1035"/>
                      <a:pt x="6088" y="2437"/>
                      <a:pt x="8868" y="4178"/>
                    </a:cubicBezTo>
                    <a:cubicBezTo>
                      <a:pt x="6048" y="2507"/>
                      <a:pt x="3079" y="111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4" name="Freeform: Shape 2123">
                <a:extLst>
                  <a:ext uri="{FF2B5EF4-FFF2-40B4-BE49-F238E27FC236}">
                    <a16:creationId xmlns:a16="http://schemas.microsoft.com/office/drawing/2014/main" id="{4FEC9021-1DA6-4064-B30D-07447B68B7DE}"/>
                  </a:ext>
                </a:extLst>
              </p:cNvPr>
              <p:cNvSpPr/>
              <p:nvPr/>
            </p:nvSpPr>
            <p:spPr>
              <a:xfrm>
                <a:off x="1308158" y="1079872"/>
                <a:ext cx="3387" cy="7362"/>
              </a:xfrm>
              <a:custGeom>
                <a:avLst/>
                <a:gdLst>
                  <a:gd name="connsiteX0" fmla="*/ 0 w 3387"/>
                  <a:gd name="connsiteY0" fmla="*/ 0 h 7362"/>
                  <a:gd name="connsiteX1" fmla="*/ 3388 w 3387"/>
                  <a:gd name="connsiteY1" fmla="*/ 7362 h 7362"/>
                  <a:gd name="connsiteX2" fmla="*/ 0 w 3387"/>
                  <a:gd name="connsiteY2" fmla="*/ 0 h 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7" h="7362">
                    <a:moveTo>
                      <a:pt x="0" y="0"/>
                    </a:moveTo>
                    <a:cubicBezTo>
                      <a:pt x="997" y="2388"/>
                      <a:pt x="2093" y="4875"/>
                      <a:pt x="3388" y="7362"/>
                    </a:cubicBezTo>
                    <a:cubicBezTo>
                      <a:pt x="1953" y="5064"/>
                      <a:pt x="817" y="258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5" name="Freeform: Shape 2124">
                <a:extLst>
                  <a:ext uri="{FF2B5EF4-FFF2-40B4-BE49-F238E27FC236}">
                    <a16:creationId xmlns:a16="http://schemas.microsoft.com/office/drawing/2014/main" id="{CBAA889F-F3D5-469C-9F32-A72093A40873}"/>
                  </a:ext>
                </a:extLst>
              </p:cNvPr>
              <p:cNvSpPr/>
              <p:nvPr/>
            </p:nvSpPr>
            <p:spPr>
              <a:xfrm>
                <a:off x="1313539" y="1589745"/>
                <a:ext cx="1195" cy="3084"/>
              </a:xfrm>
              <a:custGeom>
                <a:avLst/>
                <a:gdLst>
                  <a:gd name="connsiteX0" fmla="*/ 0 w 1195"/>
                  <a:gd name="connsiteY0" fmla="*/ 0 h 3084"/>
                  <a:gd name="connsiteX1" fmla="*/ 1196 w 1195"/>
                  <a:gd name="connsiteY1" fmla="*/ 3084 h 3084"/>
                  <a:gd name="connsiteX2" fmla="*/ 0 w 1195"/>
                  <a:gd name="connsiteY2" fmla="*/ 0 h 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5" h="3084">
                    <a:moveTo>
                      <a:pt x="0" y="0"/>
                    </a:moveTo>
                    <a:lnTo>
                      <a:pt x="1196" y="3084"/>
                    </a:lnTo>
                    <a:cubicBezTo>
                      <a:pt x="598" y="2149"/>
                      <a:pt x="189" y="10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6" name="Freeform: Shape 2125">
                <a:extLst>
                  <a:ext uri="{FF2B5EF4-FFF2-40B4-BE49-F238E27FC236}">
                    <a16:creationId xmlns:a16="http://schemas.microsoft.com/office/drawing/2014/main" id="{94BB7CDC-287D-4577-8107-5807B6786FA3}"/>
                  </a:ext>
                </a:extLst>
              </p:cNvPr>
              <p:cNvSpPr/>
              <p:nvPr/>
            </p:nvSpPr>
            <p:spPr>
              <a:xfrm>
                <a:off x="1315045" y="1592829"/>
                <a:ext cx="88" cy="596"/>
              </a:xfrm>
              <a:custGeom>
                <a:avLst/>
                <a:gdLst>
                  <a:gd name="connsiteX0" fmla="*/ 89 w 88"/>
                  <a:gd name="connsiteY0" fmla="*/ 597 h 596"/>
                  <a:gd name="connsiteX1" fmla="*/ 89 w 88"/>
                  <a:gd name="connsiteY1" fmla="*/ 0 h 596"/>
                  <a:gd name="connsiteX2" fmla="*/ 89 w 88"/>
                  <a:gd name="connsiteY2" fmla="*/ 597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" h="596">
                    <a:moveTo>
                      <a:pt x="89" y="597"/>
                    </a:moveTo>
                    <a:cubicBezTo>
                      <a:pt x="49" y="398"/>
                      <a:pt x="49" y="199"/>
                      <a:pt x="89" y="0"/>
                    </a:cubicBezTo>
                    <a:cubicBezTo>
                      <a:pt x="89" y="0"/>
                      <a:pt x="-111" y="497"/>
                      <a:pt x="89" y="5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7" name="Freeform: Shape 2126">
                <a:extLst>
                  <a:ext uri="{FF2B5EF4-FFF2-40B4-BE49-F238E27FC236}">
                    <a16:creationId xmlns:a16="http://schemas.microsoft.com/office/drawing/2014/main" id="{91199C4E-8F90-4D15-9600-856E74EBA418}"/>
                  </a:ext>
                </a:extLst>
              </p:cNvPr>
              <p:cNvSpPr/>
              <p:nvPr/>
            </p:nvSpPr>
            <p:spPr>
              <a:xfrm>
                <a:off x="1308457" y="1059576"/>
                <a:ext cx="12854" cy="11241"/>
              </a:xfrm>
              <a:custGeom>
                <a:avLst/>
                <a:gdLst>
                  <a:gd name="connsiteX0" fmla="*/ 0 w 12854"/>
                  <a:gd name="connsiteY0" fmla="*/ 11242 h 11241"/>
                  <a:gd name="connsiteX1" fmla="*/ 10662 w 12854"/>
                  <a:gd name="connsiteY1" fmla="*/ 1293 h 11241"/>
                  <a:gd name="connsiteX2" fmla="*/ 12854 w 12854"/>
                  <a:gd name="connsiteY2" fmla="*/ 0 h 11241"/>
                  <a:gd name="connsiteX3" fmla="*/ 0 w 12854"/>
                  <a:gd name="connsiteY3" fmla="*/ 11242 h 11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4" h="11241">
                    <a:moveTo>
                      <a:pt x="0" y="11242"/>
                    </a:moveTo>
                    <a:cubicBezTo>
                      <a:pt x="2302" y="6805"/>
                      <a:pt x="6068" y="3293"/>
                      <a:pt x="10662" y="1293"/>
                    </a:cubicBezTo>
                    <a:cubicBezTo>
                      <a:pt x="11360" y="806"/>
                      <a:pt x="12097" y="378"/>
                      <a:pt x="12854" y="0"/>
                    </a:cubicBezTo>
                    <a:cubicBezTo>
                      <a:pt x="7882" y="2885"/>
                      <a:pt x="3517" y="6705"/>
                      <a:pt x="0" y="1124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8" name="Freeform: Shape 2127">
                <a:extLst>
                  <a:ext uri="{FF2B5EF4-FFF2-40B4-BE49-F238E27FC236}">
                    <a16:creationId xmlns:a16="http://schemas.microsoft.com/office/drawing/2014/main" id="{8B479B14-1D95-40FE-ADDC-B64B236E7ED0}"/>
                  </a:ext>
                </a:extLst>
              </p:cNvPr>
              <p:cNvSpPr/>
              <p:nvPr/>
            </p:nvSpPr>
            <p:spPr>
              <a:xfrm>
                <a:off x="1319219" y="1101162"/>
                <a:ext cx="6476" cy="8854"/>
              </a:xfrm>
              <a:custGeom>
                <a:avLst/>
                <a:gdLst>
                  <a:gd name="connsiteX0" fmla="*/ 0 w 6476"/>
                  <a:gd name="connsiteY0" fmla="*/ 0 h 8854"/>
                  <a:gd name="connsiteX1" fmla="*/ 6477 w 6476"/>
                  <a:gd name="connsiteY1" fmla="*/ 8854 h 8854"/>
                  <a:gd name="connsiteX2" fmla="*/ 0 w 6476"/>
                  <a:gd name="connsiteY2" fmla="*/ 0 h 8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76" h="8854">
                    <a:moveTo>
                      <a:pt x="0" y="0"/>
                    </a:moveTo>
                    <a:cubicBezTo>
                      <a:pt x="1973" y="3084"/>
                      <a:pt x="4135" y="6039"/>
                      <a:pt x="6477" y="8854"/>
                    </a:cubicBezTo>
                    <a:cubicBezTo>
                      <a:pt x="3358" y="6735"/>
                      <a:pt x="1076" y="361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29" name="Freeform: Shape 2128">
                <a:extLst>
                  <a:ext uri="{FF2B5EF4-FFF2-40B4-BE49-F238E27FC236}">
                    <a16:creationId xmlns:a16="http://schemas.microsoft.com/office/drawing/2014/main" id="{9C3264B7-17F0-4EB9-8796-5586646EE1D6}"/>
                  </a:ext>
                </a:extLst>
              </p:cNvPr>
              <p:cNvSpPr/>
              <p:nvPr/>
            </p:nvSpPr>
            <p:spPr>
              <a:xfrm>
                <a:off x="1322607" y="1052413"/>
                <a:ext cx="7273" cy="6466"/>
              </a:xfrm>
              <a:custGeom>
                <a:avLst/>
                <a:gdLst>
                  <a:gd name="connsiteX0" fmla="*/ 7274 w 7273"/>
                  <a:gd name="connsiteY0" fmla="*/ 0 h 6466"/>
                  <a:gd name="connsiteX1" fmla="*/ 5480 w 7273"/>
                  <a:gd name="connsiteY1" fmla="*/ 2686 h 6466"/>
                  <a:gd name="connsiteX2" fmla="*/ 0 w 7273"/>
                  <a:gd name="connsiteY2" fmla="*/ 6467 h 6466"/>
                  <a:gd name="connsiteX3" fmla="*/ 7274 w 7273"/>
                  <a:gd name="connsiteY3" fmla="*/ 0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273" h="6466">
                    <a:moveTo>
                      <a:pt x="7274" y="0"/>
                    </a:moveTo>
                    <a:lnTo>
                      <a:pt x="5480" y="2686"/>
                    </a:lnTo>
                    <a:lnTo>
                      <a:pt x="0" y="6467"/>
                    </a:lnTo>
                    <a:cubicBezTo>
                      <a:pt x="2720" y="4666"/>
                      <a:pt x="5162" y="2487"/>
                      <a:pt x="727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0" name="Freeform: Shape 2129">
                <a:extLst>
                  <a:ext uri="{FF2B5EF4-FFF2-40B4-BE49-F238E27FC236}">
                    <a16:creationId xmlns:a16="http://schemas.microsoft.com/office/drawing/2014/main" id="{05B8F1CE-3F28-4020-91E3-31C578378760}"/>
                  </a:ext>
                </a:extLst>
              </p:cNvPr>
              <p:cNvSpPr/>
              <p:nvPr/>
            </p:nvSpPr>
            <p:spPr>
              <a:xfrm>
                <a:off x="1331077" y="1113200"/>
                <a:ext cx="14049" cy="5073"/>
              </a:xfrm>
              <a:custGeom>
                <a:avLst/>
                <a:gdLst>
                  <a:gd name="connsiteX0" fmla="*/ 14050 w 14049"/>
                  <a:gd name="connsiteY0" fmla="*/ 5074 h 5073"/>
                  <a:gd name="connsiteX1" fmla="*/ 0 w 14049"/>
                  <a:gd name="connsiteY1" fmla="*/ 0 h 5073"/>
                  <a:gd name="connsiteX2" fmla="*/ 14050 w 14049"/>
                  <a:gd name="connsiteY2" fmla="*/ 5074 h 5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49" h="5073">
                    <a:moveTo>
                      <a:pt x="14050" y="5074"/>
                    </a:moveTo>
                    <a:cubicBezTo>
                      <a:pt x="9466" y="3184"/>
                      <a:pt x="4085" y="1990"/>
                      <a:pt x="0" y="0"/>
                    </a:cubicBezTo>
                    <a:cubicBezTo>
                      <a:pt x="5092" y="239"/>
                      <a:pt x="9984" y="2000"/>
                      <a:pt x="14050" y="50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1" name="Freeform: Shape 2130">
                <a:extLst>
                  <a:ext uri="{FF2B5EF4-FFF2-40B4-BE49-F238E27FC236}">
                    <a16:creationId xmlns:a16="http://schemas.microsoft.com/office/drawing/2014/main" id="{6F4D8206-DF40-4C69-A047-8A8E8889FDDB}"/>
                  </a:ext>
                </a:extLst>
              </p:cNvPr>
              <p:cNvSpPr/>
              <p:nvPr/>
            </p:nvSpPr>
            <p:spPr>
              <a:xfrm>
                <a:off x="1334301" y="1572235"/>
                <a:ext cx="6141" cy="18305"/>
              </a:xfrm>
              <a:custGeom>
                <a:avLst/>
                <a:gdLst>
                  <a:gd name="connsiteX0" fmla="*/ 6142 w 6141"/>
                  <a:gd name="connsiteY0" fmla="*/ 18306 h 18305"/>
                  <a:gd name="connsiteX1" fmla="*/ 761 w 6141"/>
                  <a:gd name="connsiteY1" fmla="*/ 1293 h 18305"/>
                  <a:gd name="connsiteX2" fmla="*/ 1459 w 6141"/>
                  <a:gd name="connsiteY2" fmla="*/ 0 h 18305"/>
                  <a:gd name="connsiteX3" fmla="*/ 6142 w 6141"/>
                  <a:gd name="connsiteY3" fmla="*/ 18306 h 18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41" h="18305">
                    <a:moveTo>
                      <a:pt x="6142" y="18306"/>
                    </a:moveTo>
                    <a:cubicBezTo>
                      <a:pt x="880" y="14366"/>
                      <a:pt x="-1282" y="7531"/>
                      <a:pt x="761" y="1293"/>
                    </a:cubicBezTo>
                    <a:cubicBezTo>
                      <a:pt x="910" y="826"/>
                      <a:pt x="1150" y="388"/>
                      <a:pt x="1459" y="0"/>
                    </a:cubicBezTo>
                    <a:cubicBezTo>
                      <a:pt x="-1202" y="6467"/>
                      <a:pt x="701" y="13908"/>
                      <a:pt x="6142" y="1830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2" name="Freeform: Shape 2131">
                <a:extLst>
                  <a:ext uri="{FF2B5EF4-FFF2-40B4-BE49-F238E27FC236}">
                    <a16:creationId xmlns:a16="http://schemas.microsoft.com/office/drawing/2014/main" id="{70BC10F1-CA92-40B2-A886-C05986D9566D}"/>
                  </a:ext>
                </a:extLst>
              </p:cNvPr>
              <p:cNvSpPr/>
              <p:nvPr/>
            </p:nvSpPr>
            <p:spPr>
              <a:xfrm>
                <a:off x="1338052" y="1018786"/>
                <a:ext cx="3987" cy="19897"/>
              </a:xfrm>
              <a:custGeom>
                <a:avLst/>
                <a:gdLst>
                  <a:gd name="connsiteX0" fmla="*/ 0 w 3987"/>
                  <a:gd name="connsiteY0" fmla="*/ 19897 h 19897"/>
                  <a:gd name="connsiteX1" fmla="*/ 3886 w 3987"/>
                  <a:gd name="connsiteY1" fmla="*/ 0 h 19897"/>
                  <a:gd name="connsiteX2" fmla="*/ 3886 w 3987"/>
                  <a:gd name="connsiteY2" fmla="*/ 0 h 19897"/>
                  <a:gd name="connsiteX3" fmla="*/ 0 w 3987"/>
                  <a:gd name="connsiteY3" fmla="*/ 19897 h 1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7" h="19897">
                    <a:moveTo>
                      <a:pt x="0" y="19897"/>
                    </a:moveTo>
                    <a:cubicBezTo>
                      <a:pt x="2451" y="13540"/>
                      <a:pt x="3767" y="6805"/>
                      <a:pt x="3886" y="0"/>
                    </a:cubicBezTo>
                    <a:lnTo>
                      <a:pt x="3886" y="0"/>
                    </a:lnTo>
                    <a:cubicBezTo>
                      <a:pt x="4384" y="6855"/>
                      <a:pt x="3039" y="13729"/>
                      <a:pt x="0" y="198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3" name="Freeform: Shape 2132">
                <a:extLst>
                  <a:ext uri="{FF2B5EF4-FFF2-40B4-BE49-F238E27FC236}">
                    <a16:creationId xmlns:a16="http://schemas.microsoft.com/office/drawing/2014/main" id="{BF2490A2-5FA0-40B3-858A-2280A693081F}"/>
                  </a:ext>
                </a:extLst>
              </p:cNvPr>
              <p:cNvSpPr/>
              <p:nvPr/>
            </p:nvSpPr>
            <p:spPr>
              <a:xfrm>
                <a:off x="1336059" y="1619591"/>
                <a:ext cx="7174" cy="596"/>
              </a:xfrm>
              <a:custGeom>
                <a:avLst/>
                <a:gdLst>
                  <a:gd name="connsiteX0" fmla="*/ 0 w 7174"/>
                  <a:gd name="connsiteY0" fmla="*/ 597 h 596"/>
                  <a:gd name="connsiteX1" fmla="*/ 7174 w 7174"/>
                  <a:gd name="connsiteY1" fmla="*/ 0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74" h="596">
                    <a:moveTo>
                      <a:pt x="0" y="597"/>
                    </a:moveTo>
                    <a:cubicBezTo>
                      <a:pt x="1993" y="597"/>
                      <a:pt x="4683" y="0"/>
                      <a:pt x="717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4" name="Freeform: Shape 2133">
                <a:extLst>
                  <a:ext uri="{FF2B5EF4-FFF2-40B4-BE49-F238E27FC236}">
                    <a16:creationId xmlns:a16="http://schemas.microsoft.com/office/drawing/2014/main" id="{F5EC21B4-B466-4D8A-856D-870F1A7F2E38}"/>
                  </a:ext>
                </a:extLst>
              </p:cNvPr>
              <p:cNvSpPr/>
              <p:nvPr/>
            </p:nvSpPr>
            <p:spPr>
              <a:xfrm>
                <a:off x="1343233" y="1554924"/>
                <a:ext cx="1594" cy="3780"/>
              </a:xfrm>
              <a:custGeom>
                <a:avLst/>
                <a:gdLst>
                  <a:gd name="connsiteX0" fmla="*/ 1594 w 1594"/>
                  <a:gd name="connsiteY0" fmla="*/ 0 h 3780"/>
                  <a:gd name="connsiteX1" fmla="*/ 1594 w 1594"/>
                  <a:gd name="connsiteY1" fmla="*/ 1592 h 3780"/>
                  <a:gd name="connsiteX2" fmla="*/ 0 w 1594"/>
                  <a:gd name="connsiteY2" fmla="*/ 3781 h 3780"/>
                  <a:gd name="connsiteX3" fmla="*/ 1594 w 1594"/>
                  <a:gd name="connsiteY3" fmla="*/ 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94" h="3780">
                    <a:moveTo>
                      <a:pt x="1594" y="0"/>
                    </a:moveTo>
                    <a:cubicBezTo>
                      <a:pt x="1544" y="527"/>
                      <a:pt x="1544" y="1064"/>
                      <a:pt x="1594" y="1592"/>
                    </a:cubicBezTo>
                    <a:lnTo>
                      <a:pt x="0" y="3781"/>
                    </a:lnTo>
                    <a:cubicBezTo>
                      <a:pt x="688" y="2597"/>
                      <a:pt x="1225" y="1323"/>
                      <a:pt x="159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5" name="Freeform: Shape 2134">
                <a:extLst>
                  <a:ext uri="{FF2B5EF4-FFF2-40B4-BE49-F238E27FC236}">
                    <a16:creationId xmlns:a16="http://schemas.microsoft.com/office/drawing/2014/main" id="{DD8AED42-B060-4E64-B7C0-DE7A7816B43D}"/>
                  </a:ext>
                </a:extLst>
              </p:cNvPr>
              <p:cNvSpPr/>
              <p:nvPr/>
            </p:nvSpPr>
            <p:spPr>
              <a:xfrm>
                <a:off x="1345027" y="1546766"/>
                <a:ext cx="1693" cy="3382"/>
              </a:xfrm>
              <a:custGeom>
                <a:avLst/>
                <a:gdLst>
                  <a:gd name="connsiteX0" fmla="*/ 0 w 1693"/>
                  <a:gd name="connsiteY0" fmla="*/ 1890 h 3382"/>
                  <a:gd name="connsiteX1" fmla="*/ 1694 w 1693"/>
                  <a:gd name="connsiteY1" fmla="*/ 0 h 3382"/>
                  <a:gd name="connsiteX2" fmla="*/ 199 w 1693"/>
                  <a:gd name="connsiteY2" fmla="*/ 3383 h 3382"/>
                  <a:gd name="connsiteX3" fmla="*/ 0 w 1693"/>
                  <a:gd name="connsiteY3" fmla="*/ 1890 h 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" h="3382">
                    <a:moveTo>
                      <a:pt x="0" y="1890"/>
                    </a:moveTo>
                    <a:lnTo>
                      <a:pt x="1694" y="0"/>
                    </a:lnTo>
                    <a:cubicBezTo>
                      <a:pt x="986" y="1025"/>
                      <a:pt x="478" y="2169"/>
                      <a:pt x="199" y="3383"/>
                    </a:cubicBezTo>
                    <a:cubicBezTo>
                      <a:pt x="189" y="2875"/>
                      <a:pt x="120" y="2378"/>
                      <a:pt x="0" y="189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6" name="Freeform: Shape 2135">
                <a:extLst>
                  <a:ext uri="{FF2B5EF4-FFF2-40B4-BE49-F238E27FC236}">
                    <a16:creationId xmlns:a16="http://schemas.microsoft.com/office/drawing/2014/main" id="{0026CC48-610C-41DC-9410-25CFFADDAB0A}"/>
                  </a:ext>
                </a:extLst>
              </p:cNvPr>
              <p:cNvSpPr/>
              <p:nvPr/>
            </p:nvSpPr>
            <p:spPr>
              <a:xfrm>
                <a:off x="1347020" y="1538011"/>
                <a:ext cx="996" cy="1392"/>
              </a:xfrm>
              <a:custGeom>
                <a:avLst/>
                <a:gdLst>
                  <a:gd name="connsiteX0" fmla="*/ 797 w 996"/>
                  <a:gd name="connsiteY0" fmla="*/ 1393 h 1392"/>
                  <a:gd name="connsiteX1" fmla="*/ 0 w 996"/>
                  <a:gd name="connsiteY1" fmla="*/ 696 h 1392"/>
                  <a:gd name="connsiteX2" fmla="*/ 997 w 996"/>
                  <a:gd name="connsiteY2" fmla="*/ 0 h 1392"/>
                  <a:gd name="connsiteX3" fmla="*/ 797 w 996"/>
                  <a:gd name="connsiteY3" fmla="*/ 1393 h 1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" h="1392">
                    <a:moveTo>
                      <a:pt x="797" y="1393"/>
                    </a:moveTo>
                    <a:cubicBezTo>
                      <a:pt x="608" y="1084"/>
                      <a:pt x="329" y="846"/>
                      <a:pt x="0" y="696"/>
                    </a:cubicBezTo>
                    <a:cubicBezTo>
                      <a:pt x="299" y="418"/>
                      <a:pt x="638" y="189"/>
                      <a:pt x="997" y="0"/>
                    </a:cubicBezTo>
                    <a:cubicBezTo>
                      <a:pt x="827" y="448"/>
                      <a:pt x="757" y="915"/>
                      <a:pt x="797" y="13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7" name="Freeform: Shape 2136">
                <a:extLst>
                  <a:ext uri="{FF2B5EF4-FFF2-40B4-BE49-F238E27FC236}">
                    <a16:creationId xmlns:a16="http://schemas.microsoft.com/office/drawing/2014/main" id="{9B88C5B1-B660-44C7-A8D5-141BF92F73EF}"/>
                  </a:ext>
                </a:extLst>
              </p:cNvPr>
              <p:cNvSpPr/>
              <p:nvPr/>
            </p:nvSpPr>
            <p:spPr>
              <a:xfrm>
                <a:off x="1347618" y="1620387"/>
                <a:ext cx="1992" cy="2487"/>
              </a:xfrm>
              <a:custGeom>
                <a:avLst/>
                <a:gdLst>
                  <a:gd name="connsiteX0" fmla="*/ 0 w 1992"/>
                  <a:gd name="connsiteY0" fmla="*/ 0 h 2487"/>
                  <a:gd name="connsiteX1" fmla="*/ 1993 w 1992"/>
                  <a:gd name="connsiteY1" fmla="*/ 2487 h 2487"/>
                  <a:gd name="connsiteX2" fmla="*/ 0 w 1992"/>
                  <a:gd name="connsiteY2" fmla="*/ 0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" h="2487">
                    <a:moveTo>
                      <a:pt x="0" y="0"/>
                    </a:moveTo>
                    <a:cubicBezTo>
                      <a:pt x="917" y="587"/>
                      <a:pt x="1624" y="1462"/>
                      <a:pt x="1993" y="2487"/>
                    </a:cubicBezTo>
                    <a:cubicBezTo>
                      <a:pt x="966" y="2029"/>
                      <a:pt x="219" y="110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8" name="Freeform: Shape 2137">
                <a:extLst>
                  <a:ext uri="{FF2B5EF4-FFF2-40B4-BE49-F238E27FC236}">
                    <a16:creationId xmlns:a16="http://schemas.microsoft.com/office/drawing/2014/main" id="{1B1D7914-3376-4AE0-A70F-2406BB427D03}"/>
                  </a:ext>
                </a:extLst>
              </p:cNvPr>
              <p:cNvSpPr/>
              <p:nvPr/>
            </p:nvSpPr>
            <p:spPr>
              <a:xfrm>
                <a:off x="1348016" y="1526968"/>
                <a:ext cx="2491" cy="3084"/>
              </a:xfrm>
              <a:custGeom>
                <a:avLst/>
                <a:gdLst>
                  <a:gd name="connsiteX0" fmla="*/ 897 w 2491"/>
                  <a:gd name="connsiteY0" fmla="*/ 3084 h 3084"/>
                  <a:gd name="connsiteX1" fmla="*/ 0 w 2491"/>
                  <a:gd name="connsiteY1" fmla="*/ 1791 h 3084"/>
                  <a:gd name="connsiteX2" fmla="*/ 2491 w 2491"/>
                  <a:gd name="connsiteY2" fmla="*/ 0 h 3084"/>
                  <a:gd name="connsiteX3" fmla="*/ 897 w 2491"/>
                  <a:gd name="connsiteY3" fmla="*/ 3084 h 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1" h="3084">
                    <a:moveTo>
                      <a:pt x="897" y="3084"/>
                    </a:moveTo>
                    <a:lnTo>
                      <a:pt x="0" y="1791"/>
                    </a:lnTo>
                    <a:cubicBezTo>
                      <a:pt x="787" y="1144"/>
                      <a:pt x="1624" y="547"/>
                      <a:pt x="2491" y="0"/>
                    </a:cubicBezTo>
                    <a:cubicBezTo>
                      <a:pt x="1565" y="776"/>
                      <a:pt x="986" y="1880"/>
                      <a:pt x="897" y="30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39" name="Freeform: Shape 2138">
                <a:extLst>
                  <a:ext uri="{FF2B5EF4-FFF2-40B4-BE49-F238E27FC236}">
                    <a16:creationId xmlns:a16="http://schemas.microsoft.com/office/drawing/2014/main" id="{1C00F463-7D0C-489D-9A8E-EDA50B366794}"/>
                  </a:ext>
                </a:extLst>
              </p:cNvPr>
              <p:cNvSpPr/>
              <p:nvPr/>
            </p:nvSpPr>
            <p:spPr>
              <a:xfrm>
                <a:off x="1348714" y="1541891"/>
                <a:ext cx="1295" cy="1989"/>
              </a:xfrm>
              <a:custGeom>
                <a:avLst/>
                <a:gdLst>
                  <a:gd name="connsiteX0" fmla="*/ 498 w 1295"/>
                  <a:gd name="connsiteY0" fmla="*/ 0 h 1989"/>
                  <a:gd name="connsiteX1" fmla="*/ 1295 w 1295"/>
                  <a:gd name="connsiteY1" fmla="*/ 696 h 1989"/>
                  <a:gd name="connsiteX2" fmla="*/ 0 w 1295"/>
                  <a:gd name="connsiteY2" fmla="*/ 1990 h 1989"/>
                  <a:gd name="connsiteX3" fmla="*/ 498 w 1295"/>
                  <a:gd name="connsiteY3" fmla="*/ 0 h 1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5" h="1989">
                    <a:moveTo>
                      <a:pt x="498" y="0"/>
                    </a:moveTo>
                    <a:lnTo>
                      <a:pt x="1295" y="696"/>
                    </a:lnTo>
                    <a:lnTo>
                      <a:pt x="0" y="1990"/>
                    </a:lnTo>
                    <a:cubicBezTo>
                      <a:pt x="389" y="1403"/>
                      <a:pt x="568" y="696"/>
                      <a:pt x="4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40" name="Freeform: Shape 2139">
                <a:extLst>
                  <a:ext uri="{FF2B5EF4-FFF2-40B4-BE49-F238E27FC236}">
                    <a16:creationId xmlns:a16="http://schemas.microsoft.com/office/drawing/2014/main" id="{7FEE98AF-B779-4619-841C-AED4B49060E7}"/>
                  </a:ext>
                </a:extLst>
              </p:cNvPr>
              <p:cNvSpPr/>
              <p:nvPr/>
            </p:nvSpPr>
            <p:spPr>
              <a:xfrm>
                <a:off x="1349212" y="1602778"/>
                <a:ext cx="3786" cy="8456"/>
              </a:xfrm>
              <a:custGeom>
                <a:avLst/>
                <a:gdLst>
                  <a:gd name="connsiteX0" fmla="*/ 3787 w 3786"/>
                  <a:gd name="connsiteY0" fmla="*/ 8456 h 8456"/>
                  <a:gd name="connsiteX1" fmla="*/ 0 w 3786"/>
                  <a:gd name="connsiteY1" fmla="*/ 0 h 8456"/>
                  <a:gd name="connsiteX2" fmla="*/ 3787 w 3786"/>
                  <a:gd name="connsiteY2" fmla="*/ 8456 h 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86" h="8456">
                    <a:moveTo>
                      <a:pt x="3787" y="8456"/>
                    </a:moveTo>
                    <a:cubicBezTo>
                      <a:pt x="2123" y="5840"/>
                      <a:pt x="847" y="2985"/>
                      <a:pt x="0" y="0"/>
                    </a:cubicBezTo>
                    <a:cubicBezTo>
                      <a:pt x="1575" y="2666"/>
                      <a:pt x="2840" y="5502"/>
                      <a:pt x="3787" y="845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41" name="Freeform: Shape 2140">
                <a:extLst>
                  <a:ext uri="{FF2B5EF4-FFF2-40B4-BE49-F238E27FC236}">
                    <a16:creationId xmlns:a16="http://schemas.microsoft.com/office/drawing/2014/main" id="{FC7F392C-CD21-4313-9E71-A6A928FF9A4A}"/>
                  </a:ext>
                </a:extLst>
              </p:cNvPr>
              <p:cNvSpPr/>
              <p:nvPr/>
            </p:nvSpPr>
            <p:spPr>
              <a:xfrm>
                <a:off x="1349710" y="1533534"/>
                <a:ext cx="1295" cy="2288"/>
              </a:xfrm>
              <a:custGeom>
                <a:avLst/>
                <a:gdLst>
                  <a:gd name="connsiteX0" fmla="*/ 399 w 1295"/>
                  <a:gd name="connsiteY0" fmla="*/ 0 h 2288"/>
                  <a:gd name="connsiteX1" fmla="*/ 1295 w 1295"/>
                  <a:gd name="connsiteY1" fmla="*/ 1094 h 2288"/>
                  <a:gd name="connsiteX2" fmla="*/ 0 w 1295"/>
                  <a:gd name="connsiteY2" fmla="*/ 2288 h 2288"/>
                  <a:gd name="connsiteX3" fmla="*/ 399 w 1295"/>
                  <a:gd name="connsiteY3" fmla="*/ 0 h 2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5" h="2288">
                    <a:moveTo>
                      <a:pt x="399" y="0"/>
                    </a:moveTo>
                    <a:lnTo>
                      <a:pt x="1295" y="1094"/>
                    </a:lnTo>
                    <a:lnTo>
                      <a:pt x="0" y="2288"/>
                    </a:lnTo>
                    <a:cubicBezTo>
                      <a:pt x="389" y="1592"/>
                      <a:pt x="528" y="786"/>
                      <a:pt x="3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42" name="Freeform: Shape 2141">
                <a:extLst>
                  <a:ext uri="{FF2B5EF4-FFF2-40B4-BE49-F238E27FC236}">
                    <a16:creationId xmlns:a16="http://schemas.microsoft.com/office/drawing/2014/main" id="{22D73FD6-18FC-4C32-A987-43A97C88F578}"/>
                  </a:ext>
                </a:extLst>
              </p:cNvPr>
              <p:cNvSpPr/>
              <p:nvPr/>
            </p:nvSpPr>
            <p:spPr>
              <a:xfrm>
                <a:off x="1352969" y="1496824"/>
                <a:ext cx="925" cy="7063"/>
              </a:xfrm>
              <a:custGeom>
                <a:avLst/>
                <a:gdLst>
                  <a:gd name="connsiteX0" fmla="*/ 926 w 925"/>
                  <a:gd name="connsiteY0" fmla="*/ 7064 h 7063"/>
                  <a:gd name="connsiteX1" fmla="*/ 29 w 925"/>
                  <a:gd name="connsiteY1" fmla="*/ 0 h 7063"/>
                  <a:gd name="connsiteX2" fmla="*/ 926 w 925"/>
                  <a:gd name="connsiteY2" fmla="*/ 7064 h 7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5" h="7063">
                    <a:moveTo>
                      <a:pt x="926" y="7064"/>
                    </a:moveTo>
                    <a:cubicBezTo>
                      <a:pt x="208" y="4785"/>
                      <a:pt x="-101" y="2388"/>
                      <a:pt x="29" y="0"/>
                    </a:cubicBezTo>
                    <a:cubicBezTo>
                      <a:pt x="228" y="1592"/>
                      <a:pt x="527" y="4178"/>
                      <a:pt x="926" y="706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43" name="Freeform: Shape 2142">
                <a:extLst>
                  <a:ext uri="{FF2B5EF4-FFF2-40B4-BE49-F238E27FC236}">
                    <a16:creationId xmlns:a16="http://schemas.microsoft.com/office/drawing/2014/main" id="{6C935165-9A8A-4449-A64F-5851FDC22D61}"/>
                  </a:ext>
                </a:extLst>
              </p:cNvPr>
              <p:cNvSpPr/>
              <p:nvPr/>
            </p:nvSpPr>
            <p:spPr>
              <a:xfrm>
                <a:off x="1351703" y="1622874"/>
                <a:ext cx="2989" cy="598"/>
              </a:xfrm>
              <a:custGeom>
                <a:avLst/>
                <a:gdLst>
                  <a:gd name="connsiteX0" fmla="*/ 0 w 2989"/>
                  <a:gd name="connsiteY0" fmla="*/ 597 h 598"/>
                  <a:gd name="connsiteX1" fmla="*/ 2990 w 2989"/>
                  <a:gd name="connsiteY1" fmla="*/ 0 h 598"/>
                  <a:gd name="connsiteX2" fmla="*/ 0 w 2989"/>
                  <a:gd name="connsiteY2" fmla="*/ 597 h 5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598">
                    <a:moveTo>
                      <a:pt x="0" y="597"/>
                    </a:moveTo>
                    <a:cubicBezTo>
                      <a:pt x="947" y="209"/>
                      <a:pt x="1963" y="10"/>
                      <a:pt x="2990" y="0"/>
                    </a:cubicBezTo>
                    <a:cubicBezTo>
                      <a:pt x="2053" y="418"/>
                      <a:pt x="1027" y="617"/>
                      <a:pt x="0" y="5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44" name="Freeform: Shape 2143">
                <a:extLst>
                  <a:ext uri="{FF2B5EF4-FFF2-40B4-BE49-F238E27FC236}">
                    <a16:creationId xmlns:a16="http://schemas.microsoft.com/office/drawing/2014/main" id="{D14E5CEF-2846-435C-B43C-566106F6F53C}"/>
                  </a:ext>
                </a:extLst>
              </p:cNvPr>
              <p:cNvSpPr/>
              <p:nvPr/>
            </p:nvSpPr>
            <p:spPr>
              <a:xfrm>
                <a:off x="1353895" y="1522889"/>
                <a:ext cx="1295" cy="1492"/>
              </a:xfrm>
              <a:custGeom>
                <a:avLst/>
                <a:gdLst>
                  <a:gd name="connsiteX0" fmla="*/ 0 w 1295"/>
                  <a:gd name="connsiteY0" fmla="*/ 1492 h 1492"/>
                  <a:gd name="connsiteX1" fmla="*/ 1295 w 1295"/>
                  <a:gd name="connsiteY1" fmla="*/ 0 h 1492"/>
                  <a:gd name="connsiteX2" fmla="*/ 1295 w 1295"/>
                  <a:gd name="connsiteY2" fmla="*/ 895 h 1492"/>
                  <a:gd name="connsiteX3" fmla="*/ 0 w 1295"/>
                  <a:gd name="connsiteY3" fmla="*/ 1492 h 1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5" h="1492">
                    <a:moveTo>
                      <a:pt x="0" y="1492"/>
                    </a:moveTo>
                    <a:cubicBezTo>
                      <a:pt x="488" y="1045"/>
                      <a:pt x="927" y="547"/>
                      <a:pt x="1295" y="0"/>
                    </a:cubicBezTo>
                    <a:cubicBezTo>
                      <a:pt x="1295" y="0"/>
                      <a:pt x="1295" y="597"/>
                      <a:pt x="1295" y="895"/>
                    </a:cubicBezTo>
                    <a:cubicBezTo>
                      <a:pt x="837" y="1045"/>
                      <a:pt x="409" y="1244"/>
                      <a:pt x="0" y="149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45" name="Freeform: Shape 2144">
                <a:extLst>
                  <a:ext uri="{FF2B5EF4-FFF2-40B4-BE49-F238E27FC236}">
                    <a16:creationId xmlns:a16="http://schemas.microsoft.com/office/drawing/2014/main" id="{8735E2D3-45E1-4DD9-8004-0FCC959ADEB5}"/>
                  </a:ext>
                </a:extLst>
              </p:cNvPr>
              <p:cNvSpPr/>
              <p:nvPr/>
            </p:nvSpPr>
            <p:spPr>
              <a:xfrm>
                <a:off x="1354439" y="1136779"/>
                <a:ext cx="1320" cy="53723"/>
              </a:xfrm>
              <a:custGeom>
                <a:avLst/>
                <a:gdLst>
                  <a:gd name="connsiteX0" fmla="*/ 353 w 1320"/>
                  <a:gd name="connsiteY0" fmla="*/ 0 h 53723"/>
                  <a:gd name="connsiteX1" fmla="*/ 353 w 1320"/>
                  <a:gd name="connsiteY1" fmla="*/ 53723 h 53723"/>
                  <a:gd name="connsiteX2" fmla="*/ 353 w 1320"/>
                  <a:gd name="connsiteY2" fmla="*/ 0 h 53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20" h="53723">
                    <a:moveTo>
                      <a:pt x="353" y="0"/>
                    </a:moveTo>
                    <a:cubicBezTo>
                      <a:pt x="3143" y="17311"/>
                      <a:pt x="-1142" y="39795"/>
                      <a:pt x="353" y="53723"/>
                    </a:cubicBezTo>
                    <a:cubicBezTo>
                      <a:pt x="-1142" y="42481"/>
                      <a:pt x="2745" y="17808"/>
                      <a:pt x="353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46" name="Freeform: Shape 2145">
                <a:extLst>
                  <a:ext uri="{FF2B5EF4-FFF2-40B4-BE49-F238E27FC236}">
                    <a16:creationId xmlns:a16="http://schemas.microsoft.com/office/drawing/2014/main" id="{F15C1853-23C7-4AE7-934B-15F67485ADDA}"/>
                  </a:ext>
                </a:extLst>
              </p:cNvPr>
              <p:cNvSpPr/>
              <p:nvPr/>
            </p:nvSpPr>
            <p:spPr>
              <a:xfrm>
                <a:off x="1355988" y="1520004"/>
                <a:ext cx="44" cy="895"/>
              </a:xfrm>
              <a:custGeom>
                <a:avLst/>
                <a:gdLst>
                  <a:gd name="connsiteX0" fmla="*/ 0 w 44"/>
                  <a:gd name="connsiteY0" fmla="*/ 696 h 895"/>
                  <a:gd name="connsiteX1" fmla="*/ 0 w 44"/>
                  <a:gd name="connsiteY1" fmla="*/ 0 h 895"/>
                  <a:gd name="connsiteX2" fmla="*/ 0 w 44"/>
                  <a:gd name="connsiteY2" fmla="*/ 895 h 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" h="895">
                    <a:moveTo>
                      <a:pt x="0" y="696"/>
                    </a:moveTo>
                    <a:cubicBezTo>
                      <a:pt x="60" y="468"/>
                      <a:pt x="60" y="229"/>
                      <a:pt x="0" y="0"/>
                    </a:cubicBezTo>
                    <a:lnTo>
                      <a:pt x="0" y="895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47" name="Freeform: Shape 2146">
                <a:extLst>
                  <a:ext uri="{FF2B5EF4-FFF2-40B4-BE49-F238E27FC236}">
                    <a16:creationId xmlns:a16="http://schemas.microsoft.com/office/drawing/2014/main" id="{C8015285-75A6-4733-B550-946AD1E281B9}"/>
                  </a:ext>
                </a:extLst>
              </p:cNvPr>
              <p:cNvSpPr/>
              <p:nvPr/>
            </p:nvSpPr>
            <p:spPr>
              <a:xfrm>
                <a:off x="1356785" y="1514234"/>
                <a:ext cx="1195" cy="4277"/>
              </a:xfrm>
              <a:custGeom>
                <a:avLst/>
                <a:gdLst>
                  <a:gd name="connsiteX0" fmla="*/ 0 w 1195"/>
                  <a:gd name="connsiteY0" fmla="*/ 4278 h 4277"/>
                  <a:gd name="connsiteX1" fmla="*/ 0 w 1195"/>
                  <a:gd name="connsiteY1" fmla="*/ 0 h 4277"/>
                  <a:gd name="connsiteX2" fmla="*/ 1196 w 1195"/>
                  <a:gd name="connsiteY2" fmla="*/ 1492 h 4277"/>
                  <a:gd name="connsiteX3" fmla="*/ 0 w 1195"/>
                  <a:gd name="connsiteY3" fmla="*/ 4278 h 4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5" h="4277">
                    <a:moveTo>
                      <a:pt x="0" y="4278"/>
                    </a:moveTo>
                    <a:cubicBezTo>
                      <a:pt x="249" y="2865"/>
                      <a:pt x="249" y="1413"/>
                      <a:pt x="0" y="0"/>
                    </a:cubicBezTo>
                    <a:cubicBezTo>
                      <a:pt x="349" y="537"/>
                      <a:pt x="747" y="1035"/>
                      <a:pt x="1196" y="1492"/>
                    </a:cubicBezTo>
                    <a:cubicBezTo>
                      <a:pt x="897" y="1990"/>
                      <a:pt x="498" y="3283"/>
                      <a:pt x="0" y="427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85" name="Graphic 231">
              <a:extLst>
                <a:ext uri="{FF2B5EF4-FFF2-40B4-BE49-F238E27FC236}">
                  <a16:creationId xmlns:a16="http://schemas.microsoft.com/office/drawing/2014/main" id="{52801593-5C22-4A16-A207-4DBCA66AC5C1}"/>
                </a:ext>
              </a:extLst>
            </p:cNvPr>
            <p:cNvGrpSpPr/>
            <p:nvPr/>
          </p:nvGrpSpPr>
          <p:grpSpPr>
            <a:xfrm>
              <a:off x="1586165" y="2598249"/>
              <a:ext cx="625802" cy="529472"/>
              <a:chOff x="1586165" y="2598249"/>
              <a:chExt cx="625802" cy="529472"/>
            </a:xfrm>
            <a:solidFill>
              <a:srgbClr val="ECE8E4"/>
            </a:solidFill>
          </p:grpSpPr>
          <p:sp>
            <p:nvSpPr>
              <p:cNvPr id="2086" name="Freeform: Shape 2085">
                <a:extLst>
                  <a:ext uri="{FF2B5EF4-FFF2-40B4-BE49-F238E27FC236}">
                    <a16:creationId xmlns:a16="http://schemas.microsoft.com/office/drawing/2014/main" id="{15EDAF19-95EB-4C8B-9264-E4721CE5C60D}"/>
                  </a:ext>
                </a:extLst>
              </p:cNvPr>
              <p:cNvSpPr/>
              <p:nvPr/>
            </p:nvSpPr>
            <p:spPr>
              <a:xfrm>
                <a:off x="1586165" y="2598249"/>
                <a:ext cx="6676" cy="49743"/>
              </a:xfrm>
              <a:custGeom>
                <a:avLst/>
                <a:gdLst>
                  <a:gd name="connsiteX0" fmla="*/ 1495 w 6676"/>
                  <a:gd name="connsiteY0" fmla="*/ 0 h 49743"/>
                  <a:gd name="connsiteX1" fmla="*/ 6676 w 6676"/>
                  <a:gd name="connsiteY1" fmla="*/ 49744 h 49743"/>
                  <a:gd name="connsiteX2" fmla="*/ 0 w 6676"/>
                  <a:gd name="connsiteY2" fmla="*/ 0 h 4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76" h="49743">
                    <a:moveTo>
                      <a:pt x="1495" y="0"/>
                    </a:moveTo>
                    <a:cubicBezTo>
                      <a:pt x="2790" y="16415"/>
                      <a:pt x="4584" y="32930"/>
                      <a:pt x="6676" y="49744"/>
                    </a:cubicBezTo>
                    <a:cubicBezTo>
                      <a:pt x="4085" y="33328"/>
                      <a:pt x="1794" y="1671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87" name="Freeform: Shape 2086">
                <a:extLst>
                  <a:ext uri="{FF2B5EF4-FFF2-40B4-BE49-F238E27FC236}">
                    <a16:creationId xmlns:a16="http://schemas.microsoft.com/office/drawing/2014/main" id="{5C4CFCC6-8BC6-47C8-A060-33FFDBB942B8}"/>
                  </a:ext>
                </a:extLst>
              </p:cNvPr>
              <p:cNvSpPr/>
              <p:nvPr/>
            </p:nvSpPr>
            <p:spPr>
              <a:xfrm>
                <a:off x="1603379" y="3020474"/>
                <a:ext cx="224" cy="10943"/>
              </a:xfrm>
              <a:custGeom>
                <a:avLst/>
                <a:gdLst>
                  <a:gd name="connsiteX0" fmla="*/ 224 w 224"/>
                  <a:gd name="connsiteY0" fmla="*/ 0 h 10943"/>
                  <a:gd name="connsiteX1" fmla="*/ 224 w 224"/>
                  <a:gd name="connsiteY1" fmla="*/ 10943 h 10943"/>
                  <a:gd name="connsiteX2" fmla="*/ 224 w 224"/>
                  <a:gd name="connsiteY2" fmla="*/ 0 h 10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4" h="10943">
                    <a:moveTo>
                      <a:pt x="224" y="0"/>
                    </a:moveTo>
                    <a:cubicBezTo>
                      <a:pt x="224" y="3283"/>
                      <a:pt x="224" y="7462"/>
                      <a:pt x="224" y="10943"/>
                    </a:cubicBezTo>
                    <a:cubicBezTo>
                      <a:pt x="-75" y="7302"/>
                      <a:pt x="-75" y="3641"/>
                      <a:pt x="22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88" name="Freeform: Shape 2087">
                <a:extLst>
                  <a:ext uri="{FF2B5EF4-FFF2-40B4-BE49-F238E27FC236}">
                    <a16:creationId xmlns:a16="http://schemas.microsoft.com/office/drawing/2014/main" id="{1CCABC8A-B7A4-476D-97CA-3FFF8F86EA64}"/>
                  </a:ext>
                </a:extLst>
              </p:cNvPr>
              <p:cNvSpPr/>
              <p:nvPr/>
            </p:nvSpPr>
            <p:spPr>
              <a:xfrm>
                <a:off x="1604101" y="2989433"/>
                <a:ext cx="298" cy="25568"/>
              </a:xfrm>
              <a:custGeom>
                <a:avLst/>
                <a:gdLst>
                  <a:gd name="connsiteX0" fmla="*/ 299 w 298"/>
                  <a:gd name="connsiteY0" fmla="*/ 0 h 25568"/>
                  <a:gd name="connsiteX1" fmla="*/ 299 w 298"/>
                  <a:gd name="connsiteY1" fmla="*/ 25568 h 25568"/>
                  <a:gd name="connsiteX2" fmla="*/ 299 w 298"/>
                  <a:gd name="connsiteY2" fmla="*/ 0 h 2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" h="25568">
                    <a:moveTo>
                      <a:pt x="299" y="0"/>
                    </a:moveTo>
                    <a:cubicBezTo>
                      <a:pt x="299" y="8656"/>
                      <a:pt x="299" y="17311"/>
                      <a:pt x="299" y="25568"/>
                    </a:cubicBezTo>
                    <a:cubicBezTo>
                      <a:pt x="-100" y="19897"/>
                      <a:pt x="-100" y="9153"/>
                      <a:pt x="2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89" name="Freeform: Shape 2088">
                <a:extLst>
                  <a:ext uri="{FF2B5EF4-FFF2-40B4-BE49-F238E27FC236}">
                    <a16:creationId xmlns:a16="http://schemas.microsoft.com/office/drawing/2014/main" id="{319E94A7-F3D2-4188-95FB-546D18132E74}"/>
                  </a:ext>
                </a:extLst>
              </p:cNvPr>
              <p:cNvSpPr/>
              <p:nvPr/>
            </p:nvSpPr>
            <p:spPr>
              <a:xfrm>
                <a:off x="1605397" y="2914122"/>
                <a:ext cx="697" cy="39794"/>
              </a:xfrm>
              <a:custGeom>
                <a:avLst/>
                <a:gdLst>
                  <a:gd name="connsiteX0" fmla="*/ 0 w 697"/>
                  <a:gd name="connsiteY0" fmla="*/ 39795 h 39794"/>
                  <a:gd name="connsiteX1" fmla="*/ 697 w 697"/>
                  <a:gd name="connsiteY1" fmla="*/ 0 h 39794"/>
                  <a:gd name="connsiteX2" fmla="*/ 0 w 697"/>
                  <a:gd name="connsiteY2" fmla="*/ 39795 h 39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7" h="39794">
                    <a:moveTo>
                      <a:pt x="0" y="39795"/>
                    </a:moveTo>
                    <a:cubicBezTo>
                      <a:pt x="0" y="26464"/>
                      <a:pt x="0" y="13132"/>
                      <a:pt x="697" y="0"/>
                    </a:cubicBezTo>
                    <a:cubicBezTo>
                      <a:pt x="598" y="12635"/>
                      <a:pt x="299" y="26165"/>
                      <a:pt x="0" y="397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0" name="Freeform: Shape 2089">
                <a:extLst>
                  <a:ext uri="{FF2B5EF4-FFF2-40B4-BE49-F238E27FC236}">
                    <a16:creationId xmlns:a16="http://schemas.microsoft.com/office/drawing/2014/main" id="{C3DE1864-D697-4915-940D-81D287A9A743}"/>
                  </a:ext>
                </a:extLst>
              </p:cNvPr>
              <p:cNvSpPr/>
              <p:nvPr/>
            </p:nvSpPr>
            <p:spPr>
              <a:xfrm>
                <a:off x="1607091" y="2747579"/>
                <a:ext cx="3108" cy="46162"/>
              </a:xfrm>
              <a:custGeom>
                <a:avLst/>
                <a:gdLst>
                  <a:gd name="connsiteX0" fmla="*/ 2591 w 3108"/>
                  <a:gd name="connsiteY0" fmla="*/ 46162 h 46162"/>
                  <a:gd name="connsiteX1" fmla="*/ 0 w 3108"/>
                  <a:gd name="connsiteY1" fmla="*/ 0 h 46162"/>
                  <a:gd name="connsiteX2" fmla="*/ 2990 w 3108"/>
                  <a:gd name="connsiteY2" fmla="*/ 22683 h 46162"/>
                  <a:gd name="connsiteX3" fmla="*/ 2591 w 3108"/>
                  <a:gd name="connsiteY3" fmla="*/ 46162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08" h="46162">
                    <a:moveTo>
                      <a:pt x="2591" y="46162"/>
                    </a:moveTo>
                    <a:cubicBezTo>
                      <a:pt x="2591" y="30941"/>
                      <a:pt x="1495" y="15520"/>
                      <a:pt x="0" y="0"/>
                    </a:cubicBezTo>
                    <a:cubicBezTo>
                      <a:pt x="1126" y="7561"/>
                      <a:pt x="2123" y="15122"/>
                      <a:pt x="2990" y="22683"/>
                    </a:cubicBezTo>
                    <a:cubicBezTo>
                      <a:pt x="3189" y="30443"/>
                      <a:pt x="3189" y="38203"/>
                      <a:pt x="2591" y="4616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1" name="Freeform: Shape 2090">
                <a:extLst>
                  <a:ext uri="{FF2B5EF4-FFF2-40B4-BE49-F238E27FC236}">
                    <a16:creationId xmlns:a16="http://schemas.microsoft.com/office/drawing/2014/main" id="{84AF9DE2-C5DF-4637-B9D4-3CEF9492E97F}"/>
                  </a:ext>
                </a:extLst>
              </p:cNvPr>
              <p:cNvSpPr/>
              <p:nvPr/>
            </p:nvSpPr>
            <p:spPr>
              <a:xfrm>
                <a:off x="1606194" y="3041266"/>
                <a:ext cx="8868" cy="7560"/>
              </a:xfrm>
              <a:custGeom>
                <a:avLst/>
                <a:gdLst>
                  <a:gd name="connsiteX0" fmla="*/ 0 w 8868"/>
                  <a:gd name="connsiteY0" fmla="*/ 0 h 7560"/>
                  <a:gd name="connsiteX1" fmla="*/ 8868 w 8868"/>
                  <a:gd name="connsiteY1" fmla="*/ 7561 h 7560"/>
                  <a:gd name="connsiteX2" fmla="*/ 5879 w 8868"/>
                  <a:gd name="connsiteY2" fmla="*/ 5571 h 7560"/>
                  <a:gd name="connsiteX3" fmla="*/ 0 w 8868"/>
                  <a:gd name="connsiteY3" fmla="*/ 0 h 7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68" h="7560">
                    <a:moveTo>
                      <a:pt x="0" y="0"/>
                    </a:moveTo>
                    <a:cubicBezTo>
                      <a:pt x="2720" y="2786"/>
                      <a:pt x="5690" y="5313"/>
                      <a:pt x="8868" y="7561"/>
                    </a:cubicBezTo>
                    <a:cubicBezTo>
                      <a:pt x="7703" y="7183"/>
                      <a:pt x="6676" y="6496"/>
                      <a:pt x="5879" y="5571"/>
                    </a:cubicBezTo>
                    <a:cubicBezTo>
                      <a:pt x="3348" y="4427"/>
                      <a:pt x="1275" y="246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2" name="Freeform: Shape 2091">
                <a:extLst>
                  <a:ext uri="{FF2B5EF4-FFF2-40B4-BE49-F238E27FC236}">
                    <a16:creationId xmlns:a16="http://schemas.microsoft.com/office/drawing/2014/main" id="{1742065F-FB35-4F52-848A-6A22837A1F20}"/>
                  </a:ext>
                </a:extLst>
              </p:cNvPr>
              <p:cNvSpPr/>
              <p:nvPr/>
            </p:nvSpPr>
            <p:spPr>
              <a:xfrm>
                <a:off x="1624528" y="3047017"/>
                <a:ext cx="11359" cy="1511"/>
              </a:xfrm>
              <a:custGeom>
                <a:avLst/>
                <a:gdLst>
                  <a:gd name="connsiteX0" fmla="*/ 0 w 11359"/>
                  <a:gd name="connsiteY0" fmla="*/ 1313 h 1511"/>
                  <a:gd name="connsiteX1" fmla="*/ 11360 w 11359"/>
                  <a:gd name="connsiteY1" fmla="*/ 19 h 1511"/>
                  <a:gd name="connsiteX2" fmla="*/ 1395 w 11359"/>
                  <a:gd name="connsiteY2" fmla="*/ 1511 h 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359" h="1511">
                    <a:moveTo>
                      <a:pt x="0" y="1313"/>
                    </a:moveTo>
                    <a:cubicBezTo>
                      <a:pt x="3707" y="338"/>
                      <a:pt x="7533" y="-100"/>
                      <a:pt x="11360" y="19"/>
                    </a:cubicBezTo>
                    <a:cubicBezTo>
                      <a:pt x="7972" y="-60"/>
                      <a:pt x="4604" y="437"/>
                      <a:pt x="1395" y="151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3" name="Freeform: Shape 2092">
                <a:extLst>
                  <a:ext uri="{FF2B5EF4-FFF2-40B4-BE49-F238E27FC236}">
                    <a16:creationId xmlns:a16="http://schemas.microsoft.com/office/drawing/2014/main" id="{64427CE7-F946-4A81-A288-937BCD31CCB9}"/>
                  </a:ext>
                </a:extLst>
              </p:cNvPr>
              <p:cNvSpPr/>
              <p:nvPr/>
            </p:nvSpPr>
            <p:spPr>
              <a:xfrm>
                <a:off x="1638578" y="3044947"/>
                <a:ext cx="1594" cy="1591"/>
              </a:xfrm>
              <a:custGeom>
                <a:avLst/>
                <a:gdLst>
                  <a:gd name="connsiteX0" fmla="*/ 1594 w 1594"/>
                  <a:gd name="connsiteY0" fmla="*/ 0 h 1591"/>
                  <a:gd name="connsiteX1" fmla="*/ 0 w 1594"/>
                  <a:gd name="connsiteY1" fmla="*/ 1592 h 1591"/>
                  <a:gd name="connsiteX2" fmla="*/ 1594 w 1594"/>
                  <a:gd name="connsiteY2" fmla="*/ 0 h 1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4" h="1591">
                    <a:moveTo>
                      <a:pt x="1594" y="0"/>
                    </a:moveTo>
                    <a:cubicBezTo>
                      <a:pt x="1226" y="666"/>
                      <a:pt x="668" y="1224"/>
                      <a:pt x="0" y="1592"/>
                    </a:cubicBezTo>
                    <a:cubicBezTo>
                      <a:pt x="369" y="925"/>
                      <a:pt x="927" y="368"/>
                      <a:pt x="159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4" name="Freeform: Shape 2093">
                <a:extLst>
                  <a:ext uri="{FF2B5EF4-FFF2-40B4-BE49-F238E27FC236}">
                    <a16:creationId xmlns:a16="http://schemas.microsoft.com/office/drawing/2014/main" id="{062FCD20-62FD-43E3-80B8-3F205CCB3196}"/>
                  </a:ext>
                </a:extLst>
              </p:cNvPr>
              <p:cNvSpPr/>
              <p:nvPr/>
            </p:nvSpPr>
            <p:spPr>
              <a:xfrm>
                <a:off x="2018621" y="3116976"/>
                <a:ext cx="2192" cy="3183"/>
              </a:xfrm>
              <a:custGeom>
                <a:avLst/>
                <a:gdLst>
                  <a:gd name="connsiteX0" fmla="*/ 1295 w 2192"/>
                  <a:gd name="connsiteY0" fmla="*/ 0 h 3183"/>
                  <a:gd name="connsiteX1" fmla="*/ 2192 w 2192"/>
                  <a:gd name="connsiteY1" fmla="*/ 3184 h 3183"/>
                  <a:gd name="connsiteX2" fmla="*/ 0 w 2192"/>
                  <a:gd name="connsiteY2" fmla="*/ 1492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92" h="3183">
                    <a:moveTo>
                      <a:pt x="1295" y="0"/>
                    </a:moveTo>
                    <a:cubicBezTo>
                      <a:pt x="1265" y="1124"/>
                      <a:pt x="1574" y="2239"/>
                      <a:pt x="2192" y="3184"/>
                    </a:cubicBezTo>
                    <a:lnTo>
                      <a:pt x="0" y="1492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5" name="Freeform: Shape 2094">
                <a:extLst>
                  <a:ext uri="{FF2B5EF4-FFF2-40B4-BE49-F238E27FC236}">
                    <a16:creationId xmlns:a16="http://schemas.microsoft.com/office/drawing/2014/main" id="{C98F3DE5-CE17-43EC-9B0F-2AF2626FEB67}"/>
                  </a:ext>
                </a:extLst>
              </p:cNvPr>
              <p:cNvSpPr/>
              <p:nvPr/>
            </p:nvSpPr>
            <p:spPr>
              <a:xfrm>
                <a:off x="2024699" y="3124338"/>
                <a:ext cx="1893" cy="3382"/>
              </a:xfrm>
              <a:custGeom>
                <a:avLst/>
                <a:gdLst>
                  <a:gd name="connsiteX0" fmla="*/ 0 w 1893"/>
                  <a:gd name="connsiteY0" fmla="*/ 0 h 3382"/>
                  <a:gd name="connsiteX1" fmla="*/ 1893 w 1893"/>
                  <a:gd name="connsiteY1" fmla="*/ 1194 h 3382"/>
                  <a:gd name="connsiteX2" fmla="*/ 0 w 1893"/>
                  <a:gd name="connsiteY2" fmla="*/ 3383 h 3382"/>
                  <a:gd name="connsiteX3" fmla="*/ 0 w 1893"/>
                  <a:gd name="connsiteY3" fmla="*/ 0 h 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93" h="3382">
                    <a:moveTo>
                      <a:pt x="0" y="0"/>
                    </a:moveTo>
                    <a:lnTo>
                      <a:pt x="1893" y="1194"/>
                    </a:lnTo>
                    <a:lnTo>
                      <a:pt x="0" y="3383"/>
                    </a:lnTo>
                    <a:cubicBezTo>
                      <a:pt x="698" y="2368"/>
                      <a:pt x="698" y="101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6" name="Freeform: Shape 2095">
                <a:extLst>
                  <a:ext uri="{FF2B5EF4-FFF2-40B4-BE49-F238E27FC236}">
                    <a16:creationId xmlns:a16="http://schemas.microsoft.com/office/drawing/2014/main" id="{09B26BBB-4075-4DA3-9659-A87F9A0FDEA0}"/>
                  </a:ext>
                </a:extLst>
              </p:cNvPr>
              <p:cNvSpPr/>
              <p:nvPr/>
            </p:nvSpPr>
            <p:spPr>
              <a:xfrm>
                <a:off x="2025098" y="3110908"/>
                <a:ext cx="4284" cy="2586"/>
              </a:xfrm>
              <a:custGeom>
                <a:avLst/>
                <a:gdLst>
                  <a:gd name="connsiteX0" fmla="*/ 4285 w 4284"/>
                  <a:gd name="connsiteY0" fmla="*/ 0 h 2586"/>
                  <a:gd name="connsiteX1" fmla="*/ 3488 w 4284"/>
                  <a:gd name="connsiteY1" fmla="*/ 2586 h 2586"/>
                  <a:gd name="connsiteX2" fmla="*/ 0 w 4284"/>
                  <a:gd name="connsiteY2" fmla="*/ 2586 h 2586"/>
                  <a:gd name="connsiteX3" fmla="*/ 4285 w 4284"/>
                  <a:gd name="connsiteY3" fmla="*/ 0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4" h="2586">
                    <a:moveTo>
                      <a:pt x="4285" y="0"/>
                    </a:moveTo>
                    <a:lnTo>
                      <a:pt x="3488" y="2586"/>
                    </a:lnTo>
                    <a:lnTo>
                      <a:pt x="0" y="2586"/>
                    </a:lnTo>
                    <a:cubicBezTo>
                      <a:pt x="1993" y="1890"/>
                      <a:pt x="3687" y="2288"/>
                      <a:pt x="428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7" name="Freeform: Shape 2096">
                <a:extLst>
                  <a:ext uri="{FF2B5EF4-FFF2-40B4-BE49-F238E27FC236}">
                    <a16:creationId xmlns:a16="http://schemas.microsoft.com/office/drawing/2014/main" id="{03EB3E35-F191-4976-8307-3BE6DBCEF7FA}"/>
                  </a:ext>
                </a:extLst>
              </p:cNvPr>
              <p:cNvSpPr/>
              <p:nvPr/>
            </p:nvSpPr>
            <p:spPr>
              <a:xfrm>
                <a:off x="2033461" y="2999880"/>
                <a:ext cx="2198" cy="5372"/>
              </a:xfrm>
              <a:custGeom>
                <a:avLst/>
                <a:gdLst>
                  <a:gd name="connsiteX0" fmla="*/ 106 w 2198"/>
                  <a:gd name="connsiteY0" fmla="*/ 1293 h 5372"/>
                  <a:gd name="connsiteX1" fmla="*/ 2199 w 2198"/>
                  <a:gd name="connsiteY1" fmla="*/ 0 h 5372"/>
                  <a:gd name="connsiteX2" fmla="*/ 405 w 2198"/>
                  <a:gd name="connsiteY2" fmla="*/ 5372 h 5372"/>
                  <a:gd name="connsiteX3" fmla="*/ 106 w 2198"/>
                  <a:gd name="connsiteY3" fmla="*/ 1293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98" h="5372">
                    <a:moveTo>
                      <a:pt x="106" y="1293"/>
                    </a:moveTo>
                    <a:lnTo>
                      <a:pt x="2199" y="0"/>
                    </a:lnTo>
                    <a:cubicBezTo>
                      <a:pt x="1162" y="1612"/>
                      <a:pt x="545" y="3462"/>
                      <a:pt x="405" y="5372"/>
                    </a:cubicBezTo>
                    <a:cubicBezTo>
                      <a:pt x="-3" y="4049"/>
                      <a:pt x="-103" y="2656"/>
                      <a:pt x="106" y="12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8" name="Freeform: Shape 2097">
                <a:extLst>
                  <a:ext uri="{FF2B5EF4-FFF2-40B4-BE49-F238E27FC236}">
                    <a16:creationId xmlns:a16="http://schemas.microsoft.com/office/drawing/2014/main" id="{98B90051-196E-4E96-BD23-95A9076597BA}"/>
                  </a:ext>
                </a:extLst>
              </p:cNvPr>
              <p:cNvSpPr/>
              <p:nvPr/>
            </p:nvSpPr>
            <p:spPr>
              <a:xfrm>
                <a:off x="2036557" y="3010525"/>
                <a:ext cx="1993" cy="3979"/>
              </a:xfrm>
              <a:custGeom>
                <a:avLst/>
                <a:gdLst>
                  <a:gd name="connsiteX0" fmla="*/ 0 w 1993"/>
                  <a:gd name="connsiteY0" fmla="*/ 0 h 3979"/>
                  <a:gd name="connsiteX1" fmla="*/ 1993 w 1993"/>
                  <a:gd name="connsiteY1" fmla="*/ 3979 h 3979"/>
                  <a:gd name="connsiteX2" fmla="*/ 0 w 1993"/>
                  <a:gd name="connsiteY2" fmla="*/ 0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3" h="3979">
                    <a:moveTo>
                      <a:pt x="0" y="0"/>
                    </a:moveTo>
                    <a:cubicBezTo>
                      <a:pt x="1136" y="1034"/>
                      <a:pt x="1843" y="2447"/>
                      <a:pt x="1993" y="3979"/>
                    </a:cubicBezTo>
                    <a:cubicBezTo>
                      <a:pt x="1574" y="2547"/>
                      <a:pt x="897" y="11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99" name="Freeform: Shape 2098">
                <a:extLst>
                  <a:ext uri="{FF2B5EF4-FFF2-40B4-BE49-F238E27FC236}">
                    <a16:creationId xmlns:a16="http://schemas.microsoft.com/office/drawing/2014/main" id="{9A44437D-53E6-4BC6-8E97-1D86010318A5}"/>
                  </a:ext>
                </a:extLst>
              </p:cNvPr>
              <p:cNvSpPr/>
              <p:nvPr/>
            </p:nvSpPr>
            <p:spPr>
              <a:xfrm>
                <a:off x="2036656" y="2990826"/>
                <a:ext cx="2165" cy="4079"/>
              </a:xfrm>
              <a:custGeom>
                <a:avLst/>
                <a:gdLst>
                  <a:gd name="connsiteX0" fmla="*/ 2092 w 2165"/>
                  <a:gd name="connsiteY0" fmla="*/ 4079 h 4079"/>
                  <a:gd name="connsiteX1" fmla="*/ 0 w 2165"/>
                  <a:gd name="connsiteY1" fmla="*/ 0 h 4079"/>
                  <a:gd name="connsiteX2" fmla="*/ 2092 w 2165"/>
                  <a:gd name="connsiteY2" fmla="*/ 4079 h 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5" h="4079">
                    <a:moveTo>
                      <a:pt x="2092" y="4079"/>
                    </a:moveTo>
                    <a:cubicBezTo>
                      <a:pt x="1913" y="2507"/>
                      <a:pt x="1176" y="1054"/>
                      <a:pt x="0" y="0"/>
                    </a:cubicBezTo>
                    <a:cubicBezTo>
                      <a:pt x="1564" y="706"/>
                      <a:pt x="2431" y="2398"/>
                      <a:pt x="2092" y="407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0" name="Freeform: Shape 2099">
                <a:extLst>
                  <a:ext uri="{FF2B5EF4-FFF2-40B4-BE49-F238E27FC236}">
                    <a16:creationId xmlns:a16="http://schemas.microsoft.com/office/drawing/2014/main" id="{4192B528-822B-4813-BB5A-2569ED8D92B6}"/>
                  </a:ext>
                </a:extLst>
              </p:cNvPr>
              <p:cNvSpPr/>
              <p:nvPr/>
            </p:nvSpPr>
            <p:spPr>
              <a:xfrm>
                <a:off x="2094449" y="2899994"/>
                <a:ext cx="2193" cy="11640"/>
              </a:xfrm>
              <a:custGeom>
                <a:avLst/>
                <a:gdLst>
                  <a:gd name="connsiteX0" fmla="*/ 1 w 2193"/>
                  <a:gd name="connsiteY0" fmla="*/ 11640 h 11640"/>
                  <a:gd name="connsiteX1" fmla="*/ 2193 w 2193"/>
                  <a:gd name="connsiteY1" fmla="*/ 0 h 11640"/>
                  <a:gd name="connsiteX2" fmla="*/ 1 w 2193"/>
                  <a:gd name="connsiteY2" fmla="*/ 11640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93" h="11640">
                    <a:moveTo>
                      <a:pt x="1" y="11640"/>
                    </a:moveTo>
                    <a:cubicBezTo>
                      <a:pt x="-29" y="7651"/>
                      <a:pt x="708" y="3701"/>
                      <a:pt x="2193" y="0"/>
                    </a:cubicBezTo>
                    <a:cubicBezTo>
                      <a:pt x="1695" y="3781"/>
                      <a:pt x="400" y="7660"/>
                      <a:pt x="1" y="1164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1" name="Freeform: Shape 2100">
                <a:extLst>
                  <a:ext uri="{FF2B5EF4-FFF2-40B4-BE49-F238E27FC236}">
                    <a16:creationId xmlns:a16="http://schemas.microsoft.com/office/drawing/2014/main" id="{77E31E00-9E38-4197-B957-3D9F9456B159}"/>
                  </a:ext>
                </a:extLst>
              </p:cNvPr>
              <p:cNvSpPr/>
              <p:nvPr/>
            </p:nvSpPr>
            <p:spPr>
              <a:xfrm>
                <a:off x="2094749" y="2890443"/>
                <a:ext cx="1694" cy="3780"/>
              </a:xfrm>
              <a:custGeom>
                <a:avLst/>
                <a:gdLst>
                  <a:gd name="connsiteX0" fmla="*/ 0 w 1694"/>
                  <a:gd name="connsiteY0" fmla="*/ 0 h 3780"/>
                  <a:gd name="connsiteX1" fmla="*/ 1694 w 1694"/>
                  <a:gd name="connsiteY1" fmla="*/ 3781 h 3780"/>
                  <a:gd name="connsiteX2" fmla="*/ 0 w 1694"/>
                  <a:gd name="connsiteY2" fmla="*/ 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4" h="3780">
                    <a:moveTo>
                      <a:pt x="0" y="0"/>
                    </a:moveTo>
                    <a:cubicBezTo>
                      <a:pt x="917" y="1064"/>
                      <a:pt x="1505" y="2388"/>
                      <a:pt x="1694" y="3781"/>
                    </a:cubicBezTo>
                    <a:cubicBezTo>
                      <a:pt x="917" y="2627"/>
                      <a:pt x="339" y="135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2" name="Freeform: Shape 2101">
                <a:extLst>
                  <a:ext uri="{FF2B5EF4-FFF2-40B4-BE49-F238E27FC236}">
                    <a16:creationId xmlns:a16="http://schemas.microsoft.com/office/drawing/2014/main" id="{318AF513-28B7-4B51-98AC-8A544DC1A3F7}"/>
                  </a:ext>
                </a:extLst>
              </p:cNvPr>
              <p:cNvSpPr/>
              <p:nvPr/>
            </p:nvSpPr>
            <p:spPr>
              <a:xfrm>
                <a:off x="2095147" y="2882683"/>
                <a:ext cx="2391" cy="4178"/>
              </a:xfrm>
              <a:custGeom>
                <a:avLst/>
                <a:gdLst>
                  <a:gd name="connsiteX0" fmla="*/ 0 w 2391"/>
                  <a:gd name="connsiteY0" fmla="*/ 4178 h 4178"/>
                  <a:gd name="connsiteX1" fmla="*/ 2391 w 2391"/>
                  <a:gd name="connsiteY1" fmla="*/ 0 h 4178"/>
                  <a:gd name="connsiteX2" fmla="*/ 0 w 2391"/>
                  <a:gd name="connsiteY2" fmla="*/ 4178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1" h="4178">
                    <a:moveTo>
                      <a:pt x="0" y="4178"/>
                    </a:moveTo>
                    <a:cubicBezTo>
                      <a:pt x="548" y="2656"/>
                      <a:pt x="1365" y="1244"/>
                      <a:pt x="2391" y="0"/>
                    </a:cubicBezTo>
                    <a:cubicBezTo>
                      <a:pt x="1843" y="1522"/>
                      <a:pt x="1026" y="2935"/>
                      <a:pt x="0" y="417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3" name="Freeform: Shape 2102">
                <a:extLst>
                  <a:ext uri="{FF2B5EF4-FFF2-40B4-BE49-F238E27FC236}">
                    <a16:creationId xmlns:a16="http://schemas.microsoft.com/office/drawing/2014/main" id="{93F8FAF4-7427-4A16-9BBA-D034BADE28E4}"/>
                  </a:ext>
                </a:extLst>
              </p:cNvPr>
              <p:cNvSpPr/>
              <p:nvPr/>
            </p:nvSpPr>
            <p:spPr>
              <a:xfrm>
                <a:off x="2098326" y="2877211"/>
                <a:ext cx="321" cy="3382"/>
              </a:xfrm>
              <a:custGeom>
                <a:avLst/>
                <a:gdLst>
                  <a:gd name="connsiteX0" fmla="*/ 209 w 321"/>
                  <a:gd name="connsiteY0" fmla="*/ 0 h 3382"/>
                  <a:gd name="connsiteX1" fmla="*/ 209 w 321"/>
                  <a:gd name="connsiteY1" fmla="*/ 3383 h 3382"/>
                  <a:gd name="connsiteX2" fmla="*/ 209 w 321"/>
                  <a:gd name="connsiteY2" fmla="*/ 0 h 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1" h="3382">
                    <a:moveTo>
                      <a:pt x="209" y="0"/>
                    </a:moveTo>
                    <a:cubicBezTo>
                      <a:pt x="359" y="1124"/>
                      <a:pt x="359" y="2259"/>
                      <a:pt x="209" y="3383"/>
                    </a:cubicBezTo>
                    <a:cubicBezTo>
                      <a:pt x="-70" y="2269"/>
                      <a:pt x="-70" y="1114"/>
                      <a:pt x="20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4" name="Freeform: Shape 2103">
                <a:extLst>
                  <a:ext uri="{FF2B5EF4-FFF2-40B4-BE49-F238E27FC236}">
                    <a16:creationId xmlns:a16="http://schemas.microsoft.com/office/drawing/2014/main" id="{A6DE2DC2-4E89-47F0-A57D-D4CF3F7C1298}"/>
                  </a:ext>
                </a:extLst>
              </p:cNvPr>
              <p:cNvSpPr/>
              <p:nvPr/>
            </p:nvSpPr>
            <p:spPr>
              <a:xfrm>
                <a:off x="2100827" y="2866168"/>
                <a:ext cx="4483" cy="5670"/>
              </a:xfrm>
              <a:custGeom>
                <a:avLst/>
                <a:gdLst>
                  <a:gd name="connsiteX0" fmla="*/ 3487 w 4483"/>
                  <a:gd name="connsiteY0" fmla="*/ 696 h 5670"/>
                  <a:gd name="connsiteX1" fmla="*/ 4484 w 4483"/>
                  <a:gd name="connsiteY1" fmla="*/ 0 h 5670"/>
                  <a:gd name="connsiteX2" fmla="*/ 0 w 4483"/>
                  <a:gd name="connsiteY2" fmla="*/ 5671 h 5670"/>
                  <a:gd name="connsiteX3" fmla="*/ 3487 w 4483"/>
                  <a:gd name="connsiteY3" fmla="*/ 696 h 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83" h="5670">
                    <a:moveTo>
                      <a:pt x="3487" y="696"/>
                    </a:moveTo>
                    <a:lnTo>
                      <a:pt x="4484" y="0"/>
                    </a:lnTo>
                    <a:lnTo>
                      <a:pt x="0" y="5671"/>
                    </a:lnTo>
                    <a:cubicBezTo>
                      <a:pt x="1196" y="3781"/>
                      <a:pt x="2491" y="1990"/>
                      <a:pt x="3487" y="6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5" name="Freeform: Shape 2104">
                <a:extLst>
                  <a:ext uri="{FF2B5EF4-FFF2-40B4-BE49-F238E27FC236}">
                    <a16:creationId xmlns:a16="http://schemas.microsoft.com/office/drawing/2014/main" id="{6F1858D1-2C2F-4244-93EB-F7FD58C2D980}"/>
                  </a:ext>
                </a:extLst>
              </p:cNvPr>
              <p:cNvSpPr/>
              <p:nvPr/>
            </p:nvSpPr>
            <p:spPr>
              <a:xfrm>
                <a:off x="2128229" y="2828662"/>
                <a:ext cx="4284" cy="6168"/>
              </a:xfrm>
              <a:custGeom>
                <a:avLst/>
                <a:gdLst>
                  <a:gd name="connsiteX0" fmla="*/ 4285 w 4284"/>
                  <a:gd name="connsiteY0" fmla="*/ 6168 h 6168"/>
                  <a:gd name="connsiteX1" fmla="*/ 0 w 4284"/>
                  <a:gd name="connsiteY1" fmla="*/ 2288 h 6168"/>
                  <a:gd name="connsiteX2" fmla="*/ 0 w 4284"/>
                  <a:gd name="connsiteY2" fmla="*/ 0 h 6168"/>
                  <a:gd name="connsiteX3" fmla="*/ 897 w 4284"/>
                  <a:gd name="connsiteY3" fmla="*/ 2288 h 6168"/>
                  <a:gd name="connsiteX4" fmla="*/ 4285 w 4284"/>
                  <a:gd name="connsiteY4" fmla="*/ 6168 h 6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4" h="6168">
                    <a:moveTo>
                      <a:pt x="4285" y="6168"/>
                    </a:moveTo>
                    <a:cubicBezTo>
                      <a:pt x="2949" y="4775"/>
                      <a:pt x="1514" y="3482"/>
                      <a:pt x="0" y="2288"/>
                    </a:cubicBezTo>
                    <a:lnTo>
                      <a:pt x="0" y="0"/>
                    </a:lnTo>
                    <a:cubicBezTo>
                      <a:pt x="70" y="836"/>
                      <a:pt x="389" y="1632"/>
                      <a:pt x="897" y="2288"/>
                    </a:cubicBezTo>
                    <a:cubicBezTo>
                      <a:pt x="1883" y="3701"/>
                      <a:pt x="3019" y="4994"/>
                      <a:pt x="4285" y="616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6" name="Freeform: Shape 2105">
                <a:extLst>
                  <a:ext uri="{FF2B5EF4-FFF2-40B4-BE49-F238E27FC236}">
                    <a16:creationId xmlns:a16="http://schemas.microsoft.com/office/drawing/2014/main" id="{BEF05EE3-1540-4475-B655-8FE23319FB57}"/>
                  </a:ext>
                </a:extLst>
              </p:cNvPr>
              <p:cNvSpPr/>
              <p:nvPr/>
            </p:nvSpPr>
            <p:spPr>
              <a:xfrm>
                <a:off x="2129026" y="2824583"/>
                <a:ext cx="3587" cy="2487"/>
              </a:xfrm>
              <a:custGeom>
                <a:avLst/>
                <a:gdLst>
                  <a:gd name="connsiteX0" fmla="*/ 0 w 3587"/>
                  <a:gd name="connsiteY0" fmla="*/ 2487 h 2487"/>
                  <a:gd name="connsiteX1" fmla="*/ 0 w 3587"/>
                  <a:gd name="connsiteY1" fmla="*/ 1393 h 2487"/>
                  <a:gd name="connsiteX2" fmla="*/ 3587 w 3587"/>
                  <a:gd name="connsiteY2" fmla="*/ 0 h 2487"/>
                  <a:gd name="connsiteX3" fmla="*/ 0 w 3587"/>
                  <a:gd name="connsiteY3" fmla="*/ 2487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87" h="2487">
                    <a:moveTo>
                      <a:pt x="0" y="2487"/>
                    </a:moveTo>
                    <a:lnTo>
                      <a:pt x="0" y="1393"/>
                    </a:lnTo>
                    <a:cubicBezTo>
                      <a:pt x="1146" y="806"/>
                      <a:pt x="2342" y="338"/>
                      <a:pt x="3587" y="0"/>
                    </a:cubicBezTo>
                    <a:cubicBezTo>
                      <a:pt x="1594" y="696"/>
                      <a:pt x="399" y="1492"/>
                      <a:pt x="0" y="24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7" name="Freeform: Shape 2106">
                <a:extLst>
                  <a:ext uri="{FF2B5EF4-FFF2-40B4-BE49-F238E27FC236}">
                    <a16:creationId xmlns:a16="http://schemas.microsoft.com/office/drawing/2014/main" id="{E4237A61-9C3E-4F68-BBB9-0368F49A233D}"/>
                  </a:ext>
                </a:extLst>
              </p:cNvPr>
              <p:cNvSpPr/>
              <p:nvPr/>
            </p:nvSpPr>
            <p:spPr>
              <a:xfrm>
                <a:off x="2132115" y="2843187"/>
                <a:ext cx="4185" cy="4974"/>
              </a:xfrm>
              <a:custGeom>
                <a:avLst/>
                <a:gdLst>
                  <a:gd name="connsiteX0" fmla="*/ 4185 w 4185"/>
                  <a:gd name="connsiteY0" fmla="*/ 0 h 4974"/>
                  <a:gd name="connsiteX1" fmla="*/ 0 w 4185"/>
                  <a:gd name="connsiteY1" fmla="*/ 4974 h 4974"/>
                  <a:gd name="connsiteX2" fmla="*/ 4185 w 4185"/>
                  <a:gd name="connsiteY2" fmla="*/ 0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85" h="4974">
                    <a:moveTo>
                      <a:pt x="4185" y="0"/>
                    </a:moveTo>
                    <a:cubicBezTo>
                      <a:pt x="4185" y="1592"/>
                      <a:pt x="2691" y="3283"/>
                      <a:pt x="0" y="4974"/>
                    </a:cubicBezTo>
                    <a:cubicBezTo>
                      <a:pt x="1913" y="3830"/>
                      <a:pt x="3388" y="2079"/>
                      <a:pt x="418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8" name="Freeform: Shape 2107">
                <a:extLst>
                  <a:ext uri="{FF2B5EF4-FFF2-40B4-BE49-F238E27FC236}">
                    <a16:creationId xmlns:a16="http://schemas.microsoft.com/office/drawing/2014/main" id="{42BAC4B3-869C-4260-A918-D5DCC7A483E8}"/>
                  </a:ext>
                </a:extLst>
              </p:cNvPr>
              <p:cNvSpPr/>
              <p:nvPr/>
            </p:nvSpPr>
            <p:spPr>
              <a:xfrm>
                <a:off x="2133809" y="2653564"/>
                <a:ext cx="4184" cy="3780"/>
              </a:xfrm>
              <a:custGeom>
                <a:avLst/>
                <a:gdLst>
                  <a:gd name="connsiteX0" fmla="*/ 0 w 4184"/>
                  <a:gd name="connsiteY0" fmla="*/ 3781 h 3780"/>
                  <a:gd name="connsiteX1" fmla="*/ 4185 w 4184"/>
                  <a:gd name="connsiteY1" fmla="*/ 0 h 3780"/>
                  <a:gd name="connsiteX2" fmla="*/ 0 w 4184"/>
                  <a:gd name="connsiteY2" fmla="*/ 3781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84" h="3780">
                    <a:moveTo>
                      <a:pt x="0" y="3781"/>
                    </a:moveTo>
                    <a:cubicBezTo>
                      <a:pt x="1594" y="2756"/>
                      <a:pt x="3009" y="1482"/>
                      <a:pt x="4185" y="0"/>
                    </a:cubicBezTo>
                    <a:cubicBezTo>
                      <a:pt x="3059" y="1532"/>
                      <a:pt x="1634" y="2815"/>
                      <a:pt x="0" y="378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09" name="Freeform: Shape 2108">
                <a:extLst>
                  <a:ext uri="{FF2B5EF4-FFF2-40B4-BE49-F238E27FC236}">
                    <a16:creationId xmlns:a16="http://schemas.microsoft.com/office/drawing/2014/main" id="{BE5A182F-9677-450B-B1DF-DA2DB83A8D54}"/>
                  </a:ext>
                </a:extLst>
              </p:cNvPr>
              <p:cNvSpPr/>
              <p:nvPr/>
            </p:nvSpPr>
            <p:spPr>
              <a:xfrm>
                <a:off x="2149154" y="2602129"/>
                <a:ext cx="2013" cy="8456"/>
              </a:xfrm>
              <a:custGeom>
                <a:avLst/>
                <a:gdLst>
                  <a:gd name="connsiteX0" fmla="*/ 1993 w 2013"/>
                  <a:gd name="connsiteY0" fmla="*/ 8456 h 8456"/>
                  <a:gd name="connsiteX1" fmla="*/ 0 w 2013"/>
                  <a:gd name="connsiteY1" fmla="*/ 0 h 8456"/>
                  <a:gd name="connsiteX2" fmla="*/ 1993 w 2013"/>
                  <a:gd name="connsiteY2" fmla="*/ 8456 h 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13" h="8456">
                    <a:moveTo>
                      <a:pt x="1993" y="8456"/>
                    </a:moveTo>
                    <a:cubicBezTo>
                      <a:pt x="1884" y="5531"/>
                      <a:pt x="1206" y="2666"/>
                      <a:pt x="0" y="0"/>
                    </a:cubicBezTo>
                    <a:cubicBezTo>
                      <a:pt x="1455" y="2577"/>
                      <a:pt x="2143" y="5502"/>
                      <a:pt x="1993" y="845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10" name="Freeform: Shape 2109">
                <a:extLst>
                  <a:ext uri="{FF2B5EF4-FFF2-40B4-BE49-F238E27FC236}">
                    <a16:creationId xmlns:a16="http://schemas.microsoft.com/office/drawing/2014/main" id="{903BB703-0086-4C6D-9495-6FCB81E843BA}"/>
                  </a:ext>
                </a:extLst>
              </p:cNvPr>
              <p:cNvSpPr/>
              <p:nvPr/>
            </p:nvSpPr>
            <p:spPr>
              <a:xfrm>
                <a:off x="2149553" y="2811247"/>
                <a:ext cx="6576" cy="899"/>
              </a:xfrm>
              <a:custGeom>
                <a:avLst/>
                <a:gdLst>
                  <a:gd name="connsiteX0" fmla="*/ 6577 w 6576"/>
                  <a:gd name="connsiteY0" fmla="*/ 900 h 899"/>
                  <a:gd name="connsiteX1" fmla="*/ 0 w 6576"/>
                  <a:gd name="connsiteY1" fmla="*/ 303 h 899"/>
                  <a:gd name="connsiteX2" fmla="*/ 6577 w 6576"/>
                  <a:gd name="connsiteY2" fmla="*/ 900 h 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76" h="899">
                    <a:moveTo>
                      <a:pt x="6577" y="900"/>
                    </a:moveTo>
                    <a:cubicBezTo>
                      <a:pt x="4514" y="-36"/>
                      <a:pt x="2192" y="-254"/>
                      <a:pt x="0" y="303"/>
                    </a:cubicBezTo>
                    <a:cubicBezTo>
                      <a:pt x="2192" y="-254"/>
                      <a:pt x="4514" y="-36"/>
                      <a:pt x="6577" y="90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11" name="Freeform: Shape 2110">
                <a:extLst>
                  <a:ext uri="{FF2B5EF4-FFF2-40B4-BE49-F238E27FC236}">
                    <a16:creationId xmlns:a16="http://schemas.microsoft.com/office/drawing/2014/main" id="{D3220EC8-F472-4324-9E99-17DBA42C5C58}"/>
                  </a:ext>
                </a:extLst>
              </p:cNvPr>
              <p:cNvSpPr/>
              <p:nvPr/>
            </p:nvSpPr>
            <p:spPr>
              <a:xfrm>
                <a:off x="2153140" y="2628692"/>
                <a:ext cx="5181" cy="6267"/>
              </a:xfrm>
              <a:custGeom>
                <a:avLst/>
                <a:gdLst>
                  <a:gd name="connsiteX0" fmla="*/ 5181 w 5181"/>
                  <a:gd name="connsiteY0" fmla="*/ 0 h 6267"/>
                  <a:gd name="connsiteX1" fmla="*/ 0 w 5181"/>
                  <a:gd name="connsiteY1" fmla="*/ 6268 h 6267"/>
                  <a:gd name="connsiteX2" fmla="*/ 5181 w 5181"/>
                  <a:gd name="connsiteY2" fmla="*/ 0 h 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1" h="6267">
                    <a:moveTo>
                      <a:pt x="5181" y="0"/>
                    </a:moveTo>
                    <a:cubicBezTo>
                      <a:pt x="4185" y="2596"/>
                      <a:pt x="2362" y="4795"/>
                      <a:pt x="0" y="6268"/>
                    </a:cubicBezTo>
                    <a:cubicBezTo>
                      <a:pt x="2232" y="4656"/>
                      <a:pt x="4016" y="2497"/>
                      <a:pt x="518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12" name="Freeform: Shape 2111">
                <a:extLst>
                  <a:ext uri="{FF2B5EF4-FFF2-40B4-BE49-F238E27FC236}">
                    <a16:creationId xmlns:a16="http://schemas.microsoft.com/office/drawing/2014/main" id="{FCE7A1DF-0EE7-4762-8E6A-69395C83DEE8}"/>
                  </a:ext>
                </a:extLst>
              </p:cNvPr>
              <p:cNvSpPr/>
              <p:nvPr/>
            </p:nvSpPr>
            <p:spPr>
              <a:xfrm>
                <a:off x="2157624" y="2615460"/>
                <a:ext cx="1919" cy="5571"/>
              </a:xfrm>
              <a:custGeom>
                <a:avLst/>
                <a:gdLst>
                  <a:gd name="connsiteX0" fmla="*/ 0 w 1919"/>
                  <a:gd name="connsiteY0" fmla="*/ 0 h 5571"/>
                  <a:gd name="connsiteX1" fmla="*/ 1495 w 1919"/>
                  <a:gd name="connsiteY1" fmla="*/ 5571 h 5571"/>
                  <a:gd name="connsiteX2" fmla="*/ 0 w 1919"/>
                  <a:gd name="connsiteY2" fmla="*/ 0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19" h="5571">
                    <a:moveTo>
                      <a:pt x="0" y="0"/>
                    </a:moveTo>
                    <a:cubicBezTo>
                      <a:pt x="1794" y="1244"/>
                      <a:pt x="2421" y="3601"/>
                      <a:pt x="1495" y="5571"/>
                    </a:cubicBezTo>
                    <a:cubicBezTo>
                      <a:pt x="2152" y="3582"/>
                      <a:pt x="1565" y="139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13" name="Freeform: Shape 2112">
                <a:extLst>
                  <a:ext uri="{FF2B5EF4-FFF2-40B4-BE49-F238E27FC236}">
                    <a16:creationId xmlns:a16="http://schemas.microsoft.com/office/drawing/2014/main" id="{EDE65C98-057A-4058-8B75-8FC8F470612D}"/>
                  </a:ext>
                </a:extLst>
              </p:cNvPr>
              <p:cNvSpPr/>
              <p:nvPr/>
            </p:nvSpPr>
            <p:spPr>
              <a:xfrm>
                <a:off x="2185026" y="2711466"/>
                <a:ext cx="5580" cy="4078"/>
              </a:xfrm>
              <a:custGeom>
                <a:avLst/>
                <a:gdLst>
                  <a:gd name="connsiteX0" fmla="*/ 0 w 5580"/>
                  <a:gd name="connsiteY0" fmla="*/ 4079 h 4078"/>
                  <a:gd name="connsiteX1" fmla="*/ 5580 w 5580"/>
                  <a:gd name="connsiteY1" fmla="*/ 0 h 4078"/>
                  <a:gd name="connsiteX2" fmla="*/ 0 w 5580"/>
                  <a:gd name="connsiteY2" fmla="*/ 4079 h 4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80" h="4078">
                    <a:moveTo>
                      <a:pt x="0" y="4079"/>
                    </a:moveTo>
                    <a:cubicBezTo>
                      <a:pt x="1555" y="2338"/>
                      <a:pt x="3458" y="955"/>
                      <a:pt x="5580" y="0"/>
                    </a:cubicBezTo>
                    <a:cubicBezTo>
                      <a:pt x="3607" y="1194"/>
                      <a:pt x="1744" y="2567"/>
                      <a:pt x="0" y="407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14" name="Freeform: Shape 2113">
                <a:extLst>
                  <a:ext uri="{FF2B5EF4-FFF2-40B4-BE49-F238E27FC236}">
                    <a16:creationId xmlns:a16="http://schemas.microsoft.com/office/drawing/2014/main" id="{307F0050-C5C1-42C2-9964-21717C680821}"/>
                  </a:ext>
                </a:extLst>
              </p:cNvPr>
              <p:cNvSpPr/>
              <p:nvPr/>
            </p:nvSpPr>
            <p:spPr>
              <a:xfrm>
                <a:off x="2180841" y="2675478"/>
                <a:ext cx="14647" cy="470"/>
              </a:xfrm>
              <a:custGeom>
                <a:avLst/>
                <a:gdLst>
                  <a:gd name="connsiteX0" fmla="*/ 14648 w 14647"/>
                  <a:gd name="connsiteY0" fmla="*/ 470 h 470"/>
                  <a:gd name="connsiteX1" fmla="*/ 0 w 14647"/>
                  <a:gd name="connsiteY1" fmla="*/ 470 h 470"/>
                  <a:gd name="connsiteX2" fmla="*/ 14648 w 14647"/>
                  <a:gd name="connsiteY2" fmla="*/ 470 h 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47" h="470">
                    <a:moveTo>
                      <a:pt x="14648" y="470"/>
                    </a:moveTo>
                    <a:cubicBezTo>
                      <a:pt x="9765" y="470"/>
                      <a:pt x="4683" y="470"/>
                      <a:pt x="0" y="470"/>
                    </a:cubicBezTo>
                    <a:cubicBezTo>
                      <a:pt x="4862" y="-157"/>
                      <a:pt x="9785" y="-157"/>
                      <a:pt x="14648" y="47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15" name="Freeform: Shape 2114">
                <a:extLst>
                  <a:ext uri="{FF2B5EF4-FFF2-40B4-BE49-F238E27FC236}">
                    <a16:creationId xmlns:a16="http://schemas.microsoft.com/office/drawing/2014/main" id="{129D2192-10F6-44CE-87B9-1D7C7080EB59}"/>
                  </a:ext>
                </a:extLst>
              </p:cNvPr>
              <p:cNvSpPr/>
              <p:nvPr/>
            </p:nvSpPr>
            <p:spPr>
              <a:xfrm>
                <a:off x="2199575" y="2704004"/>
                <a:ext cx="2391" cy="2487"/>
              </a:xfrm>
              <a:custGeom>
                <a:avLst/>
                <a:gdLst>
                  <a:gd name="connsiteX0" fmla="*/ 1893 w 2391"/>
                  <a:gd name="connsiteY0" fmla="*/ 0 h 2487"/>
                  <a:gd name="connsiteX1" fmla="*/ 2391 w 2391"/>
                  <a:gd name="connsiteY1" fmla="*/ 1592 h 2487"/>
                  <a:gd name="connsiteX2" fmla="*/ 0 w 2391"/>
                  <a:gd name="connsiteY2" fmla="*/ 2487 h 2487"/>
                  <a:gd name="connsiteX3" fmla="*/ 1893 w 2391"/>
                  <a:gd name="connsiteY3" fmla="*/ 0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91" h="2487">
                    <a:moveTo>
                      <a:pt x="1893" y="0"/>
                    </a:moveTo>
                    <a:cubicBezTo>
                      <a:pt x="2022" y="537"/>
                      <a:pt x="2192" y="1074"/>
                      <a:pt x="2391" y="1592"/>
                    </a:cubicBezTo>
                    <a:lnTo>
                      <a:pt x="0" y="2487"/>
                    </a:lnTo>
                    <a:cubicBezTo>
                      <a:pt x="827" y="1830"/>
                      <a:pt x="1475" y="975"/>
                      <a:pt x="1893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16" name="Freeform: Shape 2115">
                <a:extLst>
                  <a:ext uri="{FF2B5EF4-FFF2-40B4-BE49-F238E27FC236}">
                    <a16:creationId xmlns:a16="http://schemas.microsoft.com/office/drawing/2014/main" id="{6E5FDBC0-3FA5-4F41-B4BA-C11D6ED26E5C}"/>
                  </a:ext>
                </a:extLst>
              </p:cNvPr>
              <p:cNvSpPr/>
              <p:nvPr/>
            </p:nvSpPr>
            <p:spPr>
              <a:xfrm>
                <a:off x="2202962" y="2693458"/>
                <a:ext cx="6675" cy="2387"/>
              </a:xfrm>
              <a:custGeom>
                <a:avLst/>
                <a:gdLst>
                  <a:gd name="connsiteX0" fmla="*/ 0 w 6675"/>
                  <a:gd name="connsiteY0" fmla="*/ 2388 h 2387"/>
                  <a:gd name="connsiteX1" fmla="*/ 6676 w 6675"/>
                  <a:gd name="connsiteY1" fmla="*/ 0 h 2387"/>
                  <a:gd name="connsiteX2" fmla="*/ 0 w 6675"/>
                  <a:gd name="connsiteY2" fmla="*/ 2388 h 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75" h="2387">
                    <a:moveTo>
                      <a:pt x="0" y="2388"/>
                    </a:moveTo>
                    <a:cubicBezTo>
                      <a:pt x="2082" y="1244"/>
                      <a:pt x="4334" y="438"/>
                      <a:pt x="6676" y="0"/>
                    </a:cubicBezTo>
                    <a:cubicBezTo>
                      <a:pt x="5181" y="1095"/>
                      <a:pt x="1893" y="1194"/>
                      <a:pt x="0" y="238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117" name="Freeform: Shape 2116">
                <a:extLst>
                  <a:ext uri="{FF2B5EF4-FFF2-40B4-BE49-F238E27FC236}">
                    <a16:creationId xmlns:a16="http://schemas.microsoft.com/office/drawing/2014/main" id="{0F97A8EE-371A-48AE-AE18-976723DDC0DC}"/>
                  </a:ext>
                </a:extLst>
              </p:cNvPr>
              <p:cNvSpPr/>
              <p:nvPr/>
            </p:nvSpPr>
            <p:spPr>
              <a:xfrm>
                <a:off x="2203361" y="2679431"/>
                <a:ext cx="8606" cy="11739"/>
              </a:xfrm>
              <a:custGeom>
                <a:avLst/>
                <a:gdLst>
                  <a:gd name="connsiteX0" fmla="*/ 8570 w 8606"/>
                  <a:gd name="connsiteY0" fmla="*/ 11242 h 11739"/>
                  <a:gd name="connsiteX1" fmla="*/ 8570 w 8606"/>
                  <a:gd name="connsiteY1" fmla="*/ 11739 h 11739"/>
                  <a:gd name="connsiteX2" fmla="*/ 0 w 8606"/>
                  <a:gd name="connsiteY2" fmla="*/ 0 h 11739"/>
                  <a:gd name="connsiteX3" fmla="*/ 8570 w 8606"/>
                  <a:gd name="connsiteY3" fmla="*/ 11242 h 11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606" h="11739">
                    <a:moveTo>
                      <a:pt x="8570" y="11242"/>
                    </a:moveTo>
                    <a:cubicBezTo>
                      <a:pt x="8619" y="11401"/>
                      <a:pt x="8619" y="11580"/>
                      <a:pt x="8570" y="11739"/>
                    </a:cubicBezTo>
                    <a:cubicBezTo>
                      <a:pt x="6377" y="7382"/>
                      <a:pt x="3478" y="3422"/>
                      <a:pt x="0" y="0"/>
                    </a:cubicBezTo>
                    <a:cubicBezTo>
                      <a:pt x="3468" y="3243"/>
                      <a:pt x="6367" y="7043"/>
                      <a:pt x="8570" y="1124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86" name="Graphic 231">
              <a:extLst>
                <a:ext uri="{FF2B5EF4-FFF2-40B4-BE49-F238E27FC236}">
                  <a16:creationId xmlns:a16="http://schemas.microsoft.com/office/drawing/2014/main" id="{1B4BF055-53AC-43A9-AD1F-42B3489EE1E6}"/>
                </a:ext>
              </a:extLst>
            </p:cNvPr>
            <p:cNvGrpSpPr/>
            <p:nvPr/>
          </p:nvGrpSpPr>
          <p:grpSpPr>
            <a:xfrm>
              <a:off x="1961824" y="2830950"/>
              <a:ext cx="444412" cy="717403"/>
              <a:chOff x="1961824" y="2830950"/>
              <a:chExt cx="444412" cy="717403"/>
            </a:xfrm>
            <a:solidFill>
              <a:srgbClr val="ECE8E4"/>
            </a:solidFill>
          </p:grpSpPr>
          <p:sp>
            <p:nvSpPr>
              <p:cNvPr id="2060" name="Freeform: Shape 2059">
                <a:extLst>
                  <a:ext uri="{FF2B5EF4-FFF2-40B4-BE49-F238E27FC236}">
                    <a16:creationId xmlns:a16="http://schemas.microsoft.com/office/drawing/2014/main" id="{1FD194B9-8883-4458-98E7-F377D9F1C57A}"/>
                  </a:ext>
                </a:extLst>
              </p:cNvPr>
              <p:cNvSpPr/>
              <p:nvPr/>
            </p:nvSpPr>
            <p:spPr>
              <a:xfrm>
                <a:off x="1961824" y="3424193"/>
                <a:ext cx="6476" cy="5670"/>
              </a:xfrm>
              <a:custGeom>
                <a:avLst/>
                <a:gdLst>
                  <a:gd name="connsiteX0" fmla="*/ 6477 w 6476"/>
                  <a:gd name="connsiteY0" fmla="*/ 0 h 5670"/>
                  <a:gd name="connsiteX1" fmla="*/ 0 w 6476"/>
                  <a:gd name="connsiteY1" fmla="*/ 5671 h 5670"/>
                  <a:gd name="connsiteX2" fmla="*/ 6477 w 6476"/>
                  <a:gd name="connsiteY2" fmla="*/ 0 h 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76" h="5670">
                    <a:moveTo>
                      <a:pt x="6477" y="0"/>
                    </a:moveTo>
                    <a:cubicBezTo>
                      <a:pt x="4813" y="2388"/>
                      <a:pt x="2591" y="4328"/>
                      <a:pt x="0" y="5671"/>
                    </a:cubicBezTo>
                    <a:cubicBezTo>
                      <a:pt x="2521" y="4238"/>
                      <a:pt x="4723" y="2308"/>
                      <a:pt x="647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61" name="Freeform: Shape 2060">
                <a:extLst>
                  <a:ext uri="{FF2B5EF4-FFF2-40B4-BE49-F238E27FC236}">
                    <a16:creationId xmlns:a16="http://schemas.microsoft.com/office/drawing/2014/main" id="{4A33CFB2-98CE-48F4-929E-41417D83C955}"/>
                  </a:ext>
                </a:extLst>
              </p:cNvPr>
              <p:cNvSpPr/>
              <p:nvPr/>
            </p:nvSpPr>
            <p:spPr>
              <a:xfrm>
                <a:off x="1963696" y="3407878"/>
                <a:ext cx="1515" cy="4377"/>
              </a:xfrm>
              <a:custGeom>
                <a:avLst/>
                <a:gdLst>
                  <a:gd name="connsiteX0" fmla="*/ 1017 w 1515"/>
                  <a:gd name="connsiteY0" fmla="*/ 0 h 4377"/>
                  <a:gd name="connsiteX1" fmla="*/ 1515 w 1515"/>
                  <a:gd name="connsiteY1" fmla="*/ 4377 h 4377"/>
                  <a:gd name="connsiteX2" fmla="*/ 121 w 1515"/>
                  <a:gd name="connsiteY2" fmla="*/ 1194 h 4377"/>
                  <a:gd name="connsiteX3" fmla="*/ 1017 w 1515"/>
                  <a:gd name="connsiteY3" fmla="*/ 0 h 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5" h="4377">
                    <a:moveTo>
                      <a:pt x="1017" y="0"/>
                    </a:moveTo>
                    <a:cubicBezTo>
                      <a:pt x="828" y="1482"/>
                      <a:pt x="997" y="2985"/>
                      <a:pt x="1515" y="4377"/>
                    </a:cubicBezTo>
                    <a:cubicBezTo>
                      <a:pt x="1515" y="3283"/>
                      <a:pt x="619" y="2388"/>
                      <a:pt x="121" y="1194"/>
                    </a:cubicBezTo>
                    <a:cubicBezTo>
                      <a:pt x="-378" y="0"/>
                      <a:pt x="818" y="298"/>
                      <a:pt x="101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62" name="Freeform: Shape 2061">
                <a:extLst>
                  <a:ext uri="{FF2B5EF4-FFF2-40B4-BE49-F238E27FC236}">
                    <a16:creationId xmlns:a16="http://schemas.microsoft.com/office/drawing/2014/main" id="{C27F7690-D865-41F8-A1C0-D4013A9DA2CD}"/>
                  </a:ext>
                </a:extLst>
              </p:cNvPr>
              <p:cNvSpPr/>
              <p:nvPr/>
            </p:nvSpPr>
            <p:spPr>
              <a:xfrm>
                <a:off x="1962421" y="3390069"/>
                <a:ext cx="5181" cy="2188"/>
              </a:xfrm>
              <a:custGeom>
                <a:avLst/>
                <a:gdLst>
                  <a:gd name="connsiteX0" fmla="*/ 5181 w 5181"/>
                  <a:gd name="connsiteY0" fmla="*/ 696 h 2188"/>
                  <a:gd name="connsiteX1" fmla="*/ 0 w 5181"/>
                  <a:gd name="connsiteY1" fmla="*/ 2189 h 2188"/>
                  <a:gd name="connsiteX2" fmla="*/ 1395 w 5181"/>
                  <a:gd name="connsiteY2" fmla="*/ 0 h 2188"/>
                  <a:gd name="connsiteX3" fmla="*/ 5181 w 5181"/>
                  <a:gd name="connsiteY3" fmla="*/ 696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81" h="2188">
                    <a:moveTo>
                      <a:pt x="5181" y="696"/>
                    </a:moveTo>
                    <a:cubicBezTo>
                      <a:pt x="3388" y="945"/>
                      <a:pt x="1644" y="1452"/>
                      <a:pt x="0" y="2189"/>
                    </a:cubicBezTo>
                    <a:cubicBezTo>
                      <a:pt x="428" y="1432"/>
                      <a:pt x="887" y="706"/>
                      <a:pt x="1395" y="0"/>
                    </a:cubicBezTo>
                    <a:cubicBezTo>
                      <a:pt x="2601" y="478"/>
                      <a:pt x="3886" y="716"/>
                      <a:pt x="5181" y="6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63" name="Freeform: Shape 2062">
                <a:extLst>
                  <a:ext uri="{FF2B5EF4-FFF2-40B4-BE49-F238E27FC236}">
                    <a16:creationId xmlns:a16="http://schemas.microsoft.com/office/drawing/2014/main" id="{7F564766-552F-424A-A2B6-36B144070D22}"/>
                  </a:ext>
                </a:extLst>
              </p:cNvPr>
              <p:cNvSpPr/>
              <p:nvPr/>
            </p:nvSpPr>
            <p:spPr>
              <a:xfrm>
                <a:off x="1965311" y="3399123"/>
                <a:ext cx="2491" cy="3282"/>
              </a:xfrm>
              <a:custGeom>
                <a:avLst/>
                <a:gdLst>
                  <a:gd name="connsiteX0" fmla="*/ 0 w 2491"/>
                  <a:gd name="connsiteY0" fmla="*/ 0 h 3282"/>
                  <a:gd name="connsiteX1" fmla="*/ 2491 w 2491"/>
                  <a:gd name="connsiteY1" fmla="*/ 1890 h 3282"/>
                  <a:gd name="connsiteX2" fmla="*/ 1594 w 2491"/>
                  <a:gd name="connsiteY2" fmla="*/ 3283 h 3282"/>
                  <a:gd name="connsiteX3" fmla="*/ 0 w 2491"/>
                  <a:gd name="connsiteY3" fmla="*/ 0 h 3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1" h="3282">
                    <a:moveTo>
                      <a:pt x="0" y="0"/>
                    </a:moveTo>
                    <a:lnTo>
                      <a:pt x="2491" y="1890"/>
                    </a:lnTo>
                    <a:lnTo>
                      <a:pt x="1594" y="3283"/>
                    </a:lnTo>
                    <a:cubicBezTo>
                      <a:pt x="1465" y="2039"/>
                      <a:pt x="897" y="87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64" name="Freeform: Shape 2063">
                <a:extLst>
                  <a:ext uri="{FF2B5EF4-FFF2-40B4-BE49-F238E27FC236}">
                    <a16:creationId xmlns:a16="http://schemas.microsoft.com/office/drawing/2014/main" id="{78338673-AC27-462E-AE63-50F04267B830}"/>
                  </a:ext>
                </a:extLst>
              </p:cNvPr>
              <p:cNvSpPr/>
              <p:nvPr/>
            </p:nvSpPr>
            <p:spPr>
              <a:xfrm>
                <a:off x="2018621" y="3116976"/>
                <a:ext cx="2192" cy="3183"/>
              </a:xfrm>
              <a:custGeom>
                <a:avLst/>
                <a:gdLst>
                  <a:gd name="connsiteX0" fmla="*/ 1295 w 2192"/>
                  <a:gd name="connsiteY0" fmla="*/ 0 h 3183"/>
                  <a:gd name="connsiteX1" fmla="*/ 2192 w 2192"/>
                  <a:gd name="connsiteY1" fmla="*/ 3184 h 3183"/>
                  <a:gd name="connsiteX2" fmla="*/ 0 w 2192"/>
                  <a:gd name="connsiteY2" fmla="*/ 1492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92" h="3183">
                    <a:moveTo>
                      <a:pt x="1295" y="0"/>
                    </a:moveTo>
                    <a:cubicBezTo>
                      <a:pt x="1265" y="1124"/>
                      <a:pt x="1574" y="2239"/>
                      <a:pt x="2192" y="3184"/>
                    </a:cubicBezTo>
                    <a:lnTo>
                      <a:pt x="0" y="1492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65" name="Freeform: Shape 2064">
                <a:extLst>
                  <a:ext uri="{FF2B5EF4-FFF2-40B4-BE49-F238E27FC236}">
                    <a16:creationId xmlns:a16="http://schemas.microsoft.com/office/drawing/2014/main" id="{F5931B0B-67E7-4D0C-B3AB-BA5D459E4DDA}"/>
                  </a:ext>
                </a:extLst>
              </p:cNvPr>
              <p:cNvSpPr/>
              <p:nvPr/>
            </p:nvSpPr>
            <p:spPr>
              <a:xfrm>
                <a:off x="2023105" y="3134884"/>
                <a:ext cx="8270" cy="7660"/>
              </a:xfrm>
              <a:custGeom>
                <a:avLst/>
                <a:gdLst>
                  <a:gd name="connsiteX0" fmla="*/ 8271 w 8270"/>
                  <a:gd name="connsiteY0" fmla="*/ 7660 h 7660"/>
                  <a:gd name="connsiteX1" fmla="*/ 0 w 8270"/>
                  <a:gd name="connsiteY1" fmla="*/ 0 h 7660"/>
                  <a:gd name="connsiteX2" fmla="*/ 8271 w 8270"/>
                  <a:gd name="connsiteY2" fmla="*/ 7660 h 7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70" h="7660">
                    <a:moveTo>
                      <a:pt x="8271" y="7660"/>
                    </a:moveTo>
                    <a:cubicBezTo>
                      <a:pt x="5879" y="4735"/>
                      <a:pt x="3099" y="2159"/>
                      <a:pt x="0" y="0"/>
                    </a:cubicBezTo>
                    <a:cubicBezTo>
                      <a:pt x="3498" y="1612"/>
                      <a:pt x="6397" y="4298"/>
                      <a:pt x="8271" y="766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66" name="Freeform: Shape 2065">
                <a:extLst>
                  <a:ext uri="{FF2B5EF4-FFF2-40B4-BE49-F238E27FC236}">
                    <a16:creationId xmlns:a16="http://schemas.microsoft.com/office/drawing/2014/main" id="{801ADB96-A384-4F08-BFA1-01AE3BF77745}"/>
                  </a:ext>
                </a:extLst>
              </p:cNvPr>
              <p:cNvSpPr/>
              <p:nvPr/>
            </p:nvSpPr>
            <p:spPr>
              <a:xfrm>
                <a:off x="2024699" y="3124537"/>
                <a:ext cx="1893" cy="3382"/>
              </a:xfrm>
              <a:custGeom>
                <a:avLst/>
                <a:gdLst>
                  <a:gd name="connsiteX0" fmla="*/ 0 w 1893"/>
                  <a:gd name="connsiteY0" fmla="*/ 3383 h 3382"/>
                  <a:gd name="connsiteX1" fmla="*/ 0 w 1893"/>
                  <a:gd name="connsiteY1" fmla="*/ 0 h 3382"/>
                  <a:gd name="connsiteX2" fmla="*/ 1893 w 1893"/>
                  <a:gd name="connsiteY2" fmla="*/ 1194 h 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93" h="3382">
                    <a:moveTo>
                      <a:pt x="0" y="3383"/>
                    </a:moveTo>
                    <a:cubicBezTo>
                      <a:pt x="698" y="2368"/>
                      <a:pt x="698" y="1015"/>
                      <a:pt x="0" y="0"/>
                    </a:cubicBezTo>
                    <a:lnTo>
                      <a:pt x="1893" y="1194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67" name="Freeform: Shape 2066">
                <a:extLst>
                  <a:ext uri="{FF2B5EF4-FFF2-40B4-BE49-F238E27FC236}">
                    <a16:creationId xmlns:a16="http://schemas.microsoft.com/office/drawing/2014/main" id="{19535AC7-5D77-4D4A-833A-CBA4C51D0DC1}"/>
                  </a:ext>
                </a:extLst>
              </p:cNvPr>
              <p:cNvSpPr/>
              <p:nvPr/>
            </p:nvSpPr>
            <p:spPr>
              <a:xfrm>
                <a:off x="2025297" y="3110908"/>
                <a:ext cx="4284" cy="2586"/>
              </a:xfrm>
              <a:custGeom>
                <a:avLst/>
                <a:gdLst>
                  <a:gd name="connsiteX0" fmla="*/ 3488 w 4284"/>
                  <a:gd name="connsiteY0" fmla="*/ 2586 h 2586"/>
                  <a:gd name="connsiteX1" fmla="*/ 0 w 4284"/>
                  <a:gd name="connsiteY1" fmla="*/ 2586 h 2586"/>
                  <a:gd name="connsiteX2" fmla="*/ 4285 w 4284"/>
                  <a:gd name="connsiteY2" fmla="*/ 0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84" h="2586">
                    <a:moveTo>
                      <a:pt x="3488" y="2586"/>
                    </a:moveTo>
                    <a:lnTo>
                      <a:pt x="0" y="2586"/>
                    </a:lnTo>
                    <a:cubicBezTo>
                      <a:pt x="1993" y="1890"/>
                      <a:pt x="3189" y="2586"/>
                      <a:pt x="428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68" name="Freeform: Shape 2067">
                <a:extLst>
                  <a:ext uri="{FF2B5EF4-FFF2-40B4-BE49-F238E27FC236}">
                    <a16:creationId xmlns:a16="http://schemas.microsoft.com/office/drawing/2014/main" id="{E29FE47B-2C76-477F-9CA7-5CA8EB7CBF3A}"/>
                  </a:ext>
                </a:extLst>
              </p:cNvPr>
              <p:cNvSpPr/>
              <p:nvPr/>
            </p:nvSpPr>
            <p:spPr>
              <a:xfrm>
                <a:off x="2033461" y="2999880"/>
                <a:ext cx="2198" cy="5372"/>
              </a:xfrm>
              <a:custGeom>
                <a:avLst/>
                <a:gdLst>
                  <a:gd name="connsiteX0" fmla="*/ 106 w 2198"/>
                  <a:gd name="connsiteY0" fmla="*/ 1293 h 5372"/>
                  <a:gd name="connsiteX1" fmla="*/ 2199 w 2198"/>
                  <a:gd name="connsiteY1" fmla="*/ 0 h 5372"/>
                  <a:gd name="connsiteX2" fmla="*/ 405 w 2198"/>
                  <a:gd name="connsiteY2" fmla="*/ 5372 h 5372"/>
                  <a:gd name="connsiteX3" fmla="*/ 106 w 2198"/>
                  <a:gd name="connsiteY3" fmla="*/ 1293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98" h="5372">
                    <a:moveTo>
                      <a:pt x="106" y="1293"/>
                    </a:moveTo>
                    <a:lnTo>
                      <a:pt x="2199" y="0"/>
                    </a:lnTo>
                    <a:cubicBezTo>
                      <a:pt x="1162" y="1612"/>
                      <a:pt x="545" y="3462"/>
                      <a:pt x="405" y="5372"/>
                    </a:cubicBezTo>
                    <a:cubicBezTo>
                      <a:pt x="-3" y="4049"/>
                      <a:pt x="-103" y="2656"/>
                      <a:pt x="106" y="12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69" name="Freeform: Shape 2068">
                <a:extLst>
                  <a:ext uri="{FF2B5EF4-FFF2-40B4-BE49-F238E27FC236}">
                    <a16:creationId xmlns:a16="http://schemas.microsoft.com/office/drawing/2014/main" id="{F1EDAA77-5B39-4C3B-B4F5-677E1312E74E}"/>
                  </a:ext>
                </a:extLst>
              </p:cNvPr>
              <p:cNvSpPr/>
              <p:nvPr/>
            </p:nvSpPr>
            <p:spPr>
              <a:xfrm>
                <a:off x="2036557" y="3010525"/>
                <a:ext cx="1993" cy="3979"/>
              </a:xfrm>
              <a:custGeom>
                <a:avLst/>
                <a:gdLst>
                  <a:gd name="connsiteX0" fmla="*/ 0 w 1993"/>
                  <a:gd name="connsiteY0" fmla="*/ 0 h 3979"/>
                  <a:gd name="connsiteX1" fmla="*/ 1993 w 1993"/>
                  <a:gd name="connsiteY1" fmla="*/ 3979 h 3979"/>
                  <a:gd name="connsiteX2" fmla="*/ 0 w 1993"/>
                  <a:gd name="connsiteY2" fmla="*/ 0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3" h="3979">
                    <a:moveTo>
                      <a:pt x="0" y="0"/>
                    </a:moveTo>
                    <a:cubicBezTo>
                      <a:pt x="1136" y="1034"/>
                      <a:pt x="1843" y="2447"/>
                      <a:pt x="1993" y="3979"/>
                    </a:cubicBezTo>
                    <a:cubicBezTo>
                      <a:pt x="1574" y="2547"/>
                      <a:pt x="897" y="11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0" name="Freeform: Shape 2069">
                <a:extLst>
                  <a:ext uri="{FF2B5EF4-FFF2-40B4-BE49-F238E27FC236}">
                    <a16:creationId xmlns:a16="http://schemas.microsoft.com/office/drawing/2014/main" id="{1119E5D7-8530-43A2-B88D-F280E9117C67}"/>
                  </a:ext>
                </a:extLst>
              </p:cNvPr>
              <p:cNvSpPr/>
              <p:nvPr/>
            </p:nvSpPr>
            <p:spPr>
              <a:xfrm>
                <a:off x="2036656" y="2990826"/>
                <a:ext cx="2165" cy="4079"/>
              </a:xfrm>
              <a:custGeom>
                <a:avLst/>
                <a:gdLst>
                  <a:gd name="connsiteX0" fmla="*/ 2092 w 2165"/>
                  <a:gd name="connsiteY0" fmla="*/ 4079 h 4079"/>
                  <a:gd name="connsiteX1" fmla="*/ 0 w 2165"/>
                  <a:gd name="connsiteY1" fmla="*/ 0 h 4079"/>
                  <a:gd name="connsiteX2" fmla="*/ 2092 w 2165"/>
                  <a:gd name="connsiteY2" fmla="*/ 4079 h 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65" h="4079">
                    <a:moveTo>
                      <a:pt x="2092" y="4079"/>
                    </a:moveTo>
                    <a:cubicBezTo>
                      <a:pt x="1913" y="2507"/>
                      <a:pt x="1176" y="1054"/>
                      <a:pt x="0" y="0"/>
                    </a:cubicBezTo>
                    <a:cubicBezTo>
                      <a:pt x="1564" y="706"/>
                      <a:pt x="2431" y="2398"/>
                      <a:pt x="2092" y="407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1" name="Freeform: Shape 2070">
                <a:extLst>
                  <a:ext uri="{FF2B5EF4-FFF2-40B4-BE49-F238E27FC236}">
                    <a16:creationId xmlns:a16="http://schemas.microsoft.com/office/drawing/2014/main" id="{96D6DD7F-FF8C-4449-9C76-15E647E2FA86}"/>
                  </a:ext>
                </a:extLst>
              </p:cNvPr>
              <p:cNvSpPr/>
              <p:nvPr/>
            </p:nvSpPr>
            <p:spPr>
              <a:xfrm>
                <a:off x="2094449" y="2899994"/>
                <a:ext cx="2193" cy="11640"/>
              </a:xfrm>
              <a:custGeom>
                <a:avLst/>
                <a:gdLst>
                  <a:gd name="connsiteX0" fmla="*/ 1 w 2193"/>
                  <a:gd name="connsiteY0" fmla="*/ 11640 h 11640"/>
                  <a:gd name="connsiteX1" fmla="*/ 2193 w 2193"/>
                  <a:gd name="connsiteY1" fmla="*/ 0 h 11640"/>
                  <a:gd name="connsiteX2" fmla="*/ 1 w 2193"/>
                  <a:gd name="connsiteY2" fmla="*/ 11640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93" h="11640">
                    <a:moveTo>
                      <a:pt x="1" y="11640"/>
                    </a:moveTo>
                    <a:cubicBezTo>
                      <a:pt x="-29" y="7651"/>
                      <a:pt x="708" y="3701"/>
                      <a:pt x="2193" y="0"/>
                    </a:cubicBezTo>
                    <a:cubicBezTo>
                      <a:pt x="1695" y="3781"/>
                      <a:pt x="400" y="7660"/>
                      <a:pt x="1" y="1164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2" name="Freeform: Shape 2071">
                <a:extLst>
                  <a:ext uri="{FF2B5EF4-FFF2-40B4-BE49-F238E27FC236}">
                    <a16:creationId xmlns:a16="http://schemas.microsoft.com/office/drawing/2014/main" id="{F674C979-5675-4BF9-80CA-E4A74B3E31D8}"/>
                  </a:ext>
                </a:extLst>
              </p:cNvPr>
              <p:cNvSpPr/>
              <p:nvPr/>
            </p:nvSpPr>
            <p:spPr>
              <a:xfrm>
                <a:off x="2094749" y="2890443"/>
                <a:ext cx="1694" cy="3780"/>
              </a:xfrm>
              <a:custGeom>
                <a:avLst/>
                <a:gdLst>
                  <a:gd name="connsiteX0" fmla="*/ 0 w 1694"/>
                  <a:gd name="connsiteY0" fmla="*/ 0 h 3780"/>
                  <a:gd name="connsiteX1" fmla="*/ 1694 w 1694"/>
                  <a:gd name="connsiteY1" fmla="*/ 3781 h 3780"/>
                  <a:gd name="connsiteX2" fmla="*/ 0 w 1694"/>
                  <a:gd name="connsiteY2" fmla="*/ 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4" h="3780">
                    <a:moveTo>
                      <a:pt x="0" y="0"/>
                    </a:moveTo>
                    <a:cubicBezTo>
                      <a:pt x="917" y="1064"/>
                      <a:pt x="1505" y="2388"/>
                      <a:pt x="1694" y="3781"/>
                    </a:cubicBezTo>
                    <a:cubicBezTo>
                      <a:pt x="917" y="2627"/>
                      <a:pt x="339" y="135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3" name="Freeform: Shape 2072">
                <a:extLst>
                  <a:ext uri="{FF2B5EF4-FFF2-40B4-BE49-F238E27FC236}">
                    <a16:creationId xmlns:a16="http://schemas.microsoft.com/office/drawing/2014/main" id="{0219AE81-644F-4330-ACB0-E208B3A7ED42}"/>
                  </a:ext>
                </a:extLst>
              </p:cNvPr>
              <p:cNvSpPr/>
              <p:nvPr/>
            </p:nvSpPr>
            <p:spPr>
              <a:xfrm>
                <a:off x="2095147" y="2882683"/>
                <a:ext cx="2391" cy="4178"/>
              </a:xfrm>
              <a:custGeom>
                <a:avLst/>
                <a:gdLst>
                  <a:gd name="connsiteX0" fmla="*/ 0 w 2391"/>
                  <a:gd name="connsiteY0" fmla="*/ 4178 h 4178"/>
                  <a:gd name="connsiteX1" fmla="*/ 2391 w 2391"/>
                  <a:gd name="connsiteY1" fmla="*/ 0 h 4178"/>
                  <a:gd name="connsiteX2" fmla="*/ 0 w 2391"/>
                  <a:gd name="connsiteY2" fmla="*/ 4178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1" h="4178">
                    <a:moveTo>
                      <a:pt x="0" y="4178"/>
                    </a:moveTo>
                    <a:cubicBezTo>
                      <a:pt x="548" y="2656"/>
                      <a:pt x="1365" y="1244"/>
                      <a:pt x="2391" y="0"/>
                    </a:cubicBezTo>
                    <a:cubicBezTo>
                      <a:pt x="1843" y="1522"/>
                      <a:pt x="1026" y="2935"/>
                      <a:pt x="0" y="417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4" name="Freeform: Shape 2073">
                <a:extLst>
                  <a:ext uri="{FF2B5EF4-FFF2-40B4-BE49-F238E27FC236}">
                    <a16:creationId xmlns:a16="http://schemas.microsoft.com/office/drawing/2014/main" id="{4B75D9BA-5A3D-4BE2-AE5F-81CCC737CDF8}"/>
                  </a:ext>
                </a:extLst>
              </p:cNvPr>
              <p:cNvSpPr/>
              <p:nvPr/>
            </p:nvSpPr>
            <p:spPr>
              <a:xfrm>
                <a:off x="2098326" y="2877211"/>
                <a:ext cx="321" cy="3382"/>
              </a:xfrm>
              <a:custGeom>
                <a:avLst/>
                <a:gdLst>
                  <a:gd name="connsiteX0" fmla="*/ 209 w 321"/>
                  <a:gd name="connsiteY0" fmla="*/ 0 h 3382"/>
                  <a:gd name="connsiteX1" fmla="*/ 209 w 321"/>
                  <a:gd name="connsiteY1" fmla="*/ 3383 h 3382"/>
                  <a:gd name="connsiteX2" fmla="*/ 209 w 321"/>
                  <a:gd name="connsiteY2" fmla="*/ 0 h 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1" h="3382">
                    <a:moveTo>
                      <a:pt x="209" y="0"/>
                    </a:moveTo>
                    <a:cubicBezTo>
                      <a:pt x="359" y="1124"/>
                      <a:pt x="359" y="2259"/>
                      <a:pt x="209" y="3383"/>
                    </a:cubicBezTo>
                    <a:cubicBezTo>
                      <a:pt x="-70" y="2269"/>
                      <a:pt x="-70" y="1114"/>
                      <a:pt x="20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5" name="Freeform: Shape 2074">
                <a:extLst>
                  <a:ext uri="{FF2B5EF4-FFF2-40B4-BE49-F238E27FC236}">
                    <a16:creationId xmlns:a16="http://schemas.microsoft.com/office/drawing/2014/main" id="{2C5572FD-0520-4247-87A8-EAAFD815D9EE}"/>
                  </a:ext>
                </a:extLst>
              </p:cNvPr>
              <p:cNvSpPr/>
              <p:nvPr/>
            </p:nvSpPr>
            <p:spPr>
              <a:xfrm>
                <a:off x="2100827" y="2866168"/>
                <a:ext cx="4483" cy="5670"/>
              </a:xfrm>
              <a:custGeom>
                <a:avLst/>
                <a:gdLst>
                  <a:gd name="connsiteX0" fmla="*/ 3487 w 4483"/>
                  <a:gd name="connsiteY0" fmla="*/ 696 h 5670"/>
                  <a:gd name="connsiteX1" fmla="*/ 4484 w 4483"/>
                  <a:gd name="connsiteY1" fmla="*/ 0 h 5670"/>
                  <a:gd name="connsiteX2" fmla="*/ 0 w 4483"/>
                  <a:gd name="connsiteY2" fmla="*/ 5671 h 5670"/>
                  <a:gd name="connsiteX3" fmla="*/ 3487 w 4483"/>
                  <a:gd name="connsiteY3" fmla="*/ 696 h 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83" h="5670">
                    <a:moveTo>
                      <a:pt x="3487" y="696"/>
                    </a:moveTo>
                    <a:lnTo>
                      <a:pt x="4484" y="0"/>
                    </a:lnTo>
                    <a:lnTo>
                      <a:pt x="0" y="5671"/>
                    </a:lnTo>
                    <a:cubicBezTo>
                      <a:pt x="1196" y="3781"/>
                      <a:pt x="2491" y="1990"/>
                      <a:pt x="3487" y="6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6" name="Freeform: Shape 2075">
                <a:extLst>
                  <a:ext uri="{FF2B5EF4-FFF2-40B4-BE49-F238E27FC236}">
                    <a16:creationId xmlns:a16="http://schemas.microsoft.com/office/drawing/2014/main" id="{EA7ECDE2-3702-467C-9BA2-597E3D8A7A5D}"/>
                  </a:ext>
                </a:extLst>
              </p:cNvPr>
              <p:cNvSpPr/>
              <p:nvPr/>
            </p:nvSpPr>
            <p:spPr>
              <a:xfrm>
                <a:off x="2128229" y="2830950"/>
                <a:ext cx="4284" cy="3880"/>
              </a:xfrm>
              <a:custGeom>
                <a:avLst/>
                <a:gdLst>
                  <a:gd name="connsiteX0" fmla="*/ 4285 w 4284"/>
                  <a:gd name="connsiteY0" fmla="*/ 3880 h 3880"/>
                  <a:gd name="connsiteX1" fmla="*/ 0 w 4284"/>
                  <a:gd name="connsiteY1" fmla="*/ 0 h 3880"/>
                  <a:gd name="connsiteX2" fmla="*/ 1395 w 4284"/>
                  <a:gd name="connsiteY2" fmla="*/ 0 h 3880"/>
                  <a:gd name="connsiteX3" fmla="*/ 4285 w 4284"/>
                  <a:gd name="connsiteY3" fmla="*/ 3880 h 3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4" h="3880">
                    <a:moveTo>
                      <a:pt x="4285" y="3880"/>
                    </a:moveTo>
                    <a:cubicBezTo>
                      <a:pt x="2949" y="2487"/>
                      <a:pt x="1514" y="1194"/>
                      <a:pt x="0" y="0"/>
                    </a:cubicBezTo>
                    <a:lnTo>
                      <a:pt x="1395" y="0"/>
                    </a:lnTo>
                    <a:cubicBezTo>
                      <a:pt x="2232" y="1383"/>
                      <a:pt x="3198" y="2686"/>
                      <a:pt x="4285" y="388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7" name="Freeform: Shape 2076">
                <a:extLst>
                  <a:ext uri="{FF2B5EF4-FFF2-40B4-BE49-F238E27FC236}">
                    <a16:creationId xmlns:a16="http://schemas.microsoft.com/office/drawing/2014/main" id="{831D8893-BB25-4693-A284-632976E3FC3A}"/>
                  </a:ext>
                </a:extLst>
              </p:cNvPr>
              <p:cNvSpPr/>
              <p:nvPr/>
            </p:nvSpPr>
            <p:spPr>
              <a:xfrm>
                <a:off x="2132115" y="2843187"/>
                <a:ext cx="4185" cy="4974"/>
              </a:xfrm>
              <a:custGeom>
                <a:avLst/>
                <a:gdLst>
                  <a:gd name="connsiteX0" fmla="*/ 4185 w 4185"/>
                  <a:gd name="connsiteY0" fmla="*/ 0 h 4974"/>
                  <a:gd name="connsiteX1" fmla="*/ 0 w 4185"/>
                  <a:gd name="connsiteY1" fmla="*/ 4974 h 4974"/>
                  <a:gd name="connsiteX2" fmla="*/ 4185 w 4185"/>
                  <a:gd name="connsiteY2" fmla="*/ 0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85" h="4974">
                    <a:moveTo>
                      <a:pt x="4185" y="0"/>
                    </a:moveTo>
                    <a:cubicBezTo>
                      <a:pt x="4185" y="1592"/>
                      <a:pt x="2691" y="3283"/>
                      <a:pt x="0" y="4974"/>
                    </a:cubicBezTo>
                    <a:cubicBezTo>
                      <a:pt x="1913" y="3830"/>
                      <a:pt x="3388" y="2079"/>
                      <a:pt x="418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8" name="Freeform: Shape 2077">
                <a:extLst>
                  <a:ext uri="{FF2B5EF4-FFF2-40B4-BE49-F238E27FC236}">
                    <a16:creationId xmlns:a16="http://schemas.microsoft.com/office/drawing/2014/main" id="{15289148-AB22-460A-A8C3-A1990CF6AD63}"/>
                  </a:ext>
                </a:extLst>
              </p:cNvPr>
              <p:cNvSpPr/>
              <p:nvPr/>
            </p:nvSpPr>
            <p:spPr>
              <a:xfrm>
                <a:off x="2188215" y="3459213"/>
                <a:ext cx="4484" cy="19897"/>
              </a:xfrm>
              <a:custGeom>
                <a:avLst/>
                <a:gdLst>
                  <a:gd name="connsiteX0" fmla="*/ 0 w 4484"/>
                  <a:gd name="connsiteY0" fmla="*/ 10446 h 19897"/>
                  <a:gd name="connsiteX1" fmla="*/ 4484 w 4484"/>
                  <a:gd name="connsiteY1" fmla="*/ 0 h 19897"/>
                  <a:gd name="connsiteX2" fmla="*/ 1395 w 4484"/>
                  <a:gd name="connsiteY2" fmla="*/ 19897 h 19897"/>
                  <a:gd name="connsiteX3" fmla="*/ 0 w 4484"/>
                  <a:gd name="connsiteY3" fmla="*/ 10446 h 1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84" h="19897">
                    <a:moveTo>
                      <a:pt x="0" y="10446"/>
                    </a:moveTo>
                    <a:cubicBezTo>
                      <a:pt x="1495" y="7263"/>
                      <a:pt x="2989" y="3880"/>
                      <a:pt x="4484" y="0"/>
                    </a:cubicBezTo>
                    <a:cubicBezTo>
                      <a:pt x="2292" y="6397"/>
                      <a:pt x="1246" y="13132"/>
                      <a:pt x="1395" y="19897"/>
                    </a:cubicBezTo>
                    <a:cubicBezTo>
                      <a:pt x="708" y="16784"/>
                      <a:pt x="249" y="13630"/>
                      <a:pt x="0" y="1044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79" name="Freeform: Shape 2078">
                <a:extLst>
                  <a:ext uri="{FF2B5EF4-FFF2-40B4-BE49-F238E27FC236}">
                    <a16:creationId xmlns:a16="http://schemas.microsoft.com/office/drawing/2014/main" id="{8A18BF0B-3804-4060-AB4E-A5789097EA1D}"/>
                  </a:ext>
                </a:extLst>
              </p:cNvPr>
              <p:cNvSpPr/>
              <p:nvPr/>
            </p:nvSpPr>
            <p:spPr>
              <a:xfrm>
                <a:off x="2196186" y="3497317"/>
                <a:ext cx="6377" cy="6963"/>
              </a:xfrm>
              <a:custGeom>
                <a:avLst/>
                <a:gdLst>
                  <a:gd name="connsiteX0" fmla="*/ 6377 w 6377"/>
                  <a:gd name="connsiteY0" fmla="*/ 6964 h 6963"/>
                  <a:gd name="connsiteX1" fmla="*/ 0 w 6377"/>
                  <a:gd name="connsiteY1" fmla="*/ 0 h 6963"/>
                  <a:gd name="connsiteX2" fmla="*/ 6377 w 6377"/>
                  <a:gd name="connsiteY2" fmla="*/ 6964 h 6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77" h="6963">
                    <a:moveTo>
                      <a:pt x="6377" y="6964"/>
                    </a:moveTo>
                    <a:cubicBezTo>
                      <a:pt x="3896" y="4984"/>
                      <a:pt x="1754" y="2636"/>
                      <a:pt x="0" y="0"/>
                    </a:cubicBezTo>
                    <a:cubicBezTo>
                      <a:pt x="2571" y="1870"/>
                      <a:pt x="4743" y="4238"/>
                      <a:pt x="6377" y="696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80" name="Freeform: Shape 2079">
                <a:extLst>
                  <a:ext uri="{FF2B5EF4-FFF2-40B4-BE49-F238E27FC236}">
                    <a16:creationId xmlns:a16="http://schemas.microsoft.com/office/drawing/2014/main" id="{1A9507FC-4D61-4D8F-91D9-AB0C85B5718B}"/>
                  </a:ext>
                </a:extLst>
              </p:cNvPr>
              <p:cNvSpPr/>
              <p:nvPr/>
            </p:nvSpPr>
            <p:spPr>
              <a:xfrm>
                <a:off x="2216016" y="3538206"/>
                <a:ext cx="9067" cy="10147"/>
              </a:xfrm>
              <a:custGeom>
                <a:avLst/>
                <a:gdLst>
                  <a:gd name="connsiteX0" fmla="*/ 9068 w 9067"/>
                  <a:gd name="connsiteY0" fmla="*/ 10148 h 10147"/>
                  <a:gd name="connsiteX1" fmla="*/ 897 w 9067"/>
                  <a:gd name="connsiteY1" fmla="*/ 5174 h 10147"/>
                  <a:gd name="connsiteX2" fmla="*/ 0 w 9067"/>
                  <a:gd name="connsiteY2" fmla="*/ 0 h 10147"/>
                  <a:gd name="connsiteX3" fmla="*/ 9068 w 9067"/>
                  <a:gd name="connsiteY3" fmla="*/ 10148 h 10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67" h="10147">
                    <a:moveTo>
                      <a:pt x="9068" y="10148"/>
                    </a:moveTo>
                    <a:cubicBezTo>
                      <a:pt x="6058" y="9004"/>
                      <a:pt x="3288" y="7312"/>
                      <a:pt x="897" y="5174"/>
                    </a:cubicBezTo>
                    <a:cubicBezTo>
                      <a:pt x="707" y="3432"/>
                      <a:pt x="408" y="1701"/>
                      <a:pt x="0" y="0"/>
                    </a:cubicBezTo>
                    <a:cubicBezTo>
                      <a:pt x="1963" y="4198"/>
                      <a:pt x="5112" y="7730"/>
                      <a:pt x="9068" y="1014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81" name="Freeform: Shape 2080">
                <a:extLst>
                  <a:ext uri="{FF2B5EF4-FFF2-40B4-BE49-F238E27FC236}">
                    <a16:creationId xmlns:a16="http://schemas.microsoft.com/office/drawing/2014/main" id="{2D4E24F8-E82D-44BD-BEDB-5F782F5A07EE}"/>
                  </a:ext>
                </a:extLst>
              </p:cNvPr>
              <p:cNvSpPr/>
              <p:nvPr/>
            </p:nvSpPr>
            <p:spPr>
              <a:xfrm>
                <a:off x="2368870" y="3507365"/>
                <a:ext cx="291" cy="12137"/>
              </a:xfrm>
              <a:custGeom>
                <a:avLst/>
                <a:gdLst>
                  <a:gd name="connsiteX0" fmla="*/ 0 w 291"/>
                  <a:gd name="connsiteY0" fmla="*/ 0 h 12137"/>
                  <a:gd name="connsiteX1" fmla="*/ 0 w 291"/>
                  <a:gd name="connsiteY1" fmla="*/ 12137 h 12137"/>
                  <a:gd name="connsiteX2" fmla="*/ 0 w 291"/>
                  <a:gd name="connsiteY2" fmla="*/ 0 h 12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1" h="12137">
                    <a:moveTo>
                      <a:pt x="0" y="0"/>
                    </a:moveTo>
                    <a:cubicBezTo>
                      <a:pt x="389" y="4039"/>
                      <a:pt x="389" y="8098"/>
                      <a:pt x="0" y="12137"/>
                    </a:cubicBezTo>
                    <a:cubicBezTo>
                      <a:pt x="299" y="8556"/>
                      <a:pt x="199" y="407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82" name="Freeform: Shape 2081">
                <a:extLst>
                  <a:ext uri="{FF2B5EF4-FFF2-40B4-BE49-F238E27FC236}">
                    <a16:creationId xmlns:a16="http://schemas.microsoft.com/office/drawing/2014/main" id="{4AA5E762-6E1B-4816-8262-6DD52E147140}"/>
                  </a:ext>
                </a:extLst>
              </p:cNvPr>
              <p:cNvSpPr/>
              <p:nvPr/>
            </p:nvSpPr>
            <p:spPr>
              <a:xfrm>
                <a:off x="2385212" y="2998188"/>
                <a:ext cx="5181" cy="48052"/>
              </a:xfrm>
              <a:custGeom>
                <a:avLst/>
                <a:gdLst>
                  <a:gd name="connsiteX0" fmla="*/ 2292 w 5181"/>
                  <a:gd name="connsiteY0" fmla="*/ 22882 h 48052"/>
                  <a:gd name="connsiteX1" fmla="*/ 5181 w 5181"/>
                  <a:gd name="connsiteY1" fmla="*/ 0 h 48052"/>
                  <a:gd name="connsiteX2" fmla="*/ 0 w 5181"/>
                  <a:gd name="connsiteY2" fmla="*/ 48053 h 48052"/>
                  <a:gd name="connsiteX3" fmla="*/ 2292 w 5181"/>
                  <a:gd name="connsiteY3" fmla="*/ 22882 h 4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81" h="48052">
                    <a:moveTo>
                      <a:pt x="2292" y="22882"/>
                    </a:moveTo>
                    <a:cubicBezTo>
                      <a:pt x="3288" y="15520"/>
                      <a:pt x="4285" y="7959"/>
                      <a:pt x="5181" y="0"/>
                    </a:cubicBezTo>
                    <a:cubicBezTo>
                      <a:pt x="3487" y="16415"/>
                      <a:pt x="1694" y="32533"/>
                      <a:pt x="0" y="48053"/>
                    </a:cubicBezTo>
                    <a:cubicBezTo>
                      <a:pt x="598" y="40193"/>
                      <a:pt x="1395" y="31140"/>
                      <a:pt x="2292" y="2288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83" name="Freeform: Shape 2082">
                <a:extLst>
                  <a:ext uri="{FF2B5EF4-FFF2-40B4-BE49-F238E27FC236}">
                    <a16:creationId xmlns:a16="http://schemas.microsoft.com/office/drawing/2014/main" id="{439535B9-9600-4732-BF78-639997AF1AC4}"/>
                  </a:ext>
                </a:extLst>
              </p:cNvPr>
              <p:cNvSpPr/>
              <p:nvPr/>
            </p:nvSpPr>
            <p:spPr>
              <a:xfrm>
                <a:off x="2394257" y="2830950"/>
                <a:ext cx="22" cy="796"/>
              </a:xfrm>
              <a:custGeom>
                <a:avLst/>
                <a:gdLst>
                  <a:gd name="connsiteX0" fmla="*/ 22 w 22"/>
                  <a:gd name="connsiteY0" fmla="*/ 0 h 796"/>
                  <a:gd name="connsiteX1" fmla="*/ 22 w 22"/>
                  <a:gd name="connsiteY1" fmla="*/ 796 h 796"/>
                  <a:gd name="connsiteX2" fmla="*/ 22 w 22"/>
                  <a:gd name="connsiteY2" fmla="*/ 0 h 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" h="796">
                    <a:moveTo>
                      <a:pt x="22" y="0"/>
                    </a:moveTo>
                    <a:lnTo>
                      <a:pt x="22" y="796"/>
                    </a:lnTo>
                    <a:cubicBezTo>
                      <a:pt x="-7" y="527"/>
                      <a:pt x="-7" y="269"/>
                      <a:pt x="2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84" name="Freeform: Shape 2083">
                <a:extLst>
                  <a:ext uri="{FF2B5EF4-FFF2-40B4-BE49-F238E27FC236}">
                    <a16:creationId xmlns:a16="http://schemas.microsoft.com/office/drawing/2014/main" id="{42FC5CC4-B8E7-4F62-B3F7-DE28218D6F2C}"/>
                  </a:ext>
                </a:extLst>
              </p:cNvPr>
              <p:cNvSpPr/>
              <p:nvPr/>
            </p:nvSpPr>
            <p:spPr>
              <a:xfrm>
                <a:off x="2401454" y="2886265"/>
                <a:ext cx="896" cy="7063"/>
              </a:xfrm>
              <a:custGeom>
                <a:avLst/>
                <a:gdLst>
                  <a:gd name="connsiteX0" fmla="*/ 0 w 896"/>
                  <a:gd name="connsiteY0" fmla="*/ 7064 h 7063"/>
                  <a:gd name="connsiteX1" fmla="*/ 896 w 896"/>
                  <a:gd name="connsiteY1" fmla="*/ 0 h 7063"/>
                  <a:gd name="connsiteX2" fmla="*/ 0 w 896"/>
                  <a:gd name="connsiteY2" fmla="*/ 7064 h 7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" h="7063">
                    <a:moveTo>
                      <a:pt x="0" y="7064"/>
                    </a:moveTo>
                    <a:lnTo>
                      <a:pt x="896" y="0"/>
                    </a:lnTo>
                    <a:cubicBezTo>
                      <a:pt x="598" y="2885"/>
                      <a:pt x="299" y="5472"/>
                      <a:pt x="0" y="706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85" name="Freeform: Shape 2084">
                <a:extLst>
                  <a:ext uri="{FF2B5EF4-FFF2-40B4-BE49-F238E27FC236}">
                    <a16:creationId xmlns:a16="http://schemas.microsoft.com/office/drawing/2014/main" id="{337FD536-FEAC-4E10-B118-B6ABA7EE981F}"/>
                  </a:ext>
                </a:extLst>
              </p:cNvPr>
              <p:cNvSpPr/>
              <p:nvPr/>
            </p:nvSpPr>
            <p:spPr>
              <a:xfrm>
                <a:off x="2400457" y="2842292"/>
                <a:ext cx="5779" cy="4675"/>
              </a:xfrm>
              <a:custGeom>
                <a:avLst/>
                <a:gdLst>
                  <a:gd name="connsiteX0" fmla="*/ 5780 w 5779"/>
                  <a:gd name="connsiteY0" fmla="*/ 4676 h 4675"/>
                  <a:gd name="connsiteX1" fmla="*/ 0 w 5779"/>
                  <a:gd name="connsiteY1" fmla="*/ 0 h 4675"/>
                  <a:gd name="connsiteX2" fmla="*/ 5780 w 5779"/>
                  <a:gd name="connsiteY2" fmla="*/ 4676 h 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79" h="4675">
                    <a:moveTo>
                      <a:pt x="5780" y="4676"/>
                    </a:moveTo>
                    <a:cubicBezTo>
                      <a:pt x="3457" y="3691"/>
                      <a:pt x="1455" y="2069"/>
                      <a:pt x="0" y="0"/>
                    </a:cubicBezTo>
                    <a:cubicBezTo>
                      <a:pt x="1654" y="1870"/>
                      <a:pt x="3607" y="3452"/>
                      <a:pt x="5780" y="46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87" name="Graphic 231">
              <a:extLst>
                <a:ext uri="{FF2B5EF4-FFF2-40B4-BE49-F238E27FC236}">
                  <a16:creationId xmlns:a16="http://schemas.microsoft.com/office/drawing/2014/main" id="{25118CAF-A226-4A53-B0BE-E213D3B8A0F3}"/>
                </a:ext>
              </a:extLst>
            </p:cNvPr>
            <p:cNvGrpSpPr/>
            <p:nvPr/>
          </p:nvGrpSpPr>
          <p:grpSpPr>
            <a:xfrm>
              <a:off x="433283" y="1907209"/>
              <a:ext cx="219216" cy="612942"/>
              <a:chOff x="433283" y="1907209"/>
              <a:chExt cx="219216" cy="612942"/>
            </a:xfrm>
            <a:solidFill>
              <a:srgbClr val="ECE8E4"/>
            </a:solidFill>
          </p:grpSpPr>
          <p:sp>
            <p:nvSpPr>
              <p:cNvPr id="2058" name="Freeform: Shape 2057">
                <a:extLst>
                  <a:ext uri="{FF2B5EF4-FFF2-40B4-BE49-F238E27FC236}">
                    <a16:creationId xmlns:a16="http://schemas.microsoft.com/office/drawing/2014/main" id="{D9C46E81-4477-4C23-A1E8-F35861821876}"/>
                  </a:ext>
                </a:extLst>
              </p:cNvPr>
              <p:cNvSpPr/>
              <p:nvPr/>
            </p:nvSpPr>
            <p:spPr>
              <a:xfrm>
                <a:off x="651606" y="1907209"/>
                <a:ext cx="97" cy="130825"/>
              </a:xfrm>
              <a:custGeom>
                <a:avLst/>
                <a:gdLst>
                  <a:gd name="connsiteX0" fmla="*/ 97 w 97"/>
                  <a:gd name="connsiteY0" fmla="*/ 130826 h 130825"/>
                  <a:gd name="connsiteX1" fmla="*/ 97 w 97"/>
                  <a:gd name="connsiteY1" fmla="*/ 130826 h 130825"/>
                  <a:gd name="connsiteX2" fmla="*/ 97 w 97"/>
                  <a:gd name="connsiteY2" fmla="*/ 0 h 130825"/>
                  <a:gd name="connsiteX3" fmla="*/ 97 w 97"/>
                  <a:gd name="connsiteY3" fmla="*/ 130826 h 130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" h="130825">
                    <a:moveTo>
                      <a:pt x="97" y="130826"/>
                    </a:moveTo>
                    <a:lnTo>
                      <a:pt x="97" y="130826"/>
                    </a:lnTo>
                    <a:lnTo>
                      <a:pt x="97" y="0"/>
                    </a:lnTo>
                    <a:cubicBezTo>
                      <a:pt x="-32" y="43705"/>
                      <a:pt x="-32" y="87320"/>
                      <a:pt x="97" y="13082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59" name="Freeform: Shape 2058">
                <a:extLst>
                  <a:ext uri="{FF2B5EF4-FFF2-40B4-BE49-F238E27FC236}">
                    <a16:creationId xmlns:a16="http://schemas.microsoft.com/office/drawing/2014/main" id="{39A78C41-D939-4DE4-9AF5-1C1B948EF5A7}"/>
                  </a:ext>
                </a:extLst>
              </p:cNvPr>
              <p:cNvSpPr/>
              <p:nvPr/>
            </p:nvSpPr>
            <p:spPr>
              <a:xfrm>
                <a:off x="433283" y="2519256"/>
                <a:ext cx="219216" cy="895"/>
              </a:xfrm>
              <a:custGeom>
                <a:avLst/>
                <a:gdLst>
                  <a:gd name="connsiteX0" fmla="*/ 219217 w 219216"/>
                  <a:gd name="connsiteY0" fmla="*/ 895 h 895"/>
                  <a:gd name="connsiteX1" fmla="*/ 219217 w 219216"/>
                  <a:gd name="connsiteY1" fmla="*/ 895 h 895"/>
                  <a:gd name="connsiteX2" fmla="*/ 0 w 219216"/>
                  <a:gd name="connsiteY2" fmla="*/ 895 h 895"/>
                  <a:gd name="connsiteX3" fmla="*/ 98847 w 219216"/>
                  <a:gd name="connsiteY3" fmla="*/ 0 h 895"/>
                  <a:gd name="connsiteX4" fmla="*/ 219217 w 219216"/>
                  <a:gd name="connsiteY4" fmla="*/ 895 h 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9216" h="895">
                    <a:moveTo>
                      <a:pt x="219217" y="895"/>
                    </a:moveTo>
                    <a:lnTo>
                      <a:pt x="219217" y="895"/>
                    </a:lnTo>
                    <a:lnTo>
                      <a:pt x="0" y="895"/>
                    </a:lnTo>
                    <a:lnTo>
                      <a:pt x="98847" y="0"/>
                    </a:lnTo>
                    <a:cubicBezTo>
                      <a:pt x="138804" y="696"/>
                      <a:pt x="179060" y="796"/>
                      <a:pt x="219217" y="8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88" name="Graphic 231">
              <a:extLst>
                <a:ext uri="{FF2B5EF4-FFF2-40B4-BE49-F238E27FC236}">
                  <a16:creationId xmlns:a16="http://schemas.microsoft.com/office/drawing/2014/main" id="{7310BE6B-387A-42C2-B4CE-53C632527A08}"/>
                </a:ext>
              </a:extLst>
            </p:cNvPr>
            <p:cNvGrpSpPr/>
            <p:nvPr/>
          </p:nvGrpSpPr>
          <p:grpSpPr>
            <a:xfrm>
              <a:off x="2887318" y="2587703"/>
              <a:ext cx="1051344" cy="414066"/>
              <a:chOff x="2887318" y="2587703"/>
              <a:chExt cx="1051344" cy="414066"/>
            </a:xfrm>
            <a:solidFill>
              <a:srgbClr val="ECE8E4"/>
            </a:solidFill>
          </p:grpSpPr>
          <p:sp>
            <p:nvSpPr>
              <p:cNvPr id="2037" name="Freeform: Shape 2036">
                <a:extLst>
                  <a:ext uri="{FF2B5EF4-FFF2-40B4-BE49-F238E27FC236}">
                    <a16:creationId xmlns:a16="http://schemas.microsoft.com/office/drawing/2014/main" id="{11476C7D-2B98-464A-A2AC-576ECBCFF855}"/>
                  </a:ext>
                </a:extLst>
              </p:cNvPr>
              <p:cNvSpPr/>
              <p:nvPr/>
            </p:nvSpPr>
            <p:spPr>
              <a:xfrm>
                <a:off x="2887318" y="2791354"/>
                <a:ext cx="3288" cy="3581"/>
              </a:xfrm>
              <a:custGeom>
                <a:avLst/>
                <a:gdLst>
                  <a:gd name="connsiteX0" fmla="*/ 3288 w 3288"/>
                  <a:gd name="connsiteY0" fmla="*/ 0 h 3581"/>
                  <a:gd name="connsiteX1" fmla="*/ 0 w 3288"/>
                  <a:gd name="connsiteY1" fmla="*/ 3581 h 3581"/>
                  <a:gd name="connsiteX2" fmla="*/ 3288 w 3288"/>
                  <a:gd name="connsiteY2" fmla="*/ 0 h 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88" h="3581">
                    <a:moveTo>
                      <a:pt x="3288" y="0"/>
                    </a:moveTo>
                    <a:cubicBezTo>
                      <a:pt x="2043" y="1044"/>
                      <a:pt x="937" y="2248"/>
                      <a:pt x="0" y="3581"/>
                    </a:cubicBezTo>
                    <a:cubicBezTo>
                      <a:pt x="788" y="2139"/>
                      <a:pt x="1913" y="905"/>
                      <a:pt x="328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38" name="Freeform: Shape 2037">
                <a:extLst>
                  <a:ext uri="{FF2B5EF4-FFF2-40B4-BE49-F238E27FC236}">
                    <a16:creationId xmlns:a16="http://schemas.microsoft.com/office/drawing/2014/main" id="{24ADFFED-3A33-4722-8A4D-9F16F97D4443}"/>
                  </a:ext>
                </a:extLst>
              </p:cNvPr>
              <p:cNvSpPr/>
              <p:nvPr/>
            </p:nvSpPr>
            <p:spPr>
              <a:xfrm>
                <a:off x="2894990" y="2790458"/>
                <a:ext cx="3986" cy="2188"/>
              </a:xfrm>
              <a:custGeom>
                <a:avLst/>
                <a:gdLst>
                  <a:gd name="connsiteX0" fmla="*/ 0 w 3986"/>
                  <a:gd name="connsiteY0" fmla="*/ 0 h 2188"/>
                  <a:gd name="connsiteX1" fmla="*/ 3986 w 3986"/>
                  <a:gd name="connsiteY1" fmla="*/ 2189 h 2188"/>
                  <a:gd name="connsiteX2" fmla="*/ 0 w 3986"/>
                  <a:gd name="connsiteY2" fmla="*/ 0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86" h="2188">
                    <a:moveTo>
                      <a:pt x="0" y="0"/>
                    </a:moveTo>
                    <a:cubicBezTo>
                      <a:pt x="1584" y="120"/>
                      <a:pt x="3039" y="915"/>
                      <a:pt x="3986" y="2189"/>
                    </a:cubicBezTo>
                    <a:cubicBezTo>
                      <a:pt x="2501" y="1801"/>
                      <a:pt x="1126" y="104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39" name="Freeform: Shape 2038">
                <a:extLst>
                  <a:ext uri="{FF2B5EF4-FFF2-40B4-BE49-F238E27FC236}">
                    <a16:creationId xmlns:a16="http://schemas.microsoft.com/office/drawing/2014/main" id="{319EBF8B-232E-47C1-90B6-199DF6DB8068}"/>
                  </a:ext>
                </a:extLst>
              </p:cNvPr>
              <p:cNvSpPr/>
              <p:nvPr/>
            </p:nvSpPr>
            <p:spPr>
              <a:xfrm>
                <a:off x="2913425" y="2785186"/>
                <a:ext cx="5978" cy="3880"/>
              </a:xfrm>
              <a:custGeom>
                <a:avLst/>
                <a:gdLst>
                  <a:gd name="connsiteX0" fmla="*/ 0 w 5978"/>
                  <a:gd name="connsiteY0" fmla="*/ 3880 h 3880"/>
                  <a:gd name="connsiteX1" fmla="*/ 5978 w 5978"/>
                  <a:gd name="connsiteY1" fmla="*/ 0 h 3880"/>
                  <a:gd name="connsiteX2" fmla="*/ 0 w 5978"/>
                  <a:gd name="connsiteY2" fmla="*/ 3880 h 3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8" h="3880">
                    <a:moveTo>
                      <a:pt x="0" y="3880"/>
                    </a:moveTo>
                    <a:cubicBezTo>
                      <a:pt x="2192" y="2388"/>
                      <a:pt x="4285" y="995"/>
                      <a:pt x="5978" y="0"/>
                    </a:cubicBezTo>
                    <a:cubicBezTo>
                      <a:pt x="4185" y="1194"/>
                      <a:pt x="2192" y="2686"/>
                      <a:pt x="0" y="388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0" name="Freeform: Shape 2039">
                <a:extLst>
                  <a:ext uri="{FF2B5EF4-FFF2-40B4-BE49-F238E27FC236}">
                    <a16:creationId xmlns:a16="http://schemas.microsoft.com/office/drawing/2014/main" id="{78F617CC-1EBA-4DCC-B313-DB80D32A744E}"/>
                  </a:ext>
                </a:extLst>
              </p:cNvPr>
              <p:cNvSpPr/>
              <p:nvPr/>
            </p:nvSpPr>
            <p:spPr>
              <a:xfrm>
                <a:off x="2918071" y="2774341"/>
                <a:ext cx="1730" cy="4775"/>
              </a:xfrm>
              <a:custGeom>
                <a:avLst/>
                <a:gdLst>
                  <a:gd name="connsiteX0" fmla="*/ 37 w 1730"/>
                  <a:gd name="connsiteY0" fmla="*/ 4776 h 4775"/>
                  <a:gd name="connsiteX1" fmla="*/ 1731 w 1730"/>
                  <a:gd name="connsiteY1" fmla="*/ 0 h 4775"/>
                  <a:gd name="connsiteX2" fmla="*/ 37 w 1730"/>
                  <a:gd name="connsiteY2" fmla="*/ 4776 h 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30" h="4775">
                    <a:moveTo>
                      <a:pt x="37" y="4776"/>
                    </a:moveTo>
                    <a:cubicBezTo>
                      <a:pt x="-163" y="3005"/>
                      <a:pt x="455" y="1244"/>
                      <a:pt x="1731" y="0"/>
                    </a:cubicBezTo>
                    <a:cubicBezTo>
                      <a:pt x="555" y="1303"/>
                      <a:pt x="-53" y="3025"/>
                      <a:pt x="37" y="47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1" name="Freeform: Shape 2040">
                <a:extLst>
                  <a:ext uri="{FF2B5EF4-FFF2-40B4-BE49-F238E27FC236}">
                    <a16:creationId xmlns:a16="http://schemas.microsoft.com/office/drawing/2014/main" id="{DE632F0F-5D4B-4E68-B37A-33486E836A6C}"/>
                  </a:ext>
                </a:extLst>
              </p:cNvPr>
              <p:cNvSpPr/>
              <p:nvPr/>
            </p:nvSpPr>
            <p:spPr>
              <a:xfrm>
                <a:off x="2937737" y="2830453"/>
                <a:ext cx="80811" cy="2192"/>
              </a:xfrm>
              <a:custGeom>
                <a:avLst/>
                <a:gdLst>
                  <a:gd name="connsiteX0" fmla="*/ 0 w 80811"/>
                  <a:gd name="connsiteY0" fmla="*/ 1592 h 2192"/>
                  <a:gd name="connsiteX1" fmla="*/ 80812 w 80811"/>
                  <a:gd name="connsiteY1" fmla="*/ 0 h 2192"/>
                  <a:gd name="connsiteX2" fmla="*/ 0 w 80811"/>
                  <a:gd name="connsiteY2" fmla="*/ 1592 h 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0811" h="2192">
                    <a:moveTo>
                      <a:pt x="0" y="1592"/>
                    </a:moveTo>
                    <a:cubicBezTo>
                      <a:pt x="27004" y="1592"/>
                      <a:pt x="54008" y="995"/>
                      <a:pt x="80812" y="0"/>
                    </a:cubicBezTo>
                    <a:cubicBezTo>
                      <a:pt x="53938" y="2229"/>
                      <a:pt x="26944" y="2756"/>
                      <a:pt x="0" y="159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2" name="Freeform: Shape 2041">
                <a:extLst>
                  <a:ext uri="{FF2B5EF4-FFF2-40B4-BE49-F238E27FC236}">
                    <a16:creationId xmlns:a16="http://schemas.microsoft.com/office/drawing/2014/main" id="{372BA648-8B7C-4371-8E2B-F5D47EBBC876}"/>
                  </a:ext>
                </a:extLst>
              </p:cNvPr>
              <p:cNvSpPr/>
              <p:nvPr/>
            </p:nvSpPr>
            <p:spPr>
              <a:xfrm>
                <a:off x="3057709" y="2818415"/>
                <a:ext cx="13551" cy="4476"/>
              </a:xfrm>
              <a:custGeom>
                <a:avLst/>
                <a:gdLst>
                  <a:gd name="connsiteX0" fmla="*/ 0 w 13551"/>
                  <a:gd name="connsiteY0" fmla="*/ 4477 h 4476"/>
                  <a:gd name="connsiteX1" fmla="*/ 13551 w 13551"/>
                  <a:gd name="connsiteY1" fmla="*/ 0 h 4476"/>
                  <a:gd name="connsiteX2" fmla="*/ 0 w 13551"/>
                  <a:gd name="connsiteY2" fmla="*/ 4477 h 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51" h="4476">
                    <a:moveTo>
                      <a:pt x="0" y="4477"/>
                    </a:moveTo>
                    <a:cubicBezTo>
                      <a:pt x="4384" y="2617"/>
                      <a:pt x="8918" y="1114"/>
                      <a:pt x="13551" y="0"/>
                    </a:cubicBezTo>
                    <a:cubicBezTo>
                      <a:pt x="9665" y="1094"/>
                      <a:pt x="4683" y="3084"/>
                      <a:pt x="0" y="447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3" name="Freeform: Shape 2042">
                <a:extLst>
                  <a:ext uri="{FF2B5EF4-FFF2-40B4-BE49-F238E27FC236}">
                    <a16:creationId xmlns:a16="http://schemas.microsoft.com/office/drawing/2014/main" id="{2216F464-8418-4545-ADDE-5E985547E754}"/>
                  </a:ext>
                </a:extLst>
              </p:cNvPr>
              <p:cNvSpPr/>
              <p:nvPr/>
            </p:nvSpPr>
            <p:spPr>
              <a:xfrm>
                <a:off x="3077937" y="2813440"/>
                <a:ext cx="7174" cy="4476"/>
              </a:xfrm>
              <a:custGeom>
                <a:avLst/>
                <a:gdLst>
                  <a:gd name="connsiteX0" fmla="*/ 0 w 7174"/>
                  <a:gd name="connsiteY0" fmla="*/ 4477 h 4476"/>
                  <a:gd name="connsiteX1" fmla="*/ 7175 w 7174"/>
                  <a:gd name="connsiteY1" fmla="*/ 0 h 4476"/>
                  <a:gd name="connsiteX2" fmla="*/ 0 w 7174"/>
                  <a:gd name="connsiteY2" fmla="*/ 4477 h 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4" h="4476">
                    <a:moveTo>
                      <a:pt x="0" y="4477"/>
                    </a:moveTo>
                    <a:cubicBezTo>
                      <a:pt x="2202" y="2696"/>
                      <a:pt x="4614" y="1194"/>
                      <a:pt x="7175" y="0"/>
                    </a:cubicBezTo>
                    <a:cubicBezTo>
                      <a:pt x="5361" y="2258"/>
                      <a:pt x="2830" y="3840"/>
                      <a:pt x="0" y="447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4" name="Freeform: Shape 2043">
                <a:extLst>
                  <a:ext uri="{FF2B5EF4-FFF2-40B4-BE49-F238E27FC236}">
                    <a16:creationId xmlns:a16="http://schemas.microsoft.com/office/drawing/2014/main" id="{D0B80D0D-5DA3-4D54-A141-D4CD16ABDF7C}"/>
                  </a:ext>
                </a:extLst>
              </p:cNvPr>
              <p:cNvSpPr/>
              <p:nvPr/>
            </p:nvSpPr>
            <p:spPr>
              <a:xfrm>
                <a:off x="3096770" y="2670278"/>
                <a:ext cx="1274" cy="9948"/>
              </a:xfrm>
              <a:custGeom>
                <a:avLst/>
                <a:gdLst>
                  <a:gd name="connsiteX0" fmla="*/ 0 w 1274"/>
                  <a:gd name="connsiteY0" fmla="*/ 9949 h 9948"/>
                  <a:gd name="connsiteX1" fmla="*/ 498 w 1274"/>
                  <a:gd name="connsiteY1" fmla="*/ 0 h 9948"/>
                  <a:gd name="connsiteX2" fmla="*/ 0 w 1274"/>
                  <a:gd name="connsiteY2" fmla="*/ 9949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4" h="9948">
                    <a:moveTo>
                      <a:pt x="0" y="9949"/>
                    </a:moveTo>
                    <a:cubicBezTo>
                      <a:pt x="1455" y="6825"/>
                      <a:pt x="1634" y="3253"/>
                      <a:pt x="498" y="0"/>
                    </a:cubicBezTo>
                    <a:cubicBezTo>
                      <a:pt x="1684" y="3243"/>
                      <a:pt x="1505" y="6835"/>
                      <a:pt x="0" y="99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5" name="Freeform: Shape 2044">
                <a:extLst>
                  <a:ext uri="{FF2B5EF4-FFF2-40B4-BE49-F238E27FC236}">
                    <a16:creationId xmlns:a16="http://schemas.microsoft.com/office/drawing/2014/main" id="{754E7ABA-815E-48B9-B9E6-B54F76466B83}"/>
                  </a:ext>
                </a:extLst>
              </p:cNvPr>
              <p:cNvSpPr/>
              <p:nvPr/>
            </p:nvSpPr>
            <p:spPr>
              <a:xfrm>
                <a:off x="3117596" y="2664706"/>
                <a:ext cx="3287" cy="4178"/>
              </a:xfrm>
              <a:custGeom>
                <a:avLst/>
                <a:gdLst>
                  <a:gd name="connsiteX0" fmla="*/ 3288 w 3287"/>
                  <a:gd name="connsiteY0" fmla="*/ 0 h 4178"/>
                  <a:gd name="connsiteX1" fmla="*/ 0 w 3287"/>
                  <a:gd name="connsiteY1" fmla="*/ 4178 h 4178"/>
                  <a:gd name="connsiteX2" fmla="*/ 3288 w 3287"/>
                  <a:gd name="connsiteY2" fmla="*/ 0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87" h="4178">
                    <a:moveTo>
                      <a:pt x="3288" y="0"/>
                    </a:moveTo>
                    <a:cubicBezTo>
                      <a:pt x="2042" y="1273"/>
                      <a:pt x="937" y="2666"/>
                      <a:pt x="0" y="4178"/>
                    </a:cubicBezTo>
                    <a:cubicBezTo>
                      <a:pt x="887" y="2627"/>
                      <a:pt x="1992" y="1224"/>
                      <a:pt x="328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6" name="Freeform: Shape 2045">
                <a:extLst>
                  <a:ext uri="{FF2B5EF4-FFF2-40B4-BE49-F238E27FC236}">
                    <a16:creationId xmlns:a16="http://schemas.microsoft.com/office/drawing/2014/main" id="{51063F00-8C8A-4996-BF94-147D03065D4B}"/>
                  </a:ext>
                </a:extLst>
              </p:cNvPr>
              <p:cNvSpPr/>
              <p:nvPr/>
            </p:nvSpPr>
            <p:spPr>
              <a:xfrm>
                <a:off x="3117894" y="2799611"/>
                <a:ext cx="20426" cy="2785"/>
              </a:xfrm>
              <a:custGeom>
                <a:avLst/>
                <a:gdLst>
                  <a:gd name="connsiteX0" fmla="*/ 3787 w 20426"/>
                  <a:gd name="connsiteY0" fmla="*/ 0 h 2785"/>
                  <a:gd name="connsiteX1" fmla="*/ 20427 w 20426"/>
                  <a:gd name="connsiteY1" fmla="*/ 1293 h 2785"/>
                  <a:gd name="connsiteX2" fmla="*/ 11758 w 20426"/>
                  <a:gd name="connsiteY2" fmla="*/ 1293 h 2785"/>
                  <a:gd name="connsiteX3" fmla="*/ 0 w 20426"/>
                  <a:gd name="connsiteY3" fmla="*/ 2786 h 2785"/>
                  <a:gd name="connsiteX4" fmla="*/ 3787 w 20426"/>
                  <a:gd name="connsiteY4" fmla="*/ 0 h 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426" h="2785">
                    <a:moveTo>
                      <a:pt x="3787" y="0"/>
                    </a:moveTo>
                    <a:cubicBezTo>
                      <a:pt x="9167" y="597"/>
                      <a:pt x="14748" y="995"/>
                      <a:pt x="20427" y="1293"/>
                    </a:cubicBezTo>
                    <a:lnTo>
                      <a:pt x="11758" y="1293"/>
                    </a:lnTo>
                    <a:cubicBezTo>
                      <a:pt x="7782" y="1005"/>
                      <a:pt x="3777" y="1512"/>
                      <a:pt x="0" y="2786"/>
                    </a:cubicBezTo>
                    <a:cubicBezTo>
                      <a:pt x="1355" y="1990"/>
                      <a:pt x="2621" y="1054"/>
                      <a:pt x="378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7" name="Freeform: Shape 2046">
                <a:extLst>
                  <a:ext uri="{FF2B5EF4-FFF2-40B4-BE49-F238E27FC236}">
                    <a16:creationId xmlns:a16="http://schemas.microsoft.com/office/drawing/2014/main" id="{DB71939D-0AC5-4140-B428-C0A924375E2A}"/>
                  </a:ext>
                </a:extLst>
              </p:cNvPr>
              <p:cNvSpPr/>
              <p:nvPr/>
            </p:nvSpPr>
            <p:spPr>
              <a:xfrm>
                <a:off x="3158649" y="2660329"/>
                <a:ext cx="4882" cy="395"/>
              </a:xfrm>
              <a:custGeom>
                <a:avLst/>
                <a:gdLst>
                  <a:gd name="connsiteX0" fmla="*/ 4882 w 4882"/>
                  <a:gd name="connsiteY0" fmla="*/ 0 h 395"/>
                  <a:gd name="connsiteX1" fmla="*/ 0 w 4882"/>
                  <a:gd name="connsiteY1" fmla="*/ 0 h 395"/>
                  <a:gd name="connsiteX2" fmla="*/ 4882 w 4882"/>
                  <a:gd name="connsiteY2" fmla="*/ 0 h 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82" h="395">
                    <a:moveTo>
                      <a:pt x="4882" y="0"/>
                    </a:moveTo>
                    <a:cubicBezTo>
                      <a:pt x="3298" y="527"/>
                      <a:pt x="1584" y="527"/>
                      <a:pt x="0" y="0"/>
                    </a:cubicBezTo>
                    <a:cubicBezTo>
                      <a:pt x="1594" y="458"/>
                      <a:pt x="3288" y="458"/>
                      <a:pt x="488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8" name="Freeform: Shape 2047">
                <a:extLst>
                  <a:ext uri="{FF2B5EF4-FFF2-40B4-BE49-F238E27FC236}">
                    <a16:creationId xmlns:a16="http://schemas.microsoft.com/office/drawing/2014/main" id="{833BECDE-F877-41B1-AFD4-FBEC17A85751}"/>
                  </a:ext>
                </a:extLst>
              </p:cNvPr>
              <p:cNvSpPr/>
              <p:nvPr/>
            </p:nvSpPr>
            <p:spPr>
              <a:xfrm>
                <a:off x="3172798" y="2801701"/>
                <a:ext cx="32583" cy="1293"/>
              </a:xfrm>
              <a:custGeom>
                <a:avLst/>
                <a:gdLst>
                  <a:gd name="connsiteX0" fmla="*/ 16640 w 32583"/>
                  <a:gd name="connsiteY0" fmla="*/ 498 h 1293"/>
                  <a:gd name="connsiteX1" fmla="*/ 32584 w 32583"/>
                  <a:gd name="connsiteY1" fmla="*/ 1293 h 1293"/>
                  <a:gd name="connsiteX2" fmla="*/ 0 w 32583"/>
                  <a:gd name="connsiteY2" fmla="*/ 0 h 1293"/>
                  <a:gd name="connsiteX3" fmla="*/ 16640 w 32583"/>
                  <a:gd name="connsiteY3" fmla="*/ 498 h 1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583" h="1293">
                    <a:moveTo>
                      <a:pt x="16640" y="498"/>
                    </a:moveTo>
                    <a:cubicBezTo>
                      <a:pt x="21722" y="498"/>
                      <a:pt x="26605" y="1194"/>
                      <a:pt x="32584" y="1293"/>
                    </a:cubicBezTo>
                    <a:lnTo>
                      <a:pt x="0" y="0"/>
                    </a:lnTo>
                    <a:cubicBezTo>
                      <a:pt x="5680" y="100"/>
                      <a:pt x="11260" y="199"/>
                      <a:pt x="16640" y="49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49" name="Freeform: Shape 2048">
                <a:extLst>
                  <a:ext uri="{FF2B5EF4-FFF2-40B4-BE49-F238E27FC236}">
                    <a16:creationId xmlns:a16="http://schemas.microsoft.com/office/drawing/2014/main" id="{875D9750-6176-4081-A8E6-2177F2F85C2B}"/>
                  </a:ext>
                </a:extLst>
              </p:cNvPr>
              <p:cNvSpPr/>
              <p:nvPr/>
            </p:nvSpPr>
            <p:spPr>
              <a:xfrm>
                <a:off x="3211079" y="2589594"/>
                <a:ext cx="1278" cy="13629"/>
              </a:xfrm>
              <a:custGeom>
                <a:avLst/>
                <a:gdLst>
                  <a:gd name="connsiteX0" fmla="*/ 1278 w 1278"/>
                  <a:gd name="connsiteY0" fmla="*/ 13630 h 13629"/>
                  <a:gd name="connsiteX1" fmla="*/ 1278 w 1278"/>
                  <a:gd name="connsiteY1" fmla="*/ 0 h 13629"/>
                  <a:gd name="connsiteX2" fmla="*/ 1278 w 1278"/>
                  <a:gd name="connsiteY2" fmla="*/ 13630 h 13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78" h="13629">
                    <a:moveTo>
                      <a:pt x="1278" y="13630"/>
                    </a:moveTo>
                    <a:cubicBezTo>
                      <a:pt x="-426" y="9242"/>
                      <a:pt x="-426" y="4387"/>
                      <a:pt x="1278" y="0"/>
                    </a:cubicBezTo>
                    <a:cubicBezTo>
                      <a:pt x="431" y="4507"/>
                      <a:pt x="431" y="9123"/>
                      <a:pt x="1278" y="1363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50" name="Freeform: Shape 2049">
                <a:extLst>
                  <a:ext uri="{FF2B5EF4-FFF2-40B4-BE49-F238E27FC236}">
                    <a16:creationId xmlns:a16="http://schemas.microsoft.com/office/drawing/2014/main" id="{F4B4CBDC-E4AD-4117-A60A-3C0BE526688B}"/>
                  </a:ext>
                </a:extLst>
              </p:cNvPr>
              <p:cNvSpPr/>
              <p:nvPr/>
            </p:nvSpPr>
            <p:spPr>
              <a:xfrm>
                <a:off x="3258592" y="2805282"/>
                <a:ext cx="10961" cy="9948"/>
              </a:xfrm>
              <a:custGeom>
                <a:avLst/>
                <a:gdLst>
                  <a:gd name="connsiteX0" fmla="*/ 0 w 10961"/>
                  <a:gd name="connsiteY0" fmla="*/ 0 h 9948"/>
                  <a:gd name="connsiteX1" fmla="*/ 10961 w 10961"/>
                  <a:gd name="connsiteY1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61" h="9948">
                    <a:moveTo>
                      <a:pt x="0" y="0"/>
                    </a:moveTo>
                    <a:lnTo>
                      <a:pt x="10961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51" name="Freeform: Shape 2050">
                <a:extLst>
                  <a:ext uri="{FF2B5EF4-FFF2-40B4-BE49-F238E27FC236}">
                    <a16:creationId xmlns:a16="http://schemas.microsoft.com/office/drawing/2014/main" id="{0A486E4D-281E-47D1-B93F-10FAEDA0A9B3}"/>
                  </a:ext>
                </a:extLst>
              </p:cNvPr>
              <p:cNvSpPr/>
              <p:nvPr/>
            </p:nvSpPr>
            <p:spPr>
              <a:xfrm>
                <a:off x="3292712" y="2817519"/>
                <a:ext cx="1551" cy="6466"/>
              </a:xfrm>
              <a:custGeom>
                <a:avLst/>
                <a:gdLst>
                  <a:gd name="connsiteX0" fmla="*/ 1552 w 1551"/>
                  <a:gd name="connsiteY0" fmla="*/ 6467 h 6466"/>
                  <a:gd name="connsiteX1" fmla="*/ 456 w 1551"/>
                  <a:gd name="connsiteY1" fmla="*/ 0 h 6466"/>
                  <a:gd name="connsiteX2" fmla="*/ 1552 w 1551"/>
                  <a:gd name="connsiteY2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51" h="6466">
                    <a:moveTo>
                      <a:pt x="1552" y="6467"/>
                    </a:moveTo>
                    <a:cubicBezTo>
                      <a:pt x="-3" y="4686"/>
                      <a:pt x="-431" y="2189"/>
                      <a:pt x="456" y="0"/>
                    </a:cubicBezTo>
                    <a:cubicBezTo>
                      <a:pt x="-232" y="2209"/>
                      <a:pt x="177" y="4606"/>
                      <a:pt x="1552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52" name="Freeform: Shape 2051">
                <a:extLst>
                  <a:ext uri="{FF2B5EF4-FFF2-40B4-BE49-F238E27FC236}">
                    <a16:creationId xmlns:a16="http://schemas.microsoft.com/office/drawing/2014/main" id="{E920E6ED-E4EE-4F5A-91FF-A802A1B43EE4}"/>
                  </a:ext>
                </a:extLst>
              </p:cNvPr>
              <p:cNvSpPr/>
              <p:nvPr/>
            </p:nvSpPr>
            <p:spPr>
              <a:xfrm>
                <a:off x="3289182" y="2806774"/>
                <a:ext cx="5687" cy="3581"/>
              </a:xfrm>
              <a:custGeom>
                <a:avLst/>
                <a:gdLst>
                  <a:gd name="connsiteX0" fmla="*/ 5082 w 5687"/>
                  <a:gd name="connsiteY0" fmla="*/ 398 h 3581"/>
                  <a:gd name="connsiteX1" fmla="*/ 5680 w 5687"/>
                  <a:gd name="connsiteY1" fmla="*/ 3581 h 3581"/>
                  <a:gd name="connsiteX2" fmla="*/ 5082 w 5687"/>
                  <a:gd name="connsiteY2" fmla="*/ 1293 h 3581"/>
                  <a:gd name="connsiteX3" fmla="*/ 0 w 5687"/>
                  <a:gd name="connsiteY3" fmla="*/ 0 h 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87" h="3581">
                    <a:moveTo>
                      <a:pt x="5082" y="398"/>
                    </a:moveTo>
                    <a:cubicBezTo>
                      <a:pt x="5530" y="1393"/>
                      <a:pt x="5730" y="2487"/>
                      <a:pt x="5680" y="3581"/>
                    </a:cubicBezTo>
                    <a:cubicBezTo>
                      <a:pt x="5650" y="2786"/>
                      <a:pt x="5441" y="2010"/>
                      <a:pt x="5082" y="1293"/>
                    </a:cubicBezTo>
                    <a:cubicBezTo>
                      <a:pt x="5680" y="796"/>
                      <a:pt x="3488" y="39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53" name="Freeform: Shape 2052">
                <a:extLst>
                  <a:ext uri="{FF2B5EF4-FFF2-40B4-BE49-F238E27FC236}">
                    <a16:creationId xmlns:a16="http://schemas.microsoft.com/office/drawing/2014/main" id="{3E400CFA-A3AA-4FE8-983B-6CF4E9C4F914}"/>
                  </a:ext>
                </a:extLst>
              </p:cNvPr>
              <p:cNvSpPr/>
              <p:nvPr/>
            </p:nvSpPr>
            <p:spPr>
              <a:xfrm>
                <a:off x="3290777" y="2587703"/>
                <a:ext cx="78120" cy="2487"/>
              </a:xfrm>
              <a:custGeom>
                <a:avLst/>
                <a:gdLst>
                  <a:gd name="connsiteX0" fmla="*/ 0 w 78120"/>
                  <a:gd name="connsiteY0" fmla="*/ 0 h 2487"/>
                  <a:gd name="connsiteX1" fmla="*/ 78121 w 78120"/>
                  <a:gd name="connsiteY1" fmla="*/ 2487 h 2487"/>
                  <a:gd name="connsiteX2" fmla="*/ 0 w 78120"/>
                  <a:gd name="connsiteY2" fmla="*/ 0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8120" h="2487">
                    <a:moveTo>
                      <a:pt x="0" y="0"/>
                    </a:moveTo>
                    <a:cubicBezTo>
                      <a:pt x="26107" y="696"/>
                      <a:pt x="52712" y="696"/>
                      <a:pt x="78121" y="2487"/>
                    </a:cubicBezTo>
                    <a:cubicBezTo>
                      <a:pt x="52014" y="1890"/>
                      <a:pt x="26007" y="11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54" name="Freeform: Shape 2053">
                <a:extLst>
                  <a:ext uri="{FF2B5EF4-FFF2-40B4-BE49-F238E27FC236}">
                    <a16:creationId xmlns:a16="http://schemas.microsoft.com/office/drawing/2014/main" id="{3DA14AE6-0CD1-4D0E-A49B-B3FA366FAADA}"/>
                  </a:ext>
                </a:extLst>
              </p:cNvPr>
              <p:cNvSpPr/>
              <p:nvPr/>
            </p:nvSpPr>
            <p:spPr>
              <a:xfrm>
                <a:off x="3483588" y="2877510"/>
                <a:ext cx="35772" cy="36412"/>
              </a:xfrm>
              <a:custGeom>
                <a:avLst/>
                <a:gdLst>
                  <a:gd name="connsiteX0" fmla="*/ 0 w 35772"/>
                  <a:gd name="connsiteY0" fmla="*/ 0 h 36412"/>
                  <a:gd name="connsiteX1" fmla="*/ 35772 w 35772"/>
                  <a:gd name="connsiteY1" fmla="*/ 36412 h 36412"/>
                  <a:gd name="connsiteX2" fmla="*/ 0 w 35772"/>
                  <a:gd name="connsiteY2" fmla="*/ 0 h 3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72" h="36412">
                    <a:moveTo>
                      <a:pt x="0" y="0"/>
                    </a:moveTo>
                    <a:lnTo>
                      <a:pt x="35772" y="36412"/>
                    </a:lnTo>
                    <a:cubicBezTo>
                      <a:pt x="23815" y="24176"/>
                      <a:pt x="11758" y="1164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55" name="Freeform: Shape 2054">
                <a:extLst>
                  <a:ext uri="{FF2B5EF4-FFF2-40B4-BE49-F238E27FC236}">
                    <a16:creationId xmlns:a16="http://schemas.microsoft.com/office/drawing/2014/main" id="{96775784-A439-4421-9747-DAD90CABBC35}"/>
                  </a:ext>
                </a:extLst>
              </p:cNvPr>
              <p:cNvSpPr/>
              <p:nvPr/>
            </p:nvSpPr>
            <p:spPr>
              <a:xfrm>
                <a:off x="3579545" y="2975207"/>
                <a:ext cx="26106" cy="26563"/>
              </a:xfrm>
              <a:custGeom>
                <a:avLst/>
                <a:gdLst>
                  <a:gd name="connsiteX0" fmla="*/ 0 w 26106"/>
                  <a:gd name="connsiteY0" fmla="*/ 0 h 26563"/>
                  <a:gd name="connsiteX1" fmla="*/ 26107 w 26106"/>
                  <a:gd name="connsiteY1" fmla="*/ 26563 h 26563"/>
                  <a:gd name="connsiteX2" fmla="*/ 15445 w 26106"/>
                  <a:gd name="connsiteY2" fmla="*/ 16018 h 26563"/>
                  <a:gd name="connsiteX3" fmla="*/ 0 w 26106"/>
                  <a:gd name="connsiteY3" fmla="*/ 0 h 2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06" h="26563">
                    <a:moveTo>
                      <a:pt x="0" y="0"/>
                    </a:moveTo>
                    <a:lnTo>
                      <a:pt x="26107" y="26563"/>
                    </a:lnTo>
                    <a:cubicBezTo>
                      <a:pt x="21981" y="23668"/>
                      <a:pt x="18384" y="20106"/>
                      <a:pt x="15445" y="16018"/>
                    </a:cubicBezTo>
                    <a:cubicBezTo>
                      <a:pt x="10463" y="10645"/>
                      <a:pt x="5281" y="547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56" name="Freeform: Shape 2055">
                <a:extLst>
                  <a:ext uri="{FF2B5EF4-FFF2-40B4-BE49-F238E27FC236}">
                    <a16:creationId xmlns:a16="http://schemas.microsoft.com/office/drawing/2014/main" id="{545EB2D0-B475-4433-9470-076F3F795CFE}"/>
                  </a:ext>
                </a:extLst>
              </p:cNvPr>
              <p:cNvSpPr/>
              <p:nvPr/>
            </p:nvSpPr>
            <p:spPr>
              <a:xfrm>
                <a:off x="3553439" y="2591185"/>
                <a:ext cx="150163" cy="688"/>
              </a:xfrm>
              <a:custGeom>
                <a:avLst/>
                <a:gdLst>
                  <a:gd name="connsiteX0" fmla="*/ 117281 w 150163"/>
                  <a:gd name="connsiteY0" fmla="*/ 0 h 688"/>
                  <a:gd name="connsiteX1" fmla="*/ 150164 w 150163"/>
                  <a:gd name="connsiteY1" fmla="*/ 0 h 688"/>
                  <a:gd name="connsiteX2" fmla="*/ 0 w 150163"/>
                  <a:gd name="connsiteY2" fmla="*/ 597 h 688"/>
                  <a:gd name="connsiteX3" fmla="*/ 117281 w 150163"/>
                  <a:gd name="connsiteY3" fmla="*/ 0 h 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0163" h="688">
                    <a:moveTo>
                      <a:pt x="117281" y="0"/>
                    </a:moveTo>
                    <a:cubicBezTo>
                      <a:pt x="128142" y="0"/>
                      <a:pt x="139202" y="0"/>
                      <a:pt x="150164" y="0"/>
                    </a:cubicBezTo>
                    <a:cubicBezTo>
                      <a:pt x="100342" y="0"/>
                      <a:pt x="50022" y="597"/>
                      <a:pt x="0" y="597"/>
                    </a:cubicBezTo>
                    <a:cubicBezTo>
                      <a:pt x="39160" y="896"/>
                      <a:pt x="78420" y="398"/>
                      <a:pt x="11728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57" name="Freeform: Shape 2056">
                <a:extLst>
                  <a:ext uri="{FF2B5EF4-FFF2-40B4-BE49-F238E27FC236}">
                    <a16:creationId xmlns:a16="http://schemas.microsoft.com/office/drawing/2014/main" id="{E1A9DC80-1A87-4ED6-B848-260A7A36C9B2}"/>
                  </a:ext>
                </a:extLst>
              </p:cNvPr>
              <p:cNvSpPr/>
              <p:nvPr/>
            </p:nvSpPr>
            <p:spPr>
              <a:xfrm>
                <a:off x="3924812" y="2590307"/>
                <a:ext cx="13850" cy="380"/>
              </a:xfrm>
              <a:custGeom>
                <a:avLst/>
                <a:gdLst>
                  <a:gd name="connsiteX0" fmla="*/ 13850 w 13850"/>
                  <a:gd name="connsiteY0" fmla="*/ 381 h 380"/>
                  <a:gd name="connsiteX1" fmla="*/ 0 w 13850"/>
                  <a:gd name="connsiteY1" fmla="*/ 381 h 380"/>
                  <a:gd name="connsiteX2" fmla="*/ 13850 w 13850"/>
                  <a:gd name="connsiteY2" fmla="*/ 381 h 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850" h="380">
                    <a:moveTo>
                      <a:pt x="13850" y="381"/>
                    </a:moveTo>
                    <a:lnTo>
                      <a:pt x="0" y="381"/>
                    </a:lnTo>
                    <a:cubicBezTo>
                      <a:pt x="4603" y="-127"/>
                      <a:pt x="9247" y="-127"/>
                      <a:pt x="13850" y="38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589" name="Freeform: Shape 1588">
              <a:extLst>
                <a:ext uri="{FF2B5EF4-FFF2-40B4-BE49-F238E27FC236}">
                  <a16:creationId xmlns:a16="http://schemas.microsoft.com/office/drawing/2014/main" id="{551816E7-D605-48C4-A1D7-668749853173}"/>
                </a:ext>
              </a:extLst>
            </p:cNvPr>
            <p:cNvSpPr/>
            <p:nvPr/>
          </p:nvSpPr>
          <p:spPr>
            <a:xfrm>
              <a:off x="-251370" y="1872886"/>
              <a:ext cx="23017" cy="9948"/>
            </a:xfrm>
            <a:custGeom>
              <a:avLst/>
              <a:gdLst>
                <a:gd name="connsiteX0" fmla="*/ 23018 w 23017"/>
                <a:gd name="connsiteY0" fmla="*/ 0 h 9948"/>
                <a:gd name="connsiteX1" fmla="*/ 23018 w 23017"/>
                <a:gd name="connsiteY1" fmla="*/ 0 h 9948"/>
                <a:gd name="connsiteX2" fmla="*/ 0 w 23017"/>
                <a:gd name="connsiteY2" fmla="*/ 0 h 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17" h="9948">
                  <a:moveTo>
                    <a:pt x="23018" y="0"/>
                  </a:moveTo>
                  <a:lnTo>
                    <a:pt x="230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590" name="Graphic 231">
              <a:extLst>
                <a:ext uri="{FF2B5EF4-FFF2-40B4-BE49-F238E27FC236}">
                  <a16:creationId xmlns:a16="http://schemas.microsoft.com/office/drawing/2014/main" id="{81D2E867-BDCD-40AA-B815-9FD5578150D1}"/>
                </a:ext>
              </a:extLst>
            </p:cNvPr>
            <p:cNvGrpSpPr/>
            <p:nvPr/>
          </p:nvGrpSpPr>
          <p:grpSpPr>
            <a:xfrm>
              <a:off x="531931" y="2519554"/>
              <a:ext cx="1078348" cy="520494"/>
              <a:chOff x="531931" y="2519554"/>
              <a:chExt cx="1078348" cy="520494"/>
            </a:xfrm>
            <a:solidFill>
              <a:srgbClr val="ECE8E4"/>
            </a:solidFill>
          </p:grpSpPr>
          <p:sp>
            <p:nvSpPr>
              <p:cNvPr id="2006" name="Freeform: Shape 2005">
                <a:extLst>
                  <a:ext uri="{FF2B5EF4-FFF2-40B4-BE49-F238E27FC236}">
                    <a16:creationId xmlns:a16="http://schemas.microsoft.com/office/drawing/2014/main" id="{7E46BF65-312F-437E-9BFB-0ECA1C61C331}"/>
                  </a:ext>
                </a:extLst>
              </p:cNvPr>
              <p:cNvSpPr/>
              <p:nvPr/>
            </p:nvSpPr>
            <p:spPr>
              <a:xfrm>
                <a:off x="531931" y="2519554"/>
                <a:ext cx="120569" cy="596"/>
              </a:xfrm>
              <a:custGeom>
                <a:avLst/>
                <a:gdLst>
                  <a:gd name="connsiteX0" fmla="*/ 0 w 120569"/>
                  <a:gd name="connsiteY0" fmla="*/ 0 h 596"/>
                  <a:gd name="connsiteX1" fmla="*/ 120569 w 120569"/>
                  <a:gd name="connsiteY1" fmla="*/ 597 h 596"/>
                  <a:gd name="connsiteX2" fmla="*/ 120569 w 120569"/>
                  <a:gd name="connsiteY2" fmla="*/ 597 h 596"/>
                  <a:gd name="connsiteX3" fmla="*/ 0 w 120569"/>
                  <a:gd name="connsiteY3" fmla="*/ 597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0569" h="596">
                    <a:moveTo>
                      <a:pt x="0" y="0"/>
                    </a:moveTo>
                    <a:cubicBezTo>
                      <a:pt x="39858" y="0"/>
                      <a:pt x="80413" y="0"/>
                      <a:pt x="120569" y="597"/>
                    </a:cubicBezTo>
                    <a:lnTo>
                      <a:pt x="120569" y="597"/>
                    </a:lnTo>
                    <a:lnTo>
                      <a:pt x="0" y="597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07" name="Freeform: Shape 2006">
                <a:extLst>
                  <a:ext uri="{FF2B5EF4-FFF2-40B4-BE49-F238E27FC236}">
                    <a16:creationId xmlns:a16="http://schemas.microsoft.com/office/drawing/2014/main" id="{0BCF923F-D406-4505-A1F7-97082F6DFD73}"/>
                  </a:ext>
                </a:extLst>
              </p:cNvPr>
              <p:cNvSpPr/>
              <p:nvPr/>
            </p:nvSpPr>
            <p:spPr>
              <a:xfrm>
                <a:off x="1102094" y="2970829"/>
                <a:ext cx="4882" cy="2387"/>
              </a:xfrm>
              <a:custGeom>
                <a:avLst/>
                <a:gdLst>
                  <a:gd name="connsiteX0" fmla="*/ 0 w 4882"/>
                  <a:gd name="connsiteY0" fmla="*/ 2388 h 2387"/>
                  <a:gd name="connsiteX1" fmla="*/ 4882 w 4882"/>
                  <a:gd name="connsiteY1" fmla="*/ 0 h 2387"/>
                  <a:gd name="connsiteX2" fmla="*/ 0 w 4882"/>
                  <a:gd name="connsiteY2" fmla="*/ 2388 h 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82" h="2387">
                    <a:moveTo>
                      <a:pt x="0" y="2388"/>
                    </a:moveTo>
                    <a:cubicBezTo>
                      <a:pt x="1744" y="1861"/>
                      <a:pt x="3388" y="1055"/>
                      <a:pt x="4882" y="0"/>
                    </a:cubicBezTo>
                    <a:cubicBezTo>
                      <a:pt x="3428" y="1105"/>
                      <a:pt x="1764" y="1920"/>
                      <a:pt x="0" y="238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08" name="Freeform: Shape 2007">
                <a:extLst>
                  <a:ext uri="{FF2B5EF4-FFF2-40B4-BE49-F238E27FC236}">
                    <a16:creationId xmlns:a16="http://schemas.microsoft.com/office/drawing/2014/main" id="{85D741BE-FAD6-436B-BEF0-44BC775F300F}"/>
                  </a:ext>
                </a:extLst>
              </p:cNvPr>
              <p:cNvSpPr/>
              <p:nvPr/>
            </p:nvSpPr>
            <p:spPr>
              <a:xfrm>
                <a:off x="1166763" y="2984160"/>
                <a:ext cx="896" cy="8257"/>
              </a:xfrm>
              <a:custGeom>
                <a:avLst/>
                <a:gdLst>
                  <a:gd name="connsiteX0" fmla="*/ 0 w 896"/>
                  <a:gd name="connsiteY0" fmla="*/ 8258 h 8257"/>
                  <a:gd name="connsiteX1" fmla="*/ 897 w 896"/>
                  <a:gd name="connsiteY1" fmla="*/ 0 h 8257"/>
                  <a:gd name="connsiteX2" fmla="*/ 0 w 896"/>
                  <a:gd name="connsiteY2" fmla="*/ 8258 h 8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" h="8257">
                    <a:moveTo>
                      <a:pt x="0" y="8258"/>
                    </a:moveTo>
                    <a:cubicBezTo>
                      <a:pt x="80" y="5482"/>
                      <a:pt x="379" y="2726"/>
                      <a:pt x="897" y="0"/>
                    </a:cubicBezTo>
                    <a:cubicBezTo>
                      <a:pt x="329" y="2716"/>
                      <a:pt x="30" y="5482"/>
                      <a:pt x="0" y="825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09" name="Freeform: Shape 2008">
                <a:extLst>
                  <a:ext uri="{FF2B5EF4-FFF2-40B4-BE49-F238E27FC236}">
                    <a16:creationId xmlns:a16="http://schemas.microsoft.com/office/drawing/2014/main" id="{419B8D1E-31F4-42BF-A575-DE8E9992E9CC}"/>
                  </a:ext>
                </a:extLst>
              </p:cNvPr>
              <p:cNvSpPr/>
              <p:nvPr/>
            </p:nvSpPr>
            <p:spPr>
              <a:xfrm>
                <a:off x="1264714" y="3003262"/>
                <a:ext cx="642" cy="5372"/>
              </a:xfrm>
              <a:custGeom>
                <a:avLst/>
                <a:gdLst>
                  <a:gd name="connsiteX0" fmla="*/ 0 w 642"/>
                  <a:gd name="connsiteY0" fmla="*/ 0 h 5372"/>
                  <a:gd name="connsiteX1" fmla="*/ 0 w 642"/>
                  <a:gd name="connsiteY1" fmla="*/ 5372 h 5372"/>
                  <a:gd name="connsiteX2" fmla="*/ 0 w 642"/>
                  <a:gd name="connsiteY2" fmla="*/ 0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2" h="5372">
                    <a:moveTo>
                      <a:pt x="0" y="0"/>
                    </a:moveTo>
                    <a:cubicBezTo>
                      <a:pt x="857" y="1691"/>
                      <a:pt x="857" y="3681"/>
                      <a:pt x="0" y="5372"/>
                    </a:cubicBezTo>
                    <a:cubicBezTo>
                      <a:pt x="807" y="3671"/>
                      <a:pt x="807" y="170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0" name="Freeform: Shape 2009">
                <a:extLst>
                  <a:ext uri="{FF2B5EF4-FFF2-40B4-BE49-F238E27FC236}">
                    <a16:creationId xmlns:a16="http://schemas.microsoft.com/office/drawing/2014/main" id="{757B3D7A-B04E-476C-8DDA-1365FF3242A3}"/>
                  </a:ext>
                </a:extLst>
              </p:cNvPr>
              <p:cNvSpPr/>
              <p:nvPr/>
            </p:nvSpPr>
            <p:spPr>
              <a:xfrm>
                <a:off x="1275276" y="3015698"/>
                <a:ext cx="996" cy="7262"/>
              </a:xfrm>
              <a:custGeom>
                <a:avLst/>
                <a:gdLst>
                  <a:gd name="connsiteX0" fmla="*/ 0 w 996"/>
                  <a:gd name="connsiteY0" fmla="*/ 7263 h 7262"/>
                  <a:gd name="connsiteX1" fmla="*/ 997 w 996"/>
                  <a:gd name="connsiteY1" fmla="*/ 0 h 7262"/>
                  <a:gd name="connsiteX2" fmla="*/ 0 w 996"/>
                  <a:gd name="connsiteY2" fmla="*/ 7263 h 7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" h="7262">
                    <a:moveTo>
                      <a:pt x="0" y="7263"/>
                    </a:moveTo>
                    <a:cubicBezTo>
                      <a:pt x="140" y="4815"/>
                      <a:pt x="468" y="2388"/>
                      <a:pt x="997" y="0"/>
                    </a:cubicBezTo>
                    <a:cubicBezTo>
                      <a:pt x="518" y="2398"/>
                      <a:pt x="189" y="4825"/>
                      <a:pt x="0" y="726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1" name="Freeform: Shape 2010">
                <a:extLst>
                  <a:ext uri="{FF2B5EF4-FFF2-40B4-BE49-F238E27FC236}">
                    <a16:creationId xmlns:a16="http://schemas.microsoft.com/office/drawing/2014/main" id="{3FBAB613-6436-438B-BC3B-3D2973A4C0C6}"/>
                  </a:ext>
                </a:extLst>
              </p:cNvPr>
              <p:cNvSpPr/>
              <p:nvPr/>
            </p:nvSpPr>
            <p:spPr>
              <a:xfrm>
                <a:off x="1288643" y="2995502"/>
                <a:ext cx="582" cy="4576"/>
              </a:xfrm>
              <a:custGeom>
                <a:avLst/>
                <a:gdLst>
                  <a:gd name="connsiteX0" fmla="*/ 583 w 582"/>
                  <a:gd name="connsiteY0" fmla="*/ 4576 h 4576"/>
                  <a:gd name="connsiteX1" fmla="*/ 583 w 582"/>
                  <a:gd name="connsiteY1" fmla="*/ 0 h 4576"/>
                  <a:gd name="connsiteX2" fmla="*/ 583 w 582"/>
                  <a:gd name="connsiteY2" fmla="*/ 4576 h 4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2" h="4576">
                    <a:moveTo>
                      <a:pt x="583" y="4576"/>
                    </a:moveTo>
                    <a:cubicBezTo>
                      <a:pt x="-194" y="3154"/>
                      <a:pt x="-194" y="1423"/>
                      <a:pt x="583" y="0"/>
                    </a:cubicBezTo>
                    <a:cubicBezTo>
                      <a:pt x="-144" y="1442"/>
                      <a:pt x="-144" y="3134"/>
                      <a:pt x="583" y="45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2" name="Freeform: Shape 2011">
                <a:extLst>
                  <a:ext uri="{FF2B5EF4-FFF2-40B4-BE49-F238E27FC236}">
                    <a16:creationId xmlns:a16="http://schemas.microsoft.com/office/drawing/2014/main" id="{1E7A220B-9DFF-4316-A221-D363259E2364}"/>
                  </a:ext>
                </a:extLst>
              </p:cNvPr>
              <p:cNvSpPr/>
              <p:nvPr/>
            </p:nvSpPr>
            <p:spPr>
              <a:xfrm>
                <a:off x="1307760" y="3003759"/>
                <a:ext cx="4583" cy="1691"/>
              </a:xfrm>
              <a:custGeom>
                <a:avLst/>
                <a:gdLst>
                  <a:gd name="connsiteX0" fmla="*/ 0 w 4583"/>
                  <a:gd name="connsiteY0" fmla="*/ 1691 h 1691"/>
                  <a:gd name="connsiteX1" fmla="*/ 4584 w 4583"/>
                  <a:gd name="connsiteY1" fmla="*/ 0 h 1691"/>
                  <a:gd name="connsiteX2" fmla="*/ 0 w 4583"/>
                  <a:gd name="connsiteY2" fmla="*/ 1691 h 1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83" h="1691">
                    <a:moveTo>
                      <a:pt x="0" y="1691"/>
                    </a:moveTo>
                    <a:cubicBezTo>
                      <a:pt x="1365" y="756"/>
                      <a:pt x="2939" y="179"/>
                      <a:pt x="4584" y="0"/>
                    </a:cubicBezTo>
                    <a:cubicBezTo>
                      <a:pt x="2949" y="239"/>
                      <a:pt x="1395" y="816"/>
                      <a:pt x="0" y="169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3" name="Freeform: Shape 2012">
                <a:extLst>
                  <a:ext uri="{FF2B5EF4-FFF2-40B4-BE49-F238E27FC236}">
                    <a16:creationId xmlns:a16="http://schemas.microsoft.com/office/drawing/2014/main" id="{FB417CA2-7D6D-48BB-A11E-EAB30EA97A90}"/>
                  </a:ext>
                </a:extLst>
              </p:cNvPr>
              <p:cNvSpPr/>
              <p:nvPr/>
            </p:nvSpPr>
            <p:spPr>
              <a:xfrm>
                <a:off x="1317226" y="3003859"/>
                <a:ext cx="8370" cy="4128"/>
              </a:xfrm>
              <a:custGeom>
                <a:avLst/>
                <a:gdLst>
                  <a:gd name="connsiteX0" fmla="*/ 8370 w 8370"/>
                  <a:gd name="connsiteY0" fmla="*/ 0 h 4128"/>
                  <a:gd name="connsiteX1" fmla="*/ 0 w 8370"/>
                  <a:gd name="connsiteY1" fmla="*/ 3880 h 4128"/>
                  <a:gd name="connsiteX2" fmla="*/ 8370 w 8370"/>
                  <a:gd name="connsiteY2" fmla="*/ 0 h 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70" h="4128">
                    <a:moveTo>
                      <a:pt x="8370" y="0"/>
                    </a:moveTo>
                    <a:cubicBezTo>
                      <a:pt x="6896" y="3154"/>
                      <a:pt x="3368" y="4785"/>
                      <a:pt x="0" y="3880"/>
                    </a:cubicBezTo>
                    <a:cubicBezTo>
                      <a:pt x="3358" y="4706"/>
                      <a:pt x="6836" y="3094"/>
                      <a:pt x="837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4" name="Freeform: Shape 2013">
                <a:extLst>
                  <a:ext uri="{FF2B5EF4-FFF2-40B4-BE49-F238E27FC236}">
                    <a16:creationId xmlns:a16="http://schemas.microsoft.com/office/drawing/2014/main" id="{3750BB3B-4C2D-4984-AFED-94CC06023F50}"/>
                  </a:ext>
                </a:extLst>
              </p:cNvPr>
              <p:cNvSpPr/>
              <p:nvPr/>
            </p:nvSpPr>
            <p:spPr>
              <a:xfrm>
                <a:off x="1338251" y="3002765"/>
                <a:ext cx="1394" cy="5770"/>
              </a:xfrm>
              <a:custGeom>
                <a:avLst/>
                <a:gdLst>
                  <a:gd name="connsiteX0" fmla="*/ 1394 w 1394"/>
                  <a:gd name="connsiteY0" fmla="*/ 5770 h 5770"/>
                  <a:gd name="connsiteX1" fmla="*/ 199 w 1394"/>
                  <a:gd name="connsiteY1" fmla="*/ 0 h 5770"/>
                  <a:gd name="connsiteX2" fmla="*/ 1394 w 1394"/>
                  <a:gd name="connsiteY2" fmla="*/ 5770 h 5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4" h="5770">
                    <a:moveTo>
                      <a:pt x="1394" y="5770"/>
                    </a:moveTo>
                    <a:cubicBezTo>
                      <a:pt x="-598" y="3780"/>
                      <a:pt x="99" y="1890"/>
                      <a:pt x="199" y="0"/>
                    </a:cubicBezTo>
                    <a:cubicBezTo>
                      <a:pt x="199" y="2189"/>
                      <a:pt x="-499" y="4079"/>
                      <a:pt x="1394" y="577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5" name="Freeform: Shape 2014">
                <a:extLst>
                  <a:ext uri="{FF2B5EF4-FFF2-40B4-BE49-F238E27FC236}">
                    <a16:creationId xmlns:a16="http://schemas.microsoft.com/office/drawing/2014/main" id="{363DD251-EEB4-4449-8395-CCCB226E6061}"/>
                  </a:ext>
                </a:extLst>
              </p:cNvPr>
              <p:cNvSpPr/>
              <p:nvPr/>
            </p:nvSpPr>
            <p:spPr>
              <a:xfrm>
                <a:off x="1391062" y="3008535"/>
                <a:ext cx="6177" cy="4477"/>
              </a:xfrm>
              <a:custGeom>
                <a:avLst/>
                <a:gdLst>
                  <a:gd name="connsiteX0" fmla="*/ 2790 w 6177"/>
                  <a:gd name="connsiteY0" fmla="*/ 0 h 4477"/>
                  <a:gd name="connsiteX1" fmla="*/ 6178 w 6177"/>
                  <a:gd name="connsiteY1" fmla="*/ 0 h 4477"/>
                  <a:gd name="connsiteX2" fmla="*/ 0 w 6177"/>
                  <a:gd name="connsiteY2" fmla="*/ 4477 h 4477"/>
                  <a:gd name="connsiteX3" fmla="*/ 2790 w 6177"/>
                  <a:gd name="connsiteY3" fmla="*/ 0 h 4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7" h="4477">
                    <a:moveTo>
                      <a:pt x="2790" y="0"/>
                    </a:moveTo>
                    <a:lnTo>
                      <a:pt x="6178" y="0"/>
                    </a:lnTo>
                    <a:cubicBezTo>
                      <a:pt x="3787" y="975"/>
                      <a:pt x="1664" y="2507"/>
                      <a:pt x="0" y="4477"/>
                    </a:cubicBezTo>
                    <a:cubicBezTo>
                      <a:pt x="1007" y="3034"/>
                      <a:pt x="1943" y="1542"/>
                      <a:pt x="279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6" name="Freeform: Shape 2015">
                <a:extLst>
                  <a:ext uri="{FF2B5EF4-FFF2-40B4-BE49-F238E27FC236}">
                    <a16:creationId xmlns:a16="http://schemas.microsoft.com/office/drawing/2014/main" id="{9A30ECC4-7A78-47ED-81C5-695F60C02AD9}"/>
                  </a:ext>
                </a:extLst>
              </p:cNvPr>
              <p:cNvSpPr/>
              <p:nvPr/>
            </p:nvSpPr>
            <p:spPr>
              <a:xfrm>
                <a:off x="1403418" y="3006147"/>
                <a:ext cx="3686" cy="895"/>
              </a:xfrm>
              <a:custGeom>
                <a:avLst/>
                <a:gdLst>
                  <a:gd name="connsiteX0" fmla="*/ 0 w 3686"/>
                  <a:gd name="connsiteY0" fmla="*/ 696 h 895"/>
                  <a:gd name="connsiteX1" fmla="*/ 3687 w 3686"/>
                  <a:gd name="connsiteY1" fmla="*/ 0 h 895"/>
                  <a:gd name="connsiteX2" fmla="*/ 1395 w 3686"/>
                  <a:gd name="connsiteY2" fmla="*/ 895 h 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86" h="895">
                    <a:moveTo>
                      <a:pt x="0" y="696"/>
                    </a:moveTo>
                    <a:cubicBezTo>
                      <a:pt x="1246" y="547"/>
                      <a:pt x="2471" y="318"/>
                      <a:pt x="3687" y="0"/>
                    </a:cubicBezTo>
                    <a:cubicBezTo>
                      <a:pt x="2900" y="239"/>
                      <a:pt x="2133" y="537"/>
                      <a:pt x="1395" y="8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7" name="Freeform: Shape 2016">
                <a:extLst>
                  <a:ext uri="{FF2B5EF4-FFF2-40B4-BE49-F238E27FC236}">
                    <a16:creationId xmlns:a16="http://schemas.microsoft.com/office/drawing/2014/main" id="{B466A309-0780-48F6-9E81-E8038D290124}"/>
                  </a:ext>
                </a:extLst>
              </p:cNvPr>
              <p:cNvSpPr/>
              <p:nvPr/>
            </p:nvSpPr>
            <p:spPr>
              <a:xfrm>
                <a:off x="1415874" y="3002068"/>
                <a:ext cx="11160" cy="1691"/>
              </a:xfrm>
              <a:custGeom>
                <a:avLst/>
                <a:gdLst>
                  <a:gd name="connsiteX0" fmla="*/ 5082 w 11160"/>
                  <a:gd name="connsiteY0" fmla="*/ 0 h 1691"/>
                  <a:gd name="connsiteX1" fmla="*/ 11160 w 11160"/>
                  <a:gd name="connsiteY1" fmla="*/ 1094 h 1691"/>
                  <a:gd name="connsiteX2" fmla="*/ 0 w 11160"/>
                  <a:gd name="connsiteY2" fmla="*/ 1691 h 1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160" h="1691">
                    <a:moveTo>
                      <a:pt x="5082" y="0"/>
                    </a:moveTo>
                    <a:lnTo>
                      <a:pt x="11160" y="1094"/>
                    </a:lnTo>
                    <a:cubicBezTo>
                      <a:pt x="7433" y="945"/>
                      <a:pt x="3697" y="1144"/>
                      <a:pt x="0" y="169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8" name="Freeform: Shape 2017">
                <a:extLst>
                  <a:ext uri="{FF2B5EF4-FFF2-40B4-BE49-F238E27FC236}">
                    <a16:creationId xmlns:a16="http://schemas.microsoft.com/office/drawing/2014/main" id="{1CAD8A25-9694-45C5-A291-FED5911E092C}"/>
                  </a:ext>
                </a:extLst>
              </p:cNvPr>
              <p:cNvSpPr/>
              <p:nvPr/>
            </p:nvSpPr>
            <p:spPr>
              <a:xfrm>
                <a:off x="1434408" y="3003859"/>
                <a:ext cx="1992" cy="9948"/>
              </a:xfrm>
              <a:custGeom>
                <a:avLst/>
                <a:gdLst>
                  <a:gd name="connsiteX0" fmla="*/ 0 w 1992"/>
                  <a:gd name="connsiteY0" fmla="*/ 0 h 9948"/>
                  <a:gd name="connsiteX1" fmla="*/ 1993 w 1992"/>
                  <a:gd name="connsiteY1" fmla="*/ 0 h 9948"/>
                  <a:gd name="connsiteX2" fmla="*/ 1295 w 1992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" h="9948">
                    <a:moveTo>
                      <a:pt x="0" y="0"/>
                    </a:moveTo>
                    <a:lnTo>
                      <a:pt x="1993" y="0"/>
                    </a:lnTo>
                    <a:lnTo>
                      <a:pt x="1295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19" name="Freeform: Shape 2018">
                <a:extLst>
                  <a:ext uri="{FF2B5EF4-FFF2-40B4-BE49-F238E27FC236}">
                    <a16:creationId xmlns:a16="http://schemas.microsoft.com/office/drawing/2014/main" id="{3C78D7C2-0009-4BE0-952A-243B081E9733}"/>
                  </a:ext>
                </a:extLst>
              </p:cNvPr>
              <p:cNvSpPr/>
              <p:nvPr/>
            </p:nvSpPr>
            <p:spPr>
              <a:xfrm>
                <a:off x="1443774" y="2995303"/>
                <a:ext cx="15444" cy="4576"/>
              </a:xfrm>
              <a:custGeom>
                <a:avLst/>
                <a:gdLst>
                  <a:gd name="connsiteX0" fmla="*/ 0 w 15444"/>
                  <a:gd name="connsiteY0" fmla="*/ 4576 h 4576"/>
                  <a:gd name="connsiteX1" fmla="*/ 15445 w 15444"/>
                  <a:gd name="connsiteY1" fmla="*/ 0 h 4576"/>
                  <a:gd name="connsiteX2" fmla="*/ 0 w 15444"/>
                  <a:gd name="connsiteY2" fmla="*/ 4576 h 4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444" h="4576">
                    <a:moveTo>
                      <a:pt x="0" y="4576"/>
                    </a:moveTo>
                    <a:cubicBezTo>
                      <a:pt x="4903" y="2328"/>
                      <a:pt x="10104" y="786"/>
                      <a:pt x="15445" y="0"/>
                    </a:cubicBezTo>
                    <a:cubicBezTo>
                      <a:pt x="10363" y="1592"/>
                      <a:pt x="4982" y="3283"/>
                      <a:pt x="0" y="45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0" name="Freeform: Shape 2019">
                <a:extLst>
                  <a:ext uri="{FF2B5EF4-FFF2-40B4-BE49-F238E27FC236}">
                    <a16:creationId xmlns:a16="http://schemas.microsoft.com/office/drawing/2014/main" id="{BDAD7F92-F520-4668-9298-3C1A1779F2E8}"/>
                  </a:ext>
                </a:extLst>
              </p:cNvPr>
              <p:cNvSpPr/>
              <p:nvPr/>
            </p:nvSpPr>
            <p:spPr>
              <a:xfrm>
                <a:off x="1248073" y="2519899"/>
                <a:ext cx="338092" cy="1147"/>
              </a:xfrm>
              <a:custGeom>
                <a:avLst/>
                <a:gdLst>
                  <a:gd name="connsiteX0" fmla="*/ 338092 w 338092"/>
                  <a:gd name="connsiteY0" fmla="*/ 1148 h 1147"/>
                  <a:gd name="connsiteX1" fmla="*/ 0 w 338092"/>
                  <a:gd name="connsiteY1" fmla="*/ 253 h 1147"/>
                  <a:gd name="connsiteX2" fmla="*/ 338092 w 338092"/>
                  <a:gd name="connsiteY2" fmla="*/ 1148 h 1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092" h="1147">
                    <a:moveTo>
                      <a:pt x="338092" y="1148"/>
                    </a:moveTo>
                    <a:cubicBezTo>
                      <a:pt x="225495" y="551"/>
                      <a:pt x="112797" y="253"/>
                      <a:pt x="0" y="253"/>
                    </a:cubicBezTo>
                    <a:cubicBezTo>
                      <a:pt x="112797" y="-275"/>
                      <a:pt x="225495" y="24"/>
                      <a:pt x="338092" y="114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1" name="Freeform: Shape 2020">
                <a:extLst>
                  <a:ext uri="{FF2B5EF4-FFF2-40B4-BE49-F238E27FC236}">
                    <a16:creationId xmlns:a16="http://schemas.microsoft.com/office/drawing/2014/main" id="{690CDE26-11AE-4ADA-A0FD-E8890A8A033D}"/>
                  </a:ext>
                </a:extLst>
              </p:cNvPr>
              <p:cNvSpPr/>
              <p:nvPr/>
            </p:nvSpPr>
            <p:spPr>
              <a:xfrm>
                <a:off x="1466792" y="2994109"/>
                <a:ext cx="2590" cy="1492"/>
              </a:xfrm>
              <a:custGeom>
                <a:avLst/>
                <a:gdLst>
                  <a:gd name="connsiteX0" fmla="*/ 1794 w 2590"/>
                  <a:gd name="connsiteY0" fmla="*/ 0 h 1492"/>
                  <a:gd name="connsiteX1" fmla="*/ 2591 w 2590"/>
                  <a:gd name="connsiteY1" fmla="*/ 1493 h 1492"/>
                  <a:gd name="connsiteX2" fmla="*/ 0 w 2590"/>
                  <a:gd name="connsiteY2" fmla="*/ 298 h 1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90" h="1492">
                    <a:moveTo>
                      <a:pt x="1794" y="0"/>
                    </a:moveTo>
                    <a:cubicBezTo>
                      <a:pt x="2023" y="517"/>
                      <a:pt x="2282" y="1015"/>
                      <a:pt x="2591" y="1493"/>
                    </a:cubicBezTo>
                    <a:cubicBezTo>
                      <a:pt x="1833" y="896"/>
                      <a:pt x="947" y="488"/>
                      <a:pt x="0" y="29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2" name="Freeform: Shape 2021">
                <a:extLst>
                  <a:ext uri="{FF2B5EF4-FFF2-40B4-BE49-F238E27FC236}">
                    <a16:creationId xmlns:a16="http://schemas.microsoft.com/office/drawing/2014/main" id="{FA21A5C8-C324-4E89-AD47-BEC81752D350}"/>
                  </a:ext>
                </a:extLst>
              </p:cNvPr>
              <p:cNvSpPr/>
              <p:nvPr/>
            </p:nvSpPr>
            <p:spPr>
              <a:xfrm>
                <a:off x="1471774" y="2998586"/>
                <a:ext cx="3686" cy="2487"/>
              </a:xfrm>
              <a:custGeom>
                <a:avLst/>
                <a:gdLst>
                  <a:gd name="connsiteX0" fmla="*/ 0 w 3686"/>
                  <a:gd name="connsiteY0" fmla="*/ 0 h 2487"/>
                  <a:gd name="connsiteX1" fmla="*/ 3687 w 3686"/>
                  <a:gd name="connsiteY1" fmla="*/ 2487 h 2487"/>
                  <a:gd name="connsiteX2" fmla="*/ 797 w 3686"/>
                  <a:gd name="connsiteY2" fmla="*/ 1592 h 2487"/>
                  <a:gd name="connsiteX3" fmla="*/ 0 w 3686"/>
                  <a:gd name="connsiteY3" fmla="*/ 0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6" h="2487">
                    <a:moveTo>
                      <a:pt x="0" y="0"/>
                    </a:moveTo>
                    <a:cubicBezTo>
                      <a:pt x="1106" y="995"/>
                      <a:pt x="2352" y="1830"/>
                      <a:pt x="3687" y="2487"/>
                    </a:cubicBezTo>
                    <a:cubicBezTo>
                      <a:pt x="2710" y="2249"/>
                      <a:pt x="1744" y="1950"/>
                      <a:pt x="797" y="1592"/>
                    </a:cubicBezTo>
                    <a:cubicBezTo>
                      <a:pt x="588" y="1035"/>
                      <a:pt x="329" y="49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3" name="Freeform: Shape 2022">
                <a:extLst>
                  <a:ext uri="{FF2B5EF4-FFF2-40B4-BE49-F238E27FC236}">
                    <a16:creationId xmlns:a16="http://schemas.microsoft.com/office/drawing/2014/main" id="{23181B96-7BE5-4A18-A74F-6BECFBA522A5}"/>
                  </a:ext>
                </a:extLst>
              </p:cNvPr>
              <p:cNvSpPr/>
              <p:nvPr/>
            </p:nvSpPr>
            <p:spPr>
              <a:xfrm>
                <a:off x="1488414" y="3002068"/>
                <a:ext cx="9964" cy="1384"/>
              </a:xfrm>
              <a:custGeom>
                <a:avLst/>
                <a:gdLst>
                  <a:gd name="connsiteX0" fmla="*/ 0 w 9964"/>
                  <a:gd name="connsiteY0" fmla="*/ 1293 h 1384"/>
                  <a:gd name="connsiteX1" fmla="*/ 9964 w 9964"/>
                  <a:gd name="connsiteY1" fmla="*/ 0 h 1384"/>
                  <a:gd name="connsiteX2" fmla="*/ 0 w 9964"/>
                  <a:gd name="connsiteY2" fmla="*/ 1293 h 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1384">
                    <a:moveTo>
                      <a:pt x="0" y="1293"/>
                    </a:moveTo>
                    <a:cubicBezTo>
                      <a:pt x="3358" y="1154"/>
                      <a:pt x="6686" y="726"/>
                      <a:pt x="9964" y="0"/>
                    </a:cubicBezTo>
                    <a:cubicBezTo>
                      <a:pt x="6776" y="1154"/>
                      <a:pt x="3378" y="1592"/>
                      <a:pt x="0" y="12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4" name="Freeform: Shape 2023">
                <a:extLst>
                  <a:ext uri="{FF2B5EF4-FFF2-40B4-BE49-F238E27FC236}">
                    <a16:creationId xmlns:a16="http://schemas.microsoft.com/office/drawing/2014/main" id="{4E656EB3-2BB8-4536-A0E6-778110526979}"/>
                  </a:ext>
                </a:extLst>
              </p:cNvPr>
              <p:cNvSpPr/>
              <p:nvPr/>
            </p:nvSpPr>
            <p:spPr>
              <a:xfrm>
                <a:off x="1503461" y="2993413"/>
                <a:ext cx="2790" cy="5173"/>
              </a:xfrm>
              <a:custGeom>
                <a:avLst/>
                <a:gdLst>
                  <a:gd name="connsiteX0" fmla="*/ 0 w 2790"/>
                  <a:gd name="connsiteY0" fmla="*/ 5173 h 5173"/>
                  <a:gd name="connsiteX1" fmla="*/ 2790 w 2790"/>
                  <a:gd name="connsiteY1" fmla="*/ 0 h 5173"/>
                  <a:gd name="connsiteX2" fmla="*/ 0 w 2790"/>
                  <a:gd name="connsiteY2" fmla="*/ 5173 h 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0" h="5173">
                    <a:moveTo>
                      <a:pt x="0" y="5173"/>
                    </a:moveTo>
                    <a:cubicBezTo>
                      <a:pt x="807" y="3383"/>
                      <a:pt x="1744" y="1661"/>
                      <a:pt x="2790" y="0"/>
                    </a:cubicBezTo>
                    <a:cubicBezTo>
                      <a:pt x="2332" y="1940"/>
                      <a:pt x="1365" y="3721"/>
                      <a:pt x="0" y="517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5" name="Freeform: Shape 2024">
                <a:extLst>
                  <a:ext uri="{FF2B5EF4-FFF2-40B4-BE49-F238E27FC236}">
                    <a16:creationId xmlns:a16="http://schemas.microsoft.com/office/drawing/2014/main" id="{CB33804A-FB19-4C98-8329-0B30A88C119E}"/>
                  </a:ext>
                </a:extLst>
              </p:cNvPr>
              <p:cNvSpPr/>
              <p:nvPr/>
            </p:nvSpPr>
            <p:spPr>
              <a:xfrm>
                <a:off x="1528272" y="2999382"/>
                <a:ext cx="5878" cy="3880"/>
              </a:xfrm>
              <a:custGeom>
                <a:avLst/>
                <a:gdLst>
                  <a:gd name="connsiteX0" fmla="*/ 0 w 5878"/>
                  <a:gd name="connsiteY0" fmla="*/ 0 h 3880"/>
                  <a:gd name="connsiteX1" fmla="*/ 5879 w 5878"/>
                  <a:gd name="connsiteY1" fmla="*/ 3880 h 3880"/>
                  <a:gd name="connsiteX2" fmla="*/ 4085 w 5878"/>
                  <a:gd name="connsiteY2" fmla="*/ 3880 h 3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8" h="3880">
                    <a:moveTo>
                      <a:pt x="0" y="0"/>
                    </a:moveTo>
                    <a:cubicBezTo>
                      <a:pt x="1873" y="1423"/>
                      <a:pt x="3836" y="2716"/>
                      <a:pt x="5879" y="3880"/>
                    </a:cubicBezTo>
                    <a:cubicBezTo>
                      <a:pt x="5281" y="3781"/>
                      <a:pt x="4683" y="3781"/>
                      <a:pt x="4085" y="388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6" name="Freeform: Shape 2025">
                <a:extLst>
                  <a:ext uri="{FF2B5EF4-FFF2-40B4-BE49-F238E27FC236}">
                    <a16:creationId xmlns:a16="http://schemas.microsoft.com/office/drawing/2014/main" id="{ECF6E667-6F45-4094-8B48-60E2AF70DAA7}"/>
                  </a:ext>
                </a:extLst>
              </p:cNvPr>
              <p:cNvSpPr/>
              <p:nvPr/>
            </p:nvSpPr>
            <p:spPr>
              <a:xfrm>
                <a:off x="1539532" y="3004954"/>
                <a:ext cx="4982" cy="3979"/>
              </a:xfrm>
              <a:custGeom>
                <a:avLst/>
                <a:gdLst>
                  <a:gd name="connsiteX0" fmla="*/ 1794 w 4982"/>
                  <a:gd name="connsiteY0" fmla="*/ 99 h 3979"/>
                  <a:gd name="connsiteX1" fmla="*/ 4982 w 4982"/>
                  <a:gd name="connsiteY1" fmla="*/ 3979 h 3979"/>
                  <a:gd name="connsiteX2" fmla="*/ 0 w 4982"/>
                  <a:gd name="connsiteY2" fmla="*/ 0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82" h="3979">
                    <a:moveTo>
                      <a:pt x="1794" y="99"/>
                    </a:moveTo>
                    <a:lnTo>
                      <a:pt x="4982" y="3979"/>
                    </a:lnTo>
                    <a:cubicBezTo>
                      <a:pt x="3508" y="2437"/>
                      <a:pt x="1834" y="10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7" name="Freeform: Shape 2026">
                <a:extLst>
                  <a:ext uri="{FF2B5EF4-FFF2-40B4-BE49-F238E27FC236}">
                    <a16:creationId xmlns:a16="http://schemas.microsoft.com/office/drawing/2014/main" id="{4902599C-62A5-4680-8CBA-4DD2F94F8265}"/>
                  </a:ext>
                </a:extLst>
              </p:cNvPr>
              <p:cNvSpPr/>
              <p:nvPr/>
            </p:nvSpPr>
            <p:spPr>
              <a:xfrm>
                <a:off x="1549895" y="3015101"/>
                <a:ext cx="5081" cy="4775"/>
              </a:xfrm>
              <a:custGeom>
                <a:avLst/>
                <a:gdLst>
                  <a:gd name="connsiteX0" fmla="*/ 0 w 5081"/>
                  <a:gd name="connsiteY0" fmla="*/ 0 h 4775"/>
                  <a:gd name="connsiteX1" fmla="*/ 5082 w 5081"/>
                  <a:gd name="connsiteY1" fmla="*/ 4776 h 4775"/>
                  <a:gd name="connsiteX2" fmla="*/ 1395 w 5081"/>
                  <a:gd name="connsiteY2" fmla="*/ 1890 h 4775"/>
                  <a:gd name="connsiteX3" fmla="*/ 0 w 5081"/>
                  <a:gd name="connsiteY3" fmla="*/ 0 h 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81" h="4775">
                    <a:moveTo>
                      <a:pt x="0" y="0"/>
                    </a:moveTo>
                    <a:cubicBezTo>
                      <a:pt x="1544" y="1741"/>
                      <a:pt x="3248" y="3343"/>
                      <a:pt x="5082" y="4776"/>
                    </a:cubicBezTo>
                    <a:cubicBezTo>
                      <a:pt x="3627" y="4139"/>
                      <a:pt x="2362" y="3144"/>
                      <a:pt x="1395" y="1890"/>
                    </a:cubicBezTo>
                    <a:cubicBezTo>
                      <a:pt x="877" y="1303"/>
                      <a:pt x="408" y="66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8" name="Freeform: Shape 2027">
                <a:extLst>
                  <a:ext uri="{FF2B5EF4-FFF2-40B4-BE49-F238E27FC236}">
                    <a16:creationId xmlns:a16="http://schemas.microsoft.com/office/drawing/2014/main" id="{1BEE9C35-1696-4103-9340-5457CD8F8FDD}"/>
                  </a:ext>
                </a:extLst>
              </p:cNvPr>
              <p:cNvSpPr/>
              <p:nvPr/>
            </p:nvSpPr>
            <p:spPr>
              <a:xfrm>
                <a:off x="1560656" y="3021282"/>
                <a:ext cx="4185" cy="335"/>
              </a:xfrm>
              <a:custGeom>
                <a:avLst/>
                <a:gdLst>
                  <a:gd name="connsiteX0" fmla="*/ 4185 w 4185"/>
                  <a:gd name="connsiteY0" fmla="*/ 186 h 335"/>
                  <a:gd name="connsiteX1" fmla="*/ 0 w 4185"/>
                  <a:gd name="connsiteY1" fmla="*/ 186 h 335"/>
                  <a:gd name="connsiteX2" fmla="*/ 4185 w 4185"/>
                  <a:gd name="connsiteY2" fmla="*/ 186 h 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85" h="335">
                    <a:moveTo>
                      <a:pt x="4185" y="186"/>
                    </a:moveTo>
                    <a:cubicBezTo>
                      <a:pt x="2800" y="386"/>
                      <a:pt x="1385" y="386"/>
                      <a:pt x="0" y="186"/>
                    </a:cubicBezTo>
                    <a:cubicBezTo>
                      <a:pt x="1385" y="-62"/>
                      <a:pt x="2800" y="-62"/>
                      <a:pt x="4185" y="1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29" name="Freeform: Shape 2028">
                <a:extLst>
                  <a:ext uri="{FF2B5EF4-FFF2-40B4-BE49-F238E27FC236}">
                    <a16:creationId xmlns:a16="http://schemas.microsoft.com/office/drawing/2014/main" id="{36B2C676-3908-4EBD-8054-7CA6E6094B60}"/>
                  </a:ext>
                </a:extLst>
              </p:cNvPr>
              <p:cNvSpPr/>
              <p:nvPr/>
            </p:nvSpPr>
            <p:spPr>
              <a:xfrm>
                <a:off x="1570422" y="3023657"/>
                <a:ext cx="9067" cy="5670"/>
              </a:xfrm>
              <a:custGeom>
                <a:avLst/>
                <a:gdLst>
                  <a:gd name="connsiteX0" fmla="*/ 0 w 9067"/>
                  <a:gd name="connsiteY0" fmla="*/ 0 h 5670"/>
                  <a:gd name="connsiteX1" fmla="*/ 9068 w 9067"/>
                  <a:gd name="connsiteY1" fmla="*/ 5671 h 5670"/>
                  <a:gd name="connsiteX2" fmla="*/ 0 w 9067"/>
                  <a:gd name="connsiteY2" fmla="*/ 0 h 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067" h="5670">
                    <a:moveTo>
                      <a:pt x="0" y="0"/>
                    </a:moveTo>
                    <a:cubicBezTo>
                      <a:pt x="2989" y="1691"/>
                      <a:pt x="5979" y="3781"/>
                      <a:pt x="9068" y="5671"/>
                    </a:cubicBezTo>
                    <a:cubicBezTo>
                      <a:pt x="5720" y="4358"/>
                      <a:pt x="2650" y="243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30" name="Freeform: Shape 2029">
                <a:extLst>
                  <a:ext uri="{FF2B5EF4-FFF2-40B4-BE49-F238E27FC236}">
                    <a16:creationId xmlns:a16="http://schemas.microsoft.com/office/drawing/2014/main" id="{F4F6FD9F-D27B-460A-9419-2403378DC209}"/>
                  </a:ext>
                </a:extLst>
              </p:cNvPr>
              <p:cNvSpPr/>
              <p:nvPr/>
            </p:nvSpPr>
            <p:spPr>
              <a:xfrm>
                <a:off x="1586165" y="2577953"/>
                <a:ext cx="6676" cy="69641"/>
              </a:xfrm>
              <a:custGeom>
                <a:avLst/>
                <a:gdLst>
                  <a:gd name="connsiteX0" fmla="*/ 6676 w 6676"/>
                  <a:gd name="connsiteY0" fmla="*/ 69641 h 69641"/>
                  <a:gd name="connsiteX1" fmla="*/ 0 w 6676"/>
                  <a:gd name="connsiteY1" fmla="*/ 19897 h 69641"/>
                  <a:gd name="connsiteX2" fmla="*/ 0 w 6676"/>
                  <a:gd name="connsiteY2" fmla="*/ 0 h 69641"/>
                  <a:gd name="connsiteX3" fmla="*/ 1295 w 6676"/>
                  <a:gd name="connsiteY3" fmla="*/ 19897 h 69641"/>
                  <a:gd name="connsiteX4" fmla="*/ 6676 w 6676"/>
                  <a:gd name="connsiteY4" fmla="*/ 69641 h 696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76" h="69641">
                    <a:moveTo>
                      <a:pt x="6676" y="69641"/>
                    </a:moveTo>
                    <a:cubicBezTo>
                      <a:pt x="4085" y="53226"/>
                      <a:pt x="1794" y="36611"/>
                      <a:pt x="0" y="19897"/>
                    </a:cubicBezTo>
                    <a:cubicBezTo>
                      <a:pt x="0" y="13132"/>
                      <a:pt x="0" y="6566"/>
                      <a:pt x="0" y="0"/>
                    </a:cubicBezTo>
                    <a:cubicBezTo>
                      <a:pt x="0" y="6566"/>
                      <a:pt x="698" y="13132"/>
                      <a:pt x="1295" y="19897"/>
                    </a:cubicBezTo>
                    <a:cubicBezTo>
                      <a:pt x="2790" y="36711"/>
                      <a:pt x="4185" y="53226"/>
                      <a:pt x="6676" y="6964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31" name="Freeform: Shape 2030">
                <a:extLst>
                  <a:ext uri="{FF2B5EF4-FFF2-40B4-BE49-F238E27FC236}">
                    <a16:creationId xmlns:a16="http://schemas.microsoft.com/office/drawing/2014/main" id="{D7FBC48A-91C0-4716-BE6C-EAB628838E67}"/>
                  </a:ext>
                </a:extLst>
              </p:cNvPr>
              <p:cNvSpPr/>
              <p:nvPr/>
            </p:nvSpPr>
            <p:spPr>
              <a:xfrm>
                <a:off x="1590450" y="3032910"/>
                <a:ext cx="3288" cy="2089"/>
              </a:xfrm>
              <a:custGeom>
                <a:avLst/>
                <a:gdLst>
                  <a:gd name="connsiteX0" fmla="*/ 1694 w 3288"/>
                  <a:gd name="connsiteY0" fmla="*/ 0 h 2089"/>
                  <a:gd name="connsiteX1" fmla="*/ 3288 w 3288"/>
                  <a:gd name="connsiteY1" fmla="*/ 2089 h 2089"/>
                  <a:gd name="connsiteX2" fmla="*/ 0 w 3288"/>
                  <a:gd name="connsiteY2" fmla="*/ 99 h 2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88" h="2089">
                    <a:moveTo>
                      <a:pt x="1694" y="0"/>
                    </a:moveTo>
                    <a:lnTo>
                      <a:pt x="3288" y="2089"/>
                    </a:lnTo>
                    <a:cubicBezTo>
                      <a:pt x="2292" y="1273"/>
                      <a:pt x="1186" y="607"/>
                      <a:pt x="0" y="9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32" name="Freeform: Shape 2031">
                <a:extLst>
                  <a:ext uri="{FF2B5EF4-FFF2-40B4-BE49-F238E27FC236}">
                    <a16:creationId xmlns:a16="http://schemas.microsoft.com/office/drawing/2014/main" id="{487A59D1-57B2-4C0C-B355-035520B7D56D}"/>
                  </a:ext>
                </a:extLst>
              </p:cNvPr>
              <p:cNvSpPr/>
              <p:nvPr/>
            </p:nvSpPr>
            <p:spPr>
              <a:xfrm>
                <a:off x="1597027" y="3038481"/>
                <a:ext cx="4184" cy="1568"/>
              </a:xfrm>
              <a:custGeom>
                <a:avLst/>
                <a:gdLst>
                  <a:gd name="connsiteX0" fmla="*/ 4185 w 4184"/>
                  <a:gd name="connsiteY0" fmla="*/ 597 h 1568"/>
                  <a:gd name="connsiteX1" fmla="*/ 1096 w 4184"/>
                  <a:gd name="connsiteY1" fmla="*/ 1393 h 1568"/>
                  <a:gd name="connsiteX2" fmla="*/ 0 w 4184"/>
                  <a:gd name="connsiteY2" fmla="*/ 0 h 1568"/>
                  <a:gd name="connsiteX3" fmla="*/ 4185 w 4184"/>
                  <a:gd name="connsiteY3" fmla="*/ 597 h 1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84" h="1568">
                    <a:moveTo>
                      <a:pt x="4185" y="597"/>
                    </a:moveTo>
                    <a:cubicBezTo>
                      <a:pt x="3428" y="1482"/>
                      <a:pt x="2192" y="1801"/>
                      <a:pt x="1096" y="1393"/>
                    </a:cubicBezTo>
                    <a:cubicBezTo>
                      <a:pt x="787" y="885"/>
                      <a:pt x="418" y="418"/>
                      <a:pt x="0" y="0"/>
                    </a:cubicBezTo>
                    <a:cubicBezTo>
                      <a:pt x="1225" y="836"/>
                      <a:pt x="2770" y="1054"/>
                      <a:pt x="4185" y="5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33" name="Freeform: Shape 2032">
                <a:extLst>
                  <a:ext uri="{FF2B5EF4-FFF2-40B4-BE49-F238E27FC236}">
                    <a16:creationId xmlns:a16="http://schemas.microsoft.com/office/drawing/2014/main" id="{E366D979-6A94-4041-8051-B7FD8E6BB9A0}"/>
                  </a:ext>
                </a:extLst>
              </p:cNvPr>
              <p:cNvSpPr/>
              <p:nvPr/>
            </p:nvSpPr>
            <p:spPr>
              <a:xfrm>
                <a:off x="1603379" y="3020474"/>
                <a:ext cx="224" cy="10943"/>
              </a:xfrm>
              <a:custGeom>
                <a:avLst/>
                <a:gdLst>
                  <a:gd name="connsiteX0" fmla="*/ 224 w 224"/>
                  <a:gd name="connsiteY0" fmla="*/ 0 h 10943"/>
                  <a:gd name="connsiteX1" fmla="*/ 224 w 224"/>
                  <a:gd name="connsiteY1" fmla="*/ 10943 h 10943"/>
                  <a:gd name="connsiteX2" fmla="*/ 224 w 224"/>
                  <a:gd name="connsiteY2" fmla="*/ 0 h 10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4" h="10943">
                    <a:moveTo>
                      <a:pt x="224" y="0"/>
                    </a:moveTo>
                    <a:cubicBezTo>
                      <a:pt x="224" y="3283"/>
                      <a:pt x="224" y="7462"/>
                      <a:pt x="224" y="10943"/>
                    </a:cubicBezTo>
                    <a:cubicBezTo>
                      <a:pt x="-75" y="7302"/>
                      <a:pt x="-75" y="3641"/>
                      <a:pt x="22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34" name="Freeform: Shape 2033">
                <a:extLst>
                  <a:ext uri="{FF2B5EF4-FFF2-40B4-BE49-F238E27FC236}">
                    <a16:creationId xmlns:a16="http://schemas.microsoft.com/office/drawing/2014/main" id="{3AF9FDD3-B644-4694-A754-542ADB1C89DE}"/>
                  </a:ext>
                </a:extLst>
              </p:cNvPr>
              <p:cNvSpPr/>
              <p:nvPr/>
            </p:nvSpPr>
            <p:spPr>
              <a:xfrm>
                <a:off x="1604101" y="2989433"/>
                <a:ext cx="298" cy="25568"/>
              </a:xfrm>
              <a:custGeom>
                <a:avLst/>
                <a:gdLst>
                  <a:gd name="connsiteX0" fmla="*/ 299 w 298"/>
                  <a:gd name="connsiteY0" fmla="*/ 0 h 25568"/>
                  <a:gd name="connsiteX1" fmla="*/ 299 w 298"/>
                  <a:gd name="connsiteY1" fmla="*/ 25568 h 25568"/>
                  <a:gd name="connsiteX2" fmla="*/ 299 w 298"/>
                  <a:gd name="connsiteY2" fmla="*/ 0 h 25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" h="25568">
                    <a:moveTo>
                      <a:pt x="299" y="0"/>
                    </a:moveTo>
                    <a:cubicBezTo>
                      <a:pt x="299" y="8656"/>
                      <a:pt x="299" y="17311"/>
                      <a:pt x="299" y="25568"/>
                    </a:cubicBezTo>
                    <a:cubicBezTo>
                      <a:pt x="-100" y="19897"/>
                      <a:pt x="-100" y="9153"/>
                      <a:pt x="2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35" name="Freeform: Shape 2034">
                <a:extLst>
                  <a:ext uri="{FF2B5EF4-FFF2-40B4-BE49-F238E27FC236}">
                    <a16:creationId xmlns:a16="http://schemas.microsoft.com/office/drawing/2014/main" id="{799B952B-D39E-4C2F-9DB7-BF10BFBB027E}"/>
                  </a:ext>
                </a:extLst>
              </p:cNvPr>
              <p:cNvSpPr/>
              <p:nvPr/>
            </p:nvSpPr>
            <p:spPr>
              <a:xfrm>
                <a:off x="1605397" y="2914122"/>
                <a:ext cx="697" cy="39794"/>
              </a:xfrm>
              <a:custGeom>
                <a:avLst/>
                <a:gdLst>
                  <a:gd name="connsiteX0" fmla="*/ 0 w 697"/>
                  <a:gd name="connsiteY0" fmla="*/ 39795 h 39794"/>
                  <a:gd name="connsiteX1" fmla="*/ 697 w 697"/>
                  <a:gd name="connsiteY1" fmla="*/ 0 h 39794"/>
                  <a:gd name="connsiteX2" fmla="*/ 0 w 697"/>
                  <a:gd name="connsiteY2" fmla="*/ 39795 h 39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7" h="39794">
                    <a:moveTo>
                      <a:pt x="0" y="39795"/>
                    </a:moveTo>
                    <a:cubicBezTo>
                      <a:pt x="0" y="26464"/>
                      <a:pt x="0" y="13132"/>
                      <a:pt x="697" y="0"/>
                    </a:cubicBezTo>
                    <a:cubicBezTo>
                      <a:pt x="598" y="12635"/>
                      <a:pt x="299" y="26165"/>
                      <a:pt x="0" y="397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36" name="Freeform: Shape 2035">
                <a:extLst>
                  <a:ext uri="{FF2B5EF4-FFF2-40B4-BE49-F238E27FC236}">
                    <a16:creationId xmlns:a16="http://schemas.microsoft.com/office/drawing/2014/main" id="{6E17B9A5-5027-4B44-AF98-771590E6B25D}"/>
                  </a:ext>
                </a:extLst>
              </p:cNvPr>
              <p:cNvSpPr/>
              <p:nvPr/>
            </p:nvSpPr>
            <p:spPr>
              <a:xfrm>
                <a:off x="1607688" y="2747579"/>
                <a:ext cx="2590" cy="46162"/>
              </a:xfrm>
              <a:custGeom>
                <a:avLst/>
                <a:gdLst>
                  <a:gd name="connsiteX0" fmla="*/ 2591 w 2590"/>
                  <a:gd name="connsiteY0" fmla="*/ 22683 h 46162"/>
                  <a:gd name="connsiteX1" fmla="*/ 2591 w 2590"/>
                  <a:gd name="connsiteY1" fmla="*/ 46162 h 46162"/>
                  <a:gd name="connsiteX2" fmla="*/ 0 w 2590"/>
                  <a:gd name="connsiteY2" fmla="*/ 0 h 46162"/>
                  <a:gd name="connsiteX3" fmla="*/ 2591 w 2590"/>
                  <a:gd name="connsiteY3" fmla="*/ 22683 h 46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0" h="46162">
                    <a:moveTo>
                      <a:pt x="2591" y="22683"/>
                    </a:moveTo>
                    <a:cubicBezTo>
                      <a:pt x="2591" y="30443"/>
                      <a:pt x="2591" y="38203"/>
                      <a:pt x="2591" y="46162"/>
                    </a:cubicBezTo>
                    <a:cubicBezTo>
                      <a:pt x="2591" y="30941"/>
                      <a:pt x="1495" y="15520"/>
                      <a:pt x="0" y="0"/>
                    </a:cubicBezTo>
                    <a:cubicBezTo>
                      <a:pt x="727" y="7561"/>
                      <a:pt x="1594" y="15122"/>
                      <a:pt x="2591" y="2268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91" name="Graphic 231">
              <a:extLst>
                <a:ext uri="{FF2B5EF4-FFF2-40B4-BE49-F238E27FC236}">
                  <a16:creationId xmlns:a16="http://schemas.microsoft.com/office/drawing/2014/main" id="{F9BACC4B-4693-42B2-A724-F4385258E786}"/>
                </a:ext>
              </a:extLst>
            </p:cNvPr>
            <p:cNvGrpSpPr/>
            <p:nvPr/>
          </p:nvGrpSpPr>
          <p:grpSpPr>
            <a:xfrm>
              <a:off x="-480452" y="1185425"/>
              <a:ext cx="880355" cy="687859"/>
              <a:chOff x="-480452" y="1185425"/>
              <a:chExt cx="880355" cy="687859"/>
            </a:xfrm>
            <a:solidFill>
              <a:srgbClr val="ECE8E4"/>
            </a:solidFill>
          </p:grpSpPr>
          <p:sp>
            <p:nvSpPr>
              <p:cNvPr id="2001" name="Freeform: Shape 2000">
                <a:extLst>
                  <a:ext uri="{FF2B5EF4-FFF2-40B4-BE49-F238E27FC236}">
                    <a16:creationId xmlns:a16="http://schemas.microsoft.com/office/drawing/2014/main" id="{467DBF43-65C8-45B1-A184-670A96FC22D8}"/>
                  </a:ext>
                </a:extLst>
              </p:cNvPr>
              <p:cNvSpPr/>
              <p:nvPr/>
            </p:nvSpPr>
            <p:spPr>
              <a:xfrm>
                <a:off x="-480452" y="1198859"/>
                <a:ext cx="9964" cy="17410"/>
              </a:xfrm>
              <a:custGeom>
                <a:avLst/>
                <a:gdLst>
                  <a:gd name="connsiteX0" fmla="*/ 0 w 9964"/>
                  <a:gd name="connsiteY0" fmla="*/ 10446 h 17410"/>
                  <a:gd name="connsiteX1" fmla="*/ 0 w 9964"/>
                  <a:gd name="connsiteY1" fmla="*/ 0 h 17410"/>
                  <a:gd name="connsiteX2" fmla="*/ 0 w 9964"/>
                  <a:gd name="connsiteY2" fmla="*/ 17410 h 17410"/>
                  <a:gd name="connsiteX3" fmla="*/ 0 w 9964"/>
                  <a:gd name="connsiteY3" fmla="*/ 10446 h 17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4" h="17410">
                    <a:moveTo>
                      <a:pt x="0" y="10446"/>
                    </a:moveTo>
                    <a:lnTo>
                      <a:pt x="0" y="0"/>
                    </a:lnTo>
                    <a:cubicBezTo>
                      <a:pt x="0" y="5671"/>
                      <a:pt x="0" y="11540"/>
                      <a:pt x="0" y="17410"/>
                    </a:cubicBezTo>
                    <a:cubicBezTo>
                      <a:pt x="0" y="15222"/>
                      <a:pt x="0" y="12834"/>
                      <a:pt x="0" y="1044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02" name="Freeform: Shape 2001">
                <a:extLst>
                  <a:ext uri="{FF2B5EF4-FFF2-40B4-BE49-F238E27FC236}">
                    <a16:creationId xmlns:a16="http://schemas.microsoft.com/office/drawing/2014/main" id="{1B049C80-50A3-47E8-9F32-B26DF11969D8}"/>
                  </a:ext>
                </a:extLst>
              </p:cNvPr>
              <p:cNvSpPr/>
              <p:nvPr/>
            </p:nvSpPr>
            <p:spPr>
              <a:xfrm>
                <a:off x="-479954" y="1267505"/>
                <a:ext cx="498" cy="11341"/>
              </a:xfrm>
              <a:custGeom>
                <a:avLst/>
                <a:gdLst>
                  <a:gd name="connsiteX0" fmla="*/ 0 w 498"/>
                  <a:gd name="connsiteY0" fmla="*/ 0 h 11341"/>
                  <a:gd name="connsiteX1" fmla="*/ 498 w 498"/>
                  <a:gd name="connsiteY1" fmla="*/ 11342 h 11341"/>
                  <a:gd name="connsiteX2" fmla="*/ 498 w 498"/>
                  <a:gd name="connsiteY2" fmla="*/ 11342 h 11341"/>
                  <a:gd name="connsiteX3" fmla="*/ 0 w 498"/>
                  <a:gd name="connsiteY3" fmla="*/ 0 h 11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" h="11341">
                    <a:moveTo>
                      <a:pt x="0" y="0"/>
                    </a:moveTo>
                    <a:cubicBezTo>
                      <a:pt x="0" y="3781"/>
                      <a:pt x="0" y="7661"/>
                      <a:pt x="498" y="11342"/>
                    </a:cubicBezTo>
                    <a:lnTo>
                      <a:pt x="498" y="11342"/>
                    </a:lnTo>
                    <a:cubicBezTo>
                      <a:pt x="0" y="7561"/>
                      <a:pt x="0" y="388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03" name="Freeform: Shape 2002">
                <a:extLst>
                  <a:ext uri="{FF2B5EF4-FFF2-40B4-BE49-F238E27FC236}">
                    <a16:creationId xmlns:a16="http://schemas.microsoft.com/office/drawing/2014/main" id="{23BA91C0-13AC-4AB3-A208-2A16179868B1}"/>
                  </a:ext>
                </a:extLst>
              </p:cNvPr>
              <p:cNvSpPr/>
              <p:nvPr/>
            </p:nvSpPr>
            <p:spPr>
              <a:xfrm>
                <a:off x="-477961" y="1185425"/>
                <a:ext cx="35573" cy="799"/>
              </a:xfrm>
              <a:custGeom>
                <a:avLst/>
                <a:gdLst>
                  <a:gd name="connsiteX0" fmla="*/ 35573 w 35573"/>
                  <a:gd name="connsiteY0" fmla="*/ 799 h 799"/>
                  <a:gd name="connsiteX1" fmla="*/ 0 w 35573"/>
                  <a:gd name="connsiteY1" fmla="*/ 103 h 799"/>
                  <a:gd name="connsiteX2" fmla="*/ 35573 w 35573"/>
                  <a:gd name="connsiteY2" fmla="*/ 799 h 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573" h="799">
                    <a:moveTo>
                      <a:pt x="35573" y="799"/>
                    </a:moveTo>
                    <a:cubicBezTo>
                      <a:pt x="23616" y="799"/>
                      <a:pt x="11658" y="799"/>
                      <a:pt x="0" y="103"/>
                    </a:cubicBezTo>
                    <a:cubicBezTo>
                      <a:pt x="8569" y="103"/>
                      <a:pt x="25609" y="-395"/>
                      <a:pt x="35573" y="79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04" name="Freeform: Shape 2003">
                <a:extLst>
                  <a:ext uri="{FF2B5EF4-FFF2-40B4-BE49-F238E27FC236}">
                    <a16:creationId xmlns:a16="http://schemas.microsoft.com/office/drawing/2014/main" id="{43FBE1FE-3DC2-414F-A730-EFF3E2FBE3A7}"/>
                  </a:ext>
                </a:extLst>
              </p:cNvPr>
              <p:cNvSpPr/>
              <p:nvPr/>
            </p:nvSpPr>
            <p:spPr>
              <a:xfrm>
                <a:off x="-251370" y="1873284"/>
                <a:ext cx="23017" cy="9948"/>
              </a:xfrm>
              <a:custGeom>
                <a:avLst/>
                <a:gdLst>
                  <a:gd name="connsiteX0" fmla="*/ 0 w 23017"/>
                  <a:gd name="connsiteY0" fmla="*/ 0 h 9948"/>
                  <a:gd name="connsiteX1" fmla="*/ 23018 w 23017"/>
                  <a:gd name="connsiteY1" fmla="*/ 0 h 9948"/>
                  <a:gd name="connsiteX2" fmla="*/ 23018 w 23017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017" h="9948">
                    <a:moveTo>
                      <a:pt x="0" y="0"/>
                    </a:moveTo>
                    <a:lnTo>
                      <a:pt x="23018" y="0"/>
                    </a:lnTo>
                    <a:lnTo>
                      <a:pt x="23018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05" name="Freeform: Shape 2004">
                <a:extLst>
                  <a:ext uri="{FF2B5EF4-FFF2-40B4-BE49-F238E27FC236}">
                    <a16:creationId xmlns:a16="http://schemas.microsoft.com/office/drawing/2014/main" id="{C482992B-9E1D-4C18-B697-C426B1268FC6}"/>
                  </a:ext>
                </a:extLst>
              </p:cNvPr>
              <p:cNvSpPr/>
              <p:nvPr/>
            </p:nvSpPr>
            <p:spPr>
              <a:xfrm>
                <a:off x="398714" y="1486676"/>
                <a:ext cx="1188" cy="38402"/>
              </a:xfrm>
              <a:custGeom>
                <a:avLst/>
                <a:gdLst>
                  <a:gd name="connsiteX0" fmla="*/ 1188 w 1188"/>
                  <a:gd name="connsiteY0" fmla="*/ 38402 h 38402"/>
                  <a:gd name="connsiteX1" fmla="*/ 1188 w 1188"/>
                  <a:gd name="connsiteY1" fmla="*/ 0 h 38402"/>
                  <a:gd name="connsiteX2" fmla="*/ 1188 w 1188"/>
                  <a:gd name="connsiteY2" fmla="*/ 38402 h 38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88" h="38402">
                    <a:moveTo>
                      <a:pt x="1188" y="38402"/>
                    </a:moveTo>
                    <a:cubicBezTo>
                      <a:pt x="-396" y="25648"/>
                      <a:pt x="-396" y="12754"/>
                      <a:pt x="1188" y="0"/>
                    </a:cubicBezTo>
                    <a:cubicBezTo>
                      <a:pt x="1088" y="12933"/>
                      <a:pt x="1088" y="25668"/>
                      <a:pt x="1188" y="3840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92" name="Graphic 231">
              <a:extLst>
                <a:ext uri="{FF2B5EF4-FFF2-40B4-BE49-F238E27FC236}">
                  <a16:creationId xmlns:a16="http://schemas.microsoft.com/office/drawing/2014/main" id="{F940311E-AF2F-43EB-A24D-AB041DE04D8F}"/>
                </a:ext>
              </a:extLst>
            </p:cNvPr>
            <p:cNvGrpSpPr/>
            <p:nvPr/>
          </p:nvGrpSpPr>
          <p:grpSpPr>
            <a:xfrm>
              <a:off x="3096072" y="1934767"/>
              <a:ext cx="613210" cy="545887"/>
              <a:chOff x="3096072" y="1934767"/>
              <a:chExt cx="613210" cy="545887"/>
            </a:xfrm>
            <a:solidFill>
              <a:srgbClr val="ECE8E4"/>
            </a:solidFill>
          </p:grpSpPr>
          <p:sp>
            <p:nvSpPr>
              <p:cNvPr id="1964" name="Freeform: Shape 1963">
                <a:extLst>
                  <a:ext uri="{FF2B5EF4-FFF2-40B4-BE49-F238E27FC236}">
                    <a16:creationId xmlns:a16="http://schemas.microsoft.com/office/drawing/2014/main" id="{21640FDE-48F8-4533-8252-BC79F4A0C848}"/>
                  </a:ext>
                </a:extLst>
              </p:cNvPr>
              <p:cNvSpPr/>
              <p:nvPr/>
            </p:nvSpPr>
            <p:spPr>
              <a:xfrm>
                <a:off x="3096072" y="2330031"/>
                <a:ext cx="2391" cy="7063"/>
              </a:xfrm>
              <a:custGeom>
                <a:avLst/>
                <a:gdLst>
                  <a:gd name="connsiteX0" fmla="*/ 2391 w 2391"/>
                  <a:gd name="connsiteY0" fmla="*/ 0 h 7063"/>
                  <a:gd name="connsiteX1" fmla="*/ 0 w 2391"/>
                  <a:gd name="connsiteY1" fmla="*/ 7064 h 7063"/>
                  <a:gd name="connsiteX2" fmla="*/ 2391 w 2391"/>
                  <a:gd name="connsiteY2" fmla="*/ 0 h 7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1" h="7063">
                    <a:moveTo>
                      <a:pt x="2391" y="0"/>
                    </a:moveTo>
                    <a:cubicBezTo>
                      <a:pt x="1694" y="2388"/>
                      <a:pt x="797" y="4875"/>
                      <a:pt x="0" y="7064"/>
                    </a:cubicBezTo>
                    <a:cubicBezTo>
                      <a:pt x="30" y="4517"/>
                      <a:pt x="867" y="2040"/>
                      <a:pt x="239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65" name="Freeform: Shape 1964">
                <a:extLst>
                  <a:ext uri="{FF2B5EF4-FFF2-40B4-BE49-F238E27FC236}">
                    <a16:creationId xmlns:a16="http://schemas.microsoft.com/office/drawing/2014/main" id="{9E87CC39-CE59-4CF6-97D3-C624ED1B89EB}"/>
                  </a:ext>
                </a:extLst>
              </p:cNvPr>
              <p:cNvSpPr/>
              <p:nvPr/>
            </p:nvSpPr>
            <p:spPr>
              <a:xfrm>
                <a:off x="3098623" y="2300781"/>
                <a:ext cx="1833" cy="9053"/>
              </a:xfrm>
              <a:custGeom>
                <a:avLst/>
                <a:gdLst>
                  <a:gd name="connsiteX0" fmla="*/ 1833 w 1833"/>
                  <a:gd name="connsiteY0" fmla="*/ 9053 h 9053"/>
                  <a:gd name="connsiteX1" fmla="*/ 40 w 1833"/>
                  <a:gd name="connsiteY1" fmla="*/ 0 h 9053"/>
                  <a:gd name="connsiteX2" fmla="*/ 1833 w 1833"/>
                  <a:gd name="connsiteY2" fmla="*/ 9053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33" h="9053">
                    <a:moveTo>
                      <a:pt x="1833" y="9053"/>
                    </a:moveTo>
                    <a:cubicBezTo>
                      <a:pt x="449" y="6248"/>
                      <a:pt x="-169" y="3124"/>
                      <a:pt x="40" y="0"/>
                    </a:cubicBezTo>
                    <a:cubicBezTo>
                      <a:pt x="438" y="2985"/>
                      <a:pt x="1235" y="6069"/>
                      <a:pt x="1833" y="905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66" name="Freeform: Shape 1965">
                <a:extLst>
                  <a:ext uri="{FF2B5EF4-FFF2-40B4-BE49-F238E27FC236}">
                    <a16:creationId xmlns:a16="http://schemas.microsoft.com/office/drawing/2014/main" id="{1365B590-CB8C-4B59-8E12-764AA924E240}"/>
                  </a:ext>
                </a:extLst>
              </p:cNvPr>
              <p:cNvSpPr/>
              <p:nvPr/>
            </p:nvSpPr>
            <p:spPr>
              <a:xfrm>
                <a:off x="3098364" y="2344357"/>
                <a:ext cx="9964" cy="11640"/>
              </a:xfrm>
              <a:custGeom>
                <a:avLst/>
                <a:gdLst>
                  <a:gd name="connsiteX0" fmla="*/ 0 w 9964"/>
                  <a:gd name="connsiteY0" fmla="*/ 0 h 11640"/>
                  <a:gd name="connsiteX1" fmla="*/ 9964 w 9964"/>
                  <a:gd name="connsiteY1" fmla="*/ 11640 h 11640"/>
                  <a:gd name="connsiteX2" fmla="*/ 0 w 9964"/>
                  <a:gd name="connsiteY2" fmla="*/ 0 h 1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11640">
                    <a:moveTo>
                      <a:pt x="0" y="0"/>
                    </a:moveTo>
                    <a:cubicBezTo>
                      <a:pt x="3089" y="3383"/>
                      <a:pt x="6477" y="7661"/>
                      <a:pt x="9964" y="11640"/>
                    </a:cubicBezTo>
                    <a:cubicBezTo>
                      <a:pt x="6237" y="8128"/>
                      <a:pt x="2899" y="421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67" name="Freeform: Shape 1966">
                <a:extLst>
                  <a:ext uri="{FF2B5EF4-FFF2-40B4-BE49-F238E27FC236}">
                    <a16:creationId xmlns:a16="http://schemas.microsoft.com/office/drawing/2014/main" id="{CD186E2F-8FBF-40FC-BBAB-25125A213C25}"/>
                  </a:ext>
                </a:extLst>
              </p:cNvPr>
              <p:cNvSpPr/>
              <p:nvPr/>
            </p:nvSpPr>
            <p:spPr>
              <a:xfrm>
                <a:off x="3100158" y="2316699"/>
                <a:ext cx="1097" cy="5869"/>
              </a:xfrm>
              <a:custGeom>
                <a:avLst/>
                <a:gdLst>
                  <a:gd name="connsiteX0" fmla="*/ 0 w 1097"/>
                  <a:gd name="connsiteY0" fmla="*/ 5870 h 5869"/>
                  <a:gd name="connsiteX1" fmla="*/ 1096 w 1097"/>
                  <a:gd name="connsiteY1" fmla="*/ 0 h 5869"/>
                  <a:gd name="connsiteX2" fmla="*/ 0 w 1097"/>
                  <a:gd name="connsiteY2" fmla="*/ 5870 h 5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7" h="5869">
                    <a:moveTo>
                      <a:pt x="0" y="5870"/>
                    </a:moveTo>
                    <a:cubicBezTo>
                      <a:pt x="0" y="3880"/>
                      <a:pt x="797" y="1890"/>
                      <a:pt x="1096" y="0"/>
                    </a:cubicBezTo>
                    <a:cubicBezTo>
                      <a:pt x="1126" y="2010"/>
                      <a:pt x="757" y="4009"/>
                      <a:pt x="0" y="587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68" name="Freeform: Shape 1967">
                <a:extLst>
                  <a:ext uri="{FF2B5EF4-FFF2-40B4-BE49-F238E27FC236}">
                    <a16:creationId xmlns:a16="http://schemas.microsoft.com/office/drawing/2014/main" id="{F498ECF3-F7A4-4D42-A35A-1A7A888797DA}"/>
                  </a:ext>
                </a:extLst>
              </p:cNvPr>
              <p:cNvSpPr/>
              <p:nvPr/>
            </p:nvSpPr>
            <p:spPr>
              <a:xfrm>
                <a:off x="3113510" y="2373308"/>
                <a:ext cx="4384" cy="6964"/>
              </a:xfrm>
              <a:custGeom>
                <a:avLst/>
                <a:gdLst>
                  <a:gd name="connsiteX0" fmla="*/ 0 w 4384"/>
                  <a:gd name="connsiteY0" fmla="*/ 0 h 6964"/>
                  <a:gd name="connsiteX1" fmla="*/ 4384 w 4384"/>
                  <a:gd name="connsiteY1" fmla="*/ 6964 h 6964"/>
                  <a:gd name="connsiteX2" fmla="*/ 0 w 4384"/>
                  <a:gd name="connsiteY2" fmla="*/ 0 h 6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84" h="6964">
                    <a:moveTo>
                      <a:pt x="0" y="0"/>
                    </a:moveTo>
                    <a:cubicBezTo>
                      <a:pt x="797" y="2676"/>
                      <a:pt x="2312" y="5084"/>
                      <a:pt x="4384" y="6964"/>
                    </a:cubicBezTo>
                    <a:cubicBezTo>
                      <a:pt x="2053" y="5313"/>
                      <a:pt x="479" y="280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69" name="Freeform: Shape 1968">
                <a:extLst>
                  <a:ext uri="{FF2B5EF4-FFF2-40B4-BE49-F238E27FC236}">
                    <a16:creationId xmlns:a16="http://schemas.microsoft.com/office/drawing/2014/main" id="{8FA57026-3F03-4E11-8C46-7BBA214758C7}"/>
                  </a:ext>
                </a:extLst>
              </p:cNvPr>
              <p:cNvSpPr/>
              <p:nvPr/>
            </p:nvSpPr>
            <p:spPr>
              <a:xfrm>
                <a:off x="3115702" y="2292225"/>
                <a:ext cx="9964" cy="2586"/>
              </a:xfrm>
              <a:custGeom>
                <a:avLst/>
                <a:gdLst>
                  <a:gd name="connsiteX0" fmla="*/ 9964 w 9964"/>
                  <a:gd name="connsiteY0" fmla="*/ 0 h 2586"/>
                  <a:gd name="connsiteX1" fmla="*/ 0 w 9964"/>
                  <a:gd name="connsiteY1" fmla="*/ 2587 h 2586"/>
                  <a:gd name="connsiteX2" fmla="*/ 9964 w 9964"/>
                  <a:gd name="connsiteY2" fmla="*/ 0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2586">
                    <a:moveTo>
                      <a:pt x="9964" y="0"/>
                    </a:moveTo>
                    <a:lnTo>
                      <a:pt x="0" y="2587"/>
                    </a:lnTo>
                    <a:cubicBezTo>
                      <a:pt x="3239" y="1423"/>
                      <a:pt x="6567" y="557"/>
                      <a:pt x="996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0" name="Freeform: Shape 1969">
                <a:extLst>
                  <a:ext uri="{FF2B5EF4-FFF2-40B4-BE49-F238E27FC236}">
                    <a16:creationId xmlns:a16="http://schemas.microsoft.com/office/drawing/2014/main" id="{96F2E163-F6CD-43BB-8FD7-35A41A3FF8A3}"/>
                  </a:ext>
                </a:extLst>
              </p:cNvPr>
              <p:cNvSpPr/>
              <p:nvPr/>
            </p:nvSpPr>
            <p:spPr>
              <a:xfrm>
                <a:off x="3122079" y="2384649"/>
                <a:ext cx="3687" cy="5670"/>
              </a:xfrm>
              <a:custGeom>
                <a:avLst/>
                <a:gdLst>
                  <a:gd name="connsiteX0" fmla="*/ 0 w 3687"/>
                  <a:gd name="connsiteY0" fmla="*/ 0 h 5670"/>
                  <a:gd name="connsiteX1" fmla="*/ 3687 w 3687"/>
                  <a:gd name="connsiteY1" fmla="*/ 5671 h 5670"/>
                  <a:gd name="connsiteX2" fmla="*/ 0 w 3687"/>
                  <a:gd name="connsiteY2" fmla="*/ 0 h 5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87" h="5670">
                    <a:moveTo>
                      <a:pt x="0" y="0"/>
                    </a:moveTo>
                    <a:cubicBezTo>
                      <a:pt x="1565" y="1651"/>
                      <a:pt x="2820" y="3571"/>
                      <a:pt x="3687" y="5671"/>
                    </a:cubicBezTo>
                    <a:cubicBezTo>
                      <a:pt x="2790" y="3781"/>
                      <a:pt x="1196" y="189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1" name="Freeform: Shape 1970">
                <a:extLst>
                  <a:ext uri="{FF2B5EF4-FFF2-40B4-BE49-F238E27FC236}">
                    <a16:creationId xmlns:a16="http://schemas.microsoft.com/office/drawing/2014/main" id="{A89945A8-2346-48EE-A815-8D4FB9C1FABA}"/>
                  </a:ext>
                </a:extLst>
              </p:cNvPr>
              <p:cNvSpPr/>
              <p:nvPr/>
            </p:nvSpPr>
            <p:spPr>
              <a:xfrm>
                <a:off x="3129453" y="2395692"/>
                <a:ext cx="5380" cy="9948"/>
              </a:xfrm>
              <a:custGeom>
                <a:avLst/>
                <a:gdLst>
                  <a:gd name="connsiteX0" fmla="*/ 0 w 5380"/>
                  <a:gd name="connsiteY0" fmla="*/ 0 h 9948"/>
                  <a:gd name="connsiteX1" fmla="*/ 5381 w 5380"/>
                  <a:gd name="connsiteY1" fmla="*/ 9949 h 9948"/>
                  <a:gd name="connsiteX2" fmla="*/ 0 w 5380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80" h="9948">
                    <a:moveTo>
                      <a:pt x="0" y="0"/>
                    </a:moveTo>
                    <a:cubicBezTo>
                      <a:pt x="2441" y="2925"/>
                      <a:pt x="4265" y="6308"/>
                      <a:pt x="5381" y="9949"/>
                    </a:cubicBezTo>
                    <a:cubicBezTo>
                      <a:pt x="3906" y="6467"/>
                      <a:pt x="2102" y="313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2" name="Freeform: Shape 1971">
                <a:extLst>
                  <a:ext uri="{FF2B5EF4-FFF2-40B4-BE49-F238E27FC236}">
                    <a16:creationId xmlns:a16="http://schemas.microsoft.com/office/drawing/2014/main" id="{A724DEE3-C0B3-4A7C-A05F-F8C3ED78B665}"/>
                  </a:ext>
                </a:extLst>
              </p:cNvPr>
              <p:cNvSpPr/>
              <p:nvPr/>
            </p:nvSpPr>
            <p:spPr>
              <a:xfrm>
                <a:off x="3136627" y="2411610"/>
                <a:ext cx="9266" cy="6566"/>
              </a:xfrm>
              <a:custGeom>
                <a:avLst/>
                <a:gdLst>
                  <a:gd name="connsiteX0" fmla="*/ 0 w 9266"/>
                  <a:gd name="connsiteY0" fmla="*/ 0 h 6566"/>
                  <a:gd name="connsiteX1" fmla="*/ 9267 w 9266"/>
                  <a:gd name="connsiteY1" fmla="*/ 6566 h 6566"/>
                  <a:gd name="connsiteX2" fmla="*/ 0 w 9266"/>
                  <a:gd name="connsiteY2" fmla="*/ 0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66" h="6566">
                    <a:moveTo>
                      <a:pt x="0" y="0"/>
                    </a:moveTo>
                    <a:cubicBezTo>
                      <a:pt x="3298" y="1870"/>
                      <a:pt x="6407" y="4069"/>
                      <a:pt x="9267" y="6566"/>
                    </a:cubicBezTo>
                    <a:cubicBezTo>
                      <a:pt x="6078" y="3781"/>
                      <a:pt x="2989" y="159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3" name="Freeform: Shape 1972">
                <a:extLst>
                  <a:ext uri="{FF2B5EF4-FFF2-40B4-BE49-F238E27FC236}">
                    <a16:creationId xmlns:a16="http://schemas.microsoft.com/office/drawing/2014/main" id="{EB778858-8060-477E-8C86-7571057C8ED9}"/>
                  </a:ext>
                </a:extLst>
              </p:cNvPr>
              <p:cNvSpPr/>
              <p:nvPr/>
            </p:nvSpPr>
            <p:spPr>
              <a:xfrm>
                <a:off x="3147787" y="2224574"/>
                <a:ext cx="6975" cy="8456"/>
              </a:xfrm>
              <a:custGeom>
                <a:avLst/>
                <a:gdLst>
                  <a:gd name="connsiteX0" fmla="*/ 6975 w 6975"/>
                  <a:gd name="connsiteY0" fmla="*/ 0 h 8456"/>
                  <a:gd name="connsiteX1" fmla="*/ 0 w 6975"/>
                  <a:gd name="connsiteY1" fmla="*/ 8456 h 8456"/>
                  <a:gd name="connsiteX2" fmla="*/ 6975 w 6975"/>
                  <a:gd name="connsiteY2" fmla="*/ 0 h 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75" h="8456">
                    <a:moveTo>
                      <a:pt x="6975" y="0"/>
                    </a:moveTo>
                    <a:cubicBezTo>
                      <a:pt x="6298" y="3840"/>
                      <a:pt x="3647" y="7054"/>
                      <a:pt x="0" y="8456"/>
                    </a:cubicBezTo>
                    <a:cubicBezTo>
                      <a:pt x="3159" y="6447"/>
                      <a:pt x="5600" y="3482"/>
                      <a:pt x="697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4" name="Freeform: Shape 1973">
                <a:extLst>
                  <a:ext uri="{FF2B5EF4-FFF2-40B4-BE49-F238E27FC236}">
                    <a16:creationId xmlns:a16="http://schemas.microsoft.com/office/drawing/2014/main" id="{BC83C83F-8C2F-434D-AE3F-39651F0273D4}"/>
                  </a:ext>
                </a:extLst>
              </p:cNvPr>
              <p:cNvSpPr/>
              <p:nvPr/>
            </p:nvSpPr>
            <p:spPr>
              <a:xfrm>
                <a:off x="3159446" y="2429220"/>
                <a:ext cx="9964" cy="4974"/>
              </a:xfrm>
              <a:custGeom>
                <a:avLst/>
                <a:gdLst>
                  <a:gd name="connsiteX0" fmla="*/ 0 w 9964"/>
                  <a:gd name="connsiteY0" fmla="*/ 0 h 4974"/>
                  <a:gd name="connsiteX1" fmla="*/ 9964 w 9964"/>
                  <a:gd name="connsiteY1" fmla="*/ 4974 h 4974"/>
                  <a:gd name="connsiteX2" fmla="*/ 6477 w 9964"/>
                  <a:gd name="connsiteY2" fmla="*/ 4974 h 4974"/>
                  <a:gd name="connsiteX3" fmla="*/ 0 w 9964"/>
                  <a:gd name="connsiteY3" fmla="*/ 0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4" h="4974">
                    <a:moveTo>
                      <a:pt x="0" y="0"/>
                    </a:moveTo>
                    <a:cubicBezTo>
                      <a:pt x="3009" y="2219"/>
                      <a:pt x="6377" y="3900"/>
                      <a:pt x="9964" y="4974"/>
                    </a:cubicBezTo>
                    <a:lnTo>
                      <a:pt x="6477" y="4974"/>
                    </a:lnTo>
                    <a:cubicBezTo>
                      <a:pt x="4185" y="3383"/>
                      <a:pt x="2093" y="228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5" name="Freeform: Shape 1974">
                <a:extLst>
                  <a:ext uri="{FF2B5EF4-FFF2-40B4-BE49-F238E27FC236}">
                    <a16:creationId xmlns:a16="http://schemas.microsoft.com/office/drawing/2014/main" id="{3B094824-8358-43CD-9BE5-A729B8017B0A}"/>
                  </a:ext>
                </a:extLst>
              </p:cNvPr>
              <p:cNvSpPr/>
              <p:nvPr/>
            </p:nvSpPr>
            <p:spPr>
              <a:xfrm>
                <a:off x="3161240" y="2196994"/>
                <a:ext cx="16242" cy="10169"/>
              </a:xfrm>
              <a:custGeom>
                <a:avLst/>
                <a:gdLst>
                  <a:gd name="connsiteX0" fmla="*/ 16242 w 16242"/>
                  <a:gd name="connsiteY0" fmla="*/ 2708 h 10169"/>
                  <a:gd name="connsiteX1" fmla="*/ 0 w 16242"/>
                  <a:gd name="connsiteY1" fmla="*/ 10170 h 10169"/>
                  <a:gd name="connsiteX2" fmla="*/ 7274 w 16242"/>
                  <a:gd name="connsiteY2" fmla="*/ 1216 h 10169"/>
                  <a:gd name="connsiteX3" fmla="*/ 16242 w 16242"/>
                  <a:gd name="connsiteY3" fmla="*/ 2708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42" h="10169">
                    <a:moveTo>
                      <a:pt x="16242" y="2708"/>
                    </a:moveTo>
                    <a:cubicBezTo>
                      <a:pt x="10463" y="-1471"/>
                      <a:pt x="5081" y="2111"/>
                      <a:pt x="0" y="10170"/>
                    </a:cubicBezTo>
                    <a:cubicBezTo>
                      <a:pt x="1644" y="6628"/>
                      <a:pt x="4145" y="3554"/>
                      <a:pt x="7274" y="1216"/>
                    </a:cubicBezTo>
                    <a:cubicBezTo>
                      <a:pt x="10363" y="-1072"/>
                      <a:pt x="13452" y="121"/>
                      <a:pt x="16242" y="270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6" name="Freeform: Shape 1975">
                <a:extLst>
                  <a:ext uri="{FF2B5EF4-FFF2-40B4-BE49-F238E27FC236}">
                    <a16:creationId xmlns:a16="http://schemas.microsoft.com/office/drawing/2014/main" id="{13A52DFB-AF44-455D-9F8C-8DD2C3EC9F48}"/>
                  </a:ext>
                </a:extLst>
              </p:cNvPr>
              <p:cNvSpPr/>
              <p:nvPr/>
            </p:nvSpPr>
            <p:spPr>
              <a:xfrm>
                <a:off x="3175389" y="2435089"/>
                <a:ext cx="2092" cy="9948"/>
              </a:xfrm>
              <a:custGeom>
                <a:avLst/>
                <a:gdLst>
                  <a:gd name="connsiteX0" fmla="*/ 0 w 2092"/>
                  <a:gd name="connsiteY0" fmla="*/ 0 h 9948"/>
                  <a:gd name="connsiteX1" fmla="*/ 2093 w 2092"/>
                  <a:gd name="connsiteY1" fmla="*/ 0 h 9948"/>
                  <a:gd name="connsiteX2" fmla="*/ 2093 w 2092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92" h="9948">
                    <a:moveTo>
                      <a:pt x="0" y="0"/>
                    </a:moveTo>
                    <a:lnTo>
                      <a:pt x="2093" y="0"/>
                    </a:lnTo>
                    <a:lnTo>
                      <a:pt x="2093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7" name="Freeform: Shape 1976">
                <a:extLst>
                  <a:ext uri="{FF2B5EF4-FFF2-40B4-BE49-F238E27FC236}">
                    <a16:creationId xmlns:a16="http://schemas.microsoft.com/office/drawing/2014/main" id="{C1AB08EC-FE5C-4055-B70B-4254AB64645D}"/>
                  </a:ext>
                </a:extLst>
              </p:cNvPr>
              <p:cNvSpPr/>
              <p:nvPr/>
            </p:nvSpPr>
            <p:spPr>
              <a:xfrm>
                <a:off x="3198805" y="2192937"/>
                <a:ext cx="2001" cy="10645"/>
              </a:xfrm>
              <a:custGeom>
                <a:avLst/>
                <a:gdLst>
                  <a:gd name="connsiteX0" fmla="*/ 598 w 2001"/>
                  <a:gd name="connsiteY0" fmla="*/ 1293 h 10645"/>
                  <a:gd name="connsiteX1" fmla="*/ 1495 w 2001"/>
                  <a:gd name="connsiteY1" fmla="*/ 10645 h 10645"/>
                  <a:gd name="connsiteX2" fmla="*/ 0 w 2001"/>
                  <a:gd name="connsiteY2" fmla="*/ 0 h 10645"/>
                  <a:gd name="connsiteX3" fmla="*/ 598 w 2001"/>
                  <a:gd name="connsiteY3" fmla="*/ 1293 h 1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01" h="10645">
                    <a:moveTo>
                      <a:pt x="598" y="1293"/>
                    </a:moveTo>
                    <a:cubicBezTo>
                      <a:pt x="2083" y="4179"/>
                      <a:pt x="2402" y="7531"/>
                      <a:pt x="1495" y="10645"/>
                    </a:cubicBezTo>
                    <a:cubicBezTo>
                      <a:pt x="1385" y="7054"/>
                      <a:pt x="877" y="3482"/>
                      <a:pt x="0" y="0"/>
                    </a:cubicBezTo>
                    <a:cubicBezTo>
                      <a:pt x="159" y="448"/>
                      <a:pt x="359" y="886"/>
                      <a:pt x="598" y="12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8" name="Freeform: Shape 1977">
                <a:extLst>
                  <a:ext uri="{FF2B5EF4-FFF2-40B4-BE49-F238E27FC236}">
                    <a16:creationId xmlns:a16="http://schemas.microsoft.com/office/drawing/2014/main" id="{ACE96B05-07EE-472B-8AC4-903A067D301E}"/>
                  </a:ext>
                </a:extLst>
              </p:cNvPr>
              <p:cNvSpPr/>
              <p:nvPr/>
            </p:nvSpPr>
            <p:spPr>
              <a:xfrm>
                <a:off x="3204424" y="2168662"/>
                <a:ext cx="2053" cy="6566"/>
              </a:xfrm>
              <a:custGeom>
                <a:avLst/>
                <a:gdLst>
                  <a:gd name="connsiteX0" fmla="*/ 161 w 2053"/>
                  <a:gd name="connsiteY0" fmla="*/ 6566 h 6566"/>
                  <a:gd name="connsiteX1" fmla="*/ 2054 w 2053"/>
                  <a:gd name="connsiteY1" fmla="*/ 0 h 6566"/>
                  <a:gd name="connsiteX2" fmla="*/ 161 w 2053"/>
                  <a:gd name="connsiteY2" fmla="*/ 6566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53" h="6566">
                    <a:moveTo>
                      <a:pt x="161" y="6566"/>
                    </a:moveTo>
                    <a:cubicBezTo>
                      <a:pt x="-348" y="4199"/>
                      <a:pt x="370" y="1741"/>
                      <a:pt x="2054" y="0"/>
                    </a:cubicBezTo>
                    <a:cubicBezTo>
                      <a:pt x="729" y="1930"/>
                      <a:pt x="71" y="4228"/>
                      <a:pt x="161" y="656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79" name="Freeform: Shape 1978">
                <a:extLst>
                  <a:ext uri="{FF2B5EF4-FFF2-40B4-BE49-F238E27FC236}">
                    <a16:creationId xmlns:a16="http://schemas.microsoft.com/office/drawing/2014/main" id="{36DAD076-AF88-4895-9DFF-5ED27F2B21D5}"/>
                  </a:ext>
                </a:extLst>
              </p:cNvPr>
              <p:cNvSpPr/>
              <p:nvPr/>
            </p:nvSpPr>
            <p:spPr>
              <a:xfrm>
                <a:off x="3209367" y="2163688"/>
                <a:ext cx="1594" cy="2487"/>
              </a:xfrm>
              <a:custGeom>
                <a:avLst/>
                <a:gdLst>
                  <a:gd name="connsiteX0" fmla="*/ 0 w 1594"/>
                  <a:gd name="connsiteY0" fmla="*/ 2487 h 2487"/>
                  <a:gd name="connsiteX1" fmla="*/ 1595 w 1594"/>
                  <a:gd name="connsiteY1" fmla="*/ 0 h 2487"/>
                  <a:gd name="connsiteX2" fmla="*/ 997 w 1594"/>
                  <a:gd name="connsiteY2" fmla="*/ 1791 h 2487"/>
                  <a:gd name="connsiteX3" fmla="*/ 0 w 1594"/>
                  <a:gd name="connsiteY3" fmla="*/ 2487 h 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94" h="2487">
                    <a:moveTo>
                      <a:pt x="0" y="2487"/>
                    </a:moveTo>
                    <a:cubicBezTo>
                      <a:pt x="588" y="1691"/>
                      <a:pt x="1126" y="866"/>
                      <a:pt x="1595" y="0"/>
                    </a:cubicBezTo>
                    <a:cubicBezTo>
                      <a:pt x="1345" y="577"/>
                      <a:pt x="1146" y="1184"/>
                      <a:pt x="997" y="1791"/>
                    </a:cubicBezTo>
                    <a:cubicBezTo>
                      <a:pt x="588" y="1890"/>
                      <a:pt x="229" y="2139"/>
                      <a:pt x="0" y="24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0" name="Freeform: Shape 1979">
                <a:extLst>
                  <a:ext uri="{FF2B5EF4-FFF2-40B4-BE49-F238E27FC236}">
                    <a16:creationId xmlns:a16="http://schemas.microsoft.com/office/drawing/2014/main" id="{1FB67B8B-A62B-43A7-924C-C701F0BCD9D8}"/>
                  </a:ext>
                </a:extLst>
              </p:cNvPr>
              <p:cNvSpPr/>
              <p:nvPr/>
            </p:nvSpPr>
            <p:spPr>
              <a:xfrm>
                <a:off x="3222322" y="2156724"/>
                <a:ext cx="3985" cy="320"/>
              </a:xfrm>
              <a:custGeom>
                <a:avLst/>
                <a:gdLst>
                  <a:gd name="connsiteX0" fmla="*/ 3985 w 3985"/>
                  <a:gd name="connsiteY0" fmla="*/ 0 h 320"/>
                  <a:gd name="connsiteX1" fmla="*/ 0 w 3985"/>
                  <a:gd name="connsiteY1" fmla="*/ 0 h 320"/>
                  <a:gd name="connsiteX2" fmla="*/ 3985 w 3985"/>
                  <a:gd name="connsiteY2" fmla="*/ 0 h 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85" h="320">
                    <a:moveTo>
                      <a:pt x="3985" y="0"/>
                    </a:moveTo>
                    <a:cubicBezTo>
                      <a:pt x="2690" y="428"/>
                      <a:pt x="1295" y="428"/>
                      <a:pt x="0" y="0"/>
                    </a:cubicBezTo>
                    <a:cubicBezTo>
                      <a:pt x="1305" y="318"/>
                      <a:pt x="2680" y="318"/>
                      <a:pt x="398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1" name="Freeform: Shape 1980">
                <a:extLst>
                  <a:ext uri="{FF2B5EF4-FFF2-40B4-BE49-F238E27FC236}">
                    <a16:creationId xmlns:a16="http://schemas.microsoft.com/office/drawing/2014/main" id="{33CAC54B-B1D1-4C39-8355-D420F10E1A39}"/>
                  </a:ext>
                </a:extLst>
              </p:cNvPr>
              <p:cNvSpPr/>
              <p:nvPr/>
            </p:nvSpPr>
            <p:spPr>
              <a:xfrm>
                <a:off x="3228798" y="2147969"/>
                <a:ext cx="498" cy="4974"/>
              </a:xfrm>
              <a:custGeom>
                <a:avLst/>
                <a:gdLst>
                  <a:gd name="connsiteX0" fmla="*/ 0 w 498"/>
                  <a:gd name="connsiteY0" fmla="*/ 4974 h 4974"/>
                  <a:gd name="connsiteX1" fmla="*/ 498 w 498"/>
                  <a:gd name="connsiteY1" fmla="*/ 0 h 4974"/>
                  <a:gd name="connsiteX2" fmla="*/ 0 w 498"/>
                  <a:gd name="connsiteY2" fmla="*/ 4974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8" h="4974">
                    <a:moveTo>
                      <a:pt x="0" y="4974"/>
                    </a:moveTo>
                    <a:cubicBezTo>
                      <a:pt x="0" y="3383"/>
                      <a:pt x="0" y="1791"/>
                      <a:pt x="498" y="0"/>
                    </a:cubicBezTo>
                    <a:cubicBezTo>
                      <a:pt x="479" y="1671"/>
                      <a:pt x="309" y="3333"/>
                      <a:pt x="0" y="49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2" name="Freeform: Shape 1981">
                <a:extLst>
                  <a:ext uri="{FF2B5EF4-FFF2-40B4-BE49-F238E27FC236}">
                    <a16:creationId xmlns:a16="http://schemas.microsoft.com/office/drawing/2014/main" id="{E4D44034-03B9-4E23-BD0B-55B96D849C88}"/>
                  </a:ext>
                </a:extLst>
              </p:cNvPr>
              <p:cNvSpPr/>
              <p:nvPr/>
            </p:nvSpPr>
            <p:spPr>
              <a:xfrm>
                <a:off x="3245538" y="2136428"/>
                <a:ext cx="12355" cy="8235"/>
              </a:xfrm>
              <a:custGeom>
                <a:avLst/>
                <a:gdLst>
                  <a:gd name="connsiteX0" fmla="*/ 12356 w 12355"/>
                  <a:gd name="connsiteY0" fmla="*/ 7462 h 8235"/>
                  <a:gd name="connsiteX1" fmla="*/ 7673 w 12355"/>
                  <a:gd name="connsiteY1" fmla="*/ 8058 h 8235"/>
                  <a:gd name="connsiteX2" fmla="*/ 0 w 12355"/>
                  <a:gd name="connsiteY2" fmla="*/ 0 h 8235"/>
                  <a:gd name="connsiteX3" fmla="*/ 12356 w 12355"/>
                  <a:gd name="connsiteY3" fmla="*/ 7462 h 8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355" h="8235">
                    <a:moveTo>
                      <a:pt x="12356" y="7462"/>
                    </a:moveTo>
                    <a:cubicBezTo>
                      <a:pt x="10921" y="8218"/>
                      <a:pt x="9257" y="8427"/>
                      <a:pt x="7673" y="8058"/>
                    </a:cubicBezTo>
                    <a:cubicBezTo>
                      <a:pt x="3388" y="8058"/>
                      <a:pt x="2093" y="2587"/>
                      <a:pt x="0" y="0"/>
                    </a:cubicBezTo>
                    <a:cubicBezTo>
                      <a:pt x="2691" y="2885"/>
                      <a:pt x="3687" y="10148"/>
                      <a:pt x="12356" y="746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3" name="Freeform: Shape 1982">
                <a:extLst>
                  <a:ext uri="{FF2B5EF4-FFF2-40B4-BE49-F238E27FC236}">
                    <a16:creationId xmlns:a16="http://schemas.microsoft.com/office/drawing/2014/main" id="{DDE1DF2C-6DD3-4AB7-AA55-510422337525}"/>
                  </a:ext>
                </a:extLst>
              </p:cNvPr>
              <p:cNvSpPr/>
              <p:nvPr/>
            </p:nvSpPr>
            <p:spPr>
              <a:xfrm>
                <a:off x="3266264" y="2478267"/>
                <a:ext cx="5081" cy="2387"/>
              </a:xfrm>
              <a:custGeom>
                <a:avLst/>
                <a:gdLst>
                  <a:gd name="connsiteX0" fmla="*/ 0 w 5081"/>
                  <a:gd name="connsiteY0" fmla="*/ 0 h 2387"/>
                  <a:gd name="connsiteX1" fmla="*/ 5082 w 5081"/>
                  <a:gd name="connsiteY1" fmla="*/ 2388 h 2387"/>
                  <a:gd name="connsiteX2" fmla="*/ 0 w 5081"/>
                  <a:gd name="connsiteY2" fmla="*/ 0 h 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1" h="2387">
                    <a:moveTo>
                      <a:pt x="0" y="0"/>
                    </a:moveTo>
                    <a:cubicBezTo>
                      <a:pt x="1575" y="1034"/>
                      <a:pt x="3288" y="1830"/>
                      <a:pt x="5082" y="2388"/>
                    </a:cubicBezTo>
                    <a:cubicBezTo>
                      <a:pt x="3259" y="1900"/>
                      <a:pt x="1534" y="109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4" name="Freeform: Shape 1983">
                <a:extLst>
                  <a:ext uri="{FF2B5EF4-FFF2-40B4-BE49-F238E27FC236}">
                    <a16:creationId xmlns:a16="http://schemas.microsoft.com/office/drawing/2014/main" id="{4C8AE4EC-5976-43EA-9B00-8EFC6704EEBD}"/>
                  </a:ext>
                </a:extLst>
              </p:cNvPr>
              <p:cNvSpPr/>
              <p:nvPr/>
            </p:nvSpPr>
            <p:spPr>
              <a:xfrm>
                <a:off x="3317182" y="2078527"/>
                <a:ext cx="1793" cy="4874"/>
              </a:xfrm>
              <a:custGeom>
                <a:avLst/>
                <a:gdLst>
                  <a:gd name="connsiteX0" fmla="*/ 0 w 1793"/>
                  <a:gd name="connsiteY0" fmla="*/ 0 h 4874"/>
                  <a:gd name="connsiteX1" fmla="*/ 1794 w 1793"/>
                  <a:gd name="connsiteY1" fmla="*/ 4875 h 4874"/>
                  <a:gd name="connsiteX2" fmla="*/ 0 w 1793"/>
                  <a:gd name="connsiteY2" fmla="*/ 0 h 4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93" h="4874">
                    <a:moveTo>
                      <a:pt x="0" y="0"/>
                    </a:moveTo>
                    <a:cubicBezTo>
                      <a:pt x="927" y="1482"/>
                      <a:pt x="1534" y="3144"/>
                      <a:pt x="1794" y="4875"/>
                    </a:cubicBezTo>
                    <a:cubicBezTo>
                      <a:pt x="837" y="3402"/>
                      <a:pt x="229" y="174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5" name="Freeform: Shape 1984">
                <a:extLst>
                  <a:ext uri="{FF2B5EF4-FFF2-40B4-BE49-F238E27FC236}">
                    <a16:creationId xmlns:a16="http://schemas.microsoft.com/office/drawing/2014/main" id="{562C66B9-7553-4DD7-A770-D5B512A3A3A6}"/>
                  </a:ext>
                </a:extLst>
              </p:cNvPr>
              <p:cNvSpPr/>
              <p:nvPr/>
            </p:nvSpPr>
            <p:spPr>
              <a:xfrm>
                <a:off x="3317482" y="2072159"/>
                <a:ext cx="2191" cy="3183"/>
              </a:xfrm>
              <a:custGeom>
                <a:avLst/>
                <a:gdLst>
                  <a:gd name="connsiteX0" fmla="*/ 0 w 2191"/>
                  <a:gd name="connsiteY0" fmla="*/ 3184 h 3183"/>
                  <a:gd name="connsiteX1" fmla="*/ 2192 w 2191"/>
                  <a:gd name="connsiteY1" fmla="*/ 0 h 3183"/>
                  <a:gd name="connsiteX2" fmla="*/ 0 w 2191"/>
                  <a:gd name="connsiteY2" fmla="*/ 3184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91" h="3183">
                    <a:moveTo>
                      <a:pt x="0" y="3184"/>
                    </a:moveTo>
                    <a:cubicBezTo>
                      <a:pt x="408" y="1930"/>
                      <a:pt x="1176" y="826"/>
                      <a:pt x="2192" y="0"/>
                    </a:cubicBezTo>
                    <a:cubicBezTo>
                      <a:pt x="1704" y="1204"/>
                      <a:pt x="946" y="2288"/>
                      <a:pt x="0" y="31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6" name="Freeform: Shape 1985">
                <a:extLst>
                  <a:ext uri="{FF2B5EF4-FFF2-40B4-BE49-F238E27FC236}">
                    <a16:creationId xmlns:a16="http://schemas.microsoft.com/office/drawing/2014/main" id="{3145DF75-694C-4C00-BBB4-AA3E1DAA9432}"/>
                  </a:ext>
                </a:extLst>
              </p:cNvPr>
              <p:cNvSpPr/>
              <p:nvPr/>
            </p:nvSpPr>
            <p:spPr>
              <a:xfrm>
                <a:off x="3331716" y="2024903"/>
                <a:ext cx="1509" cy="14326"/>
              </a:xfrm>
              <a:custGeom>
                <a:avLst/>
                <a:gdLst>
                  <a:gd name="connsiteX0" fmla="*/ 15 w 1509"/>
                  <a:gd name="connsiteY0" fmla="*/ 14326 h 14326"/>
                  <a:gd name="connsiteX1" fmla="*/ 1509 w 1509"/>
                  <a:gd name="connsiteY1" fmla="*/ 0 h 14326"/>
                  <a:gd name="connsiteX2" fmla="*/ 15 w 1509"/>
                  <a:gd name="connsiteY2" fmla="*/ 14326 h 14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09" h="14326">
                    <a:moveTo>
                      <a:pt x="15" y="14326"/>
                    </a:moveTo>
                    <a:cubicBezTo>
                      <a:pt x="-95" y="9511"/>
                      <a:pt x="403" y="4696"/>
                      <a:pt x="1509" y="0"/>
                    </a:cubicBezTo>
                    <a:cubicBezTo>
                      <a:pt x="1011" y="4775"/>
                      <a:pt x="911" y="9750"/>
                      <a:pt x="15" y="1432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7" name="Freeform: Shape 1986">
                <a:extLst>
                  <a:ext uri="{FF2B5EF4-FFF2-40B4-BE49-F238E27FC236}">
                    <a16:creationId xmlns:a16="http://schemas.microsoft.com/office/drawing/2014/main" id="{E8AE23BE-EBA9-4C3F-A9F0-DECD579BAC4C}"/>
                  </a:ext>
                </a:extLst>
              </p:cNvPr>
              <p:cNvSpPr/>
              <p:nvPr/>
            </p:nvSpPr>
            <p:spPr>
              <a:xfrm>
                <a:off x="3337908" y="1995753"/>
                <a:ext cx="6775" cy="14226"/>
              </a:xfrm>
              <a:custGeom>
                <a:avLst/>
                <a:gdLst>
                  <a:gd name="connsiteX0" fmla="*/ 0 w 6775"/>
                  <a:gd name="connsiteY0" fmla="*/ 14227 h 14226"/>
                  <a:gd name="connsiteX1" fmla="*/ 6776 w 6775"/>
                  <a:gd name="connsiteY1" fmla="*/ 0 h 14226"/>
                  <a:gd name="connsiteX2" fmla="*/ 0 w 6775"/>
                  <a:gd name="connsiteY2" fmla="*/ 14227 h 14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75" h="14226">
                    <a:moveTo>
                      <a:pt x="0" y="14227"/>
                    </a:moveTo>
                    <a:cubicBezTo>
                      <a:pt x="1993" y="9362"/>
                      <a:pt x="4255" y="4616"/>
                      <a:pt x="6776" y="0"/>
                    </a:cubicBezTo>
                    <a:cubicBezTo>
                      <a:pt x="4584" y="4676"/>
                      <a:pt x="2391" y="9949"/>
                      <a:pt x="0" y="1422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8" name="Freeform: Shape 1987">
                <a:extLst>
                  <a:ext uri="{FF2B5EF4-FFF2-40B4-BE49-F238E27FC236}">
                    <a16:creationId xmlns:a16="http://schemas.microsoft.com/office/drawing/2014/main" id="{F95841ED-E4C3-4FC2-980F-A6C0F0ED7D20}"/>
                  </a:ext>
                </a:extLst>
              </p:cNvPr>
              <p:cNvSpPr/>
              <p:nvPr/>
            </p:nvSpPr>
            <p:spPr>
              <a:xfrm>
                <a:off x="3341900" y="1941035"/>
                <a:ext cx="4976" cy="11441"/>
              </a:xfrm>
              <a:custGeom>
                <a:avLst/>
                <a:gdLst>
                  <a:gd name="connsiteX0" fmla="*/ 4977 w 4976"/>
                  <a:gd name="connsiteY0" fmla="*/ 11441 h 11441"/>
                  <a:gd name="connsiteX1" fmla="*/ 393 w 4976"/>
                  <a:gd name="connsiteY1" fmla="*/ 0 h 11441"/>
                  <a:gd name="connsiteX2" fmla="*/ 4977 w 4976"/>
                  <a:gd name="connsiteY2" fmla="*/ 11441 h 11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76" h="11441">
                    <a:moveTo>
                      <a:pt x="4977" y="11441"/>
                    </a:moveTo>
                    <a:cubicBezTo>
                      <a:pt x="393" y="5770"/>
                      <a:pt x="-703" y="2388"/>
                      <a:pt x="393" y="0"/>
                    </a:cubicBezTo>
                    <a:cubicBezTo>
                      <a:pt x="-504" y="3781"/>
                      <a:pt x="2186" y="7760"/>
                      <a:pt x="4977" y="1144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89" name="Freeform: Shape 1988">
                <a:extLst>
                  <a:ext uri="{FF2B5EF4-FFF2-40B4-BE49-F238E27FC236}">
                    <a16:creationId xmlns:a16="http://schemas.microsoft.com/office/drawing/2014/main" id="{B214932B-D2EB-408C-B4E4-404A83E306EA}"/>
                  </a:ext>
                </a:extLst>
              </p:cNvPr>
              <p:cNvSpPr/>
              <p:nvPr/>
            </p:nvSpPr>
            <p:spPr>
              <a:xfrm>
                <a:off x="3346777" y="1979139"/>
                <a:ext cx="1992" cy="8854"/>
              </a:xfrm>
              <a:custGeom>
                <a:avLst/>
                <a:gdLst>
                  <a:gd name="connsiteX0" fmla="*/ 0 w 1992"/>
                  <a:gd name="connsiteY0" fmla="*/ 0 h 8854"/>
                  <a:gd name="connsiteX1" fmla="*/ 1992 w 1992"/>
                  <a:gd name="connsiteY1" fmla="*/ 8854 h 8854"/>
                  <a:gd name="connsiteX2" fmla="*/ 0 w 1992"/>
                  <a:gd name="connsiteY2" fmla="*/ 0 h 8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" h="8854">
                    <a:moveTo>
                      <a:pt x="0" y="0"/>
                    </a:moveTo>
                    <a:cubicBezTo>
                      <a:pt x="698" y="3582"/>
                      <a:pt x="1594" y="7561"/>
                      <a:pt x="1992" y="8854"/>
                    </a:cubicBezTo>
                    <a:cubicBezTo>
                      <a:pt x="1135" y="5949"/>
                      <a:pt x="468" y="299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0" name="Freeform: Shape 1989">
                <a:extLst>
                  <a:ext uri="{FF2B5EF4-FFF2-40B4-BE49-F238E27FC236}">
                    <a16:creationId xmlns:a16="http://schemas.microsoft.com/office/drawing/2014/main" id="{EE20181A-90E3-4C88-8838-65784C259A9F}"/>
                  </a:ext>
                </a:extLst>
              </p:cNvPr>
              <p:cNvSpPr/>
              <p:nvPr/>
            </p:nvSpPr>
            <p:spPr>
              <a:xfrm>
                <a:off x="3348271" y="1934767"/>
                <a:ext cx="8270" cy="2484"/>
              </a:xfrm>
              <a:custGeom>
                <a:avLst/>
                <a:gdLst>
                  <a:gd name="connsiteX0" fmla="*/ 0 w 8270"/>
                  <a:gd name="connsiteY0" fmla="*/ 2288 h 2484"/>
                  <a:gd name="connsiteX1" fmla="*/ 8271 w 8270"/>
                  <a:gd name="connsiteY1" fmla="*/ 0 h 2484"/>
                  <a:gd name="connsiteX2" fmla="*/ 0 w 8270"/>
                  <a:gd name="connsiteY2" fmla="*/ 2288 h 2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270" h="2484">
                    <a:moveTo>
                      <a:pt x="0" y="2288"/>
                    </a:moveTo>
                    <a:cubicBezTo>
                      <a:pt x="2391" y="1492"/>
                      <a:pt x="5281" y="796"/>
                      <a:pt x="8271" y="0"/>
                    </a:cubicBezTo>
                    <a:cubicBezTo>
                      <a:pt x="6048" y="2049"/>
                      <a:pt x="2970" y="2905"/>
                      <a:pt x="0" y="228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1" name="Freeform: Shape 1990">
                <a:extLst>
                  <a:ext uri="{FF2B5EF4-FFF2-40B4-BE49-F238E27FC236}">
                    <a16:creationId xmlns:a16="http://schemas.microsoft.com/office/drawing/2014/main" id="{BF81E815-AE66-4585-A011-C889545B9B64}"/>
                  </a:ext>
                </a:extLst>
              </p:cNvPr>
              <p:cNvSpPr/>
              <p:nvPr/>
            </p:nvSpPr>
            <p:spPr>
              <a:xfrm>
                <a:off x="3450008" y="2314113"/>
                <a:ext cx="1494" cy="3481"/>
              </a:xfrm>
              <a:custGeom>
                <a:avLst/>
                <a:gdLst>
                  <a:gd name="connsiteX0" fmla="*/ 0 w 1494"/>
                  <a:gd name="connsiteY0" fmla="*/ 0 h 3481"/>
                  <a:gd name="connsiteX1" fmla="*/ 1495 w 1494"/>
                  <a:gd name="connsiteY1" fmla="*/ 3482 h 3481"/>
                  <a:gd name="connsiteX2" fmla="*/ 0 w 1494"/>
                  <a:gd name="connsiteY2" fmla="*/ 0 h 3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94" h="3481">
                    <a:moveTo>
                      <a:pt x="0" y="0"/>
                    </a:moveTo>
                    <a:cubicBezTo>
                      <a:pt x="130" y="1283"/>
                      <a:pt x="657" y="2497"/>
                      <a:pt x="1495" y="3482"/>
                    </a:cubicBezTo>
                    <a:cubicBezTo>
                      <a:pt x="598" y="2537"/>
                      <a:pt x="70" y="130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2" name="Freeform: Shape 1991">
                <a:extLst>
                  <a:ext uri="{FF2B5EF4-FFF2-40B4-BE49-F238E27FC236}">
                    <a16:creationId xmlns:a16="http://schemas.microsoft.com/office/drawing/2014/main" id="{72A11AE9-6DA9-43FE-922F-A0BB62815CE9}"/>
                  </a:ext>
                </a:extLst>
              </p:cNvPr>
              <p:cNvSpPr/>
              <p:nvPr/>
            </p:nvSpPr>
            <p:spPr>
              <a:xfrm>
                <a:off x="3624086" y="2161499"/>
                <a:ext cx="1594" cy="4775"/>
              </a:xfrm>
              <a:custGeom>
                <a:avLst/>
                <a:gdLst>
                  <a:gd name="connsiteX0" fmla="*/ 1595 w 1594"/>
                  <a:gd name="connsiteY0" fmla="*/ 0 h 4775"/>
                  <a:gd name="connsiteX1" fmla="*/ 1595 w 1594"/>
                  <a:gd name="connsiteY1" fmla="*/ 896 h 4775"/>
                  <a:gd name="connsiteX2" fmla="*/ 0 w 1594"/>
                  <a:gd name="connsiteY2" fmla="*/ 4776 h 4775"/>
                  <a:gd name="connsiteX3" fmla="*/ 1595 w 1594"/>
                  <a:gd name="connsiteY3" fmla="*/ 0 h 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94" h="4775">
                    <a:moveTo>
                      <a:pt x="1595" y="0"/>
                    </a:moveTo>
                    <a:cubicBezTo>
                      <a:pt x="1545" y="299"/>
                      <a:pt x="1545" y="597"/>
                      <a:pt x="1595" y="896"/>
                    </a:cubicBezTo>
                    <a:cubicBezTo>
                      <a:pt x="1595" y="2089"/>
                      <a:pt x="499" y="3383"/>
                      <a:pt x="0" y="4776"/>
                    </a:cubicBezTo>
                    <a:cubicBezTo>
                      <a:pt x="698" y="3283"/>
                      <a:pt x="1196" y="1393"/>
                      <a:pt x="15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3" name="Freeform: Shape 1992">
                <a:extLst>
                  <a:ext uri="{FF2B5EF4-FFF2-40B4-BE49-F238E27FC236}">
                    <a16:creationId xmlns:a16="http://schemas.microsoft.com/office/drawing/2014/main" id="{F8A89333-479D-4BB9-9889-AE34F3EC436A}"/>
                  </a:ext>
                </a:extLst>
              </p:cNvPr>
              <p:cNvSpPr/>
              <p:nvPr/>
            </p:nvSpPr>
            <p:spPr>
              <a:xfrm>
                <a:off x="3625880" y="2154535"/>
                <a:ext cx="1494" cy="3482"/>
              </a:xfrm>
              <a:custGeom>
                <a:avLst/>
                <a:gdLst>
                  <a:gd name="connsiteX0" fmla="*/ 0 w 1494"/>
                  <a:gd name="connsiteY0" fmla="*/ 1890 h 3482"/>
                  <a:gd name="connsiteX1" fmla="*/ 1494 w 1494"/>
                  <a:gd name="connsiteY1" fmla="*/ 0 h 3482"/>
                  <a:gd name="connsiteX2" fmla="*/ 199 w 1494"/>
                  <a:gd name="connsiteY2" fmla="*/ 3482 h 3482"/>
                  <a:gd name="connsiteX3" fmla="*/ 0 w 1494"/>
                  <a:gd name="connsiteY3" fmla="*/ 1890 h 3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4" h="3482">
                    <a:moveTo>
                      <a:pt x="0" y="1890"/>
                    </a:moveTo>
                    <a:lnTo>
                      <a:pt x="1494" y="0"/>
                    </a:lnTo>
                    <a:cubicBezTo>
                      <a:pt x="906" y="1094"/>
                      <a:pt x="468" y="2268"/>
                      <a:pt x="199" y="3482"/>
                    </a:cubicBezTo>
                    <a:cubicBezTo>
                      <a:pt x="189" y="2945"/>
                      <a:pt x="119" y="2408"/>
                      <a:pt x="0" y="189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4" name="Freeform: Shape 1993">
                <a:extLst>
                  <a:ext uri="{FF2B5EF4-FFF2-40B4-BE49-F238E27FC236}">
                    <a16:creationId xmlns:a16="http://schemas.microsoft.com/office/drawing/2014/main" id="{BBDCC581-A1FD-4E60-8884-DC2D81D94FB2}"/>
                  </a:ext>
                </a:extLst>
              </p:cNvPr>
              <p:cNvSpPr/>
              <p:nvPr/>
            </p:nvSpPr>
            <p:spPr>
              <a:xfrm>
                <a:off x="3622094" y="2100215"/>
                <a:ext cx="9366" cy="8655"/>
              </a:xfrm>
              <a:custGeom>
                <a:avLst/>
                <a:gdLst>
                  <a:gd name="connsiteX0" fmla="*/ 0 w 9366"/>
                  <a:gd name="connsiteY0" fmla="*/ 8655 h 8655"/>
                  <a:gd name="connsiteX1" fmla="*/ 9367 w 9366"/>
                  <a:gd name="connsiteY1" fmla="*/ 0 h 8655"/>
                  <a:gd name="connsiteX2" fmla="*/ 0 w 9366"/>
                  <a:gd name="connsiteY2" fmla="*/ 8655 h 8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366" h="8655">
                    <a:moveTo>
                      <a:pt x="0" y="8655"/>
                    </a:moveTo>
                    <a:cubicBezTo>
                      <a:pt x="2202" y="4915"/>
                      <a:pt x="5460" y="1900"/>
                      <a:pt x="9367" y="0"/>
                    </a:cubicBezTo>
                    <a:cubicBezTo>
                      <a:pt x="5640" y="2149"/>
                      <a:pt x="2431" y="5104"/>
                      <a:pt x="0" y="865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5" name="Freeform: Shape 1994">
                <a:extLst>
                  <a:ext uri="{FF2B5EF4-FFF2-40B4-BE49-F238E27FC236}">
                    <a16:creationId xmlns:a16="http://schemas.microsoft.com/office/drawing/2014/main" id="{F4730C09-3DBA-4C88-8784-A78AA78F3760}"/>
                  </a:ext>
                </a:extLst>
              </p:cNvPr>
              <p:cNvSpPr/>
              <p:nvPr/>
            </p:nvSpPr>
            <p:spPr>
              <a:xfrm>
                <a:off x="3631061" y="2137821"/>
                <a:ext cx="2802" cy="9948"/>
              </a:xfrm>
              <a:custGeom>
                <a:avLst/>
                <a:gdLst>
                  <a:gd name="connsiteX0" fmla="*/ 2691 w 2802"/>
                  <a:gd name="connsiteY0" fmla="*/ 0 h 9948"/>
                  <a:gd name="connsiteX1" fmla="*/ 2691 w 2802"/>
                  <a:gd name="connsiteY1" fmla="*/ 5671 h 9948"/>
                  <a:gd name="connsiteX2" fmla="*/ 0 w 2802"/>
                  <a:gd name="connsiteY2" fmla="*/ 9949 h 9948"/>
                  <a:gd name="connsiteX3" fmla="*/ 2691 w 2802"/>
                  <a:gd name="connsiteY3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02" h="9948">
                    <a:moveTo>
                      <a:pt x="2691" y="0"/>
                    </a:moveTo>
                    <a:cubicBezTo>
                      <a:pt x="2840" y="1890"/>
                      <a:pt x="2840" y="3780"/>
                      <a:pt x="2691" y="5671"/>
                    </a:cubicBezTo>
                    <a:cubicBezTo>
                      <a:pt x="2093" y="6765"/>
                      <a:pt x="1096" y="8357"/>
                      <a:pt x="0" y="9949"/>
                    </a:cubicBezTo>
                    <a:cubicBezTo>
                      <a:pt x="1395" y="6785"/>
                      <a:pt x="2302" y="3432"/>
                      <a:pt x="269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6" name="Freeform: Shape 1995">
                <a:extLst>
                  <a:ext uri="{FF2B5EF4-FFF2-40B4-BE49-F238E27FC236}">
                    <a16:creationId xmlns:a16="http://schemas.microsoft.com/office/drawing/2014/main" id="{5DDA8368-A9FF-4DA6-813D-7B411F843D9B}"/>
                  </a:ext>
                </a:extLst>
              </p:cNvPr>
              <p:cNvSpPr/>
              <p:nvPr/>
            </p:nvSpPr>
            <p:spPr>
              <a:xfrm>
                <a:off x="3645609" y="2092438"/>
                <a:ext cx="15444" cy="2504"/>
              </a:xfrm>
              <a:custGeom>
                <a:avLst/>
                <a:gdLst>
                  <a:gd name="connsiteX0" fmla="*/ 3189 w 15444"/>
                  <a:gd name="connsiteY0" fmla="*/ 1310 h 2504"/>
                  <a:gd name="connsiteX1" fmla="*/ 15445 w 15444"/>
                  <a:gd name="connsiteY1" fmla="*/ 17 h 2504"/>
                  <a:gd name="connsiteX2" fmla="*/ 0 w 15444"/>
                  <a:gd name="connsiteY2" fmla="*/ 2504 h 2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444" h="2504">
                    <a:moveTo>
                      <a:pt x="3189" y="1310"/>
                    </a:moveTo>
                    <a:cubicBezTo>
                      <a:pt x="7194" y="335"/>
                      <a:pt x="11319" y="-93"/>
                      <a:pt x="15445" y="17"/>
                    </a:cubicBezTo>
                    <a:cubicBezTo>
                      <a:pt x="10253" y="554"/>
                      <a:pt x="5101" y="1380"/>
                      <a:pt x="0" y="250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7" name="Freeform: Shape 1996">
                <a:extLst>
                  <a:ext uri="{FF2B5EF4-FFF2-40B4-BE49-F238E27FC236}">
                    <a16:creationId xmlns:a16="http://schemas.microsoft.com/office/drawing/2014/main" id="{20BDEDFC-B257-4C84-913D-EFA0CA0266BC}"/>
                  </a:ext>
                </a:extLst>
              </p:cNvPr>
              <p:cNvSpPr/>
              <p:nvPr/>
            </p:nvSpPr>
            <p:spPr>
              <a:xfrm>
                <a:off x="3668428" y="2094644"/>
                <a:ext cx="5879" cy="6466"/>
              </a:xfrm>
              <a:custGeom>
                <a:avLst/>
                <a:gdLst>
                  <a:gd name="connsiteX0" fmla="*/ 5879 w 5879"/>
                  <a:gd name="connsiteY0" fmla="*/ 6467 h 6466"/>
                  <a:gd name="connsiteX1" fmla="*/ 0 w 5879"/>
                  <a:gd name="connsiteY1" fmla="*/ 0 h 6466"/>
                  <a:gd name="connsiteX2" fmla="*/ 5879 w 5879"/>
                  <a:gd name="connsiteY2" fmla="*/ 6467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9" h="6466">
                    <a:moveTo>
                      <a:pt x="5879" y="6467"/>
                    </a:moveTo>
                    <a:cubicBezTo>
                      <a:pt x="3518" y="4716"/>
                      <a:pt x="1515" y="2517"/>
                      <a:pt x="0" y="0"/>
                    </a:cubicBezTo>
                    <a:cubicBezTo>
                      <a:pt x="2511" y="1582"/>
                      <a:pt x="4544" y="3820"/>
                      <a:pt x="5879" y="64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8" name="Freeform: Shape 1997">
                <a:extLst>
                  <a:ext uri="{FF2B5EF4-FFF2-40B4-BE49-F238E27FC236}">
                    <a16:creationId xmlns:a16="http://schemas.microsoft.com/office/drawing/2014/main" id="{EDCBADDF-9A45-4A90-9038-B4B0AA5AD2B5}"/>
                  </a:ext>
                </a:extLst>
              </p:cNvPr>
              <p:cNvSpPr/>
              <p:nvPr/>
            </p:nvSpPr>
            <p:spPr>
              <a:xfrm>
                <a:off x="3689452" y="2103896"/>
                <a:ext cx="4484" cy="696"/>
              </a:xfrm>
              <a:custGeom>
                <a:avLst/>
                <a:gdLst>
                  <a:gd name="connsiteX0" fmla="*/ 4484 w 4484"/>
                  <a:gd name="connsiteY0" fmla="*/ 696 h 696"/>
                  <a:gd name="connsiteX1" fmla="*/ 0 w 4484"/>
                  <a:gd name="connsiteY1" fmla="*/ 0 h 696"/>
                  <a:gd name="connsiteX2" fmla="*/ 4484 w 4484"/>
                  <a:gd name="connsiteY2" fmla="*/ 696 h 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4" h="696">
                    <a:moveTo>
                      <a:pt x="4484" y="696"/>
                    </a:moveTo>
                    <a:lnTo>
                      <a:pt x="0" y="0"/>
                    </a:lnTo>
                    <a:cubicBezTo>
                      <a:pt x="1505" y="149"/>
                      <a:pt x="3000" y="378"/>
                      <a:pt x="4484" y="6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99" name="Freeform: Shape 1998">
                <a:extLst>
                  <a:ext uri="{FF2B5EF4-FFF2-40B4-BE49-F238E27FC236}">
                    <a16:creationId xmlns:a16="http://schemas.microsoft.com/office/drawing/2014/main" id="{195BD97A-F3FE-47B5-8B1F-E575E871A8E0}"/>
                  </a:ext>
                </a:extLst>
              </p:cNvPr>
              <p:cNvSpPr/>
              <p:nvPr/>
            </p:nvSpPr>
            <p:spPr>
              <a:xfrm>
                <a:off x="3679887" y="2103195"/>
                <a:ext cx="9964" cy="799"/>
              </a:xfrm>
              <a:custGeom>
                <a:avLst/>
                <a:gdLst>
                  <a:gd name="connsiteX0" fmla="*/ 0 w 9964"/>
                  <a:gd name="connsiteY0" fmla="*/ 4 h 799"/>
                  <a:gd name="connsiteX1" fmla="*/ 9964 w 9964"/>
                  <a:gd name="connsiteY1" fmla="*/ 800 h 799"/>
                  <a:gd name="connsiteX2" fmla="*/ 0 w 9964"/>
                  <a:gd name="connsiteY2" fmla="*/ 4 h 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799">
                    <a:moveTo>
                      <a:pt x="0" y="4"/>
                    </a:moveTo>
                    <a:cubicBezTo>
                      <a:pt x="3338" y="-36"/>
                      <a:pt x="6676" y="223"/>
                      <a:pt x="9964" y="800"/>
                    </a:cubicBezTo>
                    <a:cubicBezTo>
                      <a:pt x="5780" y="4"/>
                      <a:pt x="2989" y="4"/>
                      <a:pt x="0" y="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2000" name="Freeform: Shape 1999">
                <a:extLst>
                  <a:ext uri="{FF2B5EF4-FFF2-40B4-BE49-F238E27FC236}">
                    <a16:creationId xmlns:a16="http://schemas.microsoft.com/office/drawing/2014/main" id="{4DAC48A4-DCCF-4EDB-BD87-66E7DF2CAFEB}"/>
                  </a:ext>
                </a:extLst>
              </p:cNvPr>
              <p:cNvSpPr/>
              <p:nvPr/>
            </p:nvSpPr>
            <p:spPr>
              <a:xfrm>
                <a:off x="3701310" y="2154933"/>
                <a:ext cx="7972" cy="16813"/>
              </a:xfrm>
              <a:custGeom>
                <a:avLst/>
                <a:gdLst>
                  <a:gd name="connsiteX0" fmla="*/ 7972 w 7972"/>
                  <a:gd name="connsiteY0" fmla="*/ 0 h 16813"/>
                  <a:gd name="connsiteX1" fmla="*/ 0 w 7972"/>
                  <a:gd name="connsiteY1" fmla="*/ 16813 h 16813"/>
                  <a:gd name="connsiteX2" fmla="*/ 7972 w 7972"/>
                  <a:gd name="connsiteY2" fmla="*/ 0 h 16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72" h="16813">
                    <a:moveTo>
                      <a:pt x="7972" y="0"/>
                    </a:moveTo>
                    <a:cubicBezTo>
                      <a:pt x="5700" y="5780"/>
                      <a:pt x="3040" y="11401"/>
                      <a:pt x="0" y="16813"/>
                    </a:cubicBezTo>
                    <a:cubicBezTo>
                      <a:pt x="1874" y="10874"/>
                      <a:pt x="4564" y="5213"/>
                      <a:pt x="797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93" name="Graphic 231">
              <a:extLst>
                <a:ext uri="{FF2B5EF4-FFF2-40B4-BE49-F238E27FC236}">
                  <a16:creationId xmlns:a16="http://schemas.microsoft.com/office/drawing/2014/main" id="{D820D6D3-8331-47B1-BBF7-5B6EA071F18E}"/>
                </a:ext>
              </a:extLst>
            </p:cNvPr>
            <p:cNvGrpSpPr/>
            <p:nvPr/>
          </p:nvGrpSpPr>
          <p:grpSpPr>
            <a:xfrm>
              <a:off x="2411119" y="2069075"/>
              <a:ext cx="408939" cy="324925"/>
              <a:chOff x="2411119" y="2069075"/>
              <a:chExt cx="408939" cy="324925"/>
            </a:xfrm>
            <a:solidFill>
              <a:srgbClr val="ECE8E4"/>
            </a:solidFill>
          </p:grpSpPr>
          <p:sp>
            <p:nvSpPr>
              <p:cNvPr id="1947" name="Freeform: Shape 1946">
                <a:extLst>
                  <a:ext uri="{FF2B5EF4-FFF2-40B4-BE49-F238E27FC236}">
                    <a16:creationId xmlns:a16="http://schemas.microsoft.com/office/drawing/2014/main" id="{210FB6D5-5968-421E-96C7-035732374A2C}"/>
                  </a:ext>
                </a:extLst>
              </p:cNvPr>
              <p:cNvSpPr/>
              <p:nvPr/>
            </p:nvSpPr>
            <p:spPr>
              <a:xfrm>
                <a:off x="2411119" y="2385346"/>
                <a:ext cx="2590" cy="5571"/>
              </a:xfrm>
              <a:custGeom>
                <a:avLst/>
                <a:gdLst>
                  <a:gd name="connsiteX0" fmla="*/ 0 w 2590"/>
                  <a:gd name="connsiteY0" fmla="*/ 0 h 5571"/>
                  <a:gd name="connsiteX1" fmla="*/ 2591 w 2590"/>
                  <a:gd name="connsiteY1" fmla="*/ 5572 h 5571"/>
                  <a:gd name="connsiteX2" fmla="*/ 0 w 2590"/>
                  <a:gd name="connsiteY2" fmla="*/ 0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90" h="5571">
                    <a:moveTo>
                      <a:pt x="0" y="0"/>
                    </a:moveTo>
                    <a:cubicBezTo>
                      <a:pt x="1336" y="1602"/>
                      <a:pt x="2222" y="3522"/>
                      <a:pt x="2591" y="5572"/>
                    </a:cubicBezTo>
                    <a:cubicBezTo>
                      <a:pt x="1086" y="4079"/>
                      <a:pt x="170" y="210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48" name="Freeform: Shape 1947">
                <a:extLst>
                  <a:ext uri="{FF2B5EF4-FFF2-40B4-BE49-F238E27FC236}">
                    <a16:creationId xmlns:a16="http://schemas.microsoft.com/office/drawing/2014/main" id="{25271D67-97D4-4B48-8329-39873778EC77}"/>
                  </a:ext>
                </a:extLst>
              </p:cNvPr>
              <p:cNvSpPr/>
              <p:nvPr/>
            </p:nvSpPr>
            <p:spPr>
              <a:xfrm>
                <a:off x="2413809" y="2371417"/>
                <a:ext cx="2391" cy="7959"/>
              </a:xfrm>
              <a:custGeom>
                <a:avLst/>
                <a:gdLst>
                  <a:gd name="connsiteX0" fmla="*/ 0 w 2391"/>
                  <a:gd name="connsiteY0" fmla="*/ 7959 h 7959"/>
                  <a:gd name="connsiteX1" fmla="*/ 2391 w 2391"/>
                  <a:gd name="connsiteY1" fmla="*/ 0 h 7959"/>
                  <a:gd name="connsiteX2" fmla="*/ 0 w 2391"/>
                  <a:gd name="connsiteY2" fmla="*/ 7959 h 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91" h="7959">
                    <a:moveTo>
                      <a:pt x="0" y="7959"/>
                    </a:moveTo>
                    <a:cubicBezTo>
                      <a:pt x="996" y="5372"/>
                      <a:pt x="1794" y="2706"/>
                      <a:pt x="2391" y="0"/>
                    </a:cubicBezTo>
                    <a:cubicBezTo>
                      <a:pt x="2092" y="2776"/>
                      <a:pt x="1285" y="5472"/>
                      <a:pt x="0" y="795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49" name="Freeform: Shape 1948">
                <a:extLst>
                  <a:ext uri="{FF2B5EF4-FFF2-40B4-BE49-F238E27FC236}">
                    <a16:creationId xmlns:a16="http://schemas.microsoft.com/office/drawing/2014/main" id="{C875149E-3FD0-415E-B825-91FBA76C5552}"/>
                  </a:ext>
                </a:extLst>
              </p:cNvPr>
              <p:cNvSpPr/>
              <p:nvPr/>
            </p:nvSpPr>
            <p:spPr>
              <a:xfrm>
                <a:off x="2416599" y="2352813"/>
                <a:ext cx="2790" cy="2686"/>
              </a:xfrm>
              <a:custGeom>
                <a:avLst/>
                <a:gdLst>
                  <a:gd name="connsiteX0" fmla="*/ 2790 w 2790"/>
                  <a:gd name="connsiteY0" fmla="*/ 0 h 2686"/>
                  <a:gd name="connsiteX1" fmla="*/ 0 w 2790"/>
                  <a:gd name="connsiteY1" fmla="*/ 2686 h 2686"/>
                  <a:gd name="connsiteX2" fmla="*/ 2790 w 2790"/>
                  <a:gd name="connsiteY2" fmla="*/ 0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0" h="2686">
                    <a:moveTo>
                      <a:pt x="2790" y="0"/>
                    </a:moveTo>
                    <a:cubicBezTo>
                      <a:pt x="2013" y="1045"/>
                      <a:pt x="1076" y="1950"/>
                      <a:pt x="0" y="2686"/>
                    </a:cubicBezTo>
                    <a:cubicBezTo>
                      <a:pt x="608" y="1512"/>
                      <a:pt x="1595" y="567"/>
                      <a:pt x="279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0" name="Freeform: Shape 1949">
                <a:extLst>
                  <a:ext uri="{FF2B5EF4-FFF2-40B4-BE49-F238E27FC236}">
                    <a16:creationId xmlns:a16="http://schemas.microsoft.com/office/drawing/2014/main" id="{5D29CB3E-A368-4836-93BC-07D72E626EC1}"/>
                  </a:ext>
                </a:extLst>
              </p:cNvPr>
              <p:cNvSpPr/>
              <p:nvPr/>
            </p:nvSpPr>
            <p:spPr>
              <a:xfrm>
                <a:off x="2427473" y="2375696"/>
                <a:ext cx="2976" cy="5869"/>
              </a:xfrm>
              <a:custGeom>
                <a:avLst/>
                <a:gdLst>
                  <a:gd name="connsiteX0" fmla="*/ 2977 w 2976"/>
                  <a:gd name="connsiteY0" fmla="*/ 0 h 5869"/>
                  <a:gd name="connsiteX1" fmla="*/ 286 w 2976"/>
                  <a:gd name="connsiteY1" fmla="*/ 5870 h 5869"/>
                  <a:gd name="connsiteX2" fmla="*/ 2977 w 2976"/>
                  <a:gd name="connsiteY2" fmla="*/ 0 h 5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76" h="5869">
                    <a:moveTo>
                      <a:pt x="2977" y="0"/>
                    </a:moveTo>
                    <a:cubicBezTo>
                      <a:pt x="1063" y="1313"/>
                      <a:pt x="27" y="3571"/>
                      <a:pt x="286" y="5870"/>
                    </a:cubicBezTo>
                    <a:cubicBezTo>
                      <a:pt x="-590" y="3512"/>
                      <a:pt x="615" y="885"/>
                      <a:pt x="297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1" name="Freeform: Shape 1950">
                <a:extLst>
                  <a:ext uri="{FF2B5EF4-FFF2-40B4-BE49-F238E27FC236}">
                    <a16:creationId xmlns:a16="http://schemas.microsoft.com/office/drawing/2014/main" id="{A6B596AC-5B6E-450E-9A36-319A05B0946C}"/>
                  </a:ext>
                </a:extLst>
              </p:cNvPr>
              <p:cNvSpPr/>
              <p:nvPr/>
            </p:nvSpPr>
            <p:spPr>
              <a:xfrm>
                <a:off x="2428457" y="2387733"/>
                <a:ext cx="2690" cy="6267"/>
              </a:xfrm>
              <a:custGeom>
                <a:avLst/>
                <a:gdLst>
                  <a:gd name="connsiteX0" fmla="*/ 1196 w 2690"/>
                  <a:gd name="connsiteY0" fmla="*/ 0 h 6267"/>
                  <a:gd name="connsiteX1" fmla="*/ 2691 w 2690"/>
                  <a:gd name="connsiteY1" fmla="*/ 2487 h 6267"/>
                  <a:gd name="connsiteX2" fmla="*/ 0 w 2690"/>
                  <a:gd name="connsiteY2" fmla="*/ 6268 h 6267"/>
                  <a:gd name="connsiteX3" fmla="*/ 1196 w 2690"/>
                  <a:gd name="connsiteY3" fmla="*/ 0 h 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90" h="6267">
                    <a:moveTo>
                      <a:pt x="1196" y="0"/>
                    </a:moveTo>
                    <a:cubicBezTo>
                      <a:pt x="1575" y="895"/>
                      <a:pt x="2073" y="1731"/>
                      <a:pt x="2691" y="2487"/>
                    </a:cubicBezTo>
                    <a:cubicBezTo>
                      <a:pt x="2152" y="3969"/>
                      <a:pt x="1225" y="5273"/>
                      <a:pt x="0" y="6268"/>
                    </a:cubicBezTo>
                    <a:cubicBezTo>
                      <a:pt x="1555" y="4576"/>
                      <a:pt x="2013" y="2149"/>
                      <a:pt x="11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2" name="Freeform: Shape 1951">
                <a:extLst>
                  <a:ext uri="{FF2B5EF4-FFF2-40B4-BE49-F238E27FC236}">
                    <a16:creationId xmlns:a16="http://schemas.microsoft.com/office/drawing/2014/main" id="{339522F1-792A-4A12-B16C-BBD7CC0440CD}"/>
                  </a:ext>
                </a:extLst>
              </p:cNvPr>
              <p:cNvSpPr/>
              <p:nvPr/>
            </p:nvSpPr>
            <p:spPr>
              <a:xfrm>
                <a:off x="2476585" y="2206169"/>
                <a:ext cx="1531" cy="14027"/>
              </a:xfrm>
              <a:custGeom>
                <a:avLst/>
                <a:gdLst>
                  <a:gd name="connsiteX0" fmla="*/ 0 w 1531"/>
                  <a:gd name="connsiteY0" fmla="*/ 14028 h 14027"/>
                  <a:gd name="connsiteX1" fmla="*/ 1395 w 1531"/>
                  <a:gd name="connsiteY1" fmla="*/ 0 h 14027"/>
                  <a:gd name="connsiteX2" fmla="*/ 0 w 1531"/>
                  <a:gd name="connsiteY2" fmla="*/ 14028 h 14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31" h="14027">
                    <a:moveTo>
                      <a:pt x="0" y="14028"/>
                    </a:moveTo>
                    <a:cubicBezTo>
                      <a:pt x="1285" y="9471"/>
                      <a:pt x="1754" y="4726"/>
                      <a:pt x="1395" y="0"/>
                    </a:cubicBezTo>
                    <a:cubicBezTo>
                      <a:pt x="1794" y="4726"/>
                      <a:pt x="1315" y="9471"/>
                      <a:pt x="0" y="1402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3" name="Freeform: Shape 1952">
                <a:extLst>
                  <a:ext uri="{FF2B5EF4-FFF2-40B4-BE49-F238E27FC236}">
                    <a16:creationId xmlns:a16="http://schemas.microsoft.com/office/drawing/2014/main" id="{5468F564-6064-451F-8ED5-5E160F34BCC8}"/>
                  </a:ext>
                </a:extLst>
              </p:cNvPr>
              <p:cNvSpPr/>
              <p:nvPr/>
            </p:nvSpPr>
            <p:spPr>
              <a:xfrm>
                <a:off x="2696200" y="2317197"/>
                <a:ext cx="8968" cy="962"/>
              </a:xfrm>
              <a:custGeom>
                <a:avLst/>
                <a:gdLst>
                  <a:gd name="connsiteX0" fmla="*/ 8968 w 8968"/>
                  <a:gd name="connsiteY0" fmla="*/ 0 h 962"/>
                  <a:gd name="connsiteX1" fmla="*/ 0 w 8968"/>
                  <a:gd name="connsiteY1" fmla="*/ 696 h 962"/>
                  <a:gd name="connsiteX2" fmla="*/ 8968 w 8968"/>
                  <a:gd name="connsiteY2" fmla="*/ 0 h 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8" h="962">
                    <a:moveTo>
                      <a:pt x="8968" y="0"/>
                    </a:moveTo>
                    <a:cubicBezTo>
                      <a:pt x="6079" y="975"/>
                      <a:pt x="3000" y="1214"/>
                      <a:pt x="0" y="696"/>
                    </a:cubicBezTo>
                    <a:cubicBezTo>
                      <a:pt x="3000" y="1214"/>
                      <a:pt x="6079" y="975"/>
                      <a:pt x="896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4" name="Freeform: Shape 1953">
                <a:extLst>
                  <a:ext uri="{FF2B5EF4-FFF2-40B4-BE49-F238E27FC236}">
                    <a16:creationId xmlns:a16="http://schemas.microsoft.com/office/drawing/2014/main" id="{C3A67E38-74CA-4072-94F4-BC21B859B2E6}"/>
                  </a:ext>
                </a:extLst>
              </p:cNvPr>
              <p:cNvSpPr/>
              <p:nvPr/>
            </p:nvSpPr>
            <p:spPr>
              <a:xfrm>
                <a:off x="2713837" y="2299787"/>
                <a:ext cx="2790" cy="8754"/>
              </a:xfrm>
              <a:custGeom>
                <a:avLst/>
                <a:gdLst>
                  <a:gd name="connsiteX0" fmla="*/ 0 w 2790"/>
                  <a:gd name="connsiteY0" fmla="*/ 8755 h 8754"/>
                  <a:gd name="connsiteX1" fmla="*/ 2790 w 2790"/>
                  <a:gd name="connsiteY1" fmla="*/ 0 h 8754"/>
                  <a:gd name="connsiteX2" fmla="*/ 0 w 2790"/>
                  <a:gd name="connsiteY2" fmla="*/ 8755 h 8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90" h="8754">
                    <a:moveTo>
                      <a:pt x="0" y="8755"/>
                    </a:moveTo>
                    <a:cubicBezTo>
                      <a:pt x="1096" y="5870"/>
                      <a:pt x="1794" y="2786"/>
                      <a:pt x="2790" y="0"/>
                    </a:cubicBezTo>
                    <a:cubicBezTo>
                      <a:pt x="2023" y="2965"/>
                      <a:pt x="1096" y="5889"/>
                      <a:pt x="0" y="875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5" name="Freeform: Shape 1954">
                <a:extLst>
                  <a:ext uri="{FF2B5EF4-FFF2-40B4-BE49-F238E27FC236}">
                    <a16:creationId xmlns:a16="http://schemas.microsoft.com/office/drawing/2014/main" id="{169B8BA1-BBEF-45B6-83A0-F30846FFA8E9}"/>
                  </a:ext>
                </a:extLst>
              </p:cNvPr>
              <p:cNvSpPr/>
              <p:nvPr/>
            </p:nvSpPr>
            <p:spPr>
              <a:xfrm>
                <a:off x="2720613" y="2289838"/>
                <a:ext cx="3587" cy="2188"/>
              </a:xfrm>
              <a:custGeom>
                <a:avLst/>
                <a:gdLst>
                  <a:gd name="connsiteX0" fmla="*/ 1495 w 3587"/>
                  <a:gd name="connsiteY0" fmla="*/ 0 h 2188"/>
                  <a:gd name="connsiteX1" fmla="*/ 3587 w 3587"/>
                  <a:gd name="connsiteY1" fmla="*/ 0 h 2188"/>
                  <a:gd name="connsiteX2" fmla="*/ 0 w 3587"/>
                  <a:gd name="connsiteY2" fmla="*/ 2189 h 2188"/>
                  <a:gd name="connsiteX3" fmla="*/ 1495 w 3587"/>
                  <a:gd name="connsiteY3" fmla="*/ 0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87" h="2188">
                    <a:moveTo>
                      <a:pt x="1495" y="0"/>
                    </a:moveTo>
                    <a:cubicBezTo>
                      <a:pt x="2192" y="90"/>
                      <a:pt x="2889" y="90"/>
                      <a:pt x="3587" y="0"/>
                    </a:cubicBezTo>
                    <a:cubicBezTo>
                      <a:pt x="2282" y="527"/>
                      <a:pt x="1066" y="1263"/>
                      <a:pt x="0" y="2189"/>
                    </a:cubicBezTo>
                    <a:cubicBezTo>
                      <a:pt x="339" y="1363"/>
                      <a:pt x="847" y="617"/>
                      <a:pt x="14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6" name="Freeform: Shape 1955">
                <a:extLst>
                  <a:ext uri="{FF2B5EF4-FFF2-40B4-BE49-F238E27FC236}">
                    <a16:creationId xmlns:a16="http://schemas.microsoft.com/office/drawing/2014/main" id="{804506FE-C9FA-4D56-99F9-BE2156342522}"/>
                  </a:ext>
                </a:extLst>
              </p:cNvPr>
              <p:cNvSpPr/>
              <p:nvPr/>
            </p:nvSpPr>
            <p:spPr>
              <a:xfrm>
                <a:off x="2729482" y="2283670"/>
                <a:ext cx="5580" cy="3979"/>
              </a:xfrm>
              <a:custGeom>
                <a:avLst/>
                <a:gdLst>
                  <a:gd name="connsiteX0" fmla="*/ 0 w 5580"/>
                  <a:gd name="connsiteY0" fmla="*/ 3979 h 3979"/>
                  <a:gd name="connsiteX1" fmla="*/ 5580 w 5580"/>
                  <a:gd name="connsiteY1" fmla="*/ 0 h 3979"/>
                  <a:gd name="connsiteX2" fmla="*/ 3587 w 5580"/>
                  <a:gd name="connsiteY2" fmla="*/ 3084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80" h="3979">
                    <a:moveTo>
                      <a:pt x="0" y="3979"/>
                    </a:moveTo>
                    <a:cubicBezTo>
                      <a:pt x="1983" y="2835"/>
                      <a:pt x="3856" y="1502"/>
                      <a:pt x="5580" y="0"/>
                    </a:cubicBezTo>
                    <a:cubicBezTo>
                      <a:pt x="4683" y="856"/>
                      <a:pt x="3996" y="1910"/>
                      <a:pt x="3587" y="30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7" name="Freeform: Shape 1956">
                <a:extLst>
                  <a:ext uri="{FF2B5EF4-FFF2-40B4-BE49-F238E27FC236}">
                    <a16:creationId xmlns:a16="http://schemas.microsoft.com/office/drawing/2014/main" id="{815A28F0-C1F9-4320-9350-52B6AA45F2B9}"/>
                  </a:ext>
                </a:extLst>
              </p:cNvPr>
              <p:cNvSpPr/>
              <p:nvPr/>
            </p:nvSpPr>
            <p:spPr>
              <a:xfrm>
                <a:off x="2740996" y="2255017"/>
                <a:ext cx="81" cy="1890"/>
              </a:xfrm>
              <a:custGeom>
                <a:avLst/>
                <a:gdLst>
                  <a:gd name="connsiteX0" fmla="*/ 44 w 81"/>
                  <a:gd name="connsiteY0" fmla="*/ 895 h 1890"/>
                  <a:gd name="connsiteX1" fmla="*/ 44 w 81"/>
                  <a:gd name="connsiteY1" fmla="*/ 1890 h 1890"/>
                  <a:gd name="connsiteX2" fmla="*/ 44 w 81"/>
                  <a:gd name="connsiteY2" fmla="*/ 0 h 1890"/>
                  <a:gd name="connsiteX3" fmla="*/ 44 w 81"/>
                  <a:gd name="connsiteY3" fmla="*/ 895 h 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" h="1890">
                    <a:moveTo>
                      <a:pt x="44" y="895"/>
                    </a:moveTo>
                    <a:cubicBezTo>
                      <a:pt x="44" y="895"/>
                      <a:pt x="44" y="1492"/>
                      <a:pt x="44" y="1890"/>
                    </a:cubicBezTo>
                    <a:cubicBezTo>
                      <a:pt x="94" y="1263"/>
                      <a:pt x="94" y="627"/>
                      <a:pt x="44" y="0"/>
                    </a:cubicBezTo>
                    <a:cubicBezTo>
                      <a:pt x="44" y="0"/>
                      <a:pt x="-55" y="696"/>
                      <a:pt x="44" y="8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8" name="Freeform: Shape 1957">
                <a:extLst>
                  <a:ext uri="{FF2B5EF4-FFF2-40B4-BE49-F238E27FC236}">
                    <a16:creationId xmlns:a16="http://schemas.microsoft.com/office/drawing/2014/main" id="{A1C2BA46-9106-487E-856D-490D50412D2B}"/>
                  </a:ext>
                </a:extLst>
              </p:cNvPr>
              <p:cNvSpPr/>
              <p:nvPr/>
            </p:nvSpPr>
            <p:spPr>
              <a:xfrm>
                <a:off x="2740442" y="2246262"/>
                <a:ext cx="1395" cy="3282"/>
              </a:xfrm>
              <a:custGeom>
                <a:avLst/>
                <a:gdLst>
                  <a:gd name="connsiteX0" fmla="*/ 1395 w 1395"/>
                  <a:gd name="connsiteY0" fmla="*/ 0 h 3282"/>
                  <a:gd name="connsiteX1" fmla="*/ 0 w 1395"/>
                  <a:gd name="connsiteY1" fmla="*/ 3283 h 3282"/>
                  <a:gd name="connsiteX2" fmla="*/ 0 w 1395"/>
                  <a:gd name="connsiteY2" fmla="*/ 696 h 3282"/>
                  <a:gd name="connsiteX3" fmla="*/ 1395 w 1395"/>
                  <a:gd name="connsiteY3" fmla="*/ 0 h 3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5" h="3282">
                    <a:moveTo>
                      <a:pt x="1395" y="0"/>
                    </a:moveTo>
                    <a:cubicBezTo>
                      <a:pt x="538" y="885"/>
                      <a:pt x="40" y="2049"/>
                      <a:pt x="0" y="3283"/>
                    </a:cubicBezTo>
                    <a:cubicBezTo>
                      <a:pt x="0" y="2288"/>
                      <a:pt x="0" y="1393"/>
                      <a:pt x="0" y="696"/>
                    </a:cubicBezTo>
                    <a:cubicBezTo>
                      <a:pt x="438" y="408"/>
                      <a:pt x="907" y="179"/>
                      <a:pt x="13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59" name="Freeform: Shape 1958">
                <a:extLst>
                  <a:ext uri="{FF2B5EF4-FFF2-40B4-BE49-F238E27FC236}">
                    <a16:creationId xmlns:a16="http://schemas.microsoft.com/office/drawing/2014/main" id="{90578D62-6B19-4DCF-896B-FF3A49CEB1DF}"/>
                  </a:ext>
                </a:extLst>
              </p:cNvPr>
              <p:cNvSpPr/>
              <p:nvPr/>
            </p:nvSpPr>
            <p:spPr>
              <a:xfrm>
                <a:off x="2741040" y="2263374"/>
                <a:ext cx="897" cy="4277"/>
              </a:xfrm>
              <a:custGeom>
                <a:avLst/>
                <a:gdLst>
                  <a:gd name="connsiteX0" fmla="*/ 100 w 897"/>
                  <a:gd name="connsiteY0" fmla="*/ 0 h 4277"/>
                  <a:gd name="connsiteX1" fmla="*/ 897 w 897"/>
                  <a:gd name="connsiteY1" fmla="*/ 4278 h 4277"/>
                  <a:gd name="connsiteX2" fmla="*/ 0 w 897"/>
                  <a:gd name="connsiteY2" fmla="*/ 2487 h 4277"/>
                  <a:gd name="connsiteX3" fmla="*/ 100 w 897"/>
                  <a:gd name="connsiteY3" fmla="*/ 0 h 42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7" h="4277">
                    <a:moveTo>
                      <a:pt x="100" y="0"/>
                    </a:moveTo>
                    <a:cubicBezTo>
                      <a:pt x="100" y="1393"/>
                      <a:pt x="100" y="2885"/>
                      <a:pt x="897" y="4278"/>
                    </a:cubicBezTo>
                    <a:lnTo>
                      <a:pt x="0" y="2487"/>
                    </a:lnTo>
                    <a:cubicBezTo>
                      <a:pt x="0" y="1791"/>
                      <a:pt x="100" y="995"/>
                      <a:pt x="10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60" name="Freeform: Shape 1959">
                <a:extLst>
                  <a:ext uri="{FF2B5EF4-FFF2-40B4-BE49-F238E27FC236}">
                    <a16:creationId xmlns:a16="http://schemas.microsoft.com/office/drawing/2014/main" id="{6101D5B2-970D-4151-8D5C-20C780A9A3C5}"/>
                  </a:ext>
                </a:extLst>
              </p:cNvPr>
              <p:cNvSpPr/>
              <p:nvPr/>
            </p:nvSpPr>
            <p:spPr>
              <a:xfrm>
                <a:off x="2743332" y="2272328"/>
                <a:ext cx="697" cy="2885"/>
              </a:xfrm>
              <a:custGeom>
                <a:avLst/>
                <a:gdLst>
                  <a:gd name="connsiteX0" fmla="*/ 99 w 697"/>
                  <a:gd name="connsiteY0" fmla="*/ 0 h 2885"/>
                  <a:gd name="connsiteX1" fmla="*/ 698 w 697"/>
                  <a:gd name="connsiteY1" fmla="*/ 1592 h 2885"/>
                  <a:gd name="connsiteX2" fmla="*/ 0 w 697"/>
                  <a:gd name="connsiteY2" fmla="*/ 2885 h 2885"/>
                  <a:gd name="connsiteX3" fmla="*/ 99 w 697"/>
                  <a:gd name="connsiteY3" fmla="*/ 0 h 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97" h="2885">
                    <a:moveTo>
                      <a:pt x="99" y="0"/>
                    </a:moveTo>
                    <a:cubicBezTo>
                      <a:pt x="239" y="547"/>
                      <a:pt x="438" y="1085"/>
                      <a:pt x="698" y="1592"/>
                    </a:cubicBezTo>
                    <a:cubicBezTo>
                      <a:pt x="528" y="2049"/>
                      <a:pt x="289" y="2487"/>
                      <a:pt x="0" y="2885"/>
                    </a:cubicBezTo>
                    <a:cubicBezTo>
                      <a:pt x="189" y="1930"/>
                      <a:pt x="219" y="965"/>
                      <a:pt x="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61" name="Freeform: Shape 1960">
                <a:extLst>
                  <a:ext uri="{FF2B5EF4-FFF2-40B4-BE49-F238E27FC236}">
                    <a16:creationId xmlns:a16="http://schemas.microsoft.com/office/drawing/2014/main" id="{B0A4F3CE-9918-4ABF-A48D-CD54AD2825E0}"/>
                  </a:ext>
                </a:extLst>
              </p:cNvPr>
              <p:cNvSpPr/>
              <p:nvPr/>
            </p:nvSpPr>
            <p:spPr>
              <a:xfrm>
                <a:off x="2750008" y="2243405"/>
                <a:ext cx="9964" cy="470"/>
              </a:xfrm>
              <a:custGeom>
                <a:avLst/>
                <a:gdLst>
                  <a:gd name="connsiteX0" fmla="*/ 9964 w 9964"/>
                  <a:gd name="connsiteY0" fmla="*/ 470 h 470"/>
                  <a:gd name="connsiteX1" fmla="*/ 0 w 9964"/>
                  <a:gd name="connsiteY1" fmla="*/ 470 h 470"/>
                  <a:gd name="connsiteX2" fmla="*/ 9964 w 9964"/>
                  <a:gd name="connsiteY2" fmla="*/ 470 h 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470">
                    <a:moveTo>
                      <a:pt x="9964" y="470"/>
                    </a:moveTo>
                    <a:cubicBezTo>
                      <a:pt x="6656" y="112"/>
                      <a:pt x="3308" y="112"/>
                      <a:pt x="0" y="470"/>
                    </a:cubicBezTo>
                    <a:cubicBezTo>
                      <a:pt x="3288" y="-157"/>
                      <a:pt x="6676" y="-157"/>
                      <a:pt x="9964" y="47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62" name="Freeform: Shape 1961">
                <a:extLst>
                  <a:ext uri="{FF2B5EF4-FFF2-40B4-BE49-F238E27FC236}">
                    <a16:creationId xmlns:a16="http://schemas.microsoft.com/office/drawing/2014/main" id="{D757BA1E-9F15-42F7-9859-88202610B821}"/>
                  </a:ext>
                </a:extLst>
              </p:cNvPr>
              <p:cNvSpPr/>
              <p:nvPr/>
            </p:nvSpPr>
            <p:spPr>
              <a:xfrm>
                <a:off x="2818818" y="2157022"/>
                <a:ext cx="679" cy="20892"/>
              </a:xfrm>
              <a:custGeom>
                <a:avLst/>
                <a:gdLst>
                  <a:gd name="connsiteX0" fmla="*/ 44 w 679"/>
                  <a:gd name="connsiteY0" fmla="*/ 0 h 20892"/>
                  <a:gd name="connsiteX1" fmla="*/ 44 w 679"/>
                  <a:gd name="connsiteY1" fmla="*/ 20892 h 20892"/>
                  <a:gd name="connsiteX2" fmla="*/ 44 w 679"/>
                  <a:gd name="connsiteY2" fmla="*/ 7362 h 20892"/>
                  <a:gd name="connsiteX3" fmla="*/ 44 w 679"/>
                  <a:gd name="connsiteY3" fmla="*/ 0 h 208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9" h="20892">
                    <a:moveTo>
                      <a:pt x="44" y="0"/>
                    </a:moveTo>
                    <a:cubicBezTo>
                      <a:pt x="891" y="6934"/>
                      <a:pt x="891" y="13958"/>
                      <a:pt x="44" y="20892"/>
                    </a:cubicBezTo>
                    <a:lnTo>
                      <a:pt x="44" y="7362"/>
                    </a:lnTo>
                    <a:cubicBezTo>
                      <a:pt x="-55" y="4875"/>
                      <a:pt x="44" y="2487"/>
                      <a:pt x="4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63" name="Freeform: Shape 1962">
                <a:extLst>
                  <a:ext uri="{FF2B5EF4-FFF2-40B4-BE49-F238E27FC236}">
                    <a16:creationId xmlns:a16="http://schemas.microsoft.com/office/drawing/2014/main" id="{8C3065D4-6388-4B79-AEB5-74CADCBA0BF1}"/>
                  </a:ext>
                </a:extLst>
              </p:cNvPr>
              <p:cNvSpPr/>
              <p:nvPr/>
            </p:nvSpPr>
            <p:spPr>
              <a:xfrm>
                <a:off x="2819161" y="2069075"/>
                <a:ext cx="896" cy="70934"/>
              </a:xfrm>
              <a:custGeom>
                <a:avLst/>
                <a:gdLst>
                  <a:gd name="connsiteX0" fmla="*/ 0 w 896"/>
                  <a:gd name="connsiteY0" fmla="*/ 70935 h 70934"/>
                  <a:gd name="connsiteX1" fmla="*/ 896 w 896"/>
                  <a:gd name="connsiteY1" fmla="*/ 0 h 70934"/>
                  <a:gd name="connsiteX2" fmla="*/ 896 w 896"/>
                  <a:gd name="connsiteY2" fmla="*/ 68447 h 70934"/>
                  <a:gd name="connsiteX3" fmla="*/ 0 w 896"/>
                  <a:gd name="connsiteY3" fmla="*/ 70935 h 70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6" h="70934">
                    <a:moveTo>
                      <a:pt x="0" y="70935"/>
                    </a:moveTo>
                    <a:cubicBezTo>
                      <a:pt x="398" y="47326"/>
                      <a:pt x="698" y="23678"/>
                      <a:pt x="896" y="0"/>
                    </a:cubicBezTo>
                    <a:lnTo>
                      <a:pt x="896" y="68447"/>
                    </a:lnTo>
                    <a:cubicBezTo>
                      <a:pt x="398" y="69243"/>
                      <a:pt x="199" y="70238"/>
                      <a:pt x="0" y="7093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594" name="Freeform: Shape 1593">
              <a:extLst>
                <a:ext uri="{FF2B5EF4-FFF2-40B4-BE49-F238E27FC236}">
                  <a16:creationId xmlns:a16="http://schemas.microsoft.com/office/drawing/2014/main" id="{0A9090B1-012D-4F75-99AB-3B069A9701FD}"/>
                </a:ext>
              </a:extLst>
            </p:cNvPr>
            <p:cNvSpPr/>
            <p:nvPr/>
          </p:nvSpPr>
          <p:spPr>
            <a:xfrm>
              <a:off x="4241680" y="1578746"/>
              <a:ext cx="293052" cy="182216"/>
            </a:xfrm>
            <a:custGeom>
              <a:avLst/>
              <a:gdLst>
                <a:gd name="connsiteX0" fmla="*/ 288968 w 293052"/>
                <a:gd name="connsiteY0" fmla="*/ 178536 h 182216"/>
                <a:gd name="connsiteX1" fmla="*/ 289964 w 293052"/>
                <a:gd name="connsiteY1" fmla="*/ 180725 h 182216"/>
                <a:gd name="connsiteX2" fmla="*/ 293053 w 293052"/>
                <a:gd name="connsiteY2" fmla="*/ 182217 h 182216"/>
                <a:gd name="connsiteX3" fmla="*/ 288968 w 293052"/>
                <a:gd name="connsiteY3" fmla="*/ 178536 h 182216"/>
                <a:gd name="connsiteX4" fmla="*/ 280398 w 293052"/>
                <a:gd name="connsiteY4" fmla="*/ 167990 h 182216"/>
                <a:gd name="connsiteX5" fmla="*/ 284782 w 293052"/>
                <a:gd name="connsiteY5" fmla="*/ 172169 h 182216"/>
                <a:gd name="connsiteX6" fmla="*/ 282989 w 293052"/>
                <a:gd name="connsiteY6" fmla="*/ 168886 h 182216"/>
                <a:gd name="connsiteX7" fmla="*/ 280398 w 293052"/>
                <a:gd name="connsiteY7" fmla="*/ 167990 h 182216"/>
                <a:gd name="connsiteX8" fmla="*/ 267046 w 293052"/>
                <a:gd name="connsiteY8" fmla="*/ 124116 h 182216"/>
                <a:gd name="connsiteX9" fmla="*/ 241039 w 293052"/>
                <a:gd name="connsiteY9" fmla="*/ 124116 h 182216"/>
                <a:gd name="connsiteX10" fmla="*/ 267046 w 293052"/>
                <a:gd name="connsiteY10" fmla="*/ 124116 h 182216"/>
                <a:gd name="connsiteX11" fmla="*/ 223601 w 293052"/>
                <a:gd name="connsiteY11" fmla="*/ 7119 h 182216"/>
                <a:gd name="connsiteX12" fmla="*/ 253993 w 293052"/>
                <a:gd name="connsiteY12" fmla="*/ 8313 h 182216"/>
                <a:gd name="connsiteX13" fmla="*/ 223601 w 293052"/>
                <a:gd name="connsiteY13" fmla="*/ 7119 h 182216"/>
                <a:gd name="connsiteX14" fmla="*/ 121566 w 293052"/>
                <a:gd name="connsiteY14" fmla="*/ 3338 h 182216"/>
                <a:gd name="connsiteX15" fmla="*/ 131530 w 293052"/>
                <a:gd name="connsiteY15" fmla="*/ 4134 h 182216"/>
                <a:gd name="connsiteX16" fmla="*/ 131530 w 293052"/>
                <a:gd name="connsiteY16" fmla="*/ 3438 h 182216"/>
                <a:gd name="connsiteX17" fmla="*/ 95758 w 293052"/>
                <a:gd name="connsiteY17" fmla="*/ 123420 h 182216"/>
                <a:gd name="connsiteX18" fmla="*/ 113594 w 293052"/>
                <a:gd name="connsiteY18" fmla="*/ 122525 h 182216"/>
                <a:gd name="connsiteX19" fmla="*/ 123558 w 293052"/>
                <a:gd name="connsiteY19" fmla="*/ 121927 h 182216"/>
                <a:gd name="connsiteX20" fmla="*/ 96156 w 293052"/>
                <a:gd name="connsiteY20" fmla="*/ 121927 h 182216"/>
                <a:gd name="connsiteX21" fmla="*/ 95758 w 293052"/>
                <a:gd name="connsiteY21" fmla="*/ 122922 h 182216"/>
                <a:gd name="connsiteX22" fmla="*/ 91174 w 293052"/>
                <a:gd name="connsiteY22" fmla="*/ 2344 h 182216"/>
                <a:gd name="connsiteX23" fmla="*/ 68754 w 293052"/>
                <a:gd name="connsiteY23" fmla="*/ 1747 h 182216"/>
                <a:gd name="connsiteX24" fmla="*/ 91174 w 293052"/>
                <a:gd name="connsiteY24" fmla="*/ 1846 h 182216"/>
                <a:gd name="connsiteX25" fmla="*/ 48327 w 293052"/>
                <a:gd name="connsiteY25" fmla="*/ 1249 h 182216"/>
                <a:gd name="connsiteX26" fmla="*/ 45836 w 293052"/>
                <a:gd name="connsiteY26" fmla="*/ 1249 h 182216"/>
                <a:gd name="connsiteX27" fmla="*/ 35274 w 293052"/>
                <a:gd name="connsiteY27" fmla="*/ 553 h 182216"/>
                <a:gd name="connsiteX28" fmla="*/ 48327 w 293052"/>
                <a:gd name="connsiteY28" fmla="*/ 752 h 182216"/>
                <a:gd name="connsiteX29" fmla="*/ 57694 w 293052"/>
                <a:gd name="connsiteY29" fmla="*/ 120634 h 182216"/>
                <a:gd name="connsiteX30" fmla="*/ 25807 w 293052"/>
                <a:gd name="connsiteY30" fmla="*/ 119440 h 182216"/>
                <a:gd name="connsiteX31" fmla="*/ 57694 w 293052"/>
                <a:gd name="connsiteY31" fmla="*/ 120037 h 182216"/>
                <a:gd name="connsiteX32" fmla="*/ 1694 w 293052"/>
                <a:gd name="connsiteY32" fmla="*/ 106407 h 182216"/>
                <a:gd name="connsiteX33" fmla="*/ 0 w 293052"/>
                <a:gd name="connsiteY33" fmla="*/ 112675 h 182216"/>
                <a:gd name="connsiteX34" fmla="*/ 2989 w 293052"/>
                <a:gd name="connsiteY34" fmla="*/ 118645 h 182216"/>
                <a:gd name="connsiteX35" fmla="*/ 1694 w 293052"/>
                <a:gd name="connsiteY35" fmla="*/ 105811 h 18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93052" h="182216">
                  <a:moveTo>
                    <a:pt x="288968" y="178536"/>
                  </a:moveTo>
                  <a:lnTo>
                    <a:pt x="289964" y="180725"/>
                  </a:lnTo>
                  <a:cubicBezTo>
                    <a:pt x="289964" y="181321"/>
                    <a:pt x="291459" y="181919"/>
                    <a:pt x="293053" y="182217"/>
                  </a:cubicBezTo>
                  <a:cubicBezTo>
                    <a:pt x="291439" y="181292"/>
                    <a:pt x="290054" y="180038"/>
                    <a:pt x="288968" y="178536"/>
                  </a:cubicBezTo>
                  <a:close/>
                  <a:moveTo>
                    <a:pt x="280398" y="167990"/>
                  </a:moveTo>
                  <a:cubicBezTo>
                    <a:pt x="282002" y="169224"/>
                    <a:pt x="283477" y="170627"/>
                    <a:pt x="284782" y="172169"/>
                  </a:cubicBezTo>
                  <a:cubicBezTo>
                    <a:pt x="284185" y="170975"/>
                    <a:pt x="283587" y="169880"/>
                    <a:pt x="282989" y="168886"/>
                  </a:cubicBezTo>
                  <a:cubicBezTo>
                    <a:pt x="282102" y="168667"/>
                    <a:pt x="281235" y="168368"/>
                    <a:pt x="280398" y="167990"/>
                  </a:cubicBezTo>
                  <a:close/>
                  <a:moveTo>
                    <a:pt x="267046" y="124116"/>
                  </a:moveTo>
                  <a:cubicBezTo>
                    <a:pt x="259273" y="124116"/>
                    <a:pt x="250206" y="124116"/>
                    <a:pt x="241039" y="124116"/>
                  </a:cubicBezTo>
                  <a:cubicBezTo>
                    <a:pt x="249708" y="124813"/>
                    <a:pt x="258277" y="124514"/>
                    <a:pt x="267046" y="124116"/>
                  </a:cubicBezTo>
                  <a:close/>
                  <a:moveTo>
                    <a:pt x="223601" y="7119"/>
                  </a:moveTo>
                  <a:lnTo>
                    <a:pt x="253993" y="8313"/>
                  </a:lnTo>
                  <a:cubicBezTo>
                    <a:pt x="243630" y="7119"/>
                    <a:pt x="232768" y="7119"/>
                    <a:pt x="223601" y="7119"/>
                  </a:cubicBezTo>
                  <a:close/>
                  <a:moveTo>
                    <a:pt x="121566" y="3338"/>
                  </a:moveTo>
                  <a:cubicBezTo>
                    <a:pt x="124904" y="3438"/>
                    <a:pt x="128222" y="3697"/>
                    <a:pt x="131530" y="4134"/>
                  </a:cubicBezTo>
                  <a:cubicBezTo>
                    <a:pt x="131560" y="3906"/>
                    <a:pt x="131560" y="3667"/>
                    <a:pt x="131530" y="3438"/>
                  </a:cubicBezTo>
                  <a:close/>
                  <a:moveTo>
                    <a:pt x="95758" y="123420"/>
                  </a:moveTo>
                  <a:cubicBezTo>
                    <a:pt x="101547" y="121679"/>
                    <a:pt x="107665" y="121370"/>
                    <a:pt x="113594" y="122525"/>
                  </a:cubicBezTo>
                  <a:lnTo>
                    <a:pt x="123558" y="121927"/>
                  </a:lnTo>
                  <a:lnTo>
                    <a:pt x="96156" y="121927"/>
                  </a:lnTo>
                  <a:cubicBezTo>
                    <a:pt x="96047" y="122266"/>
                    <a:pt x="95917" y="122604"/>
                    <a:pt x="95758" y="122922"/>
                  </a:cubicBezTo>
                  <a:close/>
                  <a:moveTo>
                    <a:pt x="91174" y="2344"/>
                  </a:moveTo>
                  <a:lnTo>
                    <a:pt x="68754" y="1747"/>
                  </a:lnTo>
                  <a:cubicBezTo>
                    <a:pt x="75630" y="1647"/>
                    <a:pt x="83402" y="1747"/>
                    <a:pt x="91174" y="1846"/>
                  </a:cubicBezTo>
                  <a:close/>
                  <a:moveTo>
                    <a:pt x="48327" y="1249"/>
                  </a:moveTo>
                  <a:lnTo>
                    <a:pt x="45836" y="1249"/>
                  </a:lnTo>
                  <a:cubicBezTo>
                    <a:pt x="42488" y="-134"/>
                    <a:pt x="38771" y="-372"/>
                    <a:pt x="35274" y="553"/>
                  </a:cubicBezTo>
                  <a:cubicBezTo>
                    <a:pt x="39588" y="1339"/>
                    <a:pt x="43993" y="1399"/>
                    <a:pt x="48327" y="752"/>
                  </a:cubicBezTo>
                  <a:close/>
                  <a:moveTo>
                    <a:pt x="57694" y="120634"/>
                  </a:moveTo>
                  <a:lnTo>
                    <a:pt x="25807" y="119440"/>
                  </a:lnTo>
                  <a:cubicBezTo>
                    <a:pt x="36769" y="119440"/>
                    <a:pt x="48227" y="119938"/>
                    <a:pt x="57694" y="120037"/>
                  </a:cubicBezTo>
                  <a:close/>
                  <a:moveTo>
                    <a:pt x="1694" y="106407"/>
                  </a:moveTo>
                  <a:lnTo>
                    <a:pt x="0" y="112675"/>
                  </a:lnTo>
                  <a:cubicBezTo>
                    <a:pt x="0" y="112675"/>
                    <a:pt x="1395" y="119739"/>
                    <a:pt x="2989" y="118645"/>
                  </a:cubicBezTo>
                  <a:cubicBezTo>
                    <a:pt x="1444" y="114555"/>
                    <a:pt x="996" y="110128"/>
                    <a:pt x="1694" y="105811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595" name="Graphic 231">
              <a:extLst>
                <a:ext uri="{FF2B5EF4-FFF2-40B4-BE49-F238E27FC236}">
                  <a16:creationId xmlns:a16="http://schemas.microsoft.com/office/drawing/2014/main" id="{1AACA931-24FA-4961-8B91-072685B69DA6}"/>
                </a:ext>
              </a:extLst>
            </p:cNvPr>
            <p:cNvGrpSpPr/>
            <p:nvPr/>
          </p:nvGrpSpPr>
          <p:grpSpPr>
            <a:xfrm>
              <a:off x="-1605508" y="1829410"/>
              <a:ext cx="732060" cy="1000544"/>
              <a:chOff x="-1605508" y="1829410"/>
              <a:chExt cx="732060" cy="1000544"/>
            </a:xfrm>
            <a:solidFill>
              <a:srgbClr val="ECE8E4"/>
            </a:solidFill>
          </p:grpSpPr>
          <p:sp>
            <p:nvSpPr>
              <p:cNvPr id="1929" name="Freeform: Shape 1928">
                <a:extLst>
                  <a:ext uri="{FF2B5EF4-FFF2-40B4-BE49-F238E27FC236}">
                    <a16:creationId xmlns:a16="http://schemas.microsoft.com/office/drawing/2014/main" id="{3359A289-FF35-4964-8386-574D8AAB8704}"/>
                  </a:ext>
                </a:extLst>
              </p:cNvPr>
              <p:cNvSpPr/>
              <p:nvPr/>
            </p:nvSpPr>
            <p:spPr>
              <a:xfrm>
                <a:off x="-1605508" y="1829410"/>
                <a:ext cx="74" cy="73919"/>
              </a:xfrm>
              <a:custGeom>
                <a:avLst/>
                <a:gdLst>
                  <a:gd name="connsiteX0" fmla="*/ 75 w 74"/>
                  <a:gd name="connsiteY0" fmla="*/ 13630 h 73919"/>
                  <a:gd name="connsiteX1" fmla="*/ 75 w 74"/>
                  <a:gd name="connsiteY1" fmla="*/ 0 h 73919"/>
                  <a:gd name="connsiteX2" fmla="*/ 75 w 74"/>
                  <a:gd name="connsiteY2" fmla="*/ 73919 h 73919"/>
                  <a:gd name="connsiteX3" fmla="*/ 75 w 74"/>
                  <a:gd name="connsiteY3" fmla="*/ 13630 h 73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" h="73919">
                    <a:moveTo>
                      <a:pt x="75" y="13630"/>
                    </a:moveTo>
                    <a:cubicBezTo>
                      <a:pt x="75" y="9352"/>
                      <a:pt x="75" y="4776"/>
                      <a:pt x="75" y="0"/>
                    </a:cubicBezTo>
                    <a:cubicBezTo>
                      <a:pt x="75" y="24573"/>
                      <a:pt x="75" y="49744"/>
                      <a:pt x="75" y="73919"/>
                    </a:cubicBezTo>
                    <a:cubicBezTo>
                      <a:pt x="-25" y="53723"/>
                      <a:pt x="-25" y="33527"/>
                      <a:pt x="75" y="1363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0" name="Freeform: Shape 1929">
                <a:extLst>
                  <a:ext uri="{FF2B5EF4-FFF2-40B4-BE49-F238E27FC236}">
                    <a16:creationId xmlns:a16="http://schemas.microsoft.com/office/drawing/2014/main" id="{4F31973D-7C3A-4CE3-B0BB-16AC3D106E43}"/>
                  </a:ext>
                </a:extLst>
              </p:cNvPr>
              <p:cNvSpPr/>
              <p:nvPr/>
            </p:nvSpPr>
            <p:spPr>
              <a:xfrm>
                <a:off x="-1598259" y="2207263"/>
                <a:ext cx="27302" cy="24274"/>
              </a:xfrm>
              <a:custGeom>
                <a:avLst/>
                <a:gdLst>
                  <a:gd name="connsiteX0" fmla="*/ 0 w 27302"/>
                  <a:gd name="connsiteY0" fmla="*/ 0 h 24274"/>
                  <a:gd name="connsiteX1" fmla="*/ 27303 w 27302"/>
                  <a:gd name="connsiteY1" fmla="*/ 24275 h 24274"/>
                  <a:gd name="connsiteX2" fmla="*/ 0 w 27302"/>
                  <a:gd name="connsiteY2" fmla="*/ 0 h 24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302" h="24274">
                    <a:moveTo>
                      <a:pt x="0" y="0"/>
                    </a:moveTo>
                    <a:lnTo>
                      <a:pt x="27303" y="24275"/>
                    </a:lnTo>
                    <a:cubicBezTo>
                      <a:pt x="17278" y="17281"/>
                      <a:pt x="8121" y="913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1" name="Freeform: Shape 1930">
                <a:extLst>
                  <a:ext uri="{FF2B5EF4-FFF2-40B4-BE49-F238E27FC236}">
                    <a16:creationId xmlns:a16="http://schemas.microsoft.com/office/drawing/2014/main" id="{D995071E-8264-42FF-84ED-6CC283EEC4C1}"/>
                  </a:ext>
                </a:extLst>
              </p:cNvPr>
              <p:cNvSpPr/>
              <p:nvPr/>
            </p:nvSpPr>
            <p:spPr>
              <a:xfrm>
                <a:off x="-1543455" y="2256311"/>
                <a:ext cx="34377" cy="30840"/>
              </a:xfrm>
              <a:custGeom>
                <a:avLst/>
                <a:gdLst>
                  <a:gd name="connsiteX0" fmla="*/ 0 w 34377"/>
                  <a:gd name="connsiteY0" fmla="*/ 0 h 30840"/>
                  <a:gd name="connsiteX1" fmla="*/ 34377 w 34377"/>
                  <a:gd name="connsiteY1" fmla="*/ 30841 h 30840"/>
                  <a:gd name="connsiteX2" fmla="*/ 0 w 34377"/>
                  <a:gd name="connsiteY2" fmla="*/ 0 h 30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377" h="30840">
                    <a:moveTo>
                      <a:pt x="0" y="0"/>
                    </a:moveTo>
                    <a:cubicBezTo>
                      <a:pt x="11459" y="9949"/>
                      <a:pt x="22918" y="20494"/>
                      <a:pt x="34377" y="30841"/>
                    </a:cubicBezTo>
                    <a:cubicBezTo>
                      <a:pt x="22520" y="20395"/>
                      <a:pt x="10961" y="994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2" name="Freeform: Shape 1931">
                <a:extLst>
                  <a:ext uri="{FF2B5EF4-FFF2-40B4-BE49-F238E27FC236}">
                    <a16:creationId xmlns:a16="http://schemas.microsoft.com/office/drawing/2014/main" id="{A515BCA7-2D4A-455F-BD95-23CDF7593838}"/>
                  </a:ext>
                </a:extLst>
              </p:cNvPr>
              <p:cNvSpPr/>
              <p:nvPr/>
            </p:nvSpPr>
            <p:spPr>
              <a:xfrm>
                <a:off x="-1030288" y="2733253"/>
                <a:ext cx="99046" cy="96701"/>
              </a:xfrm>
              <a:custGeom>
                <a:avLst/>
                <a:gdLst>
                  <a:gd name="connsiteX0" fmla="*/ 0 w 99046"/>
                  <a:gd name="connsiteY0" fmla="*/ 0 h 96701"/>
                  <a:gd name="connsiteX1" fmla="*/ 99046 w 99046"/>
                  <a:gd name="connsiteY1" fmla="*/ 96702 h 96701"/>
                  <a:gd name="connsiteX2" fmla="*/ 0 w 99046"/>
                  <a:gd name="connsiteY2" fmla="*/ 0 h 96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046" h="96701">
                    <a:moveTo>
                      <a:pt x="0" y="0"/>
                    </a:moveTo>
                    <a:cubicBezTo>
                      <a:pt x="33480" y="32333"/>
                      <a:pt x="67160" y="64965"/>
                      <a:pt x="99046" y="96702"/>
                    </a:cubicBezTo>
                    <a:cubicBezTo>
                      <a:pt x="66632" y="64398"/>
                      <a:pt x="33610" y="3216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3" name="Freeform: Shape 1932">
                <a:extLst>
                  <a:ext uri="{FF2B5EF4-FFF2-40B4-BE49-F238E27FC236}">
                    <a16:creationId xmlns:a16="http://schemas.microsoft.com/office/drawing/2014/main" id="{F991F519-FC29-49A0-B9BA-0B0CE807C19F}"/>
                  </a:ext>
                </a:extLst>
              </p:cNvPr>
              <p:cNvSpPr/>
              <p:nvPr/>
            </p:nvSpPr>
            <p:spPr>
              <a:xfrm>
                <a:off x="-944583" y="2673561"/>
                <a:ext cx="188" cy="3681"/>
              </a:xfrm>
              <a:custGeom>
                <a:avLst/>
                <a:gdLst>
                  <a:gd name="connsiteX0" fmla="*/ 189 w 188"/>
                  <a:gd name="connsiteY0" fmla="*/ 3681 h 3681"/>
                  <a:gd name="connsiteX1" fmla="*/ 189 w 188"/>
                  <a:gd name="connsiteY1" fmla="*/ 1194 h 3681"/>
                  <a:gd name="connsiteX2" fmla="*/ 189 w 188"/>
                  <a:gd name="connsiteY2" fmla="*/ 0 h 3681"/>
                  <a:gd name="connsiteX3" fmla="*/ 189 w 188"/>
                  <a:gd name="connsiteY3" fmla="*/ 3681 h 3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8" h="3681">
                    <a:moveTo>
                      <a:pt x="189" y="3681"/>
                    </a:moveTo>
                    <a:cubicBezTo>
                      <a:pt x="189" y="2786"/>
                      <a:pt x="189" y="1990"/>
                      <a:pt x="189" y="1194"/>
                    </a:cubicBezTo>
                    <a:lnTo>
                      <a:pt x="189" y="0"/>
                    </a:lnTo>
                    <a:cubicBezTo>
                      <a:pt x="-110" y="1293"/>
                      <a:pt x="-11" y="2487"/>
                      <a:pt x="189" y="368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4" name="Freeform: Shape 1933">
                <a:extLst>
                  <a:ext uri="{FF2B5EF4-FFF2-40B4-BE49-F238E27FC236}">
                    <a16:creationId xmlns:a16="http://schemas.microsoft.com/office/drawing/2014/main" id="{F33DCE96-4D56-4E6C-8928-844F597D8C02}"/>
                  </a:ext>
                </a:extLst>
              </p:cNvPr>
              <p:cNvSpPr/>
              <p:nvPr/>
            </p:nvSpPr>
            <p:spPr>
              <a:xfrm>
                <a:off x="-944395" y="2660329"/>
                <a:ext cx="597" cy="3482"/>
              </a:xfrm>
              <a:custGeom>
                <a:avLst/>
                <a:gdLst>
                  <a:gd name="connsiteX0" fmla="*/ 598 w 597"/>
                  <a:gd name="connsiteY0" fmla="*/ 0 h 3482"/>
                  <a:gd name="connsiteX1" fmla="*/ 0 w 597"/>
                  <a:gd name="connsiteY1" fmla="*/ 3482 h 3482"/>
                  <a:gd name="connsiteX2" fmla="*/ 598 w 597"/>
                  <a:gd name="connsiteY2" fmla="*/ 0 h 3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" h="3482">
                    <a:moveTo>
                      <a:pt x="598" y="0"/>
                    </a:moveTo>
                    <a:cubicBezTo>
                      <a:pt x="309" y="1144"/>
                      <a:pt x="110" y="2308"/>
                      <a:pt x="0" y="3482"/>
                    </a:cubicBezTo>
                    <a:cubicBezTo>
                      <a:pt x="20" y="2298"/>
                      <a:pt x="219" y="1124"/>
                      <a:pt x="5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5" name="Freeform: Shape 1934">
                <a:extLst>
                  <a:ext uri="{FF2B5EF4-FFF2-40B4-BE49-F238E27FC236}">
                    <a16:creationId xmlns:a16="http://schemas.microsoft.com/office/drawing/2014/main" id="{7139B956-6F30-45EE-966C-8CB449188F96}"/>
                  </a:ext>
                </a:extLst>
              </p:cNvPr>
              <p:cNvSpPr/>
              <p:nvPr/>
            </p:nvSpPr>
            <p:spPr>
              <a:xfrm>
                <a:off x="-939413" y="2696642"/>
                <a:ext cx="4584" cy="11938"/>
              </a:xfrm>
              <a:custGeom>
                <a:avLst/>
                <a:gdLst>
                  <a:gd name="connsiteX0" fmla="*/ 4584 w 4584"/>
                  <a:gd name="connsiteY0" fmla="*/ 0 h 11938"/>
                  <a:gd name="connsiteX1" fmla="*/ 1 w 4584"/>
                  <a:gd name="connsiteY1" fmla="*/ 11939 h 11938"/>
                  <a:gd name="connsiteX2" fmla="*/ 4584 w 4584"/>
                  <a:gd name="connsiteY2" fmla="*/ 0 h 11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84" h="11938">
                    <a:moveTo>
                      <a:pt x="4584" y="0"/>
                    </a:moveTo>
                    <a:cubicBezTo>
                      <a:pt x="2093" y="3542"/>
                      <a:pt x="519" y="7641"/>
                      <a:pt x="1" y="11939"/>
                    </a:cubicBezTo>
                    <a:cubicBezTo>
                      <a:pt x="-39" y="7521"/>
                      <a:pt x="1595" y="3253"/>
                      <a:pt x="458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6" name="Freeform: Shape 1935">
                <a:extLst>
                  <a:ext uri="{FF2B5EF4-FFF2-40B4-BE49-F238E27FC236}">
                    <a16:creationId xmlns:a16="http://schemas.microsoft.com/office/drawing/2014/main" id="{976FAEE8-56EB-4207-8456-434866B7C77B}"/>
                  </a:ext>
                </a:extLst>
              </p:cNvPr>
              <p:cNvSpPr/>
              <p:nvPr/>
            </p:nvSpPr>
            <p:spPr>
              <a:xfrm>
                <a:off x="-938017" y="2726886"/>
                <a:ext cx="3089" cy="6964"/>
              </a:xfrm>
              <a:custGeom>
                <a:avLst/>
                <a:gdLst>
                  <a:gd name="connsiteX0" fmla="*/ 0 w 3089"/>
                  <a:gd name="connsiteY0" fmla="*/ 0 h 6964"/>
                  <a:gd name="connsiteX1" fmla="*/ 3089 w 3089"/>
                  <a:gd name="connsiteY1" fmla="*/ 6964 h 6964"/>
                  <a:gd name="connsiteX2" fmla="*/ 199 w 3089"/>
                  <a:gd name="connsiteY2" fmla="*/ 3581 h 6964"/>
                  <a:gd name="connsiteX3" fmla="*/ 0 w 3089"/>
                  <a:gd name="connsiteY3" fmla="*/ 0 h 6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89" h="6964">
                    <a:moveTo>
                      <a:pt x="0" y="0"/>
                    </a:moveTo>
                    <a:cubicBezTo>
                      <a:pt x="747" y="2437"/>
                      <a:pt x="1784" y="4776"/>
                      <a:pt x="3089" y="6964"/>
                    </a:cubicBezTo>
                    <a:cubicBezTo>
                      <a:pt x="2411" y="5621"/>
                      <a:pt x="1425" y="4457"/>
                      <a:pt x="199" y="3581"/>
                    </a:cubicBezTo>
                    <a:cubicBezTo>
                      <a:pt x="199" y="2487"/>
                      <a:pt x="100" y="129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7" name="Freeform: Shape 1936">
                <a:extLst>
                  <a:ext uri="{FF2B5EF4-FFF2-40B4-BE49-F238E27FC236}">
                    <a16:creationId xmlns:a16="http://schemas.microsoft.com/office/drawing/2014/main" id="{9F20D953-400A-43F0-95EF-E80AC0E9AA31}"/>
                  </a:ext>
                </a:extLst>
              </p:cNvPr>
              <p:cNvSpPr/>
              <p:nvPr/>
            </p:nvSpPr>
            <p:spPr>
              <a:xfrm>
                <a:off x="-935103" y="2753151"/>
                <a:ext cx="373" cy="8158"/>
              </a:xfrm>
              <a:custGeom>
                <a:avLst/>
                <a:gdLst>
                  <a:gd name="connsiteX0" fmla="*/ 374 w 373"/>
                  <a:gd name="connsiteY0" fmla="*/ 0 h 8158"/>
                  <a:gd name="connsiteX1" fmla="*/ 374 w 373"/>
                  <a:gd name="connsiteY1" fmla="*/ 8158 h 8158"/>
                  <a:gd name="connsiteX2" fmla="*/ 374 w 373"/>
                  <a:gd name="connsiteY2" fmla="*/ 0 h 8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" h="8158">
                    <a:moveTo>
                      <a:pt x="374" y="0"/>
                    </a:moveTo>
                    <a:cubicBezTo>
                      <a:pt x="175" y="2716"/>
                      <a:pt x="175" y="5442"/>
                      <a:pt x="374" y="8158"/>
                    </a:cubicBezTo>
                    <a:cubicBezTo>
                      <a:pt x="-125" y="5462"/>
                      <a:pt x="-125" y="2696"/>
                      <a:pt x="37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8" name="Freeform: Shape 1937">
                <a:extLst>
                  <a:ext uri="{FF2B5EF4-FFF2-40B4-BE49-F238E27FC236}">
                    <a16:creationId xmlns:a16="http://schemas.microsoft.com/office/drawing/2014/main" id="{DDD6418B-F899-49FB-B575-61AE987CADA7}"/>
                  </a:ext>
                </a:extLst>
              </p:cNvPr>
              <p:cNvSpPr/>
              <p:nvPr/>
            </p:nvSpPr>
            <p:spPr>
              <a:xfrm>
                <a:off x="-934928" y="2733751"/>
                <a:ext cx="2092" cy="6168"/>
              </a:xfrm>
              <a:custGeom>
                <a:avLst/>
                <a:gdLst>
                  <a:gd name="connsiteX0" fmla="*/ 1495 w 2092"/>
                  <a:gd name="connsiteY0" fmla="*/ 6168 h 6168"/>
                  <a:gd name="connsiteX1" fmla="*/ 0 w 2092"/>
                  <a:gd name="connsiteY1" fmla="*/ 0 h 6168"/>
                  <a:gd name="connsiteX2" fmla="*/ 2092 w 2092"/>
                  <a:gd name="connsiteY2" fmla="*/ 2587 h 6168"/>
                  <a:gd name="connsiteX3" fmla="*/ 1495 w 2092"/>
                  <a:gd name="connsiteY3" fmla="*/ 6168 h 6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2" h="6168">
                    <a:moveTo>
                      <a:pt x="1495" y="6168"/>
                    </a:moveTo>
                    <a:cubicBezTo>
                      <a:pt x="1485" y="4019"/>
                      <a:pt x="976" y="1910"/>
                      <a:pt x="0" y="0"/>
                    </a:cubicBezTo>
                    <a:cubicBezTo>
                      <a:pt x="648" y="905"/>
                      <a:pt x="1345" y="1761"/>
                      <a:pt x="2092" y="2587"/>
                    </a:cubicBezTo>
                    <a:cubicBezTo>
                      <a:pt x="1893" y="3781"/>
                      <a:pt x="1694" y="4974"/>
                      <a:pt x="1495" y="616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39" name="Freeform: Shape 1938">
                <a:extLst>
                  <a:ext uri="{FF2B5EF4-FFF2-40B4-BE49-F238E27FC236}">
                    <a16:creationId xmlns:a16="http://schemas.microsoft.com/office/drawing/2014/main" id="{8BE1DE06-1EEA-4FD1-81D0-1798C58F8FF8}"/>
                  </a:ext>
                </a:extLst>
              </p:cNvPr>
              <p:cNvSpPr/>
              <p:nvPr/>
            </p:nvSpPr>
            <p:spPr>
              <a:xfrm>
                <a:off x="-935128" y="2652967"/>
                <a:ext cx="11259" cy="4377"/>
              </a:xfrm>
              <a:custGeom>
                <a:avLst/>
                <a:gdLst>
                  <a:gd name="connsiteX0" fmla="*/ 11260 w 11259"/>
                  <a:gd name="connsiteY0" fmla="*/ 0 h 4377"/>
                  <a:gd name="connsiteX1" fmla="*/ 0 w 11259"/>
                  <a:gd name="connsiteY1" fmla="*/ 4377 h 4377"/>
                  <a:gd name="connsiteX2" fmla="*/ 11260 w 11259"/>
                  <a:gd name="connsiteY2" fmla="*/ 0 h 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59" h="4377">
                    <a:moveTo>
                      <a:pt x="11260" y="0"/>
                    </a:moveTo>
                    <a:cubicBezTo>
                      <a:pt x="7354" y="1044"/>
                      <a:pt x="3577" y="2507"/>
                      <a:pt x="0" y="4377"/>
                    </a:cubicBezTo>
                    <a:cubicBezTo>
                      <a:pt x="3418" y="2169"/>
                      <a:pt x="7244" y="676"/>
                      <a:pt x="1126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40" name="Freeform: Shape 1939">
                <a:extLst>
                  <a:ext uri="{FF2B5EF4-FFF2-40B4-BE49-F238E27FC236}">
                    <a16:creationId xmlns:a16="http://schemas.microsoft.com/office/drawing/2014/main" id="{28466389-7480-4991-9C09-D38DAAE324F1}"/>
                  </a:ext>
                </a:extLst>
              </p:cNvPr>
              <p:cNvSpPr/>
              <p:nvPr/>
            </p:nvSpPr>
            <p:spPr>
              <a:xfrm>
                <a:off x="-929448" y="2812147"/>
                <a:ext cx="2192" cy="4377"/>
              </a:xfrm>
              <a:custGeom>
                <a:avLst/>
                <a:gdLst>
                  <a:gd name="connsiteX0" fmla="*/ 598 w 2192"/>
                  <a:gd name="connsiteY0" fmla="*/ 0 h 4377"/>
                  <a:gd name="connsiteX1" fmla="*/ 2192 w 2192"/>
                  <a:gd name="connsiteY1" fmla="*/ 0 h 4377"/>
                  <a:gd name="connsiteX2" fmla="*/ 0 w 2192"/>
                  <a:gd name="connsiteY2" fmla="*/ 4377 h 4377"/>
                  <a:gd name="connsiteX3" fmla="*/ 598 w 2192"/>
                  <a:gd name="connsiteY3" fmla="*/ 0 h 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92" h="4377">
                    <a:moveTo>
                      <a:pt x="598" y="0"/>
                    </a:moveTo>
                    <a:lnTo>
                      <a:pt x="2192" y="0"/>
                    </a:lnTo>
                    <a:cubicBezTo>
                      <a:pt x="1186" y="1303"/>
                      <a:pt x="448" y="2795"/>
                      <a:pt x="0" y="4377"/>
                    </a:cubicBezTo>
                    <a:cubicBezTo>
                      <a:pt x="199" y="2686"/>
                      <a:pt x="399" y="1293"/>
                      <a:pt x="5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41" name="Freeform: Shape 1940">
                <a:extLst>
                  <a:ext uri="{FF2B5EF4-FFF2-40B4-BE49-F238E27FC236}">
                    <a16:creationId xmlns:a16="http://schemas.microsoft.com/office/drawing/2014/main" id="{8347B41B-9919-466F-AA3E-699B30FD5D0F}"/>
                  </a:ext>
                </a:extLst>
              </p:cNvPr>
              <p:cNvSpPr/>
              <p:nvPr/>
            </p:nvSpPr>
            <p:spPr>
              <a:xfrm>
                <a:off x="-930644" y="2768372"/>
                <a:ext cx="4982" cy="19897"/>
              </a:xfrm>
              <a:custGeom>
                <a:avLst/>
                <a:gdLst>
                  <a:gd name="connsiteX0" fmla="*/ 0 w 4982"/>
                  <a:gd name="connsiteY0" fmla="*/ 0 h 19897"/>
                  <a:gd name="connsiteX1" fmla="*/ 4982 w 4982"/>
                  <a:gd name="connsiteY1" fmla="*/ 19897 h 19897"/>
                  <a:gd name="connsiteX2" fmla="*/ 0 w 4982"/>
                  <a:gd name="connsiteY2" fmla="*/ 0 h 1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82" h="19897">
                    <a:moveTo>
                      <a:pt x="0" y="0"/>
                    </a:moveTo>
                    <a:cubicBezTo>
                      <a:pt x="2601" y="6357"/>
                      <a:pt x="4275" y="13063"/>
                      <a:pt x="4982" y="19897"/>
                    </a:cubicBezTo>
                    <a:cubicBezTo>
                      <a:pt x="3866" y="13142"/>
                      <a:pt x="2192" y="648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42" name="Freeform: Shape 1941">
                <a:extLst>
                  <a:ext uri="{FF2B5EF4-FFF2-40B4-BE49-F238E27FC236}">
                    <a16:creationId xmlns:a16="http://schemas.microsoft.com/office/drawing/2014/main" id="{6A78D4CA-82AB-41F8-BCDC-EA560DC885B8}"/>
                  </a:ext>
                </a:extLst>
              </p:cNvPr>
              <p:cNvSpPr/>
              <p:nvPr/>
            </p:nvSpPr>
            <p:spPr>
              <a:xfrm>
                <a:off x="-923968" y="2805979"/>
                <a:ext cx="1096" cy="3084"/>
              </a:xfrm>
              <a:custGeom>
                <a:avLst/>
                <a:gdLst>
                  <a:gd name="connsiteX0" fmla="*/ 598 w 1096"/>
                  <a:gd name="connsiteY0" fmla="*/ 0 h 3084"/>
                  <a:gd name="connsiteX1" fmla="*/ 1096 w 1096"/>
                  <a:gd name="connsiteY1" fmla="*/ 3084 h 3084"/>
                  <a:gd name="connsiteX2" fmla="*/ 0 w 1096"/>
                  <a:gd name="connsiteY2" fmla="*/ 3084 h 3084"/>
                  <a:gd name="connsiteX3" fmla="*/ 598 w 1096"/>
                  <a:gd name="connsiteY3" fmla="*/ 0 h 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6" h="3084">
                    <a:moveTo>
                      <a:pt x="598" y="0"/>
                    </a:moveTo>
                    <a:cubicBezTo>
                      <a:pt x="598" y="1194"/>
                      <a:pt x="598" y="2089"/>
                      <a:pt x="1096" y="3084"/>
                    </a:cubicBezTo>
                    <a:lnTo>
                      <a:pt x="0" y="3084"/>
                    </a:lnTo>
                    <a:cubicBezTo>
                      <a:pt x="409" y="2109"/>
                      <a:pt x="608" y="1054"/>
                      <a:pt x="5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43" name="Freeform: Shape 1942">
                <a:extLst>
                  <a:ext uri="{FF2B5EF4-FFF2-40B4-BE49-F238E27FC236}">
                    <a16:creationId xmlns:a16="http://schemas.microsoft.com/office/drawing/2014/main" id="{BC6B4172-EB83-469C-ADCB-6AA722820921}"/>
                  </a:ext>
                </a:extLst>
              </p:cNvPr>
              <p:cNvSpPr/>
              <p:nvPr/>
            </p:nvSpPr>
            <p:spPr>
              <a:xfrm>
                <a:off x="-913206" y="2654857"/>
                <a:ext cx="3387" cy="1497"/>
              </a:xfrm>
              <a:custGeom>
                <a:avLst/>
                <a:gdLst>
                  <a:gd name="connsiteX0" fmla="*/ 0 w 3387"/>
                  <a:gd name="connsiteY0" fmla="*/ 0 h 1497"/>
                  <a:gd name="connsiteX1" fmla="*/ 3388 w 3387"/>
                  <a:gd name="connsiteY1" fmla="*/ 1393 h 1497"/>
                  <a:gd name="connsiteX2" fmla="*/ 1295 w 3387"/>
                  <a:gd name="connsiteY2" fmla="*/ 1393 h 1497"/>
                  <a:gd name="connsiteX3" fmla="*/ 0 w 3387"/>
                  <a:gd name="connsiteY3" fmla="*/ 0 h 1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87" h="1497">
                    <a:moveTo>
                      <a:pt x="0" y="0"/>
                    </a:moveTo>
                    <a:cubicBezTo>
                      <a:pt x="1096" y="547"/>
                      <a:pt x="2222" y="1015"/>
                      <a:pt x="3388" y="1393"/>
                    </a:cubicBezTo>
                    <a:cubicBezTo>
                      <a:pt x="2700" y="1532"/>
                      <a:pt x="1983" y="1532"/>
                      <a:pt x="1295" y="1393"/>
                    </a:cubicBezTo>
                    <a:cubicBezTo>
                      <a:pt x="947" y="856"/>
                      <a:pt x="508" y="38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44" name="Freeform: Shape 1943">
                <a:extLst>
                  <a:ext uri="{FF2B5EF4-FFF2-40B4-BE49-F238E27FC236}">
                    <a16:creationId xmlns:a16="http://schemas.microsoft.com/office/drawing/2014/main" id="{89116AA5-2373-4B03-8268-15195114A5AB}"/>
                  </a:ext>
                </a:extLst>
              </p:cNvPr>
              <p:cNvSpPr/>
              <p:nvPr/>
            </p:nvSpPr>
            <p:spPr>
              <a:xfrm>
                <a:off x="-906629" y="2653862"/>
                <a:ext cx="5480" cy="1890"/>
              </a:xfrm>
              <a:custGeom>
                <a:avLst/>
                <a:gdLst>
                  <a:gd name="connsiteX0" fmla="*/ 0 w 5480"/>
                  <a:gd name="connsiteY0" fmla="*/ 1890 h 1890"/>
                  <a:gd name="connsiteX1" fmla="*/ 5480 w 5480"/>
                  <a:gd name="connsiteY1" fmla="*/ 0 h 1890"/>
                  <a:gd name="connsiteX2" fmla="*/ 0 w 5480"/>
                  <a:gd name="connsiteY2" fmla="*/ 1890 h 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80" h="1890">
                    <a:moveTo>
                      <a:pt x="0" y="1890"/>
                    </a:moveTo>
                    <a:cubicBezTo>
                      <a:pt x="1674" y="875"/>
                      <a:pt x="3537" y="239"/>
                      <a:pt x="5480" y="0"/>
                    </a:cubicBezTo>
                    <a:cubicBezTo>
                      <a:pt x="3687" y="398"/>
                      <a:pt x="1893" y="1293"/>
                      <a:pt x="0" y="189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45" name="Freeform: Shape 1944">
                <a:extLst>
                  <a:ext uri="{FF2B5EF4-FFF2-40B4-BE49-F238E27FC236}">
                    <a16:creationId xmlns:a16="http://schemas.microsoft.com/office/drawing/2014/main" id="{39F03792-0063-4C2C-93E2-27DCBC0B913E}"/>
                  </a:ext>
                </a:extLst>
              </p:cNvPr>
              <p:cNvSpPr/>
              <p:nvPr/>
            </p:nvSpPr>
            <p:spPr>
              <a:xfrm>
                <a:off x="-899953" y="2653762"/>
                <a:ext cx="1992" cy="696"/>
              </a:xfrm>
              <a:custGeom>
                <a:avLst/>
                <a:gdLst>
                  <a:gd name="connsiteX0" fmla="*/ 1993 w 1992"/>
                  <a:gd name="connsiteY0" fmla="*/ 100 h 696"/>
                  <a:gd name="connsiteX1" fmla="*/ 1993 w 1992"/>
                  <a:gd name="connsiteY1" fmla="*/ 697 h 696"/>
                  <a:gd name="connsiteX2" fmla="*/ 0 w 1992"/>
                  <a:gd name="connsiteY2" fmla="*/ 0 h 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" h="696">
                    <a:moveTo>
                      <a:pt x="1993" y="100"/>
                    </a:moveTo>
                    <a:lnTo>
                      <a:pt x="1993" y="697"/>
                    </a:lnTo>
                    <a:cubicBezTo>
                      <a:pt x="1435" y="239"/>
                      <a:pt x="727" y="-1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46" name="Freeform: Shape 1945">
                <a:extLst>
                  <a:ext uri="{FF2B5EF4-FFF2-40B4-BE49-F238E27FC236}">
                    <a16:creationId xmlns:a16="http://schemas.microsoft.com/office/drawing/2014/main" id="{A165AD30-98BF-4108-837A-5E7A63D18E07}"/>
                  </a:ext>
                </a:extLst>
              </p:cNvPr>
              <p:cNvSpPr/>
              <p:nvPr/>
            </p:nvSpPr>
            <p:spPr>
              <a:xfrm>
                <a:off x="-877733" y="2673561"/>
                <a:ext cx="4284" cy="231"/>
              </a:xfrm>
              <a:custGeom>
                <a:avLst/>
                <a:gdLst>
                  <a:gd name="connsiteX0" fmla="*/ 4285 w 4284"/>
                  <a:gd name="connsiteY0" fmla="*/ 0 h 231"/>
                  <a:gd name="connsiteX1" fmla="*/ 0 w 4284"/>
                  <a:gd name="connsiteY1" fmla="*/ 0 h 231"/>
                  <a:gd name="connsiteX2" fmla="*/ 4285 w 4284"/>
                  <a:gd name="connsiteY2" fmla="*/ 0 h 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84" h="231">
                    <a:moveTo>
                      <a:pt x="4285" y="0"/>
                    </a:moveTo>
                    <a:cubicBezTo>
                      <a:pt x="2870" y="308"/>
                      <a:pt x="1415" y="308"/>
                      <a:pt x="0" y="0"/>
                    </a:cubicBezTo>
                    <a:cubicBezTo>
                      <a:pt x="1425" y="199"/>
                      <a:pt x="2860" y="199"/>
                      <a:pt x="428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96" name="Graphic 231">
              <a:extLst>
                <a:ext uri="{FF2B5EF4-FFF2-40B4-BE49-F238E27FC236}">
                  <a16:creationId xmlns:a16="http://schemas.microsoft.com/office/drawing/2014/main" id="{5A7D0059-7421-472F-93B5-C676E5FDA88D}"/>
                </a:ext>
              </a:extLst>
            </p:cNvPr>
            <p:cNvGrpSpPr/>
            <p:nvPr/>
          </p:nvGrpSpPr>
          <p:grpSpPr>
            <a:xfrm>
              <a:off x="4215175" y="1697589"/>
              <a:ext cx="243168" cy="169626"/>
              <a:chOff x="4215175" y="1697589"/>
              <a:chExt cx="243168" cy="169626"/>
            </a:xfrm>
            <a:solidFill>
              <a:srgbClr val="ECE8E4"/>
            </a:solidFill>
          </p:grpSpPr>
          <p:sp>
            <p:nvSpPr>
              <p:cNvPr id="1922" name="Freeform: Shape 1921">
                <a:extLst>
                  <a:ext uri="{FF2B5EF4-FFF2-40B4-BE49-F238E27FC236}">
                    <a16:creationId xmlns:a16="http://schemas.microsoft.com/office/drawing/2014/main" id="{2691A785-767F-4B6C-9CA4-2E9421E42D9C}"/>
                  </a:ext>
                </a:extLst>
              </p:cNvPr>
              <p:cNvSpPr/>
              <p:nvPr/>
            </p:nvSpPr>
            <p:spPr>
              <a:xfrm>
                <a:off x="4215175" y="1859057"/>
                <a:ext cx="5480" cy="8157"/>
              </a:xfrm>
              <a:custGeom>
                <a:avLst/>
                <a:gdLst>
                  <a:gd name="connsiteX0" fmla="*/ 0 w 5480"/>
                  <a:gd name="connsiteY0" fmla="*/ 0 h 8157"/>
                  <a:gd name="connsiteX1" fmla="*/ 5480 w 5480"/>
                  <a:gd name="connsiteY1" fmla="*/ 8158 h 8157"/>
                  <a:gd name="connsiteX2" fmla="*/ 0 w 5480"/>
                  <a:gd name="connsiteY2" fmla="*/ 0 h 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80" h="8157">
                    <a:moveTo>
                      <a:pt x="0" y="0"/>
                    </a:moveTo>
                    <a:cubicBezTo>
                      <a:pt x="1983" y="2607"/>
                      <a:pt x="3816" y="5332"/>
                      <a:pt x="5480" y="8158"/>
                    </a:cubicBezTo>
                    <a:cubicBezTo>
                      <a:pt x="3398" y="5621"/>
                      <a:pt x="1555" y="288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23" name="Freeform: Shape 1922">
                <a:extLst>
                  <a:ext uri="{FF2B5EF4-FFF2-40B4-BE49-F238E27FC236}">
                    <a16:creationId xmlns:a16="http://schemas.microsoft.com/office/drawing/2014/main" id="{DC4DC848-CC05-4823-9BF2-76B8C18D8E58}"/>
                  </a:ext>
                </a:extLst>
              </p:cNvPr>
              <p:cNvSpPr/>
              <p:nvPr/>
            </p:nvSpPr>
            <p:spPr>
              <a:xfrm>
                <a:off x="4215274" y="1851098"/>
                <a:ext cx="8270" cy="5272"/>
              </a:xfrm>
              <a:custGeom>
                <a:avLst/>
                <a:gdLst>
                  <a:gd name="connsiteX0" fmla="*/ 2491 w 8270"/>
                  <a:gd name="connsiteY0" fmla="*/ 3383 h 5272"/>
                  <a:gd name="connsiteX1" fmla="*/ 8271 w 8270"/>
                  <a:gd name="connsiteY1" fmla="*/ 0 h 5272"/>
                  <a:gd name="connsiteX2" fmla="*/ 0 w 8270"/>
                  <a:gd name="connsiteY2" fmla="*/ 5273 h 5272"/>
                  <a:gd name="connsiteX3" fmla="*/ 2491 w 8270"/>
                  <a:gd name="connsiteY3" fmla="*/ 3383 h 5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70" h="5272">
                    <a:moveTo>
                      <a:pt x="2491" y="3383"/>
                    </a:moveTo>
                    <a:lnTo>
                      <a:pt x="8271" y="0"/>
                    </a:lnTo>
                    <a:cubicBezTo>
                      <a:pt x="4783" y="2189"/>
                      <a:pt x="1694" y="3979"/>
                      <a:pt x="0" y="5273"/>
                    </a:cubicBezTo>
                    <a:cubicBezTo>
                      <a:pt x="618" y="4407"/>
                      <a:pt x="1485" y="3751"/>
                      <a:pt x="2491" y="338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24" name="Freeform: Shape 1923">
                <a:extLst>
                  <a:ext uri="{FF2B5EF4-FFF2-40B4-BE49-F238E27FC236}">
                    <a16:creationId xmlns:a16="http://schemas.microsoft.com/office/drawing/2014/main" id="{258133D9-77B1-4231-BBAC-9EA8736E88AF}"/>
                  </a:ext>
                </a:extLst>
              </p:cNvPr>
              <p:cNvSpPr/>
              <p:nvPr/>
            </p:nvSpPr>
            <p:spPr>
              <a:xfrm>
                <a:off x="4267488" y="1697589"/>
                <a:ext cx="31886" cy="1193"/>
              </a:xfrm>
              <a:custGeom>
                <a:avLst/>
                <a:gdLst>
                  <a:gd name="connsiteX0" fmla="*/ 0 w 31886"/>
                  <a:gd name="connsiteY0" fmla="*/ 0 h 1193"/>
                  <a:gd name="connsiteX1" fmla="*/ 31886 w 31886"/>
                  <a:gd name="connsiteY1" fmla="*/ 1194 h 1193"/>
                  <a:gd name="connsiteX2" fmla="*/ 0 w 31886"/>
                  <a:gd name="connsiteY2" fmla="*/ 0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886" h="1193">
                    <a:moveTo>
                      <a:pt x="0" y="0"/>
                    </a:moveTo>
                    <a:lnTo>
                      <a:pt x="31886" y="1194"/>
                    </a:lnTo>
                    <a:cubicBezTo>
                      <a:pt x="22420" y="1094"/>
                      <a:pt x="10961" y="59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25" name="Freeform: Shape 1924">
                <a:extLst>
                  <a:ext uri="{FF2B5EF4-FFF2-40B4-BE49-F238E27FC236}">
                    <a16:creationId xmlns:a16="http://schemas.microsoft.com/office/drawing/2014/main" id="{00E087DA-A145-443C-BE2C-7DA4E5C66F88}"/>
                  </a:ext>
                </a:extLst>
              </p:cNvPr>
              <p:cNvSpPr/>
              <p:nvPr/>
            </p:nvSpPr>
            <p:spPr>
              <a:xfrm>
                <a:off x="4337936" y="1699690"/>
                <a:ext cx="27801" cy="1580"/>
              </a:xfrm>
              <a:custGeom>
                <a:avLst/>
                <a:gdLst>
                  <a:gd name="connsiteX0" fmla="*/ 399 w 27801"/>
                  <a:gd name="connsiteY0" fmla="*/ 88 h 1580"/>
                  <a:gd name="connsiteX1" fmla="*/ 27801 w 27801"/>
                  <a:gd name="connsiteY1" fmla="*/ 88 h 1580"/>
                  <a:gd name="connsiteX2" fmla="*/ 17837 w 27801"/>
                  <a:gd name="connsiteY2" fmla="*/ 685 h 1580"/>
                  <a:gd name="connsiteX3" fmla="*/ 0 w 27801"/>
                  <a:gd name="connsiteY3" fmla="*/ 1580 h 1580"/>
                  <a:gd name="connsiteX4" fmla="*/ 399 w 27801"/>
                  <a:gd name="connsiteY4" fmla="*/ 88 h 1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01" h="1580">
                    <a:moveTo>
                      <a:pt x="399" y="88"/>
                    </a:moveTo>
                    <a:lnTo>
                      <a:pt x="27801" y="88"/>
                    </a:lnTo>
                    <a:lnTo>
                      <a:pt x="17837" y="685"/>
                    </a:lnTo>
                    <a:cubicBezTo>
                      <a:pt x="11908" y="-469"/>
                      <a:pt x="5780" y="-161"/>
                      <a:pt x="0" y="1580"/>
                    </a:cubicBezTo>
                    <a:cubicBezTo>
                      <a:pt x="189" y="1103"/>
                      <a:pt x="329" y="595"/>
                      <a:pt x="399" y="8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26" name="Freeform: Shape 1925">
                <a:extLst>
                  <a:ext uri="{FF2B5EF4-FFF2-40B4-BE49-F238E27FC236}">
                    <a16:creationId xmlns:a16="http://schemas.microsoft.com/office/drawing/2014/main" id="{BD17555B-8E6A-4505-94DD-805A19996A32}"/>
                  </a:ext>
                </a:extLst>
              </p:cNvPr>
              <p:cNvSpPr/>
              <p:nvPr/>
            </p:nvSpPr>
            <p:spPr>
              <a:xfrm>
                <a:off x="4453723" y="1796082"/>
                <a:ext cx="2590" cy="11241"/>
              </a:xfrm>
              <a:custGeom>
                <a:avLst/>
                <a:gdLst>
                  <a:gd name="connsiteX0" fmla="*/ 0 w 2590"/>
                  <a:gd name="connsiteY0" fmla="*/ 11242 h 11241"/>
                  <a:gd name="connsiteX1" fmla="*/ 2591 w 2590"/>
                  <a:gd name="connsiteY1" fmla="*/ 0 h 11241"/>
                  <a:gd name="connsiteX2" fmla="*/ 0 w 2590"/>
                  <a:gd name="connsiteY2" fmla="*/ 11242 h 11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90" h="11241">
                    <a:moveTo>
                      <a:pt x="0" y="11242"/>
                    </a:moveTo>
                    <a:cubicBezTo>
                      <a:pt x="1066" y="7541"/>
                      <a:pt x="1923" y="3790"/>
                      <a:pt x="2591" y="0"/>
                    </a:cubicBezTo>
                    <a:cubicBezTo>
                      <a:pt x="2023" y="3810"/>
                      <a:pt x="1156" y="7571"/>
                      <a:pt x="0" y="1124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27" name="Freeform: Shape 1926">
                <a:extLst>
                  <a:ext uri="{FF2B5EF4-FFF2-40B4-BE49-F238E27FC236}">
                    <a16:creationId xmlns:a16="http://schemas.microsoft.com/office/drawing/2014/main" id="{B8C49CC5-3132-4CDC-A17C-AF201D7E4E86}"/>
                  </a:ext>
                </a:extLst>
              </p:cNvPr>
              <p:cNvSpPr/>
              <p:nvPr/>
            </p:nvSpPr>
            <p:spPr>
              <a:xfrm>
                <a:off x="4456812" y="1706543"/>
                <a:ext cx="837" cy="15619"/>
              </a:xfrm>
              <a:custGeom>
                <a:avLst/>
                <a:gdLst>
                  <a:gd name="connsiteX0" fmla="*/ 0 w 837"/>
                  <a:gd name="connsiteY0" fmla="*/ 15619 h 15619"/>
                  <a:gd name="connsiteX1" fmla="*/ 0 w 837"/>
                  <a:gd name="connsiteY1" fmla="*/ 0 h 15619"/>
                  <a:gd name="connsiteX2" fmla="*/ 0 w 837"/>
                  <a:gd name="connsiteY2" fmla="*/ 15619 h 1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7" h="15619">
                    <a:moveTo>
                      <a:pt x="0" y="15619"/>
                    </a:moveTo>
                    <a:cubicBezTo>
                      <a:pt x="0" y="10247"/>
                      <a:pt x="0" y="5074"/>
                      <a:pt x="0" y="0"/>
                    </a:cubicBezTo>
                    <a:cubicBezTo>
                      <a:pt x="1116" y="5143"/>
                      <a:pt x="1116" y="10476"/>
                      <a:pt x="0" y="1561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28" name="Freeform: Shape 1927">
                <a:extLst>
                  <a:ext uri="{FF2B5EF4-FFF2-40B4-BE49-F238E27FC236}">
                    <a16:creationId xmlns:a16="http://schemas.microsoft.com/office/drawing/2014/main" id="{841316B4-7076-4B2E-90A8-E28C49BC9E1C}"/>
                  </a:ext>
                </a:extLst>
              </p:cNvPr>
              <p:cNvSpPr/>
              <p:nvPr/>
            </p:nvSpPr>
            <p:spPr>
              <a:xfrm>
                <a:off x="4456413" y="1757381"/>
                <a:ext cx="1929" cy="37407"/>
              </a:xfrm>
              <a:custGeom>
                <a:avLst/>
                <a:gdLst>
                  <a:gd name="connsiteX0" fmla="*/ 0 w 1929"/>
                  <a:gd name="connsiteY0" fmla="*/ 37407 h 37407"/>
                  <a:gd name="connsiteX1" fmla="*/ 1694 w 1929"/>
                  <a:gd name="connsiteY1" fmla="*/ 0 h 37407"/>
                  <a:gd name="connsiteX2" fmla="*/ 0 w 1929"/>
                  <a:gd name="connsiteY2" fmla="*/ 37407 h 37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29" h="37407">
                    <a:moveTo>
                      <a:pt x="0" y="37407"/>
                    </a:moveTo>
                    <a:cubicBezTo>
                      <a:pt x="1634" y="25011"/>
                      <a:pt x="2202" y="12496"/>
                      <a:pt x="1694" y="0"/>
                    </a:cubicBezTo>
                    <a:cubicBezTo>
                      <a:pt x="2302" y="12496"/>
                      <a:pt x="1734" y="25021"/>
                      <a:pt x="0" y="3740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597" name="Graphic 231">
              <a:extLst>
                <a:ext uri="{FF2B5EF4-FFF2-40B4-BE49-F238E27FC236}">
                  <a16:creationId xmlns:a16="http://schemas.microsoft.com/office/drawing/2014/main" id="{B92A554E-C06D-49E6-ACBB-5222B34D66D4}"/>
                </a:ext>
              </a:extLst>
            </p:cNvPr>
            <p:cNvGrpSpPr/>
            <p:nvPr/>
          </p:nvGrpSpPr>
          <p:grpSpPr>
            <a:xfrm>
              <a:off x="3786805" y="2212636"/>
              <a:ext cx="18932" cy="22484"/>
              <a:chOff x="3786805" y="2212636"/>
              <a:chExt cx="18932" cy="22484"/>
            </a:xfrm>
            <a:solidFill>
              <a:srgbClr val="ECE8E4"/>
            </a:solidFill>
          </p:grpSpPr>
          <p:sp>
            <p:nvSpPr>
              <p:cNvPr id="1918" name="Freeform: Shape 1917">
                <a:extLst>
                  <a:ext uri="{FF2B5EF4-FFF2-40B4-BE49-F238E27FC236}">
                    <a16:creationId xmlns:a16="http://schemas.microsoft.com/office/drawing/2014/main" id="{46EE9E43-45AF-433A-BC9D-0D0FC793A2B2}"/>
                  </a:ext>
                </a:extLst>
              </p:cNvPr>
              <p:cNvSpPr/>
              <p:nvPr/>
            </p:nvSpPr>
            <p:spPr>
              <a:xfrm>
                <a:off x="3786805" y="2212636"/>
                <a:ext cx="642" cy="596"/>
              </a:xfrm>
              <a:custGeom>
                <a:avLst/>
                <a:gdLst>
                  <a:gd name="connsiteX0" fmla="*/ 598 w 642"/>
                  <a:gd name="connsiteY0" fmla="*/ 0 h 596"/>
                  <a:gd name="connsiteX1" fmla="*/ 598 w 642"/>
                  <a:gd name="connsiteY1" fmla="*/ 597 h 596"/>
                  <a:gd name="connsiteX2" fmla="*/ 0 w 642"/>
                  <a:gd name="connsiteY2" fmla="*/ 0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2" h="596">
                    <a:moveTo>
                      <a:pt x="598" y="0"/>
                    </a:moveTo>
                    <a:cubicBezTo>
                      <a:pt x="657" y="199"/>
                      <a:pt x="657" y="398"/>
                      <a:pt x="598" y="59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19" name="Freeform: Shape 1918">
                <a:extLst>
                  <a:ext uri="{FF2B5EF4-FFF2-40B4-BE49-F238E27FC236}">
                    <a16:creationId xmlns:a16="http://schemas.microsoft.com/office/drawing/2014/main" id="{B22AB1D0-512F-4ADB-BC66-2D5FC4807221}"/>
                  </a:ext>
                </a:extLst>
              </p:cNvPr>
              <p:cNvSpPr/>
              <p:nvPr/>
            </p:nvSpPr>
            <p:spPr>
              <a:xfrm>
                <a:off x="3794079" y="2219500"/>
                <a:ext cx="3188" cy="7361"/>
              </a:xfrm>
              <a:custGeom>
                <a:avLst/>
                <a:gdLst>
                  <a:gd name="connsiteX0" fmla="*/ 3189 w 3188"/>
                  <a:gd name="connsiteY0" fmla="*/ 3084 h 7361"/>
                  <a:gd name="connsiteX1" fmla="*/ 3189 w 3188"/>
                  <a:gd name="connsiteY1" fmla="*/ 7362 h 7361"/>
                  <a:gd name="connsiteX2" fmla="*/ 0 w 3188"/>
                  <a:gd name="connsiteY2" fmla="*/ 0 h 7361"/>
                  <a:gd name="connsiteX3" fmla="*/ 3189 w 3188"/>
                  <a:gd name="connsiteY3" fmla="*/ 3084 h 7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88" h="7361">
                    <a:moveTo>
                      <a:pt x="3189" y="3084"/>
                    </a:moveTo>
                    <a:cubicBezTo>
                      <a:pt x="3189" y="4477"/>
                      <a:pt x="3189" y="5870"/>
                      <a:pt x="3189" y="7362"/>
                    </a:cubicBezTo>
                    <a:cubicBezTo>
                      <a:pt x="2711" y="4696"/>
                      <a:pt x="1615" y="2179"/>
                      <a:pt x="0" y="0"/>
                    </a:cubicBezTo>
                    <a:cubicBezTo>
                      <a:pt x="1097" y="497"/>
                      <a:pt x="2192" y="1592"/>
                      <a:pt x="3189" y="30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20" name="Freeform: Shape 1919">
                <a:extLst>
                  <a:ext uri="{FF2B5EF4-FFF2-40B4-BE49-F238E27FC236}">
                    <a16:creationId xmlns:a16="http://schemas.microsoft.com/office/drawing/2014/main" id="{D2366FE5-A46F-4C77-9299-DCFC15073E2F}"/>
                  </a:ext>
                </a:extLst>
              </p:cNvPr>
              <p:cNvSpPr/>
              <p:nvPr/>
            </p:nvSpPr>
            <p:spPr>
              <a:xfrm>
                <a:off x="3797267" y="2234523"/>
                <a:ext cx="9964" cy="596"/>
              </a:xfrm>
              <a:custGeom>
                <a:avLst/>
                <a:gdLst>
                  <a:gd name="connsiteX0" fmla="*/ 0 w 9964"/>
                  <a:gd name="connsiteY0" fmla="*/ 597 h 596"/>
                  <a:gd name="connsiteX1" fmla="*/ 0 w 9964"/>
                  <a:gd name="connsiteY1" fmla="*/ 0 h 596"/>
                  <a:gd name="connsiteX2" fmla="*/ 0 w 9964"/>
                  <a:gd name="connsiteY2" fmla="*/ 597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596">
                    <a:moveTo>
                      <a:pt x="0" y="597"/>
                    </a:moveTo>
                    <a:cubicBezTo>
                      <a:pt x="0" y="597"/>
                      <a:pt x="0" y="597"/>
                      <a:pt x="0" y="0"/>
                    </a:cubicBezTo>
                    <a:lnTo>
                      <a:pt x="0" y="597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21" name="Freeform: Shape 1920">
                <a:extLst>
                  <a:ext uri="{FF2B5EF4-FFF2-40B4-BE49-F238E27FC236}">
                    <a16:creationId xmlns:a16="http://schemas.microsoft.com/office/drawing/2014/main" id="{9F9C1397-F16A-4D29-9E97-0244B255276A}"/>
                  </a:ext>
                </a:extLst>
              </p:cNvPr>
              <p:cNvSpPr/>
              <p:nvPr/>
            </p:nvSpPr>
            <p:spPr>
              <a:xfrm>
                <a:off x="3799858" y="2226564"/>
                <a:ext cx="5879" cy="5869"/>
              </a:xfrm>
              <a:custGeom>
                <a:avLst/>
                <a:gdLst>
                  <a:gd name="connsiteX0" fmla="*/ 5879 w 5879"/>
                  <a:gd name="connsiteY0" fmla="*/ 0 h 5869"/>
                  <a:gd name="connsiteX1" fmla="*/ 0 w 5879"/>
                  <a:gd name="connsiteY1" fmla="*/ 5870 h 5869"/>
                  <a:gd name="connsiteX2" fmla="*/ 5879 w 5879"/>
                  <a:gd name="connsiteY2" fmla="*/ 0 h 5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79" h="5869">
                    <a:moveTo>
                      <a:pt x="5879" y="0"/>
                    </a:moveTo>
                    <a:lnTo>
                      <a:pt x="0" y="5870"/>
                    </a:lnTo>
                    <a:cubicBezTo>
                      <a:pt x="1804" y="3771"/>
                      <a:pt x="3777" y="1801"/>
                      <a:pt x="587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598" name="Freeform: Shape 1597">
              <a:extLst>
                <a:ext uri="{FF2B5EF4-FFF2-40B4-BE49-F238E27FC236}">
                  <a16:creationId xmlns:a16="http://schemas.microsoft.com/office/drawing/2014/main" id="{AB0E932E-5D11-4C67-9B51-9A218FC59C3C}"/>
                </a:ext>
              </a:extLst>
            </p:cNvPr>
            <p:cNvSpPr/>
            <p:nvPr/>
          </p:nvSpPr>
          <p:spPr>
            <a:xfrm>
              <a:off x="4453225" y="1702862"/>
              <a:ext cx="81508" cy="104163"/>
            </a:xfrm>
            <a:custGeom>
              <a:avLst/>
              <a:gdLst>
                <a:gd name="connsiteX0" fmla="*/ 77424 w 81508"/>
                <a:gd name="connsiteY0" fmla="*/ 54420 h 104163"/>
                <a:gd name="connsiteX1" fmla="*/ 78420 w 81508"/>
                <a:gd name="connsiteY1" fmla="*/ 56608 h 104163"/>
                <a:gd name="connsiteX2" fmla="*/ 81509 w 81508"/>
                <a:gd name="connsiteY2" fmla="*/ 58101 h 104163"/>
                <a:gd name="connsiteX3" fmla="*/ 77424 w 81508"/>
                <a:gd name="connsiteY3" fmla="*/ 54420 h 104163"/>
                <a:gd name="connsiteX4" fmla="*/ 68854 w 81508"/>
                <a:gd name="connsiteY4" fmla="*/ 43874 h 104163"/>
                <a:gd name="connsiteX5" fmla="*/ 73238 w 81508"/>
                <a:gd name="connsiteY5" fmla="*/ 48052 h 104163"/>
                <a:gd name="connsiteX6" fmla="*/ 71445 w 81508"/>
                <a:gd name="connsiteY6" fmla="*/ 44769 h 104163"/>
                <a:gd name="connsiteX7" fmla="*/ 68854 w 81508"/>
                <a:gd name="connsiteY7" fmla="*/ 43874 h 104163"/>
                <a:gd name="connsiteX8" fmla="*/ 55502 w 81508"/>
                <a:gd name="connsiteY8" fmla="*/ 0 h 104163"/>
                <a:gd name="connsiteX9" fmla="*/ 29495 w 81508"/>
                <a:gd name="connsiteY9" fmla="*/ 0 h 104163"/>
                <a:gd name="connsiteX10" fmla="*/ 55502 w 81508"/>
                <a:gd name="connsiteY10" fmla="*/ 0 h 104163"/>
                <a:gd name="connsiteX11" fmla="*/ 3189 w 81508"/>
                <a:gd name="connsiteY11" fmla="*/ 91926 h 104163"/>
                <a:gd name="connsiteX12" fmla="*/ 4882 w 81508"/>
                <a:gd name="connsiteY12" fmla="*/ 54519 h 104163"/>
                <a:gd name="connsiteX13" fmla="*/ 3189 w 81508"/>
                <a:gd name="connsiteY13" fmla="*/ 91926 h 104163"/>
                <a:gd name="connsiteX14" fmla="*/ 3189 w 81508"/>
                <a:gd name="connsiteY14" fmla="*/ 3383 h 104163"/>
                <a:gd name="connsiteX15" fmla="*/ 3189 w 81508"/>
                <a:gd name="connsiteY15" fmla="*/ 19002 h 104163"/>
                <a:gd name="connsiteX16" fmla="*/ 3687 w 81508"/>
                <a:gd name="connsiteY16" fmla="*/ 3681 h 104163"/>
                <a:gd name="connsiteX17" fmla="*/ 2591 w 81508"/>
                <a:gd name="connsiteY17" fmla="*/ 92921 h 104163"/>
                <a:gd name="connsiteX18" fmla="*/ 0 w 81508"/>
                <a:gd name="connsiteY18" fmla="*/ 104163 h 104163"/>
                <a:gd name="connsiteX19" fmla="*/ 3089 w 81508"/>
                <a:gd name="connsiteY19" fmla="*/ 93220 h 104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1508" h="104163">
                  <a:moveTo>
                    <a:pt x="77424" y="54420"/>
                  </a:moveTo>
                  <a:lnTo>
                    <a:pt x="78420" y="56608"/>
                  </a:lnTo>
                  <a:cubicBezTo>
                    <a:pt x="78420" y="57205"/>
                    <a:pt x="79915" y="57802"/>
                    <a:pt x="81509" y="58101"/>
                  </a:cubicBezTo>
                  <a:cubicBezTo>
                    <a:pt x="79895" y="57176"/>
                    <a:pt x="78510" y="55922"/>
                    <a:pt x="77424" y="54420"/>
                  </a:cubicBezTo>
                  <a:close/>
                  <a:moveTo>
                    <a:pt x="68854" y="43874"/>
                  </a:moveTo>
                  <a:cubicBezTo>
                    <a:pt x="70458" y="45108"/>
                    <a:pt x="71933" y="46510"/>
                    <a:pt x="73238" y="48052"/>
                  </a:cubicBezTo>
                  <a:cubicBezTo>
                    <a:pt x="72640" y="46859"/>
                    <a:pt x="72042" y="45764"/>
                    <a:pt x="71445" y="44769"/>
                  </a:cubicBezTo>
                  <a:cubicBezTo>
                    <a:pt x="70558" y="44551"/>
                    <a:pt x="69691" y="44252"/>
                    <a:pt x="68854" y="43874"/>
                  </a:cubicBezTo>
                  <a:close/>
                  <a:moveTo>
                    <a:pt x="55502" y="0"/>
                  </a:moveTo>
                  <a:cubicBezTo>
                    <a:pt x="47729" y="0"/>
                    <a:pt x="38662" y="0"/>
                    <a:pt x="29495" y="0"/>
                  </a:cubicBezTo>
                  <a:cubicBezTo>
                    <a:pt x="38164" y="696"/>
                    <a:pt x="46733" y="398"/>
                    <a:pt x="55502" y="0"/>
                  </a:cubicBezTo>
                  <a:close/>
                  <a:moveTo>
                    <a:pt x="3189" y="91926"/>
                  </a:moveTo>
                  <a:cubicBezTo>
                    <a:pt x="4923" y="79540"/>
                    <a:pt x="5491" y="67015"/>
                    <a:pt x="4882" y="54519"/>
                  </a:cubicBezTo>
                  <a:cubicBezTo>
                    <a:pt x="5391" y="67015"/>
                    <a:pt x="4823" y="79530"/>
                    <a:pt x="3189" y="91926"/>
                  </a:cubicBezTo>
                  <a:close/>
                  <a:moveTo>
                    <a:pt x="3189" y="3383"/>
                  </a:moveTo>
                  <a:cubicBezTo>
                    <a:pt x="3189" y="8456"/>
                    <a:pt x="3189" y="13331"/>
                    <a:pt x="3189" y="19002"/>
                  </a:cubicBezTo>
                  <a:cubicBezTo>
                    <a:pt x="4434" y="13988"/>
                    <a:pt x="4603" y="8765"/>
                    <a:pt x="3687" y="3681"/>
                  </a:cubicBezTo>
                  <a:close/>
                  <a:moveTo>
                    <a:pt x="2591" y="92921"/>
                  </a:moveTo>
                  <a:cubicBezTo>
                    <a:pt x="1923" y="96712"/>
                    <a:pt x="1066" y="100462"/>
                    <a:pt x="0" y="104163"/>
                  </a:cubicBezTo>
                  <a:cubicBezTo>
                    <a:pt x="1315" y="100602"/>
                    <a:pt x="2341" y="96941"/>
                    <a:pt x="3089" y="9322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599" name="Graphic 231">
              <a:extLst>
                <a:ext uri="{FF2B5EF4-FFF2-40B4-BE49-F238E27FC236}">
                  <a16:creationId xmlns:a16="http://schemas.microsoft.com/office/drawing/2014/main" id="{941E115A-8449-42A9-BD34-D054D4F12873}"/>
                </a:ext>
              </a:extLst>
            </p:cNvPr>
            <p:cNvGrpSpPr/>
            <p:nvPr/>
          </p:nvGrpSpPr>
          <p:grpSpPr>
            <a:xfrm>
              <a:off x="2368870" y="2828960"/>
              <a:ext cx="427192" cy="690541"/>
              <a:chOff x="2368870" y="2828960"/>
              <a:chExt cx="427192" cy="690541"/>
            </a:xfrm>
            <a:solidFill>
              <a:srgbClr val="ECE8E4"/>
            </a:solidFill>
          </p:grpSpPr>
          <p:sp>
            <p:nvSpPr>
              <p:cNvPr id="1904" name="Freeform: Shape 1903">
                <a:extLst>
                  <a:ext uri="{FF2B5EF4-FFF2-40B4-BE49-F238E27FC236}">
                    <a16:creationId xmlns:a16="http://schemas.microsoft.com/office/drawing/2014/main" id="{518CD827-B67C-446D-96D1-094CAB0C7780}"/>
                  </a:ext>
                </a:extLst>
              </p:cNvPr>
              <p:cNvSpPr/>
              <p:nvPr/>
            </p:nvSpPr>
            <p:spPr>
              <a:xfrm>
                <a:off x="2368870" y="3507365"/>
                <a:ext cx="291" cy="12137"/>
              </a:xfrm>
              <a:custGeom>
                <a:avLst/>
                <a:gdLst>
                  <a:gd name="connsiteX0" fmla="*/ 0 w 291"/>
                  <a:gd name="connsiteY0" fmla="*/ 0 h 12137"/>
                  <a:gd name="connsiteX1" fmla="*/ 0 w 291"/>
                  <a:gd name="connsiteY1" fmla="*/ 12137 h 12137"/>
                  <a:gd name="connsiteX2" fmla="*/ 0 w 291"/>
                  <a:gd name="connsiteY2" fmla="*/ 0 h 12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1" h="12137">
                    <a:moveTo>
                      <a:pt x="0" y="0"/>
                    </a:moveTo>
                    <a:cubicBezTo>
                      <a:pt x="389" y="4039"/>
                      <a:pt x="389" y="8098"/>
                      <a:pt x="0" y="12137"/>
                    </a:cubicBezTo>
                    <a:cubicBezTo>
                      <a:pt x="299" y="8556"/>
                      <a:pt x="199" y="407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05" name="Freeform: Shape 1904">
                <a:extLst>
                  <a:ext uri="{FF2B5EF4-FFF2-40B4-BE49-F238E27FC236}">
                    <a16:creationId xmlns:a16="http://schemas.microsoft.com/office/drawing/2014/main" id="{B0D66B71-F1C9-491E-B8AA-53A2027DEFC8}"/>
                  </a:ext>
                </a:extLst>
              </p:cNvPr>
              <p:cNvSpPr/>
              <p:nvPr/>
            </p:nvSpPr>
            <p:spPr>
              <a:xfrm>
                <a:off x="2385212" y="2998188"/>
                <a:ext cx="5181" cy="48052"/>
              </a:xfrm>
              <a:custGeom>
                <a:avLst/>
                <a:gdLst>
                  <a:gd name="connsiteX0" fmla="*/ 2292 w 5181"/>
                  <a:gd name="connsiteY0" fmla="*/ 22882 h 48052"/>
                  <a:gd name="connsiteX1" fmla="*/ 5181 w 5181"/>
                  <a:gd name="connsiteY1" fmla="*/ 0 h 48052"/>
                  <a:gd name="connsiteX2" fmla="*/ 0 w 5181"/>
                  <a:gd name="connsiteY2" fmla="*/ 48053 h 48052"/>
                  <a:gd name="connsiteX3" fmla="*/ 2292 w 5181"/>
                  <a:gd name="connsiteY3" fmla="*/ 22882 h 48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81" h="48052">
                    <a:moveTo>
                      <a:pt x="2292" y="22882"/>
                    </a:moveTo>
                    <a:cubicBezTo>
                      <a:pt x="3288" y="15520"/>
                      <a:pt x="4285" y="7959"/>
                      <a:pt x="5181" y="0"/>
                    </a:cubicBezTo>
                    <a:cubicBezTo>
                      <a:pt x="3487" y="16415"/>
                      <a:pt x="1694" y="32533"/>
                      <a:pt x="0" y="48053"/>
                    </a:cubicBezTo>
                    <a:cubicBezTo>
                      <a:pt x="598" y="40193"/>
                      <a:pt x="1395" y="31140"/>
                      <a:pt x="2292" y="2288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06" name="Freeform: Shape 1905">
                <a:extLst>
                  <a:ext uri="{FF2B5EF4-FFF2-40B4-BE49-F238E27FC236}">
                    <a16:creationId xmlns:a16="http://schemas.microsoft.com/office/drawing/2014/main" id="{BA9E28F3-3EAC-46D9-9AA8-75ADB2A6E59D}"/>
                  </a:ext>
                </a:extLst>
              </p:cNvPr>
              <p:cNvSpPr/>
              <p:nvPr/>
            </p:nvSpPr>
            <p:spPr>
              <a:xfrm>
                <a:off x="2393382" y="2828960"/>
                <a:ext cx="896" cy="2785"/>
              </a:xfrm>
              <a:custGeom>
                <a:avLst/>
                <a:gdLst>
                  <a:gd name="connsiteX0" fmla="*/ 896 w 896"/>
                  <a:gd name="connsiteY0" fmla="*/ 1990 h 2785"/>
                  <a:gd name="connsiteX1" fmla="*/ 896 w 896"/>
                  <a:gd name="connsiteY1" fmla="*/ 2786 h 2785"/>
                  <a:gd name="connsiteX2" fmla="*/ 896 w 896"/>
                  <a:gd name="connsiteY2" fmla="*/ 1990 h 2785"/>
                  <a:gd name="connsiteX3" fmla="*/ 0 w 896"/>
                  <a:gd name="connsiteY3" fmla="*/ 0 h 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6" h="2785">
                    <a:moveTo>
                      <a:pt x="896" y="1990"/>
                    </a:moveTo>
                    <a:lnTo>
                      <a:pt x="896" y="2786"/>
                    </a:lnTo>
                    <a:cubicBezTo>
                      <a:pt x="867" y="2517"/>
                      <a:pt x="867" y="2258"/>
                      <a:pt x="896" y="199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07" name="Freeform: Shape 1906">
                <a:extLst>
                  <a:ext uri="{FF2B5EF4-FFF2-40B4-BE49-F238E27FC236}">
                    <a16:creationId xmlns:a16="http://schemas.microsoft.com/office/drawing/2014/main" id="{0F593522-DD41-4597-AE5D-4B7C5C6AAB03}"/>
                  </a:ext>
                </a:extLst>
              </p:cNvPr>
              <p:cNvSpPr/>
              <p:nvPr/>
            </p:nvSpPr>
            <p:spPr>
              <a:xfrm>
                <a:off x="2401454" y="2886265"/>
                <a:ext cx="896" cy="7063"/>
              </a:xfrm>
              <a:custGeom>
                <a:avLst/>
                <a:gdLst>
                  <a:gd name="connsiteX0" fmla="*/ 0 w 896"/>
                  <a:gd name="connsiteY0" fmla="*/ 7064 h 7063"/>
                  <a:gd name="connsiteX1" fmla="*/ 896 w 896"/>
                  <a:gd name="connsiteY1" fmla="*/ 0 h 7063"/>
                  <a:gd name="connsiteX2" fmla="*/ 0 w 896"/>
                  <a:gd name="connsiteY2" fmla="*/ 7064 h 7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" h="7063">
                    <a:moveTo>
                      <a:pt x="0" y="7064"/>
                    </a:moveTo>
                    <a:lnTo>
                      <a:pt x="896" y="0"/>
                    </a:lnTo>
                    <a:cubicBezTo>
                      <a:pt x="598" y="2885"/>
                      <a:pt x="299" y="5472"/>
                      <a:pt x="0" y="706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08" name="Freeform: Shape 1907">
                <a:extLst>
                  <a:ext uri="{FF2B5EF4-FFF2-40B4-BE49-F238E27FC236}">
                    <a16:creationId xmlns:a16="http://schemas.microsoft.com/office/drawing/2014/main" id="{26689A54-8924-4C1B-B359-7A83352300B1}"/>
                  </a:ext>
                </a:extLst>
              </p:cNvPr>
              <p:cNvSpPr/>
              <p:nvPr/>
            </p:nvSpPr>
            <p:spPr>
              <a:xfrm>
                <a:off x="2400457" y="2842292"/>
                <a:ext cx="5779" cy="4675"/>
              </a:xfrm>
              <a:custGeom>
                <a:avLst/>
                <a:gdLst>
                  <a:gd name="connsiteX0" fmla="*/ 0 w 5779"/>
                  <a:gd name="connsiteY0" fmla="*/ 0 h 4675"/>
                  <a:gd name="connsiteX1" fmla="*/ 5780 w 5779"/>
                  <a:gd name="connsiteY1" fmla="*/ 4676 h 4675"/>
                  <a:gd name="connsiteX2" fmla="*/ 0 w 5779"/>
                  <a:gd name="connsiteY2" fmla="*/ 0 h 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79" h="4675">
                    <a:moveTo>
                      <a:pt x="0" y="0"/>
                    </a:moveTo>
                    <a:cubicBezTo>
                      <a:pt x="1654" y="1870"/>
                      <a:pt x="3607" y="3452"/>
                      <a:pt x="5780" y="4676"/>
                    </a:cubicBezTo>
                    <a:cubicBezTo>
                      <a:pt x="3457" y="3691"/>
                      <a:pt x="1455" y="206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09" name="Freeform: Shape 1908">
                <a:extLst>
                  <a:ext uri="{FF2B5EF4-FFF2-40B4-BE49-F238E27FC236}">
                    <a16:creationId xmlns:a16="http://schemas.microsoft.com/office/drawing/2014/main" id="{A7A25F6B-9F53-4EF7-A783-26746890892C}"/>
                  </a:ext>
                </a:extLst>
              </p:cNvPr>
              <p:cNvSpPr/>
              <p:nvPr/>
            </p:nvSpPr>
            <p:spPr>
              <a:xfrm>
                <a:off x="2466820" y="3438420"/>
                <a:ext cx="2191" cy="6367"/>
              </a:xfrm>
              <a:custGeom>
                <a:avLst/>
                <a:gdLst>
                  <a:gd name="connsiteX0" fmla="*/ 2192 w 2191"/>
                  <a:gd name="connsiteY0" fmla="*/ 0 h 6367"/>
                  <a:gd name="connsiteX1" fmla="*/ 0 w 2191"/>
                  <a:gd name="connsiteY1" fmla="*/ 6367 h 6367"/>
                  <a:gd name="connsiteX2" fmla="*/ 2192 w 2191"/>
                  <a:gd name="connsiteY2" fmla="*/ 0 h 6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91" h="6367">
                    <a:moveTo>
                      <a:pt x="2192" y="0"/>
                    </a:moveTo>
                    <a:cubicBezTo>
                      <a:pt x="1594" y="2169"/>
                      <a:pt x="867" y="4298"/>
                      <a:pt x="0" y="6367"/>
                    </a:cubicBezTo>
                    <a:cubicBezTo>
                      <a:pt x="229" y="4109"/>
                      <a:pt x="976" y="1920"/>
                      <a:pt x="219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10" name="Freeform: Shape 1909">
                <a:extLst>
                  <a:ext uri="{FF2B5EF4-FFF2-40B4-BE49-F238E27FC236}">
                    <a16:creationId xmlns:a16="http://schemas.microsoft.com/office/drawing/2014/main" id="{EF9A9155-0C15-4E03-807F-699641CFE136}"/>
                  </a:ext>
                </a:extLst>
              </p:cNvPr>
              <p:cNvSpPr/>
              <p:nvPr/>
            </p:nvSpPr>
            <p:spPr>
              <a:xfrm>
                <a:off x="2469012" y="3429864"/>
                <a:ext cx="740" cy="4675"/>
              </a:xfrm>
              <a:custGeom>
                <a:avLst/>
                <a:gdLst>
                  <a:gd name="connsiteX0" fmla="*/ 698 w 740"/>
                  <a:gd name="connsiteY0" fmla="*/ 4676 h 4675"/>
                  <a:gd name="connsiteX1" fmla="*/ 0 w 740"/>
                  <a:gd name="connsiteY1" fmla="*/ 0 h 4675"/>
                  <a:gd name="connsiteX2" fmla="*/ 698 w 740"/>
                  <a:gd name="connsiteY2" fmla="*/ 4676 h 4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0" h="4675">
                    <a:moveTo>
                      <a:pt x="698" y="4676"/>
                    </a:moveTo>
                    <a:lnTo>
                      <a:pt x="0" y="0"/>
                    </a:lnTo>
                    <a:cubicBezTo>
                      <a:pt x="608" y="1482"/>
                      <a:pt x="847" y="3084"/>
                      <a:pt x="698" y="46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11" name="Freeform: Shape 1910">
                <a:extLst>
                  <a:ext uri="{FF2B5EF4-FFF2-40B4-BE49-F238E27FC236}">
                    <a16:creationId xmlns:a16="http://schemas.microsoft.com/office/drawing/2014/main" id="{64B2FCF4-F45C-43A5-9D7F-E65E0761B7C7}"/>
                  </a:ext>
                </a:extLst>
              </p:cNvPr>
              <p:cNvSpPr/>
              <p:nvPr/>
            </p:nvSpPr>
            <p:spPr>
              <a:xfrm>
                <a:off x="2468514" y="3453542"/>
                <a:ext cx="14049" cy="16017"/>
              </a:xfrm>
              <a:custGeom>
                <a:avLst/>
                <a:gdLst>
                  <a:gd name="connsiteX0" fmla="*/ 0 w 14049"/>
                  <a:gd name="connsiteY0" fmla="*/ 0 h 16017"/>
                  <a:gd name="connsiteX1" fmla="*/ 14050 w 14049"/>
                  <a:gd name="connsiteY1" fmla="*/ 16017 h 16017"/>
                  <a:gd name="connsiteX2" fmla="*/ 0 w 14049"/>
                  <a:gd name="connsiteY2" fmla="*/ 0 h 16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49" h="16017">
                    <a:moveTo>
                      <a:pt x="0" y="0"/>
                    </a:moveTo>
                    <a:cubicBezTo>
                      <a:pt x="4275" y="5691"/>
                      <a:pt x="8968" y="11043"/>
                      <a:pt x="14050" y="16017"/>
                    </a:cubicBezTo>
                    <a:cubicBezTo>
                      <a:pt x="8321" y="11690"/>
                      <a:pt x="3548" y="623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12" name="Freeform: Shape 1911">
                <a:extLst>
                  <a:ext uri="{FF2B5EF4-FFF2-40B4-BE49-F238E27FC236}">
                    <a16:creationId xmlns:a16="http://schemas.microsoft.com/office/drawing/2014/main" id="{D0D6C15D-C736-4F55-8B3A-043D0CBAB2CE}"/>
                  </a:ext>
                </a:extLst>
              </p:cNvPr>
              <p:cNvSpPr/>
              <p:nvPr/>
            </p:nvSpPr>
            <p:spPr>
              <a:xfrm>
                <a:off x="2616685" y="2831514"/>
                <a:ext cx="92170" cy="928"/>
              </a:xfrm>
              <a:custGeom>
                <a:avLst/>
                <a:gdLst>
                  <a:gd name="connsiteX0" fmla="*/ 92171 w 92170"/>
                  <a:gd name="connsiteY0" fmla="*/ 929 h 928"/>
                  <a:gd name="connsiteX1" fmla="*/ 0 w 92170"/>
                  <a:gd name="connsiteY1" fmla="*/ 929 h 928"/>
                  <a:gd name="connsiteX2" fmla="*/ 14747 w 92170"/>
                  <a:gd name="connsiteY2" fmla="*/ 929 h 928"/>
                  <a:gd name="connsiteX3" fmla="*/ 92171 w 92170"/>
                  <a:gd name="connsiteY3" fmla="*/ 929 h 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170" h="928">
                    <a:moveTo>
                      <a:pt x="92171" y="929"/>
                    </a:moveTo>
                    <a:cubicBezTo>
                      <a:pt x="61480" y="929"/>
                      <a:pt x="30760" y="929"/>
                      <a:pt x="0" y="929"/>
                    </a:cubicBezTo>
                    <a:lnTo>
                      <a:pt x="14747" y="929"/>
                    </a:lnTo>
                    <a:cubicBezTo>
                      <a:pt x="57395" y="929"/>
                      <a:pt x="79715" y="-1161"/>
                      <a:pt x="92171" y="92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13" name="Freeform: Shape 1912">
                <a:extLst>
                  <a:ext uri="{FF2B5EF4-FFF2-40B4-BE49-F238E27FC236}">
                    <a16:creationId xmlns:a16="http://schemas.microsoft.com/office/drawing/2014/main" id="{E1210E08-CC19-42EB-A5D4-EAAFB7878045}"/>
                  </a:ext>
                </a:extLst>
              </p:cNvPr>
              <p:cNvSpPr/>
              <p:nvPr/>
            </p:nvSpPr>
            <p:spPr>
              <a:xfrm>
                <a:off x="2721510" y="2840899"/>
                <a:ext cx="5081" cy="29050"/>
              </a:xfrm>
              <a:custGeom>
                <a:avLst/>
                <a:gdLst>
                  <a:gd name="connsiteX0" fmla="*/ 0 w 5081"/>
                  <a:gd name="connsiteY0" fmla="*/ 0 h 29050"/>
                  <a:gd name="connsiteX1" fmla="*/ 5082 w 5081"/>
                  <a:gd name="connsiteY1" fmla="*/ 29050 h 29050"/>
                  <a:gd name="connsiteX2" fmla="*/ 0 w 5081"/>
                  <a:gd name="connsiteY2" fmla="*/ 0 h 2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1" h="29050">
                    <a:moveTo>
                      <a:pt x="0" y="0"/>
                    </a:moveTo>
                    <a:cubicBezTo>
                      <a:pt x="3099" y="9382"/>
                      <a:pt x="4813" y="19171"/>
                      <a:pt x="5082" y="29050"/>
                    </a:cubicBezTo>
                    <a:cubicBezTo>
                      <a:pt x="3388" y="19301"/>
                      <a:pt x="1794" y="9551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14" name="Freeform: Shape 1913">
                <a:extLst>
                  <a:ext uri="{FF2B5EF4-FFF2-40B4-BE49-F238E27FC236}">
                    <a16:creationId xmlns:a16="http://schemas.microsoft.com/office/drawing/2014/main" id="{D6716E23-6E4C-4263-8153-C49E84A7754D}"/>
                  </a:ext>
                </a:extLst>
              </p:cNvPr>
              <p:cNvSpPr/>
              <p:nvPr/>
            </p:nvSpPr>
            <p:spPr>
              <a:xfrm>
                <a:off x="2782341" y="3389174"/>
                <a:ext cx="1447" cy="9053"/>
              </a:xfrm>
              <a:custGeom>
                <a:avLst/>
                <a:gdLst>
                  <a:gd name="connsiteX0" fmla="*/ 550 w 1447"/>
                  <a:gd name="connsiteY0" fmla="*/ 1890 h 9053"/>
                  <a:gd name="connsiteX1" fmla="*/ 1447 w 1447"/>
                  <a:gd name="connsiteY1" fmla="*/ 0 h 9053"/>
                  <a:gd name="connsiteX2" fmla="*/ 351 w 1447"/>
                  <a:gd name="connsiteY2" fmla="*/ 9053 h 9053"/>
                  <a:gd name="connsiteX3" fmla="*/ 550 w 1447"/>
                  <a:gd name="connsiteY3" fmla="*/ 1890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7" h="9053">
                    <a:moveTo>
                      <a:pt x="550" y="1890"/>
                    </a:moveTo>
                    <a:cubicBezTo>
                      <a:pt x="948" y="1313"/>
                      <a:pt x="1248" y="676"/>
                      <a:pt x="1447" y="0"/>
                    </a:cubicBezTo>
                    <a:cubicBezTo>
                      <a:pt x="899" y="2995"/>
                      <a:pt x="530" y="6019"/>
                      <a:pt x="351" y="9053"/>
                    </a:cubicBezTo>
                    <a:cubicBezTo>
                      <a:pt x="-177" y="6686"/>
                      <a:pt x="-107" y="4228"/>
                      <a:pt x="550" y="189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15" name="Freeform: Shape 1914">
                <a:extLst>
                  <a:ext uri="{FF2B5EF4-FFF2-40B4-BE49-F238E27FC236}">
                    <a16:creationId xmlns:a16="http://schemas.microsoft.com/office/drawing/2014/main" id="{1BBC3C36-6426-42A4-84C0-B3F2A3F9D934}"/>
                  </a:ext>
                </a:extLst>
              </p:cNvPr>
              <p:cNvSpPr/>
              <p:nvPr/>
            </p:nvSpPr>
            <p:spPr>
              <a:xfrm>
                <a:off x="2787375" y="3357238"/>
                <a:ext cx="1395" cy="5471"/>
              </a:xfrm>
              <a:custGeom>
                <a:avLst/>
                <a:gdLst>
                  <a:gd name="connsiteX0" fmla="*/ 0 w 1395"/>
                  <a:gd name="connsiteY0" fmla="*/ 5472 h 5471"/>
                  <a:gd name="connsiteX1" fmla="*/ 0 w 1395"/>
                  <a:gd name="connsiteY1" fmla="*/ 2985 h 5471"/>
                  <a:gd name="connsiteX2" fmla="*/ 1395 w 1395"/>
                  <a:gd name="connsiteY2" fmla="*/ 0 h 5471"/>
                  <a:gd name="connsiteX3" fmla="*/ 0 w 1395"/>
                  <a:gd name="connsiteY3" fmla="*/ 5472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5" h="5471">
                    <a:moveTo>
                      <a:pt x="0" y="5472"/>
                    </a:moveTo>
                    <a:cubicBezTo>
                      <a:pt x="159" y="4646"/>
                      <a:pt x="159" y="3811"/>
                      <a:pt x="0" y="2985"/>
                    </a:cubicBezTo>
                    <a:lnTo>
                      <a:pt x="1395" y="0"/>
                    </a:lnTo>
                    <a:cubicBezTo>
                      <a:pt x="668" y="1751"/>
                      <a:pt x="199" y="3592"/>
                      <a:pt x="0" y="547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16" name="Freeform: Shape 1915">
                <a:extLst>
                  <a:ext uri="{FF2B5EF4-FFF2-40B4-BE49-F238E27FC236}">
                    <a16:creationId xmlns:a16="http://schemas.microsoft.com/office/drawing/2014/main" id="{CAE28153-E55F-4FF7-97A3-E77C47BDD2D4}"/>
                  </a:ext>
                </a:extLst>
              </p:cNvPr>
              <p:cNvSpPr/>
              <p:nvPr/>
            </p:nvSpPr>
            <p:spPr>
              <a:xfrm>
                <a:off x="2788870" y="3342614"/>
                <a:ext cx="1294" cy="5073"/>
              </a:xfrm>
              <a:custGeom>
                <a:avLst/>
                <a:gdLst>
                  <a:gd name="connsiteX0" fmla="*/ 1295 w 1294"/>
                  <a:gd name="connsiteY0" fmla="*/ 5074 h 5073"/>
                  <a:gd name="connsiteX1" fmla="*/ 0 w 1294"/>
                  <a:gd name="connsiteY1" fmla="*/ 2686 h 5073"/>
                  <a:gd name="connsiteX2" fmla="*/ 0 w 1294"/>
                  <a:gd name="connsiteY2" fmla="*/ 0 h 5073"/>
                  <a:gd name="connsiteX3" fmla="*/ 1295 w 1294"/>
                  <a:gd name="connsiteY3" fmla="*/ 5074 h 5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4" h="5073">
                    <a:moveTo>
                      <a:pt x="1295" y="5074"/>
                    </a:moveTo>
                    <a:cubicBezTo>
                      <a:pt x="1046" y="4189"/>
                      <a:pt x="598" y="3383"/>
                      <a:pt x="0" y="2686"/>
                    </a:cubicBezTo>
                    <a:cubicBezTo>
                      <a:pt x="209" y="1801"/>
                      <a:pt x="209" y="886"/>
                      <a:pt x="0" y="0"/>
                    </a:cubicBezTo>
                    <a:cubicBezTo>
                      <a:pt x="657" y="1622"/>
                      <a:pt x="1096" y="3333"/>
                      <a:pt x="1295" y="50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17" name="Freeform: Shape 1916">
                <a:extLst>
                  <a:ext uri="{FF2B5EF4-FFF2-40B4-BE49-F238E27FC236}">
                    <a16:creationId xmlns:a16="http://schemas.microsoft.com/office/drawing/2014/main" id="{30FDE481-0ED8-4E66-8517-090C91A5D9E4}"/>
                  </a:ext>
                </a:extLst>
              </p:cNvPr>
              <p:cNvSpPr/>
              <p:nvPr/>
            </p:nvSpPr>
            <p:spPr>
              <a:xfrm>
                <a:off x="2794948" y="3421806"/>
                <a:ext cx="1114" cy="8058"/>
              </a:xfrm>
              <a:custGeom>
                <a:avLst/>
                <a:gdLst>
                  <a:gd name="connsiteX0" fmla="*/ 1096 w 1114"/>
                  <a:gd name="connsiteY0" fmla="*/ 8058 h 8058"/>
                  <a:gd name="connsiteX1" fmla="*/ 1096 w 1114"/>
                  <a:gd name="connsiteY1" fmla="*/ 8058 h 8058"/>
                  <a:gd name="connsiteX2" fmla="*/ 0 w 1114"/>
                  <a:gd name="connsiteY2" fmla="*/ 0 h 8058"/>
                  <a:gd name="connsiteX3" fmla="*/ 1096 w 1114"/>
                  <a:gd name="connsiteY3" fmla="*/ 8058 h 8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14" h="8058">
                    <a:moveTo>
                      <a:pt x="1096" y="8058"/>
                    </a:moveTo>
                    <a:lnTo>
                      <a:pt x="1096" y="8058"/>
                    </a:lnTo>
                    <a:cubicBezTo>
                      <a:pt x="887" y="5352"/>
                      <a:pt x="528" y="2666"/>
                      <a:pt x="0" y="0"/>
                    </a:cubicBezTo>
                    <a:cubicBezTo>
                      <a:pt x="837" y="2596"/>
                      <a:pt x="1205" y="5332"/>
                      <a:pt x="1096" y="805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600" name="Graphic 231">
              <a:extLst>
                <a:ext uri="{FF2B5EF4-FFF2-40B4-BE49-F238E27FC236}">
                  <a16:creationId xmlns:a16="http://schemas.microsoft.com/office/drawing/2014/main" id="{D56AA56B-E054-46F6-AD1A-8A37A5B6B2AE}"/>
                </a:ext>
              </a:extLst>
            </p:cNvPr>
            <p:cNvGrpSpPr/>
            <p:nvPr/>
          </p:nvGrpSpPr>
          <p:grpSpPr>
            <a:xfrm>
              <a:off x="3003105" y="2799611"/>
              <a:ext cx="602547" cy="476644"/>
              <a:chOff x="3003105" y="2799611"/>
              <a:chExt cx="602547" cy="476644"/>
            </a:xfrm>
            <a:solidFill>
              <a:srgbClr val="ECE8E4"/>
            </a:solidFill>
          </p:grpSpPr>
          <p:sp>
            <p:nvSpPr>
              <p:cNvPr id="1872" name="Freeform: Shape 1871">
                <a:extLst>
                  <a:ext uri="{FF2B5EF4-FFF2-40B4-BE49-F238E27FC236}">
                    <a16:creationId xmlns:a16="http://schemas.microsoft.com/office/drawing/2014/main" id="{EE9AC17F-0088-48D9-9C43-E0D46B232818}"/>
                  </a:ext>
                </a:extLst>
              </p:cNvPr>
              <p:cNvSpPr/>
              <p:nvPr/>
            </p:nvSpPr>
            <p:spPr>
              <a:xfrm>
                <a:off x="3003105" y="2871839"/>
                <a:ext cx="1294" cy="3780"/>
              </a:xfrm>
              <a:custGeom>
                <a:avLst/>
                <a:gdLst>
                  <a:gd name="connsiteX0" fmla="*/ 0 w 1294"/>
                  <a:gd name="connsiteY0" fmla="*/ 0 h 3780"/>
                  <a:gd name="connsiteX1" fmla="*/ 1295 w 1294"/>
                  <a:gd name="connsiteY1" fmla="*/ 3781 h 3780"/>
                  <a:gd name="connsiteX2" fmla="*/ 0 w 1294"/>
                  <a:gd name="connsiteY2" fmla="*/ 0 h 3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4" h="3780">
                    <a:moveTo>
                      <a:pt x="0" y="0"/>
                    </a:moveTo>
                    <a:cubicBezTo>
                      <a:pt x="628" y="1184"/>
                      <a:pt x="1066" y="2457"/>
                      <a:pt x="1295" y="3781"/>
                    </a:cubicBezTo>
                    <a:cubicBezTo>
                      <a:pt x="678" y="2596"/>
                      <a:pt x="239" y="132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73" name="Freeform: Shape 1872">
                <a:extLst>
                  <a:ext uri="{FF2B5EF4-FFF2-40B4-BE49-F238E27FC236}">
                    <a16:creationId xmlns:a16="http://schemas.microsoft.com/office/drawing/2014/main" id="{825B8D8F-D571-4221-80F4-63EA418D7B58}"/>
                  </a:ext>
                </a:extLst>
              </p:cNvPr>
              <p:cNvSpPr/>
              <p:nvPr/>
            </p:nvSpPr>
            <p:spPr>
              <a:xfrm>
                <a:off x="3007588" y="2863980"/>
                <a:ext cx="388" cy="3084"/>
              </a:xfrm>
              <a:custGeom>
                <a:avLst/>
                <a:gdLst>
                  <a:gd name="connsiteX0" fmla="*/ 0 w 388"/>
                  <a:gd name="connsiteY0" fmla="*/ 0 h 3084"/>
                  <a:gd name="connsiteX1" fmla="*/ 0 w 388"/>
                  <a:gd name="connsiteY1" fmla="*/ 3084 h 3084"/>
                  <a:gd name="connsiteX2" fmla="*/ 0 w 388"/>
                  <a:gd name="connsiteY2" fmla="*/ 0 h 3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8" h="3084">
                    <a:moveTo>
                      <a:pt x="0" y="0"/>
                    </a:moveTo>
                    <a:cubicBezTo>
                      <a:pt x="518" y="965"/>
                      <a:pt x="518" y="2119"/>
                      <a:pt x="0" y="3084"/>
                    </a:cubicBezTo>
                    <a:cubicBezTo>
                      <a:pt x="359" y="2089"/>
                      <a:pt x="359" y="99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74" name="Freeform: Shape 1873">
                <a:extLst>
                  <a:ext uri="{FF2B5EF4-FFF2-40B4-BE49-F238E27FC236}">
                    <a16:creationId xmlns:a16="http://schemas.microsoft.com/office/drawing/2014/main" id="{4C493239-6B7F-4B79-A5B2-918EE21F2C09}"/>
                  </a:ext>
                </a:extLst>
              </p:cNvPr>
              <p:cNvSpPr/>
              <p:nvPr/>
            </p:nvSpPr>
            <p:spPr>
              <a:xfrm>
                <a:off x="3012869" y="2847962"/>
                <a:ext cx="9964" cy="8357"/>
              </a:xfrm>
              <a:custGeom>
                <a:avLst/>
                <a:gdLst>
                  <a:gd name="connsiteX0" fmla="*/ 9964 w 9964"/>
                  <a:gd name="connsiteY0" fmla="*/ 0 h 8357"/>
                  <a:gd name="connsiteX1" fmla="*/ 0 w 9964"/>
                  <a:gd name="connsiteY1" fmla="*/ 8357 h 8357"/>
                  <a:gd name="connsiteX2" fmla="*/ 9964 w 9964"/>
                  <a:gd name="connsiteY2" fmla="*/ 0 h 8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8357">
                    <a:moveTo>
                      <a:pt x="9964" y="0"/>
                    </a:moveTo>
                    <a:cubicBezTo>
                      <a:pt x="6875" y="2885"/>
                      <a:pt x="3487" y="5472"/>
                      <a:pt x="0" y="8357"/>
                    </a:cubicBezTo>
                    <a:cubicBezTo>
                      <a:pt x="2910" y="5124"/>
                      <a:pt x="6267" y="2308"/>
                      <a:pt x="996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75" name="Freeform: Shape 1874">
                <a:extLst>
                  <a:ext uri="{FF2B5EF4-FFF2-40B4-BE49-F238E27FC236}">
                    <a16:creationId xmlns:a16="http://schemas.microsoft.com/office/drawing/2014/main" id="{8F8E4ED3-FEA9-487E-9449-EA93DF941BD0}"/>
                  </a:ext>
                </a:extLst>
              </p:cNvPr>
              <p:cNvSpPr/>
              <p:nvPr/>
            </p:nvSpPr>
            <p:spPr>
              <a:xfrm>
                <a:off x="3008186" y="2881092"/>
                <a:ext cx="12356" cy="8555"/>
              </a:xfrm>
              <a:custGeom>
                <a:avLst/>
                <a:gdLst>
                  <a:gd name="connsiteX0" fmla="*/ 0 w 12356"/>
                  <a:gd name="connsiteY0" fmla="*/ 0 h 8555"/>
                  <a:gd name="connsiteX1" fmla="*/ 12356 w 12356"/>
                  <a:gd name="connsiteY1" fmla="*/ 8556 h 8555"/>
                  <a:gd name="connsiteX2" fmla="*/ 0 w 12356"/>
                  <a:gd name="connsiteY2" fmla="*/ 0 h 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356" h="8555">
                    <a:moveTo>
                      <a:pt x="0" y="0"/>
                    </a:moveTo>
                    <a:cubicBezTo>
                      <a:pt x="3986" y="2885"/>
                      <a:pt x="8171" y="5671"/>
                      <a:pt x="12356" y="8556"/>
                    </a:cubicBezTo>
                    <a:cubicBezTo>
                      <a:pt x="7832" y="6347"/>
                      <a:pt x="3657" y="346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76" name="Freeform: Shape 1875">
                <a:extLst>
                  <a:ext uri="{FF2B5EF4-FFF2-40B4-BE49-F238E27FC236}">
                    <a16:creationId xmlns:a16="http://schemas.microsoft.com/office/drawing/2014/main" id="{9561C916-EBB9-47D4-81EA-59A5B18DF1E2}"/>
                  </a:ext>
                </a:extLst>
              </p:cNvPr>
              <p:cNvSpPr/>
              <p:nvPr/>
            </p:nvSpPr>
            <p:spPr>
              <a:xfrm>
                <a:off x="3031951" y="2831746"/>
                <a:ext cx="1744" cy="5272"/>
              </a:xfrm>
              <a:custGeom>
                <a:avLst/>
                <a:gdLst>
                  <a:gd name="connsiteX0" fmla="*/ 1744 w 1744"/>
                  <a:gd name="connsiteY0" fmla="*/ 0 h 5272"/>
                  <a:gd name="connsiteX1" fmla="*/ 50 w 1744"/>
                  <a:gd name="connsiteY1" fmla="*/ 5273 h 5272"/>
                  <a:gd name="connsiteX2" fmla="*/ 1744 w 1744"/>
                  <a:gd name="connsiteY2" fmla="*/ 0 h 5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44" h="5272">
                    <a:moveTo>
                      <a:pt x="1744" y="0"/>
                    </a:moveTo>
                    <a:cubicBezTo>
                      <a:pt x="1435" y="1830"/>
                      <a:pt x="868" y="3601"/>
                      <a:pt x="50" y="5273"/>
                    </a:cubicBezTo>
                    <a:cubicBezTo>
                      <a:pt x="-189" y="3352"/>
                      <a:pt x="429" y="1422"/>
                      <a:pt x="174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77" name="Freeform: Shape 1876">
                <a:extLst>
                  <a:ext uri="{FF2B5EF4-FFF2-40B4-BE49-F238E27FC236}">
                    <a16:creationId xmlns:a16="http://schemas.microsoft.com/office/drawing/2014/main" id="{8182C14D-B021-4395-BCEA-ACC1C3D998E5}"/>
                  </a:ext>
                </a:extLst>
              </p:cNvPr>
              <p:cNvSpPr/>
              <p:nvPr/>
            </p:nvSpPr>
            <p:spPr>
              <a:xfrm>
                <a:off x="3031702" y="2897607"/>
                <a:ext cx="8967" cy="8555"/>
              </a:xfrm>
              <a:custGeom>
                <a:avLst/>
                <a:gdLst>
                  <a:gd name="connsiteX0" fmla="*/ 8968 w 8967"/>
                  <a:gd name="connsiteY0" fmla="*/ 8556 h 8555"/>
                  <a:gd name="connsiteX1" fmla="*/ 0 w 8967"/>
                  <a:gd name="connsiteY1" fmla="*/ 0 h 8555"/>
                  <a:gd name="connsiteX2" fmla="*/ 8968 w 8967"/>
                  <a:gd name="connsiteY2" fmla="*/ 8556 h 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67" h="8555">
                    <a:moveTo>
                      <a:pt x="8968" y="8556"/>
                    </a:moveTo>
                    <a:cubicBezTo>
                      <a:pt x="5719" y="5989"/>
                      <a:pt x="2710" y="3124"/>
                      <a:pt x="0" y="0"/>
                    </a:cubicBezTo>
                    <a:cubicBezTo>
                      <a:pt x="3298" y="2517"/>
                      <a:pt x="6307" y="5382"/>
                      <a:pt x="8968" y="855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78" name="Freeform: Shape 1877">
                <a:extLst>
                  <a:ext uri="{FF2B5EF4-FFF2-40B4-BE49-F238E27FC236}">
                    <a16:creationId xmlns:a16="http://schemas.microsoft.com/office/drawing/2014/main" id="{3CFD4294-2015-47EC-B76C-9E1253B57950}"/>
                  </a:ext>
                </a:extLst>
              </p:cNvPr>
              <p:cNvSpPr/>
              <p:nvPr/>
            </p:nvSpPr>
            <p:spPr>
              <a:xfrm>
                <a:off x="3051830" y="2909879"/>
                <a:ext cx="12057" cy="1755"/>
              </a:xfrm>
              <a:custGeom>
                <a:avLst/>
                <a:gdLst>
                  <a:gd name="connsiteX0" fmla="*/ 0 w 12057"/>
                  <a:gd name="connsiteY0" fmla="*/ 64 h 1755"/>
                  <a:gd name="connsiteX1" fmla="*/ 12057 w 12057"/>
                  <a:gd name="connsiteY1" fmla="*/ 1756 h 1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057" h="1755">
                    <a:moveTo>
                      <a:pt x="0" y="64"/>
                    </a:moveTo>
                    <a:cubicBezTo>
                      <a:pt x="4095" y="-205"/>
                      <a:pt x="8201" y="373"/>
                      <a:pt x="12057" y="175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79" name="Freeform: Shape 1878">
                <a:extLst>
                  <a:ext uri="{FF2B5EF4-FFF2-40B4-BE49-F238E27FC236}">
                    <a16:creationId xmlns:a16="http://schemas.microsoft.com/office/drawing/2014/main" id="{9745B226-7727-478A-A5CE-B205AAEB5CA6}"/>
                  </a:ext>
                </a:extLst>
              </p:cNvPr>
              <p:cNvSpPr/>
              <p:nvPr/>
            </p:nvSpPr>
            <p:spPr>
              <a:xfrm>
                <a:off x="3057709" y="2818415"/>
                <a:ext cx="13551" cy="4476"/>
              </a:xfrm>
              <a:custGeom>
                <a:avLst/>
                <a:gdLst>
                  <a:gd name="connsiteX0" fmla="*/ 0 w 13551"/>
                  <a:gd name="connsiteY0" fmla="*/ 4477 h 4476"/>
                  <a:gd name="connsiteX1" fmla="*/ 13551 w 13551"/>
                  <a:gd name="connsiteY1" fmla="*/ 0 h 4476"/>
                  <a:gd name="connsiteX2" fmla="*/ 0 w 13551"/>
                  <a:gd name="connsiteY2" fmla="*/ 4477 h 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51" h="4476">
                    <a:moveTo>
                      <a:pt x="0" y="4477"/>
                    </a:moveTo>
                    <a:cubicBezTo>
                      <a:pt x="4384" y="2617"/>
                      <a:pt x="8918" y="1114"/>
                      <a:pt x="13551" y="0"/>
                    </a:cubicBezTo>
                    <a:cubicBezTo>
                      <a:pt x="9665" y="1094"/>
                      <a:pt x="4683" y="3084"/>
                      <a:pt x="0" y="447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0" name="Freeform: Shape 1879">
                <a:extLst>
                  <a:ext uri="{FF2B5EF4-FFF2-40B4-BE49-F238E27FC236}">
                    <a16:creationId xmlns:a16="http://schemas.microsoft.com/office/drawing/2014/main" id="{3D3153C4-02EA-4294-AA51-3E6E4F15E872}"/>
                  </a:ext>
                </a:extLst>
              </p:cNvPr>
              <p:cNvSpPr/>
              <p:nvPr/>
            </p:nvSpPr>
            <p:spPr>
              <a:xfrm>
                <a:off x="3077937" y="2813440"/>
                <a:ext cx="7174" cy="4476"/>
              </a:xfrm>
              <a:custGeom>
                <a:avLst/>
                <a:gdLst>
                  <a:gd name="connsiteX0" fmla="*/ 0 w 7174"/>
                  <a:gd name="connsiteY0" fmla="*/ 4477 h 4476"/>
                  <a:gd name="connsiteX1" fmla="*/ 7175 w 7174"/>
                  <a:gd name="connsiteY1" fmla="*/ 0 h 4476"/>
                  <a:gd name="connsiteX2" fmla="*/ 0 w 7174"/>
                  <a:gd name="connsiteY2" fmla="*/ 4477 h 4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74" h="4476">
                    <a:moveTo>
                      <a:pt x="0" y="4477"/>
                    </a:moveTo>
                    <a:cubicBezTo>
                      <a:pt x="2202" y="2696"/>
                      <a:pt x="4614" y="1194"/>
                      <a:pt x="7175" y="0"/>
                    </a:cubicBezTo>
                    <a:cubicBezTo>
                      <a:pt x="5361" y="2258"/>
                      <a:pt x="2830" y="3840"/>
                      <a:pt x="0" y="447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1" name="Freeform: Shape 1880">
                <a:extLst>
                  <a:ext uri="{FF2B5EF4-FFF2-40B4-BE49-F238E27FC236}">
                    <a16:creationId xmlns:a16="http://schemas.microsoft.com/office/drawing/2014/main" id="{DB47D259-6A1A-4E55-A5AF-2DC4542548BB}"/>
                  </a:ext>
                </a:extLst>
              </p:cNvPr>
              <p:cNvSpPr/>
              <p:nvPr/>
            </p:nvSpPr>
            <p:spPr>
              <a:xfrm>
                <a:off x="3117894" y="2799611"/>
                <a:ext cx="20426" cy="2785"/>
              </a:xfrm>
              <a:custGeom>
                <a:avLst/>
                <a:gdLst>
                  <a:gd name="connsiteX0" fmla="*/ 3787 w 20426"/>
                  <a:gd name="connsiteY0" fmla="*/ 0 h 2785"/>
                  <a:gd name="connsiteX1" fmla="*/ 20427 w 20426"/>
                  <a:gd name="connsiteY1" fmla="*/ 1293 h 2785"/>
                  <a:gd name="connsiteX2" fmla="*/ 11758 w 20426"/>
                  <a:gd name="connsiteY2" fmla="*/ 1293 h 2785"/>
                  <a:gd name="connsiteX3" fmla="*/ 0 w 20426"/>
                  <a:gd name="connsiteY3" fmla="*/ 2786 h 2785"/>
                  <a:gd name="connsiteX4" fmla="*/ 3787 w 20426"/>
                  <a:gd name="connsiteY4" fmla="*/ 0 h 2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426" h="2785">
                    <a:moveTo>
                      <a:pt x="3787" y="0"/>
                    </a:moveTo>
                    <a:cubicBezTo>
                      <a:pt x="9167" y="597"/>
                      <a:pt x="14748" y="995"/>
                      <a:pt x="20427" y="1293"/>
                    </a:cubicBezTo>
                    <a:lnTo>
                      <a:pt x="11758" y="1293"/>
                    </a:lnTo>
                    <a:cubicBezTo>
                      <a:pt x="7782" y="1005"/>
                      <a:pt x="3777" y="1512"/>
                      <a:pt x="0" y="2786"/>
                    </a:cubicBezTo>
                    <a:cubicBezTo>
                      <a:pt x="1355" y="1990"/>
                      <a:pt x="2621" y="1054"/>
                      <a:pt x="378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2" name="Freeform: Shape 1881">
                <a:extLst>
                  <a:ext uri="{FF2B5EF4-FFF2-40B4-BE49-F238E27FC236}">
                    <a16:creationId xmlns:a16="http://schemas.microsoft.com/office/drawing/2014/main" id="{6FB20935-5AF7-4EC2-9847-D1078471B571}"/>
                  </a:ext>
                </a:extLst>
              </p:cNvPr>
              <p:cNvSpPr/>
              <p:nvPr/>
            </p:nvSpPr>
            <p:spPr>
              <a:xfrm>
                <a:off x="3150876" y="3038381"/>
                <a:ext cx="7473" cy="5471"/>
              </a:xfrm>
              <a:custGeom>
                <a:avLst/>
                <a:gdLst>
                  <a:gd name="connsiteX0" fmla="*/ 0 w 7473"/>
                  <a:gd name="connsiteY0" fmla="*/ 0 h 5471"/>
                  <a:gd name="connsiteX1" fmla="*/ 7473 w 7473"/>
                  <a:gd name="connsiteY1" fmla="*/ 5472 h 5471"/>
                  <a:gd name="connsiteX2" fmla="*/ 0 w 7473"/>
                  <a:gd name="connsiteY2" fmla="*/ 0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73" h="5471">
                    <a:moveTo>
                      <a:pt x="0" y="0"/>
                    </a:moveTo>
                    <a:cubicBezTo>
                      <a:pt x="2143" y="2258"/>
                      <a:pt x="4673" y="4109"/>
                      <a:pt x="7473" y="5472"/>
                    </a:cubicBezTo>
                    <a:cubicBezTo>
                      <a:pt x="4345" y="4736"/>
                      <a:pt x="1645" y="275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3" name="Freeform: Shape 1882">
                <a:extLst>
                  <a:ext uri="{FF2B5EF4-FFF2-40B4-BE49-F238E27FC236}">
                    <a16:creationId xmlns:a16="http://schemas.microsoft.com/office/drawing/2014/main" id="{7415BF52-55AA-4220-86EA-712A4AA6DB8A}"/>
                  </a:ext>
                </a:extLst>
              </p:cNvPr>
              <p:cNvSpPr/>
              <p:nvPr/>
            </p:nvSpPr>
            <p:spPr>
              <a:xfrm>
                <a:off x="3182464" y="3066536"/>
                <a:ext cx="1315" cy="15122"/>
              </a:xfrm>
              <a:custGeom>
                <a:avLst/>
                <a:gdLst>
                  <a:gd name="connsiteX0" fmla="*/ 0 w 1315"/>
                  <a:gd name="connsiteY0" fmla="*/ 0 h 15122"/>
                  <a:gd name="connsiteX1" fmla="*/ 0 w 1315"/>
                  <a:gd name="connsiteY1" fmla="*/ 15122 h 15122"/>
                  <a:gd name="connsiteX2" fmla="*/ 0 w 1315"/>
                  <a:gd name="connsiteY2" fmla="*/ 0 h 1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15" h="15122">
                    <a:moveTo>
                      <a:pt x="0" y="0"/>
                    </a:moveTo>
                    <a:cubicBezTo>
                      <a:pt x="1753" y="4885"/>
                      <a:pt x="1753" y="10237"/>
                      <a:pt x="0" y="15122"/>
                    </a:cubicBezTo>
                    <a:cubicBezTo>
                      <a:pt x="1146" y="10148"/>
                      <a:pt x="1146" y="497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4" name="Freeform: Shape 1883">
                <a:extLst>
                  <a:ext uri="{FF2B5EF4-FFF2-40B4-BE49-F238E27FC236}">
                    <a16:creationId xmlns:a16="http://schemas.microsoft.com/office/drawing/2014/main" id="{394005E5-A3BF-4CF7-8DD7-BBFC1529B9EC}"/>
                  </a:ext>
                </a:extLst>
              </p:cNvPr>
              <p:cNvSpPr/>
              <p:nvPr/>
            </p:nvSpPr>
            <p:spPr>
              <a:xfrm>
                <a:off x="3172798" y="2801701"/>
                <a:ext cx="32583" cy="1293"/>
              </a:xfrm>
              <a:custGeom>
                <a:avLst/>
                <a:gdLst>
                  <a:gd name="connsiteX0" fmla="*/ 32584 w 32583"/>
                  <a:gd name="connsiteY0" fmla="*/ 1293 h 1293"/>
                  <a:gd name="connsiteX1" fmla="*/ 0 w 32583"/>
                  <a:gd name="connsiteY1" fmla="*/ 0 h 1293"/>
                  <a:gd name="connsiteX2" fmla="*/ 16640 w 32583"/>
                  <a:gd name="connsiteY2" fmla="*/ 498 h 1293"/>
                  <a:gd name="connsiteX3" fmla="*/ 32584 w 32583"/>
                  <a:gd name="connsiteY3" fmla="*/ 1293 h 1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583" h="1293">
                    <a:moveTo>
                      <a:pt x="32584" y="1293"/>
                    </a:moveTo>
                    <a:lnTo>
                      <a:pt x="0" y="0"/>
                    </a:lnTo>
                    <a:cubicBezTo>
                      <a:pt x="5680" y="0"/>
                      <a:pt x="11260" y="0"/>
                      <a:pt x="16640" y="498"/>
                    </a:cubicBezTo>
                    <a:cubicBezTo>
                      <a:pt x="22022" y="995"/>
                      <a:pt x="27104" y="1194"/>
                      <a:pt x="32584" y="12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5" name="Freeform: Shape 1884">
                <a:extLst>
                  <a:ext uri="{FF2B5EF4-FFF2-40B4-BE49-F238E27FC236}">
                    <a16:creationId xmlns:a16="http://schemas.microsoft.com/office/drawing/2014/main" id="{3E3380FA-6BE1-4262-A385-8F394FC9EBB4}"/>
                  </a:ext>
                </a:extLst>
              </p:cNvPr>
              <p:cNvSpPr/>
              <p:nvPr/>
            </p:nvSpPr>
            <p:spPr>
              <a:xfrm>
                <a:off x="3200599" y="3101357"/>
                <a:ext cx="4149" cy="9252"/>
              </a:xfrm>
              <a:custGeom>
                <a:avLst/>
                <a:gdLst>
                  <a:gd name="connsiteX0" fmla="*/ 3986 w 4149"/>
                  <a:gd name="connsiteY0" fmla="*/ 9253 h 9252"/>
                  <a:gd name="connsiteX1" fmla="*/ 0 w 4149"/>
                  <a:gd name="connsiteY1" fmla="*/ 0 h 9252"/>
                  <a:gd name="connsiteX2" fmla="*/ 3986 w 4149"/>
                  <a:gd name="connsiteY2" fmla="*/ 9253 h 9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49" h="9252">
                    <a:moveTo>
                      <a:pt x="3986" y="9253"/>
                    </a:moveTo>
                    <a:cubicBezTo>
                      <a:pt x="4574" y="5661"/>
                      <a:pt x="3020" y="2050"/>
                      <a:pt x="0" y="0"/>
                    </a:cubicBezTo>
                    <a:cubicBezTo>
                      <a:pt x="3109" y="1980"/>
                      <a:pt x="4684" y="5641"/>
                      <a:pt x="3986" y="925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6" name="Freeform: Shape 1885">
                <a:extLst>
                  <a:ext uri="{FF2B5EF4-FFF2-40B4-BE49-F238E27FC236}">
                    <a16:creationId xmlns:a16="http://schemas.microsoft.com/office/drawing/2014/main" id="{A0D6B180-2E28-4FA9-A8A7-9448BA540B56}"/>
                  </a:ext>
                </a:extLst>
              </p:cNvPr>
              <p:cNvSpPr/>
              <p:nvPr/>
            </p:nvSpPr>
            <p:spPr>
              <a:xfrm>
                <a:off x="3204585" y="3110609"/>
                <a:ext cx="13950" cy="7560"/>
              </a:xfrm>
              <a:custGeom>
                <a:avLst/>
                <a:gdLst>
                  <a:gd name="connsiteX0" fmla="*/ 0 w 13950"/>
                  <a:gd name="connsiteY0" fmla="*/ 0 h 7560"/>
                  <a:gd name="connsiteX1" fmla="*/ 13950 w 13950"/>
                  <a:gd name="connsiteY1" fmla="*/ 7561 h 7560"/>
                  <a:gd name="connsiteX2" fmla="*/ 0 w 13950"/>
                  <a:gd name="connsiteY2" fmla="*/ 0 h 7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50" h="7560">
                    <a:moveTo>
                      <a:pt x="0" y="0"/>
                    </a:moveTo>
                    <a:cubicBezTo>
                      <a:pt x="4185" y="2586"/>
                      <a:pt x="9067" y="4974"/>
                      <a:pt x="13950" y="7561"/>
                    </a:cubicBezTo>
                    <a:cubicBezTo>
                      <a:pt x="9148" y="5332"/>
                      <a:pt x="4494" y="280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7" name="Freeform: Shape 1886">
                <a:extLst>
                  <a:ext uri="{FF2B5EF4-FFF2-40B4-BE49-F238E27FC236}">
                    <a16:creationId xmlns:a16="http://schemas.microsoft.com/office/drawing/2014/main" id="{4977EEDE-EE92-4A03-AEB1-A5C872BB8CAE}"/>
                  </a:ext>
                </a:extLst>
              </p:cNvPr>
              <p:cNvSpPr/>
              <p:nvPr/>
            </p:nvSpPr>
            <p:spPr>
              <a:xfrm>
                <a:off x="3229894" y="3125234"/>
                <a:ext cx="6377" cy="8555"/>
              </a:xfrm>
              <a:custGeom>
                <a:avLst/>
                <a:gdLst>
                  <a:gd name="connsiteX0" fmla="*/ 6377 w 6377"/>
                  <a:gd name="connsiteY0" fmla="*/ 6168 h 8555"/>
                  <a:gd name="connsiteX1" fmla="*/ 6377 w 6377"/>
                  <a:gd name="connsiteY1" fmla="*/ 8556 h 8555"/>
                  <a:gd name="connsiteX2" fmla="*/ 0 w 6377"/>
                  <a:gd name="connsiteY2" fmla="*/ 0 h 8555"/>
                  <a:gd name="connsiteX3" fmla="*/ 6377 w 6377"/>
                  <a:gd name="connsiteY3" fmla="*/ 6168 h 8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77" h="8555">
                    <a:moveTo>
                      <a:pt x="6377" y="6168"/>
                    </a:moveTo>
                    <a:cubicBezTo>
                      <a:pt x="6278" y="6964"/>
                      <a:pt x="6278" y="7760"/>
                      <a:pt x="6377" y="8556"/>
                    </a:cubicBezTo>
                    <a:cubicBezTo>
                      <a:pt x="5072" y="5173"/>
                      <a:pt x="2870" y="2218"/>
                      <a:pt x="0" y="0"/>
                    </a:cubicBezTo>
                    <a:cubicBezTo>
                      <a:pt x="2352" y="1810"/>
                      <a:pt x="4494" y="3880"/>
                      <a:pt x="6377" y="616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8" name="Freeform: Shape 1887">
                <a:extLst>
                  <a:ext uri="{FF2B5EF4-FFF2-40B4-BE49-F238E27FC236}">
                    <a16:creationId xmlns:a16="http://schemas.microsoft.com/office/drawing/2014/main" id="{60885C7A-EAEF-4CD0-AB12-28A130EFAD43}"/>
                  </a:ext>
                </a:extLst>
              </p:cNvPr>
              <p:cNvSpPr/>
              <p:nvPr/>
            </p:nvSpPr>
            <p:spPr>
              <a:xfrm>
                <a:off x="3236271" y="3139759"/>
                <a:ext cx="1693" cy="3979"/>
              </a:xfrm>
              <a:custGeom>
                <a:avLst/>
                <a:gdLst>
                  <a:gd name="connsiteX0" fmla="*/ 398 w 1693"/>
                  <a:gd name="connsiteY0" fmla="*/ 0 h 3979"/>
                  <a:gd name="connsiteX1" fmla="*/ 1694 w 1693"/>
                  <a:gd name="connsiteY1" fmla="*/ 3979 h 3979"/>
                  <a:gd name="connsiteX2" fmla="*/ 0 w 1693"/>
                  <a:gd name="connsiteY2" fmla="*/ 1592 h 3979"/>
                  <a:gd name="connsiteX3" fmla="*/ 398 w 1693"/>
                  <a:gd name="connsiteY3" fmla="*/ 0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3" h="3979">
                    <a:moveTo>
                      <a:pt x="398" y="0"/>
                    </a:moveTo>
                    <a:cubicBezTo>
                      <a:pt x="678" y="1373"/>
                      <a:pt x="1116" y="2706"/>
                      <a:pt x="1694" y="3979"/>
                    </a:cubicBezTo>
                    <a:cubicBezTo>
                      <a:pt x="1206" y="3134"/>
                      <a:pt x="638" y="2328"/>
                      <a:pt x="0" y="1592"/>
                    </a:cubicBezTo>
                    <a:cubicBezTo>
                      <a:pt x="70" y="1045"/>
                      <a:pt x="209" y="517"/>
                      <a:pt x="3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89" name="Freeform: Shape 1888">
                <a:extLst>
                  <a:ext uri="{FF2B5EF4-FFF2-40B4-BE49-F238E27FC236}">
                    <a16:creationId xmlns:a16="http://schemas.microsoft.com/office/drawing/2014/main" id="{CD9672AC-73ED-4319-9497-E460EAB0E301}"/>
                  </a:ext>
                </a:extLst>
              </p:cNvPr>
              <p:cNvSpPr/>
              <p:nvPr/>
            </p:nvSpPr>
            <p:spPr>
              <a:xfrm>
                <a:off x="3240456" y="3147519"/>
                <a:ext cx="6177" cy="15718"/>
              </a:xfrm>
              <a:custGeom>
                <a:avLst/>
                <a:gdLst>
                  <a:gd name="connsiteX0" fmla="*/ 797 w 6177"/>
                  <a:gd name="connsiteY0" fmla="*/ 796 h 15718"/>
                  <a:gd name="connsiteX1" fmla="*/ 6178 w 6177"/>
                  <a:gd name="connsiteY1" fmla="*/ 15719 h 15718"/>
                  <a:gd name="connsiteX2" fmla="*/ 0 w 6177"/>
                  <a:gd name="connsiteY2" fmla="*/ 0 h 15718"/>
                  <a:gd name="connsiteX3" fmla="*/ 797 w 6177"/>
                  <a:gd name="connsiteY3" fmla="*/ 796 h 15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77" h="15718">
                    <a:moveTo>
                      <a:pt x="797" y="796"/>
                    </a:moveTo>
                    <a:cubicBezTo>
                      <a:pt x="3856" y="5223"/>
                      <a:pt x="5710" y="10367"/>
                      <a:pt x="6178" y="15719"/>
                    </a:cubicBezTo>
                    <a:cubicBezTo>
                      <a:pt x="4913" y="10197"/>
                      <a:pt x="2830" y="4905"/>
                      <a:pt x="0" y="0"/>
                    </a:cubicBezTo>
                    <a:cubicBezTo>
                      <a:pt x="179" y="338"/>
                      <a:pt x="459" y="617"/>
                      <a:pt x="797" y="7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0" name="Freeform: Shape 1889">
                <a:extLst>
                  <a:ext uri="{FF2B5EF4-FFF2-40B4-BE49-F238E27FC236}">
                    <a16:creationId xmlns:a16="http://schemas.microsoft.com/office/drawing/2014/main" id="{20FEB6DE-F8AB-4195-8753-C0656B24516E}"/>
                  </a:ext>
                </a:extLst>
              </p:cNvPr>
              <p:cNvSpPr/>
              <p:nvPr/>
            </p:nvSpPr>
            <p:spPr>
              <a:xfrm>
                <a:off x="3249225" y="3185822"/>
                <a:ext cx="4085" cy="9152"/>
              </a:xfrm>
              <a:custGeom>
                <a:avLst/>
                <a:gdLst>
                  <a:gd name="connsiteX0" fmla="*/ 100 w 4085"/>
                  <a:gd name="connsiteY0" fmla="*/ 0 h 9152"/>
                  <a:gd name="connsiteX1" fmla="*/ 4086 w 4085"/>
                  <a:gd name="connsiteY1" fmla="*/ 9153 h 9152"/>
                  <a:gd name="connsiteX2" fmla="*/ 0 w 4085"/>
                  <a:gd name="connsiteY2" fmla="*/ 6268 h 9152"/>
                  <a:gd name="connsiteX3" fmla="*/ 100 w 4085"/>
                  <a:gd name="connsiteY3" fmla="*/ 0 h 9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5" h="9152">
                    <a:moveTo>
                      <a:pt x="100" y="0"/>
                    </a:moveTo>
                    <a:cubicBezTo>
                      <a:pt x="688" y="3323"/>
                      <a:pt x="2053" y="6457"/>
                      <a:pt x="4086" y="9153"/>
                    </a:cubicBezTo>
                    <a:lnTo>
                      <a:pt x="0" y="6268"/>
                    </a:lnTo>
                    <a:cubicBezTo>
                      <a:pt x="100" y="4178"/>
                      <a:pt x="100" y="1791"/>
                      <a:pt x="10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1" name="Freeform: Shape 1890">
                <a:extLst>
                  <a:ext uri="{FF2B5EF4-FFF2-40B4-BE49-F238E27FC236}">
                    <a16:creationId xmlns:a16="http://schemas.microsoft.com/office/drawing/2014/main" id="{E2390C68-141D-4D19-8EF6-3A908A522D21}"/>
                  </a:ext>
                </a:extLst>
              </p:cNvPr>
              <p:cNvSpPr/>
              <p:nvPr/>
            </p:nvSpPr>
            <p:spPr>
              <a:xfrm>
                <a:off x="3261680" y="3200347"/>
                <a:ext cx="8170" cy="6168"/>
              </a:xfrm>
              <a:custGeom>
                <a:avLst/>
                <a:gdLst>
                  <a:gd name="connsiteX0" fmla="*/ 3488 w 8170"/>
                  <a:gd name="connsiteY0" fmla="*/ 696 h 6168"/>
                  <a:gd name="connsiteX1" fmla="*/ 8171 w 8170"/>
                  <a:gd name="connsiteY1" fmla="*/ 6168 h 6168"/>
                  <a:gd name="connsiteX2" fmla="*/ 0 w 8170"/>
                  <a:gd name="connsiteY2" fmla="*/ 0 h 6168"/>
                  <a:gd name="connsiteX3" fmla="*/ 3488 w 8170"/>
                  <a:gd name="connsiteY3" fmla="*/ 696 h 6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170" h="6168">
                    <a:moveTo>
                      <a:pt x="3488" y="696"/>
                    </a:moveTo>
                    <a:cubicBezTo>
                      <a:pt x="4684" y="1990"/>
                      <a:pt x="6377" y="4079"/>
                      <a:pt x="8171" y="6168"/>
                    </a:cubicBezTo>
                    <a:cubicBezTo>
                      <a:pt x="5620" y="3890"/>
                      <a:pt x="2890" y="1830"/>
                      <a:pt x="0" y="0"/>
                    </a:cubicBezTo>
                    <a:cubicBezTo>
                      <a:pt x="1136" y="348"/>
                      <a:pt x="2302" y="577"/>
                      <a:pt x="3488" y="69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2" name="Freeform: Shape 1891">
                <a:extLst>
                  <a:ext uri="{FF2B5EF4-FFF2-40B4-BE49-F238E27FC236}">
                    <a16:creationId xmlns:a16="http://schemas.microsoft.com/office/drawing/2014/main" id="{DACF482D-2A0D-433B-981E-AA23F2AC04AB}"/>
                  </a:ext>
                </a:extLst>
              </p:cNvPr>
              <p:cNvSpPr/>
              <p:nvPr/>
            </p:nvSpPr>
            <p:spPr>
              <a:xfrm>
                <a:off x="3258592" y="2805680"/>
                <a:ext cx="10961" cy="9948"/>
              </a:xfrm>
              <a:custGeom>
                <a:avLst/>
                <a:gdLst>
                  <a:gd name="connsiteX0" fmla="*/ 10961 w 10961"/>
                  <a:gd name="connsiteY0" fmla="*/ 0 h 9948"/>
                  <a:gd name="connsiteX1" fmla="*/ 0 w 10961"/>
                  <a:gd name="connsiteY1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61" h="9948">
                    <a:moveTo>
                      <a:pt x="10961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3" name="Freeform: Shape 1892">
                <a:extLst>
                  <a:ext uri="{FF2B5EF4-FFF2-40B4-BE49-F238E27FC236}">
                    <a16:creationId xmlns:a16="http://schemas.microsoft.com/office/drawing/2014/main" id="{17BCC0C2-F521-4021-961A-3B2ADE73F75A}"/>
                  </a:ext>
                </a:extLst>
              </p:cNvPr>
              <p:cNvSpPr/>
              <p:nvPr/>
            </p:nvSpPr>
            <p:spPr>
              <a:xfrm>
                <a:off x="3274908" y="3214872"/>
                <a:ext cx="713" cy="4775"/>
              </a:xfrm>
              <a:custGeom>
                <a:avLst/>
                <a:gdLst>
                  <a:gd name="connsiteX0" fmla="*/ 25 w 713"/>
                  <a:gd name="connsiteY0" fmla="*/ 0 h 4775"/>
                  <a:gd name="connsiteX1" fmla="*/ 623 w 713"/>
                  <a:gd name="connsiteY1" fmla="*/ 4776 h 4775"/>
                  <a:gd name="connsiteX2" fmla="*/ 25 w 713"/>
                  <a:gd name="connsiteY2" fmla="*/ 0 h 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13" h="4775">
                    <a:moveTo>
                      <a:pt x="25" y="0"/>
                    </a:moveTo>
                    <a:cubicBezTo>
                      <a:pt x="643" y="1512"/>
                      <a:pt x="852" y="3154"/>
                      <a:pt x="623" y="4776"/>
                    </a:cubicBezTo>
                    <a:cubicBezTo>
                      <a:pt x="125" y="3233"/>
                      <a:pt x="-75" y="1612"/>
                      <a:pt x="2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4" name="Freeform: Shape 1893">
                <a:extLst>
                  <a:ext uri="{FF2B5EF4-FFF2-40B4-BE49-F238E27FC236}">
                    <a16:creationId xmlns:a16="http://schemas.microsoft.com/office/drawing/2014/main" id="{3FAF3830-C6C6-492A-AC16-9C18E3BA3DA2}"/>
                  </a:ext>
                </a:extLst>
              </p:cNvPr>
              <p:cNvSpPr/>
              <p:nvPr/>
            </p:nvSpPr>
            <p:spPr>
              <a:xfrm>
                <a:off x="3279915" y="3245315"/>
                <a:ext cx="1295" cy="3979"/>
              </a:xfrm>
              <a:custGeom>
                <a:avLst/>
                <a:gdLst>
                  <a:gd name="connsiteX0" fmla="*/ 1295 w 1295"/>
                  <a:gd name="connsiteY0" fmla="*/ 0 h 3979"/>
                  <a:gd name="connsiteX1" fmla="*/ 1295 w 1295"/>
                  <a:gd name="connsiteY1" fmla="*/ 3980 h 3979"/>
                  <a:gd name="connsiteX2" fmla="*/ 0 w 1295"/>
                  <a:gd name="connsiteY2" fmla="*/ 1493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95" h="3979">
                    <a:moveTo>
                      <a:pt x="1295" y="0"/>
                    </a:moveTo>
                    <a:cubicBezTo>
                      <a:pt x="1046" y="1313"/>
                      <a:pt x="1046" y="2666"/>
                      <a:pt x="1295" y="3980"/>
                    </a:cubicBezTo>
                    <a:cubicBezTo>
                      <a:pt x="927" y="3124"/>
                      <a:pt x="488" y="2288"/>
                      <a:pt x="0" y="149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5" name="Freeform: Shape 1894">
                <a:extLst>
                  <a:ext uri="{FF2B5EF4-FFF2-40B4-BE49-F238E27FC236}">
                    <a16:creationId xmlns:a16="http://schemas.microsoft.com/office/drawing/2014/main" id="{59809AAB-BA39-4334-8291-9190064668A2}"/>
                  </a:ext>
                </a:extLst>
              </p:cNvPr>
              <p:cNvSpPr/>
              <p:nvPr/>
            </p:nvSpPr>
            <p:spPr>
              <a:xfrm>
                <a:off x="3279118" y="3227407"/>
                <a:ext cx="4177" cy="13331"/>
              </a:xfrm>
              <a:custGeom>
                <a:avLst/>
                <a:gdLst>
                  <a:gd name="connsiteX0" fmla="*/ 0 w 4177"/>
                  <a:gd name="connsiteY0" fmla="*/ 0 h 13331"/>
                  <a:gd name="connsiteX1" fmla="*/ 3986 w 4177"/>
                  <a:gd name="connsiteY1" fmla="*/ 13331 h 13331"/>
                  <a:gd name="connsiteX2" fmla="*/ 0 w 4177"/>
                  <a:gd name="connsiteY2" fmla="*/ 0 h 13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177" h="13331">
                    <a:moveTo>
                      <a:pt x="0" y="0"/>
                    </a:moveTo>
                    <a:cubicBezTo>
                      <a:pt x="3268" y="3621"/>
                      <a:pt x="4733" y="8516"/>
                      <a:pt x="3986" y="13331"/>
                    </a:cubicBezTo>
                    <a:cubicBezTo>
                      <a:pt x="4235" y="8566"/>
                      <a:pt x="2830" y="385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6" name="Freeform: Shape 1895">
                <a:extLst>
                  <a:ext uri="{FF2B5EF4-FFF2-40B4-BE49-F238E27FC236}">
                    <a16:creationId xmlns:a16="http://schemas.microsoft.com/office/drawing/2014/main" id="{203B08A0-DED3-46A3-8EC6-D2BE09311B58}"/>
                  </a:ext>
                </a:extLst>
              </p:cNvPr>
              <p:cNvSpPr/>
              <p:nvPr/>
            </p:nvSpPr>
            <p:spPr>
              <a:xfrm>
                <a:off x="3284300" y="3258945"/>
                <a:ext cx="767" cy="6765"/>
              </a:xfrm>
              <a:custGeom>
                <a:avLst/>
                <a:gdLst>
                  <a:gd name="connsiteX0" fmla="*/ 0 w 767"/>
                  <a:gd name="connsiteY0" fmla="*/ 0 h 6765"/>
                  <a:gd name="connsiteX1" fmla="*/ 698 w 767"/>
                  <a:gd name="connsiteY1" fmla="*/ 6765 h 6765"/>
                  <a:gd name="connsiteX2" fmla="*/ 0 w 767"/>
                  <a:gd name="connsiteY2" fmla="*/ 0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7" h="6765">
                    <a:moveTo>
                      <a:pt x="0" y="0"/>
                    </a:moveTo>
                    <a:cubicBezTo>
                      <a:pt x="668" y="2189"/>
                      <a:pt x="897" y="4487"/>
                      <a:pt x="698" y="6765"/>
                    </a:cubicBezTo>
                    <a:cubicBezTo>
                      <a:pt x="598" y="4497"/>
                      <a:pt x="369" y="223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7" name="Freeform: Shape 1896">
                <a:extLst>
                  <a:ext uri="{FF2B5EF4-FFF2-40B4-BE49-F238E27FC236}">
                    <a16:creationId xmlns:a16="http://schemas.microsoft.com/office/drawing/2014/main" id="{6391C9F5-ED2F-4DE8-AF42-021FF2946A11}"/>
                  </a:ext>
                </a:extLst>
              </p:cNvPr>
              <p:cNvSpPr/>
              <p:nvPr/>
            </p:nvSpPr>
            <p:spPr>
              <a:xfrm>
                <a:off x="3292513" y="2817519"/>
                <a:ext cx="1551" cy="6466"/>
              </a:xfrm>
              <a:custGeom>
                <a:avLst/>
                <a:gdLst>
                  <a:gd name="connsiteX0" fmla="*/ 456 w 1551"/>
                  <a:gd name="connsiteY0" fmla="*/ 0 h 6466"/>
                  <a:gd name="connsiteX1" fmla="*/ 1552 w 1551"/>
                  <a:gd name="connsiteY1" fmla="*/ 6467 h 6466"/>
                  <a:gd name="connsiteX2" fmla="*/ 456 w 1551"/>
                  <a:gd name="connsiteY2" fmla="*/ 0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51" h="6466">
                    <a:moveTo>
                      <a:pt x="456" y="0"/>
                    </a:moveTo>
                    <a:cubicBezTo>
                      <a:pt x="-231" y="2209"/>
                      <a:pt x="177" y="4606"/>
                      <a:pt x="1552" y="6467"/>
                    </a:cubicBezTo>
                    <a:cubicBezTo>
                      <a:pt x="-3" y="4686"/>
                      <a:pt x="-431" y="2189"/>
                      <a:pt x="45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8" name="Freeform: Shape 1897">
                <a:extLst>
                  <a:ext uri="{FF2B5EF4-FFF2-40B4-BE49-F238E27FC236}">
                    <a16:creationId xmlns:a16="http://schemas.microsoft.com/office/drawing/2014/main" id="{F04E9449-1C27-4813-A729-FFAF3087F57D}"/>
                  </a:ext>
                </a:extLst>
              </p:cNvPr>
              <p:cNvSpPr/>
              <p:nvPr/>
            </p:nvSpPr>
            <p:spPr>
              <a:xfrm>
                <a:off x="3288983" y="2806774"/>
                <a:ext cx="5687" cy="3183"/>
              </a:xfrm>
              <a:custGeom>
                <a:avLst/>
                <a:gdLst>
                  <a:gd name="connsiteX0" fmla="*/ 0 w 5687"/>
                  <a:gd name="connsiteY0" fmla="*/ 0 h 3183"/>
                  <a:gd name="connsiteX1" fmla="*/ 5082 w 5687"/>
                  <a:gd name="connsiteY1" fmla="*/ 0 h 3183"/>
                  <a:gd name="connsiteX2" fmla="*/ 5680 w 5687"/>
                  <a:gd name="connsiteY2" fmla="*/ 3184 h 3183"/>
                  <a:gd name="connsiteX3" fmla="*/ 5082 w 5687"/>
                  <a:gd name="connsiteY3" fmla="*/ 895 h 3183"/>
                  <a:gd name="connsiteX4" fmla="*/ 0 w 5687"/>
                  <a:gd name="connsiteY4" fmla="*/ 0 h 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87" h="3183">
                    <a:moveTo>
                      <a:pt x="0" y="0"/>
                    </a:moveTo>
                    <a:lnTo>
                      <a:pt x="5082" y="0"/>
                    </a:lnTo>
                    <a:cubicBezTo>
                      <a:pt x="5531" y="995"/>
                      <a:pt x="5730" y="2089"/>
                      <a:pt x="5680" y="3184"/>
                    </a:cubicBezTo>
                    <a:cubicBezTo>
                      <a:pt x="5650" y="2388"/>
                      <a:pt x="5441" y="1612"/>
                      <a:pt x="5082" y="895"/>
                    </a:cubicBezTo>
                    <a:cubicBezTo>
                      <a:pt x="5281" y="796"/>
                      <a:pt x="3488" y="39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99" name="Freeform: Shape 1898">
                <a:extLst>
                  <a:ext uri="{FF2B5EF4-FFF2-40B4-BE49-F238E27FC236}">
                    <a16:creationId xmlns:a16="http://schemas.microsoft.com/office/drawing/2014/main" id="{7186D37E-9C87-408D-8C20-6547E42B3EFB}"/>
                  </a:ext>
                </a:extLst>
              </p:cNvPr>
              <p:cNvSpPr/>
              <p:nvPr/>
            </p:nvSpPr>
            <p:spPr>
              <a:xfrm>
                <a:off x="3289581" y="3267202"/>
                <a:ext cx="7273" cy="1867"/>
              </a:xfrm>
              <a:custGeom>
                <a:avLst/>
                <a:gdLst>
                  <a:gd name="connsiteX0" fmla="*/ 0 w 7273"/>
                  <a:gd name="connsiteY0" fmla="*/ 0 h 1867"/>
                  <a:gd name="connsiteX1" fmla="*/ 7274 w 7273"/>
                  <a:gd name="connsiteY1" fmla="*/ 1293 h 1867"/>
                  <a:gd name="connsiteX2" fmla="*/ 0 w 7273"/>
                  <a:gd name="connsiteY2" fmla="*/ 0 h 1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273" h="1867">
                    <a:moveTo>
                      <a:pt x="0" y="0"/>
                    </a:moveTo>
                    <a:cubicBezTo>
                      <a:pt x="2371" y="696"/>
                      <a:pt x="4813" y="1124"/>
                      <a:pt x="7274" y="1293"/>
                    </a:cubicBezTo>
                    <a:cubicBezTo>
                      <a:pt x="5480" y="2587"/>
                      <a:pt x="2491" y="149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00" name="Freeform: Shape 1899">
                <a:extLst>
                  <a:ext uri="{FF2B5EF4-FFF2-40B4-BE49-F238E27FC236}">
                    <a16:creationId xmlns:a16="http://schemas.microsoft.com/office/drawing/2014/main" id="{60F0CC60-76E5-4B07-B303-D19AC5EF1882}"/>
                  </a:ext>
                </a:extLst>
              </p:cNvPr>
              <p:cNvSpPr/>
              <p:nvPr/>
            </p:nvSpPr>
            <p:spPr>
              <a:xfrm>
                <a:off x="3302136" y="3270485"/>
                <a:ext cx="4284" cy="2686"/>
              </a:xfrm>
              <a:custGeom>
                <a:avLst/>
                <a:gdLst>
                  <a:gd name="connsiteX0" fmla="*/ 0 w 4284"/>
                  <a:gd name="connsiteY0" fmla="*/ 0 h 2686"/>
                  <a:gd name="connsiteX1" fmla="*/ 4285 w 4284"/>
                  <a:gd name="connsiteY1" fmla="*/ 2686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84" h="2686">
                    <a:moveTo>
                      <a:pt x="0" y="0"/>
                    </a:moveTo>
                    <a:cubicBezTo>
                      <a:pt x="1565" y="667"/>
                      <a:pt x="3009" y="1572"/>
                      <a:pt x="4285" y="26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01" name="Freeform: Shape 1900">
                <a:extLst>
                  <a:ext uri="{FF2B5EF4-FFF2-40B4-BE49-F238E27FC236}">
                    <a16:creationId xmlns:a16="http://schemas.microsoft.com/office/drawing/2014/main" id="{D6F464D6-EA0C-4A9D-A642-80EC66105DE4}"/>
                  </a:ext>
                </a:extLst>
              </p:cNvPr>
              <p:cNvSpPr/>
              <p:nvPr/>
            </p:nvSpPr>
            <p:spPr>
              <a:xfrm>
                <a:off x="3307716" y="3273868"/>
                <a:ext cx="6377" cy="2387"/>
              </a:xfrm>
              <a:custGeom>
                <a:avLst/>
                <a:gdLst>
                  <a:gd name="connsiteX0" fmla="*/ 0 w 6377"/>
                  <a:gd name="connsiteY0" fmla="*/ 0 h 2387"/>
                  <a:gd name="connsiteX1" fmla="*/ 6377 w 6377"/>
                  <a:gd name="connsiteY1" fmla="*/ 2388 h 2387"/>
                  <a:gd name="connsiteX2" fmla="*/ 6377 w 6377"/>
                  <a:gd name="connsiteY2" fmla="*/ 2388 h 2387"/>
                  <a:gd name="connsiteX3" fmla="*/ 0 w 6377"/>
                  <a:gd name="connsiteY3" fmla="*/ 0 h 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77" h="2387">
                    <a:moveTo>
                      <a:pt x="0" y="0"/>
                    </a:moveTo>
                    <a:cubicBezTo>
                      <a:pt x="2182" y="637"/>
                      <a:pt x="4315" y="1442"/>
                      <a:pt x="6377" y="2388"/>
                    </a:cubicBezTo>
                    <a:lnTo>
                      <a:pt x="6377" y="2388"/>
                    </a:lnTo>
                    <a:cubicBezTo>
                      <a:pt x="4175" y="1820"/>
                      <a:pt x="2033" y="102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02" name="Freeform: Shape 1901">
                <a:extLst>
                  <a:ext uri="{FF2B5EF4-FFF2-40B4-BE49-F238E27FC236}">
                    <a16:creationId xmlns:a16="http://schemas.microsoft.com/office/drawing/2014/main" id="{C49A067C-1C73-4864-8A41-EF183013AB93}"/>
                  </a:ext>
                </a:extLst>
              </p:cNvPr>
              <p:cNvSpPr/>
              <p:nvPr/>
            </p:nvSpPr>
            <p:spPr>
              <a:xfrm>
                <a:off x="3483588" y="2877510"/>
                <a:ext cx="35772" cy="36412"/>
              </a:xfrm>
              <a:custGeom>
                <a:avLst/>
                <a:gdLst>
                  <a:gd name="connsiteX0" fmla="*/ 0 w 35772"/>
                  <a:gd name="connsiteY0" fmla="*/ 0 h 36412"/>
                  <a:gd name="connsiteX1" fmla="*/ 35772 w 35772"/>
                  <a:gd name="connsiteY1" fmla="*/ 36412 h 36412"/>
                  <a:gd name="connsiteX2" fmla="*/ 0 w 35772"/>
                  <a:gd name="connsiteY2" fmla="*/ 0 h 364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5772" h="36412">
                    <a:moveTo>
                      <a:pt x="0" y="0"/>
                    </a:moveTo>
                    <a:lnTo>
                      <a:pt x="35772" y="36412"/>
                    </a:lnTo>
                    <a:cubicBezTo>
                      <a:pt x="23815" y="24176"/>
                      <a:pt x="11758" y="1164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903" name="Freeform: Shape 1902">
                <a:extLst>
                  <a:ext uri="{FF2B5EF4-FFF2-40B4-BE49-F238E27FC236}">
                    <a16:creationId xmlns:a16="http://schemas.microsoft.com/office/drawing/2014/main" id="{515E26F0-A3B5-49AE-8EEB-864C0E2B9FDA}"/>
                  </a:ext>
                </a:extLst>
              </p:cNvPr>
              <p:cNvSpPr/>
              <p:nvPr/>
            </p:nvSpPr>
            <p:spPr>
              <a:xfrm>
                <a:off x="3579545" y="2975207"/>
                <a:ext cx="26106" cy="26563"/>
              </a:xfrm>
              <a:custGeom>
                <a:avLst/>
                <a:gdLst>
                  <a:gd name="connsiteX0" fmla="*/ 26107 w 26106"/>
                  <a:gd name="connsiteY0" fmla="*/ 26563 h 26563"/>
                  <a:gd name="connsiteX1" fmla="*/ 15445 w 26106"/>
                  <a:gd name="connsiteY1" fmla="*/ 16018 h 26563"/>
                  <a:gd name="connsiteX2" fmla="*/ 0 w 26106"/>
                  <a:gd name="connsiteY2" fmla="*/ 0 h 26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106" h="26563">
                    <a:moveTo>
                      <a:pt x="26107" y="26563"/>
                    </a:moveTo>
                    <a:cubicBezTo>
                      <a:pt x="21981" y="23668"/>
                      <a:pt x="18384" y="20106"/>
                      <a:pt x="15445" y="16018"/>
                    </a:cubicBezTo>
                    <a:cubicBezTo>
                      <a:pt x="10463" y="10645"/>
                      <a:pt x="5480" y="547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601" name="Freeform: Shape 1600">
              <a:extLst>
                <a:ext uri="{FF2B5EF4-FFF2-40B4-BE49-F238E27FC236}">
                  <a16:creationId xmlns:a16="http://schemas.microsoft.com/office/drawing/2014/main" id="{73C74B04-F244-4579-91F1-86B08BC0F8AE}"/>
                </a:ext>
              </a:extLst>
            </p:cNvPr>
            <p:cNvSpPr/>
            <p:nvPr/>
          </p:nvSpPr>
          <p:spPr>
            <a:xfrm>
              <a:off x="4559939" y="1461704"/>
              <a:ext cx="26509" cy="59194"/>
            </a:xfrm>
            <a:custGeom>
              <a:avLst/>
              <a:gdLst>
                <a:gd name="connsiteX0" fmla="*/ 19734 w 26509"/>
                <a:gd name="connsiteY0" fmla="*/ 50341 h 59194"/>
                <a:gd name="connsiteX1" fmla="*/ 26510 w 26509"/>
                <a:gd name="connsiteY1" fmla="*/ 59195 h 59194"/>
                <a:gd name="connsiteX2" fmla="*/ 19734 w 26509"/>
                <a:gd name="connsiteY2" fmla="*/ 50341 h 59194"/>
                <a:gd name="connsiteX3" fmla="*/ 13457 w 26509"/>
                <a:gd name="connsiteY3" fmla="*/ 27259 h 59194"/>
                <a:gd name="connsiteX4" fmla="*/ 14154 w 26509"/>
                <a:gd name="connsiteY4" fmla="*/ 27956 h 59194"/>
                <a:gd name="connsiteX5" fmla="*/ 12958 w 26509"/>
                <a:gd name="connsiteY5" fmla="*/ 26364 h 59194"/>
                <a:gd name="connsiteX6" fmla="*/ 13556 w 26509"/>
                <a:gd name="connsiteY6" fmla="*/ 27259 h 59194"/>
                <a:gd name="connsiteX7" fmla="*/ 9670 w 26509"/>
                <a:gd name="connsiteY7" fmla="*/ 21788 h 59194"/>
                <a:gd name="connsiteX8" fmla="*/ 2296 w 26509"/>
                <a:gd name="connsiteY8" fmla="*/ 11839 h 59194"/>
                <a:gd name="connsiteX9" fmla="*/ 9770 w 26509"/>
                <a:gd name="connsiteY9" fmla="*/ 21788 h 59194"/>
                <a:gd name="connsiteX10" fmla="*/ 1201 w 26509"/>
                <a:gd name="connsiteY10" fmla="*/ 0 h 59194"/>
                <a:gd name="connsiteX11" fmla="*/ 105 w 26509"/>
                <a:gd name="connsiteY11" fmla="*/ 6765 h 59194"/>
                <a:gd name="connsiteX12" fmla="*/ 1300 w 26509"/>
                <a:gd name="connsiteY12" fmla="*/ 0 h 59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509" h="59194">
                  <a:moveTo>
                    <a:pt x="19734" y="50341"/>
                  </a:moveTo>
                  <a:cubicBezTo>
                    <a:pt x="20452" y="54201"/>
                    <a:pt x="22973" y="57484"/>
                    <a:pt x="26510" y="59195"/>
                  </a:cubicBezTo>
                  <a:cubicBezTo>
                    <a:pt x="23262" y="57146"/>
                    <a:pt x="20860" y="54002"/>
                    <a:pt x="19734" y="50341"/>
                  </a:cubicBezTo>
                  <a:close/>
                  <a:moveTo>
                    <a:pt x="13457" y="27259"/>
                  </a:moveTo>
                  <a:lnTo>
                    <a:pt x="14154" y="27956"/>
                  </a:lnTo>
                  <a:lnTo>
                    <a:pt x="12958" y="26364"/>
                  </a:lnTo>
                  <a:cubicBezTo>
                    <a:pt x="13218" y="26613"/>
                    <a:pt x="13427" y="26921"/>
                    <a:pt x="13556" y="27259"/>
                  </a:cubicBezTo>
                  <a:close/>
                  <a:moveTo>
                    <a:pt x="9670" y="21788"/>
                  </a:moveTo>
                  <a:cubicBezTo>
                    <a:pt x="7279" y="18604"/>
                    <a:pt x="4788" y="15222"/>
                    <a:pt x="2296" y="11839"/>
                  </a:cubicBezTo>
                  <a:cubicBezTo>
                    <a:pt x="4558" y="15321"/>
                    <a:pt x="7060" y="18644"/>
                    <a:pt x="9770" y="21788"/>
                  </a:cubicBezTo>
                  <a:close/>
                  <a:moveTo>
                    <a:pt x="1201" y="0"/>
                  </a:moveTo>
                  <a:cubicBezTo>
                    <a:pt x="174" y="2099"/>
                    <a:pt x="-204" y="4447"/>
                    <a:pt x="105" y="6765"/>
                  </a:cubicBezTo>
                  <a:cubicBezTo>
                    <a:pt x="702" y="4547"/>
                    <a:pt x="1101" y="2288"/>
                    <a:pt x="130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602" name="Graphic 231">
              <a:extLst>
                <a:ext uri="{FF2B5EF4-FFF2-40B4-BE49-F238E27FC236}">
                  <a16:creationId xmlns:a16="http://schemas.microsoft.com/office/drawing/2014/main" id="{0A379DDF-339E-4733-8E37-C7196A5A526A}"/>
                </a:ext>
              </a:extLst>
            </p:cNvPr>
            <p:cNvGrpSpPr/>
            <p:nvPr/>
          </p:nvGrpSpPr>
          <p:grpSpPr>
            <a:xfrm>
              <a:off x="-944793" y="2652967"/>
              <a:ext cx="75729" cy="521115"/>
              <a:chOff x="-944793" y="2652967"/>
              <a:chExt cx="75729" cy="521115"/>
            </a:xfrm>
            <a:solidFill>
              <a:srgbClr val="ECE8E4"/>
            </a:solidFill>
          </p:grpSpPr>
          <p:sp>
            <p:nvSpPr>
              <p:cNvPr id="1847" name="Freeform: Shape 1846">
                <a:extLst>
                  <a:ext uri="{FF2B5EF4-FFF2-40B4-BE49-F238E27FC236}">
                    <a16:creationId xmlns:a16="http://schemas.microsoft.com/office/drawing/2014/main" id="{FA40D713-E18A-4A81-93B4-5BC159995E38}"/>
                  </a:ext>
                </a:extLst>
              </p:cNvPr>
              <p:cNvSpPr/>
              <p:nvPr/>
            </p:nvSpPr>
            <p:spPr>
              <a:xfrm>
                <a:off x="-944793" y="2673561"/>
                <a:ext cx="9964" cy="3681"/>
              </a:xfrm>
              <a:custGeom>
                <a:avLst/>
                <a:gdLst>
                  <a:gd name="connsiteX0" fmla="*/ 0 w 9964"/>
                  <a:gd name="connsiteY0" fmla="*/ 0 h 3681"/>
                  <a:gd name="connsiteX1" fmla="*/ 0 w 9964"/>
                  <a:gd name="connsiteY1" fmla="*/ 3681 h 3681"/>
                  <a:gd name="connsiteX2" fmla="*/ 0 w 9964"/>
                  <a:gd name="connsiteY2" fmla="*/ 1194 h 3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3681">
                    <a:moveTo>
                      <a:pt x="0" y="0"/>
                    </a:moveTo>
                    <a:cubicBezTo>
                      <a:pt x="0" y="1293"/>
                      <a:pt x="0" y="2487"/>
                      <a:pt x="0" y="3681"/>
                    </a:cubicBezTo>
                    <a:cubicBezTo>
                      <a:pt x="0" y="2786"/>
                      <a:pt x="0" y="1990"/>
                      <a:pt x="0" y="119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48" name="Freeform: Shape 1847">
                <a:extLst>
                  <a:ext uri="{FF2B5EF4-FFF2-40B4-BE49-F238E27FC236}">
                    <a16:creationId xmlns:a16="http://schemas.microsoft.com/office/drawing/2014/main" id="{55C52F4B-E41C-4072-8D56-488633CBE81B}"/>
                  </a:ext>
                </a:extLst>
              </p:cNvPr>
              <p:cNvSpPr/>
              <p:nvPr/>
            </p:nvSpPr>
            <p:spPr>
              <a:xfrm>
                <a:off x="-944395" y="2660329"/>
                <a:ext cx="597" cy="3482"/>
              </a:xfrm>
              <a:custGeom>
                <a:avLst/>
                <a:gdLst>
                  <a:gd name="connsiteX0" fmla="*/ 598 w 597"/>
                  <a:gd name="connsiteY0" fmla="*/ 0 h 3482"/>
                  <a:gd name="connsiteX1" fmla="*/ 0 w 597"/>
                  <a:gd name="connsiteY1" fmla="*/ 3482 h 3482"/>
                  <a:gd name="connsiteX2" fmla="*/ 598 w 597"/>
                  <a:gd name="connsiteY2" fmla="*/ 0 h 3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7" h="3482">
                    <a:moveTo>
                      <a:pt x="598" y="0"/>
                    </a:moveTo>
                    <a:cubicBezTo>
                      <a:pt x="309" y="1144"/>
                      <a:pt x="110" y="2308"/>
                      <a:pt x="0" y="3482"/>
                    </a:cubicBezTo>
                    <a:cubicBezTo>
                      <a:pt x="20" y="2298"/>
                      <a:pt x="219" y="1124"/>
                      <a:pt x="5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49" name="Freeform: Shape 1848">
                <a:extLst>
                  <a:ext uri="{FF2B5EF4-FFF2-40B4-BE49-F238E27FC236}">
                    <a16:creationId xmlns:a16="http://schemas.microsoft.com/office/drawing/2014/main" id="{C419C94D-F69B-4EA2-83F7-3287DEF6A314}"/>
                  </a:ext>
                </a:extLst>
              </p:cNvPr>
              <p:cNvSpPr/>
              <p:nvPr/>
            </p:nvSpPr>
            <p:spPr>
              <a:xfrm>
                <a:off x="-940907" y="3078873"/>
                <a:ext cx="1166" cy="8953"/>
              </a:xfrm>
              <a:custGeom>
                <a:avLst/>
                <a:gdLst>
                  <a:gd name="connsiteX0" fmla="*/ 1096 w 1166"/>
                  <a:gd name="connsiteY0" fmla="*/ 0 h 8953"/>
                  <a:gd name="connsiteX1" fmla="*/ 0 w 1166"/>
                  <a:gd name="connsiteY1" fmla="*/ 8954 h 8953"/>
                  <a:gd name="connsiteX2" fmla="*/ 1096 w 1166"/>
                  <a:gd name="connsiteY2" fmla="*/ 0 h 8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66" h="8953">
                    <a:moveTo>
                      <a:pt x="1096" y="0"/>
                    </a:moveTo>
                    <a:cubicBezTo>
                      <a:pt x="1335" y="3024"/>
                      <a:pt x="967" y="6069"/>
                      <a:pt x="0" y="8954"/>
                    </a:cubicBezTo>
                    <a:cubicBezTo>
                      <a:pt x="299" y="6268"/>
                      <a:pt x="1096" y="3084"/>
                      <a:pt x="10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0" name="Freeform: Shape 1849">
                <a:extLst>
                  <a:ext uri="{FF2B5EF4-FFF2-40B4-BE49-F238E27FC236}">
                    <a16:creationId xmlns:a16="http://schemas.microsoft.com/office/drawing/2014/main" id="{0A4FEA1D-F4A5-4875-BFF5-CFE5EEBCB9F4}"/>
                  </a:ext>
                </a:extLst>
              </p:cNvPr>
              <p:cNvSpPr/>
              <p:nvPr/>
            </p:nvSpPr>
            <p:spPr>
              <a:xfrm>
                <a:off x="-940309" y="3091309"/>
                <a:ext cx="2989" cy="2686"/>
              </a:xfrm>
              <a:custGeom>
                <a:avLst/>
                <a:gdLst>
                  <a:gd name="connsiteX0" fmla="*/ 2989 w 2989"/>
                  <a:gd name="connsiteY0" fmla="*/ 2686 h 2686"/>
                  <a:gd name="connsiteX1" fmla="*/ 0 w 2989"/>
                  <a:gd name="connsiteY1" fmla="*/ 0 h 2686"/>
                  <a:gd name="connsiteX2" fmla="*/ 2989 w 2989"/>
                  <a:gd name="connsiteY2" fmla="*/ 2686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89" h="2686">
                    <a:moveTo>
                      <a:pt x="2989" y="2686"/>
                    </a:moveTo>
                    <a:cubicBezTo>
                      <a:pt x="1664" y="2239"/>
                      <a:pt x="588" y="1263"/>
                      <a:pt x="0" y="0"/>
                    </a:cubicBezTo>
                    <a:cubicBezTo>
                      <a:pt x="1256" y="557"/>
                      <a:pt x="2302" y="1502"/>
                      <a:pt x="2989" y="26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1" name="Freeform: Shape 1850">
                <a:extLst>
                  <a:ext uri="{FF2B5EF4-FFF2-40B4-BE49-F238E27FC236}">
                    <a16:creationId xmlns:a16="http://schemas.microsoft.com/office/drawing/2014/main" id="{4C7E123E-E0DB-4C97-9462-D2BD7EB4F675}"/>
                  </a:ext>
                </a:extLst>
              </p:cNvPr>
              <p:cNvSpPr/>
              <p:nvPr/>
            </p:nvSpPr>
            <p:spPr>
              <a:xfrm>
                <a:off x="-939413" y="2696642"/>
                <a:ext cx="4584" cy="11938"/>
              </a:xfrm>
              <a:custGeom>
                <a:avLst/>
                <a:gdLst>
                  <a:gd name="connsiteX0" fmla="*/ 4584 w 4584"/>
                  <a:gd name="connsiteY0" fmla="*/ 0 h 11938"/>
                  <a:gd name="connsiteX1" fmla="*/ 1 w 4584"/>
                  <a:gd name="connsiteY1" fmla="*/ 11939 h 11938"/>
                  <a:gd name="connsiteX2" fmla="*/ 4584 w 4584"/>
                  <a:gd name="connsiteY2" fmla="*/ 0 h 11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584" h="11938">
                    <a:moveTo>
                      <a:pt x="4584" y="0"/>
                    </a:moveTo>
                    <a:cubicBezTo>
                      <a:pt x="2093" y="3542"/>
                      <a:pt x="519" y="7641"/>
                      <a:pt x="1" y="11939"/>
                    </a:cubicBezTo>
                    <a:cubicBezTo>
                      <a:pt x="-39" y="7521"/>
                      <a:pt x="1595" y="3253"/>
                      <a:pt x="458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2" name="Freeform: Shape 1851">
                <a:extLst>
                  <a:ext uri="{FF2B5EF4-FFF2-40B4-BE49-F238E27FC236}">
                    <a16:creationId xmlns:a16="http://schemas.microsoft.com/office/drawing/2014/main" id="{602C2B64-CE11-4CB9-A96B-F9A0BCF8960A}"/>
                  </a:ext>
                </a:extLst>
              </p:cNvPr>
              <p:cNvSpPr/>
              <p:nvPr/>
            </p:nvSpPr>
            <p:spPr>
              <a:xfrm>
                <a:off x="-938017" y="2726886"/>
                <a:ext cx="3089" cy="6964"/>
              </a:xfrm>
              <a:custGeom>
                <a:avLst/>
                <a:gdLst>
                  <a:gd name="connsiteX0" fmla="*/ 0 w 3089"/>
                  <a:gd name="connsiteY0" fmla="*/ 0 h 6964"/>
                  <a:gd name="connsiteX1" fmla="*/ 3089 w 3089"/>
                  <a:gd name="connsiteY1" fmla="*/ 6964 h 6964"/>
                  <a:gd name="connsiteX2" fmla="*/ 199 w 3089"/>
                  <a:gd name="connsiteY2" fmla="*/ 3581 h 6964"/>
                  <a:gd name="connsiteX3" fmla="*/ 0 w 3089"/>
                  <a:gd name="connsiteY3" fmla="*/ 0 h 6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89" h="6964">
                    <a:moveTo>
                      <a:pt x="0" y="0"/>
                    </a:moveTo>
                    <a:cubicBezTo>
                      <a:pt x="747" y="2437"/>
                      <a:pt x="1784" y="4776"/>
                      <a:pt x="3089" y="6964"/>
                    </a:cubicBezTo>
                    <a:cubicBezTo>
                      <a:pt x="2411" y="5621"/>
                      <a:pt x="1425" y="4457"/>
                      <a:pt x="199" y="3581"/>
                    </a:cubicBezTo>
                    <a:cubicBezTo>
                      <a:pt x="199" y="2487"/>
                      <a:pt x="100" y="129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3" name="Freeform: Shape 1852">
                <a:extLst>
                  <a:ext uri="{FF2B5EF4-FFF2-40B4-BE49-F238E27FC236}">
                    <a16:creationId xmlns:a16="http://schemas.microsoft.com/office/drawing/2014/main" id="{4CBD288F-CE71-41EC-8B96-892A3295AB4F}"/>
                  </a:ext>
                </a:extLst>
              </p:cNvPr>
              <p:cNvSpPr/>
              <p:nvPr/>
            </p:nvSpPr>
            <p:spPr>
              <a:xfrm>
                <a:off x="-936672" y="3098074"/>
                <a:ext cx="149" cy="9252"/>
              </a:xfrm>
              <a:custGeom>
                <a:avLst/>
                <a:gdLst>
                  <a:gd name="connsiteX0" fmla="*/ 149 w 149"/>
                  <a:gd name="connsiteY0" fmla="*/ 0 h 9252"/>
                  <a:gd name="connsiteX1" fmla="*/ 149 w 149"/>
                  <a:gd name="connsiteY1" fmla="*/ 9252 h 9252"/>
                  <a:gd name="connsiteX2" fmla="*/ 149 w 149"/>
                  <a:gd name="connsiteY2" fmla="*/ 0 h 9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9" h="9252">
                    <a:moveTo>
                      <a:pt x="149" y="0"/>
                    </a:moveTo>
                    <a:cubicBezTo>
                      <a:pt x="149" y="2885"/>
                      <a:pt x="149" y="6268"/>
                      <a:pt x="149" y="9252"/>
                    </a:cubicBezTo>
                    <a:cubicBezTo>
                      <a:pt x="-50" y="6168"/>
                      <a:pt x="-50" y="3084"/>
                      <a:pt x="14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4" name="Freeform: Shape 1853">
                <a:extLst>
                  <a:ext uri="{FF2B5EF4-FFF2-40B4-BE49-F238E27FC236}">
                    <a16:creationId xmlns:a16="http://schemas.microsoft.com/office/drawing/2014/main" id="{162B7789-E03E-4F62-B8B6-B3539ABEC22B}"/>
                  </a:ext>
                </a:extLst>
              </p:cNvPr>
              <p:cNvSpPr/>
              <p:nvPr/>
            </p:nvSpPr>
            <p:spPr>
              <a:xfrm>
                <a:off x="-935103" y="2753151"/>
                <a:ext cx="373" cy="8158"/>
              </a:xfrm>
              <a:custGeom>
                <a:avLst/>
                <a:gdLst>
                  <a:gd name="connsiteX0" fmla="*/ 374 w 373"/>
                  <a:gd name="connsiteY0" fmla="*/ 0 h 8158"/>
                  <a:gd name="connsiteX1" fmla="*/ 374 w 373"/>
                  <a:gd name="connsiteY1" fmla="*/ 8158 h 8158"/>
                  <a:gd name="connsiteX2" fmla="*/ 374 w 373"/>
                  <a:gd name="connsiteY2" fmla="*/ 0 h 8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73" h="8158">
                    <a:moveTo>
                      <a:pt x="374" y="0"/>
                    </a:moveTo>
                    <a:cubicBezTo>
                      <a:pt x="175" y="2716"/>
                      <a:pt x="175" y="5442"/>
                      <a:pt x="374" y="8158"/>
                    </a:cubicBezTo>
                    <a:cubicBezTo>
                      <a:pt x="-125" y="5462"/>
                      <a:pt x="-125" y="2696"/>
                      <a:pt x="37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5" name="Freeform: Shape 1854">
                <a:extLst>
                  <a:ext uri="{FF2B5EF4-FFF2-40B4-BE49-F238E27FC236}">
                    <a16:creationId xmlns:a16="http://schemas.microsoft.com/office/drawing/2014/main" id="{5DAC7F6D-6375-4FAE-B973-406F619FE8AA}"/>
                  </a:ext>
                </a:extLst>
              </p:cNvPr>
              <p:cNvSpPr/>
              <p:nvPr/>
            </p:nvSpPr>
            <p:spPr>
              <a:xfrm>
                <a:off x="-941007" y="3172192"/>
                <a:ext cx="7373" cy="1890"/>
              </a:xfrm>
              <a:custGeom>
                <a:avLst/>
                <a:gdLst>
                  <a:gd name="connsiteX0" fmla="*/ 1196 w 7373"/>
                  <a:gd name="connsiteY0" fmla="*/ 0 h 1890"/>
                  <a:gd name="connsiteX1" fmla="*/ 7374 w 7373"/>
                  <a:gd name="connsiteY1" fmla="*/ 995 h 1890"/>
                  <a:gd name="connsiteX2" fmla="*/ 6178 w 7373"/>
                  <a:gd name="connsiteY2" fmla="*/ 995 h 1890"/>
                  <a:gd name="connsiteX3" fmla="*/ 0 w 7373"/>
                  <a:gd name="connsiteY3" fmla="*/ 1890 h 1890"/>
                  <a:gd name="connsiteX4" fmla="*/ 1196 w 7373"/>
                  <a:gd name="connsiteY4" fmla="*/ 0 h 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373" h="1890">
                    <a:moveTo>
                      <a:pt x="1196" y="0"/>
                    </a:moveTo>
                    <a:cubicBezTo>
                      <a:pt x="3189" y="656"/>
                      <a:pt x="5271" y="995"/>
                      <a:pt x="7374" y="995"/>
                    </a:cubicBezTo>
                    <a:lnTo>
                      <a:pt x="6178" y="995"/>
                    </a:lnTo>
                    <a:cubicBezTo>
                      <a:pt x="5680" y="995"/>
                      <a:pt x="3388" y="995"/>
                      <a:pt x="0" y="1890"/>
                    </a:cubicBezTo>
                    <a:cubicBezTo>
                      <a:pt x="359" y="1234"/>
                      <a:pt x="757" y="607"/>
                      <a:pt x="11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6" name="Freeform: Shape 1855">
                <a:extLst>
                  <a:ext uri="{FF2B5EF4-FFF2-40B4-BE49-F238E27FC236}">
                    <a16:creationId xmlns:a16="http://schemas.microsoft.com/office/drawing/2014/main" id="{D49F3DF5-BC2D-40D2-84AE-3EF932387BD9}"/>
                  </a:ext>
                </a:extLst>
              </p:cNvPr>
              <p:cNvSpPr/>
              <p:nvPr/>
            </p:nvSpPr>
            <p:spPr>
              <a:xfrm>
                <a:off x="-934928" y="2733751"/>
                <a:ext cx="2092" cy="6168"/>
              </a:xfrm>
              <a:custGeom>
                <a:avLst/>
                <a:gdLst>
                  <a:gd name="connsiteX0" fmla="*/ 1495 w 2092"/>
                  <a:gd name="connsiteY0" fmla="*/ 6168 h 6168"/>
                  <a:gd name="connsiteX1" fmla="*/ 0 w 2092"/>
                  <a:gd name="connsiteY1" fmla="*/ 0 h 6168"/>
                  <a:gd name="connsiteX2" fmla="*/ 2092 w 2092"/>
                  <a:gd name="connsiteY2" fmla="*/ 2587 h 6168"/>
                  <a:gd name="connsiteX3" fmla="*/ 1495 w 2092"/>
                  <a:gd name="connsiteY3" fmla="*/ 6168 h 6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2" h="6168">
                    <a:moveTo>
                      <a:pt x="1495" y="6168"/>
                    </a:moveTo>
                    <a:cubicBezTo>
                      <a:pt x="1485" y="4019"/>
                      <a:pt x="976" y="1910"/>
                      <a:pt x="0" y="0"/>
                    </a:cubicBezTo>
                    <a:cubicBezTo>
                      <a:pt x="648" y="905"/>
                      <a:pt x="1345" y="1761"/>
                      <a:pt x="2092" y="2587"/>
                    </a:cubicBezTo>
                    <a:cubicBezTo>
                      <a:pt x="1893" y="3781"/>
                      <a:pt x="1694" y="4974"/>
                      <a:pt x="1495" y="616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7" name="Freeform: Shape 1856">
                <a:extLst>
                  <a:ext uri="{FF2B5EF4-FFF2-40B4-BE49-F238E27FC236}">
                    <a16:creationId xmlns:a16="http://schemas.microsoft.com/office/drawing/2014/main" id="{60AB8166-3938-4EDE-AF57-A265C01E9139}"/>
                  </a:ext>
                </a:extLst>
              </p:cNvPr>
              <p:cNvSpPr/>
              <p:nvPr/>
            </p:nvSpPr>
            <p:spPr>
              <a:xfrm>
                <a:off x="-935128" y="2652967"/>
                <a:ext cx="11259" cy="4377"/>
              </a:xfrm>
              <a:custGeom>
                <a:avLst/>
                <a:gdLst>
                  <a:gd name="connsiteX0" fmla="*/ 11260 w 11259"/>
                  <a:gd name="connsiteY0" fmla="*/ 0 h 4377"/>
                  <a:gd name="connsiteX1" fmla="*/ 0 w 11259"/>
                  <a:gd name="connsiteY1" fmla="*/ 4377 h 4377"/>
                  <a:gd name="connsiteX2" fmla="*/ 11260 w 11259"/>
                  <a:gd name="connsiteY2" fmla="*/ 0 h 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259" h="4377">
                    <a:moveTo>
                      <a:pt x="11260" y="0"/>
                    </a:moveTo>
                    <a:cubicBezTo>
                      <a:pt x="7354" y="1044"/>
                      <a:pt x="3577" y="2507"/>
                      <a:pt x="0" y="4377"/>
                    </a:cubicBezTo>
                    <a:cubicBezTo>
                      <a:pt x="3418" y="2169"/>
                      <a:pt x="7244" y="676"/>
                      <a:pt x="1126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8" name="Freeform: Shape 1857">
                <a:extLst>
                  <a:ext uri="{FF2B5EF4-FFF2-40B4-BE49-F238E27FC236}">
                    <a16:creationId xmlns:a16="http://schemas.microsoft.com/office/drawing/2014/main" id="{02FE9623-40A7-4008-B90D-571CD7CFE512}"/>
                  </a:ext>
                </a:extLst>
              </p:cNvPr>
              <p:cNvSpPr/>
              <p:nvPr/>
            </p:nvSpPr>
            <p:spPr>
              <a:xfrm>
                <a:off x="-930594" y="2840202"/>
                <a:ext cx="448" cy="6566"/>
              </a:xfrm>
              <a:custGeom>
                <a:avLst/>
                <a:gdLst>
                  <a:gd name="connsiteX0" fmla="*/ 448 w 448"/>
                  <a:gd name="connsiteY0" fmla="*/ 0 h 6566"/>
                  <a:gd name="connsiteX1" fmla="*/ 448 w 448"/>
                  <a:gd name="connsiteY1" fmla="*/ 6566 h 6566"/>
                  <a:gd name="connsiteX2" fmla="*/ 448 w 448"/>
                  <a:gd name="connsiteY2" fmla="*/ 0 h 6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" h="6566">
                    <a:moveTo>
                      <a:pt x="448" y="0"/>
                    </a:moveTo>
                    <a:cubicBezTo>
                      <a:pt x="448" y="2388"/>
                      <a:pt x="448" y="4577"/>
                      <a:pt x="448" y="6566"/>
                    </a:cubicBezTo>
                    <a:cubicBezTo>
                      <a:pt x="-149" y="4417"/>
                      <a:pt x="-149" y="2149"/>
                      <a:pt x="44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59" name="Freeform: Shape 1858">
                <a:extLst>
                  <a:ext uri="{FF2B5EF4-FFF2-40B4-BE49-F238E27FC236}">
                    <a16:creationId xmlns:a16="http://schemas.microsoft.com/office/drawing/2014/main" id="{C241DD32-16DF-4512-A959-DA3A3348CB83}"/>
                  </a:ext>
                </a:extLst>
              </p:cNvPr>
              <p:cNvSpPr/>
              <p:nvPr/>
            </p:nvSpPr>
            <p:spPr>
              <a:xfrm>
                <a:off x="-929448" y="2812147"/>
                <a:ext cx="2192" cy="4377"/>
              </a:xfrm>
              <a:custGeom>
                <a:avLst/>
                <a:gdLst>
                  <a:gd name="connsiteX0" fmla="*/ 2192 w 2192"/>
                  <a:gd name="connsiteY0" fmla="*/ 0 h 4377"/>
                  <a:gd name="connsiteX1" fmla="*/ 0 w 2192"/>
                  <a:gd name="connsiteY1" fmla="*/ 4377 h 4377"/>
                  <a:gd name="connsiteX2" fmla="*/ 598 w 2192"/>
                  <a:gd name="connsiteY2" fmla="*/ 0 h 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92" h="4377">
                    <a:moveTo>
                      <a:pt x="2192" y="0"/>
                    </a:moveTo>
                    <a:cubicBezTo>
                      <a:pt x="1186" y="1303"/>
                      <a:pt x="448" y="2795"/>
                      <a:pt x="0" y="4377"/>
                    </a:cubicBezTo>
                    <a:cubicBezTo>
                      <a:pt x="0" y="2686"/>
                      <a:pt x="0" y="1293"/>
                      <a:pt x="598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0" name="Freeform: Shape 1859">
                <a:extLst>
                  <a:ext uri="{FF2B5EF4-FFF2-40B4-BE49-F238E27FC236}">
                    <a16:creationId xmlns:a16="http://schemas.microsoft.com/office/drawing/2014/main" id="{D5A205F4-6ADA-4512-AE57-4AEA7093D30E}"/>
                  </a:ext>
                </a:extLst>
              </p:cNvPr>
              <p:cNvSpPr/>
              <p:nvPr/>
            </p:nvSpPr>
            <p:spPr>
              <a:xfrm>
                <a:off x="-927355" y="2854429"/>
                <a:ext cx="9266" cy="11839"/>
              </a:xfrm>
              <a:custGeom>
                <a:avLst/>
                <a:gdLst>
                  <a:gd name="connsiteX0" fmla="*/ 9267 w 9266"/>
                  <a:gd name="connsiteY0" fmla="*/ 11839 h 11839"/>
                  <a:gd name="connsiteX1" fmla="*/ 0 w 9266"/>
                  <a:gd name="connsiteY1" fmla="*/ 0 h 11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66" h="11839">
                    <a:moveTo>
                      <a:pt x="9267" y="11839"/>
                    </a:moveTo>
                    <a:cubicBezTo>
                      <a:pt x="5889" y="8128"/>
                      <a:pt x="2800" y="416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1" name="Freeform: Shape 1860">
                <a:extLst>
                  <a:ext uri="{FF2B5EF4-FFF2-40B4-BE49-F238E27FC236}">
                    <a16:creationId xmlns:a16="http://schemas.microsoft.com/office/drawing/2014/main" id="{91535964-B2CF-4C9B-91F5-5186FA48EAE8}"/>
                  </a:ext>
                </a:extLst>
              </p:cNvPr>
              <p:cNvSpPr/>
              <p:nvPr/>
            </p:nvSpPr>
            <p:spPr>
              <a:xfrm>
                <a:off x="-929747" y="3170102"/>
                <a:ext cx="6576" cy="2686"/>
              </a:xfrm>
              <a:custGeom>
                <a:avLst/>
                <a:gdLst>
                  <a:gd name="connsiteX0" fmla="*/ 0 w 6576"/>
                  <a:gd name="connsiteY0" fmla="*/ 2686 h 2686"/>
                  <a:gd name="connsiteX1" fmla="*/ 6577 w 6576"/>
                  <a:gd name="connsiteY1" fmla="*/ 0 h 2686"/>
                  <a:gd name="connsiteX2" fmla="*/ 0 w 6576"/>
                  <a:gd name="connsiteY2" fmla="*/ 2686 h 2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76" h="2686">
                    <a:moveTo>
                      <a:pt x="0" y="2686"/>
                    </a:moveTo>
                    <a:cubicBezTo>
                      <a:pt x="2312" y="2129"/>
                      <a:pt x="4534" y="1224"/>
                      <a:pt x="6577" y="0"/>
                    </a:cubicBezTo>
                    <a:cubicBezTo>
                      <a:pt x="4594" y="1343"/>
                      <a:pt x="2352" y="2259"/>
                      <a:pt x="0" y="26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2" name="Freeform: Shape 1861">
                <a:extLst>
                  <a:ext uri="{FF2B5EF4-FFF2-40B4-BE49-F238E27FC236}">
                    <a16:creationId xmlns:a16="http://schemas.microsoft.com/office/drawing/2014/main" id="{B6D8FBCC-45A1-4C9D-B0E7-EDCC143E9C5E}"/>
                  </a:ext>
                </a:extLst>
              </p:cNvPr>
              <p:cNvSpPr/>
              <p:nvPr/>
            </p:nvSpPr>
            <p:spPr>
              <a:xfrm>
                <a:off x="-930245" y="2768770"/>
                <a:ext cx="4982" cy="19897"/>
              </a:xfrm>
              <a:custGeom>
                <a:avLst/>
                <a:gdLst>
                  <a:gd name="connsiteX0" fmla="*/ 4982 w 4982"/>
                  <a:gd name="connsiteY0" fmla="*/ 19897 h 19897"/>
                  <a:gd name="connsiteX1" fmla="*/ 0 w 4982"/>
                  <a:gd name="connsiteY1" fmla="*/ 0 h 19897"/>
                  <a:gd name="connsiteX2" fmla="*/ 4982 w 4982"/>
                  <a:gd name="connsiteY2" fmla="*/ 19897 h 1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82" h="19897">
                    <a:moveTo>
                      <a:pt x="4982" y="19897"/>
                    </a:moveTo>
                    <a:cubicBezTo>
                      <a:pt x="3866" y="13142"/>
                      <a:pt x="2192" y="6487"/>
                      <a:pt x="0" y="0"/>
                    </a:cubicBezTo>
                    <a:cubicBezTo>
                      <a:pt x="2601" y="6357"/>
                      <a:pt x="4275" y="13063"/>
                      <a:pt x="4982" y="198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3" name="Freeform: Shape 1862">
                <a:extLst>
                  <a:ext uri="{FF2B5EF4-FFF2-40B4-BE49-F238E27FC236}">
                    <a16:creationId xmlns:a16="http://schemas.microsoft.com/office/drawing/2014/main" id="{A8C2831E-612C-42AD-BA58-0C9F88EE7156}"/>
                  </a:ext>
                </a:extLst>
              </p:cNvPr>
              <p:cNvSpPr/>
              <p:nvPr/>
            </p:nvSpPr>
            <p:spPr>
              <a:xfrm>
                <a:off x="-923968" y="2806078"/>
                <a:ext cx="1096" cy="3482"/>
              </a:xfrm>
              <a:custGeom>
                <a:avLst/>
                <a:gdLst>
                  <a:gd name="connsiteX0" fmla="*/ 0 w 1096"/>
                  <a:gd name="connsiteY0" fmla="*/ 3482 h 3482"/>
                  <a:gd name="connsiteX1" fmla="*/ 598 w 1096"/>
                  <a:gd name="connsiteY1" fmla="*/ 0 h 3482"/>
                  <a:gd name="connsiteX2" fmla="*/ 1096 w 1096"/>
                  <a:gd name="connsiteY2" fmla="*/ 3084 h 3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96" h="3482">
                    <a:moveTo>
                      <a:pt x="0" y="3482"/>
                    </a:moveTo>
                    <a:cubicBezTo>
                      <a:pt x="468" y="2378"/>
                      <a:pt x="668" y="1194"/>
                      <a:pt x="598" y="0"/>
                    </a:cubicBezTo>
                    <a:cubicBezTo>
                      <a:pt x="598" y="1194"/>
                      <a:pt x="598" y="2089"/>
                      <a:pt x="1096" y="30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4" name="Freeform: Shape 1863">
                <a:extLst>
                  <a:ext uri="{FF2B5EF4-FFF2-40B4-BE49-F238E27FC236}">
                    <a16:creationId xmlns:a16="http://schemas.microsoft.com/office/drawing/2014/main" id="{2D797C82-613F-4A30-A29F-0B1D7A43B32B}"/>
                  </a:ext>
                </a:extLst>
              </p:cNvPr>
              <p:cNvSpPr/>
              <p:nvPr/>
            </p:nvSpPr>
            <p:spPr>
              <a:xfrm>
                <a:off x="-920181" y="3128318"/>
                <a:ext cx="4882" cy="1989"/>
              </a:xfrm>
              <a:custGeom>
                <a:avLst/>
                <a:gdLst>
                  <a:gd name="connsiteX0" fmla="*/ 4285 w 4882"/>
                  <a:gd name="connsiteY0" fmla="*/ 1094 h 1989"/>
                  <a:gd name="connsiteX1" fmla="*/ 4882 w 4882"/>
                  <a:gd name="connsiteY1" fmla="*/ 1990 h 1989"/>
                  <a:gd name="connsiteX2" fmla="*/ 0 w 4882"/>
                  <a:gd name="connsiteY2" fmla="*/ 0 h 1989"/>
                  <a:gd name="connsiteX3" fmla="*/ 4285 w 4882"/>
                  <a:gd name="connsiteY3" fmla="*/ 1094 h 1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2" h="1989">
                    <a:moveTo>
                      <a:pt x="4285" y="1094"/>
                    </a:moveTo>
                    <a:cubicBezTo>
                      <a:pt x="4285" y="1094"/>
                      <a:pt x="4783" y="1691"/>
                      <a:pt x="4882" y="1990"/>
                    </a:cubicBezTo>
                    <a:cubicBezTo>
                      <a:pt x="3418" y="975"/>
                      <a:pt x="1754" y="298"/>
                      <a:pt x="0" y="0"/>
                    </a:cubicBezTo>
                    <a:cubicBezTo>
                      <a:pt x="1465" y="209"/>
                      <a:pt x="2900" y="577"/>
                      <a:pt x="4285" y="109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5" name="Freeform: Shape 1864">
                <a:extLst>
                  <a:ext uri="{FF2B5EF4-FFF2-40B4-BE49-F238E27FC236}">
                    <a16:creationId xmlns:a16="http://schemas.microsoft.com/office/drawing/2014/main" id="{96030D43-9085-4D48-BF9D-3D07EE974FDE}"/>
                  </a:ext>
                </a:extLst>
              </p:cNvPr>
              <p:cNvSpPr/>
              <p:nvPr/>
            </p:nvSpPr>
            <p:spPr>
              <a:xfrm>
                <a:off x="-911911" y="3137869"/>
                <a:ext cx="1992" cy="8854"/>
              </a:xfrm>
              <a:custGeom>
                <a:avLst/>
                <a:gdLst>
                  <a:gd name="connsiteX0" fmla="*/ 0 w 1992"/>
                  <a:gd name="connsiteY0" fmla="*/ 0 h 8854"/>
                  <a:gd name="connsiteX1" fmla="*/ 1993 w 1992"/>
                  <a:gd name="connsiteY1" fmla="*/ 8855 h 8854"/>
                  <a:gd name="connsiteX2" fmla="*/ 0 w 1992"/>
                  <a:gd name="connsiteY2" fmla="*/ 0 h 8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" h="8854">
                    <a:moveTo>
                      <a:pt x="0" y="0"/>
                    </a:moveTo>
                    <a:cubicBezTo>
                      <a:pt x="897" y="2895"/>
                      <a:pt x="1564" y="5850"/>
                      <a:pt x="1993" y="8855"/>
                    </a:cubicBezTo>
                    <a:cubicBezTo>
                      <a:pt x="1096" y="5959"/>
                      <a:pt x="428" y="3005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6" name="Freeform: Shape 1865">
                <a:extLst>
                  <a:ext uri="{FF2B5EF4-FFF2-40B4-BE49-F238E27FC236}">
                    <a16:creationId xmlns:a16="http://schemas.microsoft.com/office/drawing/2014/main" id="{8E764E53-9CAE-499C-A220-3A06A442F437}"/>
                  </a:ext>
                </a:extLst>
              </p:cNvPr>
              <p:cNvSpPr/>
              <p:nvPr/>
            </p:nvSpPr>
            <p:spPr>
              <a:xfrm>
                <a:off x="-913206" y="2654857"/>
                <a:ext cx="3387" cy="1497"/>
              </a:xfrm>
              <a:custGeom>
                <a:avLst/>
                <a:gdLst>
                  <a:gd name="connsiteX0" fmla="*/ 0 w 3387"/>
                  <a:gd name="connsiteY0" fmla="*/ 0 h 1497"/>
                  <a:gd name="connsiteX1" fmla="*/ 3388 w 3387"/>
                  <a:gd name="connsiteY1" fmla="*/ 1393 h 1497"/>
                  <a:gd name="connsiteX2" fmla="*/ 1295 w 3387"/>
                  <a:gd name="connsiteY2" fmla="*/ 1393 h 1497"/>
                  <a:gd name="connsiteX3" fmla="*/ 0 w 3387"/>
                  <a:gd name="connsiteY3" fmla="*/ 0 h 1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87" h="1497">
                    <a:moveTo>
                      <a:pt x="0" y="0"/>
                    </a:moveTo>
                    <a:cubicBezTo>
                      <a:pt x="1096" y="547"/>
                      <a:pt x="2222" y="1015"/>
                      <a:pt x="3388" y="1393"/>
                    </a:cubicBezTo>
                    <a:cubicBezTo>
                      <a:pt x="2700" y="1532"/>
                      <a:pt x="1983" y="1532"/>
                      <a:pt x="1295" y="1393"/>
                    </a:cubicBezTo>
                    <a:cubicBezTo>
                      <a:pt x="947" y="856"/>
                      <a:pt x="508" y="38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7" name="Freeform: Shape 1866">
                <a:extLst>
                  <a:ext uri="{FF2B5EF4-FFF2-40B4-BE49-F238E27FC236}">
                    <a16:creationId xmlns:a16="http://schemas.microsoft.com/office/drawing/2014/main" id="{7A5760B0-7FDD-4950-A288-F87209752065}"/>
                  </a:ext>
                </a:extLst>
              </p:cNvPr>
              <p:cNvSpPr/>
              <p:nvPr/>
            </p:nvSpPr>
            <p:spPr>
              <a:xfrm>
                <a:off x="-906629" y="2653862"/>
                <a:ext cx="5480" cy="1890"/>
              </a:xfrm>
              <a:custGeom>
                <a:avLst/>
                <a:gdLst>
                  <a:gd name="connsiteX0" fmla="*/ 0 w 5480"/>
                  <a:gd name="connsiteY0" fmla="*/ 1890 h 1890"/>
                  <a:gd name="connsiteX1" fmla="*/ 5480 w 5480"/>
                  <a:gd name="connsiteY1" fmla="*/ 0 h 1890"/>
                  <a:gd name="connsiteX2" fmla="*/ 0 w 5480"/>
                  <a:gd name="connsiteY2" fmla="*/ 1890 h 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80" h="1890">
                    <a:moveTo>
                      <a:pt x="0" y="1890"/>
                    </a:moveTo>
                    <a:cubicBezTo>
                      <a:pt x="1674" y="875"/>
                      <a:pt x="3537" y="239"/>
                      <a:pt x="5480" y="0"/>
                    </a:cubicBezTo>
                    <a:cubicBezTo>
                      <a:pt x="3687" y="398"/>
                      <a:pt x="1893" y="1293"/>
                      <a:pt x="0" y="189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8" name="Freeform: Shape 1867">
                <a:extLst>
                  <a:ext uri="{FF2B5EF4-FFF2-40B4-BE49-F238E27FC236}">
                    <a16:creationId xmlns:a16="http://schemas.microsoft.com/office/drawing/2014/main" id="{28F25801-1856-4C7A-B86F-04A5CC01A7B6}"/>
                  </a:ext>
                </a:extLst>
              </p:cNvPr>
              <p:cNvSpPr/>
              <p:nvPr/>
            </p:nvSpPr>
            <p:spPr>
              <a:xfrm>
                <a:off x="-899953" y="2653762"/>
                <a:ext cx="1992" cy="696"/>
              </a:xfrm>
              <a:custGeom>
                <a:avLst/>
                <a:gdLst>
                  <a:gd name="connsiteX0" fmla="*/ 1993 w 1992"/>
                  <a:gd name="connsiteY0" fmla="*/ 100 h 696"/>
                  <a:gd name="connsiteX1" fmla="*/ 1993 w 1992"/>
                  <a:gd name="connsiteY1" fmla="*/ 697 h 696"/>
                  <a:gd name="connsiteX2" fmla="*/ 0 w 1992"/>
                  <a:gd name="connsiteY2" fmla="*/ 0 h 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2" h="696">
                    <a:moveTo>
                      <a:pt x="1993" y="100"/>
                    </a:moveTo>
                    <a:lnTo>
                      <a:pt x="1993" y="697"/>
                    </a:lnTo>
                    <a:cubicBezTo>
                      <a:pt x="1435" y="239"/>
                      <a:pt x="727" y="-1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69" name="Freeform: Shape 1868">
                <a:extLst>
                  <a:ext uri="{FF2B5EF4-FFF2-40B4-BE49-F238E27FC236}">
                    <a16:creationId xmlns:a16="http://schemas.microsoft.com/office/drawing/2014/main" id="{E23B2242-FD28-46AC-9322-45ED3531AC56}"/>
                  </a:ext>
                </a:extLst>
              </p:cNvPr>
              <p:cNvSpPr/>
              <p:nvPr/>
            </p:nvSpPr>
            <p:spPr>
              <a:xfrm>
                <a:off x="-892480" y="2915912"/>
                <a:ext cx="6277" cy="3382"/>
              </a:xfrm>
              <a:custGeom>
                <a:avLst/>
                <a:gdLst>
                  <a:gd name="connsiteX0" fmla="*/ 0 w 6277"/>
                  <a:gd name="connsiteY0" fmla="*/ 0 h 3382"/>
                  <a:gd name="connsiteX1" fmla="*/ 6278 w 6277"/>
                  <a:gd name="connsiteY1" fmla="*/ 3383 h 3382"/>
                  <a:gd name="connsiteX2" fmla="*/ 0 w 6277"/>
                  <a:gd name="connsiteY2" fmla="*/ 0 h 3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277" h="3382">
                    <a:moveTo>
                      <a:pt x="0" y="0"/>
                    </a:moveTo>
                    <a:cubicBezTo>
                      <a:pt x="2242" y="836"/>
                      <a:pt x="4354" y="1970"/>
                      <a:pt x="6278" y="3383"/>
                    </a:cubicBezTo>
                    <a:cubicBezTo>
                      <a:pt x="4325" y="2010"/>
                      <a:pt x="2222" y="876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70" name="Freeform: Shape 1869">
                <a:extLst>
                  <a:ext uri="{FF2B5EF4-FFF2-40B4-BE49-F238E27FC236}">
                    <a16:creationId xmlns:a16="http://schemas.microsoft.com/office/drawing/2014/main" id="{3E9A2BED-6187-4CE8-9A5D-1999BA5B49E7}"/>
                  </a:ext>
                </a:extLst>
              </p:cNvPr>
              <p:cNvSpPr/>
              <p:nvPr/>
            </p:nvSpPr>
            <p:spPr>
              <a:xfrm>
                <a:off x="-876537" y="2927751"/>
                <a:ext cx="7473" cy="8754"/>
              </a:xfrm>
              <a:custGeom>
                <a:avLst/>
                <a:gdLst>
                  <a:gd name="connsiteX0" fmla="*/ 7473 w 7473"/>
                  <a:gd name="connsiteY0" fmla="*/ 8755 h 8754"/>
                  <a:gd name="connsiteX1" fmla="*/ 0 w 7473"/>
                  <a:gd name="connsiteY1" fmla="*/ 0 h 8754"/>
                  <a:gd name="connsiteX2" fmla="*/ 7473 w 7473"/>
                  <a:gd name="connsiteY2" fmla="*/ 8755 h 8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473" h="8754">
                    <a:moveTo>
                      <a:pt x="7473" y="8755"/>
                    </a:moveTo>
                    <a:cubicBezTo>
                      <a:pt x="5142" y="5701"/>
                      <a:pt x="2651" y="2776"/>
                      <a:pt x="0" y="0"/>
                    </a:cubicBezTo>
                    <a:cubicBezTo>
                      <a:pt x="2700" y="2736"/>
                      <a:pt x="5201" y="5661"/>
                      <a:pt x="7473" y="875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71" name="Freeform: Shape 1870">
                <a:extLst>
                  <a:ext uri="{FF2B5EF4-FFF2-40B4-BE49-F238E27FC236}">
                    <a16:creationId xmlns:a16="http://schemas.microsoft.com/office/drawing/2014/main" id="{083E3BA5-B478-40C2-8130-6FC5A4E0C680}"/>
                  </a:ext>
                </a:extLst>
              </p:cNvPr>
              <p:cNvSpPr/>
              <p:nvPr/>
            </p:nvSpPr>
            <p:spPr>
              <a:xfrm>
                <a:off x="-877733" y="2673561"/>
                <a:ext cx="4284" cy="231"/>
              </a:xfrm>
              <a:custGeom>
                <a:avLst/>
                <a:gdLst>
                  <a:gd name="connsiteX0" fmla="*/ 0 w 4284"/>
                  <a:gd name="connsiteY0" fmla="*/ 0 h 231"/>
                  <a:gd name="connsiteX1" fmla="*/ 4285 w 4284"/>
                  <a:gd name="connsiteY1" fmla="*/ 0 h 231"/>
                  <a:gd name="connsiteX2" fmla="*/ 0 w 4284"/>
                  <a:gd name="connsiteY2" fmla="*/ 0 h 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84" h="231">
                    <a:moveTo>
                      <a:pt x="0" y="0"/>
                    </a:moveTo>
                    <a:cubicBezTo>
                      <a:pt x="1425" y="199"/>
                      <a:pt x="2860" y="199"/>
                      <a:pt x="4285" y="0"/>
                    </a:cubicBezTo>
                    <a:cubicBezTo>
                      <a:pt x="2870" y="308"/>
                      <a:pt x="1415" y="30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603" name="Graphic 231">
              <a:extLst>
                <a:ext uri="{FF2B5EF4-FFF2-40B4-BE49-F238E27FC236}">
                  <a16:creationId xmlns:a16="http://schemas.microsoft.com/office/drawing/2014/main" id="{B9D93B2B-4AB5-4E1C-9002-9A188284D5B3}"/>
                </a:ext>
              </a:extLst>
            </p:cNvPr>
            <p:cNvGrpSpPr/>
            <p:nvPr/>
          </p:nvGrpSpPr>
          <p:grpSpPr>
            <a:xfrm>
              <a:off x="74923" y="2519554"/>
              <a:ext cx="457007" cy="795004"/>
              <a:chOff x="74923" y="2519554"/>
              <a:chExt cx="457007" cy="795004"/>
            </a:xfrm>
            <a:solidFill>
              <a:srgbClr val="ECE8E4"/>
            </a:solidFill>
          </p:grpSpPr>
          <p:sp>
            <p:nvSpPr>
              <p:cNvPr id="1841" name="Freeform: Shape 1840">
                <a:extLst>
                  <a:ext uri="{FF2B5EF4-FFF2-40B4-BE49-F238E27FC236}">
                    <a16:creationId xmlns:a16="http://schemas.microsoft.com/office/drawing/2014/main" id="{FBB7C1F7-1A59-4D77-89E8-B32068A70A34}"/>
                  </a:ext>
                </a:extLst>
              </p:cNvPr>
              <p:cNvSpPr/>
              <p:nvPr/>
            </p:nvSpPr>
            <p:spPr>
              <a:xfrm>
                <a:off x="74923" y="3284811"/>
                <a:ext cx="1833" cy="7362"/>
              </a:xfrm>
              <a:custGeom>
                <a:avLst/>
                <a:gdLst>
                  <a:gd name="connsiteX0" fmla="*/ 1834 w 1833"/>
                  <a:gd name="connsiteY0" fmla="*/ 0 h 7362"/>
                  <a:gd name="connsiteX1" fmla="*/ 638 w 1833"/>
                  <a:gd name="connsiteY1" fmla="*/ 7362 h 7362"/>
                  <a:gd name="connsiteX2" fmla="*/ 1834 w 1833"/>
                  <a:gd name="connsiteY2" fmla="*/ 0 h 7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33" h="7362">
                    <a:moveTo>
                      <a:pt x="1834" y="0"/>
                    </a:moveTo>
                    <a:cubicBezTo>
                      <a:pt x="1136" y="2398"/>
                      <a:pt x="738" y="4865"/>
                      <a:pt x="638" y="7362"/>
                    </a:cubicBezTo>
                    <a:cubicBezTo>
                      <a:pt x="-538" y="4895"/>
                      <a:pt x="-59" y="1970"/>
                      <a:pt x="183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42" name="Freeform: Shape 1841">
                <a:extLst>
                  <a:ext uri="{FF2B5EF4-FFF2-40B4-BE49-F238E27FC236}">
                    <a16:creationId xmlns:a16="http://schemas.microsoft.com/office/drawing/2014/main" id="{997A75BF-2139-4317-8303-F3C8DB7547CD}"/>
                  </a:ext>
                </a:extLst>
              </p:cNvPr>
              <p:cNvSpPr/>
              <p:nvPr/>
            </p:nvSpPr>
            <p:spPr>
              <a:xfrm>
                <a:off x="75698" y="3297049"/>
                <a:ext cx="4645" cy="11142"/>
              </a:xfrm>
              <a:custGeom>
                <a:avLst/>
                <a:gdLst>
                  <a:gd name="connsiteX0" fmla="*/ 62 w 4645"/>
                  <a:gd name="connsiteY0" fmla="*/ 0 h 11142"/>
                  <a:gd name="connsiteX1" fmla="*/ 4646 w 4645"/>
                  <a:gd name="connsiteY1" fmla="*/ 11143 h 11142"/>
                  <a:gd name="connsiteX2" fmla="*/ 62 w 4645"/>
                  <a:gd name="connsiteY2" fmla="*/ 0 h 1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45" h="11142">
                    <a:moveTo>
                      <a:pt x="62" y="0"/>
                    </a:moveTo>
                    <a:cubicBezTo>
                      <a:pt x="590" y="4049"/>
                      <a:pt x="2165" y="7889"/>
                      <a:pt x="4646" y="11143"/>
                    </a:cubicBezTo>
                    <a:cubicBezTo>
                      <a:pt x="1358" y="8417"/>
                      <a:pt x="-356" y="4248"/>
                      <a:pt x="6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43" name="Freeform: Shape 1842">
                <a:extLst>
                  <a:ext uri="{FF2B5EF4-FFF2-40B4-BE49-F238E27FC236}">
                    <a16:creationId xmlns:a16="http://schemas.microsoft.com/office/drawing/2014/main" id="{7C8FF8EE-3FB0-4C81-957D-CC8930AB28A8}"/>
                  </a:ext>
                </a:extLst>
              </p:cNvPr>
              <p:cNvSpPr/>
              <p:nvPr/>
            </p:nvSpPr>
            <p:spPr>
              <a:xfrm>
                <a:off x="87419" y="3313961"/>
                <a:ext cx="1095" cy="596"/>
              </a:xfrm>
              <a:custGeom>
                <a:avLst/>
                <a:gdLst>
                  <a:gd name="connsiteX0" fmla="*/ 0 w 1095"/>
                  <a:gd name="connsiteY0" fmla="*/ 0 h 596"/>
                  <a:gd name="connsiteX1" fmla="*/ 1096 w 1095"/>
                  <a:gd name="connsiteY1" fmla="*/ 597 h 596"/>
                  <a:gd name="connsiteX2" fmla="*/ 1096 w 1095"/>
                  <a:gd name="connsiteY2" fmla="*/ 597 h 596"/>
                  <a:gd name="connsiteX3" fmla="*/ 0 w 1095"/>
                  <a:gd name="connsiteY3" fmla="*/ 0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5" h="596">
                    <a:moveTo>
                      <a:pt x="0" y="0"/>
                    </a:moveTo>
                    <a:lnTo>
                      <a:pt x="1096" y="597"/>
                    </a:lnTo>
                    <a:lnTo>
                      <a:pt x="1096" y="597"/>
                    </a:lnTo>
                    <a:cubicBezTo>
                      <a:pt x="797" y="288"/>
                      <a:pt x="418" y="8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44" name="Freeform: Shape 1843">
                <a:extLst>
                  <a:ext uri="{FF2B5EF4-FFF2-40B4-BE49-F238E27FC236}">
                    <a16:creationId xmlns:a16="http://schemas.microsoft.com/office/drawing/2014/main" id="{5EEE1118-1A14-4038-826C-D26ECB7F50FE}"/>
                  </a:ext>
                </a:extLst>
              </p:cNvPr>
              <p:cNvSpPr/>
              <p:nvPr/>
            </p:nvSpPr>
            <p:spPr>
              <a:xfrm>
                <a:off x="82138" y="3281583"/>
                <a:ext cx="15942" cy="343"/>
              </a:xfrm>
              <a:custGeom>
                <a:avLst/>
                <a:gdLst>
                  <a:gd name="connsiteX0" fmla="*/ 15943 w 15942"/>
                  <a:gd name="connsiteY0" fmla="*/ 343 h 343"/>
                  <a:gd name="connsiteX1" fmla="*/ 0 w 15942"/>
                  <a:gd name="connsiteY1" fmla="*/ 343 h 343"/>
                  <a:gd name="connsiteX2" fmla="*/ 15943 w 15942"/>
                  <a:gd name="connsiteY2" fmla="*/ 343 h 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42" h="343">
                    <a:moveTo>
                      <a:pt x="15943" y="343"/>
                    </a:moveTo>
                    <a:lnTo>
                      <a:pt x="0" y="343"/>
                    </a:lnTo>
                    <a:cubicBezTo>
                      <a:pt x="5301" y="-114"/>
                      <a:pt x="10642" y="-114"/>
                      <a:pt x="15943" y="34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45" name="Freeform: Shape 1844">
                <a:extLst>
                  <a:ext uri="{FF2B5EF4-FFF2-40B4-BE49-F238E27FC236}">
                    <a16:creationId xmlns:a16="http://schemas.microsoft.com/office/drawing/2014/main" id="{8199D278-BD71-451C-8E45-A315CC003532}"/>
                  </a:ext>
                </a:extLst>
              </p:cNvPr>
              <p:cNvSpPr/>
              <p:nvPr/>
            </p:nvSpPr>
            <p:spPr>
              <a:xfrm>
                <a:off x="106451" y="3281628"/>
                <a:ext cx="33081" cy="9948"/>
              </a:xfrm>
              <a:custGeom>
                <a:avLst/>
                <a:gdLst>
                  <a:gd name="connsiteX0" fmla="*/ 997 w 33081"/>
                  <a:gd name="connsiteY0" fmla="*/ 0 h 9948"/>
                  <a:gd name="connsiteX1" fmla="*/ 33082 w 33081"/>
                  <a:gd name="connsiteY1" fmla="*/ 0 h 9948"/>
                  <a:gd name="connsiteX2" fmla="*/ 0 w 33081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081" h="9948">
                    <a:moveTo>
                      <a:pt x="997" y="0"/>
                    </a:moveTo>
                    <a:lnTo>
                      <a:pt x="33082" y="0"/>
                    </a:lnTo>
                    <a:cubicBezTo>
                      <a:pt x="22022" y="0"/>
                      <a:pt x="10861" y="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46" name="Freeform: Shape 1845">
                <a:extLst>
                  <a:ext uri="{FF2B5EF4-FFF2-40B4-BE49-F238E27FC236}">
                    <a16:creationId xmlns:a16="http://schemas.microsoft.com/office/drawing/2014/main" id="{777F1218-E5B1-4A77-8114-35B4F2D966B9}"/>
                  </a:ext>
                </a:extLst>
              </p:cNvPr>
              <p:cNvSpPr/>
              <p:nvPr/>
            </p:nvSpPr>
            <p:spPr>
              <a:xfrm>
                <a:off x="433084" y="2519554"/>
                <a:ext cx="98847" cy="994"/>
              </a:xfrm>
              <a:custGeom>
                <a:avLst/>
                <a:gdLst>
                  <a:gd name="connsiteX0" fmla="*/ 98847 w 98847"/>
                  <a:gd name="connsiteY0" fmla="*/ 0 h 994"/>
                  <a:gd name="connsiteX1" fmla="*/ 98847 w 98847"/>
                  <a:gd name="connsiteY1" fmla="*/ 995 h 994"/>
                  <a:gd name="connsiteX2" fmla="*/ 0 w 98847"/>
                  <a:gd name="connsiteY2" fmla="*/ 995 h 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8847" h="994">
                    <a:moveTo>
                      <a:pt x="98847" y="0"/>
                    </a:moveTo>
                    <a:lnTo>
                      <a:pt x="98847" y="995"/>
                    </a:lnTo>
                    <a:lnTo>
                      <a:pt x="0" y="995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604" name="Freeform: Shape 1603">
              <a:extLst>
                <a:ext uri="{FF2B5EF4-FFF2-40B4-BE49-F238E27FC236}">
                  <a16:creationId xmlns:a16="http://schemas.microsoft.com/office/drawing/2014/main" id="{5CEAE806-E2FC-4B2F-82C6-6A4507A2FFF3}"/>
                </a:ext>
              </a:extLst>
            </p:cNvPr>
            <p:cNvSpPr/>
            <p:nvPr/>
          </p:nvSpPr>
          <p:spPr>
            <a:xfrm>
              <a:off x="3621695" y="2083402"/>
              <a:ext cx="411729" cy="287929"/>
            </a:xfrm>
            <a:custGeom>
              <a:avLst/>
              <a:gdLst>
                <a:gd name="connsiteX0" fmla="*/ 301125 w 411729"/>
                <a:gd name="connsiteY0" fmla="*/ 273987 h 287929"/>
                <a:gd name="connsiteX1" fmla="*/ 308100 w 411729"/>
                <a:gd name="connsiteY1" fmla="*/ 287916 h 287929"/>
                <a:gd name="connsiteX2" fmla="*/ 301125 w 411729"/>
                <a:gd name="connsiteY2" fmla="*/ 273987 h 287929"/>
                <a:gd name="connsiteX3" fmla="*/ 373167 w 411729"/>
                <a:gd name="connsiteY3" fmla="*/ 205441 h 287929"/>
                <a:gd name="connsiteX4" fmla="*/ 411729 w 411729"/>
                <a:gd name="connsiteY4" fmla="*/ 206435 h 287929"/>
                <a:gd name="connsiteX5" fmla="*/ 373167 w 411729"/>
                <a:gd name="connsiteY5" fmla="*/ 205441 h 287929"/>
                <a:gd name="connsiteX6" fmla="*/ 393096 w 411729"/>
                <a:gd name="connsiteY6" fmla="*/ 274584 h 287929"/>
                <a:gd name="connsiteX7" fmla="*/ 368982 w 411729"/>
                <a:gd name="connsiteY7" fmla="*/ 277569 h 287929"/>
                <a:gd name="connsiteX8" fmla="*/ 392897 w 411729"/>
                <a:gd name="connsiteY8" fmla="*/ 274584 h 287929"/>
                <a:gd name="connsiteX9" fmla="*/ 361708 w 411729"/>
                <a:gd name="connsiteY9" fmla="*/ 204943 h 287929"/>
                <a:gd name="connsiteX10" fmla="*/ 350648 w 411729"/>
                <a:gd name="connsiteY10" fmla="*/ 204446 h 287929"/>
                <a:gd name="connsiteX11" fmla="*/ 361509 w 411729"/>
                <a:gd name="connsiteY11" fmla="*/ 205142 h 287929"/>
                <a:gd name="connsiteX12" fmla="*/ 344171 w 411729"/>
                <a:gd name="connsiteY12" fmla="*/ 191313 h 287929"/>
                <a:gd name="connsiteX13" fmla="*/ 344868 w 411729"/>
                <a:gd name="connsiteY13" fmla="*/ 200665 h 287929"/>
                <a:gd name="connsiteX14" fmla="*/ 343872 w 411729"/>
                <a:gd name="connsiteY14" fmla="*/ 186339 h 287929"/>
                <a:gd name="connsiteX15" fmla="*/ 343972 w 411729"/>
                <a:gd name="connsiteY15" fmla="*/ 191512 h 287929"/>
                <a:gd name="connsiteX16" fmla="*/ 336100 w 411729"/>
                <a:gd name="connsiteY16" fmla="*/ 55811 h 287929"/>
                <a:gd name="connsiteX17" fmla="*/ 336797 w 411729"/>
                <a:gd name="connsiteY17" fmla="*/ 67949 h 287929"/>
                <a:gd name="connsiteX18" fmla="*/ 336199 w 411729"/>
                <a:gd name="connsiteY18" fmla="*/ 55911 h 287929"/>
                <a:gd name="connsiteX19" fmla="*/ 330221 w 411729"/>
                <a:gd name="connsiteY19" fmla="*/ 198 h 287929"/>
                <a:gd name="connsiteX20" fmla="*/ 331616 w 411729"/>
                <a:gd name="connsiteY20" fmla="*/ 198 h 287929"/>
                <a:gd name="connsiteX21" fmla="*/ 330221 w 411729"/>
                <a:gd name="connsiteY21" fmla="*/ 397 h 287929"/>
                <a:gd name="connsiteX22" fmla="*/ 178164 w 411729"/>
                <a:gd name="connsiteY22" fmla="*/ 149131 h 287929"/>
                <a:gd name="connsiteX23" fmla="*/ 184043 w 411729"/>
                <a:gd name="connsiteY23" fmla="*/ 143261 h 287929"/>
                <a:gd name="connsiteX24" fmla="*/ 178164 w 411729"/>
                <a:gd name="connsiteY24" fmla="*/ 149131 h 287929"/>
                <a:gd name="connsiteX25" fmla="*/ 175573 w 411729"/>
                <a:gd name="connsiteY25" fmla="*/ 152712 h 287929"/>
                <a:gd name="connsiteX26" fmla="*/ 175573 w 411729"/>
                <a:gd name="connsiteY26" fmla="*/ 154801 h 287929"/>
                <a:gd name="connsiteX27" fmla="*/ 175573 w 411729"/>
                <a:gd name="connsiteY27" fmla="*/ 152513 h 287929"/>
                <a:gd name="connsiteX28" fmla="*/ 175573 w 411729"/>
                <a:gd name="connsiteY28" fmla="*/ 152613 h 287929"/>
                <a:gd name="connsiteX29" fmla="*/ 175573 w 411729"/>
                <a:gd name="connsiteY29" fmla="*/ 154801 h 287929"/>
                <a:gd name="connsiteX30" fmla="*/ 175573 w 411729"/>
                <a:gd name="connsiteY30" fmla="*/ 159875 h 287929"/>
                <a:gd name="connsiteX31" fmla="*/ 175573 w 411729"/>
                <a:gd name="connsiteY31" fmla="*/ 154702 h 287929"/>
                <a:gd name="connsiteX32" fmla="*/ 165608 w 411729"/>
                <a:gd name="connsiteY32" fmla="*/ 128835 h 287929"/>
                <a:gd name="connsiteX33" fmla="*/ 165608 w 411729"/>
                <a:gd name="connsiteY33" fmla="*/ 128835 h 287929"/>
                <a:gd name="connsiteX34" fmla="*/ 165608 w 411729"/>
                <a:gd name="connsiteY34" fmla="*/ 128238 h 287929"/>
                <a:gd name="connsiteX35" fmla="*/ 165608 w 411729"/>
                <a:gd name="connsiteY35" fmla="*/ 129233 h 287929"/>
                <a:gd name="connsiteX36" fmla="*/ 159929 w 411729"/>
                <a:gd name="connsiteY36" fmla="*/ 123761 h 287929"/>
                <a:gd name="connsiteX37" fmla="*/ 163417 w 411729"/>
                <a:gd name="connsiteY37" fmla="*/ 125453 h 287929"/>
                <a:gd name="connsiteX38" fmla="*/ 162619 w 411729"/>
                <a:gd name="connsiteY38" fmla="*/ 123861 h 287929"/>
                <a:gd name="connsiteX39" fmla="*/ 143488 w 411729"/>
                <a:gd name="connsiteY39" fmla="*/ 109933 h 287929"/>
                <a:gd name="connsiteX40" fmla="*/ 149566 w 411729"/>
                <a:gd name="connsiteY40" fmla="*/ 115902 h 287929"/>
                <a:gd name="connsiteX41" fmla="*/ 143488 w 411729"/>
                <a:gd name="connsiteY41" fmla="*/ 109833 h 287929"/>
                <a:gd name="connsiteX42" fmla="*/ 139901 w 411729"/>
                <a:gd name="connsiteY42" fmla="*/ 108838 h 287929"/>
                <a:gd name="connsiteX43" fmla="*/ 129936 w 411729"/>
                <a:gd name="connsiteY43" fmla="*/ 107047 h 287929"/>
                <a:gd name="connsiteX44" fmla="*/ 139901 w 411729"/>
                <a:gd name="connsiteY44" fmla="*/ 108739 h 287929"/>
                <a:gd name="connsiteX45" fmla="*/ 120968 w 411729"/>
                <a:gd name="connsiteY45" fmla="*/ 84265 h 287929"/>
                <a:gd name="connsiteX46" fmla="*/ 122363 w 411729"/>
                <a:gd name="connsiteY46" fmla="*/ 82076 h 287929"/>
                <a:gd name="connsiteX47" fmla="*/ 120071 w 411729"/>
                <a:gd name="connsiteY47" fmla="*/ 79987 h 287929"/>
                <a:gd name="connsiteX48" fmla="*/ 120968 w 411729"/>
                <a:gd name="connsiteY48" fmla="*/ 84265 h 287929"/>
                <a:gd name="connsiteX49" fmla="*/ 114392 w 411729"/>
                <a:gd name="connsiteY49" fmla="*/ 92025 h 287929"/>
                <a:gd name="connsiteX50" fmla="*/ 114392 w 411729"/>
                <a:gd name="connsiteY50" fmla="*/ 93915 h 287929"/>
                <a:gd name="connsiteX51" fmla="*/ 116484 w 411729"/>
                <a:gd name="connsiteY51" fmla="*/ 90433 h 287929"/>
                <a:gd name="connsiteX52" fmla="*/ 119872 w 411729"/>
                <a:gd name="connsiteY52" fmla="*/ 102670 h 287929"/>
                <a:gd name="connsiteX53" fmla="*/ 115189 w 411729"/>
                <a:gd name="connsiteY53" fmla="*/ 96303 h 287929"/>
                <a:gd name="connsiteX54" fmla="*/ 120270 w 411729"/>
                <a:gd name="connsiteY54" fmla="*/ 102670 h 287929"/>
                <a:gd name="connsiteX55" fmla="*/ 110406 w 411729"/>
                <a:gd name="connsiteY55" fmla="*/ 72127 h 287929"/>
                <a:gd name="connsiteX56" fmla="*/ 111004 w 411729"/>
                <a:gd name="connsiteY56" fmla="*/ 72127 h 287929"/>
                <a:gd name="connsiteX57" fmla="*/ 108712 w 411729"/>
                <a:gd name="connsiteY57" fmla="*/ 70635 h 287929"/>
                <a:gd name="connsiteX58" fmla="*/ 111004 w 411729"/>
                <a:gd name="connsiteY58" fmla="*/ 72127 h 287929"/>
                <a:gd name="connsiteX59" fmla="*/ 94164 w 411729"/>
                <a:gd name="connsiteY59" fmla="*/ 66059 h 287929"/>
                <a:gd name="connsiteX60" fmla="*/ 106520 w 411729"/>
                <a:gd name="connsiteY60" fmla="*/ 69342 h 287929"/>
                <a:gd name="connsiteX61" fmla="*/ 94562 w 411729"/>
                <a:gd name="connsiteY61" fmla="*/ 66059 h 287929"/>
                <a:gd name="connsiteX62" fmla="*/ 67359 w 411729"/>
                <a:gd name="connsiteY62" fmla="*/ 20493 h 287929"/>
                <a:gd name="connsiteX63" fmla="*/ 57395 w 411729"/>
                <a:gd name="connsiteY63" fmla="*/ 19697 h 287929"/>
                <a:gd name="connsiteX64" fmla="*/ 67758 w 411729"/>
                <a:gd name="connsiteY64" fmla="*/ 20493 h 287929"/>
                <a:gd name="connsiteX65" fmla="*/ 67359 w 411729"/>
                <a:gd name="connsiteY65" fmla="*/ 20493 h 287929"/>
                <a:gd name="connsiteX66" fmla="*/ 71844 w 411729"/>
                <a:gd name="connsiteY66" fmla="*/ 21190 h 287929"/>
                <a:gd name="connsiteX67" fmla="*/ 67758 w 411729"/>
                <a:gd name="connsiteY67" fmla="*/ 20493 h 287929"/>
                <a:gd name="connsiteX68" fmla="*/ 46335 w 411729"/>
                <a:gd name="connsiteY68" fmla="*/ 11241 h 287929"/>
                <a:gd name="connsiteX69" fmla="*/ 52213 w 411729"/>
                <a:gd name="connsiteY69" fmla="*/ 17708 h 287929"/>
                <a:gd name="connsiteX70" fmla="*/ 46733 w 411729"/>
                <a:gd name="connsiteY70" fmla="*/ 11241 h 287929"/>
                <a:gd name="connsiteX71" fmla="*/ 23516 w 411729"/>
                <a:gd name="connsiteY71" fmla="*/ 11241 h 287929"/>
                <a:gd name="connsiteX72" fmla="*/ 38961 w 411729"/>
                <a:gd name="connsiteY72" fmla="*/ 8754 h 287929"/>
                <a:gd name="connsiteX73" fmla="*/ 26705 w 411729"/>
                <a:gd name="connsiteY73" fmla="*/ 10047 h 287929"/>
                <a:gd name="connsiteX74" fmla="*/ 0 w 411729"/>
                <a:gd name="connsiteY74" fmla="*/ 25169 h 287929"/>
                <a:gd name="connsiteX75" fmla="*/ 9367 w 411729"/>
                <a:gd name="connsiteY75" fmla="*/ 16514 h 287929"/>
                <a:gd name="connsiteX76" fmla="*/ 399 w 411729"/>
                <a:gd name="connsiteY76" fmla="*/ 25468 h 287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411729" h="287929">
                  <a:moveTo>
                    <a:pt x="301125" y="273987"/>
                  </a:moveTo>
                  <a:cubicBezTo>
                    <a:pt x="301125" y="279957"/>
                    <a:pt x="299430" y="288313"/>
                    <a:pt x="308100" y="287916"/>
                  </a:cubicBezTo>
                  <a:cubicBezTo>
                    <a:pt x="308797" y="282643"/>
                    <a:pt x="310292" y="267620"/>
                    <a:pt x="301125" y="273987"/>
                  </a:cubicBezTo>
                  <a:close/>
                  <a:moveTo>
                    <a:pt x="373167" y="205441"/>
                  </a:moveTo>
                  <a:cubicBezTo>
                    <a:pt x="384627" y="206435"/>
                    <a:pt x="398876" y="206435"/>
                    <a:pt x="411729" y="206435"/>
                  </a:cubicBezTo>
                  <a:cubicBezTo>
                    <a:pt x="399274" y="206435"/>
                    <a:pt x="386021" y="205938"/>
                    <a:pt x="373167" y="205441"/>
                  </a:cubicBezTo>
                  <a:close/>
                  <a:moveTo>
                    <a:pt x="393096" y="274584"/>
                  </a:moveTo>
                  <a:cubicBezTo>
                    <a:pt x="385324" y="275380"/>
                    <a:pt x="377053" y="276077"/>
                    <a:pt x="368982" y="277569"/>
                  </a:cubicBezTo>
                  <a:cubicBezTo>
                    <a:pt x="377043" y="277509"/>
                    <a:pt x="385075" y="276504"/>
                    <a:pt x="392897" y="274584"/>
                  </a:cubicBezTo>
                  <a:close/>
                  <a:moveTo>
                    <a:pt x="361708" y="204943"/>
                  </a:moveTo>
                  <a:cubicBezTo>
                    <a:pt x="357922" y="204943"/>
                    <a:pt x="354235" y="204943"/>
                    <a:pt x="350648" y="204446"/>
                  </a:cubicBezTo>
                  <a:cubicBezTo>
                    <a:pt x="354235" y="205072"/>
                    <a:pt x="357872" y="205311"/>
                    <a:pt x="361509" y="205142"/>
                  </a:cubicBezTo>
                  <a:close/>
                  <a:moveTo>
                    <a:pt x="344171" y="191313"/>
                  </a:moveTo>
                  <a:cubicBezTo>
                    <a:pt x="343224" y="194407"/>
                    <a:pt x="343473" y="197740"/>
                    <a:pt x="344868" y="200665"/>
                  </a:cubicBezTo>
                  <a:cubicBezTo>
                    <a:pt x="344868" y="195989"/>
                    <a:pt x="344171" y="191313"/>
                    <a:pt x="343872" y="186339"/>
                  </a:cubicBezTo>
                  <a:cubicBezTo>
                    <a:pt x="343772" y="188329"/>
                    <a:pt x="343872" y="189821"/>
                    <a:pt x="343972" y="191512"/>
                  </a:cubicBezTo>
                  <a:close/>
                  <a:moveTo>
                    <a:pt x="336100" y="55811"/>
                  </a:moveTo>
                  <a:cubicBezTo>
                    <a:pt x="336100" y="59890"/>
                    <a:pt x="336100" y="63870"/>
                    <a:pt x="336797" y="67949"/>
                  </a:cubicBezTo>
                  <a:lnTo>
                    <a:pt x="336199" y="55911"/>
                  </a:lnTo>
                  <a:close/>
                  <a:moveTo>
                    <a:pt x="330221" y="198"/>
                  </a:moveTo>
                  <a:lnTo>
                    <a:pt x="331616" y="198"/>
                  </a:lnTo>
                  <a:cubicBezTo>
                    <a:pt x="331177" y="-130"/>
                    <a:pt x="330550" y="-41"/>
                    <a:pt x="330221" y="397"/>
                  </a:cubicBezTo>
                  <a:close/>
                  <a:moveTo>
                    <a:pt x="178164" y="149131"/>
                  </a:moveTo>
                  <a:lnTo>
                    <a:pt x="184043" y="143261"/>
                  </a:lnTo>
                  <a:cubicBezTo>
                    <a:pt x="181940" y="145062"/>
                    <a:pt x="179968" y="147031"/>
                    <a:pt x="178164" y="149131"/>
                  </a:cubicBezTo>
                  <a:close/>
                  <a:moveTo>
                    <a:pt x="175573" y="152712"/>
                  </a:moveTo>
                  <a:lnTo>
                    <a:pt x="175573" y="154801"/>
                  </a:lnTo>
                  <a:cubicBezTo>
                    <a:pt x="175573" y="154005"/>
                    <a:pt x="175573" y="153309"/>
                    <a:pt x="175573" y="152513"/>
                  </a:cubicBezTo>
                  <a:cubicBezTo>
                    <a:pt x="175573" y="151717"/>
                    <a:pt x="175573" y="152513"/>
                    <a:pt x="175573" y="152613"/>
                  </a:cubicBezTo>
                  <a:close/>
                  <a:moveTo>
                    <a:pt x="175573" y="154801"/>
                  </a:moveTo>
                  <a:cubicBezTo>
                    <a:pt x="175573" y="156493"/>
                    <a:pt x="175573" y="158184"/>
                    <a:pt x="175573" y="159875"/>
                  </a:cubicBezTo>
                  <a:cubicBezTo>
                    <a:pt x="175473" y="157985"/>
                    <a:pt x="175573" y="156294"/>
                    <a:pt x="175573" y="154702"/>
                  </a:cubicBezTo>
                  <a:close/>
                  <a:moveTo>
                    <a:pt x="165608" y="128835"/>
                  </a:moveTo>
                  <a:lnTo>
                    <a:pt x="165608" y="128835"/>
                  </a:lnTo>
                  <a:lnTo>
                    <a:pt x="165608" y="128238"/>
                  </a:lnTo>
                  <a:cubicBezTo>
                    <a:pt x="165608" y="128238"/>
                    <a:pt x="165509" y="128636"/>
                    <a:pt x="165608" y="129233"/>
                  </a:cubicBezTo>
                  <a:close/>
                  <a:moveTo>
                    <a:pt x="159929" y="123761"/>
                  </a:moveTo>
                  <a:cubicBezTo>
                    <a:pt x="161214" y="124010"/>
                    <a:pt x="162420" y="124597"/>
                    <a:pt x="163417" y="125453"/>
                  </a:cubicBezTo>
                  <a:cubicBezTo>
                    <a:pt x="163108" y="124945"/>
                    <a:pt x="162849" y="124408"/>
                    <a:pt x="162619" y="123861"/>
                  </a:cubicBezTo>
                  <a:close/>
                  <a:moveTo>
                    <a:pt x="143488" y="109933"/>
                  </a:moveTo>
                  <a:cubicBezTo>
                    <a:pt x="146168" y="111136"/>
                    <a:pt x="148320" y="113246"/>
                    <a:pt x="149566" y="115902"/>
                  </a:cubicBezTo>
                  <a:cubicBezTo>
                    <a:pt x="148679" y="112997"/>
                    <a:pt x="146397" y="110719"/>
                    <a:pt x="143488" y="109833"/>
                  </a:cubicBezTo>
                  <a:close/>
                  <a:moveTo>
                    <a:pt x="139901" y="108838"/>
                  </a:moveTo>
                  <a:cubicBezTo>
                    <a:pt x="136712" y="107943"/>
                    <a:pt x="133124" y="107644"/>
                    <a:pt x="129936" y="107047"/>
                  </a:cubicBezTo>
                  <a:cubicBezTo>
                    <a:pt x="133194" y="107943"/>
                    <a:pt x="136533" y="108510"/>
                    <a:pt x="139901" y="108739"/>
                  </a:cubicBezTo>
                  <a:close/>
                  <a:moveTo>
                    <a:pt x="120968" y="84265"/>
                  </a:moveTo>
                  <a:lnTo>
                    <a:pt x="122363" y="82076"/>
                  </a:lnTo>
                  <a:cubicBezTo>
                    <a:pt x="121566" y="81380"/>
                    <a:pt x="120769" y="80484"/>
                    <a:pt x="120071" y="79987"/>
                  </a:cubicBezTo>
                  <a:cubicBezTo>
                    <a:pt x="120848" y="81270"/>
                    <a:pt x="121168" y="82782"/>
                    <a:pt x="120968" y="84265"/>
                  </a:cubicBezTo>
                  <a:close/>
                  <a:moveTo>
                    <a:pt x="114392" y="92025"/>
                  </a:moveTo>
                  <a:cubicBezTo>
                    <a:pt x="114342" y="92652"/>
                    <a:pt x="114342" y="93288"/>
                    <a:pt x="114392" y="93915"/>
                  </a:cubicBezTo>
                  <a:cubicBezTo>
                    <a:pt x="114840" y="92622"/>
                    <a:pt x="115557" y="91438"/>
                    <a:pt x="116484" y="90433"/>
                  </a:cubicBezTo>
                  <a:close/>
                  <a:moveTo>
                    <a:pt x="119872" y="102670"/>
                  </a:moveTo>
                  <a:cubicBezTo>
                    <a:pt x="117481" y="99487"/>
                    <a:pt x="115986" y="97695"/>
                    <a:pt x="115189" y="96303"/>
                  </a:cubicBezTo>
                  <a:cubicBezTo>
                    <a:pt x="116265" y="98850"/>
                    <a:pt x="118018" y="101058"/>
                    <a:pt x="120270" y="102670"/>
                  </a:cubicBezTo>
                  <a:close/>
                  <a:moveTo>
                    <a:pt x="110406" y="72127"/>
                  </a:moveTo>
                  <a:lnTo>
                    <a:pt x="111004" y="72127"/>
                  </a:lnTo>
                  <a:cubicBezTo>
                    <a:pt x="110296" y="71550"/>
                    <a:pt x="109529" y="71053"/>
                    <a:pt x="108712" y="70635"/>
                  </a:cubicBezTo>
                  <a:cubicBezTo>
                    <a:pt x="109599" y="70924"/>
                    <a:pt x="110386" y="71431"/>
                    <a:pt x="111004" y="72127"/>
                  </a:cubicBezTo>
                  <a:close/>
                  <a:moveTo>
                    <a:pt x="94164" y="66059"/>
                  </a:moveTo>
                  <a:cubicBezTo>
                    <a:pt x="98428" y="66486"/>
                    <a:pt x="102603" y="67591"/>
                    <a:pt x="106520" y="69342"/>
                  </a:cubicBezTo>
                  <a:cubicBezTo>
                    <a:pt x="103092" y="66785"/>
                    <a:pt x="98817" y="65611"/>
                    <a:pt x="94562" y="66059"/>
                  </a:cubicBezTo>
                  <a:close/>
                  <a:moveTo>
                    <a:pt x="67359" y="20493"/>
                  </a:moveTo>
                  <a:cubicBezTo>
                    <a:pt x="64071" y="19916"/>
                    <a:pt x="60733" y="19658"/>
                    <a:pt x="57395" y="19697"/>
                  </a:cubicBezTo>
                  <a:cubicBezTo>
                    <a:pt x="61182" y="19797"/>
                    <a:pt x="63972" y="19797"/>
                    <a:pt x="67758" y="20493"/>
                  </a:cubicBezTo>
                  <a:close/>
                  <a:moveTo>
                    <a:pt x="67359" y="20493"/>
                  </a:moveTo>
                  <a:lnTo>
                    <a:pt x="71844" y="21190"/>
                  </a:lnTo>
                  <a:cubicBezTo>
                    <a:pt x="70498" y="20891"/>
                    <a:pt x="69133" y="20653"/>
                    <a:pt x="67758" y="20493"/>
                  </a:cubicBezTo>
                  <a:close/>
                  <a:moveTo>
                    <a:pt x="46335" y="11241"/>
                  </a:moveTo>
                  <a:cubicBezTo>
                    <a:pt x="47849" y="13758"/>
                    <a:pt x="49852" y="15957"/>
                    <a:pt x="52213" y="17708"/>
                  </a:cubicBezTo>
                  <a:cubicBezTo>
                    <a:pt x="50988" y="15111"/>
                    <a:pt x="49095" y="12873"/>
                    <a:pt x="46733" y="11241"/>
                  </a:cubicBezTo>
                  <a:close/>
                  <a:moveTo>
                    <a:pt x="23516" y="11241"/>
                  </a:moveTo>
                  <a:cubicBezTo>
                    <a:pt x="28618" y="10117"/>
                    <a:pt x="33770" y="9291"/>
                    <a:pt x="38961" y="8754"/>
                  </a:cubicBezTo>
                  <a:cubicBezTo>
                    <a:pt x="34836" y="8644"/>
                    <a:pt x="30711" y="9072"/>
                    <a:pt x="26705" y="10047"/>
                  </a:cubicBezTo>
                  <a:close/>
                  <a:moveTo>
                    <a:pt x="0" y="25169"/>
                  </a:moveTo>
                  <a:cubicBezTo>
                    <a:pt x="2432" y="21618"/>
                    <a:pt x="5640" y="18663"/>
                    <a:pt x="9367" y="16514"/>
                  </a:cubicBezTo>
                  <a:cubicBezTo>
                    <a:pt x="5570" y="18563"/>
                    <a:pt x="2452" y="21677"/>
                    <a:pt x="399" y="25468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605" name="Graphic 231">
              <a:extLst>
                <a:ext uri="{FF2B5EF4-FFF2-40B4-BE49-F238E27FC236}">
                  <a16:creationId xmlns:a16="http://schemas.microsoft.com/office/drawing/2014/main" id="{BE98141D-D1A0-4C18-8859-A49A8445007B}"/>
                </a:ext>
              </a:extLst>
            </p:cNvPr>
            <p:cNvGrpSpPr/>
            <p:nvPr/>
          </p:nvGrpSpPr>
          <p:grpSpPr>
            <a:xfrm>
              <a:off x="3957197" y="2065173"/>
              <a:ext cx="76227" cy="224664"/>
              <a:chOff x="3957197" y="2065173"/>
              <a:chExt cx="76227" cy="224664"/>
            </a:xfrm>
            <a:solidFill>
              <a:srgbClr val="ECE8E4"/>
            </a:solidFill>
          </p:grpSpPr>
          <p:sp>
            <p:nvSpPr>
              <p:cNvPr id="1832" name="Freeform: Shape 1831">
                <a:extLst>
                  <a:ext uri="{FF2B5EF4-FFF2-40B4-BE49-F238E27FC236}">
                    <a16:creationId xmlns:a16="http://schemas.microsoft.com/office/drawing/2014/main" id="{4FC7D5E5-5900-4D01-8EDE-75F8B19B8302}"/>
                  </a:ext>
                </a:extLst>
              </p:cNvPr>
              <p:cNvSpPr/>
              <p:nvPr/>
            </p:nvSpPr>
            <p:spPr>
              <a:xfrm>
                <a:off x="3957595" y="2139413"/>
                <a:ext cx="697" cy="12137"/>
              </a:xfrm>
              <a:custGeom>
                <a:avLst/>
                <a:gdLst>
                  <a:gd name="connsiteX0" fmla="*/ 100 w 697"/>
                  <a:gd name="connsiteY0" fmla="*/ 99 h 12137"/>
                  <a:gd name="connsiteX1" fmla="*/ 698 w 697"/>
                  <a:gd name="connsiteY1" fmla="*/ 12137 h 12137"/>
                  <a:gd name="connsiteX2" fmla="*/ 0 w 697"/>
                  <a:gd name="connsiteY2" fmla="*/ 0 h 12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97" h="12137">
                    <a:moveTo>
                      <a:pt x="100" y="99"/>
                    </a:moveTo>
                    <a:lnTo>
                      <a:pt x="698" y="12137"/>
                    </a:lnTo>
                    <a:cubicBezTo>
                      <a:pt x="698" y="8058"/>
                      <a:pt x="698" y="407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33" name="Freeform: Shape 1832">
                <a:extLst>
                  <a:ext uri="{FF2B5EF4-FFF2-40B4-BE49-F238E27FC236}">
                    <a16:creationId xmlns:a16="http://schemas.microsoft.com/office/drawing/2014/main" id="{483C46B0-C224-4439-90F5-63D29F18E423}"/>
                  </a:ext>
                </a:extLst>
              </p:cNvPr>
              <p:cNvSpPr/>
              <p:nvPr/>
            </p:nvSpPr>
            <p:spPr>
              <a:xfrm>
                <a:off x="3957197" y="2076338"/>
                <a:ext cx="3686" cy="6367"/>
              </a:xfrm>
              <a:custGeom>
                <a:avLst/>
                <a:gdLst>
                  <a:gd name="connsiteX0" fmla="*/ 0 w 3686"/>
                  <a:gd name="connsiteY0" fmla="*/ 6367 h 6367"/>
                  <a:gd name="connsiteX1" fmla="*/ 3687 w 3686"/>
                  <a:gd name="connsiteY1" fmla="*/ 0 h 6367"/>
                  <a:gd name="connsiteX2" fmla="*/ 0 w 3686"/>
                  <a:gd name="connsiteY2" fmla="*/ 6367 h 6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86" h="6367">
                    <a:moveTo>
                      <a:pt x="0" y="6367"/>
                    </a:moveTo>
                    <a:cubicBezTo>
                      <a:pt x="847" y="4049"/>
                      <a:pt x="2092" y="1890"/>
                      <a:pt x="3687" y="0"/>
                    </a:cubicBezTo>
                    <a:cubicBezTo>
                      <a:pt x="2630" y="2218"/>
                      <a:pt x="1395" y="4348"/>
                      <a:pt x="0" y="63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34" name="Freeform: Shape 1833">
                <a:extLst>
                  <a:ext uri="{FF2B5EF4-FFF2-40B4-BE49-F238E27FC236}">
                    <a16:creationId xmlns:a16="http://schemas.microsoft.com/office/drawing/2014/main" id="{5CD8FD8F-07A4-4B75-ABF7-D601B1A99499}"/>
                  </a:ext>
                </a:extLst>
              </p:cNvPr>
              <p:cNvSpPr/>
              <p:nvPr/>
            </p:nvSpPr>
            <p:spPr>
              <a:xfrm>
                <a:off x="3965101" y="2269940"/>
                <a:ext cx="1262" cy="14326"/>
              </a:xfrm>
              <a:custGeom>
                <a:avLst/>
                <a:gdLst>
                  <a:gd name="connsiteX0" fmla="*/ 266 w 1262"/>
                  <a:gd name="connsiteY0" fmla="*/ 0 h 14326"/>
                  <a:gd name="connsiteX1" fmla="*/ 1263 w 1262"/>
                  <a:gd name="connsiteY1" fmla="*/ 14326 h 14326"/>
                  <a:gd name="connsiteX2" fmla="*/ 565 w 1262"/>
                  <a:gd name="connsiteY2" fmla="*/ 4974 h 14326"/>
                  <a:gd name="connsiteX3" fmla="*/ 266 w 1262"/>
                  <a:gd name="connsiteY3" fmla="*/ 0 h 14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2" h="14326">
                    <a:moveTo>
                      <a:pt x="266" y="0"/>
                    </a:moveTo>
                    <a:cubicBezTo>
                      <a:pt x="266" y="4974"/>
                      <a:pt x="964" y="9949"/>
                      <a:pt x="1263" y="14326"/>
                    </a:cubicBezTo>
                    <a:cubicBezTo>
                      <a:pt x="-132" y="11401"/>
                      <a:pt x="-382" y="8068"/>
                      <a:pt x="565" y="4974"/>
                    </a:cubicBezTo>
                    <a:cubicBezTo>
                      <a:pt x="466" y="3283"/>
                      <a:pt x="366" y="1791"/>
                      <a:pt x="26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35" name="Freeform: Shape 1834">
                <a:extLst>
                  <a:ext uri="{FF2B5EF4-FFF2-40B4-BE49-F238E27FC236}">
                    <a16:creationId xmlns:a16="http://schemas.microsoft.com/office/drawing/2014/main" id="{80754523-E111-47AB-AE06-A9353B63AD16}"/>
                  </a:ext>
                </a:extLst>
              </p:cNvPr>
              <p:cNvSpPr/>
              <p:nvPr/>
            </p:nvSpPr>
            <p:spPr>
              <a:xfrm>
                <a:off x="3971844" y="2288047"/>
                <a:ext cx="11060" cy="608"/>
              </a:xfrm>
              <a:custGeom>
                <a:avLst/>
                <a:gdLst>
                  <a:gd name="connsiteX0" fmla="*/ 0 w 11060"/>
                  <a:gd name="connsiteY0" fmla="*/ 0 h 608"/>
                  <a:gd name="connsiteX1" fmla="*/ 11060 w 11060"/>
                  <a:gd name="connsiteY1" fmla="*/ 498 h 608"/>
                  <a:gd name="connsiteX2" fmla="*/ 0 w 11060"/>
                  <a:gd name="connsiteY2" fmla="*/ 0 h 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060" h="608">
                    <a:moveTo>
                      <a:pt x="0" y="0"/>
                    </a:moveTo>
                    <a:cubicBezTo>
                      <a:pt x="3587" y="0"/>
                      <a:pt x="7274" y="0"/>
                      <a:pt x="11060" y="498"/>
                    </a:cubicBezTo>
                    <a:cubicBezTo>
                      <a:pt x="7364" y="746"/>
                      <a:pt x="3657" y="577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36" name="Freeform: Shape 1835">
                <a:extLst>
                  <a:ext uri="{FF2B5EF4-FFF2-40B4-BE49-F238E27FC236}">
                    <a16:creationId xmlns:a16="http://schemas.microsoft.com/office/drawing/2014/main" id="{69D981B7-E518-4D8F-8A34-2AF5D8324B19}"/>
                  </a:ext>
                </a:extLst>
              </p:cNvPr>
              <p:cNvSpPr/>
              <p:nvPr/>
            </p:nvSpPr>
            <p:spPr>
              <a:xfrm>
                <a:off x="3984100" y="2100613"/>
                <a:ext cx="3288" cy="5571"/>
              </a:xfrm>
              <a:custGeom>
                <a:avLst/>
                <a:gdLst>
                  <a:gd name="connsiteX0" fmla="*/ 0 w 3288"/>
                  <a:gd name="connsiteY0" fmla="*/ 0 h 5571"/>
                  <a:gd name="connsiteX1" fmla="*/ 3288 w 3288"/>
                  <a:gd name="connsiteY1" fmla="*/ 5571 h 5571"/>
                  <a:gd name="connsiteX2" fmla="*/ 0 w 3288"/>
                  <a:gd name="connsiteY2" fmla="*/ 0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88" h="5571">
                    <a:moveTo>
                      <a:pt x="0" y="0"/>
                    </a:moveTo>
                    <a:cubicBezTo>
                      <a:pt x="887" y="1970"/>
                      <a:pt x="1993" y="3840"/>
                      <a:pt x="3288" y="5571"/>
                    </a:cubicBezTo>
                    <a:cubicBezTo>
                      <a:pt x="1724" y="4029"/>
                      <a:pt x="598" y="210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37" name="Freeform: Shape 1836">
                <a:extLst>
                  <a:ext uri="{FF2B5EF4-FFF2-40B4-BE49-F238E27FC236}">
                    <a16:creationId xmlns:a16="http://schemas.microsoft.com/office/drawing/2014/main" id="{525FBADC-3D5F-4261-B32D-BEDE9168BE12}"/>
                  </a:ext>
                </a:extLst>
              </p:cNvPr>
              <p:cNvSpPr/>
              <p:nvPr/>
            </p:nvSpPr>
            <p:spPr>
              <a:xfrm>
                <a:off x="3974136" y="2065173"/>
                <a:ext cx="14846" cy="2011"/>
              </a:xfrm>
              <a:custGeom>
                <a:avLst/>
                <a:gdLst>
                  <a:gd name="connsiteX0" fmla="*/ 14847 w 14846"/>
                  <a:gd name="connsiteY0" fmla="*/ 221 h 2011"/>
                  <a:gd name="connsiteX1" fmla="*/ 0 w 14846"/>
                  <a:gd name="connsiteY1" fmla="*/ 2012 h 2011"/>
                  <a:gd name="connsiteX2" fmla="*/ 14847 w 14846"/>
                  <a:gd name="connsiteY2" fmla="*/ 221 h 2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846" h="2011">
                    <a:moveTo>
                      <a:pt x="14847" y="221"/>
                    </a:moveTo>
                    <a:cubicBezTo>
                      <a:pt x="9825" y="-177"/>
                      <a:pt x="4783" y="440"/>
                      <a:pt x="0" y="2012"/>
                    </a:cubicBezTo>
                    <a:cubicBezTo>
                      <a:pt x="4733" y="241"/>
                      <a:pt x="9825" y="-376"/>
                      <a:pt x="14847" y="22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38" name="Freeform: Shape 1837">
                <a:extLst>
                  <a:ext uri="{FF2B5EF4-FFF2-40B4-BE49-F238E27FC236}">
                    <a16:creationId xmlns:a16="http://schemas.microsoft.com/office/drawing/2014/main" id="{8113E00E-25F0-4F76-80AD-3277D14A1B59}"/>
                  </a:ext>
                </a:extLst>
              </p:cNvPr>
              <p:cNvSpPr/>
              <p:nvPr/>
            </p:nvSpPr>
            <p:spPr>
              <a:xfrm>
                <a:off x="3987986" y="2109666"/>
                <a:ext cx="951" cy="4178"/>
              </a:xfrm>
              <a:custGeom>
                <a:avLst/>
                <a:gdLst>
                  <a:gd name="connsiteX0" fmla="*/ 0 w 951"/>
                  <a:gd name="connsiteY0" fmla="*/ 4179 h 4178"/>
                  <a:gd name="connsiteX1" fmla="*/ 897 w 951"/>
                  <a:gd name="connsiteY1" fmla="*/ 0 h 4178"/>
                  <a:gd name="connsiteX2" fmla="*/ 0 w 951"/>
                  <a:gd name="connsiteY2" fmla="*/ 4179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1" h="4178">
                    <a:moveTo>
                      <a:pt x="0" y="4179"/>
                    </a:moveTo>
                    <a:cubicBezTo>
                      <a:pt x="170" y="2766"/>
                      <a:pt x="468" y="1363"/>
                      <a:pt x="897" y="0"/>
                    </a:cubicBezTo>
                    <a:cubicBezTo>
                      <a:pt x="1086" y="1452"/>
                      <a:pt x="777" y="2935"/>
                      <a:pt x="0" y="417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39" name="Freeform: Shape 1838">
                <a:extLst>
                  <a:ext uri="{FF2B5EF4-FFF2-40B4-BE49-F238E27FC236}">
                    <a16:creationId xmlns:a16="http://schemas.microsoft.com/office/drawing/2014/main" id="{EFBEFD7C-1500-4C14-9F2A-972D1CFF6E58}"/>
                  </a:ext>
                </a:extLst>
              </p:cNvPr>
              <p:cNvSpPr/>
              <p:nvPr/>
            </p:nvSpPr>
            <p:spPr>
              <a:xfrm>
                <a:off x="3994762" y="2066887"/>
                <a:ext cx="5181" cy="2885"/>
              </a:xfrm>
              <a:custGeom>
                <a:avLst/>
                <a:gdLst>
                  <a:gd name="connsiteX0" fmla="*/ 5182 w 5181"/>
                  <a:gd name="connsiteY0" fmla="*/ 2885 h 2885"/>
                  <a:gd name="connsiteX1" fmla="*/ 0 w 5181"/>
                  <a:gd name="connsiteY1" fmla="*/ 0 h 2885"/>
                  <a:gd name="connsiteX2" fmla="*/ 5182 w 5181"/>
                  <a:gd name="connsiteY2" fmla="*/ 2885 h 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1" h="2885">
                    <a:moveTo>
                      <a:pt x="5182" y="2885"/>
                    </a:moveTo>
                    <a:cubicBezTo>
                      <a:pt x="3218" y="2418"/>
                      <a:pt x="1425" y="1423"/>
                      <a:pt x="0" y="0"/>
                    </a:cubicBezTo>
                    <a:cubicBezTo>
                      <a:pt x="1854" y="706"/>
                      <a:pt x="3607" y="1681"/>
                      <a:pt x="5182" y="288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40" name="Freeform: Shape 1839">
                <a:extLst>
                  <a:ext uri="{FF2B5EF4-FFF2-40B4-BE49-F238E27FC236}">
                    <a16:creationId xmlns:a16="http://schemas.microsoft.com/office/drawing/2014/main" id="{0DDA3B88-F344-4136-948F-DA544DE62999}"/>
                  </a:ext>
                </a:extLst>
              </p:cNvPr>
              <p:cNvSpPr/>
              <p:nvPr/>
            </p:nvSpPr>
            <p:spPr>
              <a:xfrm>
                <a:off x="3994862" y="2288843"/>
                <a:ext cx="38562" cy="994"/>
              </a:xfrm>
              <a:custGeom>
                <a:avLst/>
                <a:gdLst>
                  <a:gd name="connsiteX0" fmla="*/ 38562 w 38562"/>
                  <a:gd name="connsiteY0" fmla="*/ 995 h 994"/>
                  <a:gd name="connsiteX1" fmla="*/ 0 w 38562"/>
                  <a:gd name="connsiteY1" fmla="*/ 0 h 994"/>
                  <a:gd name="connsiteX2" fmla="*/ 38562 w 38562"/>
                  <a:gd name="connsiteY2" fmla="*/ 995 h 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562" h="994">
                    <a:moveTo>
                      <a:pt x="38562" y="995"/>
                    </a:moveTo>
                    <a:cubicBezTo>
                      <a:pt x="25708" y="995"/>
                      <a:pt x="11459" y="995"/>
                      <a:pt x="0" y="0"/>
                    </a:cubicBezTo>
                    <a:cubicBezTo>
                      <a:pt x="12854" y="497"/>
                      <a:pt x="26107" y="995"/>
                      <a:pt x="38562" y="9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606" name="Graphic 231">
              <a:extLst>
                <a:ext uri="{FF2B5EF4-FFF2-40B4-BE49-F238E27FC236}">
                  <a16:creationId xmlns:a16="http://schemas.microsoft.com/office/drawing/2014/main" id="{60DFA2F6-5560-4359-A8C9-77E3BE618864}"/>
                </a:ext>
              </a:extLst>
            </p:cNvPr>
            <p:cNvGrpSpPr/>
            <p:nvPr/>
          </p:nvGrpSpPr>
          <p:grpSpPr>
            <a:xfrm>
              <a:off x="3359830" y="1706739"/>
              <a:ext cx="725010" cy="377060"/>
              <a:chOff x="3359830" y="1706739"/>
              <a:chExt cx="725010" cy="377060"/>
            </a:xfrm>
            <a:solidFill>
              <a:srgbClr val="ECE8E4"/>
            </a:solidFill>
          </p:grpSpPr>
          <p:sp>
            <p:nvSpPr>
              <p:cNvPr id="1822" name="Freeform: Shape 1821">
                <a:extLst>
                  <a:ext uri="{FF2B5EF4-FFF2-40B4-BE49-F238E27FC236}">
                    <a16:creationId xmlns:a16="http://schemas.microsoft.com/office/drawing/2014/main" id="{1AB8C0C7-D7E9-4676-9DDB-6CB6635E0952}"/>
                  </a:ext>
                </a:extLst>
              </p:cNvPr>
              <p:cNvSpPr/>
              <p:nvPr/>
            </p:nvSpPr>
            <p:spPr>
              <a:xfrm>
                <a:off x="3359830" y="1909000"/>
                <a:ext cx="485" cy="18007"/>
              </a:xfrm>
              <a:custGeom>
                <a:avLst/>
                <a:gdLst>
                  <a:gd name="connsiteX0" fmla="*/ 0 w 485"/>
                  <a:gd name="connsiteY0" fmla="*/ 0 h 18007"/>
                  <a:gd name="connsiteX1" fmla="*/ 0 w 485"/>
                  <a:gd name="connsiteY1" fmla="*/ 18007 h 18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5" h="18007">
                    <a:moveTo>
                      <a:pt x="0" y="0"/>
                    </a:moveTo>
                    <a:cubicBezTo>
                      <a:pt x="648" y="5989"/>
                      <a:pt x="648" y="12018"/>
                      <a:pt x="0" y="1800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23" name="Freeform: Shape 1822">
                <a:extLst>
                  <a:ext uri="{FF2B5EF4-FFF2-40B4-BE49-F238E27FC236}">
                    <a16:creationId xmlns:a16="http://schemas.microsoft.com/office/drawing/2014/main" id="{F3736140-0CE3-41D2-980D-DE707DA2DB31}"/>
                  </a:ext>
                </a:extLst>
              </p:cNvPr>
              <p:cNvSpPr/>
              <p:nvPr/>
            </p:nvSpPr>
            <p:spPr>
              <a:xfrm>
                <a:off x="3951915" y="2083598"/>
                <a:ext cx="1195" cy="201"/>
              </a:xfrm>
              <a:custGeom>
                <a:avLst/>
                <a:gdLst>
                  <a:gd name="connsiteX0" fmla="*/ 1196 w 1195"/>
                  <a:gd name="connsiteY0" fmla="*/ 202 h 201"/>
                  <a:gd name="connsiteX1" fmla="*/ 0 w 1195"/>
                  <a:gd name="connsiteY1" fmla="*/ 202 h 201"/>
                  <a:gd name="connsiteX2" fmla="*/ 1196 w 1195"/>
                  <a:gd name="connsiteY2" fmla="*/ 202 h 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5" h="201">
                    <a:moveTo>
                      <a:pt x="1196" y="202"/>
                    </a:moveTo>
                    <a:lnTo>
                      <a:pt x="0" y="202"/>
                    </a:lnTo>
                    <a:cubicBezTo>
                      <a:pt x="359" y="-67"/>
                      <a:pt x="837" y="-67"/>
                      <a:pt x="1196" y="20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24" name="Freeform: Shape 1823">
                <a:extLst>
                  <a:ext uri="{FF2B5EF4-FFF2-40B4-BE49-F238E27FC236}">
                    <a16:creationId xmlns:a16="http://schemas.microsoft.com/office/drawing/2014/main" id="{7AB6FC3D-9D77-4F7A-B19D-D85236C9AFA1}"/>
                  </a:ext>
                </a:extLst>
              </p:cNvPr>
              <p:cNvSpPr/>
              <p:nvPr/>
            </p:nvSpPr>
            <p:spPr>
              <a:xfrm>
                <a:off x="3957197" y="2076338"/>
                <a:ext cx="3686" cy="6367"/>
              </a:xfrm>
              <a:custGeom>
                <a:avLst/>
                <a:gdLst>
                  <a:gd name="connsiteX0" fmla="*/ 0 w 3686"/>
                  <a:gd name="connsiteY0" fmla="*/ 6367 h 6367"/>
                  <a:gd name="connsiteX1" fmla="*/ 3687 w 3686"/>
                  <a:gd name="connsiteY1" fmla="*/ 0 h 6367"/>
                  <a:gd name="connsiteX2" fmla="*/ 0 w 3686"/>
                  <a:gd name="connsiteY2" fmla="*/ 6367 h 6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86" h="6367">
                    <a:moveTo>
                      <a:pt x="0" y="6367"/>
                    </a:moveTo>
                    <a:cubicBezTo>
                      <a:pt x="847" y="4049"/>
                      <a:pt x="2092" y="1890"/>
                      <a:pt x="3687" y="0"/>
                    </a:cubicBezTo>
                    <a:cubicBezTo>
                      <a:pt x="2630" y="2218"/>
                      <a:pt x="1395" y="4348"/>
                      <a:pt x="0" y="636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25" name="Freeform: Shape 1824">
                <a:extLst>
                  <a:ext uri="{FF2B5EF4-FFF2-40B4-BE49-F238E27FC236}">
                    <a16:creationId xmlns:a16="http://schemas.microsoft.com/office/drawing/2014/main" id="{B068F213-6490-47CF-9138-575455E01C55}"/>
                  </a:ext>
                </a:extLst>
              </p:cNvPr>
              <p:cNvSpPr/>
              <p:nvPr/>
            </p:nvSpPr>
            <p:spPr>
              <a:xfrm>
                <a:off x="3974136" y="2065173"/>
                <a:ext cx="14846" cy="2011"/>
              </a:xfrm>
              <a:custGeom>
                <a:avLst/>
                <a:gdLst>
                  <a:gd name="connsiteX0" fmla="*/ 14847 w 14846"/>
                  <a:gd name="connsiteY0" fmla="*/ 221 h 2011"/>
                  <a:gd name="connsiteX1" fmla="*/ 0 w 14846"/>
                  <a:gd name="connsiteY1" fmla="*/ 2012 h 2011"/>
                  <a:gd name="connsiteX2" fmla="*/ 14847 w 14846"/>
                  <a:gd name="connsiteY2" fmla="*/ 221 h 20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846" h="2011">
                    <a:moveTo>
                      <a:pt x="14847" y="221"/>
                    </a:moveTo>
                    <a:cubicBezTo>
                      <a:pt x="9825" y="-177"/>
                      <a:pt x="4783" y="440"/>
                      <a:pt x="0" y="2012"/>
                    </a:cubicBezTo>
                    <a:cubicBezTo>
                      <a:pt x="4733" y="241"/>
                      <a:pt x="9825" y="-376"/>
                      <a:pt x="14847" y="22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26" name="Freeform: Shape 1825">
                <a:extLst>
                  <a:ext uri="{FF2B5EF4-FFF2-40B4-BE49-F238E27FC236}">
                    <a16:creationId xmlns:a16="http://schemas.microsoft.com/office/drawing/2014/main" id="{62AD4714-0BFD-483C-8B7D-674D18D57EEF}"/>
                  </a:ext>
                </a:extLst>
              </p:cNvPr>
              <p:cNvSpPr/>
              <p:nvPr/>
            </p:nvSpPr>
            <p:spPr>
              <a:xfrm>
                <a:off x="3994762" y="2066887"/>
                <a:ext cx="5181" cy="2885"/>
              </a:xfrm>
              <a:custGeom>
                <a:avLst/>
                <a:gdLst>
                  <a:gd name="connsiteX0" fmla="*/ 0 w 5181"/>
                  <a:gd name="connsiteY0" fmla="*/ 0 h 2885"/>
                  <a:gd name="connsiteX1" fmla="*/ 5182 w 5181"/>
                  <a:gd name="connsiteY1" fmla="*/ 2885 h 2885"/>
                  <a:gd name="connsiteX2" fmla="*/ 0 w 5181"/>
                  <a:gd name="connsiteY2" fmla="*/ 0 h 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1" h="2885">
                    <a:moveTo>
                      <a:pt x="0" y="0"/>
                    </a:moveTo>
                    <a:cubicBezTo>
                      <a:pt x="1854" y="706"/>
                      <a:pt x="3607" y="1681"/>
                      <a:pt x="5182" y="2885"/>
                    </a:cubicBezTo>
                    <a:cubicBezTo>
                      <a:pt x="3218" y="2418"/>
                      <a:pt x="1425" y="142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27" name="Freeform: Shape 1826">
                <a:extLst>
                  <a:ext uri="{FF2B5EF4-FFF2-40B4-BE49-F238E27FC236}">
                    <a16:creationId xmlns:a16="http://schemas.microsoft.com/office/drawing/2014/main" id="{FD50DE22-90D4-4A1B-B75C-DDCD24B25C93}"/>
                  </a:ext>
                </a:extLst>
              </p:cNvPr>
              <p:cNvSpPr/>
              <p:nvPr/>
            </p:nvSpPr>
            <p:spPr>
              <a:xfrm>
                <a:off x="4004826" y="2064996"/>
                <a:ext cx="5081" cy="3481"/>
              </a:xfrm>
              <a:custGeom>
                <a:avLst/>
                <a:gdLst>
                  <a:gd name="connsiteX0" fmla="*/ 0 w 5081"/>
                  <a:gd name="connsiteY0" fmla="*/ 3482 h 3481"/>
                  <a:gd name="connsiteX1" fmla="*/ 5082 w 5081"/>
                  <a:gd name="connsiteY1" fmla="*/ 0 h 3481"/>
                  <a:gd name="connsiteX2" fmla="*/ 0 w 5081"/>
                  <a:gd name="connsiteY2" fmla="*/ 3482 h 3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1" h="3481">
                    <a:moveTo>
                      <a:pt x="0" y="3482"/>
                    </a:moveTo>
                    <a:cubicBezTo>
                      <a:pt x="1365" y="1910"/>
                      <a:pt x="3119" y="706"/>
                      <a:pt x="5082" y="0"/>
                    </a:cubicBezTo>
                    <a:cubicBezTo>
                      <a:pt x="3507" y="1323"/>
                      <a:pt x="1804" y="2497"/>
                      <a:pt x="0" y="348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28" name="Freeform: Shape 1827">
                <a:extLst>
                  <a:ext uri="{FF2B5EF4-FFF2-40B4-BE49-F238E27FC236}">
                    <a16:creationId xmlns:a16="http://schemas.microsoft.com/office/drawing/2014/main" id="{A922F4C5-8CA3-4354-96EF-49967AFECED9}"/>
                  </a:ext>
                </a:extLst>
              </p:cNvPr>
              <p:cNvSpPr/>
              <p:nvPr/>
            </p:nvSpPr>
            <p:spPr>
              <a:xfrm>
                <a:off x="4005922" y="1706739"/>
                <a:ext cx="9964" cy="5574"/>
              </a:xfrm>
              <a:custGeom>
                <a:avLst/>
                <a:gdLst>
                  <a:gd name="connsiteX0" fmla="*/ 9964 w 9964"/>
                  <a:gd name="connsiteY0" fmla="*/ 5574 h 5574"/>
                  <a:gd name="connsiteX1" fmla="*/ 0 w 9964"/>
                  <a:gd name="connsiteY1" fmla="*/ 3 h 5574"/>
                  <a:gd name="connsiteX2" fmla="*/ 3089 w 9964"/>
                  <a:gd name="connsiteY2" fmla="*/ 3 h 5574"/>
                  <a:gd name="connsiteX3" fmla="*/ 9964 w 9964"/>
                  <a:gd name="connsiteY3" fmla="*/ 5574 h 5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4" h="5574">
                    <a:moveTo>
                      <a:pt x="9964" y="5574"/>
                    </a:moveTo>
                    <a:cubicBezTo>
                      <a:pt x="7324" y="2699"/>
                      <a:pt x="3836" y="749"/>
                      <a:pt x="0" y="3"/>
                    </a:cubicBezTo>
                    <a:lnTo>
                      <a:pt x="3089" y="3"/>
                    </a:lnTo>
                    <a:cubicBezTo>
                      <a:pt x="5780" y="-97"/>
                      <a:pt x="8071" y="2391"/>
                      <a:pt x="9964" y="55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29" name="Freeform: Shape 1828">
                <a:extLst>
                  <a:ext uri="{FF2B5EF4-FFF2-40B4-BE49-F238E27FC236}">
                    <a16:creationId xmlns:a16="http://schemas.microsoft.com/office/drawing/2014/main" id="{C75666F4-6CED-48B4-AB51-49A863AEC3E7}"/>
                  </a:ext>
                </a:extLst>
              </p:cNvPr>
              <p:cNvSpPr/>
              <p:nvPr/>
            </p:nvSpPr>
            <p:spPr>
              <a:xfrm>
                <a:off x="4036115" y="2048879"/>
                <a:ext cx="1395" cy="6864"/>
              </a:xfrm>
              <a:custGeom>
                <a:avLst/>
                <a:gdLst>
                  <a:gd name="connsiteX0" fmla="*/ 1395 w 1395"/>
                  <a:gd name="connsiteY0" fmla="*/ 0 h 6864"/>
                  <a:gd name="connsiteX1" fmla="*/ 1395 w 1395"/>
                  <a:gd name="connsiteY1" fmla="*/ 6069 h 6864"/>
                  <a:gd name="connsiteX2" fmla="*/ 0 w 1395"/>
                  <a:gd name="connsiteY2" fmla="*/ 6865 h 6864"/>
                  <a:gd name="connsiteX3" fmla="*/ 1395 w 1395"/>
                  <a:gd name="connsiteY3" fmla="*/ 0 h 6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5" h="6864">
                    <a:moveTo>
                      <a:pt x="1395" y="0"/>
                    </a:moveTo>
                    <a:cubicBezTo>
                      <a:pt x="1205" y="2020"/>
                      <a:pt x="1205" y="4049"/>
                      <a:pt x="1395" y="6069"/>
                    </a:cubicBezTo>
                    <a:cubicBezTo>
                      <a:pt x="976" y="6407"/>
                      <a:pt x="508" y="6676"/>
                      <a:pt x="0" y="6865"/>
                    </a:cubicBezTo>
                    <a:cubicBezTo>
                      <a:pt x="1594" y="5074"/>
                      <a:pt x="698" y="3482"/>
                      <a:pt x="13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30" name="Freeform: Shape 1829">
                <a:extLst>
                  <a:ext uri="{FF2B5EF4-FFF2-40B4-BE49-F238E27FC236}">
                    <a16:creationId xmlns:a16="http://schemas.microsoft.com/office/drawing/2014/main" id="{5BCFAA14-6D6B-4DB9-884E-0069906962F1}"/>
                  </a:ext>
                </a:extLst>
              </p:cNvPr>
              <p:cNvSpPr/>
              <p:nvPr/>
            </p:nvSpPr>
            <p:spPr>
              <a:xfrm>
                <a:off x="4043090" y="1891888"/>
                <a:ext cx="2291" cy="6267"/>
              </a:xfrm>
              <a:custGeom>
                <a:avLst/>
                <a:gdLst>
                  <a:gd name="connsiteX0" fmla="*/ 0 w 2291"/>
                  <a:gd name="connsiteY0" fmla="*/ 6268 h 6267"/>
                  <a:gd name="connsiteX1" fmla="*/ 2292 w 2291"/>
                  <a:gd name="connsiteY1" fmla="*/ 0 h 6267"/>
                  <a:gd name="connsiteX2" fmla="*/ 0 w 2291"/>
                  <a:gd name="connsiteY2" fmla="*/ 6268 h 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91" h="6267">
                    <a:moveTo>
                      <a:pt x="0" y="6268"/>
                    </a:moveTo>
                    <a:cubicBezTo>
                      <a:pt x="578" y="4119"/>
                      <a:pt x="1345" y="2020"/>
                      <a:pt x="2292" y="0"/>
                    </a:cubicBezTo>
                    <a:cubicBezTo>
                      <a:pt x="1375" y="2030"/>
                      <a:pt x="608" y="4129"/>
                      <a:pt x="0" y="626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31" name="Freeform: Shape 1830">
                <a:extLst>
                  <a:ext uri="{FF2B5EF4-FFF2-40B4-BE49-F238E27FC236}">
                    <a16:creationId xmlns:a16="http://schemas.microsoft.com/office/drawing/2014/main" id="{A89F5D80-CACA-4547-933B-D1731BD4CC9E}"/>
                  </a:ext>
                </a:extLst>
              </p:cNvPr>
              <p:cNvSpPr/>
              <p:nvPr/>
            </p:nvSpPr>
            <p:spPr>
              <a:xfrm>
                <a:off x="4079460" y="1801212"/>
                <a:ext cx="5381" cy="1137"/>
              </a:xfrm>
              <a:custGeom>
                <a:avLst/>
                <a:gdLst>
                  <a:gd name="connsiteX0" fmla="*/ 5381 w 5381"/>
                  <a:gd name="connsiteY0" fmla="*/ 1138 h 1137"/>
                  <a:gd name="connsiteX1" fmla="*/ 0 w 5381"/>
                  <a:gd name="connsiteY1" fmla="*/ 43 h 1137"/>
                  <a:gd name="connsiteX2" fmla="*/ 5381 w 5381"/>
                  <a:gd name="connsiteY2" fmla="*/ 1138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81" h="1137">
                    <a:moveTo>
                      <a:pt x="5381" y="1138"/>
                    </a:moveTo>
                    <a:cubicBezTo>
                      <a:pt x="3568" y="889"/>
                      <a:pt x="1764" y="521"/>
                      <a:pt x="0" y="43"/>
                    </a:cubicBezTo>
                    <a:cubicBezTo>
                      <a:pt x="1863" y="-136"/>
                      <a:pt x="3737" y="242"/>
                      <a:pt x="5381" y="113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607" name="Graphic 231">
              <a:extLst>
                <a:ext uri="{FF2B5EF4-FFF2-40B4-BE49-F238E27FC236}">
                  <a16:creationId xmlns:a16="http://schemas.microsoft.com/office/drawing/2014/main" id="{06B4C527-AB6C-465B-AD3D-0E881469E6BF}"/>
                </a:ext>
              </a:extLst>
            </p:cNvPr>
            <p:cNvGrpSpPr/>
            <p:nvPr/>
          </p:nvGrpSpPr>
          <p:grpSpPr>
            <a:xfrm>
              <a:off x="1248073" y="2037475"/>
              <a:ext cx="342277" cy="483073"/>
              <a:chOff x="1248073" y="2037475"/>
              <a:chExt cx="342277" cy="483073"/>
            </a:xfrm>
            <a:solidFill>
              <a:srgbClr val="ECE8E4"/>
            </a:solidFill>
          </p:grpSpPr>
          <p:sp>
            <p:nvSpPr>
              <p:cNvPr id="1813" name="Freeform: Shape 1812">
                <a:extLst>
                  <a:ext uri="{FF2B5EF4-FFF2-40B4-BE49-F238E27FC236}">
                    <a16:creationId xmlns:a16="http://schemas.microsoft.com/office/drawing/2014/main" id="{E43BB5BA-52A9-4E67-8882-5FBC3667BA98}"/>
                  </a:ext>
                </a:extLst>
              </p:cNvPr>
              <p:cNvSpPr/>
              <p:nvPr/>
            </p:nvSpPr>
            <p:spPr>
              <a:xfrm>
                <a:off x="1248073" y="2519654"/>
                <a:ext cx="338092" cy="895"/>
              </a:xfrm>
              <a:custGeom>
                <a:avLst/>
                <a:gdLst>
                  <a:gd name="connsiteX0" fmla="*/ 0 w 338092"/>
                  <a:gd name="connsiteY0" fmla="*/ 0 h 895"/>
                  <a:gd name="connsiteX1" fmla="*/ 338092 w 338092"/>
                  <a:gd name="connsiteY1" fmla="*/ 896 h 895"/>
                  <a:gd name="connsiteX2" fmla="*/ 0 w 338092"/>
                  <a:gd name="connsiteY2" fmla="*/ 0 h 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092" h="895">
                    <a:moveTo>
                      <a:pt x="0" y="0"/>
                    </a:moveTo>
                    <a:cubicBezTo>
                      <a:pt x="112927" y="0"/>
                      <a:pt x="225624" y="299"/>
                      <a:pt x="338092" y="896"/>
                    </a:cubicBezTo>
                    <a:cubicBezTo>
                      <a:pt x="225495" y="299"/>
                      <a:pt x="112797" y="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14" name="Freeform: Shape 1813">
                <a:extLst>
                  <a:ext uri="{FF2B5EF4-FFF2-40B4-BE49-F238E27FC236}">
                    <a16:creationId xmlns:a16="http://schemas.microsoft.com/office/drawing/2014/main" id="{1DCE0758-0AB1-4E50-8B7E-58D80A931AEA}"/>
                  </a:ext>
                </a:extLst>
              </p:cNvPr>
              <p:cNvSpPr/>
              <p:nvPr/>
            </p:nvSpPr>
            <p:spPr>
              <a:xfrm>
                <a:off x="1455133" y="2037475"/>
                <a:ext cx="33779" cy="559"/>
              </a:xfrm>
              <a:custGeom>
                <a:avLst/>
                <a:gdLst>
                  <a:gd name="connsiteX0" fmla="*/ 33779 w 33779"/>
                  <a:gd name="connsiteY0" fmla="*/ 560 h 559"/>
                  <a:gd name="connsiteX1" fmla="*/ 0 w 33779"/>
                  <a:gd name="connsiteY1" fmla="*/ 560 h 559"/>
                  <a:gd name="connsiteX2" fmla="*/ 33779 w 33779"/>
                  <a:gd name="connsiteY2" fmla="*/ 560 h 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779" h="559">
                    <a:moveTo>
                      <a:pt x="33779" y="560"/>
                    </a:moveTo>
                    <a:lnTo>
                      <a:pt x="0" y="560"/>
                    </a:lnTo>
                    <a:cubicBezTo>
                      <a:pt x="11250" y="-187"/>
                      <a:pt x="22530" y="-187"/>
                      <a:pt x="33779" y="56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15" name="Freeform: Shape 1814">
                <a:extLst>
                  <a:ext uri="{FF2B5EF4-FFF2-40B4-BE49-F238E27FC236}">
                    <a16:creationId xmlns:a16="http://schemas.microsoft.com/office/drawing/2014/main" id="{4AF6C82C-F2B3-46C5-8EAC-E74B96CEA903}"/>
                  </a:ext>
                </a:extLst>
              </p:cNvPr>
              <p:cNvSpPr/>
              <p:nvPr/>
            </p:nvSpPr>
            <p:spPr>
              <a:xfrm>
                <a:off x="1502464" y="2041219"/>
                <a:ext cx="6775" cy="6267"/>
              </a:xfrm>
              <a:custGeom>
                <a:avLst/>
                <a:gdLst>
                  <a:gd name="connsiteX0" fmla="*/ 6776 w 6775"/>
                  <a:gd name="connsiteY0" fmla="*/ 6268 h 6267"/>
                  <a:gd name="connsiteX1" fmla="*/ 0 w 6775"/>
                  <a:gd name="connsiteY1" fmla="*/ 0 h 6267"/>
                  <a:gd name="connsiteX2" fmla="*/ 6776 w 6775"/>
                  <a:gd name="connsiteY2" fmla="*/ 6268 h 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75" h="6267">
                    <a:moveTo>
                      <a:pt x="6776" y="6268"/>
                    </a:moveTo>
                    <a:cubicBezTo>
                      <a:pt x="4384" y="4278"/>
                      <a:pt x="2093" y="2089"/>
                      <a:pt x="0" y="0"/>
                    </a:cubicBezTo>
                    <a:cubicBezTo>
                      <a:pt x="3019" y="1074"/>
                      <a:pt x="5471" y="3343"/>
                      <a:pt x="6776" y="626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16" name="Freeform: Shape 1815">
                <a:extLst>
                  <a:ext uri="{FF2B5EF4-FFF2-40B4-BE49-F238E27FC236}">
                    <a16:creationId xmlns:a16="http://schemas.microsoft.com/office/drawing/2014/main" id="{281C2D55-0355-48F4-BF42-01CA5C13DE92}"/>
                  </a:ext>
                </a:extLst>
              </p:cNvPr>
              <p:cNvSpPr/>
              <p:nvPr/>
            </p:nvSpPr>
            <p:spPr>
              <a:xfrm>
                <a:off x="1526379" y="2057535"/>
                <a:ext cx="6377" cy="3481"/>
              </a:xfrm>
              <a:custGeom>
                <a:avLst/>
                <a:gdLst>
                  <a:gd name="connsiteX0" fmla="*/ 1993 w 6377"/>
                  <a:gd name="connsiteY0" fmla="*/ 3482 h 3481"/>
                  <a:gd name="connsiteX1" fmla="*/ 0 w 6377"/>
                  <a:gd name="connsiteY1" fmla="*/ 2288 h 3481"/>
                  <a:gd name="connsiteX2" fmla="*/ 6377 w 6377"/>
                  <a:gd name="connsiteY2" fmla="*/ 0 h 3481"/>
                  <a:gd name="connsiteX3" fmla="*/ 1993 w 6377"/>
                  <a:gd name="connsiteY3" fmla="*/ 3482 h 3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77" h="3481">
                    <a:moveTo>
                      <a:pt x="1993" y="3482"/>
                    </a:moveTo>
                    <a:cubicBezTo>
                      <a:pt x="1395" y="3482"/>
                      <a:pt x="698" y="2786"/>
                      <a:pt x="0" y="2288"/>
                    </a:cubicBezTo>
                    <a:cubicBezTo>
                      <a:pt x="2192" y="2786"/>
                      <a:pt x="3189" y="1393"/>
                      <a:pt x="6377" y="0"/>
                    </a:cubicBezTo>
                    <a:cubicBezTo>
                      <a:pt x="4773" y="975"/>
                      <a:pt x="3308" y="2139"/>
                      <a:pt x="1993" y="348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17" name="Freeform: Shape 1816">
                <a:extLst>
                  <a:ext uri="{FF2B5EF4-FFF2-40B4-BE49-F238E27FC236}">
                    <a16:creationId xmlns:a16="http://schemas.microsoft.com/office/drawing/2014/main" id="{A818C19F-8962-454B-800A-B846A9D1A975}"/>
                  </a:ext>
                </a:extLst>
              </p:cNvPr>
              <p:cNvSpPr/>
              <p:nvPr/>
            </p:nvSpPr>
            <p:spPr>
              <a:xfrm>
                <a:off x="1550920" y="2137523"/>
                <a:ext cx="1964" cy="14326"/>
              </a:xfrm>
              <a:custGeom>
                <a:avLst/>
                <a:gdLst>
                  <a:gd name="connsiteX0" fmla="*/ 1965 w 1964"/>
                  <a:gd name="connsiteY0" fmla="*/ 14326 h 14326"/>
                  <a:gd name="connsiteX1" fmla="*/ 1367 w 1964"/>
                  <a:gd name="connsiteY1" fmla="*/ 0 h 14326"/>
                  <a:gd name="connsiteX2" fmla="*/ 1965 w 1964"/>
                  <a:gd name="connsiteY2" fmla="*/ 14326 h 14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64" h="14326">
                    <a:moveTo>
                      <a:pt x="1965" y="14326"/>
                    </a:moveTo>
                    <a:cubicBezTo>
                      <a:pt x="-427" y="9899"/>
                      <a:pt x="-646" y="4616"/>
                      <a:pt x="1367" y="0"/>
                    </a:cubicBezTo>
                    <a:cubicBezTo>
                      <a:pt x="-437" y="4646"/>
                      <a:pt x="-228" y="9839"/>
                      <a:pt x="1965" y="1432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18" name="Freeform: Shape 1817">
                <a:extLst>
                  <a:ext uri="{FF2B5EF4-FFF2-40B4-BE49-F238E27FC236}">
                    <a16:creationId xmlns:a16="http://schemas.microsoft.com/office/drawing/2014/main" id="{F73B6D06-D426-465D-BA43-A2AC4895897C}"/>
                  </a:ext>
                </a:extLst>
              </p:cNvPr>
              <p:cNvSpPr/>
              <p:nvPr/>
            </p:nvSpPr>
            <p:spPr>
              <a:xfrm>
                <a:off x="1562948" y="2165578"/>
                <a:ext cx="6576" cy="6168"/>
              </a:xfrm>
              <a:custGeom>
                <a:avLst/>
                <a:gdLst>
                  <a:gd name="connsiteX0" fmla="*/ 2292 w 6576"/>
                  <a:gd name="connsiteY0" fmla="*/ 2786 h 6168"/>
                  <a:gd name="connsiteX1" fmla="*/ 0 w 6576"/>
                  <a:gd name="connsiteY1" fmla="*/ 0 h 6168"/>
                  <a:gd name="connsiteX2" fmla="*/ 6577 w 6576"/>
                  <a:gd name="connsiteY2" fmla="*/ 6168 h 6168"/>
                  <a:gd name="connsiteX3" fmla="*/ 2292 w 6576"/>
                  <a:gd name="connsiteY3" fmla="*/ 2786 h 6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76" h="6168">
                    <a:moveTo>
                      <a:pt x="2292" y="2786"/>
                    </a:moveTo>
                    <a:lnTo>
                      <a:pt x="0" y="0"/>
                    </a:lnTo>
                    <a:cubicBezTo>
                      <a:pt x="2192" y="2189"/>
                      <a:pt x="4484" y="4278"/>
                      <a:pt x="6577" y="6168"/>
                    </a:cubicBezTo>
                    <a:cubicBezTo>
                      <a:pt x="4843" y="5492"/>
                      <a:pt x="3348" y="4318"/>
                      <a:pt x="2292" y="27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19" name="Freeform: Shape 1818">
                <a:extLst>
                  <a:ext uri="{FF2B5EF4-FFF2-40B4-BE49-F238E27FC236}">
                    <a16:creationId xmlns:a16="http://schemas.microsoft.com/office/drawing/2014/main" id="{B0D83145-F5FE-48E7-B9E0-6258B735C38F}"/>
                  </a:ext>
                </a:extLst>
              </p:cNvPr>
              <p:cNvSpPr/>
              <p:nvPr/>
            </p:nvSpPr>
            <p:spPr>
              <a:xfrm>
                <a:off x="1572913" y="2172246"/>
                <a:ext cx="4284" cy="663"/>
              </a:xfrm>
              <a:custGeom>
                <a:avLst/>
                <a:gdLst>
                  <a:gd name="connsiteX0" fmla="*/ 0 w 4284"/>
                  <a:gd name="connsiteY0" fmla="*/ 595 h 663"/>
                  <a:gd name="connsiteX1" fmla="*/ 4285 w 4284"/>
                  <a:gd name="connsiteY1" fmla="*/ 97 h 663"/>
                  <a:gd name="connsiteX2" fmla="*/ 0 w 4284"/>
                  <a:gd name="connsiteY2" fmla="*/ 595 h 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84" h="663">
                    <a:moveTo>
                      <a:pt x="0" y="595"/>
                    </a:moveTo>
                    <a:cubicBezTo>
                      <a:pt x="1355" y="47"/>
                      <a:pt x="2840" y="-132"/>
                      <a:pt x="4285" y="97"/>
                    </a:cubicBezTo>
                    <a:cubicBezTo>
                      <a:pt x="2920" y="605"/>
                      <a:pt x="1445" y="774"/>
                      <a:pt x="0" y="59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20" name="Freeform: Shape 1819">
                <a:extLst>
                  <a:ext uri="{FF2B5EF4-FFF2-40B4-BE49-F238E27FC236}">
                    <a16:creationId xmlns:a16="http://schemas.microsoft.com/office/drawing/2014/main" id="{DACFE412-6805-455C-B564-ABBF48358A78}"/>
                  </a:ext>
                </a:extLst>
              </p:cNvPr>
              <p:cNvSpPr/>
              <p:nvPr/>
            </p:nvSpPr>
            <p:spPr>
              <a:xfrm>
                <a:off x="1586462" y="2319087"/>
                <a:ext cx="467" cy="169128"/>
              </a:xfrm>
              <a:custGeom>
                <a:avLst/>
                <a:gdLst>
                  <a:gd name="connsiteX0" fmla="*/ 201 w 467"/>
                  <a:gd name="connsiteY0" fmla="*/ 0 h 169128"/>
                  <a:gd name="connsiteX1" fmla="*/ 201 w 467"/>
                  <a:gd name="connsiteY1" fmla="*/ 169129 h 169128"/>
                  <a:gd name="connsiteX2" fmla="*/ 201 w 467"/>
                  <a:gd name="connsiteY2" fmla="*/ 0 h 169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7" h="169128">
                    <a:moveTo>
                      <a:pt x="201" y="0"/>
                    </a:moveTo>
                    <a:cubicBezTo>
                      <a:pt x="201" y="56608"/>
                      <a:pt x="799" y="113216"/>
                      <a:pt x="201" y="169129"/>
                    </a:cubicBezTo>
                    <a:cubicBezTo>
                      <a:pt x="102" y="112918"/>
                      <a:pt x="-197" y="56310"/>
                      <a:pt x="20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21" name="Freeform: Shape 1820">
                <a:extLst>
                  <a:ext uri="{FF2B5EF4-FFF2-40B4-BE49-F238E27FC236}">
                    <a16:creationId xmlns:a16="http://schemas.microsoft.com/office/drawing/2014/main" id="{6717DCE9-0718-447D-B9FC-67EFFF4AC75F}"/>
                  </a:ext>
                </a:extLst>
              </p:cNvPr>
              <p:cNvSpPr/>
              <p:nvPr/>
            </p:nvSpPr>
            <p:spPr>
              <a:xfrm>
                <a:off x="1583774" y="2174134"/>
                <a:ext cx="6576" cy="2188"/>
              </a:xfrm>
              <a:custGeom>
                <a:avLst/>
                <a:gdLst>
                  <a:gd name="connsiteX0" fmla="*/ 6577 w 6576"/>
                  <a:gd name="connsiteY0" fmla="*/ 2189 h 2188"/>
                  <a:gd name="connsiteX1" fmla="*/ 0 w 6576"/>
                  <a:gd name="connsiteY1" fmla="*/ 0 h 2188"/>
                  <a:gd name="connsiteX2" fmla="*/ 6577 w 6576"/>
                  <a:gd name="connsiteY2" fmla="*/ 2189 h 2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76" h="2188">
                    <a:moveTo>
                      <a:pt x="6577" y="2189"/>
                    </a:moveTo>
                    <a:cubicBezTo>
                      <a:pt x="4215" y="2139"/>
                      <a:pt x="1923" y="1383"/>
                      <a:pt x="0" y="0"/>
                    </a:cubicBezTo>
                    <a:cubicBezTo>
                      <a:pt x="2113" y="955"/>
                      <a:pt x="4315" y="1681"/>
                      <a:pt x="6577" y="21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608" name="Graphic 231">
              <a:extLst>
                <a:ext uri="{FF2B5EF4-FFF2-40B4-BE49-F238E27FC236}">
                  <a16:creationId xmlns:a16="http://schemas.microsoft.com/office/drawing/2014/main" id="{A5D6F6EF-40EA-465D-8DAE-0DA9CE978922}"/>
                </a:ext>
              </a:extLst>
            </p:cNvPr>
            <p:cNvGrpSpPr/>
            <p:nvPr/>
          </p:nvGrpSpPr>
          <p:grpSpPr>
            <a:xfrm>
              <a:off x="4251844" y="1188612"/>
              <a:ext cx="242932" cy="393771"/>
              <a:chOff x="4251844" y="1188612"/>
              <a:chExt cx="242932" cy="393771"/>
            </a:xfrm>
            <a:solidFill>
              <a:srgbClr val="ECE8E4"/>
            </a:solidFill>
          </p:grpSpPr>
          <p:sp>
            <p:nvSpPr>
              <p:cNvPr id="1776" name="Freeform: Shape 1775">
                <a:extLst>
                  <a:ext uri="{FF2B5EF4-FFF2-40B4-BE49-F238E27FC236}">
                    <a16:creationId xmlns:a16="http://schemas.microsoft.com/office/drawing/2014/main" id="{C719EF98-BFEC-4C67-8F05-D585C0195E1C}"/>
                  </a:ext>
                </a:extLst>
              </p:cNvPr>
              <p:cNvSpPr/>
              <p:nvPr/>
            </p:nvSpPr>
            <p:spPr>
              <a:xfrm>
                <a:off x="4251844" y="1355949"/>
                <a:ext cx="1694" cy="3482"/>
              </a:xfrm>
              <a:custGeom>
                <a:avLst/>
                <a:gdLst>
                  <a:gd name="connsiteX0" fmla="*/ 0 w 1694"/>
                  <a:gd name="connsiteY0" fmla="*/ 0 h 3482"/>
                  <a:gd name="connsiteX1" fmla="*/ 1694 w 1694"/>
                  <a:gd name="connsiteY1" fmla="*/ 3482 h 3482"/>
                  <a:gd name="connsiteX2" fmla="*/ 0 w 1694"/>
                  <a:gd name="connsiteY2" fmla="*/ 0 h 3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94" h="3482">
                    <a:moveTo>
                      <a:pt x="0" y="0"/>
                    </a:moveTo>
                    <a:cubicBezTo>
                      <a:pt x="857" y="995"/>
                      <a:pt x="1445" y="2199"/>
                      <a:pt x="1694" y="3482"/>
                    </a:cubicBezTo>
                    <a:cubicBezTo>
                      <a:pt x="797" y="2507"/>
                      <a:pt x="209" y="130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77" name="Freeform: Shape 1776">
                <a:extLst>
                  <a:ext uri="{FF2B5EF4-FFF2-40B4-BE49-F238E27FC236}">
                    <a16:creationId xmlns:a16="http://schemas.microsoft.com/office/drawing/2014/main" id="{B06D78FF-7A08-400D-BC45-B6FFE371E286}"/>
                  </a:ext>
                </a:extLst>
              </p:cNvPr>
              <p:cNvSpPr/>
              <p:nvPr/>
            </p:nvSpPr>
            <p:spPr>
              <a:xfrm>
                <a:off x="4255232" y="1375449"/>
                <a:ext cx="2092" cy="5471"/>
              </a:xfrm>
              <a:custGeom>
                <a:avLst/>
                <a:gdLst>
                  <a:gd name="connsiteX0" fmla="*/ 0 w 2092"/>
                  <a:gd name="connsiteY0" fmla="*/ 0 h 5471"/>
                  <a:gd name="connsiteX1" fmla="*/ 2093 w 2092"/>
                  <a:gd name="connsiteY1" fmla="*/ 5472 h 5471"/>
                  <a:gd name="connsiteX2" fmla="*/ 0 w 2092"/>
                  <a:gd name="connsiteY2" fmla="*/ 0 h 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92" h="5471">
                    <a:moveTo>
                      <a:pt x="0" y="0"/>
                    </a:moveTo>
                    <a:cubicBezTo>
                      <a:pt x="1096" y="1641"/>
                      <a:pt x="1814" y="3512"/>
                      <a:pt x="2093" y="5472"/>
                    </a:cubicBezTo>
                    <a:cubicBezTo>
                      <a:pt x="1255" y="3701"/>
                      <a:pt x="558" y="187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78" name="Freeform: Shape 1777">
                <a:extLst>
                  <a:ext uri="{FF2B5EF4-FFF2-40B4-BE49-F238E27FC236}">
                    <a16:creationId xmlns:a16="http://schemas.microsoft.com/office/drawing/2014/main" id="{97B7E511-3225-482C-BAB1-E197EE2D2B08}"/>
                  </a:ext>
                </a:extLst>
              </p:cNvPr>
              <p:cNvSpPr/>
              <p:nvPr/>
            </p:nvSpPr>
            <p:spPr>
              <a:xfrm>
                <a:off x="4254734" y="1321726"/>
                <a:ext cx="6875" cy="17310"/>
              </a:xfrm>
              <a:custGeom>
                <a:avLst/>
                <a:gdLst>
                  <a:gd name="connsiteX0" fmla="*/ 0 w 6875"/>
                  <a:gd name="connsiteY0" fmla="*/ 17311 h 17310"/>
                  <a:gd name="connsiteX1" fmla="*/ 6875 w 6875"/>
                  <a:gd name="connsiteY1" fmla="*/ 0 h 17310"/>
                  <a:gd name="connsiteX2" fmla="*/ 0 w 6875"/>
                  <a:gd name="connsiteY2" fmla="*/ 17311 h 17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75" h="17310">
                    <a:moveTo>
                      <a:pt x="0" y="17311"/>
                    </a:moveTo>
                    <a:cubicBezTo>
                      <a:pt x="1116" y="11143"/>
                      <a:pt x="3457" y="5253"/>
                      <a:pt x="6875" y="0"/>
                    </a:cubicBezTo>
                    <a:cubicBezTo>
                      <a:pt x="3936" y="5492"/>
                      <a:pt x="1634" y="11302"/>
                      <a:pt x="0" y="1731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79" name="Freeform: Shape 1778">
                <a:extLst>
                  <a:ext uri="{FF2B5EF4-FFF2-40B4-BE49-F238E27FC236}">
                    <a16:creationId xmlns:a16="http://schemas.microsoft.com/office/drawing/2014/main" id="{700A32B1-EEDC-4C11-8F4F-8D69AD4FE13A}"/>
                  </a:ext>
                </a:extLst>
              </p:cNvPr>
              <p:cNvSpPr/>
              <p:nvPr/>
            </p:nvSpPr>
            <p:spPr>
              <a:xfrm>
                <a:off x="4257474" y="1386591"/>
                <a:ext cx="448" cy="8157"/>
              </a:xfrm>
              <a:custGeom>
                <a:avLst/>
                <a:gdLst>
                  <a:gd name="connsiteX0" fmla="*/ 448 w 448"/>
                  <a:gd name="connsiteY0" fmla="*/ 8158 h 8157"/>
                  <a:gd name="connsiteX1" fmla="*/ 448 w 448"/>
                  <a:gd name="connsiteY1" fmla="*/ 0 h 8157"/>
                  <a:gd name="connsiteX2" fmla="*/ 448 w 448"/>
                  <a:gd name="connsiteY2" fmla="*/ 8158 h 8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8" h="8157">
                    <a:moveTo>
                      <a:pt x="448" y="8158"/>
                    </a:moveTo>
                    <a:cubicBezTo>
                      <a:pt x="-149" y="5472"/>
                      <a:pt x="-149" y="2686"/>
                      <a:pt x="448" y="0"/>
                    </a:cubicBezTo>
                    <a:cubicBezTo>
                      <a:pt x="199" y="2716"/>
                      <a:pt x="199" y="5442"/>
                      <a:pt x="448" y="815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0" name="Freeform: Shape 1779">
                <a:extLst>
                  <a:ext uri="{FF2B5EF4-FFF2-40B4-BE49-F238E27FC236}">
                    <a16:creationId xmlns:a16="http://schemas.microsoft.com/office/drawing/2014/main" id="{37FB6794-65A5-41A3-8933-7F9DA2803076}"/>
                  </a:ext>
                </a:extLst>
              </p:cNvPr>
              <p:cNvSpPr/>
              <p:nvPr/>
            </p:nvSpPr>
            <p:spPr>
              <a:xfrm>
                <a:off x="4257523" y="1237659"/>
                <a:ext cx="2092" cy="11938"/>
              </a:xfrm>
              <a:custGeom>
                <a:avLst/>
                <a:gdLst>
                  <a:gd name="connsiteX0" fmla="*/ 2093 w 2092"/>
                  <a:gd name="connsiteY0" fmla="*/ 0 h 11938"/>
                  <a:gd name="connsiteX1" fmla="*/ 0 w 2092"/>
                  <a:gd name="connsiteY1" fmla="*/ 11938 h 11938"/>
                  <a:gd name="connsiteX2" fmla="*/ 2093 w 2092"/>
                  <a:gd name="connsiteY2" fmla="*/ 0 h 11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92" h="11938">
                    <a:moveTo>
                      <a:pt x="2093" y="0"/>
                    </a:moveTo>
                    <a:cubicBezTo>
                      <a:pt x="1395" y="4079"/>
                      <a:pt x="797" y="8357"/>
                      <a:pt x="0" y="11938"/>
                    </a:cubicBezTo>
                    <a:cubicBezTo>
                      <a:pt x="359" y="7909"/>
                      <a:pt x="1056" y="3910"/>
                      <a:pt x="2093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1" name="Freeform: Shape 1780">
                <a:extLst>
                  <a:ext uri="{FF2B5EF4-FFF2-40B4-BE49-F238E27FC236}">
                    <a16:creationId xmlns:a16="http://schemas.microsoft.com/office/drawing/2014/main" id="{68FAAFC0-29A1-4CDB-B71B-08C85BEF6B9D}"/>
                  </a:ext>
                </a:extLst>
              </p:cNvPr>
              <p:cNvSpPr/>
              <p:nvPr/>
            </p:nvSpPr>
            <p:spPr>
              <a:xfrm>
                <a:off x="4258520" y="1202938"/>
                <a:ext cx="2291" cy="6267"/>
              </a:xfrm>
              <a:custGeom>
                <a:avLst/>
                <a:gdLst>
                  <a:gd name="connsiteX0" fmla="*/ 2292 w 2291"/>
                  <a:gd name="connsiteY0" fmla="*/ 0 h 6267"/>
                  <a:gd name="connsiteX1" fmla="*/ 0 w 2291"/>
                  <a:gd name="connsiteY1" fmla="*/ 6268 h 6267"/>
                  <a:gd name="connsiteX2" fmla="*/ 2292 w 2291"/>
                  <a:gd name="connsiteY2" fmla="*/ 0 h 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91" h="6267">
                    <a:moveTo>
                      <a:pt x="2292" y="0"/>
                    </a:moveTo>
                    <a:cubicBezTo>
                      <a:pt x="1783" y="2169"/>
                      <a:pt x="1016" y="4278"/>
                      <a:pt x="0" y="6268"/>
                    </a:cubicBezTo>
                    <a:cubicBezTo>
                      <a:pt x="538" y="4099"/>
                      <a:pt x="1305" y="2000"/>
                      <a:pt x="229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2" name="Freeform: Shape 1781">
                <a:extLst>
                  <a:ext uri="{FF2B5EF4-FFF2-40B4-BE49-F238E27FC236}">
                    <a16:creationId xmlns:a16="http://schemas.microsoft.com/office/drawing/2014/main" id="{85A21E7B-2C87-4F43-8C96-C08D2029B256}"/>
                  </a:ext>
                </a:extLst>
              </p:cNvPr>
              <p:cNvSpPr/>
              <p:nvPr/>
            </p:nvSpPr>
            <p:spPr>
              <a:xfrm>
                <a:off x="4258620" y="1214379"/>
                <a:ext cx="2889" cy="4974"/>
              </a:xfrm>
              <a:custGeom>
                <a:avLst/>
                <a:gdLst>
                  <a:gd name="connsiteX0" fmla="*/ 2889 w 2889"/>
                  <a:gd name="connsiteY0" fmla="*/ 4974 h 4974"/>
                  <a:gd name="connsiteX1" fmla="*/ 0 w 2889"/>
                  <a:gd name="connsiteY1" fmla="*/ 0 h 4974"/>
                  <a:gd name="connsiteX2" fmla="*/ 2889 w 2889"/>
                  <a:gd name="connsiteY2" fmla="*/ 4974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89" h="4974">
                    <a:moveTo>
                      <a:pt x="2889" y="4974"/>
                    </a:moveTo>
                    <a:cubicBezTo>
                      <a:pt x="1246" y="3820"/>
                      <a:pt x="189" y="2000"/>
                      <a:pt x="0" y="0"/>
                    </a:cubicBezTo>
                    <a:cubicBezTo>
                      <a:pt x="647" y="1821"/>
                      <a:pt x="1624" y="3512"/>
                      <a:pt x="2889" y="497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3" name="Freeform: Shape 1782">
                <a:extLst>
                  <a:ext uri="{FF2B5EF4-FFF2-40B4-BE49-F238E27FC236}">
                    <a16:creationId xmlns:a16="http://schemas.microsoft.com/office/drawing/2014/main" id="{B8387C2C-8AEA-4E58-BCDE-641D91159978}"/>
                  </a:ext>
                </a:extLst>
              </p:cNvPr>
              <p:cNvSpPr/>
              <p:nvPr/>
            </p:nvSpPr>
            <p:spPr>
              <a:xfrm>
                <a:off x="4257723" y="1257556"/>
                <a:ext cx="3088" cy="7163"/>
              </a:xfrm>
              <a:custGeom>
                <a:avLst/>
                <a:gdLst>
                  <a:gd name="connsiteX0" fmla="*/ 0 w 3088"/>
                  <a:gd name="connsiteY0" fmla="*/ 0 h 7163"/>
                  <a:gd name="connsiteX1" fmla="*/ 3089 w 3088"/>
                  <a:gd name="connsiteY1" fmla="*/ 7163 h 7163"/>
                  <a:gd name="connsiteX2" fmla="*/ 1893 w 3088"/>
                  <a:gd name="connsiteY2" fmla="*/ 5770 h 7163"/>
                  <a:gd name="connsiteX3" fmla="*/ 0 w 3088"/>
                  <a:gd name="connsiteY3" fmla="*/ 0 h 7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88" h="7163">
                    <a:moveTo>
                      <a:pt x="0" y="0"/>
                    </a:moveTo>
                    <a:cubicBezTo>
                      <a:pt x="777" y="2487"/>
                      <a:pt x="1814" y="4895"/>
                      <a:pt x="3089" y="7163"/>
                    </a:cubicBezTo>
                    <a:lnTo>
                      <a:pt x="1893" y="5770"/>
                    </a:lnTo>
                    <a:cubicBezTo>
                      <a:pt x="907" y="3979"/>
                      <a:pt x="269" y="2020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4" name="Freeform: Shape 1783">
                <a:extLst>
                  <a:ext uri="{FF2B5EF4-FFF2-40B4-BE49-F238E27FC236}">
                    <a16:creationId xmlns:a16="http://schemas.microsoft.com/office/drawing/2014/main" id="{E1254F12-C672-4606-A1A0-3A65F3D245FA}"/>
                  </a:ext>
                </a:extLst>
              </p:cNvPr>
              <p:cNvSpPr/>
              <p:nvPr/>
            </p:nvSpPr>
            <p:spPr>
              <a:xfrm>
                <a:off x="4261881" y="1188612"/>
                <a:ext cx="612" cy="9252"/>
              </a:xfrm>
              <a:custGeom>
                <a:avLst/>
                <a:gdLst>
                  <a:gd name="connsiteX0" fmla="*/ 426 w 612"/>
                  <a:gd name="connsiteY0" fmla="*/ 9252 h 9252"/>
                  <a:gd name="connsiteX1" fmla="*/ 426 w 612"/>
                  <a:gd name="connsiteY1" fmla="*/ 0 h 9252"/>
                  <a:gd name="connsiteX2" fmla="*/ 426 w 612"/>
                  <a:gd name="connsiteY2" fmla="*/ 9252 h 9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2" h="9252">
                    <a:moveTo>
                      <a:pt x="426" y="9252"/>
                    </a:moveTo>
                    <a:cubicBezTo>
                      <a:pt x="-142" y="6198"/>
                      <a:pt x="-142" y="3054"/>
                      <a:pt x="426" y="0"/>
                    </a:cubicBezTo>
                    <a:cubicBezTo>
                      <a:pt x="675" y="3084"/>
                      <a:pt x="675" y="6178"/>
                      <a:pt x="426" y="925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5" name="Freeform: Shape 1784">
                <a:extLst>
                  <a:ext uri="{FF2B5EF4-FFF2-40B4-BE49-F238E27FC236}">
                    <a16:creationId xmlns:a16="http://schemas.microsoft.com/office/drawing/2014/main" id="{BBBC79F8-AB5B-4E60-B352-72FA459AD6EC}"/>
                  </a:ext>
                </a:extLst>
              </p:cNvPr>
              <p:cNvSpPr/>
              <p:nvPr/>
            </p:nvSpPr>
            <p:spPr>
              <a:xfrm>
                <a:off x="4262307" y="1220348"/>
                <a:ext cx="1295" cy="4477"/>
              </a:xfrm>
              <a:custGeom>
                <a:avLst/>
                <a:gdLst>
                  <a:gd name="connsiteX0" fmla="*/ 299 w 1295"/>
                  <a:gd name="connsiteY0" fmla="*/ 0 h 4477"/>
                  <a:gd name="connsiteX1" fmla="*/ 1295 w 1295"/>
                  <a:gd name="connsiteY1" fmla="*/ 896 h 4477"/>
                  <a:gd name="connsiteX2" fmla="*/ 0 w 1295"/>
                  <a:gd name="connsiteY2" fmla="*/ 4477 h 4477"/>
                  <a:gd name="connsiteX3" fmla="*/ 299 w 1295"/>
                  <a:gd name="connsiteY3" fmla="*/ 0 h 4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95" h="4477">
                    <a:moveTo>
                      <a:pt x="299" y="0"/>
                    </a:moveTo>
                    <a:cubicBezTo>
                      <a:pt x="578" y="348"/>
                      <a:pt x="917" y="657"/>
                      <a:pt x="1295" y="896"/>
                    </a:cubicBezTo>
                    <a:cubicBezTo>
                      <a:pt x="787" y="2059"/>
                      <a:pt x="358" y="3253"/>
                      <a:pt x="0" y="4477"/>
                    </a:cubicBezTo>
                    <a:cubicBezTo>
                      <a:pt x="199" y="2995"/>
                      <a:pt x="299" y="1492"/>
                      <a:pt x="299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6" name="Freeform: Shape 1785">
                <a:extLst>
                  <a:ext uri="{FF2B5EF4-FFF2-40B4-BE49-F238E27FC236}">
                    <a16:creationId xmlns:a16="http://schemas.microsoft.com/office/drawing/2014/main" id="{2D2A607D-8213-41A0-A95B-9BA40C8627D0}"/>
                  </a:ext>
                </a:extLst>
              </p:cNvPr>
              <p:cNvSpPr/>
              <p:nvPr/>
            </p:nvSpPr>
            <p:spPr>
              <a:xfrm>
                <a:off x="4264399" y="1283821"/>
                <a:ext cx="3188" cy="19897"/>
              </a:xfrm>
              <a:custGeom>
                <a:avLst/>
                <a:gdLst>
                  <a:gd name="connsiteX0" fmla="*/ 0 w 3188"/>
                  <a:gd name="connsiteY0" fmla="*/ 19897 h 19897"/>
                  <a:gd name="connsiteX1" fmla="*/ 3189 w 3188"/>
                  <a:gd name="connsiteY1" fmla="*/ 0 h 19897"/>
                  <a:gd name="connsiteX2" fmla="*/ 0 w 3188"/>
                  <a:gd name="connsiteY2" fmla="*/ 19897 h 19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88" h="19897">
                    <a:moveTo>
                      <a:pt x="0" y="19897"/>
                    </a:moveTo>
                    <a:cubicBezTo>
                      <a:pt x="0" y="12535"/>
                      <a:pt x="2491" y="6168"/>
                      <a:pt x="3189" y="0"/>
                    </a:cubicBezTo>
                    <a:cubicBezTo>
                      <a:pt x="2790" y="6367"/>
                      <a:pt x="598" y="13530"/>
                      <a:pt x="0" y="1989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7" name="Freeform: Shape 1786">
                <a:extLst>
                  <a:ext uri="{FF2B5EF4-FFF2-40B4-BE49-F238E27FC236}">
                    <a16:creationId xmlns:a16="http://schemas.microsoft.com/office/drawing/2014/main" id="{1BEC4114-16F6-4656-8467-77FC7F915F3A}"/>
                  </a:ext>
                </a:extLst>
              </p:cNvPr>
              <p:cNvSpPr/>
              <p:nvPr/>
            </p:nvSpPr>
            <p:spPr>
              <a:xfrm>
                <a:off x="4264399" y="1314364"/>
                <a:ext cx="797" cy="2586"/>
              </a:xfrm>
              <a:custGeom>
                <a:avLst/>
                <a:gdLst>
                  <a:gd name="connsiteX0" fmla="*/ 797 w 797"/>
                  <a:gd name="connsiteY0" fmla="*/ 0 h 2586"/>
                  <a:gd name="connsiteX1" fmla="*/ 797 w 797"/>
                  <a:gd name="connsiteY1" fmla="*/ 1393 h 2586"/>
                  <a:gd name="connsiteX2" fmla="*/ 0 w 797"/>
                  <a:gd name="connsiteY2" fmla="*/ 2587 h 2586"/>
                  <a:gd name="connsiteX3" fmla="*/ 797 w 797"/>
                  <a:gd name="connsiteY3" fmla="*/ 0 h 2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97" h="2586">
                    <a:moveTo>
                      <a:pt x="797" y="0"/>
                    </a:moveTo>
                    <a:cubicBezTo>
                      <a:pt x="757" y="468"/>
                      <a:pt x="757" y="925"/>
                      <a:pt x="797" y="1393"/>
                    </a:cubicBezTo>
                    <a:lnTo>
                      <a:pt x="0" y="2587"/>
                    </a:lnTo>
                    <a:cubicBezTo>
                      <a:pt x="418" y="1781"/>
                      <a:pt x="688" y="905"/>
                      <a:pt x="79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8" name="Freeform: Shape 1787">
                <a:extLst>
                  <a:ext uri="{FF2B5EF4-FFF2-40B4-BE49-F238E27FC236}">
                    <a16:creationId xmlns:a16="http://schemas.microsoft.com/office/drawing/2014/main" id="{41FC216E-5581-4B68-BA2A-F9AD6C13CD1B}"/>
                  </a:ext>
                </a:extLst>
              </p:cNvPr>
              <p:cNvSpPr/>
              <p:nvPr/>
            </p:nvSpPr>
            <p:spPr>
              <a:xfrm>
                <a:off x="4265994" y="1272280"/>
                <a:ext cx="1792" cy="11242"/>
              </a:xfrm>
              <a:custGeom>
                <a:avLst/>
                <a:gdLst>
                  <a:gd name="connsiteX0" fmla="*/ 598 w 1792"/>
                  <a:gd name="connsiteY0" fmla="*/ 696 h 11242"/>
                  <a:gd name="connsiteX1" fmla="*/ 1594 w 1792"/>
                  <a:gd name="connsiteY1" fmla="*/ 11242 h 11242"/>
                  <a:gd name="connsiteX2" fmla="*/ 0 w 1792"/>
                  <a:gd name="connsiteY2" fmla="*/ 0 h 11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92" h="11242">
                    <a:moveTo>
                      <a:pt x="598" y="696"/>
                    </a:moveTo>
                    <a:cubicBezTo>
                      <a:pt x="1714" y="4089"/>
                      <a:pt x="2053" y="7700"/>
                      <a:pt x="1594" y="11242"/>
                    </a:cubicBezTo>
                    <a:cubicBezTo>
                      <a:pt x="2073" y="7422"/>
                      <a:pt x="1524" y="354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89" name="Freeform: Shape 1788">
                <a:extLst>
                  <a:ext uri="{FF2B5EF4-FFF2-40B4-BE49-F238E27FC236}">
                    <a16:creationId xmlns:a16="http://schemas.microsoft.com/office/drawing/2014/main" id="{8AD2371B-BD48-49D3-BC36-993DA44A21F4}"/>
                  </a:ext>
                </a:extLst>
              </p:cNvPr>
              <p:cNvSpPr/>
              <p:nvPr/>
            </p:nvSpPr>
            <p:spPr>
              <a:xfrm>
                <a:off x="4276954" y="1578088"/>
                <a:ext cx="13053" cy="1526"/>
              </a:xfrm>
              <a:custGeom>
                <a:avLst/>
                <a:gdLst>
                  <a:gd name="connsiteX0" fmla="*/ 10562 w 13053"/>
                  <a:gd name="connsiteY0" fmla="*/ 1310 h 1526"/>
                  <a:gd name="connsiteX1" fmla="*/ 13053 w 13053"/>
                  <a:gd name="connsiteY1" fmla="*/ 1310 h 1526"/>
                  <a:gd name="connsiteX2" fmla="*/ 0 w 13053"/>
                  <a:gd name="connsiteY2" fmla="*/ 515 h 1526"/>
                  <a:gd name="connsiteX3" fmla="*/ 10562 w 13053"/>
                  <a:gd name="connsiteY3" fmla="*/ 1310 h 1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53" h="1526">
                    <a:moveTo>
                      <a:pt x="10562" y="1310"/>
                    </a:moveTo>
                    <a:lnTo>
                      <a:pt x="13053" y="1310"/>
                    </a:lnTo>
                    <a:cubicBezTo>
                      <a:pt x="8689" y="1768"/>
                      <a:pt x="4275" y="1499"/>
                      <a:pt x="0" y="515"/>
                    </a:cubicBezTo>
                    <a:cubicBezTo>
                      <a:pt x="3518" y="-381"/>
                      <a:pt x="7224" y="-102"/>
                      <a:pt x="10562" y="131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0" name="Freeform: Shape 1789">
                <a:extLst>
                  <a:ext uri="{FF2B5EF4-FFF2-40B4-BE49-F238E27FC236}">
                    <a16:creationId xmlns:a16="http://schemas.microsoft.com/office/drawing/2014/main" id="{FCBDA7A6-0B81-4332-967D-E057044B47A6}"/>
                  </a:ext>
                </a:extLst>
              </p:cNvPr>
              <p:cNvSpPr/>
              <p:nvPr/>
            </p:nvSpPr>
            <p:spPr>
              <a:xfrm>
                <a:off x="4310634" y="1579995"/>
                <a:ext cx="22419" cy="596"/>
              </a:xfrm>
              <a:custGeom>
                <a:avLst/>
                <a:gdLst>
                  <a:gd name="connsiteX0" fmla="*/ 0 w 22419"/>
                  <a:gd name="connsiteY0" fmla="*/ 0 h 596"/>
                  <a:gd name="connsiteX1" fmla="*/ 22420 w 22419"/>
                  <a:gd name="connsiteY1" fmla="*/ 597 h 596"/>
                  <a:gd name="connsiteX2" fmla="*/ 0 w 22419"/>
                  <a:gd name="connsiteY2" fmla="*/ 0 h 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419" h="596">
                    <a:moveTo>
                      <a:pt x="0" y="0"/>
                    </a:moveTo>
                    <a:lnTo>
                      <a:pt x="22420" y="597"/>
                    </a:lnTo>
                    <a:cubicBezTo>
                      <a:pt x="14449" y="497"/>
                      <a:pt x="6676" y="39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1" name="Freeform: Shape 1790">
                <a:extLst>
                  <a:ext uri="{FF2B5EF4-FFF2-40B4-BE49-F238E27FC236}">
                    <a16:creationId xmlns:a16="http://schemas.microsoft.com/office/drawing/2014/main" id="{8C79795A-A926-4CF8-98CA-8E5C1B08EE05}"/>
                  </a:ext>
                </a:extLst>
              </p:cNvPr>
              <p:cNvSpPr/>
              <p:nvPr/>
            </p:nvSpPr>
            <p:spPr>
              <a:xfrm>
                <a:off x="4364342" y="1542588"/>
                <a:ext cx="119" cy="4576"/>
              </a:xfrm>
              <a:custGeom>
                <a:avLst/>
                <a:gdLst>
                  <a:gd name="connsiteX0" fmla="*/ 0 w 119"/>
                  <a:gd name="connsiteY0" fmla="*/ 4576 h 4576"/>
                  <a:gd name="connsiteX1" fmla="*/ 0 w 119"/>
                  <a:gd name="connsiteY1" fmla="*/ 0 h 4576"/>
                  <a:gd name="connsiteX2" fmla="*/ 0 w 119"/>
                  <a:gd name="connsiteY2" fmla="*/ 4576 h 4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" h="4576">
                    <a:moveTo>
                      <a:pt x="0" y="4576"/>
                    </a:moveTo>
                    <a:cubicBezTo>
                      <a:pt x="100" y="3054"/>
                      <a:pt x="100" y="1522"/>
                      <a:pt x="0" y="0"/>
                    </a:cubicBezTo>
                    <a:cubicBezTo>
                      <a:pt x="159" y="1522"/>
                      <a:pt x="159" y="3054"/>
                      <a:pt x="0" y="45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2" name="Freeform: Shape 1791">
                <a:extLst>
                  <a:ext uri="{FF2B5EF4-FFF2-40B4-BE49-F238E27FC236}">
                    <a16:creationId xmlns:a16="http://schemas.microsoft.com/office/drawing/2014/main" id="{C10C9460-FCFB-4DCA-93D3-58E4C26917F0}"/>
                  </a:ext>
                </a:extLst>
              </p:cNvPr>
              <p:cNvSpPr/>
              <p:nvPr/>
            </p:nvSpPr>
            <p:spPr>
              <a:xfrm>
                <a:off x="4364242" y="1540598"/>
                <a:ext cx="4384" cy="1989"/>
              </a:xfrm>
              <a:custGeom>
                <a:avLst/>
                <a:gdLst>
                  <a:gd name="connsiteX0" fmla="*/ 4384 w 4384"/>
                  <a:gd name="connsiteY0" fmla="*/ 0 h 1989"/>
                  <a:gd name="connsiteX1" fmla="*/ 0 w 4384"/>
                  <a:gd name="connsiteY1" fmla="*/ 1990 h 1989"/>
                  <a:gd name="connsiteX2" fmla="*/ 4384 w 4384"/>
                  <a:gd name="connsiteY2" fmla="*/ 0 h 1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84" h="1989">
                    <a:moveTo>
                      <a:pt x="4384" y="0"/>
                    </a:moveTo>
                    <a:cubicBezTo>
                      <a:pt x="3139" y="1065"/>
                      <a:pt x="1624" y="1761"/>
                      <a:pt x="0" y="1990"/>
                    </a:cubicBezTo>
                    <a:cubicBezTo>
                      <a:pt x="1555" y="1552"/>
                      <a:pt x="3029" y="885"/>
                      <a:pt x="438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3" name="Freeform: Shape 1792">
                <a:extLst>
                  <a:ext uri="{FF2B5EF4-FFF2-40B4-BE49-F238E27FC236}">
                    <a16:creationId xmlns:a16="http://schemas.microsoft.com/office/drawing/2014/main" id="{8267BC8D-7E9A-40ED-8721-2EE00CAC2AB2}"/>
                  </a:ext>
                </a:extLst>
              </p:cNvPr>
              <p:cNvSpPr/>
              <p:nvPr/>
            </p:nvSpPr>
            <p:spPr>
              <a:xfrm>
                <a:off x="4363047" y="1581587"/>
                <a:ext cx="9986" cy="795"/>
              </a:xfrm>
              <a:custGeom>
                <a:avLst/>
                <a:gdLst>
                  <a:gd name="connsiteX0" fmla="*/ 9964 w 9986"/>
                  <a:gd name="connsiteY0" fmla="*/ 99 h 795"/>
                  <a:gd name="connsiteX1" fmla="*/ 9964 w 9986"/>
                  <a:gd name="connsiteY1" fmla="*/ 796 h 795"/>
                  <a:gd name="connsiteX2" fmla="*/ 0 w 9986"/>
                  <a:gd name="connsiteY2" fmla="*/ 0 h 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86" h="795">
                    <a:moveTo>
                      <a:pt x="9964" y="99"/>
                    </a:moveTo>
                    <a:cubicBezTo>
                      <a:pt x="9994" y="328"/>
                      <a:pt x="9994" y="567"/>
                      <a:pt x="9964" y="796"/>
                    </a:cubicBezTo>
                    <a:cubicBezTo>
                      <a:pt x="6656" y="358"/>
                      <a:pt x="3328" y="9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4" name="Freeform: Shape 1793">
                <a:extLst>
                  <a:ext uri="{FF2B5EF4-FFF2-40B4-BE49-F238E27FC236}">
                    <a16:creationId xmlns:a16="http://schemas.microsoft.com/office/drawing/2014/main" id="{48FA9940-D40A-4F0B-B7C1-20BAE85C9E94}"/>
                  </a:ext>
                </a:extLst>
              </p:cNvPr>
              <p:cNvSpPr/>
              <p:nvPr/>
            </p:nvSpPr>
            <p:spPr>
              <a:xfrm>
                <a:off x="4373584" y="1526172"/>
                <a:ext cx="523" cy="5372"/>
              </a:xfrm>
              <a:custGeom>
                <a:avLst/>
                <a:gdLst>
                  <a:gd name="connsiteX0" fmla="*/ 523 w 523"/>
                  <a:gd name="connsiteY0" fmla="*/ 0 h 5372"/>
                  <a:gd name="connsiteX1" fmla="*/ 523 w 523"/>
                  <a:gd name="connsiteY1" fmla="*/ 5372 h 5372"/>
                  <a:gd name="connsiteX2" fmla="*/ 523 w 523"/>
                  <a:gd name="connsiteY2" fmla="*/ 0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" h="5372">
                    <a:moveTo>
                      <a:pt x="523" y="0"/>
                    </a:moveTo>
                    <a:cubicBezTo>
                      <a:pt x="125" y="1771"/>
                      <a:pt x="125" y="3601"/>
                      <a:pt x="523" y="5372"/>
                    </a:cubicBezTo>
                    <a:cubicBezTo>
                      <a:pt x="-174" y="3651"/>
                      <a:pt x="-174" y="1721"/>
                      <a:pt x="523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5" name="Freeform: Shape 1794">
                <a:extLst>
                  <a:ext uri="{FF2B5EF4-FFF2-40B4-BE49-F238E27FC236}">
                    <a16:creationId xmlns:a16="http://schemas.microsoft.com/office/drawing/2014/main" id="{CD4F93EE-795B-411C-A786-F520661BE1E6}"/>
                  </a:ext>
                </a:extLst>
              </p:cNvPr>
              <p:cNvSpPr/>
              <p:nvPr/>
            </p:nvSpPr>
            <p:spPr>
              <a:xfrm>
                <a:off x="4374207" y="1503191"/>
                <a:ext cx="896" cy="10247"/>
              </a:xfrm>
              <a:custGeom>
                <a:avLst/>
                <a:gdLst>
                  <a:gd name="connsiteX0" fmla="*/ 698 w 896"/>
                  <a:gd name="connsiteY0" fmla="*/ 10247 h 10247"/>
                  <a:gd name="connsiteX1" fmla="*/ 0 w 896"/>
                  <a:gd name="connsiteY1" fmla="*/ 4576 h 10247"/>
                  <a:gd name="connsiteX2" fmla="*/ 896 w 896"/>
                  <a:gd name="connsiteY2" fmla="*/ 0 h 10247"/>
                  <a:gd name="connsiteX3" fmla="*/ 698 w 896"/>
                  <a:gd name="connsiteY3" fmla="*/ 10247 h 10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6" h="10247">
                    <a:moveTo>
                      <a:pt x="698" y="10247"/>
                    </a:moveTo>
                    <a:cubicBezTo>
                      <a:pt x="259" y="8387"/>
                      <a:pt x="20" y="6487"/>
                      <a:pt x="0" y="4576"/>
                    </a:cubicBezTo>
                    <a:cubicBezTo>
                      <a:pt x="0" y="3184"/>
                      <a:pt x="598" y="1492"/>
                      <a:pt x="896" y="0"/>
                    </a:cubicBezTo>
                    <a:cubicBezTo>
                      <a:pt x="428" y="3393"/>
                      <a:pt x="369" y="6835"/>
                      <a:pt x="698" y="1024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6" name="Freeform: Shape 1795">
                <a:extLst>
                  <a:ext uri="{FF2B5EF4-FFF2-40B4-BE49-F238E27FC236}">
                    <a16:creationId xmlns:a16="http://schemas.microsoft.com/office/drawing/2014/main" id="{B5D43F83-D4A7-43CF-ACF0-EE9B025215DE}"/>
                  </a:ext>
                </a:extLst>
              </p:cNvPr>
              <p:cNvSpPr/>
              <p:nvPr/>
            </p:nvSpPr>
            <p:spPr>
              <a:xfrm>
                <a:off x="4373809" y="1533733"/>
                <a:ext cx="996" cy="1890"/>
              </a:xfrm>
              <a:custGeom>
                <a:avLst/>
                <a:gdLst>
                  <a:gd name="connsiteX0" fmla="*/ 996 w 996"/>
                  <a:gd name="connsiteY0" fmla="*/ 0 h 1890"/>
                  <a:gd name="connsiteX1" fmla="*/ 996 w 996"/>
                  <a:gd name="connsiteY1" fmla="*/ 896 h 1890"/>
                  <a:gd name="connsiteX2" fmla="*/ 0 w 996"/>
                  <a:gd name="connsiteY2" fmla="*/ 1890 h 1890"/>
                  <a:gd name="connsiteX3" fmla="*/ 996 w 996"/>
                  <a:gd name="connsiteY3" fmla="*/ 0 h 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" h="1890">
                    <a:moveTo>
                      <a:pt x="996" y="0"/>
                    </a:moveTo>
                    <a:cubicBezTo>
                      <a:pt x="917" y="298"/>
                      <a:pt x="917" y="597"/>
                      <a:pt x="996" y="896"/>
                    </a:cubicBezTo>
                    <a:lnTo>
                      <a:pt x="0" y="1890"/>
                    </a:lnTo>
                    <a:cubicBezTo>
                      <a:pt x="538" y="1393"/>
                      <a:pt x="887" y="726"/>
                      <a:pt x="9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7" name="Freeform: Shape 1796">
                <a:extLst>
                  <a:ext uri="{FF2B5EF4-FFF2-40B4-BE49-F238E27FC236}">
                    <a16:creationId xmlns:a16="http://schemas.microsoft.com/office/drawing/2014/main" id="{BB48BEEE-8974-4E00-AA9E-B4B1DD79CA35}"/>
                  </a:ext>
                </a:extLst>
              </p:cNvPr>
              <p:cNvSpPr/>
              <p:nvPr/>
            </p:nvSpPr>
            <p:spPr>
              <a:xfrm>
                <a:off x="4376598" y="1492745"/>
                <a:ext cx="897" cy="3581"/>
              </a:xfrm>
              <a:custGeom>
                <a:avLst/>
                <a:gdLst>
                  <a:gd name="connsiteX0" fmla="*/ 0 w 897"/>
                  <a:gd name="connsiteY0" fmla="*/ 3582 h 3581"/>
                  <a:gd name="connsiteX1" fmla="*/ 897 w 897"/>
                  <a:gd name="connsiteY1" fmla="*/ 0 h 3581"/>
                  <a:gd name="connsiteX2" fmla="*/ 897 w 897"/>
                  <a:gd name="connsiteY2" fmla="*/ 1890 h 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7" h="3581">
                    <a:moveTo>
                      <a:pt x="0" y="3582"/>
                    </a:moveTo>
                    <a:lnTo>
                      <a:pt x="897" y="0"/>
                    </a:lnTo>
                    <a:lnTo>
                      <a:pt x="897" y="189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8" name="Freeform: Shape 1797">
                <a:extLst>
                  <a:ext uri="{FF2B5EF4-FFF2-40B4-BE49-F238E27FC236}">
                    <a16:creationId xmlns:a16="http://schemas.microsoft.com/office/drawing/2014/main" id="{F77102E7-931F-46F4-9829-7B5140AA59E6}"/>
                  </a:ext>
                </a:extLst>
              </p:cNvPr>
              <p:cNvSpPr/>
              <p:nvPr/>
            </p:nvSpPr>
            <p:spPr>
              <a:xfrm>
                <a:off x="4379787" y="1474339"/>
                <a:ext cx="799" cy="4278"/>
              </a:xfrm>
              <a:custGeom>
                <a:avLst/>
                <a:gdLst>
                  <a:gd name="connsiteX0" fmla="*/ 0 w 799"/>
                  <a:gd name="connsiteY0" fmla="*/ 0 h 4278"/>
                  <a:gd name="connsiteX1" fmla="*/ 797 w 799"/>
                  <a:gd name="connsiteY1" fmla="*/ 4278 h 4278"/>
                  <a:gd name="connsiteX2" fmla="*/ 0 w 799"/>
                  <a:gd name="connsiteY2" fmla="*/ 0 h 4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9" h="4278">
                    <a:moveTo>
                      <a:pt x="0" y="0"/>
                    </a:moveTo>
                    <a:cubicBezTo>
                      <a:pt x="558" y="1353"/>
                      <a:pt x="827" y="2816"/>
                      <a:pt x="797" y="4278"/>
                    </a:cubicBezTo>
                    <a:cubicBezTo>
                      <a:pt x="309" y="2905"/>
                      <a:pt x="30" y="146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99" name="Freeform: Shape 1798">
                <a:extLst>
                  <a:ext uri="{FF2B5EF4-FFF2-40B4-BE49-F238E27FC236}">
                    <a16:creationId xmlns:a16="http://schemas.microsoft.com/office/drawing/2014/main" id="{65FF59DF-BF15-4B7E-A7F7-5B5C44911875}"/>
                  </a:ext>
                </a:extLst>
              </p:cNvPr>
              <p:cNvSpPr/>
              <p:nvPr/>
            </p:nvSpPr>
            <p:spPr>
              <a:xfrm>
                <a:off x="4379488" y="1459814"/>
                <a:ext cx="1694" cy="9948"/>
              </a:xfrm>
              <a:custGeom>
                <a:avLst/>
                <a:gdLst>
                  <a:gd name="connsiteX0" fmla="*/ 1694 w 1694"/>
                  <a:gd name="connsiteY0" fmla="*/ 1194 h 9948"/>
                  <a:gd name="connsiteX1" fmla="*/ 1694 w 1694"/>
                  <a:gd name="connsiteY1" fmla="*/ 0 h 9948"/>
                  <a:gd name="connsiteX2" fmla="*/ 0 w 1694"/>
                  <a:gd name="connsiteY2" fmla="*/ 9949 h 9948"/>
                  <a:gd name="connsiteX3" fmla="*/ 1694 w 1694"/>
                  <a:gd name="connsiteY3" fmla="*/ 1194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4" h="9948">
                    <a:moveTo>
                      <a:pt x="1694" y="1194"/>
                    </a:moveTo>
                    <a:lnTo>
                      <a:pt x="1694" y="0"/>
                    </a:lnTo>
                    <a:cubicBezTo>
                      <a:pt x="1196" y="3383"/>
                      <a:pt x="499" y="6865"/>
                      <a:pt x="0" y="9949"/>
                    </a:cubicBezTo>
                    <a:cubicBezTo>
                      <a:pt x="279" y="6984"/>
                      <a:pt x="847" y="4049"/>
                      <a:pt x="1694" y="119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0" name="Freeform: Shape 1799">
                <a:extLst>
                  <a:ext uri="{FF2B5EF4-FFF2-40B4-BE49-F238E27FC236}">
                    <a16:creationId xmlns:a16="http://schemas.microsoft.com/office/drawing/2014/main" id="{6BDED9AA-A306-454C-8B77-3C78A6235B37}"/>
                  </a:ext>
                </a:extLst>
              </p:cNvPr>
              <p:cNvSpPr/>
              <p:nvPr/>
            </p:nvSpPr>
            <p:spPr>
              <a:xfrm>
                <a:off x="4383175" y="1436634"/>
                <a:ext cx="149" cy="9351"/>
              </a:xfrm>
              <a:custGeom>
                <a:avLst/>
                <a:gdLst>
                  <a:gd name="connsiteX0" fmla="*/ 0 w 149"/>
                  <a:gd name="connsiteY0" fmla="*/ 0 h 9351"/>
                  <a:gd name="connsiteX1" fmla="*/ 0 w 149"/>
                  <a:gd name="connsiteY1" fmla="*/ 9352 h 9351"/>
                  <a:gd name="connsiteX2" fmla="*/ 0 w 149"/>
                  <a:gd name="connsiteY2" fmla="*/ 0 h 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9" h="9351">
                    <a:moveTo>
                      <a:pt x="0" y="0"/>
                    </a:moveTo>
                    <a:cubicBezTo>
                      <a:pt x="0" y="2487"/>
                      <a:pt x="0" y="5770"/>
                      <a:pt x="0" y="9352"/>
                    </a:cubicBezTo>
                    <a:cubicBezTo>
                      <a:pt x="199" y="6238"/>
                      <a:pt x="199" y="311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1" name="Freeform: Shape 1800">
                <a:extLst>
                  <a:ext uri="{FF2B5EF4-FFF2-40B4-BE49-F238E27FC236}">
                    <a16:creationId xmlns:a16="http://schemas.microsoft.com/office/drawing/2014/main" id="{CB372206-8B72-404E-B1A0-B734340B50B3}"/>
                  </a:ext>
                </a:extLst>
              </p:cNvPr>
              <p:cNvSpPr/>
              <p:nvPr/>
            </p:nvSpPr>
            <p:spPr>
              <a:xfrm>
                <a:off x="4404000" y="1390173"/>
                <a:ext cx="5281" cy="12137"/>
              </a:xfrm>
              <a:custGeom>
                <a:avLst/>
                <a:gdLst>
                  <a:gd name="connsiteX0" fmla="*/ 0 w 5281"/>
                  <a:gd name="connsiteY0" fmla="*/ 12137 h 12137"/>
                  <a:gd name="connsiteX1" fmla="*/ 5281 w 5281"/>
                  <a:gd name="connsiteY1" fmla="*/ 0 h 12137"/>
                  <a:gd name="connsiteX2" fmla="*/ 0 w 5281"/>
                  <a:gd name="connsiteY2" fmla="*/ 12137 h 12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1" h="12137">
                    <a:moveTo>
                      <a:pt x="0" y="12137"/>
                    </a:moveTo>
                    <a:cubicBezTo>
                      <a:pt x="2172" y="8287"/>
                      <a:pt x="3946" y="4218"/>
                      <a:pt x="5281" y="0"/>
                    </a:cubicBezTo>
                    <a:cubicBezTo>
                      <a:pt x="4384" y="4367"/>
                      <a:pt x="2581" y="8496"/>
                      <a:pt x="0" y="1213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2" name="Freeform: Shape 1801">
                <a:extLst>
                  <a:ext uri="{FF2B5EF4-FFF2-40B4-BE49-F238E27FC236}">
                    <a16:creationId xmlns:a16="http://schemas.microsoft.com/office/drawing/2014/main" id="{93DDC76C-888E-452B-AB17-203BF5AE47D9}"/>
                  </a:ext>
                </a:extLst>
              </p:cNvPr>
              <p:cNvSpPr/>
              <p:nvPr/>
            </p:nvSpPr>
            <p:spPr>
              <a:xfrm>
                <a:off x="4412969" y="1372862"/>
                <a:ext cx="3387" cy="6765"/>
              </a:xfrm>
              <a:custGeom>
                <a:avLst/>
                <a:gdLst>
                  <a:gd name="connsiteX0" fmla="*/ 0 w 3387"/>
                  <a:gd name="connsiteY0" fmla="*/ 6765 h 6765"/>
                  <a:gd name="connsiteX1" fmla="*/ 3388 w 3387"/>
                  <a:gd name="connsiteY1" fmla="*/ 0 h 6765"/>
                  <a:gd name="connsiteX2" fmla="*/ 0 w 3387"/>
                  <a:gd name="connsiteY2" fmla="*/ 6765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7" h="6765">
                    <a:moveTo>
                      <a:pt x="0" y="6765"/>
                    </a:moveTo>
                    <a:cubicBezTo>
                      <a:pt x="946" y="4427"/>
                      <a:pt x="2082" y="2159"/>
                      <a:pt x="3388" y="0"/>
                    </a:cubicBezTo>
                    <a:cubicBezTo>
                      <a:pt x="2521" y="2378"/>
                      <a:pt x="1385" y="4646"/>
                      <a:pt x="0" y="67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3" name="Freeform: Shape 1802">
                <a:extLst>
                  <a:ext uri="{FF2B5EF4-FFF2-40B4-BE49-F238E27FC236}">
                    <a16:creationId xmlns:a16="http://schemas.microsoft.com/office/drawing/2014/main" id="{1A72525D-370A-4199-929C-0F9D58E135D9}"/>
                  </a:ext>
                </a:extLst>
              </p:cNvPr>
              <p:cNvSpPr/>
              <p:nvPr/>
            </p:nvSpPr>
            <p:spPr>
              <a:xfrm>
                <a:off x="4417290" y="1364903"/>
                <a:ext cx="530" cy="4079"/>
              </a:xfrm>
              <a:custGeom>
                <a:avLst/>
                <a:gdLst>
                  <a:gd name="connsiteX0" fmla="*/ 261 w 530"/>
                  <a:gd name="connsiteY0" fmla="*/ 0 h 4079"/>
                  <a:gd name="connsiteX1" fmla="*/ 261 w 530"/>
                  <a:gd name="connsiteY1" fmla="*/ 4079 h 4079"/>
                  <a:gd name="connsiteX2" fmla="*/ 261 w 530"/>
                  <a:gd name="connsiteY2" fmla="*/ 0 h 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0" h="4079">
                    <a:moveTo>
                      <a:pt x="261" y="0"/>
                    </a:moveTo>
                    <a:cubicBezTo>
                      <a:pt x="620" y="1333"/>
                      <a:pt x="620" y="2746"/>
                      <a:pt x="261" y="4079"/>
                    </a:cubicBezTo>
                    <a:cubicBezTo>
                      <a:pt x="-87" y="2746"/>
                      <a:pt x="-87" y="1333"/>
                      <a:pt x="26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4" name="Freeform: Shape 1803">
                <a:extLst>
                  <a:ext uri="{FF2B5EF4-FFF2-40B4-BE49-F238E27FC236}">
                    <a16:creationId xmlns:a16="http://schemas.microsoft.com/office/drawing/2014/main" id="{DDD1D403-F13D-47D4-819E-A28492E0204D}"/>
                  </a:ext>
                </a:extLst>
              </p:cNvPr>
              <p:cNvSpPr/>
              <p:nvPr/>
            </p:nvSpPr>
            <p:spPr>
              <a:xfrm>
                <a:off x="4419047" y="1350378"/>
                <a:ext cx="5480" cy="9948"/>
              </a:xfrm>
              <a:custGeom>
                <a:avLst/>
                <a:gdLst>
                  <a:gd name="connsiteX0" fmla="*/ 0 w 5480"/>
                  <a:gd name="connsiteY0" fmla="*/ 9949 h 9948"/>
                  <a:gd name="connsiteX1" fmla="*/ 5480 w 5480"/>
                  <a:gd name="connsiteY1" fmla="*/ 0 h 9948"/>
                  <a:gd name="connsiteX2" fmla="*/ 0 w 5480"/>
                  <a:gd name="connsiteY2" fmla="*/ 9949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80" h="9948">
                    <a:moveTo>
                      <a:pt x="0" y="9949"/>
                    </a:moveTo>
                    <a:cubicBezTo>
                      <a:pt x="1495" y="6765"/>
                      <a:pt x="3687" y="3582"/>
                      <a:pt x="5480" y="0"/>
                    </a:cubicBezTo>
                    <a:cubicBezTo>
                      <a:pt x="3787" y="3681"/>
                      <a:pt x="1794" y="6666"/>
                      <a:pt x="0" y="99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5" name="Freeform: Shape 1804">
                <a:extLst>
                  <a:ext uri="{FF2B5EF4-FFF2-40B4-BE49-F238E27FC236}">
                    <a16:creationId xmlns:a16="http://schemas.microsoft.com/office/drawing/2014/main" id="{13A51546-7F59-4F27-92F1-F3A32CE63287}"/>
                  </a:ext>
                </a:extLst>
              </p:cNvPr>
              <p:cNvSpPr/>
              <p:nvPr/>
            </p:nvSpPr>
            <p:spPr>
              <a:xfrm>
                <a:off x="4425025" y="1304912"/>
                <a:ext cx="7074" cy="5869"/>
              </a:xfrm>
              <a:custGeom>
                <a:avLst/>
                <a:gdLst>
                  <a:gd name="connsiteX0" fmla="*/ 7075 w 7074"/>
                  <a:gd name="connsiteY0" fmla="*/ 0 h 5869"/>
                  <a:gd name="connsiteX1" fmla="*/ 0 w 7074"/>
                  <a:gd name="connsiteY1" fmla="*/ 5870 h 5869"/>
                  <a:gd name="connsiteX2" fmla="*/ 7075 w 7074"/>
                  <a:gd name="connsiteY2" fmla="*/ 0 h 5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74" h="5869">
                    <a:moveTo>
                      <a:pt x="7075" y="0"/>
                    </a:moveTo>
                    <a:cubicBezTo>
                      <a:pt x="4215" y="1254"/>
                      <a:pt x="1764" y="3293"/>
                      <a:pt x="0" y="5870"/>
                    </a:cubicBezTo>
                    <a:cubicBezTo>
                      <a:pt x="1624" y="3164"/>
                      <a:pt x="4116" y="1094"/>
                      <a:pt x="707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6" name="Freeform: Shape 1805">
                <a:extLst>
                  <a:ext uri="{FF2B5EF4-FFF2-40B4-BE49-F238E27FC236}">
                    <a16:creationId xmlns:a16="http://schemas.microsoft.com/office/drawing/2014/main" id="{26FC255E-83A3-45EC-AEE9-7D48FCB3944B}"/>
                  </a:ext>
                </a:extLst>
              </p:cNvPr>
              <p:cNvSpPr/>
              <p:nvPr/>
            </p:nvSpPr>
            <p:spPr>
              <a:xfrm>
                <a:off x="4448840" y="1300236"/>
                <a:ext cx="5380" cy="1691"/>
              </a:xfrm>
              <a:custGeom>
                <a:avLst/>
                <a:gdLst>
                  <a:gd name="connsiteX0" fmla="*/ 5381 w 5380"/>
                  <a:gd name="connsiteY0" fmla="*/ 0 h 1691"/>
                  <a:gd name="connsiteX1" fmla="*/ 5381 w 5380"/>
                  <a:gd name="connsiteY1" fmla="*/ 597 h 1691"/>
                  <a:gd name="connsiteX2" fmla="*/ 0 w 5380"/>
                  <a:gd name="connsiteY2" fmla="*/ 1691 h 1691"/>
                  <a:gd name="connsiteX3" fmla="*/ 3388 w 5380"/>
                  <a:gd name="connsiteY3" fmla="*/ 597 h 1691"/>
                  <a:gd name="connsiteX4" fmla="*/ 5381 w 5380"/>
                  <a:gd name="connsiteY4" fmla="*/ 0 h 1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80" h="1691">
                    <a:moveTo>
                      <a:pt x="5381" y="0"/>
                    </a:moveTo>
                    <a:lnTo>
                      <a:pt x="5381" y="597"/>
                    </a:lnTo>
                    <a:cubicBezTo>
                      <a:pt x="3637" y="1174"/>
                      <a:pt x="1834" y="1542"/>
                      <a:pt x="0" y="1691"/>
                    </a:cubicBezTo>
                    <a:cubicBezTo>
                      <a:pt x="1176" y="1482"/>
                      <a:pt x="2312" y="1114"/>
                      <a:pt x="3388" y="597"/>
                    </a:cubicBezTo>
                    <a:cubicBezTo>
                      <a:pt x="4116" y="786"/>
                      <a:pt x="4882" y="557"/>
                      <a:pt x="538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7" name="Freeform: Shape 1806">
                <a:extLst>
                  <a:ext uri="{FF2B5EF4-FFF2-40B4-BE49-F238E27FC236}">
                    <a16:creationId xmlns:a16="http://schemas.microsoft.com/office/drawing/2014/main" id="{66BA818B-B35A-43BE-BB42-3236C9BF0CD8}"/>
                  </a:ext>
                </a:extLst>
              </p:cNvPr>
              <p:cNvSpPr/>
              <p:nvPr/>
            </p:nvSpPr>
            <p:spPr>
              <a:xfrm>
                <a:off x="4456513" y="1291739"/>
                <a:ext cx="4384" cy="3821"/>
              </a:xfrm>
              <a:custGeom>
                <a:avLst/>
                <a:gdLst>
                  <a:gd name="connsiteX0" fmla="*/ 4384 w 4384"/>
                  <a:gd name="connsiteY0" fmla="*/ 141 h 3821"/>
                  <a:gd name="connsiteX1" fmla="*/ 4384 w 4384"/>
                  <a:gd name="connsiteY1" fmla="*/ 141 h 3821"/>
                  <a:gd name="connsiteX2" fmla="*/ 0 w 4384"/>
                  <a:gd name="connsiteY2" fmla="*/ 3822 h 3821"/>
                  <a:gd name="connsiteX3" fmla="*/ 4384 w 4384"/>
                  <a:gd name="connsiteY3" fmla="*/ 141 h 3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4" h="3821">
                    <a:moveTo>
                      <a:pt x="4384" y="141"/>
                    </a:moveTo>
                    <a:lnTo>
                      <a:pt x="4384" y="141"/>
                    </a:lnTo>
                    <a:cubicBezTo>
                      <a:pt x="2710" y="1086"/>
                      <a:pt x="1225" y="2340"/>
                      <a:pt x="0" y="3822"/>
                    </a:cubicBezTo>
                    <a:cubicBezTo>
                      <a:pt x="1395" y="1434"/>
                      <a:pt x="2591" y="-555"/>
                      <a:pt x="4384" y="14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8" name="Freeform: Shape 1807">
                <a:extLst>
                  <a:ext uri="{FF2B5EF4-FFF2-40B4-BE49-F238E27FC236}">
                    <a16:creationId xmlns:a16="http://schemas.microsoft.com/office/drawing/2014/main" id="{4FD39D7F-BDF3-4343-88C1-E5743B29C60C}"/>
                  </a:ext>
                </a:extLst>
              </p:cNvPr>
              <p:cNvSpPr/>
              <p:nvPr/>
            </p:nvSpPr>
            <p:spPr>
              <a:xfrm>
                <a:off x="4467573" y="1284816"/>
                <a:ext cx="4384" cy="3979"/>
              </a:xfrm>
              <a:custGeom>
                <a:avLst/>
                <a:gdLst>
                  <a:gd name="connsiteX0" fmla="*/ 0 w 4384"/>
                  <a:gd name="connsiteY0" fmla="*/ 3979 h 3979"/>
                  <a:gd name="connsiteX1" fmla="*/ 4384 w 4384"/>
                  <a:gd name="connsiteY1" fmla="*/ 0 h 3979"/>
                  <a:gd name="connsiteX2" fmla="*/ 2292 w 4384"/>
                  <a:gd name="connsiteY2" fmla="*/ 3084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84" h="3979">
                    <a:moveTo>
                      <a:pt x="0" y="3979"/>
                    </a:moveTo>
                    <a:cubicBezTo>
                      <a:pt x="1575" y="2786"/>
                      <a:pt x="3049" y="1452"/>
                      <a:pt x="4384" y="0"/>
                    </a:cubicBezTo>
                    <a:cubicBezTo>
                      <a:pt x="3627" y="985"/>
                      <a:pt x="2930" y="2019"/>
                      <a:pt x="2292" y="30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09" name="Freeform: Shape 1808">
                <a:extLst>
                  <a:ext uri="{FF2B5EF4-FFF2-40B4-BE49-F238E27FC236}">
                    <a16:creationId xmlns:a16="http://schemas.microsoft.com/office/drawing/2014/main" id="{5FB84558-5D57-40CE-ABF8-DE3D933CE5A6}"/>
                  </a:ext>
                </a:extLst>
              </p:cNvPr>
              <p:cNvSpPr/>
              <p:nvPr/>
            </p:nvSpPr>
            <p:spPr>
              <a:xfrm>
                <a:off x="4479730" y="1221044"/>
                <a:ext cx="5181" cy="7959"/>
              </a:xfrm>
              <a:custGeom>
                <a:avLst/>
                <a:gdLst>
                  <a:gd name="connsiteX0" fmla="*/ 5182 w 5181"/>
                  <a:gd name="connsiteY0" fmla="*/ 0 h 7959"/>
                  <a:gd name="connsiteX1" fmla="*/ 0 w 5181"/>
                  <a:gd name="connsiteY1" fmla="*/ 7959 h 7959"/>
                  <a:gd name="connsiteX2" fmla="*/ 5182 w 5181"/>
                  <a:gd name="connsiteY2" fmla="*/ 0 h 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1" h="7959">
                    <a:moveTo>
                      <a:pt x="5182" y="0"/>
                    </a:moveTo>
                    <a:cubicBezTo>
                      <a:pt x="3627" y="2766"/>
                      <a:pt x="1893" y="5422"/>
                      <a:pt x="0" y="7959"/>
                    </a:cubicBezTo>
                    <a:cubicBezTo>
                      <a:pt x="728" y="4775"/>
                      <a:pt x="2561" y="1950"/>
                      <a:pt x="518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10" name="Freeform: Shape 1809">
                <a:extLst>
                  <a:ext uri="{FF2B5EF4-FFF2-40B4-BE49-F238E27FC236}">
                    <a16:creationId xmlns:a16="http://schemas.microsoft.com/office/drawing/2014/main" id="{73F19C0C-EF85-4BF7-BFF9-5601170EA7C8}"/>
                  </a:ext>
                </a:extLst>
              </p:cNvPr>
              <p:cNvSpPr/>
              <p:nvPr/>
            </p:nvSpPr>
            <p:spPr>
              <a:xfrm>
                <a:off x="4483035" y="1263327"/>
                <a:ext cx="2374" cy="10645"/>
              </a:xfrm>
              <a:custGeom>
                <a:avLst/>
                <a:gdLst>
                  <a:gd name="connsiteX0" fmla="*/ 2374 w 2374"/>
                  <a:gd name="connsiteY0" fmla="*/ 0 h 10645"/>
                  <a:gd name="connsiteX1" fmla="*/ 780 w 2374"/>
                  <a:gd name="connsiteY1" fmla="*/ 10645 h 10645"/>
                  <a:gd name="connsiteX2" fmla="*/ 2374 w 2374"/>
                  <a:gd name="connsiteY2" fmla="*/ 0 h 1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74" h="10645">
                    <a:moveTo>
                      <a:pt x="2374" y="0"/>
                    </a:moveTo>
                    <a:cubicBezTo>
                      <a:pt x="282" y="3134"/>
                      <a:pt x="-306" y="7034"/>
                      <a:pt x="780" y="10645"/>
                    </a:cubicBezTo>
                    <a:cubicBezTo>
                      <a:pt x="-675" y="7074"/>
                      <a:pt x="-67" y="2995"/>
                      <a:pt x="237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11" name="Freeform: Shape 1810">
                <a:extLst>
                  <a:ext uri="{FF2B5EF4-FFF2-40B4-BE49-F238E27FC236}">
                    <a16:creationId xmlns:a16="http://schemas.microsoft.com/office/drawing/2014/main" id="{A69C90F3-BDFF-40CD-BA99-3DFBD2797E87}"/>
                  </a:ext>
                </a:extLst>
              </p:cNvPr>
              <p:cNvSpPr/>
              <p:nvPr/>
            </p:nvSpPr>
            <p:spPr>
              <a:xfrm>
                <a:off x="4484114" y="1245618"/>
                <a:ext cx="4289" cy="11043"/>
              </a:xfrm>
              <a:custGeom>
                <a:avLst/>
                <a:gdLst>
                  <a:gd name="connsiteX0" fmla="*/ 0 w 4289"/>
                  <a:gd name="connsiteY0" fmla="*/ 0 h 11043"/>
                  <a:gd name="connsiteX1" fmla="*/ 4285 w 4289"/>
                  <a:gd name="connsiteY1" fmla="*/ 11043 h 11043"/>
                  <a:gd name="connsiteX2" fmla="*/ 0 w 4289"/>
                  <a:gd name="connsiteY2" fmla="*/ 0 h 1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89" h="11043">
                    <a:moveTo>
                      <a:pt x="0" y="0"/>
                    </a:moveTo>
                    <a:cubicBezTo>
                      <a:pt x="2840" y="2965"/>
                      <a:pt x="4384" y="6944"/>
                      <a:pt x="4285" y="11043"/>
                    </a:cubicBezTo>
                    <a:cubicBezTo>
                      <a:pt x="3338" y="7193"/>
                      <a:pt x="1904" y="348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812" name="Freeform: Shape 1811">
                <a:extLst>
                  <a:ext uri="{FF2B5EF4-FFF2-40B4-BE49-F238E27FC236}">
                    <a16:creationId xmlns:a16="http://schemas.microsoft.com/office/drawing/2014/main" id="{0573BFBF-4868-4015-8F8A-2F3C66DDB699}"/>
                  </a:ext>
                </a:extLst>
              </p:cNvPr>
              <p:cNvSpPr/>
              <p:nvPr/>
            </p:nvSpPr>
            <p:spPr>
              <a:xfrm>
                <a:off x="4490783" y="1190701"/>
                <a:ext cx="3992" cy="14724"/>
              </a:xfrm>
              <a:custGeom>
                <a:avLst/>
                <a:gdLst>
                  <a:gd name="connsiteX0" fmla="*/ 2099 w 3992"/>
                  <a:gd name="connsiteY0" fmla="*/ 14724 h 14724"/>
                  <a:gd name="connsiteX1" fmla="*/ 7 w 3992"/>
                  <a:gd name="connsiteY1" fmla="*/ 0 h 14724"/>
                  <a:gd name="connsiteX2" fmla="*/ 3993 w 3992"/>
                  <a:gd name="connsiteY2" fmla="*/ 10645 h 14724"/>
                  <a:gd name="connsiteX3" fmla="*/ 2099 w 3992"/>
                  <a:gd name="connsiteY3" fmla="*/ 14724 h 1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92" h="14724">
                    <a:moveTo>
                      <a:pt x="2099" y="14724"/>
                    </a:moveTo>
                    <a:cubicBezTo>
                      <a:pt x="3794" y="7064"/>
                      <a:pt x="-192" y="4775"/>
                      <a:pt x="7" y="0"/>
                    </a:cubicBezTo>
                    <a:cubicBezTo>
                      <a:pt x="645" y="3771"/>
                      <a:pt x="1990" y="7382"/>
                      <a:pt x="3993" y="10645"/>
                    </a:cubicBezTo>
                    <a:cubicBezTo>
                      <a:pt x="3395" y="11938"/>
                      <a:pt x="2697" y="13232"/>
                      <a:pt x="2099" y="1472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609" name="Graphic 231">
              <a:extLst>
                <a:ext uri="{FF2B5EF4-FFF2-40B4-BE49-F238E27FC236}">
                  <a16:creationId xmlns:a16="http://schemas.microsoft.com/office/drawing/2014/main" id="{1762CEBD-15D9-4DBE-B086-2899ED76ED4E}"/>
                </a:ext>
              </a:extLst>
            </p:cNvPr>
            <p:cNvGrpSpPr/>
            <p:nvPr/>
          </p:nvGrpSpPr>
          <p:grpSpPr>
            <a:xfrm>
              <a:off x="3984100" y="1886715"/>
              <a:ext cx="206163" cy="227129"/>
              <a:chOff x="3984100" y="1886715"/>
              <a:chExt cx="206163" cy="227129"/>
            </a:xfrm>
            <a:solidFill>
              <a:srgbClr val="ECE8E4"/>
            </a:solidFill>
          </p:grpSpPr>
          <p:sp>
            <p:nvSpPr>
              <p:cNvPr id="1768" name="Freeform: Shape 1767">
                <a:extLst>
                  <a:ext uri="{FF2B5EF4-FFF2-40B4-BE49-F238E27FC236}">
                    <a16:creationId xmlns:a16="http://schemas.microsoft.com/office/drawing/2014/main" id="{7065201D-8CA1-4DC5-8AA0-9FAFA7717313}"/>
                  </a:ext>
                </a:extLst>
              </p:cNvPr>
              <p:cNvSpPr/>
              <p:nvPr/>
            </p:nvSpPr>
            <p:spPr>
              <a:xfrm>
                <a:off x="3984100" y="2100613"/>
                <a:ext cx="3288" cy="5571"/>
              </a:xfrm>
              <a:custGeom>
                <a:avLst/>
                <a:gdLst>
                  <a:gd name="connsiteX0" fmla="*/ 0 w 3288"/>
                  <a:gd name="connsiteY0" fmla="*/ 0 h 5571"/>
                  <a:gd name="connsiteX1" fmla="*/ 3288 w 3288"/>
                  <a:gd name="connsiteY1" fmla="*/ 5571 h 5571"/>
                  <a:gd name="connsiteX2" fmla="*/ 0 w 3288"/>
                  <a:gd name="connsiteY2" fmla="*/ 0 h 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88" h="5571">
                    <a:moveTo>
                      <a:pt x="0" y="0"/>
                    </a:moveTo>
                    <a:cubicBezTo>
                      <a:pt x="887" y="1970"/>
                      <a:pt x="1993" y="3840"/>
                      <a:pt x="3288" y="5571"/>
                    </a:cubicBezTo>
                    <a:cubicBezTo>
                      <a:pt x="1724" y="4029"/>
                      <a:pt x="598" y="210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69" name="Freeform: Shape 1768">
                <a:extLst>
                  <a:ext uri="{FF2B5EF4-FFF2-40B4-BE49-F238E27FC236}">
                    <a16:creationId xmlns:a16="http://schemas.microsoft.com/office/drawing/2014/main" id="{25681545-0038-458B-874D-5CDAD4A648B4}"/>
                  </a:ext>
                </a:extLst>
              </p:cNvPr>
              <p:cNvSpPr/>
              <p:nvPr/>
            </p:nvSpPr>
            <p:spPr>
              <a:xfrm>
                <a:off x="3987986" y="2109666"/>
                <a:ext cx="951" cy="4178"/>
              </a:xfrm>
              <a:custGeom>
                <a:avLst/>
                <a:gdLst>
                  <a:gd name="connsiteX0" fmla="*/ 0 w 951"/>
                  <a:gd name="connsiteY0" fmla="*/ 4179 h 4178"/>
                  <a:gd name="connsiteX1" fmla="*/ 897 w 951"/>
                  <a:gd name="connsiteY1" fmla="*/ 0 h 4178"/>
                  <a:gd name="connsiteX2" fmla="*/ 0 w 951"/>
                  <a:gd name="connsiteY2" fmla="*/ 4179 h 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51" h="4178">
                    <a:moveTo>
                      <a:pt x="0" y="4179"/>
                    </a:moveTo>
                    <a:cubicBezTo>
                      <a:pt x="170" y="2766"/>
                      <a:pt x="468" y="1363"/>
                      <a:pt x="897" y="0"/>
                    </a:cubicBezTo>
                    <a:cubicBezTo>
                      <a:pt x="1086" y="1452"/>
                      <a:pt x="777" y="2935"/>
                      <a:pt x="0" y="417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70" name="Freeform: Shape 1769">
                <a:extLst>
                  <a:ext uri="{FF2B5EF4-FFF2-40B4-BE49-F238E27FC236}">
                    <a16:creationId xmlns:a16="http://schemas.microsoft.com/office/drawing/2014/main" id="{29C354CA-3899-495D-82A5-04A9B07E5D3E}"/>
                  </a:ext>
                </a:extLst>
              </p:cNvPr>
              <p:cNvSpPr/>
              <p:nvPr/>
            </p:nvSpPr>
            <p:spPr>
              <a:xfrm>
                <a:off x="4004826" y="2064996"/>
                <a:ext cx="5081" cy="3481"/>
              </a:xfrm>
              <a:custGeom>
                <a:avLst/>
                <a:gdLst>
                  <a:gd name="connsiteX0" fmla="*/ 0 w 5081"/>
                  <a:gd name="connsiteY0" fmla="*/ 3482 h 3481"/>
                  <a:gd name="connsiteX1" fmla="*/ 5082 w 5081"/>
                  <a:gd name="connsiteY1" fmla="*/ 0 h 3481"/>
                  <a:gd name="connsiteX2" fmla="*/ 0 w 5081"/>
                  <a:gd name="connsiteY2" fmla="*/ 3482 h 3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1" h="3481">
                    <a:moveTo>
                      <a:pt x="0" y="3482"/>
                    </a:moveTo>
                    <a:cubicBezTo>
                      <a:pt x="1365" y="1910"/>
                      <a:pt x="3119" y="706"/>
                      <a:pt x="5082" y="0"/>
                    </a:cubicBezTo>
                    <a:cubicBezTo>
                      <a:pt x="3507" y="1323"/>
                      <a:pt x="1804" y="2497"/>
                      <a:pt x="0" y="3482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71" name="Freeform: Shape 1770">
                <a:extLst>
                  <a:ext uri="{FF2B5EF4-FFF2-40B4-BE49-F238E27FC236}">
                    <a16:creationId xmlns:a16="http://schemas.microsoft.com/office/drawing/2014/main" id="{BA8632C8-3CC3-4557-B8AC-CD3D410E33BD}"/>
                  </a:ext>
                </a:extLst>
              </p:cNvPr>
              <p:cNvSpPr/>
              <p:nvPr/>
            </p:nvSpPr>
            <p:spPr>
              <a:xfrm>
                <a:off x="4036115" y="2048879"/>
                <a:ext cx="1395" cy="6864"/>
              </a:xfrm>
              <a:custGeom>
                <a:avLst/>
                <a:gdLst>
                  <a:gd name="connsiteX0" fmla="*/ 1395 w 1395"/>
                  <a:gd name="connsiteY0" fmla="*/ 0 h 6864"/>
                  <a:gd name="connsiteX1" fmla="*/ 1395 w 1395"/>
                  <a:gd name="connsiteY1" fmla="*/ 6069 h 6864"/>
                  <a:gd name="connsiteX2" fmla="*/ 0 w 1395"/>
                  <a:gd name="connsiteY2" fmla="*/ 6865 h 6864"/>
                  <a:gd name="connsiteX3" fmla="*/ 1395 w 1395"/>
                  <a:gd name="connsiteY3" fmla="*/ 0 h 6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5" h="6864">
                    <a:moveTo>
                      <a:pt x="1395" y="0"/>
                    </a:moveTo>
                    <a:cubicBezTo>
                      <a:pt x="1205" y="2020"/>
                      <a:pt x="1205" y="4049"/>
                      <a:pt x="1395" y="6069"/>
                    </a:cubicBezTo>
                    <a:cubicBezTo>
                      <a:pt x="976" y="6407"/>
                      <a:pt x="508" y="6676"/>
                      <a:pt x="0" y="6865"/>
                    </a:cubicBezTo>
                    <a:cubicBezTo>
                      <a:pt x="1594" y="5074"/>
                      <a:pt x="698" y="3482"/>
                      <a:pt x="139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72" name="Freeform: Shape 1771">
                <a:extLst>
                  <a:ext uri="{FF2B5EF4-FFF2-40B4-BE49-F238E27FC236}">
                    <a16:creationId xmlns:a16="http://schemas.microsoft.com/office/drawing/2014/main" id="{2AFC5813-2DC1-442F-9BC0-1DA8F7C7D8D0}"/>
                  </a:ext>
                </a:extLst>
              </p:cNvPr>
              <p:cNvSpPr/>
              <p:nvPr/>
            </p:nvSpPr>
            <p:spPr>
              <a:xfrm>
                <a:off x="4043090" y="1891888"/>
                <a:ext cx="2291" cy="6267"/>
              </a:xfrm>
              <a:custGeom>
                <a:avLst/>
                <a:gdLst>
                  <a:gd name="connsiteX0" fmla="*/ 0 w 2291"/>
                  <a:gd name="connsiteY0" fmla="*/ 6268 h 6267"/>
                  <a:gd name="connsiteX1" fmla="*/ 2292 w 2291"/>
                  <a:gd name="connsiteY1" fmla="*/ 0 h 6267"/>
                  <a:gd name="connsiteX2" fmla="*/ 0 w 2291"/>
                  <a:gd name="connsiteY2" fmla="*/ 6268 h 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291" h="6267">
                    <a:moveTo>
                      <a:pt x="0" y="6268"/>
                    </a:moveTo>
                    <a:cubicBezTo>
                      <a:pt x="578" y="4119"/>
                      <a:pt x="1345" y="2020"/>
                      <a:pt x="2292" y="0"/>
                    </a:cubicBezTo>
                    <a:cubicBezTo>
                      <a:pt x="1375" y="2030"/>
                      <a:pt x="608" y="4129"/>
                      <a:pt x="0" y="6268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73" name="Freeform: Shape 1772">
                <a:extLst>
                  <a:ext uri="{FF2B5EF4-FFF2-40B4-BE49-F238E27FC236}">
                    <a16:creationId xmlns:a16="http://schemas.microsoft.com/office/drawing/2014/main" id="{E8CAD10F-00D7-47F4-B62E-CFECC7DAA605}"/>
                  </a:ext>
                </a:extLst>
              </p:cNvPr>
              <p:cNvSpPr/>
              <p:nvPr/>
            </p:nvSpPr>
            <p:spPr>
              <a:xfrm>
                <a:off x="4160172" y="1930589"/>
                <a:ext cx="6875" cy="1691"/>
              </a:xfrm>
              <a:custGeom>
                <a:avLst/>
                <a:gdLst>
                  <a:gd name="connsiteX0" fmla="*/ 0 w 6875"/>
                  <a:gd name="connsiteY0" fmla="*/ 1691 h 1691"/>
                  <a:gd name="connsiteX1" fmla="*/ 6875 w 6875"/>
                  <a:gd name="connsiteY1" fmla="*/ 0 h 1691"/>
                  <a:gd name="connsiteX2" fmla="*/ 0 w 6875"/>
                  <a:gd name="connsiteY2" fmla="*/ 1691 h 1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875" h="1691">
                    <a:moveTo>
                      <a:pt x="0" y="1691"/>
                    </a:moveTo>
                    <a:cubicBezTo>
                      <a:pt x="2202" y="816"/>
                      <a:pt x="4514" y="249"/>
                      <a:pt x="6875" y="0"/>
                    </a:cubicBezTo>
                    <a:cubicBezTo>
                      <a:pt x="4783" y="696"/>
                      <a:pt x="2391" y="1094"/>
                      <a:pt x="0" y="169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74" name="Freeform: Shape 1773">
                <a:extLst>
                  <a:ext uri="{FF2B5EF4-FFF2-40B4-BE49-F238E27FC236}">
                    <a16:creationId xmlns:a16="http://schemas.microsoft.com/office/drawing/2014/main" id="{54946EC7-BD59-40D5-B9EF-6367EFD1472D}"/>
                  </a:ext>
                </a:extLst>
              </p:cNvPr>
              <p:cNvSpPr/>
              <p:nvPr/>
            </p:nvSpPr>
            <p:spPr>
              <a:xfrm>
                <a:off x="4170136" y="1927107"/>
                <a:ext cx="1594" cy="2089"/>
              </a:xfrm>
              <a:custGeom>
                <a:avLst/>
                <a:gdLst>
                  <a:gd name="connsiteX0" fmla="*/ 0 w 1594"/>
                  <a:gd name="connsiteY0" fmla="*/ 2089 h 2089"/>
                  <a:gd name="connsiteX1" fmla="*/ 1594 w 1594"/>
                  <a:gd name="connsiteY1" fmla="*/ 0 h 2089"/>
                  <a:gd name="connsiteX2" fmla="*/ 797 w 1594"/>
                  <a:gd name="connsiteY2" fmla="*/ 1492 h 2089"/>
                  <a:gd name="connsiteX3" fmla="*/ 0 w 1594"/>
                  <a:gd name="connsiteY3" fmla="*/ 2089 h 2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94" h="2089">
                    <a:moveTo>
                      <a:pt x="0" y="2089"/>
                    </a:moveTo>
                    <a:cubicBezTo>
                      <a:pt x="598" y="1452"/>
                      <a:pt x="1135" y="746"/>
                      <a:pt x="1594" y="0"/>
                    </a:cubicBezTo>
                    <a:cubicBezTo>
                      <a:pt x="1365" y="517"/>
                      <a:pt x="1106" y="1015"/>
                      <a:pt x="797" y="1492"/>
                    </a:cubicBezTo>
                    <a:cubicBezTo>
                      <a:pt x="797" y="1492"/>
                      <a:pt x="299" y="2089"/>
                      <a:pt x="0" y="208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75" name="Freeform: Shape 1774">
                <a:extLst>
                  <a:ext uri="{FF2B5EF4-FFF2-40B4-BE49-F238E27FC236}">
                    <a16:creationId xmlns:a16="http://schemas.microsoft.com/office/drawing/2014/main" id="{BC58A8FB-618F-44B6-A5D5-8A0B483E29EE}"/>
                  </a:ext>
                </a:extLst>
              </p:cNvPr>
              <p:cNvSpPr/>
              <p:nvPr/>
            </p:nvSpPr>
            <p:spPr>
              <a:xfrm>
                <a:off x="4182790" y="1886715"/>
                <a:ext cx="7473" cy="18007"/>
              </a:xfrm>
              <a:custGeom>
                <a:avLst/>
                <a:gdLst>
                  <a:gd name="connsiteX0" fmla="*/ 0 w 7473"/>
                  <a:gd name="connsiteY0" fmla="*/ 18007 h 18007"/>
                  <a:gd name="connsiteX1" fmla="*/ 7473 w 7473"/>
                  <a:gd name="connsiteY1" fmla="*/ 0 h 18007"/>
                  <a:gd name="connsiteX2" fmla="*/ 4086 w 7473"/>
                  <a:gd name="connsiteY2" fmla="*/ 9949 h 18007"/>
                  <a:gd name="connsiteX3" fmla="*/ 0 w 7473"/>
                  <a:gd name="connsiteY3" fmla="*/ 18007 h 18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73" h="18007">
                    <a:moveTo>
                      <a:pt x="0" y="18007"/>
                    </a:moveTo>
                    <a:cubicBezTo>
                      <a:pt x="2840" y="12157"/>
                      <a:pt x="5331" y="6138"/>
                      <a:pt x="7473" y="0"/>
                    </a:cubicBezTo>
                    <a:cubicBezTo>
                      <a:pt x="6677" y="2786"/>
                      <a:pt x="5480" y="6069"/>
                      <a:pt x="4086" y="9949"/>
                    </a:cubicBezTo>
                    <a:cubicBezTo>
                      <a:pt x="2691" y="12635"/>
                      <a:pt x="1295" y="15222"/>
                      <a:pt x="0" y="1800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grpSp>
          <p:nvGrpSpPr>
            <p:cNvPr id="1610" name="Graphic 231">
              <a:extLst>
                <a:ext uri="{FF2B5EF4-FFF2-40B4-BE49-F238E27FC236}">
                  <a16:creationId xmlns:a16="http://schemas.microsoft.com/office/drawing/2014/main" id="{7C760538-E3AC-4012-997B-14A4712811FC}"/>
                </a:ext>
              </a:extLst>
            </p:cNvPr>
            <p:cNvGrpSpPr/>
            <p:nvPr/>
          </p:nvGrpSpPr>
          <p:grpSpPr>
            <a:xfrm>
              <a:off x="1268301" y="597457"/>
              <a:ext cx="74733" cy="421329"/>
              <a:chOff x="1268301" y="597457"/>
              <a:chExt cx="74733" cy="421329"/>
            </a:xfrm>
            <a:solidFill>
              <a:srgbClr val="ECE8E4"/>
            </a:solidFill>
          </p:grpSpPr>
          <p:sp>
            <p:nvSpPr>
              <p:cNvPr id="1759" name="Freeform: Shape 1758">
                <a:extLst>
                  <a:ext uri="{FF2B5EF4-FFF2-40B4-BE49-F238E27FC236}">
                    <a16:creationId xmlns:a16="http://schemas.microsoft.com/office/drawing/2014/main" id="{BE67EEAA-8193-46C0-81C1-BBEEA8AB660E}"/>
                  </a:ext>
                </a:extLst>
              </p:cNvPr>
              <p:cNvSpPr/>
              <p:nvPr/>
            </p:nvSpPr>
            <p:spPr>
              <a:xfrm>
                <a:off x="1268301" y="597457"/>
                <a:ext cx="1395" cy="9948"/>
              </a:xfrm>
              <a:custGeom>
                <a:avLst/>
                <a:gdLst>
                  <a:gd name="connsiteX0" fmla="*/ 0 w 1395"/>
                  <a:gd name="connsiteY0" fmla="*/ 9949 h 9948"/>
                  <a:gd name="connsiteX1" fmla="*/ 1395 w 1395"/>
                  <a:gd name="connsiteY1" fmla="*/ 0 h 9948"/>
                  <a:gd name="connsiteX2" fmla="*/ 0 w 1395"/>
                  <a:gd name="connsiteY2" fmla="*/ 9949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95" h="9948">
                    <a:moveTo>
                      <a:pt x="0" y="9949"/>
                    </a:moveTo>
                    <a:cubicBezTo>
                      <a:pt x="598" y="6765"/>
                      <a:pt x="1096" y="3582"/>
                      <a:pt x="1395" y="0"/>
                    </a:cubicBezTo>
                    <a:cubicBezTo>
                      <a:pt x="1236" y="3353"/>
                      <a:pt x="767" y="6686"/>
                      <a:pt x="0" y="99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60" name="Freeform: Shape 1759">
                <a:extLst>
                  <a:ext uri="{FF2B5EF4-FFF2-40B4-BE49-F238E27FC236}">
                    <a16:creationId xmlns:a16="http://schemas.microsoft.com/office/drawing/2014/main" id="{AB65B51F-177D-4327-8FCF-4D2607E2F672}"/>
                  </a:ext>
                </a:extLst>
              </p:cNvPr>
              <p:cNvSpPr/>
              <p:nvPr/>
            </p:nvSpPr>
            <p:spPr>
              <a:xfrm>
                <a:off x="1301084" y="701223"/>
                <a:ext cx="1893" cy="7063"/>
              </a:xfrm>
              <a:custGeom>
                <a:avLst/>
                <a:gdLst>
                  <a:gd name="connsiteX0" fmla="*/ 1096 w 1893"/>
                  <a:gd name="connsiteY0" fmla="*/ 2686 h 7063"/>
                  <a:gd name="connsiteX1" fmla="*/ 1893 w 1893"/>
                  <a:gd name="connsiteY1" fmla="*/ 7064 h 7063"/>
                  <a:gd name="connsiteX2" fmla="*/ 0 w 1893"/>
                  <a:gd name="connsiteY2" fmla="*/ 0 h 7063"/>
                  <a:gd name="connsiteX3" fmla="*/ 1096 w 1893"/>
                  <a:gd name="connsiteY3" fmla="*/ 2686 h 7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93" h="7063">
                    <a:moveTo>
                      <a:pt x="1096" y="2686"/>
                    </a:moveTo>
                    <a:cubicBezTo>
                      <a:pt x="1465" y="4129"/>
                      <a:pt x="1734" y="5591"/>
                      <a:pt x="1893" y="7064"/>
                    </a:cubicBezTo>
                    <a:cubicBezTo>
                      <a:pt x="1295" y="4676"/>
                      <a:pt x="698" y="2388"/>
                      <a:pt x="0" y="0"/>
                    </a:cubicBezTo>
                    <a:cubicBezTo>
                      <a:pt x="299" y="895"/>
                      <a:pt x="299" y="1791"/>
                      <a:pt x="1096" y="268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61" name="Freeform: Shape 1760">
                <a:extLst>
                  <a:ext uri="{FF2B5EF4-FFF2-40B4-BE49-F238E27FC236}">
                    <a16:creationId xmlns:a16="http://schemas.microsoft.com/office/drawing/2014/main" id="{8C8B588B-A9CA-4420-A06A-46498B7B5200}"/>
                  </a:ext>
                </a:extLst>
              </p:cNvPr>
              <p:cNvSpPr/>
              <p:nvPr/>
            </p:nvSpPr>
            <p:spPr>
              <a:xfrm>
                <a:off x="1308158" y="796333"/>
                <a:ext cx="1607" cy="26065"/>
              </a:xfrm>
              <a:custGeom>
                <a:avLst/>
                <a:gdLst>
                  <a:gd name="connsiteX0" fmla="*/ 1196 w 1607"/>
                  <a:gd name="connsiteY0" fmla="*/ 0 h 26065"/>
                  <a:gd name="connsiteX1" fmla="*/ 0 w 1607"/>
                  <a:gd name="connsiteY1" fmla="*/ 26066 h 26065"/>
                  <a:gd name="connsiteX2" fmla="*/ 1196 w 1607"/>
                  <a:gd name="connsiteY2" fmla="*/ 0 h 26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07" h="26065">
                    <a:moveTo>
                      <a:pt x="1196" y="0"/>
                    </a:moveTo>
                    <a:cubicBezTo>
                      <a:pt x="2013" y="8705"/>
                      <a:pt x="1614" y="17480"/>
                      <a:pt x="0" y="26066"/>
                    </a:cubicBezTo>
                    <a:cubicBezTo>
                      <a:pt x="1305" y="17440"/>
                      <a:pt x="1704" y="8705"/>
                      <a:pt x="11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62" name="Freeform: Shape 1761">
                <a:extLst>
                  <a:ext uri="{FF2B5EF4-FFF2-40B4-BE49-F238E27FC236}">
                    <a16:creationId xmlns:a16="http://schemas.microsoft.com/office/drawing/2014/main" id="{8EA05EA9-E513-444B-B0A1-3BE783AADE02}"/>
                  </a:ext>
                </a:extLst>
              </p:cNvPr>
              <p:cNvSpPr/>
              <p:nvPr/>
            </p:nvSpPr>
            <p:spPr>
              <a:xfrm>
                <a:off x="1313141" y="865078"/>
                <a:ext cx="654" cy="16415"/>
              </a:xfrm>
              <a:custGeom>
                <a:avLst/>
                <a:gdLst>
                  <a:gd name="connsiteX0" fmla="*/ 0 w 654"/>
                  <a:gd name="connsiteY0" fmla="*/ 0 h 16415"/>
                  <a:gd name="connsiteX1" fmla="*/ 498 w 654"/>
                  <a:gd name="connsiteY1" fmla="*/ 16415 h 16415"/>
                  <a:gd name="connsiteX2" fmla="*/ 0 w 654"/>
                  <a:gd name="connsiteY2" fmla="*/ 0 h 16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4" h="16415">
                    <a:moveTo>
                      <a:pt x="0" y="0"/>
                    </a:moveTo>
                    <a:cubicBezTo>
                      <a:pt x="648" y="5442"/>
                      <a:pt x="817" y="10944"/>
                      <a:pt x="498" y="16415"/>
                    </a:cubicBezTo>
                    <a:cubicBezTo>
                      <a:pt x="299" y="10844"/>
                      <a:pt x="598" y="5173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63" name="Freeform: Shape 1762">
                <a:extLst>
                  <a:ext uri="{FF2B5EF4-FFF2-40B4-BE49-F238E27FC236}">
                    <a16:creationId xmlns:a16="http://schemas.microsoft.com/office/drawing/2014/main" id="{41699A82-00B3-440D-B451-0E0BF4450896}"/>
                  </a:ext>
                </a:extLst>
              </p:cNvPr>
              <p:cNvSpPr/>
              <p:nvPr/>
            </p:nvSpPr>
            <p:spPr>
              <a:xfrm>
                <a:off x="1315134" y="895223"/>
                <a:ext cx="2690" cy="6466"/>
              </a:xfrm>
              <a:custGeom>
                <a:avLst/>
                <a:gdLst>
                  <a:gd name="connsiteX0" fmla="*/ 0 w 2690"/>
                  <a:gd name="connsiteY0" fmla="*/ 0 h 6466"/>
                  <a:gd name="connsiteX1" fmla="*/ 2690 w 2690"/>
                  <a:gd name="connsiteY1" fmla="*/ 6467 h 6466"/>
                  <a:gd name="connsiteX2" fmla="*/ 0 w 2690"/>
                  <a:gd name="connsiteY2" fmla="*/ 0 h 6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90" h="6466">
                    <a:moveTo>
                      <a:pt x="0" y="0"/>
                    </a:moveTo>
                    <a:cubicBezTo>
                      <a:pt x="1056" y="2089"/>
                      <a:pt x="1953" y="4248"/>
                      <a:pt x="2690" y="6467"/>
                    </a:cubicBezTo>
                    <a:cubicBezTo>
                      <a:pt x="1435" y="4477"/>
                      <a:pt x="518" y="2288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64" name="Freeform: Shape 1763">
                <a:extLst>
                  <a:ext uri="{FF2B5EF4-FFF2-40B4-BE49-F238E27FC236}">
                    <a16:creationId xmlns:a16="http://schemas.microsoft.com/office/drawing/2014/main" id="{B83E748F-727A-4F91-B482-34AE480E968A}"/>
                  </a:ext>
                </a:extLst>
              </p:cNvPr>
              <p:cNvSpPr/>
              <p:nvPr/>
            </p:nvSpPr>
            <p:spPr>
              <a:xfrm>
                <a:off x="1336958" y="949145"/>
                <a:ext cx="794" cy="13629"/>
              </a:xfrm>
              <a:custGeom>
                <a:avLst/>
                <a:gdLst>
                  <a:gd name="connsiteX0" fmla="*/ 97 w 794"/>
                  <a:gd name="connsiteY0" fmla="*/ 0 h 13629"/>
                  <a:gd name="connsiteX1" fmla="*/ 795 w 794"/>
                  <a:gd name="connsiteY1" fmla="*/ 13630 h 13629"/>
                  <a:gd name="connsiteX2" fmla="*/ 97 w 794"/>
                  <a:gd name="connsiteY2" fmla="*/ 0 h 13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4" h="13629">
                    <a:moveTo>
                      <a:pt x="97" y="0"/>
                    </a:moveTo>
                    <a:cubicBezTo>
                      <a:pt x="67" y="4556"/>
                      <a:pt x="307" y="9103"/>
                      <a:pt x="795" y="13630"/>
                    </a:cubicBezTo>
                    <a:cubicBezTo>
                      <a:pt x="77" y="9123"/>
                      <a:pt x="-152" y="4556"/>
                      <a:pt x="9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65" name="Freeform: Shape 1764">
                <a:extLst>
                  <a:ext uri="{FF2B5EF4-FFF2-40B4-BE49-F238E27FC236}">
                    <a16:creationId xmlns:a16="http://schemas.microsoft.com/office/drawing/2014/main" id="{7D93196A-6C77-4E50-8EB2-22A64265C991}"/>
                  </a:ext>
                </a:extLst>
              </p:cNvPr>
              <p:cNvSpPr/>
              <p:nvPr/>
            </p:nvSpPr>
            <p:spPr>
              <a:xfrm>
                <a:off x="1341240" y="1001774"/>
                <a:ext cx="44" cy="4974"/>
              </a:xfrm>
              <a:custGeom>
                <a:avLst/>
                <a:gdLst>
                  <a:gd name="connsiteX0" fmla="*/ 0 w 44"/>
                  <a:gd name="connsiteY0" fmla="*/ 2587 h 4974"/>
                  <a:gd name="connsiteX1" fmla="*/ 0 w 44"/>
                  <a:gd name="connsiteY1" fmla="*/ 0 h 4974"/>
                  <a:gd name="connsiteX2" fmla="*/ 0 w 44"/>
                  <a:gd name="connsiteY2" fmla="*/ 4974 h 4974"/>
                  <a:gd name="connsiteX3" fmla="*/ 0 w 44"/>
                  <a:gd name="connsiteY3" fmla="*/ 2587 h 4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" h="4974">
                    <a:moveTo>
                      <a:pt x="0" y="2587"/>
                    </a:moveTo>
                    <a:cubicBezTo>
                      <a:pt x="60" y="1721"/>
                      <a:pt x="60" y="866"/>
                      <a:pt x="0" y="0"/>
                    </a:cubicBezTo>
                    <a:cubicBezTo>
                      <a:pt x="0" y="1592"/>
                      <a:pt x="0" y="3383"/>
                      <a:pt x="0" y="4974"/>
                    </a:cubicBezTo>
                    <a:cubicBezTo>
                      <a:pt x="40" y="4179"/>
                      <a:pt x="40" y="3383"/>
                      <a:pt x="0" y="258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66" name="Freeform: Shape 1765">
                <a:extLst>
                  <a:ext uri="{FF2B5EF4-FFF2-40B4-BE49-F238E27FC236}">
                    <a16:creationId xmlns:a16="http://schemas.microsoft.com/office/drawing/2014/main" id="{E020DF2F-4312-47BB-A765-46BEBD91571A}"/>
                  </a:ext>
                </a:extLst>
              </p:cNvPr>
              <p:cNvSpPr/>
              <p:nvPr/>
            </p:nvSpPr>
            <p:spPr>
              <a:xfrm>
                <a:off x="1341938" y="1018786"/>
                <a:ext cx="9964" cy="9948"/>
              </a:xfrm>
              <a:custGeom>
                <a:avLst/>
                <a:gdLst>
                  <a:gd name="connsiteX0" fmla="*/ 0 w 9964"/>
                  <a:gd name="connsiteY0" fmla="*/ 0 h 9948"/>
                  <a:gd name="connsiteX1" fmla="*/ 0 w 9964"/>
                  <a:gd name="connsiteY1" fmla="*/ 0 h 9948"/>
                  <a:gd name="connsiteX2" fmla="*/ 0 w 9964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64" h="994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67" name="Freeform: Shape 1766">
                <a:extLst>
                  <a:ext uri="{FF2B5EF4-FFF2-40B4-BE49-F238E27FC236}">
                    <a16:creationId xmlns:a16="http://schemas.microsoft.com/office/drawing/2014/main" id="{AD53E2A6-5EAA-4EBA-B984-3AA06E52D3D8}"/>
                  </a:ext>
                </a:extLst>
              </p:cNvPr>
              <p:cNvSpPr/>
              <p:nvPr/>
            </p:nvSpPr>
            <p:spPr>
              <a:xfrm>
                <a:off x="1341639" y="985657"/>
                <a:ext cx="1394" cy="9053"/>
              </a:xfrm>
              <a:custGeom>
                <a:avLst/>
                <a:gdLst>
                  <a:gd name="connsiteX0" fmla="*/ 1395 w 1394"/>
                  <a:gd name="connsiteY0" fmla="*/ 5870 h 9053"/>
                  <a:gd name="connsiteX1" fmla="*/ 598 w 1394"/>
                  <a:gd name="connsiteY1" fmla="*/ 9053 h 9053"/>
                  <a:gd name="connsiteX2" fmla="*/ 0 w 1394"/>
                  <a:gd name="connsiteY2" fmla="*/ 0 h 9053"/>
                  <a:gd name="connsiteX3" fmla="*/ 1395 w 1394"/>
                  <a:gd name="connsiteY3" fmla="*/ 5870 h 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94" h="9053">
                    <a:moveTo>
                      <a:pt x="1395" y="5870"/>
                    </a:moveTo>
                    <a:cubicBezTo>
                      <a:pt x="1395" y="6765"/>
                      <a:pt x="897" y="7760"/>
                      <a:pt x="598" y="9053"/>
                    </a:cubicBezTo>
                    <a:cubicBezTo>
                      <a:pt x="598" y="6029"/>
                      <a:pt x="398" y="3005"/>
                      <a:pt x="0" y="0"/>
                    </a:cubicBezTo>
                    <a:cubicBezTo>
                      <a:pt x="498" y="2189"/>
                      <a:pt x="897" y="4079"/>
                      <a:pt x="1395" y="587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611" name="Freeform: Shape 1610">
              <a:extLst>
                <a:ext uri="{FF2B5EF4-FFF2-40B4-BE49-F238E27FC236}">
                  <a16:creationId xmlns:a16="http://schemas.microsoft.com/office/drawing/2014/main" id="{5B662900-8B85-415E-BEDA-1FFCA5840065}"/>
                </a:ext>
              </a:extLst>
            </p:cNvPr>
            <p:cNvSpPr/>
            <p:nvPr/>
          </p:nvSpPr>
          <p:spPr>
            <a:xfrm>
              <a:off x="2220898" y="2586987"/>
              <a:ext cx="13252" cy="5193"/>
            </a:xfrm>
            <a:custGeom>
              <a:avLst/>
              <a:gdLst>
                <a:gd name="connsiteX0" fmla="*/ 13253 w 13252"/>
                <a:gd name="connsiteY0" fmla="*/ 915 h 5193"/>
                <a:gd name="connsiteX1" fmla="*/ 0 w 13252"/>
                <a:gd name="connsiteY1" fmla="*/ 5193 h 5193"/>
                <a:gd name="connsiteX2" fmla="*/ 13253 w 13252"/>
                <a:gd name="connsiteY2" fmla="*/ 915 h 5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252" h="5193">
                  <a:moveTo>
                    <a:pt x="13253" y="915"/>
                  </a:moveTo>
                  <a:cubicBezTo>
                    <a:pt x="8071" y="120"/>
                    <a:pt x="2690" y="-1572"/>
                    <a:pt x="0" y="5193"/>
                  </a:cubicBezTo>
                  <a:cubicBezTo>
                    <a:pt x="2092" y="-1572"/>
                    <a:pt x="7174" y="-179"/>
                    <a:pt x="13253" y="91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12" name="Freeform: Shape 1611">
              <a:extLst>
                <a:ext uri="{FF2B5EF4-FFF2-40B4-BE49-F238E27FC236}">
                  <a16:creationId xmlns:a16="http://schemas.microsoft.com/office/drawing/2014/main" id="{8C48AA07-90EF-4861-867E-C71BDFF8C2EA}"/>
                </a:ext>
              </a:extLst>
            </p:cNvPr>
            <p:cNvSpPr/>
            <p:nvPr/>
          </p:nvSpPr>
          <p:spPr>
            <a:xfrm>
              <a:off x="2242322" y="2581236"/>
              <a:ext cx="2989" cy="5471"/>
            </a:xfrm>
            <a:custGeom>
              <a:avLst/>
              <a:gdLst>
                <a:gd name="connsiteX0" fmla="*/ 2990 w 2989"/>
                <a:gd name="connsiteY0" fmla="*/ 0 h 5471"/>
                <a:gd name="connsiteX1" fmla="*/ 0 w 2989"/>
                <a:gd name="connsiteY1" fmla="*/ 5472 h 5471"/>
                <a:gd name="connsiteX2" fmla="*/ 2990 w 2989"/>
                <a:gd name="connsiteY2" fmla="*/ 0 h 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89" h="5471">
                  <a:moveTo>
                    <a:pt x="2990" y="0"/>
                  </a:moveTo>
                  <a:cubicBezTo>
                    <a:pt x="2671" y="2119"/>
                    <a:pt x="1614" y="4059"/>
                    <a:pt x="0" y="5472"/>
                  </a:cubicBezTo>
                  <a:cubicBezTo>
                    <a:pt x="698" y="3502"/>
                    <a:pt x="1704" y="1652"/>
                    <a:pt x="299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13" name="Freeform: Shape 1612">
              <a:extLst>
                <a:ext uri="{FF2B5EF4-FFF2-40B4-BE49-F238E27FC236}">
                  <a16:creationId xmlns:a16="http://schemas.microsoft.com/office/drawing/2014/main" id="{C5ECF8F8-9E08-42D8-8DDB-F78915358AF7}"/>
                </a:ext>
              </a:extLst>
            </p:cNvPr>
            <p:cNvSpPr/>
            <p:nvPr/>
          </p:nvSpPr>
          <p:spPr>
            <a:xfrm>
              <a:off x="2248001" y="2578829"/>
              <a:ext cx="7672" cy="4198"/>
            </a:xfrm>
            <a:custGeom>
              <a:avLst/>
              <a:gdLst>
                <a:gd name="connsiteX0" fmla="*/ 3787 w 7672"/>
                <a:gd name="connsiteY0" fmla="*/ 418 h 4198"/>
                <a:gd name="connsiteX1" fmla="*/ 0 w 7672"/>
                <a:gd name="connsiteY1" fmla="*/ 418 h 4198"/>
                <a:gd name="connsiteX2" fmla="*/ 4783 w 7672"/>
                <a:gd name="connsiteY2" fmla="*/ 418 h 4198"/>
                <a:gd name="connsiteX3" fmla="*/ 7673 w 7672"/>
                <a:gd name="connsiteY3" fmla="*/ 4198 h 4198"/>
                <a:gd name="connsiteX4" fmla="*/ 3787 w 7672"/>
                <a:gd name="connsiteY4" fmla="*/ 418 h 4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72" h="4198">
                  <a:moveTo>
                    <a:pt x="3787" y="418"/>
                  </a:moveTo>
                  <a:lnTo>
                    <a:pt x="0" y="418"/>
                  </a:lnTo>
                  <a:cubicBezTo>
                    <a:pt x="1545" y="-139"/>
                    <a:pt x="3239" y="-139"/>
                    <a:pt x="4783" y="418"/>
                  </a:cubicBezTo>
                  <a:cubicBezTo>
                    <a:pt x="5640" y="1761"/>
                    <a:pt x="6607" y="3024"/>
                    <a:pt x="7673" y="4198"/>
                  </a:cubicBezTo>
                  <a:cubicBezTo>
                    <a:pt x="6298" y="3024"/>
                    <a:pt x="5002" y="1761"/>
                    <a:pt x="3787" y="418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14" name="Freeform: Shape 1613">
              <a:extLst>
                <a:ext uri="{FF2B5EF4-FFF2-40B4-BE49-F238E27FC236}">
                  <a16:creationId xmlns:a16="http://schemas.microsoft.com/office/drawing/2014/main" id="{A5BF604B-C823-4B3F-9141-37C67B27D18B}"/>
                </a:ext>
              </a:extLst>
            </p:cNvPr>
            <p:cNvSpPr/>
            <p:nvPr/>
          </p:nvSpPr>
          <p:spPr>
            <a:xfrm>
              <a:off x="2262051" y="2582331"/>
              <a:ext cx="4085" cy="5040"/>
            </a:xfrm>
            <a:custGeom>
              <a:avLst/>
              <a:gdLst>
                <a:gd name="connsiteX0" fmla="*/ 0 w 4085"/>
                <a:gd name="connsiteY0" fmla="*/ 4974 h 5040"/>
                <a:gd name="connsiteX1" fmla="*/ 4086 w 4085"/>
                <a:gd name="connsiteY1" fmla="*/ 0 h 5040"/>
                <a:gd name="connsiteX2" fmla="*/ 0 w 4085"/>
                <a:gd name="connsiteY2" fmla="*/ 4974 h 5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85" h="5040">
                  <a:moveTo>
                    <a:pt x="0" y="4974"/>
                  </a:moveTo>
                  <a:cubicBezTo>
                    <a:pt x="1694" y="4974"/>
                    <a:pt x="2790" y="2587"/>
                    <a:pt x="4086" y="0"/>
                  </a:cubicBezTo>
                  <a:cubicBezTo>
                    <a:pt x="2890" y="3084"/>
                    <a:pt x="2192" y="5472"/>
                    <a:pt x="0" y="497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15" name="Freeform: Shape 1614">
              <a:extLst>
                <a:ext uri="{FF2B5EF4-FFF2-40B4-BE49-F238E27FC236}">
                  <a16:creationId xmlns:a16="http://schemas.microsoft.com/office/drawing/2014/main" id="{99615CCA-08CE-4494-BA03-45648A2B5ABA}"/>
                </a:ext>
              </a:extLst>
            </p:cNvPr>
            <p:cNvSpPr/>
            <p:nvPr/>
          </p:nvSpPr>
          <p:spPr>
            <a:xfrm>
              <a:off x="2233553" y="2598050"/>
              <a:ext cx="34676" cy="962"/>
            </a:xfrm>
            <a:custGeom>
              <a:avLst/>
              <a:gdLst>
                <a:gd name="connsiteX0" fmla="*/ 0 w 34676"/>
                <a:gd name="connsiteY0" fmla="*/ 0 h 962"/>
                <a:gd name="connsiteX1" fmla="*/ 34677 w 34676"/>
                <a:gd name="connsiteY1" fmla="*/ 0 h 962"/>
                <a:gd name="connsiteX2" fmla="*/ 0 w 34676"/>
                <a:gd name="connsiteY2" fmla="*/ 0 h 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676" h="962">
                  <a:moveTo>
                    <a:pt x="0" y="0"/>
                  </a:moveTo>
                  <a:cubicBezTo>
                    <a:pt x="11260" y="0"/>
                    <a:pt x="22918" y="0"/>
                    <a:pt x="34677" y="0"/>
                  </a:cubicBezTo>
                  <a:cubicBezTo>
                    <a:pt x="23158" y="1283"/>
                    <a:pt x="11519" y="1283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16" name="Freeform: Shape 1615">
              <a:extLst>
                <a:ext uri="{FF2B5EF4-FFF2-40B4-BE49-F238E27FC236}">
                  <a16:creationId xmlns:a16="http://schemas.microsoft.com/office/drawing/2014/main" id="{173F59B3-0A2B-4F61-ACB7-78AFE91F21A7}"/>
                </a:ext>
              </a:extLst>
            </p:cNvPr>
            <p:cNvSpPr/>
            <p:nvPr/>
          </p:nvSpPr>
          <p:spPr>
            <a:xfrm>
              <a:off x="2274208" y="2538755"/>
              <a:ext cx="2491" cy="9053"/>
            </a:xfrm>
            <a:custGeom>
              <a:avLst/>
              <a:gdLst>
                <a:gd name="connsiteX0" fmla="*/ 498 w 2491"/>
                <a:gd name="connsiteY0" fmla="*/ 4776 h 9053"/>
                <a:gd name="connsiteX1" fmla="*/ 2491 w 2491"/>
                <a:gd name="connsiteY1" fmla="*/ 0 h 9053"/>
                <a:gd name="connsiteX2" fmla="*/ 0 w 2491"/>
                <a:gd name="connsiteY2" fmla="*/ 9053 h 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91" h="9053">
                  <a:moveTo>
                    <a:pt x="498" y="4776"/>
                  </a:moveTo>
                  <a:cubicBezTo>
                    <a:pt x="1066" y="3144"/>
                    <a:pt x="1734" y="1552"/>
                    <a:pt x="2491" y="0"/>
                  </a:cubicBezTo>
                  <a:cubicBezTo>
                    <a:pt x="1475" y="2965"/>
                    <a:pt x="648" y="5989"/>
                    <a:pt x="0" y="9053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17" name="Freeform: Shape 1616">
              <a:extLst>
                <a:ext uri="{FF2B5EF4-FFF2-40B4-BE49-F238E27FC236}">
                  <a16:creationId xmlns:a16="http://schemas.microsoft.com/office/drawing/2014/main" id="{96C3A049-0850-4055-967C-6B0ACB000CE7}"/>
                </a:ext>
              </a:extLst>
            </p:cNvPr>
            <p:cNvSpPr/>
            <p:nvPr/>
          </p:nvSpPr>
          <p:spPr>
            <a:xfrm>
              <a:off x="2275104" y="2513485"/>
              <a:ext cx="1594" cy="6765"/>
            </a:xfrm>
            <a:custGeom>
              <a:avLst/>
              <a:gdLst>
                <a:gd name="connsiteX0" fmla="*/ 0 w 1594"/>
                <a:gd name="connsiteY0" fmla="*/ 0 h 6765"/>
                <a:gd name="connsiteX1" fmla="*/ 1595 w 1594"/>
                <a:gd name="connsiteY1" fmla="*/ 6765 h 6765"/>
                <a:gd name="connsiteX2" fmla="*/ 0 w 1594"/>
                <a:gd name="connsiteY2" fmla="*/ 0 h 6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4" h="6765">
                  <a:moveTo>
                    <a:pt x="0" y="0"/>
                  </a:moveTo>
                  <a:cubicBezTo>
                    <a:pt x="887" y="2159"/>
                    <a:pt x="1425" y="4437"/>
                    <a:pt x="1595" y="6765"/>
                  </a:cubicBezTo>
                  <a:cubicBezTo>
                    <a:pt x="997" y="4577"/>
                    <a:pt x="598" y="2089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18" name="Freeform: Shape 1617">
              <a:extLst>
                <a:ext uri="{FF2B5EF4-FFF2-40B4-BE49-F238E27FC236}">
                  <a16:creationId xmlns:a16="http://schemas.microsoft.com/office/drawing/2014/main" id="{046DEB74-D26E-4F66-87BE-06974A7FE024}"/>
                </a:ext>
              </a:extLst>
            </p:cNvPr>
            <p:cNvSpPr/>
            <p:nvPr/>
          </p:nvSpPr>
          <p:spPr>
            <a:xfrm>
              <a:off x="2278194" y="2524031"/>
              <a:ext cx="1992" cy="2188"/>
            </a:xfrm>
            <a:custGeom>
              <a:avLst/>
              <a:gdLst>
                <a:gd name="connsiteX0" fmla="*/ 1992 w 1992"/>
                <a:gd name="connsiteY0" fmla="*/ 2189 h 2188"/>
                <a:gd name="connsiteX1" fmla="*/ 0 w 1992"/>
                <a:gd name="connsiteY1" fmla="*/ 0 h 2188"/>
                <a:gd name="connsiteX2" fmla="*/ 1992 w 1992"/>
                <a:gd name="connsiteY2" fmla="*/ 2189 h 2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2" h="2188">
                  <a:moveTo>
                    <a:pt x="1992" y="2189"/>
                  </a:moveTo>
                  <a:cubicBezTo>
                    <a:pt x="1156" y="1642"/>
                    <a:pt x="468" y="886"/>
                    <a:pt x="0" y="0"/>
                  </a:cubicBezTo>
                  <a:cubicBezTo>
                    <a:pt x="926" y="438"/>
                    <a:pt x="1644" y="1224"/>
                    <a:pt x="1992" y="2189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19" name="Freeform: Shape 1618">
              <a:extLst>
                <a:ext uri="{FF2B5EF4-FFF2-40B4-BE49-F238E27FC236}">
                  <a16:creationId xmlns:a16="http://schemas.microsoft.com/office/drawing/2014/main" id="{D15C2A6F-F7E3-40A1-A003-4C66F3F11903}"/>
                </a:ext>
              </a:extLst>
            </p:cNvPr>
            <p:cNvSpPr/>
            <p:nvPr/>
          </p:nvSpPr>
          <p:spPr>
            <a:xfrm>
              <a:off x="2280470" y="2527513"/>
              <a:ext cx="159" cy="2288"/>
            </a:xfrm>
            <a:custGeom>
              <a:avLst/>
              <a:gdLst>
                <a:gd name="connsiteX0" fmla="*/ 115 w 159"/>
                <a:gd name="connsiteY0" fmla="*/ 0 h 2288"/>
                <a:gd name="connsiteX1" fmla="*/ 115 w 159"/>
                <a:gd name="connsiteY1" fmla="*/ 1095 h 2288"/>
                <a:gd name="connsiteX2" fmla="*/ 115 w 159"/>
                <a:gd name="connsiteY2" fmla="*/ 2288 h 2288"/>
                <a:gd name="connsiteX3" fmla="*/ 115 w 159"/>
                <a:gd name="connsiteY3" fmla="*/ 0 h 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9" h="2288">
                  <a:moveTo>
                    <a:pt x="115" y="0"/>
                  </a:moveTo>
                  <a:cubicBezTo>
                    <a:pt x="175" y="358"/>
                    <a:pt x="175" y="736"/>
                    <a:pt x="115" y="1095"/>
                  </a:cubicBezTo>
                  <a:cubicBezTo>
                    <a:pt x="85" y="1492"/>
                    <a:pt x="85" y="1890"/>
                    <a:pt x="115" y="2288"/>
                  </a:cubicBezTo>
                  <a:cubicBezTo>
                    <a:pt x="-84" y="1393"/>
                    <a:pt x="15" y="696"/>
                    <a:pt x="115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0" name="Freeform: Shape 1619">
              <a:extLst>
                <a:ext uri="{FF2B5EF4-FFF2-40B4-BE49-F238E27FC236}">
                  <a16:creationId xmlns:a16="http://schemas.microsoft.com/office/drawing/2014/main" id="{562069A3-12C2-4B2A-9B3C-0329F81AE8D1}"/>
                </a:ext>
              </a:extLst>
            </p:cNvPr>
            <p:cNvSpPr/>
            <p:nvPr/>
          </p:nvSpPr>
          <p:spPr>
            <a:xfrm>
              <a:off x="2296528" y="2597846"/>
              <a:ext cx="49822" cy="104"/>
            </a:xfrm>
            <a:custGeom>
              <a:avLst/>
              <a:gdLst>
                <a:gd name="connsiteX0" fmla="*/ 0 w 49822"/>
                <a:gd name="connsiteY0" fmla="*/ 105 h 104"/>
                <a:gd name="connsiteX1" fmla="*/ 49822 w 49822"/>
                <a:gd name="connsiteY1" fmla="*/ 105 h 104"/>
                <a:gd name="connsiteX2" fmla="*/ 1295 w 49822"/>
                <a:gd name="connsiteY2" fmla="*/ 105 h 104"/>
                <a:gd name="connsiteX3" fmla="*/ 0 w 49822"/>
                <a:gd name="connsiteY3" fmla="*/ 105 h 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822" h="104">
                  <a:moveTo>
                    <a:pt x="0" y="105"/>
                  </a:moveTo>
                  <a:lnTo>
                    <a:pt x="49822" y="105"/>
                  </a:lnTo>
                  <a:lnTo>
                    <a:pt x="1295" y="105"/>
                  </a:lnTo>
                  <a:cubicBezTo>
                    <a:pt x="877" y="-35"/>
                    <a:pt x="418" y="-35"/>
                    <a:pt x="0" y="10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1" name="Freeform: Shape 1620">
              <a:extLst>
                <a:ext uri="{FF2B5EF4-FFF2-40B4-BE49-F238E27FC236}">
                  <a16:creationId xmlns:a16="http://schemas.microsoft.com/office/drawing/2014/main" id="{EB7E8B76-0C8A-4814-B226-A8F64418426D}"/>
                </a:ext>
              </a:extLst>
            </p:cNvPr>
            <p:cNvSpPr/>
            <p:nvPr/>
          </p:nvSpPr>
          <p:spPr>
            <a:xfrm>
              <a:off x="2350734" y="2507815"/>
              <a:ext cx="9964" cy="1856"/>
            </a:xfrm>
            <a:custGeom>
              <a:avLst/>
              <a:gdLst>
                <a:gd name="connsiteX0" fmla="*/ 9964 w 9964"/>
                <a:gd name="connsiteY0" fmla="*/ 0 h 1856"/>
                <a:gd name="connsiteX1" fmla="*/ 0 w 9964"/>
                <a:gd name="connsiteY1" fmla="*/ 497 h 1856"/>
                <a:gd name="connsiteX2" fmla="*/ 9964 w 9964"/>
                <a:gd name="connsiteY2" fmla="*/ 0 h 1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64" h="1856">
                  <a:moveTo>
                    <a:pt x="9964" y="0"/>
                  </a:moveTo>
                  <a:cubicBezTo>
                    <a:pt x="7094" y="2278"/>
                    <a:pt x="3089" y="2477"/>
                    <a:pt x="0" y="497"/>
                  </a:cubicBezTo>
                  <a:cubicBezTo>
                    <a:pt x="3169" y="2119"/>
                    <a:pt x="6975" y="1930"/>
                    <a:pt x="9964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2" name="Freeform: Shape 1621">
              <a:extLst>
                <a:ext uri="{FF2B5EF4-FFF2-40B4-BE49-F238E27FC236}">
                  <a16:creationId xmlns:a16="http://schemas.microsoft.com/office/drawing/2014/main" id="{80B5591E-4ED6-4C84-8306-0CF98FAFCFE9}"/>
                </a:ext>
              </a:extLst>
            </p:cNvPr>
            <p:cNvSpPr/>
            <p:nvPr/>
          </p:nvSpPr>
          <p:spPr>
            <a:xfrm>
              <a:off x="2386208" y="2447127"/>
              <a:ext cx="7174" cy="1293"/>
            </a:xfrm>
            <a:custGeom>
              <a:avLst/>
              <a:gdLst>
                <a:gd name="connsiteX0" fmla="*/ 0 w 7174"/>
                <a:gd name="connsiteY0" fmla="*/ 1293 h 1293"/>
                <a:gd name="connsiteX1" fmla="*/ 7175 w 7174"/>
                <a:gd name="connsiteY1" fmla="*/ 0 h 1293"/>
                <a:gd name="connsiteX2" fmla="*/ 0 w 7174"/>
                <a:gd name="connsiteY2" fmla="*/ 1293 h 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74" h="1293">
                  <a:moveTo>
                    <a:pt x="0" y="1293"/>
                  </a:moveTo>
                  <a:lnTo>
                    <a:pt x="7175" y="0"/>
                  </a:lnTo>
                  <a:cubicBezTo>
                    <a:pt x="4584" y="597"/>
                    <a:pt x="2093" y="895"/>
                    <a:pt x="0" y="1293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3" name="Freeform: Shape 1622">
              <a:extLst>
                <a:ext uri="{FF2B5EF4-FFF2-40B4-BE49-F238E27FC236}">
                  <a16:creationId xmlns:a16="http://schemas.microsoft.com/office/drawing/2014/main" id="{17FEF39B-208C-40ED-8672-FFC9DC0305A1}"/>
                </a:ext>
              </a:extLst>
            </p:cNvPr>
            <p:cNvSpPr/>
            <p:nvPr/>
          </p:nvSpPr>
          <p:spPr>
            <a:xfrm>
              <a:off x="2400258" y="2409621"/>
              <a:ext cx="2689" cy="4576"/>
            </a:xfrm>
            <a:custGeom>
              <a:avLst/>
              <a:gdLst>
                <a:gd name="connsiteX0" fmla="*/ 2690 w 2689"/>
                <a:gd name="connsiteY0" fmla="*/ 0 h 4576"/>
                <a:gd name="connsiteX1" fmla="*/ 0 w 2689"/>
                <a:gd name="connsiteY1" fmla="*/ 4577 h 4576"/>
                <a:gd name="connsiteX2" fmla="*/ 1992 w 2689"/>
                <a:gd name="connsiteY2" fmla="*/ 498 h 4576"/>
                <a:gd name="connsiteX3" fmla="*/ 2690 w 2689"/>
                <a:gd name="connsiteY3" fmla="*/ 0 h 4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9" h="4576">
                  <a:moveTo>
                    <a:pt x="2690" y="0"/>
                  </a:moveTo>
                  <a:cubicBezTo>
                    <a:pt x="1485" y="1323"/>
                    <a:pt x="567" y="2885"/>
                    <a:pt x="0" y="4577"/>
                  </a:cubicBezTo>
                  <a:cubicBezTo>
                    <a:pt x="139" y="3015"/>
                    <a:pt x="847" y="1562"/>
                    <a:pt x="1992" y="498"/>
                  </a:cubicBezTo>
                  <a:cubicBezTo>
                    <a:pt x="1992" y="498"/>
                    <a:pt x="2491" y="298"/>
                    <a:pt x="269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4" name="Freeform: Shape 1623">
              <a:extLst>
                <a:ext uri="{FF2B5EF4-FFF2-40B4-BE49-F238E27FC236}">
                  <a16:creationId xmlns:a16="http://schemas.microsoft.com/office/drawing/2014/main" id="{A25E4662-375D-49D5-A8D7-B22B227109AA}"/>
                </a:ext>
              </a:extLst>
            </p:cNvPr>
            <p:cNvSpPr/>
            <p:nvPr/>
          </p:nvSpPr>
          <p:spPr>
            <a:xfrm>
              <a:off x="2400955" y="2423748"/>
              <a:ext cx="5081" cy="8456"/>
            </a:xfrm>
            <a:custGeom>
              <a:avLst/>
              <a:gdLst>
                <a:gd name="connsiteX0" fmla="*/ 0 w 5081"/>
                <a:gd name="connsiteY0" fmla="*/ 0 h 8456"/>
                <a:gd name="connsiteX1" fmla="*/ 5082 w 5081"/>
                <a:gd name="connsiteY1" fmla="*/ 8456 h 8456"/>
                <a:gd name="connsiteX2" fmla="*/ 1295 w 5081"/>
                <a:gd name="connsiteY2" fmla="*/ 5372 h 8456"/>
                <a:gd name="connsiteX3" fmla="*/ 0 w 5081"/>
                <a:gd name="connsiteY3" fmla="*/ 0 h 8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81" h="8456">
                  <a:moveTo>
                    <a:pt x="0" y="0"/>
                  </a:moveTo>
                  <a:cubicBezTo>
                    <a:pt x="1295" y="2587"/>
                    <a:pt x="3189" y="5372"/>
                    <a:pt x="5082" y="8456"/>
                  </a:cubicBezTo>
                  <a:cubicBezTo>
                    <a:pt x="3986" y="7233"/>
                    <a:pt x="2711" y="6198"/>
                    <a:pt x="1295" y="5372"/>
                  </a:cubicBezTo>
                  <a:cubicBezTo>
                    <a:pt x="997" y="3880"/>
                    <a:pt x="399" y="1990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5" name="Freeform: Shape 1624">
              <a:extLst>
                <a:ext uri="{FF2B5EF4-FFF2-40B4-BE49-F238E27FC236}">
                  <a16:creationId xmlns:a16="http://schemas.microsoft.com/office/drawing/2014/main" id="{7B225F2A-DDF7-44FF-BDFC-92FB1CEE456F}"/>
                </a:ext>
              </a:extLst>
            </p:cNvPr>
            <p:cNvSpPr/>
            <p:nvPr/>
          </p:nvSpPr>
          <p:spPr>
            <a:xfrm>
              <a:off x="2412215" y="2592280"/>
              <a:ext cx="2094" cy="5969"/>
            </a:xfrm>
            <a:custGeom>
              <a:avLst/>
              <a:gdLst>
                <a:gd name="connsiteX0" fmla="*/ 0 w 2094"/>
                <a:gd name="connsiteY0" fmla="*/ 5969 h 5969"/>
                <a:gd name="connsiteX1" fmla="*/ 2093 w 2094"/>
                <a:gd name="connsiteY1" fmla="*/ 0 h 5969"/>
                <a:gd name="connsiteX2" fmla="*/ 0 w 2094"/>
                <a:gd name="connsiteY2" fmla="*/ 5969 h 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4" h="5969">
                  <a:moveTo>
                    <a:pt x="0" y="5969"/>
                  </a:moveTo>
                  <a:cubicBezTo>
                    <a:pt x="1146" y="4169"/>
                    <a:pt x="1863" y="2129"/>
                    <a:pt x="2093" y="0"/>
                  </a:cubicBezTo>
                  <a:cubicBezTo>
                    <a:pt x="2132" y="2179"/>
                    <a:pt x="1395" y="4298"/>
                    <a:pt x="0" y="5969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6" name="Freeform: Shape 1625">
              <a:extLst>
                <a:ext uri="{FF2B5EF4-FFF2-40B4-BE49-F238E27FC236}">
                  <a16:creationId xmlns:a16="http://schemas.microsoft.com/office/drawing/2014/main" id="{93449A62-F2FF-4E7D-8ECD-17ECDD15D8CF}"/>
                </a:ext>
              </a:extLst>
            </p:cNvPr>
            <p:cNvSpPr/>
            <p:nvPr/>
          </p:nvSpPr>
          <p:spPr>
            <a:xfrm>
              <a:off x="2427473" y="2375696"/>
              <a:ext cx="2976" cy="5869"/>
            </a:xfrm>
            <a:custGeom>
              <a:avLst/>
              <a:gdLst>
                <a:gd name="connsiteX0" fmla="*/ 2977 w 2976"/>
                <a:gd name="connsiteY0" fmla="*/ 0 h 5869"/>
                <a:gd name="connsiteX1" fmla="*/ 286 w 2976"/>
                <a:gd name="connsiteY1" fmla="*/ 5870 h 5869"/>
                <a:gd name="connsiteX2" fmla="*/ 2977 w 2976"/>
                <a:gd name="connsiteY2" fmla="*/ 0 h 5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76" h="5869">
                  <a:moveTo>
                    <a:pt x="2977" y="0"/>
                  </a:moveTo>
                  <a:cubicBezTo>
                    <a:pt x="1063" y="1313"/>
                    <a:pt x="27" y="3571"/>
                    <a:pt x="286" y="5870"/>
                  </a:cubicBezTo>
                  <a:cubicBezTo>
                    <a:pt x="-590" y="3512"/>
                    <a:pt x="615" y="885"/>
                    <a:pt x="2977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7" name="Freeform: Shape 1626">
              <a:extLst>
                <a:ext uri="{FF2B5EF4-FFF2-40B4-BE49-F238E27FC236}">
                  <a16:creationId xmlns:a16="http://schemas.microsoft.com/office/drawing/2014/main" id="{2D69C6A0-7425-4B59-8030-FF11005F9950}"/>
                </a:ext>
              </a:extLst>
            </p:cNvPr>
            <p:cNvSpPr/>
            <p:nvPr/>
          </p:nvSpPr>
          <p:spPr>
            <a:xfrm>
              <a:off x="2428457" y="2387733"/>
              <a:ext cx="2690" cy="6267"/>
            </a:xfrm>
            <a:custGeom>
              <a:avLst/>
              <a:gdLst>
                <a:gd name="connsiteX0" fmla="*/ 1196 w 2690"/>
                <a:gd name="connsiteY0" fmla="*/ 0 h 6267"/>
                <a:gd name="connsiteX1" fmla="*/ 2691 w 2690"/>
                <a:gd name="connsiteY1" fmla="*/ 2487 h 6267"/>
                <a:gd name="connsiteX2" fmla="*/ 0 w 2690"/>
                <a:gd name="connsiteY2" fmla="*/ 6268 h 6267"/>
                <a:gd name="connsiteX3" fmla="*/ 1196 w 2690"/>
                <a:gd name="connsiteY3" fmla="*/ 0 h 6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0" h="6267">
                  <a:moveTo>
                    <a:pt x="1196" y="0"/>
                  </a:moveTo>
                  <a:cubicBezTo>
                    <a:pt x="1575" y="895"/>
                    <a:pt x="2073" y="1731"/>
                    <a:pt x="2691" y="2487"/>
                  </a:cubicBezTo>
                  <a:cubicBezTo>
                    <a:pt x="2152" y="3969"/>
                    <a:pt x="1225" y="5273"/>
                    <a:pt x="0" y="6268"/>
                  </a:cubicBezTo>
                  <a:cubicBezTo>
                    <a:pt x="1555" y="4576"/>
                    <a:pt x="2013" y="2149"/>
                    <a:pt x="1196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8" name="Freeform: Shape 1627">
              <a:extLst>
                <a:ext uri="{FF2B5EF4-FFF2-40B4-BE49-F238E27FC236}">
                  <a16:creationId xmlns:a16="http://schemas.microsoft.com/office/drawing/2014/main" id="{877CACBF-8F28-4573-B353-43A61E3A927D}"/>
                </a:ext>
              </a:extLst>
            </p:cNvPr>
            <p:cNvSpPr/>
            <p:nvPr/>
          </p:nvSpPr>
          <p:spPr>
            <a:xfrm>
              <a:off x="2696200" y="2317197"/>
              <a:ext cx="8968" cy="962"/>
            </a:xfrm>
            <a:custGeom>
              <a:avLst/>
              <a:gdLst>
                <a:gd name="connsiteX0" fmla="*/ 8968 w 8968"/>
                <a:gd name="connsiteY0" fmla="*/ 0 h 962"/>
                <a:gd name="connsiteX1" fmla="*/ 0 w 8968"/>
                <a:gd name="connsiteY1" fmla="*/ 696 h 962"/>
                <a:gd name="connsiteX2" fmla="*/ 8968 w 8968"/>
                <a:gd name="connsiteY2" fmla="*/ 0 h 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968" h="962">
                  <a:moveTo>
                    <a:pt x="8968" y="0"/>
                  </a:moveTo>
                  <a:cubicBezTo>
                    <a:pt x="6079" y="975"/>
                    <a:pt x="3000" y="1214"/>
                    <a:pt x="0" y="696"/>
                  </a:cubicBezTo>
                  <a:cubicBezTo>
                    <a:pt x="3000" y="1214"/>
                    <a:pt x="6079" y="975"/>
                    <a:pt x="8968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29" name="Freeform: Shape 1628">
              <a:extLst>
                <a:ext uri="{FF2B5EF4-FFF2-40B4-BE49-F238E27FC236}">
                  <a16:creationId xmlns:a16="http://schemas.microsoft.com/office/drawing/2014/main" id="{D595CD92-9A92-4149-AE5A-9DC7459F3204}"/>
                </a:ext>
              </a:extLst>
            </p:cNvPr>
            <p:cNvSpPr/>
            <p:nvPr/>
          </p:nvSpPr>
          <p:spPr>
            <a:xfrm>
              <a:off x="2713837" y="2299787"/>
              <a:ext cx="2790" cy="8754"/>
            </a:xfrm>
            <a:custGeom>
              <a:avLst/>
              <a:gdLst>
                <a:gd name="connsiteX0" fmla="*/ 0 w 2790"/>
                <a:gd name="connsiteY0" fmla="*/ 8755 h 8754"/>
                <a:gd name="connsiteX1" fmla="*/ 2790 w 2790"/>
                <a:gd name="connsiteY1" fmla="*/ 0 h 8754"/>
                <a:gd name="connsiteX2" fmla="*/ 0 w 2790"/>
                <a:gd name="connsiteY2" fmla="*/ 8755 h 8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90" h="8754">
                  <a:moveTo>
                    <a:pt x="0" y="8755"/>
                  </a:moveTo>
                  <a:cubicBezTo>
                    <a:pt x="1096" y="5870"/>
                    <a:pt x="1794" y="2786"/>
                    <a:pt x="2790" y="0"/>
                  </a:cubicBezTo>
                  <a:cubicBezTo>
                    <a:pt x="2023" y="2965"/>
                    <a:pt x="1096" y="5889"/>
                    <a:pt x="0" y="875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0" name="Freeform: Shape 1629">
              <a:extLst>
                <a:ext uri="{FF2B5EF4-FFF2-40B4-BE49-F238E27FC236}">
                  <a16:creationId xmlns:a16="http://schemas.microsoft.com/office/drawing/2014/main" id="{4A2E4398-21F0-4352-89E7-B0E2504132F9}"/>
                </a:ext>
              </a:extLst>
            </p:cNvPr>
            <p:cNvSpPr/>
            <p:nvPr/>
          </p:nvSpPr>
          <p:spPr>
            <a:xfrm>
              <a:off x="2720613" y="2289838"/>
              <a:ext cx="3587" cy="2188"/>
            </a:xfrm>
            <a:custGeom>
              <a:avLst/>
              <a:gdLst>
                <a:gd name="connsiteX0" fmla="*/ 1495 w 3587"/>
                <a:gd name="connsiteY0" fmla="*/ 0 h 2188"/>
                <a:gd name="connsiteX1" fmla="*/ 3587 w 3587"/>
                <a:gd name="connsiteY1" fmla="*/ 0 h 2188"/>
                <a:gd name="connsiteX2" fmla="*/ 0 w 3587"/>
                <a:gd name="connsiteY2" fmla="*/ 2189 h 2188"/>
                <a:gd name="connsiteX3" fmla="*/ 1495 w 3587"/>
                <a:gd name="connsiteY3" fmla="*/ 0 h 2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87" h="2188">
                  <a:moveTo>
                    <a:pt x="1495" y="0"/>
                  </a:moveTo>
                  <a:cubicBezTo>
                    <a:pt x="2192" y="90"/>
                    <a:pt x="2889" y="90"/>
                    <a:pt x="3587" y="0"/>
                  </a:cubicBezTo>
                  <a:cubicBezTo>
                    <a:pt x="2282" y="527"/>
                    <a:pt x="1066" y="1263"/>
                    <a:pt x="0" y="2189"/>
                  </a:cubicBezTo>
                  <a:cubicBezTo>
                    <a:pt x="339" y="1363"/>
                    <a:pt x="847" y="617"/>
                    <a:pt x="1495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1" name="Freeform: Shape 1630">
              <a:extLst>
                <a:ext uri="{FF2B5EF4-FFF2-40B4-BE49-F238E27FC236}">
                  <a16:creationId xmlns:a16="http://schemas.microsoft.com/office/drawing/2014/main" id="{33518264-8052-41EB-8A0D-E796F7E6D0DA}"/>
                </a:ext>
              </a:extLst>
            </p:cNvPr>
            <p:cNvSpPr/>
            <p:nvPr/>
          </p:nvSpPr>
          <p:spPr>
            <a:xfrm>
              <a:off x="2729482" y="2283670"/>
              <a:ext cx="5580" cy="3979"/>
            </a:xfrm>
            <a:custGeom>
              <a:avLst/>
              <a:gdLst>
                <a:gd name="connsiteX0" fmla="*/ 0 w 5580"/>
                <a:gd name="connsiteY0" fmla="*/ 3979 h 3979"/>
                <a:gd name="connsiteX1" fmla="*/ 5580 w 5580"/>
                <a:gd name="connsiteY1" fmla="*/ 0 h 3979"/>
                <a:gd name="connsiteX2" fmla="*/ 3587 w 5580"/>
                <a:gd name="connsiteY2" fmla="*/ 3084 h 3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80" h="3979">
                  <a:moveTo>
                    <a:pt x="0" y="3979"/>
                  </a:moveTo>
                  <a:cubicBezTo>
                    <a:pt x="1983" y="2835"/>
                    <a:pt x="3856" y="1502"/>
                    <a:pt x="5580" y="0"/>
                  </a:cubicBezTo>
                  <a:cubicBezTo>
                    <a:pt x="4683" y="856"/>
                    <a:pt x="3996" y="1910"/>
                    <a:pt x="3587" y="308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2" name="Freeform: Shape 1631">
              <a:extLst>
                <a:ext uri="{FF2B5EF4-FFF2-40B4-BE49-F238E27FC236}">
                  <a16:creationId xmlns:a16="http://schemas.microsoft.com/office/drawing/2014/main" id="{2F56FB1C-3ED9-4C4B-BC1C-4FAAC2917020}"/>
                </a:ext>
              </a:extLst>
            </p:cNvPr>
            <p:cNvSpPr/>
            <p:nvPr/>
          </p:nvSpPr>
          <p:spPr>
            <a:xfrm>
              <a:off x="2740996" y="2255017"/>
              <a:ext cx="81" cy="1890"/>
            </a:xfrm>
            <a:custGeom>
              <a:avLst/>
              <a:gdLst>
                <a:gd name="connsiteX0" fmla="*/ 44 w 81"/>
                <a:gd name="connsiteY0" fmla="*/ 895 h 1890"/>
                <a:gd name="connsiteX1" fmla="*/ 44 w 81"/>
                <a:gd name="connsiteY1" fmla="*/ 1890 h 1890"/>
                <a:gd name="connsiteX2" fmla="*/ 44 w 81"/>
                <a:gd name="connsiteY2" fmla="*/ 0 h 1890"/>
                <a:gd name="connsiteX3" fmla="*/ 44 w 81"/>
                <a:gd name="connsiteY3" fmla="*/ 895 h 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" h="1890">
                  <a:moveTo>
                    <a:pt x="44" y="895"/>
                  </a:moveTo>
                  <a:cubicBezTo>
                    <a:pt x="44" y="895"/>
                    <a:pt x="44" y="1492"/>
                    <a:pt x="44" y="1890"/>
                  </a:cubicBezTo>
                  <a:cubicBezTo>
                    <a:pt x="94" y="1263"/>
                    <a:pt x="94" y="627"/>
                    <a:pt x="44" y="0"/>
                  </a:cubicBezTo>
                  <a:cubicBezTo>
                    <a:pt x="44" y="0"/>
                    <a:pt x="-55" y="696"/>
                    <a:pt x="44" y="89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3" name="Freeform: Shape 1632">
              <a:extLst>
                <a:ext uri="{FF2B5EF4-FFF2-40B4-BE49-F238E27FC236}">
                  <a16:creationId xmlns:a16="http://schemas.microsoft.com/office/drawing/2014/main" id="{F5BDCC15-F3AA-49D5-ADB4-15843D06AB49}"/>
                </a:ext>
              </a:extLst>
            </p:cNvPr>
            <p:cNvSpPr/>
            <p:nvPr/>
          </p:nvSpPr>
          <p:spPr>
            <a:xfrm>
              <a:off x="2740442" y="2246262"/>
              <a:ext cx="1395" cy="3282"/>
            </a:xfrm>
            <a:custGeom>
              <a:avLst/>
              <a:gdLst>
                <a:gd name="connsiteX0" fmla="*/ 1395 w 1395"/>
                <a:gd name="connsiteY0" fmla="*/ 0 h 3282"/>
                <a:gd name="connsiteX1" fmla="*/ 0 w 1395"/>
                <a:gd name="connsiteY1" fmla="*/ 3283 h 3282"/>
                <a:gd name="connsiteX2" fmla="*/ 0 w 1395"/>
                <a:gd name="connsiteY2" fmla="*/ 696 h 3282"/>
                <a:gd name="connsiteX3" fmla="*/ 1395 w 1395"/>
                <a:gd name="connsiteY3" fmla="*/ 0 h 3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5" h="3282">
                  <a:moveTo>
                    <a:pt x="1395" y="0"/>
                  </a:moveTo>
                  <a:cubicBezTo>
                    <a:pt x="538" y="885"/>
                    <a:pt x="40" y="2049"/>
                    <a:pt x="0" y="3283"/>
                  </a:cubicBezTo>
                  <a:cubicBezTo>
                    <a:pt x="0" y="2288"/>
                    <a:pt x="0" y="1393"/>
                    <a:pt x="0" y="696"/>
                  </a:cubicBezTo>
                  <a:cubicBezTo>
                    <a:pt x="438" y="408"/>
                    <a:pt x="907" y="179"/>
                    <a:pt x="1395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4" name="Freeform: Shape 1633">
              <a:extLst>
                <a:ext uri="{FF2B5EF4-FFF2-40B4-BE49-F238E27FC236}">
                  <a16:creationId xmlns:a16="http://schemas.microsoft.com/office/drawing/2014/main" id="{48FEED94-6BA7-4AFC-A751-951907262F39}"/>
                </a:ext>
              </a:extLst>
            </p:cNvPr>
            <p:cNvSpPr/>
            <p:nvPr/>
          </p:nvSpPr>
          <p:spPr>
            <a:xfrm>
              <a:off x="2741040" y="2263374"/>
              <a:ext cx="897" cy="4277"/>
            </a:xfrm>
            <a:custGeom>
              <a:avLst/>
              <a:gdLst>
                <a:gd name="connsiteX0" fmla="*/ 100 w 897"/>
                <a:gd name="connsiteY0" fmla="*/ 0 h 4277"/>
                <a:gd name="connsiteX1" fmla="*/ 897 w 897"/>
                <a:gd name="connsiteY1" fmla="*/ 4278 h 4277"/>
                <a:gd name="connsiteX2" fmla="*/ 0 w 897"/>
                <a:gd name="connsiteY2" fmla="*/ 2487 h 4277"/>
                <a:gd name="connsiteX3" fmla="*/ 100 w 897"/>
                <a:gd name="connsiteY3" fmla="*/ 0 h 4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" h="4277">
                  <a:moveTo>
                    <a:pt x="100" y="0"/>
                  </a:moveTo>
                  <a:cubicBezTo>
                    <a:pt x="100" y="1393"/>
                    <a:pt x="100" y="2885"/>
                    <a:pt x="897" y="4278"/>
                  </a:cubicBezTo>
                  <a:lnTo>
                    <a:pt x="0" y="2487"/>
                  </a:lnTo>
                  <a:cubicBezTo>
                    <a:pt x="0" y="1791"/>
                    <a:pt x="100" y="995"/>
                    <a:pt x="10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5" name="Freeform: Shape 1634">
              <a:extLst>
                <a:ext uri="{FF2B5EF4-FFF2-40B4-BE49-F238E27FC236}">
                  <a16:creationId xmlns:a16="http://schemas.microsoft.com/office/drawing/2014/main" id="{0E30E0DC-7B04-490D-8FC3-D15A213B9C8C}"/>
                </a:ext>
              </a:extLst>
            </p:cNvPr>
            <p:cNvSpPr/>
            <p:nvPr/>
          </p:nvSpPr>
          <p:spPr>
            <a:xfrm>
              <a:off x="2743332" y="2272328"/>
              <a:ext cx="697" cy="2885"/>
            </a:xfrm>
            <a:custGeom>
              <a:avLst/>
              <a:gdLst>
                <a:gd name="connsiteX0" fmla="*/ 99 w 697"/>
                <a:gd name="connsiteY0" fmla="*/ 0 h 2885"/>
                <a:gd name="connsiteX1" fmla="*/ 698 w 697"/>
                <a:gd name="connsiteY1" fmla="*/ 1592 h 2885"/>
                <a:gd name="connsiteX2" fmla="*/ 0 w 697"/>
                <a:gd name="connsiteY2" fmla="*/ 2885 h 2885"/>
                <a:gd name="connsiteX3" fmla="*/ 99 w 697"/>
                <a:gd name="connsiteY3" fmla="*/ 0 h 2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7" h="2885">
                  <a:moveTo>
                    <a:pt x="99" y="0"/>
                  </a:moveTo>
                  <a:cubicBezTo>
                    <a:pt x="239" y="547"/>
                    <a:pt x="438" y="1085"/>
                    <a:pt x="698" y="1592"/>
                  </a:cubicBezTo>
                  <a:cubicBezTo>
                    <a:pt x="528" y="2049"/>
                    <a:pt x="289" y="2487"/>
                    <a:pt x="0" y="2885"/>
                  </a:cubicBezTo>
                  <a:cubicBezTo>
                    <a:pt x="189" y="1930"/>
                    <a:pt x="219" y="965"/>
                    <a:pt x="99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6" name="Freeform: Shape 1635">
              <a:extLst>
                <a:ext uri="{FF2B5EF4-FFF2-40B4-BE49-F238E27FC236}">
                  <a16:creationId xmlns:a16="http://schemas.microsoft.com/office/drawing/2014/main" id="{F728D99A-6035-460D-9933-EA993B101942}"/>
                </a:ext>
              </a:extLst>
            </p:cNvPr>
            <p:cNvSpPr/>
            <p:nvPr/>
          </p:nvSpPr>
          <p:spPr>
            <a:xfrm>
              <a:off x="2749510" y="2243405"/>
              <a:ext cx="9964" cy="470"/>
            </a:xfrm>
            <a:custGeom>
              <a:avLst/>
              <a:gdLst>
                <a:gd name="connsiteX0" fmla="*/ 0 w 9964"/>
                <a:gd name="connsiteY0" fmla="*/ 470 h 470"/>
                <a:gd name="connsiteX1" fmla="*/ 9964 w 9964"/>
                <a:gd name="connsiteY1" fmla="*/ 470 h 470"/>
                <a:gd name="connsiteX2" fmla="*/ 0 w 9964"/>
                <a:gd name="connsiteY2" fmla="*/ 470 h 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64" h="470">
                  <a:moveTo>
                    <a:pt x="0" y="470"/>
                  </a:moveTo>
                  <a:cubicBezTo>
                    <a:pt x="3288" y="-157"/>
                    <a:pt x="6676" y="-157"/>
                    <a:pt x="9964" y="470"/>
                  </a:cubicBezTo>
                  <a:cubicBezTo>
                    <a:pt x="6656" y="112"/>
                    <a:pt x="3308" y="112"/>
                    <a:pt x="0" y="47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7" name="Freeform: Shape 1636">
              <a:extLst>
                <a:ext uri="{FF2B5EF4-FFF2-40B4-BE49-F238E27FC236}">
                  <a16:creationId xmlns:a16="http://schemas.microsoft.com/office/drawing/2014/main" id="{0AB79AE8-7106-4B07-8407-2FA6223FFCCF}"/>
                </a:ext>
              </a:extLst>
            </p:cNvPr>
            <p:cNvSpPr/>
            <p:nvPr/>
          </p:nvSpPr>
          <p:spPr>
            <a:xfrm>
              <a:off x="2752400" y="2579545"/>
              <a:ext cx="107217" cy="3780"/>
            </a:xfrm>
            <a:custGeom>
              <a:avLst/>
              <a:gdLst>
                <a:gd name="connsiteX0" fmla="*/ 0 w 107217"/>
                <a:gd name="connsiteY0" fmla="*/ 0 h 3780"/>
                <a:gd name="connsiteX1" fmla="*/ 107217 w 107217"/>
                <a:gd name="connsiteY1" fmla="*/ 3781 h 3780"/>
                <a:gd name="connsiteX2" fmla="*/ 0 w 107217"/>
                <a:gd name="connsiteY2" fmla="*/ 0 h 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7217" h="3780">
                  <a:moveTo>
                    <a:pt x="0" y="0"/>
                  </a:moveTo>
                  <a:cubicBezTo>
                    <a:pt x="35872" y="0"/>
                    <a:pt x="72242" y="1691"/>
                    <a:pt x="107217" y="3781"/>
                  </a:cubicBezTo>
                  <a:cubicBezTo>
                    <a:pt x="71445" y="2487"/>
                    <a:pt x="35772" y="1194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8" name="Freeform: Shape 1637">
              <a:extLst>
                <a:ext uri="{FF2B5EF4-FFF2-40B4-BE49-F238E27FC236}">
                  <a16:creationId xmlns:a16="http://schemas.microsoft.com/office/drawing/2014/main" id="{BF1CA413-5068-4E80-B2E2-E6E57912C005}"/>
                </a:ext>
              </a:extLst>
            </p:cNvPr>
            <p:cNvSpPr/>
            <p:nvPr/>
          </p:nvSpPr>
          <p:spPr>
            <a:xfrm>
              <a:off x="2818763" y="2181794"/>
              <a:ext cx="2391" cy="2487"/>
            </a:xfrm>
            <a:custGeom>
              <a:avLst/>
              <a:gdLst>
                <a:gd name="connsiteX0" fmla="*/ 2391 w 2391"/>
                <a:gd name="connsiteY0" fmla="*/ 0 h 2487"/>
                <a:gd name="connsiteX1" fmla="*/ 0 w 2391"/>
                <a:gd name="connsiteY1" fmla="*/ 2487 h 2487"/>
                <a:gd name="connsiteX2" fmla="*/ 0 w 2391"/>
                <a:gd name="connsiteY2" fmla="*/ 2487 h 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91" h="2487">
                  <a:moveTo>
                    <a:pt x="2391" y="0"/>
                  </a:moveTo>
                  <a:cubicBezTo>
                    <a:pt x="1524" y="756"/>
                    <a:pt x="717" y="1592"/>
                    <a:pt x="0" y="2487"/>
                  </a:cubicBezTo>
                  <a:lnTo>
                    <a:pt x="0" y="2487"/>
                  </a:ln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39" name="Freeform: Shape 1638">
              <a:extLst>
                <a:ext uri="{FF2B5EF4-FFF2-40B4-BE49-F238E27FC236}">
                  <a16:creationId xmlns:a16="http://schemas.microsoft.com/office/drawing/2014/main" id="{1116292A-9AB3-4BE1-93EB-8FFA259156C1}"/>
                </a:ext>
              </a:extLst>
            </p:cNvPr>
            <p:cNvSpPr/>
            <p:nvPr/>
          </p:nvSpPr>
          <p:spPr>
            <a:xfrm>
              <a:off x="2828030" y="2178235"/>
              <a:ext cx="5480" cy="2564"/>
            </a:xfrm>
            <a:custGeom>
              <a:avLst/>
              <a:gdLst>
                <a:gd name="connsiteX0" fmla="*/ 5480 w 5480"/>
                <a:gd name="connsiteY0" fmla="*/ 2564 h 2564"/>
                <a:gd name="connsiteX1" fmla="*/ 0 w 5480"/>
                <a:gd name="connsiteY1" fmla="*/ 77 h 2564"/>
                <a:gd name="connsiteX2" fmla="*/ 4683 w 5480"/>
                <a:gd name="connsiteY2" fmla="*/ 1072 h 2564"/>
                <a:gd name="connsiteX3" fmla="*/ 5480 w 5480"/>
                <a:gd name="connsiteY3" fmla="*/ 2564 h 2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80" h="2564">
                  <a:moveTo>
                    <a:pt x="5480" y="2564"/>
                  </a:moveTo>
                  <a:cubicBezTo>
                    <a:pt x="4005" y="1112"/>
                    <a:pt x="2062" y="226"/>
                    <a:pt x="0" y="77"/>
                  </a:cubicBezTo>
                  <a:cubicBezTo>
                    <a:pt x="1634" y="-172"/>
                    <a:pt x="3298" y="187"/>
                    <a:pt x="4683" y="1072"/>
                  </a:cubicBezTo>
                  <a:cubicBezTo>
                    <a:pt x="4892" y="1599"/>
                    <a:pt x="5151" y="2097"/>
                    <a:pt x="5480" y="256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0" name="Freeform: Shape 1639">
              <a:extLst>
                <a:ext uri="{FF2B5EF4-FFF2-40B4-BE49-F238E27FC236}">
                  <a16:creationId xmlns:a16="http://schemas.microsoft.com/office/drawing/2014/main" id="{2E19E4CE-7968-4E94-8B08-2C6D8FE9561C}"/>
                </a:ext>
              </a:extLst>
            </p:cNvPr>
            <p:cNvSpPr/>
            <p:nvPr/>
          </p:nvSpPr>
          <p:spPr>
            <a:xfrm>
              <a:off x="2839688" y="2186669"/>
              <a:ext cx="5280" cy="1906"/>
            </a:xfrm>
            <a:custGeom>
              <a:avLst/>
              <a:gdLst>
                <a:gd name="connsiteX0" fmla="*/ 5281 w 5280"/>
                <a:gd name="connsiteY0" fmla="*/ 1890 h 1906"/>
                <a:gd name="connsiteX1" fmla="*/ 0 w 5280"/>
                <a:gd name="connsiteY1" fmla="*/ 0 h 1906"/>
                <a:gd name="connsiteX2" fmla="*/ 3986 w 5280"/>
                <a:gd name="connsiteY2" fmla="*/ 1592 h 1906"/>
                <a:gd name="connsiteX3" fmla="*/ 5281 w 5280"/>
                <a:gd name="connsiteY3" fmla="*/ 1890 h 1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80" h="1906">
                  <a:moveTo>
                    <a:pt x="5281" y="1890"/>
                  </a:moveTo>
                  <a:cubicBezTo>
                    <a:pt x="3358" y="1870"/>
                    <a:pt x="1495" y="1204"/>
                    <a:pt x="0" y="0"/>
                  </a:cubicBezTo>
                  <a:cubicBezTo>
                    <a:pt x="1255" y="696"/>
                    <a:pt x="2591" y="1234"/>
                    <a:pt x="3986" y="1592"/>
                  </a:cubicBezTo>
                  <a:cubicBezTo>
                    <a:pt x="4364" y="1840"/>
                    <a:pt x="4823" y="1950"/>
                    <a:pt x="5281" y="189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1" name="Freeform: Shape 1640">
              <a:extLst>
                <a:ext uri="{FF2B5EF4-FFF2-40B4-BE49-F238E27FC236}">
                  <a16:creationId xmlns:a16="http://schemas.microsoft.com/office/drawing/2014/main" id="{7C797141-E2E8-4C65-9D05-492BEEEAA7D2}"/>
                </a:ext>
              </a:extLst>
            </p:cNvPr>
            <p:cNvSpPr/>
            <p:nvPr/>
          </p:nvSpPr>
          <p:spPr>
            <a:xfrm>
              <a:off x="2860813" y="2181760"/>
              <a:ext cx="3487" cy="1228"/>
            </a:xfrm>
            <a:custGeom>
              <a:avLst/>
              <a:gdLst>
                <a:gd name="connsiteX0" fmla="*/ 3487 w 3487"/>
                <a:gd name="connsiteY0" fmla="*/ 134 h 1228"/>
                <a:gd name="connsiteX1" fmla="*/ 0 w 3487"/>
                <a:gd name="connsiteY1" fmla="*/ 1228 h 1228"/>
                <a:gd name="connsiteX2" fmla="*/ 3487 w 3487"/>
                <a:gd name="connsiteY2" fmla="*/ 134 h 1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87" h="1228">
                  <a:moveTo>
                    <a:pt x="3487" y="134"/>
                  </a:moveTo>
                  <a:cubicBezTo>
                    <a:pt x="2282" y="323"/>
                    <a:pt x="1106" y="691"/>
                    <a:pt x="0" y="1228"/>
                  </a:cubicBezTo>
                  <a:cubicBezTo>
                    <a:pt x="837" y="194"/>
                    <a:pt x="2212" y="-244"/>
                    <a:pt x="3487" y="13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2" name="Freeform: Shape 1641">
              <a:extLst>
                <a:ext uri="{FF2B5EF4-FFF2-40B4-BE49-F238E27FC236}">
                  <a16:creationId xmlns:a16="http://schemas.microsoft.com/office/drawing/2014/main" id="{CB344D8C-C98B-43D1-B21A-E98EF4F5EC0E}"/>
                </a:ext>
              </a:extLst>
            </p:cNvPr>
            <p:cNvSpPr/>
            <p:nvPr/>
          </p:nvSpPr>
          <p:spPr>
            <a:xfrm>
              <a:off x="2870577" y="2191644"/>
              <a:ext cx="3786" cy="2188"/>
            </a:xfrm>
            <a:custGeom>
              <a:avLst/>
              <a:gdLst>
                <a:gd name="connsiteX0" fmla="*/ 0 w 3786"/>
                <a:gd name="connsiteY0" fmla="*/ 0 h 2188"/>
                <a:gd name="connsiteX1" fmla="*/ 3787 w 3786"/>
                <a:gd name="connsiteY1" fmla="*/ 2188 h 2188"/>
                <a:gd name="connsiteX2" fmla="*/ 997 w 3786"/>
                <a:gd name="connsiteY2" fmla="*/ 1592 h 2188"/>
                <a:gd name="connsiteX3" fmla="*/ 0 w 3786"/>
                <a:gd name="connsiteY3" fmla="*/ 0 h 2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86" h="2188">
                  <a:moveTo>
                    <a:pt x="0" y="0"/>
                  </a:moveTo>
                  <a:cubicBezTo>
                    <a:pt x="1196" y="846"/>
                    <a:pt x="2461" y="1582"/>
                    <a:pt x="3787" y="2188"/>
                  </a:cubicBezTo>
                  <a:cubicBezTo>
                    <a:pt x="2870" y="1930"/>
                    <a:pt x="1933" y="1731"/>
                    <a:pt x="997" y="1592"/>
                  </a:cubicBezTo>
                  <a:cubicBezTo>
                    <a:pt x="628" y="1084"/>
                    <a:pt x="299" y="557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3" name="Freeform: Shape 1642">
              <a:extLst>
                <a:ext uri="{FF2B5EF4-FFF2-40B4-BE49-F238E27FC236}">
                  <a16:creationId xmlns:a16="http://schemas.microsoft.com/office/drawing/2014/main" id="{CD216705-1068-49BE-BEDC-620B0007551B}"/>
                </a:ext>
              </a:extLst>
            </p:cNvPr>
            <p:cNvSpPr/>
            <p:nvPr/>
          </p:nvSpPr>
          <p:spPr>
            <a:xfrm>
              <a:off x="2885724" y="2205970"/>
              <a:ext cx="3188" cy="7163"/>
            </a:xfrm>
            <a:custGeom>
              <a:avLst/>
              <a:gdLst>
                <a:gd name="connsiteX0" fmla="*/ 0 w 3188"/>
                <a:gd name="connsiteY0" fmla="*/ 0 h 7163"/>
                <a:gd name="connsiteX1" fmla="*/ 3189 w 3188"/>
                <a:gd name="connsiteY1" fmla="*/ 7163 h 7163"/>
                <a:gd name="connsiteX2" fmla="*/ 299 w 3188"/>
                <a:gd name="connsiteY2" fmla="*/ 2189 h 7163"/>
                <a:gd name="connsiteX3" fmla="*/ 0 w 3188"/>
                <a:gd name="connsiteY3" fmla="*/ 0 h 7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8" h="7163">
                  <a:moveTo>
                    <a:pt x="0" y="0"/>
                  </a:moveTo>
                  <a:cubicBezTo>
                    <a:pt x="996" y="2388"/>
                    <a:pt x="2093" y="4974"/>
                    <a:pt x="3189" y="7163"/>
                  </a:cubicBezTo>
                  <a:cubicBezTo>
                    <a:pt x="2132" y="5562"/>
                    <a:pt x="1166" y="3900"/>
                    <a:pt x="299" y="2189"/>
                  </a:cubicBezTo>
                  <a:cubicBezTo>
                    <a:pt x="309" y="1453"/>
                    <a:pt x="209" y="707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4" name="Freeform: Shape 1643">
              <a:extLst>
                <a:ext uri="{FF2B5EF4-FFF2-40B4-BE49-F238E27FC236}">
                  <a16:creationId xmlns:a16="http://schemas.microsoft.com/office/drawing/2014/main" id="{F5DD68F3-172A-4A3B-AFD9-BD127643F60E}"/>
                </a:ext>
              </a:extLst>
            </p:cNvPr>
            <p:cNvSpPr/>
            <p:nvPr/>
          </p:nvSpPr>
          <p:spPr>
            <a:xfrm>
              <a:off x="2892001" y="2219500"/>
              <a:ext cx="15" cy="696"/>
            </a:xfrm>
            <a:custGeom>
              <a:avLst/>
              <a:gdLst>
                <a:gd name="connsiteX0" fmla="*/ 0 w 15"/>
                <a:gd name="connsiteY0" fmla="*/ 0 h 696"/>
                <a:gd name="connsiteX1" fmla="*/ 0 w 15"/>
                <a:gd name="connsiteY1" fmla="*/ 696 h 696"/>
                <a:gd name="connsiteX2" fmla="*/ 0 w 15"/>
                <a:gd name="connsiteY2" fmla="*/ 696 h 696"/>
                <a:gd name="connsiteX3" fmla="*/ 0 w 15"/>
                <a:gd name="connsiteY3" fmla="*/ 0 h 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" h="696">
                  <a:moveTo>
                    <a:pt x="0" y="0"/>
                  </a:moveTo>
                  <a:cubicBezTo>
                    <a:pt x="0" y="0"/>
                    <a:pt x="0" y="0"/>
                    <a:pt x="0" y="696"/>
                  </a:cubicBezTo>
                  <a:lnTo>
                    <a:pt x="0" y="696"/>
                  </a:lnTo>
                  <a:cubicBezTo>
                    <a:pt x="20" y="468"/>
                    <a:pt x="20" y="229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5" name="Freeform: Shape 1644">
              <a:extLst>
                <a:ext uri="{FF2B5EF4-FFF2-40B4-BE49-F238E27FC236}">
                  <a16:creationId xmlns:a16="http://schemas.microsoft.com/office/drawing/2014/main" id="{378FAE1D-65E0-4E2D-A83F-E62FB451DCCF}"/>
                </a:ext>
              </a:extLst>
            </p:cNvPr>
            <p:cNvSpPr/>
            <p:nvPr/>
          </p:nvSpPr>
          <p:spPr>
            <a:xfrm>
              <a:off x="2952086" y="2256012"/>
              <a:ext cx="3388" cy="2686"/>
            </a:xfrm>
            <a:custGeom>
              <a:avLst/>
              <a:gdLst>
                <a:gd name="connsiteX0" fmla="*/ 3388 w 3388"/>
                <a:gd name="connsiteY0" fmla="*/ 2686 h 2686"/>
                <a:gd name="connsiteX1" fmla="*/ 0 w 3388"/>
                <a:gd name="connsiteY1" fmla="*/ 0 h 2686"/>
                <a:gd name="connsiteX2" fmla="*/ 3388 w 3388"/>
                <a:gd name="connsiteY2" fmla="*/ 2686 h 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88" h="2686">
                  <a:moveTo>
                    <a:pt x="3388" y="2686"/>
                  </a:moveTo>
                  <a:cubicBezTo>
                    <a:pt x="2123" y="1980"/>
                    <a:pt x="977" y="1074"/>
                    <a:pt x="0" y="0"/>
                  </a:cubicBezTo>
                  <a:cubicBezTo>
                    <a:pt x="997" y="1045"/>
                    <a:pt x="2143" y="1950"/>
                    <a:pt x="3388" y="2686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6" name="Freeform: Shape 1645">
              <a:extLst>
                <a:ext uri="{FF2B5EF4-FFF2-40B4-BE49-F238E27FC236}">
                  <a16:creationId xmlns:a16="http://schemas.microsoft.com/office/drawing/2014/main" id="{D854B110-4B5C-4BA6-BBE4-1C85D231107E}"/>
                </a:ext>
              </a:extLst>
            </p:cNvPr>
            <p:cNvSpPr/>
            <p:nvPr/>
          </p:nvSpPr>
          <p:spPr>
            <a:xfrm>
              <a:off x="2913524" y="2583425"/>
              <a:ext cx="49025" cy="1791"/>
            </a:xfrm>
            <a:custGeom>
              <a:avLst/>
              <a:gdLst>
                <a:gd name="connsiteX0" fmla="*/ 0 w 49025"/>
                <a:gd name="connsiteY0" fmla="*/ 1095 h 1791"/>
                <a:gd name="connsiteX1" fmla="*/ 49025 w 49025"/>
                <a:gd name="connsiteY1" fmla="*/ 0 h 1791"/>
                <a:gd name="connsiteX2" fmla="*/ 47730 w 49025"/>
                <a:gd name="connsiteY2" fmla="*/ 1791 h 1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025" h="1791">
                  <a:moveTo>
                    <a:pt x="0" y="1095"/>
                  </a:moveTo>
                  <a:cubicBezTo>
                    <a:pt x="16342" y="1095"/>
                    <a:pt x="32783" y="498"/>
                    <a:pt x="49025" y="0"/>
                  </a:cubicBezTo>
                  <a:cubicBezTo>
                    <a:pt x="48527" y="547"/>
                    <a:pt x="48098" y="1144"/>
                    <a:pt x="47730" y="1791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7" name="Freeform: Shape 1646">
              <a:extLst>
                <a:ext uri="{FF2B5EF4-FFF2-40B4-BE49-F238E27FC236}">
                  <a16:creationId xmlns:a16="http://schemas.microsoft.com/office/drawing/2014/main" id="{77D378D8-F655-42D5-96C6-353480FE4B71}"/>
                </a:ext>
              </a:extLst>
            </p:cNvPr>
            <p:cNvSpPr/>
            <p:nvPr/>
          </p:nvSpPr>
          <p:spPr>
            <a:xfrm>
              <a:off x="2963247" y="2581236"/>
              <a:ext cx="1394" cy="994"/>
            </a:xfrm>
            <a:custGeom>
              <a:avLst/>
              <a:gdLst>
                <a:gd name="connsiteX0" fmla="*/ 0 w 1394"/>
                <a:gd name="connsiteY0" fmla="*/ 995 h 994"/>
                <a:gd name="connsiteX1" fmla="*/ 1395 w 1394"/>
                <a:gd name="connsiteY1" fmla="*/ 0 h 994"/>
                <a:gd name="connsiteX2" fmla="*/ 398 w 1394"/>
                <a:gd name="connsiteY2" fmla="*/ 995 h 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4" h="994">
                  <a:moveTo>
                    <a:pt x="0" y="995"/>
                  </a:moveTo>
                  <a:lnTo>
                    <a:pt x="1395" y="0"/>
                  </a:lnTo>
                  <a:lnTo>
                    <a:pt x="398" y="995"/>
                  </a:ln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8" name="Freeform: Shape 1647">
              <a:extLst>
                <a:ext uri="{FF2B5EF4-FFF2-40B4-BE49-F238E27FC236}">
                  <a16:creationId xmlns:a16="http://schemas.microsoft.com/office/drawing/2014/main" id="{0414F912-2252-4B0F-B5DD-3FE5D91EBD4C}"/>
                </a:ext>
              </a:extLst>
            </p:cNvPr>
            <p:cNvSpPr/>
            <p:nvPr/>
          </p:nvSpPr>
          <p:spPr>
            <a:xfrm>
              <a:off x="2968328" y="2574670"/>
              <a:ext cx="7573" cy="3879"/>
            </a:xfrm>
            <a:custGeom>
              <a:avLst/>
              <a:gdLst>
                <a:gd name="connsiteX0" fmla="*/ 1893 w 7573"/>
                <a:gd name="connsiteY0" fmla="*/ 2586 h 3879"/>
                <a:gd name="connsiteX1" fmla="*/ 7573 w 7573"/>
                <a:gd name="connsiteY1" fmla="*/ 0 h 3879"/>
                <a:gd name="connsiteX2" fmla="*/ 0 w 7573"/>
                <a:gd name="connsiteY2" fmla="*/ 3880 h 3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573" h="3879">
                  <a:moveTo>
                    <a:pt x="1893" y="2586"/>
                  </a:moveTo>
                  <a:cubicBezTo>
                    <a:pt x="3638" y="1432"/>
                    <a:pt x="5550" y="557"/>
                    <a:pt x="7573" y="0"/>
                  </a:cubicBezTo>
                  <a:cubicBezTo>
                    <a:pt x="5082" y="1194"/>
                    <a:pt x="2392" y="2487"/>
                    <a:pt x="0" y="388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49" name="Freeform: Shape 1648">
              <a:extLst>
                <a:ext uri="{FF2B5EF4-FFF2-40B4-BE49-F238E27FC236}">
                  <a16:creationId xmlns:a16="http://schemas.microsoft.com/office/drawing/2014/main" id="{C5945D3C-14D5-42B1-BF9B-67EF05F0DF71}"/>
                </a:ext>
              </a:extLst>
            </p:cNvPr>
            <p:cNvSpPr/>
            <p:nvPr/>
          </p:nvSpPr>
          <p:spPr>
            <a:xfrm>
              <a:off x="2983873" y="2572377"/>
              <a:ext cx="5679" cy="328"/>
            </a:xfrm>
            <a:custGeom>
              <a:avLst/>
              <a:gdLst>
                <a:gd name="connsiteX0" fmla="*/ 0 w 5679"/>
                <a:gd name="connsiteY0" fmla="*/ 105 h 328"/>
                <a:gd name="connsiteX1" fmla="*/ 5680 w 5679"/>
                <a:gd name="connsiteY1" fmla="*/ 105 h 328"/>
                <a:gd name="connsiteX2" fmla="*/ 0 w 5679"/>
                <a:gd name="connsiteY2" fmla="*/ 105 h 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79" h="328">
                  <a:moveTo>
                    <a:pt x="0" y="105"/>
                  </a:moveTo>
                  <a:cubicBezTo>
                    <a:pt x="1893" y="-35"/>
                    <a:pt x="3787" y="-35"/>
                    <a:pt x="5680" y="105"/>
                  </a:cubicBezTo>
                  <a:cubicBezTo>
                    <a:pt x="3797" y="403"/>
                    <a:pt x="1884" y="403"/>
                    <a:pt x="0" y="105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0" name="Freeform: Shape 1649">
              <a:extLst>
                <a:ext uri="{FF2B5EF4-FFF2-40B4-BE49-F238E27FC236}">
                  <a16:creationId xmlns:a16="http://schemas.microsoft.com/office/drawing/2014/main" id="{504F005C-E710-4F08-B2B2-66A5FF9B77C4}"/>
                </a:ext>
              </a:extLst>
            </p:cNvPr>
            <p:cNvSpPr/>
            <p:nvPr/>
          </p:nvSpPr>
          <p:spPr>
            <a:xfrm>
              <a:off x="2997823" y="2565219"/>
              <a:ext cx="12455" cy="4775"/>
            </a:xfrm>
            <a:custGeom>
              <a:avLst/>
              <a:gdLst>
                <a:gd name="connsiteX0" fmla="*/ 0 w 12455"/>
                <a:gd name="connsiteY0" fmla="*/ 4776 h 4775"/>
                <a:gd name="connsiteX1" fmla="*/ 12456 w 12455"/>
                <a:gd name="connsiteY1" fmla="*/ 0 h 4775"/>
                <a:gd name="connsiteX2" fmla="*/ 0 w 12455"/>
                <a:gd name="connsiteY2" fmla="*/ 4776 h 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55" h="4775">
                  <a:moveTo>
                    <a:pt x="0" y="4776"/>
                  </a:moveTo>
                  <a:cubicBezTo>
                    <a:pt x="3687" y="3184"/>
                    <a:pt x="8071" y="1393"/>
                    <a:pt x="12456" y="0"/>
                  </a:cubicBezTo>
                  <a:cubicBezTo>
                    <a:pt x="8470" y="1492"/>
                    <a:pt x="4285" y="3383"/>
                    <a:pt x="0" y="4776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1" name="Freeform: Shape 1650">
              <a:extLst>
                <a:ext uri="{FF2B5EF4-FFF2-40B4-BE49-F238E27FC236}">
                  <a16:creationId xmlns:a16="http://schemas.microsoft.com/office/drawing/2014/main" id="{AFEFFA18-FA03-486C-A422-0D5C9C0C19F8}"/>
                </a:ext>
              </a:extLst>
            </p:cNvPr>
            <p:cNvSpPr/>
            <p:nvPr/>
          </p:nvSpPr>
          <p:spPr>
            <a:xfrm>
              <a:off x="3015958" y="2260887"/>
              <a:ext cx="4284" cy="2188"/>
            </a:xfrm>
            <a:custGeom>
              <a:avLst/>
              <a:gdLst>
                <a:gd name="connsiteX0" fmla="*/ 4285 w 4284"/>
                <a:gd name="connsiteY0" fmla="*/ 497 h 2188"/>
                <a:gd name="connsiteX1" fmla="*/ 0 w 4284"/>
                <a:gd name="connsiteY1" fmla="*/ 2189 h 2188"/>
                <a:gd name="connsiteX2" fmla="*/ 2093 w 4284"/>
                <a:gd name="connsiteY2" fmla="*/ 0 h 2188"/>
                <a:gd name="connsiteX3" fmla="*/ 4285 w 4284"/>
                <a:gd name="connsiteY3" fmla="*/ 497 h 2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4" h="2188">
                  <a:moveTo>
                    <a:pt x="4285" y="497"/>
                  </a:moveTo>
                  <a:cubicBezTo>
                    <a:pt x="2730" y="656"/>
                    <a:pt x="1246" y="1244"/>
                    <a:pt x="0" y="2189"/>
                  </a:cubicBezTo>
                  <a:lnTo>
                    <a:pt x="2093" y="0"/>
                  </a:lnTo>
                  <a:cubicBezTo>
                    <a:pt x="2790" y="278"/>
                    <a:pt x="3527" y="448"/>
                    <a:pt x="4285" y="49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2" name="Freeform: Shape 1651">
              <a:extLst>
                <a:ext uri="{FF2B5EF4-FFF2-40B4-BE49-F238E27FC236}">
                  <a16:creationId xmlns:a16="http://schemas.microsoft.com/office/drawing/2014/main" id="{B44FD2A0-4D47-49DE-A97B-B6DC2F98F46F}"/>
                </a:ext>
              </a:extLst>
            </p:cNvPr>
            <p:cNvSpPr/>
            <p:nvPr/>
          </p:nvSpPr>
          <p:spPr>
            <a:xfrm>
              <a:off x="3019845" y="2560742"/>
              <a:ext cx="7871" cy="1607"/>
            </a:xfrm>
            <a:custGeom>
              <a:avLst/>
              <a:gdLst>
                <a:gd name="connsiteX0" fmla="*/ 0 w 7871"/>
                <a:gd name="connsiteY0" fmla="*/ 1592 h 1607"/>
                <a:gd name="connsiteX1" fmla="*/ 7872 w 7871"/>
                <a:gd name="connsiteY1" fmla="*/ 0 h 1607"/>
                <a:gd name="connsiteX2" fmla="*/ 0 w 7871"/>
                <a:gd name="connsiteY2" fmla="*/ 1592 h 1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71" h="1607">
                  <a:moveTo>
                    <a:pt x="0" y="1592"/>
                  </a:moveTo>
                  <a:cubicBezTo>
                    <a:pt x="2590" y="895"/>
                    <a:pt x="5221" y="368"/>
                    <a:pt x="7872" y="0"/>
                  </a:cubicBezTo>
                  <a:cubicBezTo>
                    <a:pt x="5421" y="1164"/>
                    <a:pt x="2710" y="1711"/>
                    <a:pt x="0" y="1592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3" name="Freeform: Shape 1652">
              <a:extLst>
                <a:ext uri="{FF2B5EF4-FFF2-40B4-BE49-F238E27FC236}">
                  <a16:creationId xmlns:a16="http://schemas.microsoft.com/office/drawing/2014/main" id="{7BE80ABF-47A8-478E-8EA4-5CA8EB9FFC0C}"/>
                </a:ext>
              </a:extLst>
            </p:cNvPr>
            <p:cNvSpPr/>
            <p:nvPr/>
          </p:nvSpPr>
          <p:spPr>
            <a:xfrm>
              <a:off x="3024129" y="2260688"/>
              <a:ext cx="4484" cy="1194"/>
            </a:xfrm>
            <a:custGeom>
              <a:avLst/>
              <a:gdLst>
                <a:gd name="connsiteX0" fmla="*/ 0 w 4484"/>
                <a:gd name="connsiteY0" fmla="*/ 796 h 1194"/>
                <a:gd name="connsiteX1" fmla="*/ 4484 w 4484"/>
                <a:gd name="connsiteY1" fmla="*/ 0 h 1194"/>
                <a:gd name="connsiteX2" fmla="*/ 1893 w 4484"/>
                <a:gd name="connsiteY2" fmla="*/ 1194 h 1194"/>
                <a:gd name="connsiteX3" fmla="*/ 0 w 4484"/>
                <a:gd name="connsiteY3" fmla="*/ 796 h 1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84" h="1194">
                  <a:moveTo>
                    <a:pt x="0" y="796"/>
                  </a:moveTo>
                  <a:cubicBezTo>
                    <a:pt x="1525" y="786"/>
                    <a:pt x="3039" y="517"/>
                    <a:pt x="4484" y="0"/>
                  </a:cubicBezTo>
                  <a:cubicBezTo>
                    <a:pt x="3687" y="537"/>
                    <a:pt x="2820" y="935"/>
                    <a:pt x="1893" y="1194"/>
                  </a:cubicBezTo>
                  <a:cubicBezTo>
                    <a:pt x="1275" y="1025"/>
                    <a:pt x="637" y="896"/>
                    <a:pt x="0" y="796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4" name="Freeform: Shape 1653">
              <a:extLst>
                <a:ext uri="{FF2B5EF4-FFF2-40B4-BE49-F238E27FC236}">
                  <a16:creationId xmlns:a16="http://schemas.microsoft.com/office/drawing/2014/main" id="{27FC5F55-8944-46E0-9736-6795C6DDD4BD}"/>
                </a:ext>
              </a:extLst>
            </p:cNvPr>
            <p:cNvSpPr/>
            <p:nvPr/>
          </p:nvSpPr>
          <p:spPr>
            <a:xfrm>
              <a:off x="3032998" y="2247058"/>
              <a:ext cx="10960" cy="9351"/>
            </a:xfrm>
            <a:custGeom>
              <a:avLst/>
              <a:gdLst>
                <a:gd name="connsiteX0" fmla="*/ 10961 w 10960"/>
                <a:gd name="connsiteY0" fmla="*/ 0 h 9351"/>
                <a:gd name="connsiteX1" fmla="*/ 9964 w 10960"/>
                <a:gd name="connsiteY1" fmla="*/ 895 h 9351"/>
                <a:gd name="connsiteX2" fmla="*/ 0 w 10960"/>
                <a:gd name="connsiteY2" fmla="*/ 9352 h 9351"/>
                <a:gd name="connsiteX3" fmla="*/ 10961 w 10960"/>
                <a:gd name="connsiteY3" fmla="*/ 0 h 9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60" h="9351">
                  <a:moveTo>
                    <a:pt x="10961" y="0"/>
                  </a:moveTo>
                  <a:cubicBezTo>
                    <a:pt x="10562" y="209"/>
                    <a:pt x="10223" y="517"/>
                    <a:pt x="9964" y="895"/>
                  </a:cubicBezTo>
                  <a:cubicBezTo>
                    <a:pt x="5998" y="2855"/>
                    <a:pt x="2571" y="5760"/>
                    <a:pt x="0" y="9352"/>
                  </a:cubicBezTo>
                  <a:cubicBezTo>
                    <a:pt x="2571" y="5154"/>
                    <a:pt x="6407" y="1880"/>
                    <a:pt x="10961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5" name="Freeform: Shape 1654">
              <a:extLst>
                <a:ext uri="{FF2B5EF4-FFF2-40B4-BE49-F238E27FC236}">
                  <a16:creationId xmlns:a16="http://schemas.microsoft.com/office/drawing/2014/main" id="{7E32BB54-09AD-492F-99B6-45F43E41167D}"/>
                </a:ext>
              </a:extLst>
            </p:cNvPr>
            <p:cNvSpPr/>
            <p:nvPr/>
          </p:nvSpPr>
          <p:spPr>
            <a:xfrm>
              <a:off x="3054620" y="2240094"/>
              <a:ext cx="7273" cy="2686"/>
            </a:xfrm>
            <a:custGeom>
              <a:avLst/>
              <a:gdLst>
                <a:gd name="connsiteX0" fmla="*/ 7274 w 7273"/>
                <a:gd name="connsiteY0" fmla="*/ 0 h 2686"/>
                <a:gd name="connsiteX1" fmla="*/ 0 w 7273"/>
                <a:gd name="connsiteY1" fmla="*/ 2686 h 2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73" h="2686">
                  <a:moveTo>
                    <a:pt x="7274" y="0"/>
                  </a:moveTo>
                  <a:cubicBezTo>
                    <a:pt x="5002" y="1263"/>
                    <a:pt x="2551" y="2169"/>
                    <a:pt x="0" y="2686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6" name="Freeform: Shape 1655">
              <a:extLst>
                <a:ext uri="{FF2B5EF4-FFF2-40B4-BE49-F238E27FC236}">
                  <a16:creationId xmlns:a16="http://schemas.microsoft.com/office/drawing/2014/main" id="{B059CD13-7A6C-4F46-99E7-3025B83A3BEB}"/>
                </a:ext>
              </a:extLst>
            </p:cNvPr>
            <p:cNvSpPr/>
            <p:nvPr/>
          </p:nvSpPr>
          <p:spPr>
            <a:xfrm>
              <a:off x="3065083" y="2518659"/>
              <a:ext cx="5779" cy="5670"/>
            </a:xfrm>
            <a:custGeom>
              <a:avLst/>
              <a:gdLst>
                <a:gd name="connsiteX0" fmla="*/ 5780 w 5779"/>
                <a:gd name="connsiteY0" fmla="*/ 0 h 5670"/>
                <a:gd name="connsiteX1" fmla="*/ 0 w 5779"/>
                <a:gd name="connsiteY1" fmla="*/ 5671 h 5670"/>
                <a:gd name="connsiteX2" fmla="*/ 5780 w 5779"/>
                <a:gd name="connsiteY2" fmla="*/ 0 h 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79" h="5670">
                  <a:moveTo>
                    <a:pt x="5780" y="0"/>
                  </a:moveTo>
                  <a:cubicBezTo>
                    <a:pt x="3318" y="1263"/>
                    <a:pt x="1305" y="3243"/>
                    <a:pt x="0" y="5671"/>
                  </a:cubicBezTo>
                  <a:cubicBezTo>
                    <a:pt x="727" y="2855"/>
                    <a:pt x="2950" y="676"/>
                    <a:pt x="578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7" name="Freeform: Shape 1656">
              <a:extLst>
                <a:ext uri="{FF2B5EF4-FFF2-40B4-BE49-F238E27FC236}">
                  <a16:creationId xmlns:a16="http://schemas.microsoft.com/office/drawing/2014/main" id="{5FA1D6C7-B88E-4B2B-9FBB-C5A88889D318}"/>
                </a:ext>
              </a:extLst>
            </p:cNvPr>
            <p:cNvSpPr/>
            <p:nvPr/>
          </p:nvSpPr>
          <p:spPr>
            <a:xfrm>
              <a:off x="3070862" y="2516868"/>
              <a:ext cx="5878" cy="1791"/>
            </a:xfrm>
            <a:custGeom>
              <a:avLst/>
              <a:gdLst>
                <a:gd name="connsiteX0" fmla="*/ 0 w 5878"/>
                <a:gd name="connsiteY0" fmla="*/ 1791 h 1791"/>
                <a:gd name="connsiteX1" fmla="*/ 5879 w 5878"/>
                <a:gd name="connsiteY1" fmla="*/ 0 h 1791"/>
                <a:gd name="connsiteX2" fmla="*/ 0 w 5878"/>
                <a:gd name="connsiteY2" fmla="*/ 1791 h 1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78" h="1791">
                  <a:moveTo>
                    <a:pt x="0" y="1791"/>
                  </a:moveTo>
                  <a:cubicBezTo>
                    <a:pt x="1923" y="1085"/>
                    <a:pt x="3886" y="488"/>
                    <a:pt x="5879" y="0"/>
                  </a:cubicBezTo>
                  <a:cubicBezTo>
                    <a:pt x="3985" y="796"/>
                    <a:pt x="2012" y="1393"/>
                    <a:pt x="0" y="1791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8" name="Freeform: Shape 1657">
              <a:extLst>
                <a:ext uri="{FF2B5EF4-FFF2-40B4-BE49-F238E27FC236}">
                  <a16:creationId xmlns:a16="http://schemas.microsoft.com/office/drawing/2014/main" id="{CC2E170E-5DAB-43C1-8B39-FCB8957DE0D8}"/>
                </a:ext>
              </a:extLst>
            </p:cNvPr>
            <p:cNvSpPr/>
            <p:nvPr/>
          </p:nvSpPr>
          <p:spPr>
            <a:xfrm>
              <a:off x="3072855" y="2272301"/>
              <a:ext cx="7373" cy="1021"/>
            </a:xfrm>
            <a:custGeom>
              <a:avLst/>
              <a:gdLst>
                <a:gd name="connsiteX0" fmla="*/ 0 w 7373"/>
                <a:gd name="connsiteY0" fmla="*/ 27 h 1021"/>
                <a:gd name="connsiteX1" fmla="*/ 7374 w 7373"/>
                <a:gd name="connsiteY1" fmla="*/ 1022 h 1021"/>
                <a:gd name="connsiteX2" fmla="*/ 0 w 7373"/>
                <a:gd name="connsiteY2" fmla="*/ 27 h 1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73" h="1021">
                  <a:moveTo>
                    <a:pt x="0" y="27"/>
                  </a:moveTo>
                  <a:cubicBezTo>
                    <a:pt x="2501" y="-102"/>
                    <a:pt x="5002" y="236"/>
                    <a:pt x="7374" y="1022"/>
                  </a:cubicBezTo>
                  <a:cubicBezTo>
                    <a:pt x="4982" y="325"/>
                    <a:pt x="2491" y="-13"/>
                    <a:pt x="0" y="27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59" name="Freeform: Shape 1658">
              <a:extLst>
                <a:ext uri="{FF2B5EF4-FFF2-40B4-BE49-F238E27FC236}">
                  <a16:creationId xmlns:a16="http://schemas.microsoft.com/office/drawing/2014/main" id="{2C7DF14F-305C-4F7A-A8E5-21A0FBFB8D19}"/>
                </a:ext>
              </a:extLst>
            </p:cNvPr>
            <p:cNvSpPr/>
            <p:nvPr/>
          </p:nvSpPr>
          <p:spPr>
            <a:xfrm>
              <a:off x="3081823" y="2500055"/>
              <a:ext cx="4284" cy="8058"/>
            </a:xfrm>
            <a:custGeom>
              <a:avLst/>
              <a:gdLst>
                <a:gd name="connsiteX0" fmla="*/ 0 w 4284"/>
                <a:gd name="connsiteY0" fmla="*/ 2586 h 8058"/>
                <a:gd name="connsiteX1" fmla="*/ 4285 w 4284"/>
                <a:gd name="connsiteY1" fmla="*/ 0 h 8058"/>
                <a:gd name="connsiteX2" fmla="*/ 498 w 4284"/>
                <a:gd name="connsiteY2" fmla="*/ 8058 h 8058"/>
                <a:gd name="connsiteX3" fmla="*/ 0 w 4284"/>
                <a:gd name="connsiteY3" fmla="*/ 2586 h 8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4" h="8058">
                  <a:moveTo>
                    <a:pt x="0" y="2586"/>
                  </a:moveTo>
                  <a:cubicBezTo>
                    <a:pt x="1485" y="1820"/>
                    <a:pt x="2920" y="955"/>
                    <a:pt x="4285" y="0"/>
                  </a:cubicBezTo>
                  <a:cubicBezTo>
                    <a:pt x="2292" y="2278"/>
                    <a:pt x="986" y="5074"/>
                    <a:pt x="498" y="8058"/>
                  </a:cubicBezTo>
                  <a:cubicBezTo>
                    <a:pt x="688" y="6218"/>
                    <a:pt x="518" y="4357"/>
                    <a:pt x="0" y="2586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0" name="Freeform: Shape 1659">
              <a:extLst>
                <a:ext uri="{FF2B5EF4-FFF2-40B4-BE49-F238E27FC236}">
                  <a16:creationId xmlns:a16="http://schemas.microsoft.com/office/drawing/2014/main" id="{DB48C906-53EB-4E3C-834F-A4E44FA2FC17}"/>
                </a:ext>
              </a:extLst>
            </p:cNvPr>
            <p:cNvSpPr/>
            <p:nvPr/>
          </p:nvSpPr>
          <p:spPr>
            <a:xfrm>
              <a:off x="3087702" y="2277203"/>
              <a:ext cx="9465" cy="12734"/>
            </a:xfrm>
            <a:custGeom>
              <a:avLst/>
              <a:gdLst>
                <a:gd name="connsiteX0" fmla="*/ 9466 w 9465"/>
                <a:gd name="connsiteY0" fmla="*/ 12734 h 12734"/>
                <a:gd name="connsiteX1" fmla="*/ 1096 w 9465"/>
                <a:gd name="connsiteY1" fmla="*/ 1592 h 12734"/>
                <a:gd name="connsiteX2" fmla="*/ 0 w 9465"/>
                <a:gd name="connsiteY2" fmla="*/ 0 h 12734"/>
                <a:gd name="connsiteX3" fmla="*/ 9466 w 9465"/>
                <a:gd name="connsiteY3" fmla="*/ 12734 h 12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65" h="12734">
                  <a:moveTo>
                    <a:pt x="9466" y="12734"/>
                  </a:moveTo>
                  <a:cubicBezTo>
                    <a:pt x="7473" y="10148"/>
                    <a:pt x="4982" y="6467"/>
                    <a:pt x="1096" y="1592"/>
                  </a:cubicBezTo>
                  <a:cubicBezTo>
                    <a:pt x="787" y="1025"/>
                    <a:pt x="418" y="488"/>
                    <a:pt x="0" y="0"/>
                  </a:cubicBezTo>
                  <a:cubicBezTo>
                    <a:pt x="3976" y="3572"/>
                    <a:pt x="7194" y="7899"/>
                    <a:pt x="9466" y="1273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1" name="Freeform: Shape 1660">
              <a:extLst>
                <a:ext uri="{FF2B5EF4-FFF2-40B4-BE49-F238E27FC236}">
                  <a16:creationId xmlns:a16="http://schemas.microsoft.com/office/drawing/2014/main" id="{EC693D98-43CA-49FB-9C83-A2A2E28E4A85}"/>
                </a:ext>
              </a:extLst>
            </p:cNvPr>
            <p:cNvSpPr/>
            <p:nvPr/>
          </p:nvSpPr>
          <p:spPr>
            <a:xfrm>
              <a:off x="3096072" y="2330031"/>
              <a:ext cx="2391" cy="7063"/>
            </a:xfrm>
            <a:custGeom>
              <a:avLst/>
              <a:gdLst>
                <a:gd name="connsiteX0" fmla="*/ 2391 w 2391"/>
                <a:gd name="connsiteY0" fmla="*/ 0 h 7063"/>
                <a:gd name="connsiteX1" fmla="*/ 0 w 2391"/>
                <a:gd name="connsiteY1" fmla="*/ 7064 h 7063"/>
                <a:gd name="connsiteX2" fmla="*/ 2391 w 2391"/>
                <a:gd name="connsiteY2" fmla="*/ 0 h 7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91" h="7063">
                  <a:moveTo>
                    <a:pt x="2391" y="0"/>
                  </a:moveTo>
                  <a:cubicBezTo>
                    <a:pt x="1694" y="2388"/>
                    <a:pt x="797" y="4875"/>
                    <a:pt x="0" y="7064"/>
                  </a:cubicBezTo>
                  <a:cubicBezTo>
                    <a:pt x="30" y="4517"/>
                    <a:pt x="867" y="2040"/>
                    <a:pt x="2391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2" name="Freeform: Shape 1661">
              <a:extLst>
                <a:ext uri="{FF2B5EF4-FFF2-40B4-BE49-F238E27FC236}">
                  <a16:creationId xmlns:a16="http://schemas.microsoft.com/office/drawing/2014/main" id="{6BC9578A-CD89-43CC-888B-02914098561C}"/>
                </a:ext>
              </a:extLst>
            </p:cNvPr>
            <p:cNvSpPr/>
            <p:nvPr/>
          </p:nvSpPr>
          <p:spPr>
            <a:xfrm>
              <a:off x="3098623" y="2300781"/>
              <a:ext cx="1833" cy="9053"/>
            </a:xfrm>
            <a:custGeom>
              <a:avLst/>
              <a:gdLst>
                <a:gd name="connsiteX0" fmla="*/ 1833 w 1833"/>
                <a:gd name="connsiteY0" fmla="*/ 9053 h 9053"/>
                <a:gd name="connsiteX1" fmla="*/ 40 w 1833"/>
                <a:gd name="connsiteY1" fmla="*/ 0 h 9053"/>
                <a:gd name="connsiteX2" fmla="*/ 1833 w 1833"/>
                <a:gd name="connsiteY2" fmla="*/ 9053 h 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3" h="9053">
                  <a:moveTo>
                    <a:pt x="1833" y="9053"/>
                  </a:moveTo>
                  <a:cubicBezTo>
                    <a:pt x="449" y="6248"/>
                    <a:pt x="-169" y="3124"/>
                    <a:pt x="40" y="0"/>
                  </a:cubicBezTo>
                  <a:cubicBezTo>
                    <a:pt x="438" y="2985"/>
                    <a:pt x="1235" y="6069"/>
                    <a:pt x="1833" y="9053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3" name="Freeform: Shape 1662">
              <a:extLst>
                <a:ext uri="{FF2B5EF4-FFF2-40B4-BE49-F238E27FC236}">
                  <a16:creationId xmlns:a16="http://schemas.microsoft.com/office/drawing/2014/main" id="{6E399529-9831-4264-AB7E-CC942806657F}"/>
                </a:ext>
              </a:extLst>
            </p:cNvPr>
            <p:cNvSpPr/>
            <p:nvPr/>
          </p:nvSpPr>
          <p:spPr>
            <a:xfrm>
              <a:off x="3098364" y="2344357"/>
              <a:ext cx="9964" cy="11640"/>
            </a:xfrm>
            <a:custGeom>
              <a:avLst/>
              <a:gdLst>
                <a:gd name="connsiteX0" fmla="*/ 0 w 9964"/>
                <a:gd name="connsiteY0" fmla="*/ 0 h 11640"/>
                <a:gd name="connsiteX1" fmla="*/ 9964 w 9964"/>
                <a:gd name="connsiteY1" fmla="*/ 11640 h 11640"/>
                <a:gd name="connsiteX2" fmla="*/ 0 w 9964"/>
                <a:gd name="connsiteY2" fmla="*/ 0 h 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64" h="11640">
                  <a:moveTo>
                    <a:pt x="0" y="0"/>
                  </a:moveTo>
                  <a:cubicBezTo>
                    <a:pt x="3089" y="3383"/>
                    <a:pt x="6477" y="7661"/>
                    <a:pt x="9964" y="11640"/>
                  </a:cubicBezTo>
                  <a:cubicBezTo>
                    <a:pt x="6237" y="8128"/>
                    <a:pt x="2899" y="4218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4" name="Freeform: Shape 1663">
              <a:extLst>
                <a:ext uri="{FF2B5EF4-FFF2-40B4-BE49-F238E27FC236}">
                  <a16:creationId xmlns:a16="http://schemas.microsoft.com/office/drawing/2014/main" id="{18DBB54D-9E8A-46B1-98B3-C207263BB070}"/>
                </a:ext>
              </a:extLst>
            </p:cNvPr>
            <p:cNvSpPr/>
            <p:nvPr/>
          </p:nvSpPr>
          <p:spPr>
            <a:xfrm>
              <a:off x="3100158" y="2316699"/>
              <a:ext cx="1097" cy="5869"/>
            </a:xfrm>
            <a:custGeom>
              <a:avLst/>
              <a:gdLst>
                <a:gd name="connsiteX0" fmla="*/ 0 w 1097"/>
                <a:gd name="connsiteY0" fmla="*/ 5870 h 5869"/>
                <a:gd name="connsiteX1" fmla="*/ 1096 w 1097"/>
                <a:gd name="connsiteY1" fmla="*/ 0 h 5869"/>
                <a:gd name="connsiteX2" fmla="*/ 0 w 1097"/>
                <a:gd name="connsiteY2" fmla="*/ 5870 h 5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7" h="5869">
                  <a:moveTo>
                    <a:pt x="0" y="5870"/>
                  </a:moveTo>
                  <a:cubicBezTo>
                    <a:pt x="0" y="3880"/>
                    <a:pt x="797" y="1890"/>
                    <a:pt x="1096" y="0"/>
                  </a:cubicBezTo>
                  <a:cubicBezTo>
                    <a:pt x="1126" y="2010"/>
                    <a:pt x="757" y="4009"/>
                    <a:pt x="0" y="587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5" name="Freeform: Shape 1664">
              <a:extLst>
                <a:ext uri="{FF2B5EF4-FFF2-40B4-BE49-F238E27FC236}">
                  <a16:creationId xmlns:a16="http://schemas.microsoft.com/office/drawing/2014/main" id="{8567284A-7271-4BE8-9390-9046500455FA}"/>
                </a:ext>
              </a:extLst>
            </p:cNvPr>
            <p:cNvSpPr/>
            <p:nvPr/>
          </p:nvSpPr>
          <p:spPr>
            <a:xfrm>
              <a:off x="3100756" y="2488727"/>
              <a:ext cx="2989" cy="1378"/>
            </a:xfrm>
            <a:custGeom>
              <a:avLst/>
              <a:gdLst>
                <a:gd name="connsiteX0" fmla="*/ 0 w 2989"/>
                <a:gd name="connsiteY0" fmla="*/ 1379 h 1378"/>
                <a:gd name="connsiteX1" fmla="*/ 2989 w 2989"/>
                <a:gd name="connsiteY1" fmla="*/ 85 h 1378"/>
                <a:gd name="connsiteX2" fmla="*/ 0 w 2989"/>
                <a:gd name="connsiteY2" fmla="*/ 1379 h 1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89" h="1378">
                  <a:moveTo>
                    <a:pt x="0" y="1379"/>
                  </a:moveTo>
                  <a:cubicBezTo>
                    <a:pt x="1594" y="284"/>
                    <a:pt x="2690" y="-213"/>
                    <a:pt x="2989" y="85"/>
                  </a:cubicBezTo>
                  <a:cubicBezTo>
                    <a:pt x="1943" y="393"/>
                    <a:pt x="937" y="831"/>
                    <a:pt x="0" y="1379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6" name="Freeform: Shape 1665">
              <a:extLst>
                <a:ext uri="{FF2B5EF4-FFF2-40B4-BE49-F238E27FC236}">
                  <a16:creationId xmlns:a16="http://schemas.microsoft.com/office/drawing/2014/main" id="{AEFDA65F-394C-4195-AECB-FCFC4D249B1B}"/>
                </a:ext>
              </a:extLst>
            </p:cNvPr>
            <p:cNvSpPr/>
            <p:nvPr/>
          </p:nvSpPr>
          <p:spPr>
            <a:xfrm>
              <a:off x="3113510" y="2373308"/>
              <a:ext cx="4384" cy="6964"/>
            </a:xfrm>
            <a:custGeom>
              <a:avLst/>
              <a:gdLst>
                <a:gd name="connsiteX0" fmla="*/ 0 w 4384"/>
                <a:gd name="connsiteY0" fmla="*/ 0 h 6964"/>
                <a:gd name="connsiteX1" fmla="*/ 4384 w 4384"/>
                <a:gd name="connsiteY1" fmla="*/ 6964 h 6964"/>
                <a:gd name="connsiteX2" fmla="*/ 0 w 4384"/>
                <a:gd name="connsiteY2" fmla="*/ 0 h 6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84" h="6964">
                  <a:moveTo>
                    <a:pt x="0" y="0"/>
                  </a:moveTo>
                  <a:cubicBezTo>
                    <a:pt x="797" y="2676"/>
                    <a:pt x="2312" y="5084"/>
                    <a:pt x="4384" y="6964"/>
                  </a:cubicBezTo>
                  <a:cubicBezTo>
                    <a:pt x="2053" y="5313"/>
                    <a:pt x="479" y="2806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7" name="Freeform: Shape 1666">
              <a:extLst>
                <a:ext uri="{FF2B5EF4-FFF2-40B4-BE49-F238E27FC236}">
                  <a16:creationId xmlns:a16="http://schemas.microsoft.com/office/drawing/2014/main" id="{236A6D40-4084-4236-A756-9A56C964CF1D}"/>
                </a:ext>
              </a:extLst>
            </p:cNvPr>
            <p:cNvSpPr/>
            <p:nvPr/>
          </p:nvSpPr>
          <p:spPr>
            <a:xfrm>
              <a:off x="3122079" y="2384649"/>
              <a:ext cx="3687" cy="5670"/>
            </a:xfrm>
            <a:custGeom>
              <a:avLst/>
              <a:gdLst>
                <a:gd name="connsiteX0" fmla="*/ 0 w 3687"/>
                <a:gd name="connsiteY0" fmla="*/ 0 h 5670"/>
                <a:gd name="connsiteX1" fmla="*/ 3687 w 3687"/>
                <a:gd name="connsiteY1" fmla="*/ 5671 h 5670"/>
                <a:gd name="connsiteX2" fmla="*/ 0 w 3687"/>
                <a:gd name="connsiteY2" fmla="*/ 0 h 5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87" h="5670">
                  <a:moveTo>
                    <a:pt x="0" y="0"/>
                  </a:moveTo>
                  <a:cubicBezTo>
                    <a:pt x="1565" y="1651"/>
                    <a:pt x="2820" y="3571"/>
                    <a:pt x="3687" y="5671"/>
                  </a:cubicBezTo>
                  <a:cubicBezTo>
                    <a:pt x="2790" y="3781"/>
                    <a:pt x="1196" y="1890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8" name="Freeform: Shape 1667">
              <a:extLst>
                <a:ext uri="{FF2B5EF4-FFF2-40B4-BE49-F238E27FC236}">
                  <a16:creationId xmlns:a16="http://schemas.microsoft.com/office/drawing/2014/main" id="{B47EED09-D3D8-4233-A5B4-BD1C265757E3}"/>
                </a:ext>
              </a:extLst>
            </p:cNvPr>
            <p:cNvSpPr/>
            <p:nvPr/>
          </p:nvSpPr>
          <p:spPr>
            <a:xfrm>
              <a:off x="3129453" y="2395692"/>
              <a:ext cx="5380" cy="9948"/>
            </a:xfrm>
            <a:custGeom>
              <a:avLst/>
              <a:gdLst>
                <a:gd name="connsiteX0" fmla="*/ 0 w 5380"/>
                <a:gd name="connsiteY0" fmla="*/ 0 h 9948"/>
                <a:gd name="connsiteX1" fmla="*/ 5381 w 5380"/>
                <a:gd name="connsiteY1" fmla="*/ 9949 h 9948"/>
                <a:gd name="connsiteX2" fmla="*/ 0 w 5380"/>
                <a:gd name="connsiteY2" fmla="*/ 0 h 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80" h="9948">
                  <a:moveTo>
                    <a:pt x="0" y="0"/>
                  </a:moveTo>
                  <a:cubicBezTo>
                    <a:pt x="2441" y="2925"/>
                    <a:pt x="4265" y="6308"/>
                    <a:pt x="5381" y="9949"/>
                  </a:cubicBezTo>
                  <a:cubicBezTo>
                    <a:pt x="3906" y="6467"/>
                    <a:pt x="2102" y="3134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69" name="Freeform: Shape 1668">
              <a:extLst>
                <a:ext uri="{FF2B5EF4-FFF2-40B4-BE49-F238E27FC236}">
                  <a16:creationId xmlns:a16="http://schemas.microsoft.com/office/drawing/2014/main" id="{1BB0E6BC-3EEA-45D7-B7C3-667EF604A740}"/>
                </a:ext>
              </a:extLst>
            </p:cNvPr>
            <p:cNvSpPr/>
            <p:nvPr/>
          </p:nvSpPr>
          <p:spPr>
            <a:xfrm>
              <a:off x="3136627" y="2411610"/>
              <a:ext cx="9266" cy="6566"/>
            </a:xfrm>
            <a:custGeom>
              <a:avLst/>
              <a:gdLst>
                <a:gd name="connsiteX0" fmla="*/ 0 w 9266"/>
                <a:gd name="connsiteY0" fmla="*/ 0 h 6566"/>
                <a:gd name="connsiteX1" fmla="*/ 9267 w 9266"/>
                <a:gd name="connsiteY1" fmla="*/ 6566 h 6566"/>
                <a:gd name="connsiteX2" fmla="*/ 0 w 9266"/>
                <a:gd name="connsiteY2" fmla="*/ 0 h 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66" h="6566">
                  <a:moveTo>
                    <a:pt x="0" y="0"/>
                  </a:moveTo>
                  <a:cubicBezTo>
                    <a:pt x="3298" y="1870"/>
                    <a:pt x="6407" y="4069"/>
                    <a:pt x="9267" y="6566"/>
                  </a:cubicBezTo>
                  <a:cubicBezTo>
                    <a:pt x="6078" y="3781"/>
                    <a:pt x="2989" y="1592"/>
                    <a:pt x="0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70" name="Freeform: Shape 1669">
              <a:extLst>
                <a:ext uri="{FF2B5EF4-FFF2-40B4-BE49-F238E27FC236}">
                  <a16:creationId xmlns:a16="http://schemas.microsoft.com/office/drawing/2014/main" id="{234AD40F-6EA9-47E9-8344-D600967CC584}"/>
                </a:ext>
              </a:extLst>
            </p:cNvPr>
            <p:cNvSpPr/>
            <p:nvPr/>
          </p:nvSpPr>
          <p:spPr>
            <a:xfrm>
              <a:off x="3149581" y="2439069"/>
              <a:ext cx="23715" cy="20792"/>
            </a:xfrm>
            <a:custGeom>
              <a:avLst/>
              <a:gdLst>
                <a:gd name="connsiteX0" fmla="*/ 23715 w 23715"/>
                <a:gd name="connsiteY0" fmla="*/ 0 h 20792"/>
                <a:gd name="connsiteX1" fmla="*/ 0 w 23715"/>
                <a:gd name="connsiteY1" fmla="*/ 20793 h 20792"/>
                <a:gd name="connsiteX2" fmla="*/ 23715 w 23715"/>
                <a:gd name="connsiteY2" fmla="*/ 0 h 20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715" h="20792">
                  <a:moveTo>
                    <a:pt x="23715" y="0"/>
                  </a:moveTo>
                  <a:cubicBezTo>
                    <a:pt x="16442" y="6865"/>
                    <a:pt x="8370" y="14227"/>
                    <a:pt x="0" y="20793"/>
                  </a:cubicBezTo>
                  <a:cubicBezTo>
                    <a:pt x="6866" y="12764"/>
                    <a:pt x="14857" y="5760"/>
                    <a:pt x="23715" y="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71" name="Freeform: Shape 1670">
              <a:extLst>
                <a:ext uri="{FF2B5EF4-FFF2-40B4-BE49-F238E27FC236}">
                  <a16:creationId xmlns:a16="http://schemas.microsoft.com/office/drawing/2014/main" id="{49964C7C-4302-4DE6-9A7E-D447E7A2C059}"/>
                </a:ext>
              </a:extLst>
            </p:cNvPr>
            <p:cNvSpPr/>
            <p:nvPr/>
          </p:nvSpPr>
          <p:spPr>
            <a:xfrm>
              <a:off x="3159446" y="2429220"/>
              <a:ext cx="9964" cy="4974"/>
            </a:xfrm>
            <a:custGeom>
              <a:avLst/>
              <a:gdLst>
                <a:gd name="connsiteX0" fmla="*/ 6079 w 9964"/>
                <a:gd name="connsiteY0" fmla="*/ 4875 h 4974"/>
                <a:gd name="connsiteX1" fmla="*/ 0 w 9964"/>
                <a:gd name="connsiteY1" fmla="*/ 0 h 4974"/>
                <a:gd name="connsiteX2" fmla="*/ 9964 w 9964"/>
                <a:gd name="connsiteY2" fmla="*/ 4974 h 4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64" h="4974">
                  <a:moveTo>
                    <a:pt x="6079" y="4875"/>
                  </a:moveTo>
                  <a:cubicBezTo>
                    <a:pt x="4185" y="3383"/>
                    <a:pt x="2093" y="1791"/>
                    <a:pt x="0" y="0"/>
                  </a:cubicBezTo>
                  <a:cubicBezTo>
                    <a:pt x="3009" y="2219"/>
                    <a:pt x="6377" y="3900"/>
                    <a:pt x="9964" y="4974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72" name="Freeform: Shape 1671">
              <a:extLst>
                <a:ext uri="{FF2B5EF4-FFF2-40B4-BE49-F238E27FC236}">
                  <a16:creationId xmlns:a16="http://schemas.microsoft.com/office/drawing/2014/main" id="{B665E600-32B9-4409-9A6C-940BA5A39633}"/>
                </a:ext>
              </a:extLst>
            </p:cNvPr>
            <p:cNvSpPr/>
            <p:nvPr/>
          </p:nvSpPr>
          <p:spPr>
            <a:xfrm>
              <a:off x="3175887" y="2434990"/>
              <a:ext cx="1594" cy="9948"/>
            </a:xfrm>
            <a:custGeom>
              <a:avLst/>
              <a:gdLst>
                <a:gd name="connsiteX0" fmla="*/ 1595 w 1594"/>
                <a:gd name="connsiteY0" fmla="*/ 0 h 9948"/>
                <a:gd name="connsiteX1" fmla="*/ 1595 w 1594"/>
                <a:gd name="connsiteY1" fmla="*/ 0 h 9948"/>
                <a:gd name="connsiteX2" fmla="*/ 0 w 1594"/>
                <a:gd name="connsiteY2" fmla="*/ 0 h 9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4" h="9948">
                  <a:moveTo>
                    <a:pt x="1595" y="0"/>
                  </a:moveTo>
                  <a:lnTo>
                    <a:pt x="159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673" name="Graphic 231">
              <a:extLst>
                <a:ext uri="{FF2B5EF4-FFF2-40B4-BE49-F238E27FC236}">
                  <a16:creationId xmlns:a16="http://schemas.microsoft.com/office/drawing/2014/main" id="{235728B4-4751-4C17-845D-1CE1B24A86A9}"/>
                </a:ext>
              </a:extLst>
            </p:cNvPr>
            <p:cNvGrpSpPr/>
            <p:nvPr/>
          </p:nvGrpSpPr>
          <p:grpSpPr>
            <a:xfrm>
              <a:off x="4364242" y="1190701"/>
              <a:ext cx="222305" cy="396357"/>
              <a:chOff x="4364242" y="1190701"/>
              <a:chExt cx="222305" cy="396357"/>
            </a:xfrm>
            <a:solidFill>
              <a:srgbClr val="ECE8E4"/>
            </a:solidFill>
          </p:grpSpPr>
          <p:sp>
            <p:nvSpPr>
              <p:cNvPr id="1733" name="Freeform: Shape 1732">
                <a:extLst>
                  <a:ext uri="{FF2B5EF4-FFF2-40B4-BE49-F238E27FC236}">
                    <a16:creationId xmlns:a16="http://schemas.microsoft.com/office/drawing/2014/main" id="{82998CBA-9E0A-470D-9510-6D3CD6FA6686}"/>
                  </a:ext>
                </a:extLst>
              </p:cNvPr>
              <p:cNvSpPr/>
              <p:nvPr/>
            </p:nvSpPr>
            <p:spPr>
              <a:xfrm>
                <a:off x="4364342" y="1542588"/>
                <a:ext cx="119" cy="4576"/>
              </a:xfrm>
              <a:custGeom>
                <a:avLst/>
                <a:gdLst>
                  <a:gd name="connsiteX0" fmla="*/ 0 w 119"/>
                  <a:gd name="connsiteY0" fmla="*/ 4576 h 4576"/>
                  <a:gd name="connsiteX1" fmla="*/ 0 w 119"/>
                  <a:gd name="connsiteY1" fmla="*/ 0 h 4576"/>
                  <a:gd name="connsiteX2" fmla="*/ 0 w 119"/>
                  <a:gd name="connsiteY2" fmla="*/ 4576 h 4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9" h="4576">
                    <a:moveTo>
                      <a:pt x="0" y="4576"/>
                    </a:moveTo>
                    <a:cubicBezTo>
                      <a:pt x="100" y="3054"/>
                      <a:pt x="100" y="1522"/>
                      <a:pt x="0" y="0"/>
                    </a:cubicBezTo>
                    <a:cubicBezTo>
                      <a:pt x="159" y="1522"/>
                      <a:pt x="159" y="3054"/>
                      <a:pt x="0" y="4576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34" name="Freeform: Shape 1733">
                <a:extLst>
                  <a:ext uri="{FF2B5EF4-FFF2-40B4-BE49-F238E27FC236}">
                    <a16:creationId xmlns:a16="http://schemas.microsoft.com/office/drawing/2014/main" id="{D95FDE63-61AD-4CA4-8095-1FDEFDE4673F}"/>
                  </a:ext>
                </a:extLst>
              </p:cNvPr>
              <p:cNvSpPr/>
              <p:nvPr/>
            </p:nvSpPr>
            <p:spPr>
              <a:xfrm>
                <a:off x="4364242" y="1540598"/>
                <a:ext cx="4384" cy="1989"/>
              </a:xfrm>
              <a:custGeom>
                <a:avLst/>
                <a:gdLst>
                  <a:gd name="connsiteX0" fmla="*/ 4384 w 4384"/>
                  <a:gd name="connsiteY0" fmla="*/ 0 h 1989"/>
                  <a:gd name="connsiteX1" fmla="*/ 0 w 4384"/>
                  <a:gd name="connsiteY1" fmla="*/ 1990 h 1989"/>
                  <a:gd name="connsiteX2" fmla="*/ 4384 w 4384"/>
                  <a:gd name="connsiteY2" fmla="*/ 0 h 1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384" h="1989">
                    <a:moveTo>
                      <a:pt x="4384" y="0"/>
                    </a:moveTo>
                    <a:cubicBezTo>
                      <a:pt x="3139" y="1065"/>
                      <a:pt x="1624" y="1761"/>
                      <a:pt x="0" y="1990"/>
                    </a:cubicBezTo>
                    <a:cubicBezTo>
                      <a:pt x="1555" y="1552"/>
                      <a:pt x="3029" y="885"/>
                      <a:pt x="438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35" name="Freeform: Shape 1734">
                <a:extLst>
                  <a:ext uri="{FF2B5EF4-FFF2-40B4-BE49-F238E27FC236}">
                    <a16:creationId xmlns:a16="http://schemas.microsoft.com/office/drawing/2014/main" id="{65200620-1BF9-4DEC-865E-AE42E03870E2}"/>
                  </a:ext>
                </a:extLst>
              </p:cNvPr>
              <p:cNvSpPr/>
              <p:nvPr/>
            </p:nvSpPr>
            <p:spPr>
              <a:xfrm>
                <a:off x="4373584" y="1526172"/>
                <a:ext cx="523" cy="5372"/>
              </a:xfrm>
              <a:custGeom>
                <a:avLst/>
                <a:gdLst>
                  <a:gd name="connsiteX0" fmla="*/ 523 w 523"/>
                  <a:gd name="connsiteY0" fmla="*/ 0 h 5372"/>
                  <a:gd name="connsiteX1" fmla="*/ 523 w 523"/>
                  <a:gd name="connsiteY1" fmla="*/ 5372 h 5372"/>
                  <a:gd name="connsiteX2" fmla="*/ 523 w 523"/>
                  <a:gd name="connsiteY2" fmla="*/ 0 h 53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3" h="5372">
                    <a:moveTo>
                      <a:pt x="523" y="0"/>
                    </a:moveTo>
                    <a:cubicBezTo>
                      <a:pt x="125" y="1771"/>
                      <a:pt x="125" y="3601"/>
                      <a:pt x="523" y="5372"/>
                    </a:cubicBezTo>
                    <a:cubicBezTo>
                      <a:pt x="-174" y="3651"/>
                      <a:pt x="-174" y="1721"/>
                      <a:pt x="523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36" name="Freeform: Shape 1735">
                <a:extLst>
                  <a:ext uri="{FF2B5EF4-FFF2-40B4-BE49-F238E27FC236}">
                    <a16:creationId xmlns:a16="http://schemas.microsoft.com/office/drawing/2014/main" id="{E266B4A9-830B-41CC-9E49-991AE06EBD52}"/>
                  </a:ext>
                </a:extLst>
              </p:cNvPr>
              <p:cNvSpPr/>
              <p:nvPr/>
            </p:nvSpPr>
            <p:spPr>
              <a:xfrm>
                <a:off x="4374207" y="1503191"/>
                <a:ext cx="896" cy="10247"/>
              </a:xfrm>
              <a:custGeom>
                <a:avLst/>
                <a:gdLst>
                  <a:gd name="connsiteX0" fmla="*/ 698 w 896"/>
                  <a:gd name="connsiteY0" fmla="*/ 10247 h 10247"/>
                  <a:gd name="connsiteX1" fmla="*/ 0 w 896"/>
                  <a:gd name="connsiteY1" fmla="*/ 4576 h 10247"/>
                  <a:gd name="connsiteX2" fmla="*/ 896 w 896"/>
                  <a:gd name="connsiteY2" fmla="*/ 0 h 10247"/>
                  <a:gd name="connsiteX3" fmla="*/ 698 w 896"/>
                  <a:gd name="connsiteY3" fmla="*/ 10247 h 10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6" h="10247">
                    <a:moveTo>
                      <a:pt x="698" y="10247"/>
                    </a:moveTo>
                    <a:cubicBezTo>
                      <a:pt x="259" y="8387"/>
                      <a:pt x="20" y="6487"/>
                      <a:pt x="0" y="4576"/>
                    </a:cubicBezTo>
                    <a:cubicBezTo>
                      <a:pt x="0" y="3184"/>
                      <a:pt x="598" y="1492"/>
                      <a:pt x="896" y="0"/>
                    </a:cubicBezTo>
                    <a:cubicBezTo>
                      <a:pt x="428" y="3393"/>
                      <a:pt x="369" y="6835"/>
                      <a:pt x="698" y="1024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37" name="Freeform: Shape 1736">
                <a:extLst>
                  <a:ext uri="{FF2B5EF4-FFF2-40B4-BE49-F238E27FC236}">
                    <a16:creationId xmlns:a16="http://schemas.microsoft.com/office/drawing/2014/main" id="{A42A23C9-5CD4-4669-873D-7C361B373D89}"/>
                  </a:ext>
                </a:extLst>
              </p:cNvPr>
              <p:cNvSpPr/>
              <p:nvPr/>
            </p:nvSpPr>
            <p:spPr>
              <a:xfrm>
                <a:off x="4373809" y="1533733"/>
                <a:ext cx="996" cy="1890"/>
              </a:xfrm>
              <a:custGeom>
                <a:avLst/>
                <a:gdLst>
                  <a:gd name="connsiteX0" fmla="*/ 996 w 996"/>
                  <a:gd name="connsiteY0" fmla="*/ 0 h 1890"/>
                  <a:gd name="connsiteX1" fmla="*/ 996 w 996"/>
                  <a:gd name="connsiteY1" fmla="*/ 896 h 1890"/>
                  <a:gd name="connsiteX2" fmla="*/ 0 w 996"/>
                  <a:gd name="connsiteY2" fmla="*/ 1890 h 1890"/>
                  <a:gd name="connsiteX3" fmla="*/ 996 w 996"/>
                  <a:gd name="connsiteY3" fmla="*/ 0 h 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6" h="1890">
                    <a:moveTo>
                      <a:pt x="996" y="0"/>
                    </a:moveTo>
                    <a:cubicBezTo>
                      <a:pt x="917" y="298"/>
                      <a:pt x="917" y="597"/>
                      <a:pt x="996" y="896"/>
                    </a:cubicBezTo>
                    <a:lnTo>
                      <a:pt x="0" y="1890"/>
                    </a:lnTo>
                    <a:cubicBezTo>
                      <a:pt x="538" y="1393"/>
                      <a:pt x="887" y="726"/>
                      <a:pt x="996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38" name="Freeform: Shape 1737">
                <a:extLst>
                  <a:ext uri="{FF2B5EF4-FFF2-40B4-BE49-F238E27FC236}">
                    <a16:creationId xmlns:a16="http://schemas.microsoft.com/office/drawing/2014/main" id="{F211A4DA-563C-4E41-91C5-43DCF3C2C396}"/>
                  </a:ext>
                </a:extLst>
              </p:cNvPr>
              <p:cNvSpPr/>
              <p:nvPr/>
            </p:nvSpPr>
            <p:spPr>
              <a:xfrm>
                <a:off x="4376598" y="1492745"/>
                <a:ext cx="897" cy="3581"/>
              </a:xfrm>
              <a:custGeom>
                <a:avLst/>
                <a:gdLst>
                  <a:gd name="connsiteX0" fmla="*/ 0 w 897"/>
                  <a:gd name="connsiteY0" fmla="*/ 3582 h 3581"/>
                  <a:gd name="connsiteX1" fmla="*/ 897 w 897"/>
                  <a:gd name="connsiteY1" fmla="*/ 0 h 3581"/>
                  <a:gd name="connsiteX2" fmla="*/ 897 w 897"/>
                  <a:gd name="connsiteY2" fmla="*/ 1890 h 3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97" h="3581">
                    <a:moveTo>
                      <a:pt x="0" y="3582"/>
                    </a:moveTo>
                    <a:lnTo>
                      <a:pt x="897" y="0"/>
                    </a:lnTo>
                    <a:lnTo>
                      <a:pt x="897" y="1890"/>
                    </a:ln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39" name="Freeform: Shape 1738">
                <a:extLst>
                  <a:ext uri="{FF2B5EF4-FFF2-40B4-BE49-F238E27FC236}">
                    <a16:creationId xmlns:a16="http://schemas.microsoft.com/office/drawing/2014/main" id="{14797246-D334-43AB-A46B-2B018FA644DC}"/>
                  </a:ext>
                </a:extLst>
              </p:cNvPr>
              <p:cNvSpPr/>
              <p:nvPr/>
            </p:nvSpPr>
            <p:spPr>
              <a:xfrm>
                <a:off x="4379787" y="1474339"/>
                <a:ext cx="799" cy="4278"/>
              </a:xfrm>
              <a:custGeom>
                <a:avLst/>
                <a:gdLst>
                  <a:gd name="connsiteX0" fmla="*/ 0 w 799"/>
                  <a:gd name="connsiteY0" fmla="*/ 0 h 4278"/>
                  <a:gd name="connsiteX1" fmla="*/ 797 w 799"/>
                  <a:gd name="connsiteY1" fmla="*/ 4278 h 4278"/>
                  <a:gd name="connsiteX2" fmla="*/ 0 w 799"/>
                  <a:gd name="connsiteY2" fmla="*/ 0 h 4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99" h="4278">
                    <a:moveTo>
                      <a:pt x="0" y="0"/>
                    </a:moveTo>
                    <a:cubicBezTo>
                      <a:pt x="558" y="1353"/>
                      <a:pt x="827" y="2816"/>
                      <a:pt x="797" y="4278"/>
                    </a:cubicBezTo>
                    <a:cubicBezTo>
                      <a:pt x="309" y="2905"/>
                      <a:pt x="30" y="146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0" name="Freeform: Shape 1739">
                <a:extLst>
                  <a:ext uri="{FF2B5EF4-FFF2-40B4-BE49-F238E27FC236}">
                    <a16:creationId xmlns:a16="http://schemas.microsoft.com/office/drawing/2014/main" id="{01DA02FF-20D0-4494-A6AC-1AC1F38A43BC}"/>
                  </a:ext>
                </a:extLst>
              </p:cNvPr>
              <p:cNvSpPr/>
              <p:nvPr/>
            </p:nvSpPr>
            <p:spPr>
              <a:xfrm>
                <a:off x="4379488" y="1459814"/>
                <a:ext cx="1694" cy="9948"/>
              </a:xfrm>
              <a:custGeom>
                <a:avLst/>
                <a:gdLst>
                  <a:gd name="connsiteX0" fmla="*/ 1694 w 1694"/>
                  <a:gd name="connsiteY0" fmla="*/ 1194 h 9948"/>
                  <a:gd name="connsiteX1" fmla="*/ 1694 w 1694"/>
                  <a:gd name="connsiteY1" fmla="*/ 0 h 9948"/>
                  <a:gd name="connsiteX2" fmla="*/ 0 w 1694"/>
                  <a:gd name="connsiteY2" fmla="*/ 9949 h 9948"/>
                  <a:gd name="connsiteX3" fmla="*/ 1694 w 1694"/>
                  <a:gd name="connsiteY3" fmla="*/ 1194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94" h="9948">
                    <a:moveTo>
                      <a:pt x="1694" y="1194"/>
                    </a:moveTo>
                    <a:lnTo>
                      <a:pt x="1694" y="0"/>
                    </a:lnTo>
                    <a:cubicBezTo>
                      <a:pt x="1196" y="3383"/>
                      <a:pt x="499" y="6865"/>
                      <a:pt x="0" y="9949"/>
                    </a:cubicBezTo>
                    <a:cubicBezTo>
                      <a:pt x="279" y="6984"/>
                      <a:pt x="847" y="4049"/>
                      <a:pt x="1694" y="119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1" name="Freeform: Shape 1740">
                <a:extLst>
                  <a:ext uri="{FF2B5EF4-FFF2-40B4-BE49-F238E27FC236}">
                    <a16:creationId xmlns:a16="http://schemas.microsoft.com/office/drawing/2014/main" id="{91EB0805-C418-4018-9414-E805E55BAFFB}"/>
                  </a:ext>
                </a:extLst>
              </p:cNvPr>
              <p:cNvSpPr/>
              <p:nvPr/>
            </p:nvSpPr>
            <p:spPr>
              <a:xfrm>
                <a:off x="4383175" y="1436634"/>
                <a:ext cx="149" cy="9351"/>
              </a:xfrm>
              <a:custGeom>
                <a:avLst/>
                <a:gdLst>
                  <a:gd name="connsiteX0" fmla="*/ 0 w 149"/>
                  <a:gd name="connsiteY0" fmla="*/ 0 h 9351"/>
                  <a:gd name="connsiteX1" fmla="*/ 0 w 149"/>
                  <a:gd name="connsiteY1" fmla="*/ 9352 h 9351"/>
                  <a:gd name="connsiteX2" fmla="*/ 0 w 149"/>
                  <a:gd name="connsiteY2" fmla="*/ 0 h 9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9" h="9351">
                    <a:moveTo>
                      <a:pt x="0" y="0"/>
                    </a:moveTo>
                    <a:cubicBezTo>
                      <a:pt x="0" y="2487"/>
                      <a:pt x="0" y="5770"/>
                      <a:pt x="0" y="9352"/>
                    </a:cubicBezTo>
                    <a:cubicBezTo>
                      <a:pt x="199" y="6238"/>
                      <a:pt x="199" y="3114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2" name="Freeform: Shape 1741">
                <a:extLst>
                  <a:ext uri="{FF2B5EF4-FFF2-40B4-BE49-F238E27FC236}">
                    <a16:creationId xmlns:a16="http://schemas.microsoft.com/office/drawing/2014/main" id="{768C0BF8-483F-4EA9-B876-115CBD0E37A6}"/>
                  </a:ext>
                </a:extLst>
              </p:cNvPr>
              <p:cNvSpPr/>
              <p:nvPr/>
            </p:nvSpPr>
            <p:spPr>
              <a:xfrm>
                <a:off x="4404000" y="1390173"/>
                <a:ext cx="5281" cy="12137"/>
              </a:xfrm>
              <a:custGeom>
                <a:avLst/>
                <a:gdLst>
                  <a:gd name="connsiteX0" fmla="*/ 0 w 5281"/>
                  <a:gd name="connsiteY0" fmla="*/ 12137 h 12137"/>
                  <a:gd name="connsiteX1" fmla="*/ 5281 w 5281"/>
                  <a:gd name="connsiteY1" fmla="*/ 0 h 12137"/>
                  <a:gd name="connsiteX2" fmla="*/ 0 w 5281"/>
                  <a:gd name="connsiteY2" fmla="*/ 12137 h 12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1" h="12137">
                    <a:moveTo>
                      <a:pt x="0" y="12137"/>
                    </a:moveTo>
                    <a:cubicBezTo>
                      <a:pt x="2172" y="8287"/>
                      <a:pt x="3946" y="4218"/>
                      <a:pt x="5281" y="0"/>
                    </a:cubicBezTo>
                    <a:cubicBezTo>
                      <a:pt x="4384" y="4367"/>
                      <a:pt x="2581" y="8496"/>
                      <a:pt x="0" y="12137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3" name="Freeform: Shape 1742">
                <a:extLst>
                  <a:ext uri="{FF2B5EF4-FFF2-40B4-BE49-F238E27FC236}">
                    <a16:creationId xmlns:a16="http://schemas.microsoft.com/office/drawing/2014/main" id="{CF7F69E3-ADD0-4022-8C1A-AE3153F14294}"/>
                  </a:ext>
                </a:extLst>
              </p:cNvPr>
              <p:cNvSpPr/>
              <p:nvPr/>
            </p:nvSpPr>
            <p:spPr>
              <a:xfrm>
                <a:off x="4412969" y="1372862"/>
                <a:ext cx="3387" cy="6765"/>
              </a:xfrm>
              <a:custGeom>
                <a:avLst/>
                <a:gdLst>
                  <a:gd name="connsiteX0" fmla="*/ 0 w 3387"/>
                  <a:gd name="connsiteY0" fmla="*/ 6765 h 6765"/>
                  <a:gd name="connsiteX1" fmla="*/ 3388 w 3387"/>
                  <a:gd name="connsiteY1" fmla="*/ 0 h 6765"/>
                  <a:gd name="connsiteX2" fmla="*/ 0 w 3387"/>
                  <a:gd name="connsiteY2" fmla="*/ 6765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87" h="6765">
                    <a:moveTo>
                      <a:pt x="0" y="6765"/>
                    </a:moveTo>
                    <a:cubicBezTo>
                      <a:pt x="946" y="4427"/>
                      <a:pt x="2082" y="2159"/>
                      <a:pt x="3388" y="0"/>
                    </a:cubicBezTo>
                    <a:cubicBezTo>
                      <a:pt x="2521" y="2378"/>
                      <a:pt x="1385" y="4646"/>
                      <a:pt x="0" y="67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4" name="Freeform: Shape 1743">
                <a:extLst>
                  <a:ext uri="{FF2B5EF4-FFF2-40B4-BE49-F238E27FC236}">
                    <a16:creationId xmlns:a16="http://schemas.microsoft.com/office/drawing/2014/main" id="{1C70ADF8-8E88-4A0B-8FC4-0245D2D92185}"/>
                  </a:ext>
                </a:extLst>
              </p:cNvPr>
              <p:cNvSpPr/>
              <p:nvPr/>
            </p:nvSpPr>
            <p:spPr>
              <a:xfrm>
                <a:off x="4417290" y="1364903"/>
                <a:ext cx="530" cy="4079"/>
              </a:xfrm>
              <a:custGeom>
                <a:avLst/>
                <a:gdLst>
                  <a:gd name="connsiteX0" fmla="*/ 261 w 530"/>
                  <a:gd name="connsiteY0" fmla="*/ 0 h 4079"/>
                  <a:gd name="connsiteX1" fmla="*/ 261 w 530"/>
                  <a:gd name="connsiteY1" fmla="*/ 4079 h 4079"/>
                  <a:gd name="connsiteX2" fmla="*/ 261 w 530"/>
                  <a:gd name="connsiteY2" fmla="*/ 0 h 4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30" h="4079">
                    <a:moveTo>
                      <a:pt x="261" y="0"/>
                    </a:moveTo>
                    <a:cubicBezTo>
                      <a:pt x="620" y="1333"/>
                      <a:pt x="620" y="2746"/>
                      <a:pt x="261" y="4079"/>
                    </a:cubicBezTo>
                    <a:cubicBezTo>
                      <a:pt x="-87" y="2746"/>
                      <a:pt x="-87" y="1333"/>
                      <a:pt x="26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5" name="Freeform: Shape 1744">
                <a:extLst>
                  <a:ext uri="{FF2B5EF4-FFF2-40B4-BE49-F238E27FC236}">
                    <a16:creationId xmlns:a16="http://schemas.microsoft.com/office/drawing/2014/main" id="{75498833-26AE-49A0-BABD-6AEF908A0115}"/>
                  </a:ext>
                </a:extLst>
              </p:cNvPr>
              <p:cNvSpPr/>
              <p:nvPr/>
            </p:nvSpPr>
            <p:spPr>
              <a:xfrm>
                <a:off x="4419047" y="1350378"/>
                <a:ext cx="5480" cy="9948"/>
              </a:xfrm>
              <a:custGeom>
                <a:avLst/>
                <a:gdLst>
                  <a:gd name="connsiteX0" fmla="*/ 0 w 5480"/>
                  <a:gd name="connsiteY0" fmla="*/ 9949 h 9948"/>
                  <a:gd name="connsiteX1" fmla="*/ 5480 w 5480"/>
                  <a:gd name="connsiteY1" fmla="*/ 0 h 9948"/>
                  <a:gd name="connsiteX2" fmla="*/ 0 w 5480"/>
                  <a:gd name="connsiteY2" fmla="*/ 9949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80" h="9948">
                    <a:moveTo>
                      <a:pt x="0" y="9949"/>
                    </a:moveTo>
                    <a:cubicBezTo>
                      <a:pt x="1495" y="6765"/>
                      <a:pt x="3687" y="3582"/>
                      <a:pt x="5480" y="0"/>
                    </a:cubicBezTo>
                    <a:cubicBezTo>
                      <a:pt x="3787" y="3681"/>
                      <a:pt x="1794" y="6666"/>
                      <a:pt x="0" y="9949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6" name="Freeform: Shape 1745">
                <a:extLst>
                  <a:ext uri="{FF2B5EF4-FFF2-40B4-BE49-F238E27FC236}">
                    <a16:creationId xmlns:a16="http://schemas.microsoft.com/office/drawing/2014/main" id="{FD6B279A-937E-44C1-AC4C-4968036870BA}"/>
                  </a:ext>
                </a:extLst>
              </p:cNvPr>
              <p:cNvSpPr/>
              <p:nvPr/>
            </p:nvSpPr>
            <p:spPr>
              <a:xfrm>
                <a:off x="4425025" y="1304912"/>
                <a:ext cx="7074" cy="5869"/>
              </a:xfrm>
              <a:custGeom>
                <a:avLst/>
                <a:gdLst>
                  <a:gd name="connsiteX0" fmla="*/ 7075 w 7074"/>
                  <a:gd name="connsiteY0" fmla="*/ 0 h 5869"/>
                  <a:gd name="connsiteX1" fmla="*/ 0 w 7074"/>
                  <a:gd name="connsiteY1" fmla="*/ 5870 h 5869"/>
                  <a:gd name="connsiteX2" fmla="*/ 7075 w 7074"/>
                  <a:gd name="connsiteY2" fmla="*/ 0 h 5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74" h="5869">
                    <a:moveTo>
                      <a:pt x="7075" y="0"/>
                    </a:moveTo>
                    <a:cubicBezTo>
                      <a:pt x="4215" y="1254"/>
                      <a:pt x="1764" y="3293"/>
                      <a:pt x="0" y="5870"/>
                    </a:cubicBezTo>
                    <a:cubicBezTo>
                      <a:pt x="1624" y="3164"/>
                      <a:pt x="4116" y="1094"/>
                      <a:pt x="7075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7" name="Freeform: Shape 1746">
                <a:extLst>
                  <a:ext uri="{FF2B5EF4-FFF2-40B4-BE49-F238E27FC236}">
                    <a16:creationId xmlns:a16="http://schemas.microsoft.com/office/drawing/2014/main" id="{7102CE59-902D-4C5B-8914-F9FCDE1B8926}"/>
                  </a:ext>
                </a:extLst>
              </p:cNvPr>
              <p:cNvSpPr/>
              <p:nvPr/>
            </p:nvSpPr>
            <p:spPr>
              <a:xfrm>
                <a:off x="4448840" y="1300236"/>
                <a:ext cx="5380" cy="1691"/>
              </a:xfrm>
              <a:custGeom>
                <a:avLst/>
                <a:gdLst>
                  <a:gd name="connsiteX0" fmla="*/ 5381 w 5380"/>
                  <a:gd name="connsiteY0" fmla="*/ 0 h 1691"/>
                  <a:gd name="connsiteX1" fmla="*/ 5381 w 5380"/>
                  <a:gd name="connsiteY1" fmla="*/ 597 h 1691"/>
                  <a:gd name="connsiteX2" fmla="*/ 0 w 5380"/>
                  <a:gd name="connsiteY2" fmla="*/ 1691 h 1691"/>
                  <a:gd name="connsiteX3" fmla="*/ 3388 w 5380"/>
                  <a:gd name="connsiteY3" fmla="*/ 597 h 1691"/>
                  <a:gd name="connsiteX4" fmla="*/ 5381 w 5380"/>
                  <a:gd name="connsiteY4" fmla="*/ 0 h 1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80" h="1691">
                    <a:moveTo>
                      <a:pt x="5381" y="0"/>
                    </a:moveTo>
                    <a:lnTo>
                      <a:pt x="5381" y="597"/>
                    </a:lnTo>
                    <a:cubicBezTo>
                      <a:pt x="3637" y="1174"/>
                      <a:pt x="1834" y="1542"/>
                      <a:pt x="0" y="1691"/>
                    </a:cubicBezTo>
                    <a:cubicBezTo>
                      <a:pt x="1176" y="1482"/>
                      <a:pt x="2312" y="1114"/>
                      <a:pt x="3388" y="597"/>
                    </a:cubicBezTo>
                    <a:cubicBezTo>
                      <a:pt x="4116" y="786"/>
                      <a:pt x="4882" y="557"/>
                      <a:pt x="5381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8" name="Freeform: Shape 1747">
                <a:extLst>
                  <a:ext uri="{FF2B5EF4-FFF2-40B4-BE49-F238E27FC236}">
                    <a16:creationId xmlns:a16="http://schemas.microsoft.com/office/drawing/2014/main" id="{FB9C557A-7F95-4680-8F14-02093916EFBB}"/>
                  </a:ext>
                </a:extLst>
              </p:cNvPr>
              <p:cNvSpPr/>
              <p:nvPr/>
            </p:nvSpPr>
            <p:spPr>
              <a:xfrm>
                <a:off x="4456513" y="1291739"/>
                <a:ext cx="4384" cy="3821"/>
              </a:xfrm>
              <a:custGeom>
                <a:avLst/>
                <a:gdLst>
                  <a:gd name="connsiteX0" fmla="*/ 4384 w 4384"/>
                  <a:gd name="connsiteY0" fmla="*/ 141 h 3821"/>
                  <a:gd name="connsiteX1" fmla="*/ 4384 w 4384"/>
                  <a:gd name="connsiteY1" fmla="*/ 141 h 3821"/>
                  <a:gd name="connsiteX2" fmla="*/ 0 w 4384"/>
                  <a:gd name="connsiteY2" fmla="*/ 3822 h 3821"/>
                  <a:gd name="connsiteX3" fmla="*/ 4384 w 4384"/>
                  <a:gd name="connsiteY3" fmla="*/ 141 h 3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4" h="3821">
                    <a:moveTo>
                      <a:pt x="4384" y="141"/>
                    </a:moveTo>
                    <a:lnTo>
                      <a:pt x="4384" y="141"/>
                    </a:lnTo>
                    <a:cubicBezTo>
                      <a:pt x="2710" y="1086"/>
                      <a:pt x="1225" y="2340"/>
                      <a:pt x="0" y="3822"/>
                    </a:cubicBezTo>
                    <a:cubicBezTo>
                      <a:pt x="1395" y="1434"/>
                      <a:pt x="2591" y="-555"/>
                      <a:pt x="4384" y="141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49" name="Freeform: Shape 1748">
                <a:extLst>
                  <a:ext uri="{FF2B5EF4-FFF2-40B4-BE49-F238E27FC236}">
                    <a16:creationId xmlns:a16="http://schemas.microsoft.com/office/drawing/2014/main" id="{478FBDBF-5AB5-4833-9F89-5A89A56B1874}"/>
                  </a:ext>
                </a:extLst>
              </p:cNvPr>
              <p:cNvSpPr/>
              <p:nvPr/>
            </p:nvSpPr>
            <p:spPr>
              <a:xfrm>
                <a:off x="4465282" y="1585865"/>
                <a:ext cx="30391" cy="1193"/>
              </a:xfrm>
              <a:custGeom>
                <a:avLst/>
                <a:gdLst>
                  <a:gd name="connsiteX0" fmla="*/ 0 w 30391"/>
                  <a:gd name="connsiteY0" fmla="*/ 0 h 1193"/>
                  <a:gd name="connsiteX1" fmla="*/ 30391 w 30391"/>
                  <a:gd name="connsiteY1" fmla="*/ 1194 h 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391" h="1193">
                    <a:moveTo>
                      <a:pt x="0" y="0"/>
                    </a:moveTo>
                    <a:cubicBezTo>
                      <a:pt x="9167" y="0"/>
                      <a:pt x="19929" y="597"/>
                      <a:pt x="30391" y="119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50" name="Freeform: Shape 1749">
                <a:extLst>
                  <a:ext uri="{FF2B5EF4-FFF2-40B4-BE49-F238E27FC236}">
                    <a16:creationId xmlns:a16="http://schemas.microsoft.com/office/drawing/2014/main" id="{5E026677-31D1-4B25-BA59-43AC5D65AB1D}"/>
                  </a:ext>
                </a:extLst>
              </p:cNvPr>
              <p:cNvSpPr/>
              <p:nvPr/>
            </p:nvSpPr>
            <p:spPr>
              <a:xfrm>
                <a:off x="4467773" y="1284816"/>
                <a:ext cx="4384" cy="3979"/>
              </a:xfrm>
              <a:custGeom>
                <a:avLst/>
                <a:gdLst>
                  <a:gd name="connsiteX0" fmla="*/ 2292 w 4384"/>
                  <a:gd name="connsiteY0" fmla="*/ 3084 h 3979"/>
                  <a:gd name="connsiteX1" fmla="*/ 0 w 4384"/>
                  <a:gd name="connsiteY1" fmla="*/ 3979 h 3979"/>
                  <a:gd name="connsiteX2" fmla="*/ 4384 w 4384"/>
                  <a:gd name="connsiteY2" fmla="*/ 0 h 3979"/>
                  <a:gd name="connsiteX3" fmla="*/ 2292 w 4384"/>
                  <a:gd name="connsiteY3" fmla="*/ 3084 h 3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4" h="3979">
                    <a:moveTo>
                      <a:pt x="2292" y="3084"/>
                    </a:moveTo>
                    <a:lnTo>
                      <a:pt x="0" y="3979"/>
                    </a:lnTo>
                    <a:cubicBezTo>
                      <a:pt x="1574" y="2786"/>
                      <a:pt x="3049" y="1452"/>
                      <a:pt x="4384" y="0"/>
                    </a:cubicBezTo>
                    <a:cubicBezTo>
                      <a:pt x="3627" y="985"/>
                      <a:pt x="2930" y="2019"/>
                      <a:pt x="2292" y="308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51" name="Freeform: Shape 1750">
                <a:extLst>
                  <a:ext uri="{FF2B5EF4-FFF2-40B4-BE49-F238E27FC236}">
                    <a16:creationId xmlns:a16="http://schemas.microsoft.com/office/drawing/2014/main" id="{75C75A59-EA6F-4164-8D36-F71A47D8F2B1}"/>
                  </a:ext>
                </a:extLst>
              </p:cNvPr>
              <p:cNvSpPr/>
              <p:nvPr/>
            </p:nvSpPr>
            <p:spPr>
              <a:xfrm>
                <a:off x="4479730" y="1221044"/>
                <a:ext cx="5181" cy="7959"/>
              </a:xfrm>
              <a:custGeom>
                <a:avLst/>
                <a:gdLst>
                  <a:gd name="connsiteX0" fmla="*/ 5182 w 5181"/>
                  <a:gd name="connsiteY0" fmla="*/ 0 h 7959"/>
                  <a:gd name="connsiteX1" fmla="*/ 0 w 5181"/>
                  <a:gd name="connsiteY1" fmla="*/ 7959 h 7959"/>
                  <a:gd name="connsiteX2" fmla="*/ 5182 w 5181"/>
                  <a:gd name="connsiteY2" fmla="*/ 0 h 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181" h="7959">
                    <a:moveTo>
                      <a:pt x="5182" y="0"/>
                    </a:moveTo>
                    <a:cubicBezTo>
                      <a:pt x="3627" y="2766"/>
                      <a:pt x="1893" y="5422"/>
                      <a:pt x="0" y="7959"/>
                    </a:cubicBezTo>
                    <a:cubicBezTo>
                      <a:pt x="728" y="4775"/>
                      <a:pt x="2561" y="1950"/>
                      <a:pt x="5182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52" name="Freeform: Shape 1751">
                <a:extLst>
                  <a:ext uri="{FF2B5EF4-FFF2-40B4-BE49-F238E27FC236}">
                    <a16:creationId xmlns:a16="http://schemas.microsoft.com/office/drawing/2014/main" id="{2F97E369-D942-412F-B30A-22746857E5D7}"/>
                  </a:ext>
                </a:extLst>
              </p:cNvPr>
              <p:cNvSpPr/>
              <p:nvPr/>
            </p:nvSpPr>
            <p:spPr>
              <a:xfrm>
                <a:off x="4483035" y="1263327"/>
                <a:ext cx="2374" cy="10645"/>
              </a:xfrm>
              <a:custGeom>
                <a:avLst/>
                <a:gdLst>
                  <a:gd name="connsiteX0" fmla="*/ 2374 w 2374"/>
                  <a:gd name="connsiteY0" fmla="*/ 0 h 10645"/>
                  <a:gd name="connsiteX1" fmla="*/ 780 w 2374"/>
                  <a:gd name="connsiteY1" fmla="*/ 10645 h 10645"/>
                  <a:gd name="connsiteX2" fmla="*/ 2374 w 2374"/>
                  <a:gd name="connsiteY2" fmla="*/ 0 h 10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74" h="10645">
                    <a:moveTo>
                      <a:pt x="2374" y="0"/>
                    </a:moveTo>
                    <a:cubicBezTo>
                      <a:pt x="282" y="3134"/>
                      <a:pt x="-306" y="7034"/>
                      <a:pt x="780" y="10645"/>
                    </a:cubicBezTo>
                    <a:cubicBezTo>
                      <a:pt x="-675" y="7074"/>
                      <a:pt x="-67" y="2995"/>
                      <a:pt x="2374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53" name="Freeform: Shape 1752">
                <a:extLst>
                  <a:ext uri="{FF2B5EF4-FFF2-40B4-BE49-F238E27FC236}">
                    <a16:creationId xmlns:a16="http://schemas.microsoft.com/office/drawing/2014/main" id="{47124F9F-1D2E-4432-80B2-A0230D159F95}"/>
                  </a:ext>
                </a:extLst>
              </p:cNvPr>
              <p:cNvSpPr/>
              <p:nvPr/>
            </p:nvSpPr>
            <p:spPr>
              <a:xfrm>
                <a:off x="4484114" y="1245618"/>
                <a:ext cx="4289" cy="11043"/>
              </a:xfrm>
              <a:custGeom>
                <a:avLst/>
                <a:gdLst>
                  <a:gd name="connsiteX0" fmla="*/ 4285 w 4289"/>
                  <a:gd name="connsiteY0" fmla="*/ 11043 h 11043"/>
                  <a:gd name="connsiteX1" fmla="*/ 0 w 4289"/>
                  <a:gd name="connsiteY1" fmla="*/ 0 h 11043"/>
                  <a:gd name="connsiteX2" fmla="*/ 4285 w 4289"/>
                  <a:gd name="connsiteY2" fmla="*/ 11043 h 11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89" h="11043">
                    <a:moveTo>
                      <a:pt x="4285" y="11043"/>
                    </a:moveTo>
                    <a:cubicBezTo>
                      <a:pt x="3338" y="7193"/>
                      <a:pt x="1904" y="3482"/>
                      <a:pt x="0" y="0"/>
                    </a:cubicBezTo>
                    <a:cubicBezTo>
                      <a:pt x="2840" y="2965"/>
                      <a:pt x="4384" y="6944"/>
                      <a:pt x="4285" y="11043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54" name="Freeform: Shape 1753">
                <a:extLst>
                  <a:ext uri="{FF2B5EF4-FFF2-40B4-BE49-F238E27FC236}">
                    <a16:creationId xmlns:a16="http://schemas.microsoft.com/office/drawing/2014/main" id="{ADC8A8EF-2C8A-4122-B4F9-6F122D0746C5}"/>
                  </a:ext>
                </a:extLst>
              </p:cNvPr>
              <p:cNvSpPr/>
              <p:nvPr/>
            </p:nvSpPr>
            <p:spPr>
              <a:xfrm>
                <a:off x="4490783" y="1190701"/>
                <a:ext cx="3992" cy="14724"/>
              </a:xfrm>
              <a:custGeom>
                <a:avLst/>
                <a:gdLst>
                  <a:gd name="connsiteX0" fmla="*/ 7 w 3992"/>
                  <a:gd name="connsiteY0" fmla="*/ 0 h 14724"/>
                  <a:gd name="connsiteX1" fmla="*/ 3993 w 3992"/>
                  <a:gd name="connsiteY1" fmla="*/ 10645 h 14724"/>
                  <a:gd name="connsiteX2" fmla="*/ 2099 w 3992"/>
                  <a:gd name="connsiteY2" fmla="*/ 14724 h 14724"/>
                  <a:gd name="connsiteX3" fmla="*/ 7 w 3992"/>
                  <a:gd name="connsiteY3" fmla="*/ 0 h 14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92" h="14724">
                    <a:moveTo>
                      <a:pt x="7" y="0"/>
                    </a:moveTo>
                    <a:cubicBezTo>
                      <a:pt x="645" y="3771"/>
                      <a:pt x="1990" y="7382"/>
                      <a:pt x="3993" y="10645"/>
                    </a:cubicBezTo>
                    <a:cubicBezTo>
                      <a:pt x="3395" y="11938"/>
                      <a:pt x="2697" y="13232"/>
                      <a:pt x="2099" y="14724"/>
                    </a:cubicBezTo>
                    <a:cubicBezTo>
                      <a:pt x="3794" y="7163"/>
                      <a:pt x="-192" y="4775"/>
                      <a:pt x="7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55" name="Freeform: Shape 1754">
                <a:extLst>
                  <a:ext uri="{FF2B5EF4-FFF2-40B4-BE49-F238E27FC236}">
                    <a16:creationId xmlns:a16="http://schemas.microsoft.com/office/drawing/2014/main" id="{C4722D9B-5F17-48FF-AD71-DE8BF991B9E5}"/>
                  </a:ext>
                </a:extLst>
              </p:cNvPr>
              <p:cNvSpPr/>
              <p:nvPr/>
            </p:nvSpPr>
            <p:spPr>
              <a:xfrm>
                <a:off x="4559640" y="1461704"/>
                <a:ext cx="1200" cy="6765"/>
              </a:xfrm>
              <a:custGeom>
                <a:avLst/>
                <a:gdLst>
                  <a:gd name="connsiteX0" fmla="*/ 105 w 1200"/>
                  <a:gd name="connsiteY0" fmla="*/ 6765 h 6765"/>
                  <a:gd name="connsiteX1" fmla="*/ 1200 w 1200"/>
                  <a:gd name="connsiteY1" fmla="*/ 0 h 6765"/>
                  <a:gd name="connsiteX2" fmla="*/ 105 w 1200"/>
                  <a:gd name="connsiteY2" fmla="*/ 6765 h 6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0" h="6765">
                    <a:moveTo>
                      <a:pt x="105" y="6765"/>
                    </a:moveTo>
                    <a:cubicBezTo>
                      <a:pt x="-204" y="4447"/>
                      <a:pt x="174" y="2099"/>
                      <a:pt x="1200" y="0"/>
                    </a:cubicBezTo>
                    <a:cubicBezTo>
                      <a:pt x="1041" y="2278"/>
                      <a:pt x="673" y="4547"/>
                      <a:pt x="105" y="6765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56" name="Freeform: Shape 1755">
                <a:extLst>
                  <a:ext uri="{FF2B5EF4-FFF2-40B4-BE49-F238E27FC236}">
                    <a16:creationId xmlns:a16="http://schemas.microsoft.com/office/drawing/2014/main" id="{EE932DF3-BBDC-45EE-8B21-9AFAE3C89402}"/>
                  </a:ext>
                </a:extLst>
              </p:cNvPr>
              <p:cNvSpPr/>
              <p:nvPr/>
            </p:nvSpPr>
            <p:spPr>
              <a:xfrm>
                <a:off x="4562335" y="1474041"/>
                <a:ext cx="7373" cy="9948"/>
              </a:xfrm>
              <a:custGeom>
                <a:avLst/>
                <a:gdLst>
                  <a:gd name="connsiteX0" fmla="*/ 0 w 7373"/>
                  <a:gd name="connsiteY0" fmla="*/ 0 h 9948"/>
                  <a:gd name="connsiteX1" fmla="*/ 7374 w 7373"/>
                  <a:gd name="connsiteY1" fmla="*/ 9949 h 9948"/>
                  <a:gd name="connsiteX2" fmla="*/ 0 w 7373"/>
                  <a:gd name="connsiteY2" fmla="*/ 0 h 9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73" h="9948">
                    <a:moveTo>
                      <a:pt x="0" y="0"/>
                    </a:moveTo>
                    <a:cubicBezTo>
                      <a:pt x="2491" y="2885"/>
                      <a:pt x="4982" y="6268"/>
                      <a:pt x="7374" y="9949"/>
                    </a:cubicBezTo>
                    <a:cubicBezTo>
                      <a:pt x="4693" y="6795"/>
                      <a:pt x="2232" y="3472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57" name="Freeform: Shape 1756">
                <a:extLst>
                  <a:ext uri="{FF2B5EF4-FFF2-40B4-BE49-F238E27FC236}">
                    <a16:creationId xmlns:a16="http://schemas.microsoft.com/office/drawing/2014/main" id="{434C63E5-3D73-4B2A-83D8-933C57206CC2}"/>
                  </a:ext>
                </a:extLst>
              </p:cNvPr>
              <p:cNvSpPr/>
              <p:nvPr/>
            </p:nvSpPr>
            <p:spPr>
              <a:xfrm>
                <a:off x="4572997" y="1488069"/>
                <a:ext cx="1195" cy="1591"/>
              </a:xfrm>
              <a:custGeom>
                <a:avLst/>
                <a:gdLst>
                  <a:gd name="connsiteX0" fmla="*/ 0 w 1195"/>
                  <a:gd name="connsiteY0" fmla="*/ 0 h 1591"/>
                  <a:gd name="connsiteX1" fmla="*/ 1196 w 1195"/>
                  <a:gd name="connsiteY1" fmla="*/ 1592 h 1591"/>
                  <a:gd name="connsiteX2" fmla="*/ 498 w 1195"/>
                  <a:gd name="connsiteY2" fmla="*/ 895 h 1591"/>
                  <a:gd name="connsiteX3" fmla="*/ 0 w 1195"/>
                  <a:gd name="connsiteY3" fmla="*/ 0 h 1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95" h="1591">
                    <a:moveTo>
                      <a:pt x="0" y="0"/>
                    </a:moveTo>
                    <a:lnTo>
                      <a:pt x="1196" y="1592"/>
                    </a:lnTo>
                    <a:lnTo>
                      <a:pt x="498" y="895"/>
                    </a:lnTo>
                    <a:cubicBezTo>
                      <a:pt x="398" y="567"/>
                      <a:pt x="219" y="259"/>
                      <a:pt x="0" y="0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58" name="Freeform: Shape 1757">
                <a:extLst>
                  <a:ext uri="{FF2B5EF4-FFF2-40B4-BE49-F238E27FC236}">
                    <a16:creationId xmlns:a16="http://schemas.microsoft.com/office/drawing/2014/main" id="{44E96EDC-40CB-4720-9AE1-825148851A80}"/>
                  </a:ext>
                </a:extLst>
              </p:cNvPr>
              <p:cNvSpPr/>
              <p:nvPr/>
            </p:nvSpPr>
            <p:spPr>
              <a:xfrm>
                <a:off x="4579773" y="1512045"/>
                <a:ext cx="6775" cy="8854"/>
              </a:xfrm>
              <a:custGeom>
                <a:avLst/>
                <a:gdLst>
                  <a:gd name="connsiteX0" fmla="*/ 6776 w 6775"/>
                  <a:gd name="connsiteY0" fmla="*/ 8854 h 8854"/>
                  <a:gd name="connsiteX1" fmla="*/ 0 w 6775"/>
                  <a:gd name="connsiteY1" fmla="*/ 0 h 8854"/>
                  <a:gd name="connsiteX2" fmla="*/ 6776 w 6775"/>
                  <a:gd name="connsiteY2" fmla="*/ 8854 h 8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75" h="8854">
                    <a:moveTo>
                      <a:pt x="6776" y="8854"/>
                    </a:moveTo>
                    <a:cubicBezTo>
                      <a:pt x="3239" y="7143"/>
                      <a:pt x="717" y="3860"/>
                      <a:pt x="0" y="0"/>
                    </a:cubicBezTo>
                    <a:cubicBezTo>
                      <a:pt x="1126" y="3661"/>
                      <a:pt x="3527" y="6805"/>
                      <a:pt x="6776" y="8854"/>
                    </a:cubicBezTo>
                    <a:close/>
                  </a:path>
                </a:pathLst>
              </a:custGeom>
              <a:solidFill>
                <a:srgbClr val="ECE8E4"/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674" name="Freeform: Shape 1673">
              <a:extLst>
                <a:ext uri="{FF2B5EF4-FFF2-40B4-BE49-F238E27FC236}">
                  <a16:creationId xmlns:a16="http://schemas.microsoft.com/office/drawing/2014/main" id="{3C690357-B927-455D-BED2-0AE085C49CB9}"/>
                </a:ext>
              </a:extLst>
            </p:cNvPr>
            <p:cNvSpPr/>
            <p:nvPr/>
          </p:nvSpPr>
          <p:spPr>
            <a:xfrm>
              <a:off x="74914" y="2598249"/>
              <a:ext cx="1648660" cy="1569073"/>
            </a:xfrm>
            <a:custGeom>
              <a:avLst/>
              <a:gdLst>
                <a:gd name="connsiteX0" fmla="*/ 1544 w 1648660"/>
                <a:gd name="connsiteY0" fmla="*/ 696412 h 1569073"/>
                <a:gd name="connsiteX1" fmla="*/ 32533 w 1648660"/>
                <a:gd name="connsiteY1" fmla="*/ 683478 h 1569073"/>
                <a:gd name="connsiteX2" fmla="*/ 111152 w 1648660"/>
                <a:gd name="connsiteY2" fmla="*/ 683478 h 1569073"/>
                <a:gd name="connsiteX3" fmla="*/ 448946 w 1648660"/>
                <a:gd name="connsiteY3" fmla="*/ 684473 h 1569073"/>
                <a:gd name="connsiteX4" fmla="*/ 451935 w 1648660"/>
                <a:gd name="connsiteY4" fmla="*/ 0 h 1569073"/>
                <a:gd name="connsiteX5" fmla="*/ 834568 w 1648660"/>
                <a:gd name="connsiteY5" fmla="*/ 0 h 1569073"/>
                <a:gd name="connsiteX6" fmla="*/ 834568 w 1648660"/>
                <a:gd name="connsiteY6" fmla="*/ 299457 h 1569073"/>
                <a:gd name="connsiteX7" fmla="*/ 885387 w 1648660"/>
                <a:gd name="connsiteY7" fmla="*/ 327314 h 1569073"/>
                <a:gd name="connsiteX8" fmla="*/ 907308 w 1648660"/>
                <a:gd name="connsiteY8" fmla="*/ 327314 h 1569073"/>
                <a:gd name="connsiteX9" fmla="*/ 934212 w 1648660"/>
                <a:gd name="connsiteY9" fmla="*/ 337262 h 1569073"/>
                <a:gd name="connsiteX10" fmla="*/ 953244 w 1648660"/>
                <a:gd name="connsiteY10" fmla="*/ 354175 h 1569073"/>
                <a:gd name="connsiteX11" fmla="*/ 977059 w 1648660"/>
                <a:gd name="connsiteY11" fmla="*/ 360144 h 1569073"/>
                <a:gd name="connsiteX12" fmla="*/ 993999 w 1648660"/>
                <a:gd name="connsiteY12" fmla="*/ 365119 h 1569073"/>
                <a:gd name="connsiteX13" fmla="*/ 1026881 w 1648660"/>
                <a:gd name="connsiteY13" fmla="*/ 375067 h 1569073"/>
                <a:gd name="connsiteX14" fmla="*/ 1035849 w 1648660"/>
                <a:gd name="connsiteY14" fmla="*/ 365119 h 1569073"/>
                <a:gd name="connsiteX15" fmla="*/ 1070725 w 1648660"/>
                <a:gd name="connsiteY15" fmla="*/ 361139 h 1569073"/>
                <a:gd name="connsiteX16" fmla="*/ 1092746 w 1648660"/>
                <a:gd name="connsiteY16" fmla="*/ 386011 h 1569073"/>
                <a:gd name="connsiteX17" fmla="*/ 1103707 w 1648660"/>
                <a:gd name="connsiteY17" fmla="*/ 406904 h 1569073"/>
                <a:gd name="connsiteX18" fmla="*/ 1127522 w 1648660"/>
                <a:gd name="connsiteY18" fmla="*/ 386011 h 1569073"/>
                <a:gd name="connsiteX19" fmla="*/ 1141472 w 1648660"/>
                <a:gd name="connsiteY19" fmla="*/ 399939 h 1569073"/>
                <a:gd name="connsiteX20" fmla="*/ 1151436 w 1648660"/>
                <a:gd name="connsiteY20" fmla="*/ 397950 h 1569073"/>
                <a:gd name="connsiteX21" fmla="*/ 1156419 w 1648660"/>
                <a:gd name="connsiteY21" fmla="*/ 410883 h 1569073"/>
                <a:gd name="connsiteX22" fmla="*/ 1186312 w 1648660"/>
                <a:gd name="connsiteY22" fmla="*/ 397950 h 1569073"/>
                <a:gd name="connsiteX23" fmla="*/ 1186312 w 1648660"/>
                <a:gd name="connsiteY23" fmla="*/ 412873 h 1569073"/>
                <a:gd name="connsiteX24" fmla="*/ 1200262 w 1648660"/>
                <a:gd name="connsiteY24" fmla="*/ 424811 h 1569073"/>
                <a:gd name="connsiteX25" fmla="*/ 1214312 w 1648660"/>
                <a:gd name="connsiteY25" fmla="*/ 401929 h 1569073"/>
                <a:gd name="connsiteX26" fmla="*/ 1218298 w 1648660"/>
                <a:gd name="connsiteY26" fmla="*/ 392975 h 1569073"/>
                <a:gd name="connsiteX27" fmla="*/ 1224276 w 1648660"/>
                <a:gd name="connsiteY27" fmla="*/ 392975 h 1569073"/>
                <a:gd name="connsiteX28" fmla="*/ 1231251 w 1648660"/>
                <a:gd name="connsiteY28" fmla="*/ 407898 h 1569073"/>
                <a:gd name="connsiteX29" fmla="*/ 1240120 w 1648660"/>
                <a:gd name="connsiteY29" fmla="*/ 408893 h 1569073"/>
                <a:gd name="connsiteX30" fmla="*/ 1255066 w 1648660"/>
                <a:gd name="connsiteY30" fmla="*/ 396955 h 1569073"/>
                <a:gd name="connsiteX31" fmla="*/ 1266027 w 1648660"/>
                <a:gd name="connsiteY31" fmla="*/ 411878 h 1569073"/>
                <a:gd name="connsiteX32" fmla="*/ 1274995 w 1648660"/>
                <a:gd name="connsiteY32" fmla="*/ 418842 h 1569073"/>
                <a:gd name="connsiteX33" fmla="*/ 1291935 w 1648660"/>
                <a:gd name="connsiteY33" fmla="*/ 430780 h 1569073"/>
                <a:gd name="connsiteX34" fmla="*/ 1308874 w 1648660"/>
                <a:gd name="connsiteY34" fmla="*/ 422822 h 1569073"/>
                <a:gd name="connsiteX35" fmla="*/ 1318838 w 1648660"/>
                <a:gd name="connsiteY35" fmla="*/ 409888 h 1569073"/>
                <a:gd name="connsiteX36" fmla="*/ 1345742 w 1648660"/>
                <a:gd name="connsiteY36" fmla="*/ 403919 h 1569073"/>
                <a:gd name="connsiteX37" fmla="*/ 1364675 w 1648660"/>
                <a:gd name="connsiteY37" fmla="*/ 403919 h 1569073"/>
                <a:gd name="connsiteX38" fmla="*/ 1393571 w 1648660"/>
                <a:gd name="connsiteY38" fmla="*/ 395960 h 1569073"/>
                <a:gd name="connsiteX39" fmla="*/ 1427451 w 1648660"/>
                <a:gd name="connsiteY39" fmla="*/ 402924 h 1569073"/>
                <a:gd name="connsiteX40" fmla="*/ 1444390 w 1648660"/>
                <a:gd name="connsiteY40" fmla="*/ 393970 h 1569073"/>
                <a:gd name="connsiteX41" fmla="*/ 1466312 w 1648660"/>
                <a:gd name="connsiteY41" fmla="*/ 406904 h 1569073"/>
                <a:gd name="connsiteX42" fmla="*/ 1483251 w 1648660"/>
                <a:gd name="connsiteY42" fmla="*/ 423816 h 1569073"/>
                <a:gd name="connsiteX43" fmla="*/ 1517230 w 1648660"/>
                <a:gd name="connsiteY43" fmla="*/ 434760 h 1569073"/>
                <a:gd name="connsiteX44" fmla="*/ 1528091 w 1648660"/>
                <a:gd name="connsiteY44" fmla="*/ 439734 h 1569073"/>
                <a:gd name="connsiteX45" fmla="*/ 1540048 w 1648660"/>
                <a:gd name="connsiteY45" fmla="*/ 450678 h 1569073"/>
                <a:gd name="connsiteX46" fmla="*/ 1562966 w 1648660"/>
                <a:gd name="connsiteY46" fmla="*/ 449683 h 1569073"/>
                <a:gd name="connsiteX47" fmla="*/ 1570938 w 1648660"/>
                <a:gd name="connsiteY47" fmla="*/ 448688 h 1569073"/>
                <a:gd name="connsiteX48" fmla="*/ 1583892 w 1648660"/>
                <a:gd name="connsiteY48" fmla="*/ 452668 h 1569073"/>
                <a:gd name="connsiteX49" fmla="*/ 1583892 w 1648660"/>
                <a:gd name="connsiteY49" fmla="*/ 511365 h 1569073"/>
                <a:gd name="connsiteX50" fmla="*/ 1583892 w 1648660"/>
                <a:gd name="connsiteY50" fmla="*/ 685468 h 1569073"/>
                <a:gd name="connsiteX51" fmla="*/ 1600931 w 1648660"/>
                <a:gd name="connsiteY51" fmla="*/ 699397 h 1569073"/>
                <a:gd name="connsiteX52" fmla="*/ 1607806 w 1648660"/>
                <a:gd name="connsiteY52" fmla="*/ 713325 h 1569073"/>
                <a:gd name="connsiteX53" fmla="*/ 1612788 w 1648660"/>
                <a:gd name="connsiteY53" fmla="*/ 740186 h 1569073"/>
                <a:gd name="connsiteX54" fmla="*/ 1623749 w 1648660"/>
                <a:gd name="connsiteY54" fmla="*/ 757099 h 1569073"/>
                <a:gd name="connsiteX55" fmla="*/ 1630725 w 1648660"/>
                <a:gd name="connsiteY55" fmla="*/ 776002 h 1569073"/>
                <a:gd name="connsiteX56" fmla="*/ 1639692 w 1648660"/>
                <a:gd name="connsiteY56" fmla="*/ 804853 h 1569073"/>
                <a:gd name="connsiteX57" fmla="*/ 1647664 w 1648660"/>
                <a:gd name="connsiteY57" fmla="*/ 803858 h 1569073"/>
                <a:gd name="connsiteX58" fmla="*/ 1648660 w 1648660"/>
                <a:gd name="connsiteY58" fmla="*/ 823756 h 1569073"/>
                <a:gd name="connsiteX59" fmla="*/ 1648660 w 1648660"/>
                <a:gd name="connsiteY59" fmla="*/ 842658 h 1569073"/>
                <a:gd name="connsiteX60" fmla="*/ 1643678 w 1648660"/>
                <a:gd name="connsiteY60" fmla="*/ 860566 h 1569073"/>
                <a:gd name="connsiteX61" fmla="*/ 1628632 w 1648660"/>
                <a:gd name="connsiteY61" fmla="*/ 886433 h 1569073"/>
                <a:gd name="connsiteX62" fmla="*/ 1623650 w 1648660"/>
                <a:gd name="connsiteY62" fmla="*/ 897376 h 1569073"/>
                <a:gd name="connsiteX63" fmla="*/ 1626639 w 1648660"/>
                <a:gd name="connsiteY63" fmla="*/ 914289 h 1569073"/>
                <a:gd name="connsiteX64" fmla="*/ 1619664 w 1648660"/>
                <a:gd name="connsiteY64" fmla="*/ 929213 h 1569073"/>
                <a:gd name="connsiteX65" fmla="*/ 1625643 w 1648660"/>
                <a:gd name="connsiteY65" fmla="*/ 942146 h 1569073"/>
                <a:gd name="connsiteX66" fmla="*/ 1610696 w 1648660"/>
                <a:gd name="connsiteY66" fmla="*/ 992884 h 1569073"/>
                <a:gd name="connsiteX67" fmla="*/ 1606810 w 1648660"/>
                <a:gd name="connsiteY67" fmla="*/ 1016761 h 1569073"/>
                <a:gd name="connsiteX68" fmla="*/ 1581899 w 1648660"/>
                <a:gd name="connsiteY68" fmla="*/ 1024721 h 1569073"/>
                <a:gd name="connsiteX69" fmla="*/ 1514041 w 1648660"/>
                <a:gd name="connsiteY69" fmla="*/ 1053572 h 1569073"/>
                <a:gd name="connsiteX70" fmla="*/ 1498098 w 1648660"/>
                <a:gd name="connsiteY70" fmla="*/ 1073469 h 1569073"/>
                <a:gd name="connsiteX71" fmla="*/ 1449272 w 1648660"/>
                <a:gd name="connsiteY71" fmla="*/ 1110280 h 1569073"/>
                <a:gd name="connsiteX72" fmla="*/ 1415394 w 1648660"/>
                <a:gd name="connsiteY72" fmla="*/ 1140126 h 1569073"/>
                <a:gd name="connsiteX73" fmla="*/ 1399450 w 1648660"/>
                <a:gd name="connsiteY73" fmla="*/ 1146095 h 1569073"/>
                <a:gd name="connsiteX74" fmla="*/ 1288846 w 1648660"/>
                <a:gd name="connsiteY74" fmla="*/ 1209767 h 1569073"/>
                <a:gd name="connsiteX75" fmla="*/ 1230155 w 1648660"/>
                <a:gd name="connsiteY75" fmla="*/ 1255531 h 1569073"/>
                <a:gd name="connsiteX76" fmla="*/ 1164291 w 1648660"/>
                <a:gd name="connsiteY76" fmla="*/ 1397798 h 1569073"/>
                <a:gd name="connsiteX77" fmla="*/ 1193187 w 1648660"/>
                <a:gd name="connsiteY77" fmla="*/ 1550014 h 1569073"/>
                <a:gd name="connsiteX78" fmla="*/ 1186212 w 1648660"/>
                <a:gd name="connsiteY78" fmla="*/ 1552004 h 1569073"/>
                <a:gd name="connsiteX79" fmla="*/ 1165387 w 1648660"/>
                <a:gd name="connsiteY79" fmla="*/ 1568917 h 1569073"/>
                <a:gd name="connsiteX80" fmla="*/ 1154426 w 1648660"/>
                <a:gd name="connsiteY80" fmla="*/ 1562947 h 1569073"/>
                <a:gd name="connsiteX81" fmla="*/ 1143365 w 1648660"/>
                <a:gd name="connsiteY81" fmla="*/ 1556978 h 1569073"/>
                <a:gd name="connsiteX82" fmla="*/ 1116461 w 1648660"/>
                <a:gd name="connsiteY82" fmla="*/ 1542055 h 1569073"/>
                <a:gd name="connsiteX83" fmla="*/ 1084575 w 1648660"/>
                <a:gd name="connsiteY83" fmla="*/ 1537081 h 1569073"/>
                <a:gd name="connsiteX84" fmla="*/ 1074611 w 1648660"/>
                <a:gd name="connsiteY84" fmla="*/ 1538075 h 1569073"/>
                <a:gd name="connsiteX85" fmla="*/ 1030767 w 1648660"/>
                <a:gd name="connsiteY85" fmla="*/ 1518178 h 1569073"/>
                <a:gd name="connsiteX86" fmla="*/ 1008946 w 1648660"/>
                <a:gd name="connsiteY86" fmla="*/ 1511214 h 1569073"/>
                <a:gd name="connsiteX87" fmla="*/ 997985 w 1648660"/>
                <a:gd name="connsiteY87" fmla="*/ 1509224 h 1569073"/>
                <a:gd name="connsiteX88" fmla="*/ 985031 w 1648660"/>
                <a:gd name="connsiteY88" fmla="*/ 1494301 h 1569073"/>
                <a:gd name="connsiteX89" fmla="*/ 973970 w 1648660"/>
                <a:gd name="connsiteY89" fmla="*/ 1496291 h 1569073"/>
                <a:gd name="connsiteX90" fmla="*/ 956034 w 1648660"/>
                <a:gd name="connsiteY90" fmla="*/ 1488332 h 1569073"/>
                <a:gd name="connsiteX91" fmla="*/ 949159 w 1648660"/>
                <a:gd name="connsiteY91" fmla="*/ 1479378 h 1569073"/>
                <a:gd name="connsiteX92" fmla="*/ 939195 w 1648660"/>
                <a:gd name="connsiteY92" fmla="*/ 1469429 h 1569073"/>
                <a:gd name="connsiteX93" fmla="*/ 930226 w 1648660"/>
                <a:gd name="connsiteY93" fmla="*/ 1435604 h 1569073"/>
                <a:gd name="connsiteX94" fmla="*/ 919266 w 1648660"/>
                <a:gd name="connsiteY94" fmla="*/ 1422670 h 1569073"/>
                <a:gd name="connsiteX95" fmla="*/ 904319 w 1648660"/>
                <a:gd name="connsiteY95" fmla="*/ 1401778 h 1569073"/>
                <a:gd name="connsiteX96" fmla="*/ 894355 w 1648660"/>
                <a:gd name="connsiteY96" fmla="*/ 1362978 h 1569073"/>
                <a:gd name="connsiteX97" fmla="*/ 898341 w 1648660"/>
                <a:gd name="connsiteY97" fmla="*/ 1335121 h 1569073"/>
                <a:gd name="connsiteX98" fmla="*/ 890369 w 1648660"/>
                <a:gd name="connsiteY98" fmla="*/ 1319203 h 1569073"/>
                <a:gd name="connsiteX99" fmla="*/ 871536 w 1648660"/>
                <a:gd name="connsiteY99" fmla="*/ 1313234 h 1569073"/>
                <a:gd name="connsiteX100" fmla="*/ 859479 w 1648660"/>
                <a:gd name="connsiteY100" fmla="*/ 1301295 h 1569073"/>
                <a:gd name="connsiteX101" fmla="*/ 843636 w 1648660"/>
                <a:gd name="connsiteY101" fmla="*/ 1268465 h 1569073"/>
                <a:gd name="connsiteX102" fmla="*/ 831579 w 1648660"/>
                <a:gd name="connsiteY102" fmla="*/ 1253542 h 1569073"/>
                <a:gd name="connsiteX103" fmla="*/ 809657 w 1648660"/>
                <a:gd name="connsiteY103" fmla="*/ 1236629 h 1569073"/>
                <a:gd name="connsiteX104" fmla="*/ 788732 w 1648660"/>
                <a:gd name="connsiteY104" fmla="*/ 1195839 h 1569073"/>
                <a:gd name="connsiteX105" fmla="*/ 784846 w 1648660"/>
                <a:gd name="connsiteY105" fmla="*/ 1181911 h 1569073"/>
                <a:gd name="connsiteX106" fmla="*/ 771792 w 1648660"/>
                <a:gd name="connsiteY106" fmla="*/ 1169972 h 1569073"/>
                <a:gd name="connsiteX107" fmla="*/ 767807 w 1648660"/>
                <a:gd name="connsiteY107" fmla="*/ 1149080 h 1569073"/>
                <a:gd name="connsiteX108" fmla="*/ 752860 w 1648660"/>
                <a:gd name="connsiteY108" fmla="*/ 1127192 h 1569073"/>
                <a:gd name="connsiteX109" fmla="*/ 742896 w 1648660"/>
                <a:gd name="connsiteY109" fmla="*/ 1103316 h 1569073"/>
                <a:gd name="connsiteX110" fmla="*/ 734027 w 1648660"/>
                <a:gd name="connsiteY110" fmla="*/ 1088392 h 1569073"/>
                <a:gd name="connsiteX111" fmla="*/ 709017 w 1648660"/>
                <a:gd name="connsiteY111" fmla="*/ 1069490 h 1569073"/>
                <a:gd name="connsiteX112" fmla="*/ 692077 w 1648660"/>
                <a:gd name="connsiteY112" fmla="*/ 1053572 h 1569073"/>
                <a:gd name="connsiteX113" fmla="*/ 677131 w 1648660"/>
                <a:gd name="connsiteY113" fmla="*/ 1046608 h 1569073"/>
                <a:gd name="connsiteX114" fmla="*/ 663280 w 1648660"/>
                <a:gd name="connsiteY114" fmla="*/ 1025715 h 1569073"/>
                <a:gd name="connsiteX115" fmla="*/ 638269 w 1648660"/>
                <a:gd name="connsiteY115" fmla="*/ 1006813 h 1569073"/>
                <a:gd name="connsiteX116" fmla="*/ 587451 w 1648660"/>
                <a:gd name="connsiteY116" fmla="*/ 1004823 h 1569073"/>
                <a:gd name="connsiteX117" fmla="*/ 568519 w 1648660"/>
                <a:gd name="connsiteY117" fmla="*/ 1006813 h 1569073"/>
                <a:gd name="connsiteX118" fmla="*/ 545601 w 1648660"/>
                <a:gd name="connsiteY118" fmla="*/ 994874 h 1569073"/>
                <a:gd name="connsiteX119" fmla="*/ 533643 w 1648660"/>
                <a:gd name="connsiteY119" fmla="*/ 1010792 h 1569073"/>
                <a:gd name="connsiteX120" fmla="*/ 513714 w 1648660"/>
                <a:gd name="connsiteY120" fmla="*/ 1012782 h 1569073"/>
                <a:gd name="connsiteX121" fmla="*/ 497771 w 1648660"/>
                <a:gd name="connsiteY121" fmla="*/ 1014772 h 1569073"/>
                <a:gd name="connsiteX122" fmla="*/ 481928 w 1648660"/>
                <a:gd name="connsiteY122" fmla="*/ 1046608 h 1569073"/>
                <a:gd name="connsiteX123" fmla="*/ 479935 w 1648660"/>
                <a:gd name="connsiteY123" fmla="*/ 1063521 h 1569073"/>
                <a:gd name="connsiteX124" fmla="*/ 470967 w 1648660"/>
                <a:gd name="connsiteY124" fmla="*/ 1080433 h 1569073"/>
                <a:gd name="connsiteX125" fmla="*/ 467878 w 1648660"/>
                <a:gd name="connsiteY125" fmla="*/ 1094362 h 1569073"/>
                <a:gd name="connsiteX126" fmla="*/ 440974 w 1648660"/>
                <a:gd name="connsiteY126" fmla="*/ 1124208 h 1569073"/>
                <a:gd name="connsiteX127" fmla="*/ 412177 w 1648660"/>
                <a:gd name="connsiteY127" fmla="*/ 1118239 h 1569073"/>
                <a:gd name="connsiteX128" fmla="*/ 383181 w 1648660"/>
                <a:gd name="connsiteY128" fmla="*/ 1099336 h 1569073"/>
                <a:gd name="connsiteX129" fmla="*/ 357373 w 1648660"/>
                <a:gd name="connsiteY129" fmla="*/ 1084413 h 1569073"/>
                <a:gd name="connsiteX130" fmla="*/ 313529 w 1648660"/>
                <a:gd name="connsiteY130" fmla="*/ 1066505 h 1569073"/>
                <a:gd name="connsiteX131" fmla="*/ 292504 w 1648660"/>
                <a:gd name="connsiteY131" fmla="*/ 1045613 h 1569073"/>
                <a:gd name="connsiteX132" fmla="*/ 274569 w 1648660"/>
                <a:gd name="connsiteY132" fmla="*/ 1034669 h 1569073"/>
                <a:gd name="connsiteX133" fmla="*/ 253743 w 1648660"/>
                <a:gd name="connsiteY133" fmla="*/ 999849 h 1569073"/>
                <a:gd name="connsiteX134" fmla="*/ 244675 w 1648660"/>
                <a:gd name="connsiteY134" fmla="*/ 961048 h 1569073"/>
                <a:gd name="connsiteX135" fmla="*/ 223750 w 1648660"/>
                <a:gd name="connsiteY135" fmla="*/ 920259 h 1569073"/>
                <a:gd name="connsiteX136" fmla="*/ 209900 w 1648660"/>
                <a:gd name="connsiteY136" fmla="*/ 888423 h 1569073"/>
                <a:gd name="connsiteX137" fmla="*/ 197842 w 1648660"/>
                <a:gd name="connsiteY137" fmla="*/ 877479 h 1569073"/>
                <a:gd name="connsiteX138" fmla="*/ 177914 w 1648660"/>
                <a:gd name="connsiteY138" fmla="*/ 860566 h 1569073"/>
                <a:gd name="connsiteX139" fmla="*/ 155992 w 1648660"/>
                <a:gd name="connsiteY139" fmla="*/ 847633 h 1569073"/>
                <a:gd name="connsiteX140" fmla="*/ 136063 w 1648660"/>
                <a:gd name="connsiteY140" fmla="*/ 832710 h 1569073"/>
                <a:gd name="connsiteX141" fmla="*/ 108063 w 1648660"/>
                <a:gd name="connsiteY141" fmla="*/ 806843 h 1569073"/>
                <a:gd name="connsiteX142" fmla="*/ 96106 w 1648660"/>
                <a:gd name="connsiteY142" fmla="*/ 788935 h 1569073"/>
                <a:gd name="connsiteX143" fmla="*/ 86142 w 1648660"/>
                <a:gd name="connsiteY143" fmla="*/ 777992 h 1569073"/>
                <a:gd name="connsiteX144" fmla="*/ 70099 w 1648660"/>
                <a:gd name="connsiteY144" fmla="*/ 773017 h 1569073"/>
                <a:gd name="connsiteX145" fmla="*/ 42198 w 1648660"/>
                <a:gd name="connsiteY145" fmla="*/ 740186 h 1569073"/>
                <a:gd name="connsiteX146" fmla="*/ 27352 w 1648660"/>
                <a:gd name="connsiteY146" fmla="*/ 720289 h 1569073"/>
                <a:gd name="connsiteX147" fmla="*/ 19380 w 1648660"/>
                <a:gd name="connsiteY147" fmla="*/ 721284 h 1569073"/>
                <a:gd name="connsiteX148" fmla="*/ 1544 w 1648660"/>
                <a:gd name="connsiteY148" fmla="*/ 696412 h 1569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1648660" h="1569073">
                  <a:moveTo>
                    <a:pt x="1544" y="696412"/>
                  </a:moveTo>
                  <a:cubicBezTo>
                    <a:pt x="-7325" y="677808"/>
                    <a:pt x="24562" y="685767"/>
                    <a:pt x="32533" y="683478"/>
                  </a:cubicBezTo>
                  <a:lnTo>
                    <a:pt x="111152" y="683478"/>
                  </a:lnTo>
                  <a:cubicBezTo>
                    <a:pt x="220761" y="685269"/>
                    <a:pt x="339636" y="684175"/>
                    <a:pt x="448946" y="684473"/>
                  </a:cubicBezTo>
                  <a:cubicBezTo>
                    <a:pt x="449842" y="457244"/>
                    <a:pt x="453529" y="227329"/>
                    <a:pt x="451935" y="0"/>
                  </a:cubicBezTo>
                  <a:lnTo>
                    <a:pt x="834568" y="0"/>
                  </a:lnTo>
                  <a:lnTo>
                    <a:pt x="834568" y="299457"/>
                  </a:lnTo>
                  <a:cubicBezTo>
                    <a:pt x="855493" y="289508"/>
                    <a:pt x="862170" y="333084"/>
                    <a:pt x="885387" y="327314"/>
                  </a:cubicBezTo>
                  <a:cubicBezTo>
                    <a:pt x="886184" y="317962"/>
                    <a:pt x="902227" y="325025"/>
                    <a:pt x="907308" y="327314"/>
                  </a:cubicBezTo>
                  <a:cubicBezTo>
                    <a:pt x="911693" y="305227"/>
                    <a:pt x="927237" y="328806"/>
                    <a:pt x="934212" y="337262"/>
                  </a:cubicBezTo>
                  <a:cubicBezTo>
                    <a:pt x="934212" y="353081"/>
                    <a:pt x="938497" y="353578"/>
                    <a:pt x="953244" y="354175"/>
                  </a:cubicBezTo>
                  <a:cubicBezTo>
                    <a:pt x="961684" y="351748"/>
                    <a:pt x="970772" y="354026"/>
                    <a:pt x="977059" y="360144"/>
                  </a:cubicBezTo>
                  <a:cubicBezTo>
                    <a:pt x="982998" y="360582"/>
                    <a:pt x="988767" y="362274"/>
                    <a:pt x="993999" y="365119"/>
                  </a:cubicBezTo>
                  <a:cubicBezTo>
                    <a:pt x="1016120" y="355170"/>
                    <a:pt x="1010739" y="363726"/>
                    <a:pt x="1026881" y="375067"/>
                  </a:cubicBezTo>
                  <a:cubicBezTo>
                    <a:pt x="1031754" y="374113"/>
                    <a:pt x="1035411" y="370053"/>
                    <a:pt x="1035849" y="365119"/>
                  </a:cubicBezTo>
                  <a:cubicBezTo>
                    <a:pt x="1045216" y="353777"/>
                    <a:pt x="1062953" y="375067"/>
                    <a:pt x="1070725" y="361139"/>
                  </a:cubicBezTo>
                  <a:cubicBezTo>
                    <a:pt x="1077999" y="379346"/>
                    <a:pt x="1066938" y="385315"/>
                    <a:pt x="1092746" y="386011"/>
                  </a:cubicBezTo>
                  <a:cubicBezTo>
                    <a:pt x="1090753" y="397054"/>
                    <a:pt x="1090952" y="405013"/>
                    <a:pt x="1103707" y="406904"/>
                  </a:cubicBezTo>
                  <a:cubicBezTo>
                    <a:pt x="1112177" y="403123"/>
                    <a:pt x="1120148" y="391582"/>
                    <a:pt x="1127522" y="386011"/>
                  </a:cubicBezTo>
                  <a:cubicBezTo>
                    <a:pt x="1136490" y="386508"/>
                    <a:pt x="1135992" y="395363"/>
                    <a:pt x="1141472" y="399939"/>
                  </a:cubicBezTo>
                  <a:cubicBezTo>
                    <a:pt x="1142668" y="399939"/>
                    <a:pt x="1151436" y="395562"/>
                    <a:pt x="1151436" y="397950"/>
                  </a:cubicBezTo>
                  <a:cubicBezTo>
                    <a:pt x="1154535" y="401561"/>
                    <a:pt x="1156299" y="406128"/>
                    <a:pt x="1156419" y="410883"/>
                  </a:cubicBezTo>
                  <a:cubicBezTo>
                    <a:pt x="1168177" y="414962"/>
                    <a:pt x="1175052" y="399840"/>
                    <a:pt x="1186312" y="397950"/>
                  </a:cubicBezTo>
                  <a:cubicBezTo>
                    <a:pt x="1188903" y="402924"/>
                    <a:pt x="1193486" y="409291"/>
                    <a:pt x="1186312" y="412873"/>
                  </a:cubicBezTo>
                  <a:cubicBezTo>
                    <a:pt x="1189501" y="417648"/>
                    <a:pt x="1191892" y="431178"/>
                    <a:pt x="1200262" y="424811"/>
                  </a:cubicBezTo>
                  <a:cubicBezTo>
                    <a:pt x="1200960" y="414862"/>
                    <a:pt x="1203949" y="404914"/>
                    <a:pt x="1214312" y="401929"/>
                  </a:cubicBezTo>
                  <a:cubicBezTo>
                    <a:pt x="1212120" y="397950"/>
                    <a:pt x="1215009" y="394965"/>
                    <a:pt x="1218298" y="392975"/>
                  </a:cubicBezTo>
                  <a:lnTo>
                    <a:pt x="1224276" y="392975"/>
                  </a:lnTo>
                  <a:cubicBezTo>
                    <a:pt x="1225113" y="398517"/>
                    <a:pt x="1227535" y="403700"/>
                    <a:pt x="1231251" y="407898"/>
                  </a:cubicBezTo>
                  <a:cubicBezTo>
                    <a:pt x="1234440" y="406605"/>
                    <a:pt x="1239323" y="402924"/>
                    <a:pt x="1240120" y="408893"/>
                  </a:cubicBezTo>
                  <a:cubicBezTo>
                    <a:pt x="1249287" y="412773"/>
                    <a:pt x="1251778" y="403620"/>
                    <a:pt x="1255066" y="396955"/>
                  </a:cubicBezTo>
                  <a:cubicBezTo>
                    <a:pt x="1270113" y="403223"/>
                    <a:pt x="1258853" y="406904"/>
                    <a:pt x="1266027" y="411878"/>
                  </a:cubicBezTo>
                  <a:cubicBezTo>
                    <a:pt x="1271408" y="410386"/>
                    <a:pt x="1273700" y="414365"/>
                    <a:pt x="1274995" y="418842"/>
                  </a:cubicBezTo>
                  <a:cubicBezTo>
                    <a:pt x="1284461" y="414962"/>
                    <a:pt x="1287650" y="424314"/>
                    <a:pt x="1291935" y="430780"/>
                  </a:cubicBezTo>
                  <a:cubicBezTo>
                    <a:pt x="1298212" y="427498"/>
                    <a:pt x="1301899" y="416056"/>
                    <a:pt x="1308874" y="422822"/>
                  </a:cubicBezTo>
                  <a:cubicBezTo>
                    <a:pt x="1312760" y="418971"/>
                    <a:pt x="1316108" y="414624"/>
                    <a:pt x="1318838" y="409888"/>
                  </a:cubicBezTo>
                  <a:cubicBezTo>
                    <a:pt x="1328046" y="409192"/>
                    <a:pt x="1337103" y="407182"/>
                    <a:pt x="1345742" y="403919"/>
                  </a:cubicBezTo>
                  <a:cubicBezTo>
                    <a:pt x="1351721" y="404516"/>
                    <a:pt x="1359394" y="407898"/>
                    <a:pt x="1364675" y="403919"/>
                  </a:cubicBezTo>
                  <a:cubicBezTo>
                    <a:pt x="1373553" y="399044"/>
                    <a:pt x="1383448" y="396318"/>
                    <a:pt x="1393571" y="395960"/>
                  </a:cubicBezTo>
                  <a:cubicBezTo>
                    <a:pt x="1398853" y="407500"/>
                    <a:pt x="1417187" y="405909"/>
                    <a:pt x="1427451" y="402924"/>
                  </a:cubicBezTo>
                  <a:cubicBezTo>
                    <a:pt x="1431237" y="394567"/>
                    <a:pt x="1435023" y="386608"/>
                    <a:pt x="1444390" y="393970"/>
                  </a:cubicBezTo>
                  <a:cubicBezTo>
                    <a:pt x="1451265" y="398248"/>
                    <a:pt x="1457543" y="406904"/>
                    <a:pt x="1466312" y="406904"/>
                  </a:cubicBezTo>
                  <a:cubicBezTo>
                    <a:pt x="1470975" y="413450"/>
                    <a:pt x="1476695" y="419160"/>
                    <a:pt x="1483251" y="423816"/>
                  </a:cubicBezTo>
                  <a:cubicBezTo>
                    <a:pt x="1495906" y="419638"/>
                    <a:pt x="1503977" y="435755"/>
                    <a:pt x="1517230" y="434760"/>
                  </a:cubicBezTo>
                  <a:cubicBezTo>
                    <a:pt x="1519920" y="438242"/>
                    <a:pt x="1523408" y="443714"/>
                    <a:pt x="1528091" y="439734"/>
                  </a:cubicBezTo>
                  <a:cubicBezTo>
                    <a:pt x="1531728" y="443744"/>
                    <a:pt x="1535734" y="447405"/>
                    <a:pt x="1540048" y="450678"/>
                  </a:cubicBezTo>
                  <a:cubicBezTo>
                    <a:pt x="1547123" y="452668"/>
                    <a:pt x="1555294" y="447395"/>
                    <a:pt x="1562966" y="449683"/>
                  </a:cubicBezTo>
                  <a:cubicBezTo>
                    <a:pt x="1564860" y="445306"/>
                    <a:pt x="1567749" y="446002"/>
                    <a:pt x="1570938" y="448688"/>
                  </a:cubicBezTo>
                  <a:cubicBezTo>
                    <a:pt x="1574127" y="448688"/>
                    <a:pt x="1581899" y="449484"/>
                    <a:pt x="1583892" y="452668"/>
                  </a:cubicBezTo>
                  <a:cubicBezTo>
                    <a:pt x="1583892" y="470874"/>
                    <a:pt x="1583892" y="493159"/>
                    <a:pt x="1583892" y="511365"/>
                  </a:cubicBezTo>
                  <a:lnTo>
                    <a:pt x="1583892" y="685468"/>
                  </a:lnTo>
                  <a:cubicBezTo>
                    <a:pt x="1587917" y="691826"/>
                    <a:pt x="1593896" y="696710"/>
                    <a:pt x="1600931" y="699397"/>
                  </a:cubicBezTo>
                  <a:lnTo>
                    <a:pt x="1607806" y="713325"/>
                  </a:lnTo>
                  <a:cubicBezTo>
                    <a:pt x="1612400" y="721483"/>
                    <a:pt x="1614154" y="730924"/>
                    <a:pt x="1612788" y="740186"/>
                  </a:cubicBezTo>
                  <a:cubicBezTo>
                    <a:pt x="1605913" y="746753"/>
                    <a:pt x="1617073" y="756005"/>
                    <a:pt x="1623749" y="757099"/>
                  </a:cubicBezTo>
                  <a:cubicBezTo>
                    <a:pt x="1616874" y="763864"/>
                    <a:pt x="1630824" y="767645"/>
                    <a:pt x="1630725" y="776002"/>
                  </a:cubicBezTo>
                  <a:cubicBezTo>
                    <a:pt x="1626440" y="792019"/>
                    <a:pt x="1640689" y="788239"/>
                    <a:pt x="1639692" y="804853"/>
                  </a:cubicBezTo>
                  <a:cubicBezTo>
                    <a:pt x="1642323" y="804336"/>
                    <a:pt x="1644984" y="804008"/>
                    <a:pt x="1647664" y="803858"/>
                  </a:cubicBezTo>
                  <a:cubicBezTo>
                    <a:pt x="1647604" y="810504"/>
                    <a:pt x="1647933" y="817150"/>
                    <a:pt x="1648660" y="823756"/>
                  </a:cubicBezTo>
                  <a:cubicBezTo>
                    <a:pt x="1647764" y="830024"/>
                    <a:pt x="1644276" y="836888"/>
                    <a:pt x="1648660" y="842658"/>
                  </a:cubicBezTo>
                  <a:cubicBezTo>
                    <a:pt x="1645571" y="848130"/>
                    <a:pt x="1643858" y="854278"/>
                    <a:pt x="1643678" y="860566"/>
                  </a:cubicBezTo>
                  <a:cubicBezTo>
                    <a:pt x="1637002" y="867729"/>
                    <a:pt x="1636604" y="880464"/>
                    <a:pt x="1628632" y="886433"/>
                  </a:cubicBezTo>
                  <a:cubicBezTo>
                    <a:pt x="1630027" y="889517"/>
                    <a:pt x="1625344" y="895188"/>
                    <a:pt x="1623650" y="897376"/>
                  </a:cubicBezTo>
                  <a:cubicBezTo>
                    <a:pt x="1625653" y="902789"/>
                    <a:pt x="1626669" y="908519"/>
                    <a:pt x="1626639" y="914289"/>
                  </a:cubicBezTo>
                  <a:cubicBezTo>
                    <a:pt x="1621258" y="916379"/>
                    <a:pt x="1620660" y="924238"/>
                    <a:pt x="1619664" y="929213"/>
                  </a:cubicBezTo>
                  <a:cubicBezTo>
                    <a:pt x="1620760" y="933092"/>
                    <a:pt x="1628034" y="937271"/>
                    <a:pt x="1625643" y="942146"/>
                  </a:cubicBezTo>
                  <a:cubicBezTo>
                    <a:pt x="1631322" y="979653"/>
                    <a:pt x="1620561" y="965327"/>
                    <a:pt x="1610696" y="992884"/>
                  </a:cubicBezTo>
                  <a:cubicBezTo>
                    <a:pt x="1600732" y="1005619"/>
                    <a:pt x="1593358" y="1002833"/>
                    <a:pt x="1606810" y="1016761"/>
                  </a:cubicBezTo>
                  <a:cubicBezTo>
                    <a:pt x="1616774" y="1028998"/>
                    <a:pt x="1587778" y="1020343"/>
                    <a:pt x="1581899" y="1024721"/>
                  </a:cubicBezTo>
                  <a:cubicBezTo>
                    <a:pt x="1560475" y="1032779"/>
                    <a:pt x="1535365" y="1045414"/>
                    <a:pt x="1514041" y="1053572"/>
                  </a:cubicBezTo>
                  <a:cubicBezTo>
                    <a:pt x="1508461" y="1057651"/>
                    <a:pt x="1494611" y="1065112"/>
                    <a:pt x="1498098" y="1073469"/>
                  </a:cubicBezTo>
                  <a:cubicBezTo>
                    <a:pt x="1485842" y="1084313"/>
                    <a:pt x="1460632" y="1098242"/>
                    <a:pt x="1449272" y="1110280"/>
                  </a:cubicBezTo>
                  <a:cubicBezTo>
                    <a:pt x="1438112" y="1117443"/>
                    <a:pt x="1426554" y="1132565"/>
                    <a:pt x="1415394" y="1140126"/>
                  </a:cubicBezTo>
                  <a:cubicBezTo>
                    <a:pt x="1409654" y="1140733"/>
                    <a:pt x="1404174" y="1142782"/>
                    <a:pt x="1399450" y="1146095"/>
                  </a:cubicBezTo>
                  <a:cubicBezTo>
                    <a:pt x="1365273" y="1169674"/>
                    <a:pt x="1321429" y="1183701"/>
                    <a:pt x="1288846" y="1209767"/>
                  </a:cubicBezTo>
                  <a:cubicBezTo>
                    <a:pt x="1274497" y="1227973"/>
                    <a:pt x="1245401" y="1237226"/>
                    <a:pt x="1230155" y="1255531"/>
                  </a:cubicBezTo>
                  <a:cubicBezTo>
                    <a:pt x="1194981" y="1294232"/>
                    <a:pt x="1166981" y="1345070"/>
                    <a:pt x="1164291" y="1397798"/>
                  </a:cubicBezTo>
                  <a:cubicBezTo>
                    <a:pt x="1165686" y="1448935"/>
                    <a:pt x="1192789" y="1498579"/>
                    <a:pt x="1193187" y="1550014"/>
                  </a:cubicBezTo>
                  <a:cubicBezTo>
                    <a:pt x="1193187" y="1553894"/>
                    <a:pt x="1188703" y="1552501"/>
                    <a:pt x="1186212" y="1552004"/>
                  </a:cubicBezTo>
                  <a:cubicBezTo>
                    <a:pt x="1175550" y="1556182"/>
                    <a:pt x="1164889" y="1554193"/>
                    <a:pt x="1165387" y="1568917"/>
                  </a:cubicBezTo>
                  <a:cubicBezTo>
                    <a:pt x="1160783" y="1569742"/>
                    <a:pt x="1156220" y="1567255"/>
                    <a:pt x="1154426" y="1562947"/>
                  </a:cubicBezTo>
                  <a:cubicBezTo>
                    <a:pt x="1150340" y="1564241"/>
                    <a:pt x="1145657" y="1559863"/>
                    <a:pt x="1143365" y="1556978"/>
                  </a:cubicBezTo>
                  <a:cubicBezTo>
                    <a:pt x="1132106" y="1551904"/>
                    <a:pt x="1133401" y="1541060"/>
                    <a:pt x="1116461" y="1542055"/>
                  </a:cubicBezTo>
                  <a:cubicBezTo>
                    <a:pt x="1108889" y="1534295"/>
                    <a:pt x="1094540" y="1539966"/>
                    <a:pt x="1084575" y="1537081"/>
                  </a:cubicBezTo>
                  <a:cubicBezTo>
                    <a:pt x="1083080" y="1540762"/>
                    <a:pt x="1077600" y="1539369"/>
                    <a:pt x="1074611" y="1538075"/>
                  </a:cubicBezTo>
                  <a:cubicBezTo>
                    <a:pt x="1056775" y="1541259"/>
                    <a:pt x="1043721" y="1528127"/>
                    <a:pt x="1030767" y="1518178"/>
                  </a:cubicBezTo>
                  <a:cubicBezTo>
                    <a:pt x="1023324" y="1516417"/>
                    <a:pt x="1016030" y="1514089"/>
                    <a:pt x="1008946" y="1511214"/>
                  </a:cubicBezTo>
                  <a:cubicBezTo>
                    <a:pt x="1005289" y="1513293"/>
                    <a:pt x="1000675" y="1512458"/>
                    <a:pt x="997985" y="1509224"/>
                  </a:cubicBezTo>
                  <a:cubicBezTo>
                    <a:pt x="995294" y="1505543"/>
                    <a:pt x="985330" y="1499275"/>
                    <a:pt x="985031" y="1494301"/>
                  </a:cubicBezTo>
                  <a:lnTo>
                    <a:pt x="973970" y="1496291"/>
                  </a:lnTo>
                  <a:cubicBezTo>
                    <a:pt x="968579" y="1492481"/>
                    <a:pt x="962481" y="1489774"/>
                    <a:pt x="956034" y="1488332"/>
                  </a:cubicBezTo>
                  <a:cubicBezTo>
                    <a:pt x="948860" y="1492411"/>
                    <a:pt x="943778" y="1486342"/>
                    <a:pt x="949159" y="1479378"/>
                  </a:cubicBezTo>
                  <a:cubicBezTo>
                    <a:pt x="947166" y="1477587"/>
                    <a:pt x="941785" y="1470623"/>
                    <a:pt x="939195" y="1469429"/>
                  </a:cubicBezTo>
                  <a:cubicBezTo>
                    <a:pt x="935109" y="1459480"/>
                    <a:pt x="935807" y="1445154"/>
                    <a:pt x="930226" y="1435604"/>
                  </a:cubicBezTo>
                  <a:cubicBezTo>
                    <a:pt x="928323" y="1430072"/>
                    <a:pt x="924407" y="1425466"/>
                    <a:pt x="919266" y="1422670"/>
                  </a:cubicBezTo>
                  <a:cubicBezTo>
                    <a:pt x="915619" y="1414840"/>
                    <a:pt x="910557" y="1407757"/>
                    <a:pt x="904319" y="1401778"/>
                  </a:cubicBezTo>
                  <a:cubicBezTo>
                    <a:pt x="905116" y="1390038"/>
                    <a:pt x="910098" y="1365962"/>
                    <a:pt x="894355" y="1362978"/>
                  </a:cubicBezTo>
                  <a:cubicBezTo>
                    <a:pt x="898191" y="1354223"/>
                    <a:pt x="899566" y="1344592"/>
                    <a:pt x="898341" y="1335121"/>
                  </a:cubicBezTo>
                  <a:cubicBezTo>
                    <a:pt x="891066" y="1337409"/>
                    <a:pt x="895551" y="1322387"/>
                    <a:pt x="890369" y="1319203"/>
                  </a:cubicBezTo>
                  <a:cubicBezTo>
                    <a:pt x="884211" y="1316845"/>
                    <a:pt x="877923" y="1314846"/>
                    <a:pt x="871536" y="1313234"/>
                  </a:cubicBezTo>
                  <a:cubicBezTo>
                    <a:pt x="868248" y="1308558"/>
                    <a:pt x="865059" y="1302688"/>
                    <a:pt x="859479" y="1301295"/>
                  </a:cubicBezTo>
                  <a:cubicBezTo>
                    <a:pt x="850900" y="1292272"/>
                    <a:pt x="845360" y="1280791"/>
                    <a:pt x="843636" y="1268465"/>
                  </a:cubicBezTo>
                  <a:cubicBezTo>
                    <a:pt x="836661" y="1267868"/>
                    <a:pt x="833671" y="1258516"/>
                    <a:pt x="831579" y="1253542"/>
                  </a:cubicBezTo>
                  <a:cubicBezTo>
                    <a:pt x="825441" y="1246538"/>
                    <a:pt x="817997" y="1240797"/>
                    <a:pt x="809657" y="1236629"/>
                  </a:cubicBezTo>
                  <a:cubicBezTo>
                    <a:pt x="795707" y="1227973"/>
                    <a:pt x="796405" y="1208872"/>
                    <a:pt x="788732" y="1195839"/>
                  </a:cubicBezTo>
                  <a:cubicBezTo>
                    <a:pt x="786091" y="1191680"/>
                    <a:pt x="784736" y="1186835"/>
                    <a:pt x="784846" y="1181911"/>
                  </a:cubicBezTo>
                  <a:cubicBezTo>
                    <a:pt x="780711" y="1177702"/>
                    <a:pt x="776356" y="1173713"/>
                    <a:pt x="771792" y="1169972"/>
                  </a:cubicBezTo>
                  <a:cubicBezTo>
                    <a:pt x="771792" y="1163207"/>
                    <a:pt x="767010" y="1155745"/>
                    <a:pt x="767807" y="1149080"/>
                  </a:cubicBezTo>
                  <a:cubicBezTo>
                    <a:pt x="760333" y="1143837"/>
                    <a:pt x="755023" y="1136057"/>
                    <a:pt x="752860" y="1127192"/>
                  </a:cubicBezTo>
                  <a:cubicBezTo>
                    <a:pt x="751465" y="1118736"/>
                    <a:pt x="752860" y="1106002"/>
                    <a:pt x="742896" y="1103316"/>
                  </a:cubicBezTo>
                  <a:cubicBezTo>
                    <a:pt x="738312" y="1100729"/>
                    <a:pt x="737017" y="1090581"/>
                    <a:pt x="734027" y="1088392"/>
                  </a:cubicBezTo>
                  <a:cubicBezTo>
                    <a:pt x="727013" y="1080513"/>
                    <a:pt x="718513" y="1074096"/>
                    <a:pt x="709017" y="1069490"/>
                  </a:cubicBezTo>
                  <a:cubicBezTo>
                    <a:pt x="705230" y="1063322"/>
                    <a:pt x="701145" y="1052477"/>
                    <a:pt x="692077" y="1053572"/>
                  </a:cubicBezTo>
                  <a:cubicBezTo>
                    <a:pt x="688928" y="1048488"/>
                    <a:pt x="683059" y="1045752"/>
                    <a:pt x="677131" y="1046608"/>
                  </a:cubicBezTo>
                  <a:cubicBezTo>
                    <a:pt x="665771" y="1039047"/>
                    <a:pt x="675536" y="1028501"/>
                    <a:pt x="663280" y="1025715"/>
                  </a:cubicBezTo>
                  <a:cubicBezTo>
                    <a:pt x="659992" y="1010693"/>
                    <a:pt x="648832" y="1013080"/>
                    <a:pt x="638269" y="1006813"/>
                  </a:cubicBezTo>
                  <a:cubicBezTo>
                    <a:pt x="622426" y="1014871"/>
                    <a:pt x="604191" y="1006813"/>
                    <a:pt x="587451" y="1004823"/>
                  </a:cubicBezTo>
                  <a:cubicBezTo>
                    <a:pt x="581672" y="1004823"/>
                    <a:pt x="574298" y="1009001"/>
                    <a:pt x="568519" y="1006813"/>
                  </a:cubicBezTo>
                  <a:cubicBezTo>
                    <a:pt x="562540" y="1002037"/>
                    <a:pt x="552077" y="999252"/>
                    <a:pt x="545601" y="994874"/>
                  </a:cubicBezTo>
                  <a:cubicBezTo>
                    <a:pt x="537729" y="995372"/>
                    <a:pt x="536134" y="1004823"/>
                    <a:pt x="533643" y="1010792"/>
                  </a:cubicBezTo>
                  <a:cubicBezTo>
                    <a:pt x="527366" y="1009201"/>
                    <a:pt x="518398" y="1006514"/>
                    <a:pt x="513714" y="1012782"/>
                  </a:cubicBezTo>
                  <a:lnTo>
                    <a:pt x="497771" y="1014772"/>
                  </a:lnTo>
                  <a:cubicBezTo>
                    <a:pt x="494802" y="1026382"/>
                    <a:pt x="489401" y="1037236"/>
                    <a:pt x="481928" y="1046608"/>
                  </a:cubicBezTo>
                  <a:cubicBezTo>
                    <a:pt x="479636" y="1051930"/>
                    <a:pt x="478939" y="1057810"/>
                    <a:pt x="479935" y="1063521"/>
                  </a:cubicBezTo>
                  <a:cubicBezTo>
                    <a:pt x="475301" y="1068127"/>
                    <a:pt x="472173" y="1074016"/>
                    <a:pt x="470967" y="1080433"/>
                  </a:cubicBezTo>
                  <a:cubicBezTo>
                    <a:pt x="475650" y="1085109"/>
                    <a:pt x="470967" y="1090382"/>
                    <a:pt x="467878" y="1094362"/>
                  </a:cubicBezTo>
                  <a:cubicBezTo>
                    <a:pt x="453928" y="1098043"/>
                    <a:pt x="447252" y="1112369"/>
                    <a:pt x="440974" y="1124208"/>
                  </a:cubicBezTo>
                  <a:cubicBezTo>
                    <a:pt x="431508" y="1121223"/>
                    <a:pt x="419750" y="1126098"/>
                    <a:pt x="412177" y="1118239"/>
                  </a:cubicBezTo>
                  <a:cubicBezTo>
                    <a:pt x="402113" y="1112568"/>
                    <a:pt x="392428" y="1106250"/>
                    <a:pt x="383181" y="1099336"/>
                  </a:cubicBezTo>
                  <a:cubicBezTo>
                    <a:pt x="373256" y="1097108"/>
                    <a:pt x="364248" y="1091904"/>
                    <a:pt x="357373" y="1084413"/>
                  </a:cubicBezTo>
                  <a:cubicBezTo>
                    <a:pt x="343722" y="1078145"/>
                    <a:pt x="325287" y="1077548"/>
                    <a:pt x="313529" y="1066505"/>
                  </a:cubicBezTo>
                  <a:cubicBezTo>
                    <a:pt x="307959" y="1058238"/>
                    <a:pt x="300815" y="1051134"/>
                    <a:pt x="292504" y="1045613"/>
                  </a:cubicBezTo>
                  <a:cubicBezTo>
                    <a:pt x="286625" y="1045613"/>
                    <a:pt x="278355" y="1038549"/>
                    <a:pt x="274569" y="1034669"/>
                  </a:cubicBezTo>
                  <a:cubicBezTo>
                    <a:pt x="262711" y="1027208"/>
                    <a:pt x="261814" y="1009996"/>
                    <a:pt x="253743" y="999849"/>
                  </a:cubicBezTo>
                  <a:cubicBezTo>
                    <a:pt x="245253" y="988825"/>
                    <a:pt x="241945" y="974678"/>
                    <a:pt x="244675" y="961048"/>
                  </a:cubicBezTo>
                  <a:cubicBezTo>
                    <a:pt x="244396" y="944951"/>
                    <a:pt x="236674" y="929889"/>
                    <a:pt x="223750" y="920259"/>
                  </a:cubicBezTo>
                  <a:cubicBezTo>
                    <a:pt x="220163" y="910907"/>
                    <a:pt x="222953" y="888920"/>
                    <a:pt x="209900" y="888423"/>
                  </a:cubicBezTo>
                  <a:cubicBezTo>
                    <a:pt x="207110" y="882951"/>
                    <a:pt x="205216" y="877280"/>
                    <a:pt x="197842" y="877479"/>
                  </a:cubicBezTo>
                  <a:cubicBezTo>
                    <a:pt x="192023" y="870933"/>
                    <a:pt x="185317" y="865242"/>
                    <a:pt x="177914" y="860566"/>
                  </a:cubicBezTo>
                  <a:cubicBezTo>
                    <a:pt x="171238" y="859571"/>
                    <a:pt x="153999" y="857283"/>
                    <a:pt x="155992" y="847633"/>
                  </a:cubicBezTo>
                  <a:cubicBezTo>
                    <a:pt x="148907" y="843265"/>
                    <a:pt x="142241" y="838271"/>
                    <a:pt x="136063" y="832710"/>
                  </a:cubicBezTo>
                  <a:cubicBezTo>
                    <a:pt x="132974" y="819080"/>
                    <a:pt x="119522" y="812812"/>
                    <a:pt x="108063" y="806843"/>
                  </a:cubicBezTo>
                  <a:cubicBezTo>
                    <a:pt x="104875" y="800376"/>
                    <a:pt x="100859" y="794357"/>
                    <a:pt x="96106" y="788935"/>
                  </a:cubicBezTo>
                  <a:cubicBezTo>
                    <a:pt x="92319" y="788040"/>
                    <a:pt x="85544" y="783065"/>
                    <a:pt x="86142" y="777992"/>
                  </a:cubicBezTo>
                  <a:cubicBezTo>
                    <a:pt x="81498" y="774589"/>
                    <a:pt x="75848" y="772838"/>
                    <a:pt x="70099" y="773017"/>
                  </a:cubicBezTo>
                  <a:cubicBezTo>
                    <a:pt x="60135" y="764959"/>
                    <a:pt x="43295" y="754612"/>
                    <a:pt x="42198" y="740186"/>
                  </a:cubicBezTo>
                  <a:cubicBezTo>
                    <a:pt x="37715" y="733212"/>
                    <a:pt x="32762" y="726566"/>
                    <a:pt x="27352" y="720289"/>
                  </a:cubicBezTo>
                  <a:cubicBezTo>
                    <a:pt x="26853" y="721184"/>
                    <a:pt x="19181" y="717503"/>
                    <a:pt x="19380" y="721284"/>
                  </a:cubicBezTo>
                  <a:cubicBezTo>
                    <a:pt x="12505" y="714519"/>
                    <a:pt x="-2641" y="708151"/>
                    <a:pt x="1544" y="696412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75" name="Freeform: Shape 1674">
              <a:extLst>
                <a:ext uri="{FF2B5EF4-FFF2-40B4-BE49-F238E27FC236}">
                  <a16:creationId xmlns:a16="http://schemas.microsoft.com/office/drawing/2014/main" id="{7A1EA7B3-6222-4D3E-9B2B-1DA928FE939D}"/>
                </a:ext>
              </a:extLst>
            </p:cNvPr>
            <p:cNvSpPr/>
            <p:nvPr/>
          </p:nvSpPr>
          <p:spPr>
            <a:xfrm>
              <a:off x="-2159646" y="1705171"/>
              <a:ext cx="1291255" cy="1497961"/>
            </a:xfrm>
            <a:custGeom>
              <a:avLst/>
              <a:gdLst>
                <a:gd name="connsiteX0" fmla="*/ 2084 w 1291255"/>
                <a:gd name="connsiteY0" fmla="*/ 250389 h 1497961"/>
                <a:gd name="connsiteX1" fmla="*/ 31081 w 1291255"/>
                <a:gd name="connsiteY1" fmla="*/ 153886 h 1497961"/>
                <a:gd name="connsiteX2" fmla="*/ 41942 w 1291255"/>
                <a:gd name="connsiteY2" fmla="*/ 90214 h 1497961"/>
                <a:gd name="connsiteX3" fmla="*/ 32974 w 1291255"/>
                <a:gd name="connsiteY3" fmla="*/ 49424 h 1497961"/>
                <a:gd name="connsiteX4" fmla="*/ 20120 w 1291255"/>
                <a:gd name="connsiteY4" fmla="*/ 35496 h 1497961"/>
                <a:gd name="connsiteX5" fmla="*/ 24006 w 1291255"/>
                <a:gd name="connsiteY5" fmla="*/ 675 h 1497961"/>
                <a:gd name="connsiteX6" fmla="*/ 554113 w 1291255"/>
                <a:gd name="connsiteY6" fmla="*/ 1670 h 1497961"/>
                <a:gd name="connsiteX7" fmla="*/ 554113 w 1291255"/>
                <a:gd name="connsiteY7" fmla="*/ 496123 h 1497961"/>
                <a:gd name="connsiteX8" fmla="*/ 1070269 w 1291255"/>
                <a:gd name="connsiteY8" fmla="*/ 970678 h 1497961"/>
                <a:gd name="connsiteX9" fmla="*/ 1228703 w 1291255"/>
                <a:gd name="connsiteY9" fmla="*/ 1124883 h 1497961"/>
                <a:gd name="connsiteX10" fmla="*/ 1228703 w 1291255"/>
                <a:gd name="connsiteY10" fmla="*/ 1144781 h 1497961"/>
                <a:gd name="connsiteX11" fmla="*/ 1246739 w 1291255"/>
                <a:gd name="connsiteY11" fmla="*/ 1167663 h 1497961"/>
                <a:gd name="connsiteX12" fmla="*/ 1260589 w 1291255"/>
                <a:gd name="connsiteY12" fmla="*/ 1209448 h 1497961"/>
                <a:gd name="connsiteX13" fmla="*/ 1290482 w 1291255"/>
                <a:gd name="connsiteY13" fmla="*/ 1231335 h 1497961"/>
                <a:gd name="connsiteX14" fmla="*/ 1279422 w 1291255"/>
                <a:gd name="connsiteY14" fmla="*/ 1249243 h 1497961"/>
                <a:gd name="connsiteX15" fmla="*/ 1254511 w 1291255"/>
                <a:gd name="connsiteY15" fmla="*/ 1263171 h 1497961"/>
                <a:gd name="connsiteX16" fmla="*/ 1251521 w 1291255"/>
                <a:gd name="connsiteY16" fmla="*/ 1276104 h 1497961"/>
                <a:gd name="connsiteX17" fmla="*/ 1244646 w 1291255"/>
                <a:gd name="connsiteY17" fmla="*/ 1293017 h 1497961"/>
                <a:gd name="connsiteX18" fmla="*/ 1245642 w 1291255"/>
                <a:gd name="connsiteY18" fmla="*/ 1319879 h 1497961"/>
                <a:gd name="connsiteX19" fmla="*/ 1242653 w 1291255"/>
                <a:gd name="connsiteY19" fmla="*/ 1345746 h 1497961"/>
                <a:gd name="connsiteX20" fmla="*/ 1229700 w 1291255"/>
                <a:gd name="connsiteY20" fmla="*/ 1363653 h 1497961"/>
                <a:gd name="connsiteX21" fmla="*/ 1217643 w 1291255"/>
                <a:gd name="connsiteY21" fmla="*/ 1367633 h 1497961"/>
                <a:gd name="connsiteX22" fmla="*/ 1217643 w 1291255"/>
                <a:gd name="connsiteY22" fmla="*/ 1385540 h 1497961"/>
                <a:gd name="connsiteX23" fmla="*/ 1222625 w 1291255"/>
                <a:gd name="connsiteY23" fmla="*/ 1404443 h 1497961"/>
                <a:gd name="connsiteX24" fmla="*/ 1223721 w 1291255"/>
                <a:gd name="connsiteY24" fmla="*/ 1422351 h 1497961"/>
                <a:gd name="connsiteX25" fmla="*/ 1243650 w 1291255"/>
                <a:gd name="connsiteY25" fmla="*/ 1424341 h 1497961"/>
                <a:gd name="connsiteX26" fmla="*/ 1249728 w 1291255"/>
                <a:gd name="connsiteY26" fmla="*/ 1451202 h 1497961"/>
                <a:gd name="connsiteX27" fmla="*/ 1224717 w 1291255"/>
                <a:gd name="connsiteY27" fmla="*/ 1468115 h 1497961"/>
                <a:gd name="connsiteX28" fmla="*/ 1182867 w 1291255"/>
                <a:gd name="connsiteY28" fmla="*/ 1473089 h 1497961"/>
                <a:gd name="connsiteX29" fmla="*/ 915821 w 1291255"/>
                <a:gd name="connsiteY29" fmla="*/ 1497961 h 1497961"/>
                <a:gd name="connsiteX30" fmla="*/ 899878 w 1291255"/>
                <a:gd name="connsiteY30" fmla="*/ 1478064 h 1497961"/>
                <a:gd name="connsiteX31" fmla="*/ 898981 w 1291255"/>
                <a:gd name="connsiteY31" fmla="*/ 1460156 h 1497961"/>
                <a:gd name="connsiteX32" fmla="*/ 896888 w 1291255"/>
                <a:gd name="connsiteY32" fmla="*/ 1450207 h 1497961"/>
                <a:gd name="connsiteX33" fmla="*/ 897885 w 1291255"/>
                <a:gd name="connsiteY33" fmla="*/ 1451202 h 1497961"/>
                <a:gd name="connsiteX34" fmla="*/ 829130 w 1291255"/>
                <a:gd name="connsiteY34" fmla="*/ 1345746 h 1497961"/>
                <a:gd name="connsiteX35" fmla="*/ 805315 w 1291255"/>
                <a:gd name="connsiteY35" fmla="*/ 1329827 h 1497961"/>
                <a:gd name="connsiteX36" fmla="*/ 773330 w 1291255"/>
                <a:gd name="connsiteY36" fmla="*/ 1322863 h 1497961"/>
                <a:gd name="connsiteX37" fmla="*/ 740447 w 1291255"/>
                <a:gd name="connsiteY37" fmla="*/ 1273120 h 1497961"/>
                <a:gd name="connsiteX38" fmla="*/ 704575 w 1291255"/>
                <a:gd name="connsiteY38" fmla="*/ 1277099 h 1497961"/>
                <a:gd name="connsiteX39" fmla="*/ 650867 w 1291255"/>
                <a:gd name="connsiteY39" fmla="*/ 1253222 h 1497961"/>
                <a:gd name="connsiteX40" fmla="*/ 621871 w 1291255"/>
                <a:gd name="connsiteY40" fmla="*/ 1220391 h 1497961"/>
                <a:gd name="connsiteX41" fmla="*/ 593970 w 1291255"/>
                <a:gd name="connsiteY41" fmla="*/ 1215417 h 1497961"/>
                <a:gd name="connsiteX42" fmla="*/ 581016 w 1291255"/>
                <a:gd name="connsiteY42" fmla="*/ 1214422 h 1497961"/>
                <a:gd name="connsiteX43" fmla="*/ 557202 w 1291255"/>
                <a:gd name="connsiteY43" fmla="*/ 1210443 h 1497961"/>
                <a:gd name="connsiteX44" fmla="*/ 517344 w 1291255"/>
                <a:gd name="connsiteY44" fmla="*/ 1206463 h 1497961"/>
                <a:gd name="connsiteX45" fmla="*/ 489543 w 1291255"/>
                <a:gd name="connsiteY45" fmla="*/ 1198504 h 1497961"/>
                <a:gd name="connsiteX46" fmla="*/ 480575 w 1291255"/>
                <a:gd name="connsiteY46" fmla="*/ 1192535 h 1497961"/>
                <a:gd name="connsiteX47" fmla="*/ 472982 w 1291255"/>
                <a:gd name="connsiteY47" fmla="*/ 1190386 h 1497961"/>
                <a:gd name="connsiteX48" fmla="*/ 472604 w 1291255"/>
                <a:gd name="connsiteY48" fmla="*/ 1189550 h 1497961"/>
                <a:gd name="connsiteX49" fmla="*/ 475593 w 1291255"/>
                <a:gd name="connsiteY49" fmla="*/ 1165673 h 1497961"/>
                <a:gd name="connsiteX50" fmla="*/ 469515 w 1291255"/>
                <a:gd name="connsiteY50" fmla="*/ 1139806 h 1497961"/>
                <a:gd name="connsiteX51" fmla="*/ 474497 w 1291255"/>
                <a:gd name="connsiteY51" fmla="*/ 1112945 h 1497961"/>
                <a:gd name="connsiteX52" fmla="*/ 464532 w 1291255"/>
                <a:gd name="connsiteY52" fmla="*/ 1098022 h 1497961"/>
                <a:gd name="connsiteX53" fmla="*/ 447593 w 1291255"/>
                <a:gd name="connsiteY53" fmla="*/ 1094042 h 1497961"/>
                <a:gd name="connsiteX54" fmla="*/ 443707 w 1291255"/>
                <a:gd name="connsiteY54" fmla="*/ 1080114 h 1497961"/>
                <a:gd name="connsiteX55" fmla="*/ 413814 w 1291255"/>
                <a:gd name="connsiteY55" fmla="*/ 1037334 h 1497961"/>
                <a:gd name="connsiteX56" fmla="*/ 386910 w 1291255"/>
                <a:gd name="connsiteY56" fmla="*/ 1004503 h 1497961"/>
                <a:gd name="connsiteX57" fmla="*/ 366981 w 1291255"/>
                <a:gd name="connsiteY57" fmla="*/ 975652 h 1497961"/>
                <a:gd name="connsiteX58" fmla="*/ 350041 w 1291255"/>
                <a:gd name="connsiteY58" fmla="*/ 955755 h 1497961"/>
                <a:gd name="connsiteX59" fmla="*/ 316063 w 1291255"/>
                <a:gd name="connsiteY59" fmla="*/ 923919 h 1497961"/>
                <a:gd name="connsiteX60" fmla="*/ 320049 w 1291255"/>
                <a:gd name="connsiteY60" fmla="*/ 876165 h 1497961"/>
                <a:gd name="connsiteX61" fmla="*/ 314070 w 1291255"/>
                <a:gd name="connsiteY61" fmla="*/ 819457 h 1497961"/>
                <a:gd name="connsiteX62" fmla="*/ 294141 w 1291255"/>
                <a:gd name="connsiteY62" fmla="*/ 822442 h 1497961"/>
                <a:gd name="connsiteX63" fmla="*/ 252291 w 1291255"/>
                <a:gd name="connsiteY63" fmla="*/ 785631 h 1497961"/>
                <a:gd name="connsiteX64" fmla="*/ 252291 w 1291255"/>
                <a:gd name="connsiteY64" fmla="*/ 761754 h 1497961"/>
                <a:gd name="connsiteX65" fmla="*/ 240333 w 1291255"/>
                <a:gd name="connsiteY65" fmla="*/ 736882 h 1497961"/>
                <a:gd name="connsiteX66" fmla="*/ 240333 w 1291255"/>
                <a:gd name="connsiteY66" fmla="*/ 706041 h 1497961"/>
                <a:gd name="connsiteX67" fmla="*/ 242980 w 1291255"/>
                <a:gd name="connsiteY67" fmla="*/ 689228 h 1497961"/>
                <a:gd name="connsiteX68" fmla="*/ 252390 w 1291255"/>
                <a:gd name="connsiteY68" fmla="*/ 687139 h 1497961"/>
                <a:gd name="connsiteX69" fmla="*/ 255280 w 1291255"/>
                <a:gd name="connsiteY69" fmla="*/ 698082 h 1497961"/>
                <a:gd name="connsiteX70" fmla="*/ 253287 w 1291255"/>
                <a:gd name="connsiteY70" fmla="*/ 703057 h 1497961"/>
                <a:gd name="connsiteX71" fmla="*/ 281287 w 1291255"/>
                <a:gd name="connsiteY71" fmla="*/ 734892 h 1497961"/>
                <a:gd name="connsiteX72" fmla="*/ 284177 w 1291255"/>
                <a:gd name="connsiteY72" fmla="*/ 722954 h 1497961"/>
                <a:gd name="connsiteX73" fmla="*/ 282184 w 1291255"/>
                <a:gd name="connsiteY73" fmla="*/ 709026 h 1497961"/>
                <a:gd name="connsiteX74" fmla="*/ 271323 w 1291255"/>
                <a:gd name="connsiteY74" fmla="*/ 700072 h 1497961"/>
                <a:gd name="connsiteX75" fmla="*/ 263251 w 1291255"/>
                <a:gd name="connsiteY75" fmla="*/ 692113 h 1497961"/>
                <a:gd name="connsiteX76" fmla="*/ 262142 w 1291255"/>
                <a:gd name="connsiteY76" fmla="*/ 684880 h 1497961"/>
                <a:gd name="connsiteX77" fmla="*/ 264348 w 1291255"/>
                <a:gd name="connsiteY77" fmla="*/ 683159 h 1497961"/>
                <a:gd name="connsiteX78" fmla="*/ 260262 w 1291255"/>
                <a:gd name="connsiteY78" fmla="*/ 671221 h 1497961"/>
                <a:gd name="connsiteX79" fmla="*/ 249301 w 1291255"/>
                <a:gd name="connsiteY79" fmla="*/ 663262 h 1497961"/>
                <a:gd name="connsiteX80" fmla="*/ 256276 w 1291255"/>
                <a:gd name="connsiteY80" fmla="*/ 655302 h 1497961"/>
                <a:gd name="connsiteX81" fmla="*/ 269230 w 1291255"/>
                <a:gd name="connsiteY81" fmla="*/ 648339 h 1497961"/>
                <a:gd name="connsiteX82" fmla="*/ 252291 w 1291255"/>
                <a:gd name="connsiteY82" fmla="*/ 633415 h 1497961"/>
                <a:gd name="connsiteX83" fmla="*/ 239437 w 1291255"/>
                <a:gd name="connsiteY83" fmla="*/ 651323 h 1497961"/>
                <a:gd name="connsiteX84" fmla="*/ 241330 w 1291255"/>
                <a:gd name="connsiteY84" fmla="*/ 669231 h 1497961"/>
                <a:gd name="connsiteX85" fmla="*/ 234355 w 1291255"/>
                <a:gd name="connsiteY85" fmla="*/ 683159 h 1497961"/>
                <a:gd name="connsiteX86" fmla="*/ 217415 w 1291255"/>
                <a:gd name="connsiteY86" fmla="*/ 671221 h 1497961"/>
                <a:gd name="connsiteX87" fmla="*/ 207451 w 1291255"/>
                <a:gd name="connsiteY87" fmla="*/ 667241 h 1497961"/>
                <a:gd name="connsiteX88" fmla="*/ 184533 w 1291255"/>
                <a:gd name="connsiteY88" fmla="*/ 651323 h 1497961"/>
                <a:gd name="connsiteX89" fmla="*/ 175565 w 1291255"/>
                <a:gd name="connsiteY89" fmla="*/ 656297 h 1497961"/>
                <a:gd name="connsiteX90" fmla="*/ 178554 w 1291255"/>
                <a:gd name="connsiteY90" fmla="*/ 618492 h 1497961"/>
                <a:gd name="connsiteX91" fmla="*/ 169586 w 1291255"/>
                <a:gd name="connsiteY91" fmla="*/ 608544 h 1497961"/>
                <a:gd name="connsiteX92" fmla="*/ 134711 w 1291255"/>
                <a:gd name="connsiteY92" fmla="*/ 565764 h 1497961"/>
                <a:gd name="connsiteX93" fmla="*/ 93857 w 1291255"/>
                <a:gd name="connsiteY93" fmla="*/ 517015 h 1497961"/>
                <a:gd name="connsiteX94" fmla="*/ 88260 w 1291255"/>
                <a:gd name="connsiteY94" fmla="*/ 494481 h 1497961"/>
                <a:gd name="connsiteX95" fmla="*/ 89970 w 1291255"/>
                <a:gd name="connsiteY95" fmla="*/ 492143 h 1497961"/>
                <a:gd name="connsiteX96" fmla="*/ 74027 w 1291255"/>
                <a:gd name="connsiteY96" fmla="*/ 423497 h 1497961"/>
                <a:gd name="connsiteX97" fmla="*/ 76917 w 1291255"/>
                <a:gd name="connsiteY97" fmla="*/ 384697 h 1497961"/>
                <a:gd name="connsiteX98" fmla="*/ 70042 w 1291255"/>
                <a:gd name="connsiteY98" fmla="*/ 360820 h 1497961"/>
                <a:gd name="connsiteX99" fmla="*/ 42141 w 1291255"/>
                <a:gd name="connsiteY99" fmla="*/ 329979 h 1497961"/>
                <a:gd name="connsiteX100" fmla="*/ 33074 w 1291255"/>
                <a:gd name="connsiteY100" fmla="*/ 314061 h 1497961"/>
                <a:gd name="connsiteX101" fmla="*/ 18127 w 1291255"/>
                <a:gd name="connsiteY101" fmla="*/ 303117 h 1497961"/>
                <a:gd name="connsiteX102" fmla="*/ 6269 w 1291255"/>
                <a:gd name="connsiteY102" fmla="*/ 279240 h 1497961"/>
                <a:gd name="connsiteX103" fmla="*/ 2084 w 1291255"/>
                <a:gd name="connsiteY103" fmla="*/ 250389 h 1497961"/>
                <a:gd name="connsiteX104" fmla="*/ 507280 w 1291255"/>
                <a:gd name="connsiteY104" fmla="*/ 1266156 h 1497961"/>
                <a:gd name="connsiteX105" fmla="*/ 547137 w 1291255"/>
                <a:gd name="connsiteY105" fmla="*/ 1272125 h 1497961"/>
                <a:gd name="connsiteX106" fmla="*/ 538169 w 1291255"/>
                <a:gd name="connsiteY106" fmla="*/ 1293017 h 1497961"/>
                <a:gd name="connsiteX107" fmla="*/ 528205 w 1291255"/>
                <a:gd name="connsiteY107" fmla="*/ 1284063 h 1497961"/>
                <a:gd name="connsiteX108" fmla="*/ 496219 w 1291255"/>
                <a:gd name="connsiteY108" fmla="*/ 1273120 h 1497961"/>
                <a:gd name="connsiteX109" fmla="*/ 564077 w 1291255"/>
                <a:gd name="connsiteY109" fmla="*/ 1269140 h 1497961"/>
                <a:gd name="connsiteX110" fmla="*/ 623863 w 1291255"/>
                <a:gd name="connsiteY110" fmla="*/ 1269140 h 1497961"/>
                <a:gd name="connsiteX111" fmla="*/ 633828 w 1291255"/>
                <a:gd name="connsiteY111" fmla="*/ 1277099 h 1497961"/>
                <a:gd name="connsiteX112" fmla="*/ 609913 w 1291255"/>
                <a:gd name="connsiteY112" fmla="*/ 1278094 h 1497961"/>
                <a:gd name="connsiteX113" fmla="*/ 570056 w 1291255"/>
                <a:gd name="connsiteY113" fmla="*/ 1281079 h 1497961"/>
                <a:gd name="connsiteX114" fmla="*/ 564077 w 1291255"/>
                <a:gd name="connsiteY114" fmla="*/ 1269140 h 1497961"/>
                <a:gd name="connsiteX115" fmla="*/ 606924 w 1291255"/>
                <a:gd name="connsiteY115" fmla="*/ 1386535 h 1497961"/>
                <a:gd name="connsiteX116" fmla="*/ 625956 w 1291255"/>
                <a:gd name="connsiteY116" fmla="*/ 1394494 h 1497961"/>
                <a:gd name="connsiteX117" fmla="*/ 606924 w 1291255"/>
                <a:gd name="connsiteY117" fmla="*/ 1386535 h 1497961"/>
                <a:gd name="connsiteX118" fmla="*/ 730483 w 1291255"/>
                <a:gd name="connsiteY118" fmla="*/ 1423346 h 1497961"/>
                <a:gd name="connsiteX119" fmla="*/ 761372 w 1291255"/>
                <a:gd name="connsiteY119" fmla="*/ 1455182 h 1497961"/>
                <a:gd name="connsiteX120" fmla="*/ 724504 w 1291255"/>
                <a:gd name="connsiteY120" fmla="*/ 1425335 h 1497961"/>
                <a:gd name="connsiteX121" fmla="*/ 730483 w 1291255"/>
                <a:gd name="connsiteY121" fmla="*/ 1357684 h 1497961"/>
                <a:gd name="connsiteX122" fmla="*/ 769443 w 1291255"/>
                <a:gd name="connsiteY122" fmla="*/ 1375592 h 1497961"/>
                <a:gd name="connsiteX123" fmla="*/ 764362 w 1291255"/>
                <a:gd name="connsiteY123" fmla="*/ 1383551 h 1497961"/>
                <a:gd name="connsiteX124" fmla="*/ 746426 w 1291255"/>
                <a:gd name="connsiteY124" fmla="*/ 1379571 h 1497961"/>
                <a:gd name="connsiteX125" fmla="*/ 730782 w 1291255"/>
                <a:gd name="connsiteY125" fmla="*/ 1357684 h 149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291255" h="1497961">
                  <a:moveTo>
                    <a:pt x="2084" y="250389"/>
                  </a:moveTo>
                  <a:cubicBezTo>
                    <a:pt x="9159" y="221438"/>
                    <a:pt x="47024" y="183633"/>
                    <a:pt x="31081" y="153886"/>
                  </a:cubicBezTo>
                  <a:cubicBezTo>
                    <a:pt x="31081" y="135282"/>
                    <a:pt x="46027" y="110510"/>
                    <a:pt x="41942" y="90214"/>
                  </a:cubicBezTo>
                  <a:cubicBezTo>
                    <a:pt x="42739" y="77281"/>
                    <a:pt x="34768" y="61960"/>
                    <a:pt x="32974" y="49424"/>
                  </a:cubicBezTo>
                  <a:cubicBezTo>
                    <a:pt x="29586" y="45743"/>
                    <a:pt x="23010" y="41266"/>
                    <a:pt x="20120" y="35496"/>
                  </a:cubicBezTo>
                  <a:cubicBezTo>
                    <a:pt x="24282" y="24393"/>
                    <a:pt x="25617" y="12425"/>
                    <a:pt x="24006" y="675"/>
                  </a:cubicBezTo>
                  <a:cubicBezTo>
                    <a:pt x="200276" y="-917"/>
                    <a:pt x="377743" y="675"/>
                    <a:pt x="554113" y="1670"/>
                  </a:cubicBezTo>
                  <a:cubicBezTo>
                    <a:pt x="555109" y="165128"/>
                    <a:pt x="552718" y="332864"/>
                    <a:pt x="554113" y="496123"/>
                  </a:cubicBezTo>
                  <a:cubicBezTo>
                    <a:pt x="728191" y="649831"/>
                    <a:pt x="902867" y="810204"/>
                    <a:pt x="1070269" y="970678"/>
                  </a:cubicBezTo>
                  <a:cubicBezTo>
                    <a:pt x="1122084" y="1020421"/>
                    <a:pt x="1177785" y="1073946"/>
                    <a:pt x="1228703" y="1124883"/>
                  </a:cubicBezTo>
                  <a:cubicBezTo>
                    <a:pt x="1229700" y="1131479"/>
                    <a:pt x="1229700" y="1138185"/>
                    <a:pt x="1228703" y="1144781"/>
                  </a:cubicBezTo>
                  <a:cubicBezTo>
                    <a:pt x="1233486" y="1150750"/>
                    <a:pt x="1241956" y="1161793"/>
                    <a:pt x="1246739" y="1167663"/>
                  </a:cubicBezTo>
                  <a:cubicBezTo>
                    <a:pt x="1251820" y="1179502"/>
                    <a:pt x="1261486" y="1196216"/>
                    <a:pt x="1260589" y="1209448"/>
                  </a:cubicBezTo>
                  <a:cubicBezTo>
                    <a:pt x="1271749" y="1209448"/>
                    <a:pt x="1284205" y="1222978"/>
                    <a:pt x="1290482" y="1231335"/>
                  </a:cubicBezTo>
                  <a:cubicBezTo>
                    <a:pt x="1294269" y="1239493"/>
                    <a:pt x="1283109" y="1242876"/>
                    <a:pt x="1279422" y="1249243"/>
                  </a:cubicBezTo>
                  <a:cubicBezTo>
                    <a:pt x="1270643" y="1252983"/>
                    <a:pt x="1262293" y="1257649"/>
                    <a:pt x="1254511" y="1263171"/>
                  </a:cubicBezTo>
                  <a:cubicBezTo>
                    <a:pt x="1254561" y="1267658"/>
                    <a:pt x="1253544" y="1272095"/>
                    <a:pt x="1251521" y="1276104"/>
                  </a:cubicBezTo>
                  <a:cubicBezTo>
                    <a:pt x="1248333" y="1280979"/>
                    <a:pt x="1237870" y="1287048"/>
                    <a:pt x="1244646" y="1293017"/>
                  </a:cubicBezTo>
                  <a:cubicBezTo>
                    <a:pt x="1242932" y="1301931"/>
                    <a:pt x="1243271" y="1311114"/>
                    <a:pt x="1245642" y="1319879"/>
                  </a:cubicBezTo>
                  <a:cubicBezTo>
                    <a:pt x="1242175" y="1328037"/>
                    <a:pt x="1241139" y="1337020"/>
                    <a:pt x="1242653" y="1345746"/>
                  </a:cubicBezTo>
                  <a:cubicBezTo>
                    <a:pt x="1236814" y="1350451"/>
                    <a:pt x="1232340" y="1356639"/>
                    <a:pt x="1229700" y="1363653"/>
                  </a:cubicBezTo>
                  <a:cubicBezTo>
                    <a:pt x="1227109" y="1365842"/>
                    <a:pt x="1220731" y="1365941"/>
                    <a:pt x="1217643" y="1367633"/>
                  </a:cubicBezTo>
                  <a:cubicBezTo>
                    <a:pt x="1220482" y="1373264"/>
                    <a:pt x="1220482" y="1379909"/>
                    <a:pt x="1217643" y="1385540"/>
                  </a:cubicBezTo>
                  <a:cubicBezTo>
                    <a:pt x="1226212" y="1388028"/>
                    <a:pt x="1221828" y="1397678"/>
                    <a:pt x="1222625" y="1404443"/>
                  </a:cubicBezTo>
                  <a:cubicBezTo>
                    <a:pt x="1219685" y="1410163"/>
                    <a:pt x="1220114" y="1417028"/>
                    <a:pt x="1223721" y="1422351"/>
                  </a:cubicBezTo>
                  <a:cubicBezTo>
                    <a:pt x="1229700" y="1423843"/>
                    <a:pt x="1237671" y="1421555"/>
                    <a:pt x="1243650" y="1424341"/>
                  </a:cubicBezTo>
                  <a:cubicBezTo>
                    <a:pt x="1248741" y="1432319"/>
                    <a:pt x="1250894" y="1441810"/>
                    <a:pt x="1249728" y="1451202"/>
                  </a:cubicBezTo>
                  <a:cubicBezTo>
                    <a:pt x="1243650" y="1459758"/>
                    <a:pt x="1236176" y="1468811"/>
                    <a:pt x="1224717" y="1468115"/>
                  </a:cubicBezTo>
                  <a:cubicBezTo>
                    <a:pt x="1222824" y="1468115"/>
                    <a:pt x="1188447" y="1473885"/>
                    <a:pt x="1182867" y="1473089"/>
                  </a:cubicBezTo>
                  <a:cubicBezTo>
                    <a:pt x="1097372" y="1480252"/>
                    <a:pt x="1000917" y="1488012"/>
                    <a:pt x="915821" y="1497961"/>
                  </a:cubicBezTo>
                  <a:cubicBezTo>
                    <a:pt x="914924" y="1489107"/>
                    <a:pt x="912632" y="1468811"/>
                    <a:pt x="899878" y="1478064"/>
                  </a:cubicBezTo>
                  <a:cubicBezTo>
                    <a:pt x="898931" y="1472144"/>
                    <a:pt x="898622" y="1466135"/>
                    <a:pt x="898981" y="1460156"/>
                  </a:cubicBezTo>
                  <a:cubicBezTo>
                    <a:pt x="897187" y="1457569"/>
                    <a:pt x="894397" y="1453192"/>
                    <a:pt x="896888" y="1450207"/>
                  </a:cubicBezTo>
                  <a:lnTo>
                    <a:pt x="897885" y="1451202"/>
                  </a:lnTo>
                  <a:cubicBezTo>
                    <a:pt x="903265" y="1404244"/>
                    <a:pt x="859223" y="1371612"/>
                    <a:pt x="829130" y="1345746"/>
                  </a:cubicBezTo>
                  <a:cubicBezTo>
                    <a:pt x="823749" y="1339478"/>
                    <a:pt x="810995" y="1335797"/>
                    <a:pt x="805315" y="1329827"/>
                  </a:cubicBezTo>
                  <a:cubicBezTo>
                    <a:pt x="793358" y="1317093"/>
                    <a:pt x="788974" y="1310726"/>
                    <a:pt x="773330" y="1322863"/>
                  </a:cubicBezTo>
                  <a:cubicBezTo>
                    <a:pt x="730782" y="1312914"/>
                    <a:pt x="773330" y="1311721"/>
                    <a:pt x="740447" y="1273120"/>
                  </a:cubicBezTo>
                  <a:cubicBezTo>
                    <a:pt x="729187" y="1272224"/>
                    <a:pt x="714340" y="1269737"/>
                    <a:pt x="704575" y="1277099"/>
                  </a:cubicBezTo>
                  <a:cubicBezTo>
                    <a:pt x="689130" y="1267150"/>
                    <a:pt x="664717" y="1267150"/>
                    <a:pt x="650867" y="1253222"/>
                  </a:cubicBezTo>
                  <a:cubicBezTo>
                    <a:pt x="647479" y="1236807"/>
                    <a:pt x="633629" y="1231335"/>
                    <a:pt x="621871" y="1220391"/>
                  </a:cubicBezTo>
                  <a:cubicBezTo>
                    <a:pt x="613002" y="1219695"/>
                    <a:pt x="603137" y="1210443"/>
                    <a:pt x="593970" y="1215417"/>
                  </a:cubicBezTo>
                  <a:cubicBezTo>
                    <a:pt x="591180" y="1218700"/>
                    <a:pt x="584006" y="1215417"/>
                    <a:pt x="581016" y="1214422"/>
                  </a:cubicBezTo>
                  <a:cubicBezTo>
                    <a:pt x="572856" y="1215506"/>
                    <a:pt x="564565" y="1214114"/>
                    <a:pt x="557202" y="1210443"/>
                  </a:cubicBezTo>
                  <a:cubicBezTo>
                    <a:pt x="544397" y="1206055"/>
                    <a:pt x="530756" y="1204702"/>
                    <a:pt x="517344" y="1206463"/>
                  </a:cubicBezTo>
                  <a:cubicBezTo>
                    <a:pt x="506682" y="1208751"/>
                    <a:pt x="494326" y="1211736"/>
                    <a:pt x="489543" y="1198504"/>
                  </a:cubicBezTo>
                  <a:cubicBezTo>
                    <a:pt x="486404" y="1196753"/>
                    <a:pt x="483405" y="1194753"/>
                    <a:pt x="480575" y="1192535"/>
                  </a:cubicBezTo>
                  <a:cubicBezTo>
                    <a:pt x="477885" y="1194037"/>
                    <a:pt x="474487" y="1193072"/>
                    <a:pt x="472982" y="1190386"/>
                  </a:cubicBezTo>
                  <a:cubicBezTo>
                    <a:pt x="472833" y="1190117"/>
                    <a:pt x="472703" y="1189839"/>
                    <a:pt x="472604" y="1189550"/>
                  </a:cubicBezTo>
                  <a:cubicBezTo>
                    <a:pt x="474397" y="1184476"/>
                    <a:pt x="481472" y="1169653"/>
                    <a:pt x="475593" y="1165673"/>
                  </a:cubicBezTo>
                  <a:cubicBezTo>
                    <a:pt x="477088" y="1157814"/>
                    <a:pt x="479379" y="1143388"/>
                    <a:pt x="469515" y="1139806"/>
                  </a:cubicBezTo>
                  <a:cubicBezTo>
                    <a:pt x="472594" y="1131171"/>
                    <a:pt x="474268" y="1122108"/>
                    <a:pt x="474497" y="1112945"/>
                  </a:cubicBezTo>
                  <a:cubicBezTo>
                    <a:pt x="475294" y="1106379"/>
                    <a:pt x="469515" y="1101404"/>
                    <a:pt x="464532" y="1098022"/>
                  </a:cubicBezTo>
                  <a:cubicBezTo>
                    <a:pt x="459849" y="1103692"/>
                    <a:pt x="451878" y="1096728"/>
                    <a:pt x="447593" y="1094042"/>
                  </a:cubicBezTo>
                  <a:cubicBezTo>
                    <a:pt x="443308" y="1091356"/>
                    <a:pt x="440120" y="1085088"/>
                    <a:pt x="443707" y="1080114"/>
                  </a:cubicBezTo>
                  <a:cubicBezTo>
                    <a:pt x="451678" y="1049472"/>
                    <a:pt x="427066" y="1062505"/>
                    <a:pt x="413814" y="1037334"/>
                  </a:cubicBezTo>
                  <a:cubicBezTo>
                    <a:pt x="406440" y="1021814"/>
                    <a:pt x="386113" y="1025794"/>
                    <a:pt x="386910" y="1004503"/>
                  </a:cubicBezTo>
                  <a:cubicBezTo>
                    <a:pt x="378141" y="996943"/>
                    <a:pt x="366981" y="988387"/>
                    <a:pt x="366981" y="975652"/>
                  </a:cubicBezTo>
                  <a:cubicBezTo>
                    <a:pt x="361799" y="969086"/>
                    <a:pt x="352533" y="964410"/>
                    <a:pt x="350041" y="955755"/>
                  </a:cubicBezTo>
                  <a:cubicBezTo>
                    <a:pt x="344461" y="940334"/>
                    <a:pt x="323835" y="936952"/>
                    <a:pt x="316063" y="923919"/>
                  </a:cubicBezTo>
                  <a:cubicBezTo>
                    <a:pt x="318952" y="910786"/>
                    <a:pt x="292447" y="863629"/>
                    <a:pt x="320049" y="876165"/>
                  </a:cubicBezTo>
                  <a:cubicBezTo>
                    <a:pt x="332524" y="858426"/>
                    <a:pt x="329973" y="834211"/>
                    <a:pt x="314070" y="819457"/>
                  </a:cubicBezTo>
                  <a:cubicBezTo>
                    <a:pt x="307992" y="818263"/>
                    <a:pt x="300219" y="823337"/>
                    <a:pt x="294141" y="822442"/>
                  </a:cubicBezTo>
                  <a:cubicBezTo>
                    <a:pt x="275308" y="818064"/>
                    <a:pt x="266340" y="796873"/>
                    <a:pt x="252291" y="785631"/>
                  </a:cubicBezTo>
                  <a:cubicBezTo>
                    <a:pt x="249199" y="777971"/>
                    <a:pt x="249199" y="769415"/>
                    <a:pt x="252291" y="761754"/>
                  </a:cubicBezTo>
                  <a:cubicBezTo>
                    <a:pt x="251074" y="752402"/>
                    <a:pt x="246882" y="743677"/>
                    <a:pt x="240333" y="736882"/>
                  </a:cubicBezTo>
                  <a:cubicBezTo>
                    <a:pt x="232262" y="728625"/>
                    <a:pt x="242924" y="715990"/>
                    <a:pt x="240333" y="706041"/>
                  </a:cubicBezTo>
                  <a:cubicBezTo>
                    <a:pt x="236412" y="700669"/>
                    <a:pt x="237597" y="693138"/>
                    <a:pt x="242980" y="689228"/>
                  </a:cubicBezTo>
                  <a:cubicBezTo>
                    <a:pt x="245690" y="687248"/>
                    <a:pt x="249099" y="686492"/>
                    <a:pt x="252390" y="687139"/>
                  </a:cubicBezTo>
                  <a:cubicBezTo>
                    <a:pt x="254582" y="688730"/>
                    <a:pt x="255081" y="695595"/>
                    <a:pt x="255280" y="698082"/>
                  </a:cubicBezTo>
                  <a:cubicBezTo>
                    <a:pt x="259664" y="699674"/>
                    <a:pt x="256775" y="703057"/>
                    <a:pt x="253287" y="703057"/>
                  </a:cubicBezTo>
                  <a:cubicBezTo>
                    <a:pt x="253785" y="725242"/>
                    <a:pt x="267935" y="722954"/>
                    <a:pt x="281287" y="734892"/>
                  </a:cubicBezTo>
                  <a:cubicBezTo>
                    <a:pt x="289558" y="733500"/>
                    <a:pt x="287764" y="728327"/>
                    <a:pt x="284177" y="722954"/>
                  </a:cubicBezTo>
                  <a:cubicBezTo>
                    <a:pt x="283820" y="718268"/>
                    <a:pt x="283154" y="713622"/>
                    <a:pt x="282184" y="709026"/>
                  </a:cubicBezTo>
                  <a:cubicBezTo>
                    <a:pt x="278238" y="706459"/>
                    <a:pt x="274595" y="703455"/>
                    <a:pt x="271323" y="700072"/>
                  </a:cubicBezTo>
                  <a:cubicBezTo>
                    <a:pt x="271920" y="695496"/>
                    <a:pt x="266938" y="693207"/>
                    <a:pt x="263251" y="692113"/>
                  </a:cubicBezTo>
                  <a:cubicBezTo>
                    <a:pt x="260945" y="690422"/>
                    <a:pt x="260448" y="687188"/>
                    <a:pt x="262142" y="684880"/>
                  </a:cubicBezTo>
                  <a:cubicBezTo>
                    <a:pt x="262705" y="684114"/>
                    <a:pt x="263469" y="683517"/>
                    <a:pt x="264348" y="683159"/>
                  </a:cubicBezTo>
                  <a:cubicBezTo>
                    <a:pt x="263256" y="679090"/>
                    <a:pt x="261891" y="675101"/>
                    <a:pt x="260262" y="671221"/>
                  </a:cubicBezTo>
                  <a:cubicBezTo>
                    <a:pt x="255479" y="673310"/>
                    <a:pt x="251593" y="666246"/>
                    <a:pt x="249301" y="663262"/>
                  </a:cubicBezTo>
                  <a:cubicBezTo>
                    <a:pt x="253088" y="661869"/>
                    <a:pt x="257970" y="660277"/>
                    <a:pt x="256276" y="655302"/>
                  </a:cubicBezTo>
                  <a:cubicBezTo>
                    <a:pt x="261358" y="656994"/>
                    <a:pt x="266241" y="651622"/>
                    <a:pt x="269230" y="648339"/>
                  </a:cubicBezTo>
                  <a:cubicBezTo>
                    <a:pt x="266143" y="641056"/>
                    <a:pt x="259912" y="635564"/>
                    <a:pt x="252291" y="633415"/>
                  </a:cubicBezTo>
                  <a:cubicBezTo>
                    <a:pt x="243123" y="637395"/>
                    <a:pt x="238340" y="640579"/>
                    <a:pt x="239437" y="651323"/>
                  </a:cubicBezTo>
                  <a:cubicBezTo>
                    <a:pt x="249401" y="658586"/>
                    <a:pt x="239437" y="659581"/>
                    <a:pt x="241330" y="669231"/>
                  </a:cubicBezTo>
                  <a:cubicBezTo>
                    <a:pt x="254084" y="676792"/>
                    <a:pt x="247308" y="686641"/>
                    <a:pt x="234355" y="683159"/>
                  </a:cubicBezTo>
                  <a:cubicBezTo>
                    <a:pt x="229382" y="678304"/>
                    <a:pt x="223664" y="674275"/>
                    <a:pt x="217415" y="671221"/>
                  </a:cubicBezTo>
                  <a:cubicBezTo>
                    <a:pt x="214625" y="675698"/>
                    <a:pt x="209942" y="668733"/>
                    <a:pt x="207451" y="667241"/>
                  </a:cubicBezTo>
                  <a:cubicBezTo>
                    <a:pt x="202527" y="658824"/>
                    <a:pt x="194145" y="653004"/>
                    <a:pt x="184533" y="651323"/>
                  </a:cubicBezTo>
                  <a:cubicBezTo>
                    <a:pt x="182639" y="653810"/>
                    <a:pt x="179351" y="659083"/>
                    <a:pt x="175565" y="656297"/>
                  </a:cubicBezTo>
                  <a:cubicBezTo>
                    <a:pt x="179351" y="645155"/>
                    <a:pt x="186227" y="629336"/>
                    <a:pt x="178554" y="618492"/>
                  </a:cubicBezTo>
                  <a:cubicBezTo>
                    <a:pt x="179849" y="611528"/>
                    <a:pt x="176262" y="608544"/>
                    <a:pt x="169586" y="608544"/>
                  </a:cubicBezTo>
                  <a:cubicBezTo>
                    <a:pt x="167195" y="588646"/>
                    <a:pt x="149657" y="576707"/>
                    <a:pt x="134711" y="565764"/>
                  </a:cubicBezTo>
                  <a:cubicBezTo>
                    <a:pt x="127038" y="545866"/>
                    <a:pt x="104817" y="533828"/>
                    <a:pt x="93857" y="517015"/>
                  </a:cubicBezTo>
                  <a:cubicBezTo>
                    <a:pt x="86079" y="512339"/>
                    <a:pt x="83573" y="502251"/>
                    <a:pt x="88260" y="494481"/>
                  </a:cubicBezTo>
                  <a:cubicBezTo>
                    <a:pt x="88760" y="493655"/>
                    <a:pt x="89333" y="492869"/>
                    <a:pt x="89970" y="492143"/>
                  </a:cubicBezTo>
                  <a:cubicBezTo>
                    <a:pt x="85387" y="469758"/>
                    <a:pt x="68946" y="447374"/>
                    <a:pt x="74027" y="423497"/>
                  </a:cubicBezTo>
                  <a:cubicBezTo>
                    <a:pt x="79259" y="411240"/>
                    <a:pt x="80275" y="397590"/>
                    <a:pt x="76917" y="384697"/>
                  </a:cubicBezTo>
                  <a:cubicBezTo>
                    <a:pt x="71038" y="381414"/>
                    <a:pt x="70639" y="366491"/>
                    <a:pt x="70042" y="360820"/>
                  </a:cubicBezTo>
                  <a:cubicBezTo>
                    <a:pt x="57586" y="355448"/>
                    <a:pt x="55095" y="333560"/>
                    <a:pt x="42141" y="329979"/>
                  </a:cubicBezTo>
                  <a:cubicBezTo>
                    <a:pt x="41889" y="323512"/>
                    <a:pt x="38507" y="317583"/>
                    <a:pt x="33074" y="314061"/>
                  </a:cubicBezTo>
                  <a:cubicBezTo>
                    <a:pt x="28291" y="314061"/>
                    <a:pt x="21216" y="306400"/>
                    <a:pt x="18127" y="303117"/>
                  </a:cubicBezTo>
                  <a:cubicBezTo>
                    <a:pt x="11550" y="297148"/>
                    <a:pt x="2084" y="289189"/>
                    <a:pt x="6269" y="279240"/>
                  </a:cubicBezTo>
                  <a:cubicBezTo>
                    <a:pt x="5970" y="269192"/>
                    <a:pt x="-4293" y="260536"/>
                    <a:pt x="2084" y="250389"/>
                  </a:cubicBezTo>
                  <a:close/>
                  <a:moveTo>
                    <a:pt x="507280" y="1266156"/>
                  </a:moveTo>
                  <a:cubicBezTo>
                    <a:pt x="519636" y="1266156"/>
                    <a:pt x="535180" y="1276800"/>
                    <a:pt x="547137" y="1272125"/>
                  </a:cubicBezTo>
                  <a:cubicBezTo>
                    <a:pt x="564874" y="1283566"/>
                    <a:pt x="553913" y="1290729"/>
                    <a:pt x="538169" y="1293017"/>
                  </a:cubicBezTo>
                  <a:cubicBezTo>
                    <a:pt x="533865" y="1291346"/>
                    <a:pt x="530318" y="1288162"/>
                    <a:pt x="528205" y="1284063"/>
                  </a:cubicBezTo>
                  <a:cubicBezTo>
                    <a:pt x="517065" y="1282014"/>
                    <a:pt x="506283" y="1278323"/>
                    <a:pt x="496219" y="1273120"/>
                  </a:cubicBezTo>
                  <a:close/>
                  <a:moveTo>
                    <a:pt x="564077" y="1269140"/>
                  </a:moveTo>
                  <a:cubicBezTo>
                    <a:pt x="580518" y="1266951"/>
                    <a:pt x="605629" y="1271030"/>
                    <a:pt x="623863" y="1269140"/>
                  </a:cubicBezTo>
                  <a:cubicBezTo>
                    <a:pt x="629742" y="1269637"/>
                    <a:pt x="636120" y="1269140"/>
                    <a:pt x="633828" y="1277099"/>
                  </a:cubicBezTo>
                  <a:cubicBezTo>
                    <a:pt x="625906" y="1278233"/>
                    <a:pt x="617895" y="1278561"/>
                    <a:pt x="609913" y="1278094"/>
                  </a:cubicBezTo>
                  <a:cubicBezTo>
                    <a:pt x="596661" y="1279586"/>
                    <a:pt x="583607" y="1286749"/>
                    <a:pt x="570056" y="1281079"/>
                  </a:cubicBezTo>
                  <a:cubicBezTo>
                    <a:pt x="570125" y="1276363"/>
                    <a:pt x="567893" y="1271916"/>
                    <a:pt x="564077" y="1269140"/>
                  </a:cubicBezTo>
                  <a:close/>
                  <a:moveTo>
                    <a:pt x="606924" y="1386535"/>
                  </a:moveTo>
                  <a:cubicBezTo>
                    <a:pt x="613600" y="1380765"/>
                    <a:pt x="627949" y="1384347"/>
                    <a:pt x="625956" y="1394494"/>
                  </a:cubicBezTo>
                  <a:cubicBezTo>
                    <a:pt x="618502" y="1397449"/>
                    <a:pt x="610043" y="1393917"/>
                    <a:pt x="606924" y="1386535"/>
                  </a:cubicBezTo>
                  <a:close/>
                  <a:moveTo>
                    <a:pt x="730483" y="1423346"/>
                  </a:moveTo>
                  <a:cubicBezTo>
                    <a:pt x="740058" y="1434627"/>
                    <a:pt x="750381" y="1445263"/>
                    <a:pt x="761372" y="1455182"/>
                  </a:cubicBezTo>
                  <a:cubicBezTo>
                    <a:pt x="745230" y="1463937"/>
                    <a:pt x="732874" y="1436279"/>
                    <a:pt x="724504" y="1425335"/>
                  </a:cubicBezTo>
                  <a:close/>
                  <a:moveTo>
                    <a:pt x="730483" y="1357684"/>
                  </a:moveTo>
                  <a:cubicBezTo>
                    <a:pt x="746326" y="1349128"/>
                    <a:pt x="757785" y="1367633"/>
                    <a:pt x="769443" y="1375592"/>
                  </a:cubicBezTo>
                  <a:lnTo>
                    <a:pt x="764362" y="1383551"/>
                  </a:lnTo>
                  <a:cubicBezTo>
                    <a:pt x="758821" y="1380715"/>
                    <a:pt x="752643" y="1379352"/>
                    <a:pt x="746426" y="1379571"/>
                  </a:cubicBezTo>
                  <a:cubicBezTo>
                    <a:pt x="746027" y="1371015"/>
                    <a:pt x="734767" y="1364250"/>
                    <a:pt x="730782" y="1357684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76" name="Freeform: Shape 1675">
              <a:extLst>
                <a:ext uri="{FF2B5EF4-FFF2-40B4-BE49-F238E27FC236}">
                  <a16:creationId xmlns:a16="http://schemas.microsoft.com/office/drawing/2014/main" id="{8BDABD35-2CD3-4D5D-9617-15957C949E14}"/>
                </a:ext>
              </a:extLst>
            </p:cNvPr>
            <p:cNvSpPr/>
            <p:nvPr/>
          </p:nvSpPr>
          <p:spPr>
            <a:xfrm>
              <a:off x="2720015" y="2830055"/>
              <a:ext cx="598075" cy="692579"/>
            </a:xfrm>
            <a:custGeom>
              <a:avLst/>
              <a:gdLst>
                <a:gd name="connsiteX0" fmla="*/ 0 w 598075"/>
                <a:gd name="connsiteY0" fmla="*/ 2985 h 692579"/>
                <a:gd name="connsiteX1" fmla="*/ 313879 w 598075"/>
                <a:gd name="connsiteY1" fmla="*/ 0 h 692579"/>
                <a:gd name="connsiteX2" fmla="*/ 286975 w 598075"/>
                <a:gd name="connsiteY2" fmla="*/ 32831 h 692579"/>
                <a:gd name="connsiteX3" fmla="*/ 282989 w 598075"/>
                <a:gd name="connsiteY3" fmla="*/ 41785 h 692579"/>
                <a:gd name="connsiteX4" fmla="*/ 284982 w 598075"/>
                <a:gd name="connsiteY4" fmla="*/ 48749 h 692579"/>
                <a:gd name="connsiteX5" fmla="*/ 321850 w 598075"/>
                <a:gd name="connsiteY5" fmla="*/ 77600 h 692579"/>
                <a:gd name="connsiteX6" fmla="*/ 343772 w 598075"/>
                <a:gd name="connsiteY6" fmla="*/ 81580 h 692579"/>
                <a:gd name="connsiteX7" fmla="*/ 363701 w 598075"/>
                <a:gd name="connsiteY7" fmla="*/ 130329 h 692579"/>
                <a:gd name="connsiteX8" fmla="*/ 382634 w 598075"/>
                <a:gd name="connsiteY8" fmla="*/ 159180 h 692579"/>
                <a:gd name="connsiteX9" fmla="*/ 399573 w 598075"/>
                <a:gd name="connsiteY9" fmla="*/ 173108 h 692579"/>
                <a:gd name="connsiteX10" fmla="*/ 428470 w 598075"/>
                <a:gd name="connsiteY10" fmla="*/ 204944 h 692579"/>
                <a:gd name="connsiteX11" fmla="*/ 450391 w 598075"/>
                <a:gd name="connsiteY11" fmla="*/ 221857 h 692579"/>
                <a:gd name="connsiteX12" fmla="*/ 462349 w 598075"/>
                <a:gd name="connsiteY12" fmla="*/ 251703 h 692579"/>
                <a:gd name="connsiteX13" fmla="*/ 472313 w 598075"/>
                <a:gd name="connsiteY13" fmla="*/ 266626 h 692579"/>
                <a:gd name="connsiteX14" fmla="*/ 484270 w 598075"/>
                <a:gd name="connsiteY14" fmla="*/ 280555 h 692579"/>
                <a:gd name="connsiteX15" fmla="*/ 516156 w 598075"/>
                <a:gd name="connsiteY15" fmla="*/ 301447 h 692579"/>
                <a:gd name="connsiteX16" fmla="*/ 521238 w 598075"/>
                <a:gd name="connsiteY16" fmla="*/ 318360 h 692579"/>
                <a:gd name="connsiteX17" fmla="*/ 545053 w 598075"/>
                <a:gd name="connsiteY17" fmla="*/ 371088 h 692579"/>
                <a:gd name="connsiteX18" fmla="*/ 555018 w 598075"/>
                <a:gd name="connsiteY18" fmla="*/ 390985 h 692579"/>
                <a:gd name="connsiteX19" fmla="*/ 562989 w 598075"/>
                <a:gd name="connsiteY19" fmla="*/ 410883 h 692579"/>
                <a:gd name="connsiteX20" fmla="*/ 564982 w 598075"/>
                <a:gd name="connsiteY20" fmla="*/ 435755 h 692579"/>
                <a:gd name="connsiteX21" fmla="*/ 586904 w 598075"/>
                <a:gd name="connsiteY21" fmla="*/ 443714 h 692579"/>
                <a:gd name="connsiteX22" fmla="*/ 586904 w 598075"/>
                <a:gd name="connsiteY22" fmla="*/ 465601 h 692579"/>
                <a:gd name="connsiteX23" fmla="*/ 561993 w 598075"/>
                <a:gd name="connsiteY23" fmla="*/ 495447 h 692579"/>
                <a:gd name="connsiteX24" fmla="*/ 544056 w 598075"/>
                <a:gd name="connsiteY24" fmla="*/ 548176 h 692579"/>
                <a:gd name="connsiteX25" fmla="*/ 541067 w 598075"/>
                <a:gd name="connsiteY25" fmla="*/ 569068 h 692579"/>
                <a:gd name="connsiteX26" fmla="*/ 529110 w 598075"/>
                <a:gd name="connsiteY26" fmla="*/ 581007 h 692579"/>
                <a:gd name="connsiteX27" fmla="*/ 526121 w 598075"/>
                <a:gd name="connsiteY27" fmla="*/ 596925 h 692579"/>
                <a:gd name="connsiteX28" fmla="*/ 528114 w 598075"/>
                <a:gd name="connsiteY28" fmla="*/ 612843 h 692579"/>
                <a:gd name="connsiteX29" fmla="*/ 523131 w 598075"/>
                <a:gd name="connsiteY29" fmla="*/ 641694 h 692579"/>
                <a:gd name="connsiteX30" fmla="*/ 508185 w 598075"/>
                <a:gd name="connsiteY30" fmla="*/ 640699 h 692579"/>
                <a:gd name="connsiteX31" fmla="*/ 477295 w 598075"/>
                <a:gd name="connsiteY31" fmla="*/ 630750 h 692579"/>
                <a:gd name="connsiteX32" fmla="*/ 449395 w 598075"/>
                <a:gd name="connsiteY32" fmla="*/ 635725 h 692579"/>
                <a:gd name="connsiteX33" fmla="*/ 451487 w 598075"/>
                <a:gd name="connsiteY33" fmla="*/ 657612 h 692579"/>
                <a:gd name="connsiteX34" fmla="*/ 448398 w 598075"/>
                <a:gd name="connsiteY34" fmla="*/ 691438 h 692579"/>
                <a:gd name="connsiteX35" fmla="*/ 428470 w 598075"/>
                <a:gd name="connsiteY35" fmla="*/ 676515 h 692579"/>
                <a:gd name="connsiteX36" fmla="*/ 426477 w 598075"/>
                <a:gd name="connsiteY36" fmla="*/ 663581 h 692579"/>
                <a:gd name="connsiteX37" fmla="*/ 166406 w 598075"/>
                <a:gd name="connsiteY37" fmla="*/ 645673 h 692579"/>
                <a:gd name="connsiteX38" fmla="*/ 93666 w 598075"/>
                <a:gd name="connsiteY38" fmla="*/ 641694 h 692579"/>
                <a:gd name="connsiteX39" fmla="*/ 78719 w 598075"/>
                <a:gd name="connsiteY39" fmla="*/ 608863 h 692579"/>
                <a:gd name="connsiteX40" fmla="*/ 73737 w 598075"/>
                <a:gd name="connsiteY40" fmla="*/ 588966 h 692579"/>
                <a:gd name="connsiteX41" fmla="*/ 62875 w 598075"/>
                <a:gd name="connsiteY41" fmla="*/ 561109 h 692579"/>
                <a:gd name="connsiteX42" fmla="*/ 64769 w 598075"/>
                <a:gd name="connsiteY42" fmla="*/ 546186 h 692579"/>
                <a:gd name="connsiteX43" fmla="*/ 66762 w 598075"/>
                <a:gd name="connsiteY43" fmla="*/ 530268 h 692579"/>
                <a:gd name="connsiteX44" fmla="*/ 68755 w 598075"/>
                <a:gd name="connsiteY44" fmla="*/ 515345 h 692579"/>
                <a:gd name="connsiteX45" fmla="*/ 60783 w 598075"/>
                <a:gd name="connsiteY45" fmla="*/ 497437 h 692579"/>
                <a:gd name="connsiteX46" fmla="*/ 58790 w 598075"/>
                <a:gd name="connsiteY46" fmla="*/ 475550 h 692579"/>
                <a:gd name="connsiteX47" fmla="*/ 68755 w 598075"/>
                <a:gd name="connsiteY47" fmla="*/ 431775 h 692579"/>
                <a:gd name="connsiteX48" fmla="*/ 74733 w 598075"/>
                <a:gd name="connsiteY48" fmla="*/ 401929 h 692579"/>
                <a:gd name="connsiteX49" fmla="*/ 67758 w 598075"/>
                <a:gd name="connsiteY49" fmla="*/ 366114 h 692579"/>
                <a:gd name="connsiteX50" fmla="*/ 55800 w 598075"/>
                <a:gd name="connsiteY50" fmla="*/ 329303 h 692579"/>
                <a:gd name="connsiteX51" fmla="*/ 0 w 598075"/>
                <a:gd name="connsiteY51" fmla="*/ 2985 h 692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98075" h="692579">
                  <a:moveTo>
                    <a:pt x="0" y="2985"/>
                  </a:moveTo>
                  <a:cubicBezTo>
                    <a:pt x="104128" y="895"/>
                    <a:pt x="209850" y="4079"/>
                    <a:pt x="313879" y="0"/>
                  </a:cubicBezTo>
                  <a:cubicBezTo>
                    <a:pt x="312285" y="15520"/>
                    <a:pt x="295445" y="21390"/>
                    <a:pt x="286975" y="32831"/>
                  </a:cubicBezTo>
                  <a:cubicBezTo>
                    <a:pt x="289665" y="36711"/>
                    <a:pt x="285181" y="39397"/>
                    <a:pt x="282989" y="41785"/>
                  </a:cubicBezTo>
                  <a:cubicBezTo>
                    <a:pt x="284036" y="43983"/>
                    <a:pt x="284713" y="46331"/>
                    <a:pt x="284982" y="48749"/>
                  </a:cubicBezTo>
                  <a:cubicBezTo>
                    <a:pt x="297039" y="58698"/>
                    <a:pt x="312085" y="65363"/>
                    <a:pt x="321850" y="77600"/>
                  </a:cubicBezTo>
                  <a:cubicBezTo>
                    <a:pt x="328128" y="82177"/>
                    <a:pt x="337196" y="78297"/>
                    <a:pt x="343772" y="81580"/>
                  </a:cubicBezTo>
                  <a:cubicBezTo>
                    <a:pt x="348555" y="98692"/>
                    <a:pt x="360412" y="112918"/>
                    <a:pt x="363701" y="130329"/>
                  </a:cubicBezTo>
                  <a:cubicBezTo>
                    <a:pt x="371742" y="138696"/>
                    <a:pt x="378159" y="148485"/>
                    <a:pt x="382634" y="159180"/>
                  </a:cubicBezTo>
                  <a:cubicBezTo>
                    <a:pt x="388901" y="163010"/>
                    <a:pt x="394601" y="167706"/>
                    <a:pt x="399573" y="173108"/>
                  </a:cubicBezTo>
                  <a:cubicBezTo>
                    <a:pt x="413434" y="178948"/>
                    <a:pt x="424006" y="190598"/>
                    <a:pt x="428470" y="204944"/>
                  </a:cubicBezTo>
                  <a:cubicBezTo>
                    <a:pt x="432356" y="213500"/>
                    <a:pt x="444512" y="214893"/>
                    <a:pt x="450391" y="221857"/>
                  </a:cubicBezTo>
                  <a:cubicBezTo>
                    <a:pt x="458163" y="235686"/>
                    <a:pt x="466832" y="231109"/>
                    <a:pt x="462349" y="251703"/>
                  </a:cubicBezTo>
                  <a:cubicBezTo>
                    <a:pt x="469025" y="254688"/>
                    <a:pt x="475900" y="258170"/>
                    <a:pt x="472313" y="266626"/>
                  </a:cubicBezTo>
                  <a:cubicBezTo>
                    <a:pt x="477993" y="269213"/>
                    <a:pt x="485665" y="273093"/>
                    <a:pt x="484270" y="280555"/>
                  </a:cubicBezTo>
                  <a:cubicBezTo>
                    <a:pt x="494234" y="286922"/>
                    <a:pt x="508384" y="291697"/>
                    <a:pt x="516156" y="301447"/>
                  </a:cubicBezTo>
                  <a:cubicBezTo>
                    <a:pt x="515110" y="307565"/>
                    <a:pt x="516994" y="313823"/>
                    <a:pt x="521238" y="318360"/>
                  </a:cubicBezTo>
                  <a:cubicBezTo>
                    <a:pt x="533494" y="334477"/>
                    <a:pt x="519644" y="368103"/>
                    <a:pt x="545053" y="371088"/>
                  </a:cubicBezTo>
                  <a:cubicBezTo>
                    <a:pt x="548640" y="375167"/>
                    <a:pt x="557807" y="384618"/>
                    <a:pt x="555018" y="390985"/>
                  </a:cubicBezTo>
                  <a:cubicBezTo>
                    <a:pt x="557907" y="397054"/>
                    <a:pt x="564982" y="403322"/>
                    <a:pt x="562989" y="410883"/>
                  </a:cubicBezTo>
                  <a:cubicBezTo>
                    <a:pt x="557210" y="418046"/>
                    <a:pt x="566278" y="427199"/>
                    <a:pt x="564982" y="435755"/>
                  </a:cubicBezTo>
                  <a:cubicBezTo>
                    <a:pt x="573452" y="440530"/>
                    <a:pt x="579530" y="436551"/>
                    <a:pt x="586904" y="443714"/>
                  </a:cubicBezTo>
                  <a:cubicBezTo>
                    <a:pt x="606833" y="449285"/>
                    <a:pt x="595772" y="454658"/>
                    <a:pt x="586904" y="465601"/>
                  </a:cubicBezTo>
                  <a:cubicBezTo>
                    <a:pt x="577537" y="473859"/>
                    <a:pt x="570960" y="486991"/>
                    <a:pt x="561993" y="495447"/>
                  </a:cubicBezTo>
                  <a:cubicBezTo>
                    <a:pt x="564185" y="514748"/>
                    <a:pt x="550534" y="530865"/>
                    <a:pt x="544056" y="548176"/>
                  </a:cubicBezTo>
                  <a:cubicBezTo>
                    <a:pt x="546847" y="555180"/>
                    <a:pt x="545711" y="563129"/>
                    <a:pt x="541067" y="569068"/>
                  </a:cubicBezTo>
                  <a:cubicBezTo>
                    <a:pt x="538776" y="570162"/>
                    <a:pt x="533494" y="582897"/>
                    <a:pt x="529110" y="581007"/>
                  </a:cubicBezTo>
                  <a:cubicBezTo>
                    <a:pt x="529568" y="586488"/>
                    <a:pt x="528542" y="591990"/>
                    <a:pt x="526121" y="596925"/>
                  </a:cubicBezTo>
                  <a:cubicBezTo>
                    <a:pt x="527864" y="602038"/>
                    <a:pt x="528542" y="607460"/>
                    <a:pt x="528114" y="612843"/>
                  </a:cubicBezTo>
                  <a:cubicBezTo>
                    <a:pt x="526121" y="621200"/>
                    <a:pt x="518947" y="632740"/>
                    <a:pt x="523131" y="641694"/>
                  </a:cubicBezTo>
                  <a:cubicBezTo>
                    <a:pt x="518379" y="639784"/>
                    <a:pt x="513147" y="639436"/>
                    <a:pt x="508185" y="640699"/>
                  </a:cubicBezTo>
                  <a:cubicBezTo>
                    <a:pt x="497583" y="638411"/>
                    <a:pt x="487240" y="635078"/>
                    <a:pt x="477295" y="630750"/>
                  </a:cubicBezTo>
                  <a:cubicBezTo>
                    <a:pt x="460057" y="627467"/>
                    <a:pt x="464441" y="618414"/>
                    <a:pt x="449395" y="635725"/>
                  </a:cubicBezTo>
                  <a:cubicBezTo>
                    <a:pt x="448598" y="642788"/>
                    <a:pt x="446306" y="651543"/>
                    <a:pt x="451487" y="657612"/>
                  </a:cubicBezTo>
                  <a:cubicBezTo>
                    <a:pt x="451467" y="668953"/>
                    <a:pt x="450431" y="680275"/>
                    <a:pt x="448398" y="691438"/>
                  </a:cubicBezTo>
                  <a:cubicBezTo>
                    <a:pt x="435843" y="694522"/>
                    <a:pt x="424185" y="691935"/>
                    <a:pt x="428470" y="676515"/>
                  </a:cubicBezTo>
                  <a:cubicBezTo>
                    <a:pt x="425162" y="673042"/>
                    <a:pt x="424364" y="667879"/>
                    <a:pt x="426477" y="663581"/>
                  </a:cubicBezTo>
                  <a:cubicBezTo>
                    <a:pt x="340583" y="655423"/>
                    <a:pt x="252697" y="650548"/>
                    <a:pt x="166406" y="645673"/>
                  </a:cubicBezTo>
                  <a:cubicBezTo>
                    <a:pt x="147772" y="644878"/>
                    <a:pt x="112598" y="642291"/>
                    <a:pt x="93666" y="641694"/>
                  </a:cubicBezTo>
                  <a:cubicBezTo>
                    <a:pt x="82904" y="633337"/>
                    <a:pt x="87886" y="617519"/>
                    <a:pt x="78719" y="608863"/>
                  </a:cubicBezTo>
                  <a:cubicBezTo>
                    <a:pt x="74733" y="603491"/>
                    <a:pt x="76128" y="594935"/>
                    <a:pt x="73737" y="588966"/>
                  </a:cubicBezTo>
                  <a:cubicBezTo>
                    <a:pt x="70648" y="580310"/>
                    <a:pt x="59687" y="571555"/>
                    <a:pt x="62875" y="561109"/>
                  </a:cubicBezTo>
                  <a:cubicBezTo>
                    <a:pt x="64798" y="556383"/>
                    <a:pt x="65457" y="551240"/>
                    <a:pt x="64769" y="546186"/>
                  </a:cubicBezTo>
                  <a:cubicBezTo>
                    <a:pt x="67150" y="541242"/>
                    <a:pt x="67848" y="535650"/>
                    <a:pt x="66762" y="530268"/>
                  </a:cubicBezTo>
                  <a:cubicBezTo>
                    <a:pt x="68655" y="525990"/>
                    <a:pt x="72541" y="519523"/>
                    <a:pt x="68755" y="515345"/>
                  </a:cubicBezTo>
                  <a:cubicBezTo>
                    <a:pt x="70847" y="509873"/>
                    <a:pt x="63872" y="501317"/>
                    <a:pt x="60783" y="497437"/>
                  </a:cubicBezTo>
                  <a:cubicBezTo>
                    <a:pt x="60813" y="490095"/>
                    <a:pt x="60145" y="482763"/>
                    <a:pt x="58790" y="475550"/>
                  </a:cubicBezTo>
                  <a:cubicBezTo>
                    <a:pt x="64071" y="462119"/>
                    <a:pt x="73737" y="446500"/>
                    <a:pt x="68755" y="431775"/>
                  </a:cubicBezTo>
                  <a:cubicBezTo>
                    <a:pt x="83203" y="418046"/>
                    <a:pt x="100840" y="416653"/>
                    <a:pt x="74733" y="401929"/>
                  </a:cubicBezTo>
                  <a:cubicBezTo>
                    <a:pt x="84697" y="392677"/>
                    <a:pt x="77025" y="373376"/>
                    <a:pt x="67758" y="366114"/>
                  </a:cubicBezTo>
                  <a:cubicBezTo>
                    <a:pt x="65337" y="353389"/>
                    <a:pt x="61311" y="341023"/>
                    <a:pt x="55800" y="329303"/>
                  </a:cubicBezTo>
                  <a:cubicBezTo>
                    <a:pt x="33480" y="222852"/>
                    <a:pt x="19630" y="110630"/>
                    <a:pt x="0" y="2985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77" name="Freeform: Shape 1676">
              <a:extLst>
                <a:ext uri="{FF2B5EF4-FFF2-40B4-BE49-F238E27FC236}">
                  <a16:creationId xmlns:a16="http://schemas.microsoft.com/office/drawing/2014/main" id="{FD79801D-73A0-4137-BBE2-319F68D9F857}"/>
                </a:ext>
              </a:extLst>
            </p:cNvPr>
            <p:cNvSpPr/>
            <p:nvPr/>
          </p:nvSpPr>
          <p:spPr>
            <a:xfrm>
              <a:off x="1804121" y="815578"/>
              <a:ext cx="765431" cy="806699"/>
            </a:xfrm>
            <a:custGeom>
              <a:avLst/>
              <a:gdLst>
                <a:gd name="connsiteX0" fmla="*/ 165 w 765431"/>
                <a:gd name="connsiteY0" fmla="*/ 255539 h 806699"/>
                <a:gd name="connsiteX1" fmla="*/ 8236 w 765431"/>
                <a:gd name="connsiteY1" fmla="*/ 238626 h 806699"/>
                <a:gd name="connsiteX2" fmla="*/ 21091 w 765431"/>
                <a:gd name="connsiteY2" fmla="*/ 212759 h 806699"/>
                <a:gd name="connsiteX3" fmla="*/ 51980 w 765431"/>
                <a:gd name="connsiteY3" fmla="*/ 195847 h 806699"/>
                <a:gd name="connsiteX4" fmla="*/ 67923 w 765431"/>
                <a:gd name="connsiteY4" fmla="*/ 188882 h 806699"/>
                <a:gd name="connsiteX5" fmla="*/ 74998 w 765431"/>
                <a:gd name="connsiteY5" fmla="*/ 177939 h 806699"/>
                <a:gd name="connsiteX6" fmla="*/ 74998 w 765431"/>
                <a:gd name="connsiteY6" fmla="*/ 70492 h 806699"/>
                <a:gd name="connsiteX7" fmla="*/ 98913 w 765431"/>
                <a:gd name="connsiteY7" fmla="*/ 57559 h 806699"/>
                <a:gd name="connsiteX8" fmla="*/ 109873 w 765431"/>
                <a:gd name="connsiteY8" fmla="*/ 62533 h 806699"/>
                <a:gd name="connsiteX9" fmla="*/ 156706 w 765431"/>
                <a:gd name="connsiteY9" fmla="*/ 57559 h 806699"/>
                <a:gd name="connsiteX10" fmla="*/ 173646 w 765431"/>
                <a:gd name="connsiteY10" fmla="*/ 53580 h 806699"/>
                <a:gd name="connsiteX11" fmla="*/ 192578 w 765431"/>
                <a:gd name="connsiteY11" fmla="*/ 45621 h 806699"/>
                <a:gd name="connsiteX12" fmla="*/ 205532 w 765431"/>
                <a:gd name="connsiteY12" fmla="*/ 38656 h 806699"/>
                <a:gd name="connsiteX13" fmla="*/ 216492 w 765431"/>
                <a:gd name="connsiteY13" fmla="*/ 37662 h 806699"/>
                <a:gd name="connsiteX14" fmla="*/ 238414 w 765431"/>
                <a:gd name="connsiteY14" fmla="*/ 11795 h 806699"/>
                <a:gd name="connsiteX15" fmla="*/ 262329 w 765431"/>
                <a:gd name="connsiteY15" fmla="*/ 20749 h 806699"/>
                <a:gd name="connsiteX16" fmla="*/ 263325 w 765431"/>
                <a:gd name="connsiteY16" fmla="*/ 41641 h 806699"/>
                <a:gd name="connsiteX17" fmla="*/ 256450 w 765431"/>
                <a:gd name="connsiteY17" fmla="*/ 64523 h 806699"/>
                <a:gd name="connsiteX18" fmla="*/ 243396 w 765431"/>
                <a:gd name="connsiteY18" fmla="*/ 83426 h 806699"/>
                <a:gd name="connsiteX19" fmla="*/ 259340 w 765431"/>
                <a:gd name="connsiteY19" fmla="*/ 79446 h 806699"/>
                <a:gd name="connsiteX20" fmla="*/ 270300 w 765431"/>
                <a:gd name="connsiteY20" fmla="*/ 65518 h 806699"/>
                <a:gd name="connsiteX21" fmla="*/ 292222 w 765431"/>
                <a:gd name="connsiteY21" fmla="*/ 85416 h 806699"/>
                <a:gd name="connsiteX22" fmla="*/ 308165 w 765431"/>
                <a:gd name="connsiteY22" fmla="*/ 89395 h 806699"/>
                <a:gd name="connsiteX23" fmla="*/ 314243 w 765431"/>
                <a:gd name="connsiteY23" fmla="*/ 94369 h 806699"/>
                <a:gd name="connsiteX24" fmla="*/ 327197 w 765431"/>
                <a:gd name="connsiteY24" fmla="*/ 97354 h 806699"/>
                <a:gd name="connsiteX25" fmla="*/ 348123 w 765431"/>
                <a:gd name="connsiteY25" fmla="*/ 130185 h 806699"/>
                <a:gd name="connsiteX26" fmla="*/ 512436 w 765431"/>
                <a:gd name="connsiteY26" fmla="*/ 187888 h 806699"/>
                <a:gd name="connsiteX27" fmla="*/ 532364 w 765431"/>
                <a:gd name="connsiteY27" fmla="*/ 193857 h 806699"/>
                <a:gd name="connsiteX28" fmla="*/ 563254 w 765431"/>
                <a:gd name="connsiteY28" fmla="*/ 194852 h 806699"/>
                <a:gd name="connsiteX29" fmla="*/ 576208 w 765431"/>
                <a:gd name="connsiteY29" fmla="*/ 198831 h 806699"/>
                <a:gd name="connsiteX30" fmla="*/ 605104 w 765431"/>
                <a:gd name="connsiteY30" fmla="*/ 213754 h 806699"/>
                <a:gd name="connsiteX31" fmla="*/ 601119 w 765431"/>
                <a:gd name="connsiteY31" fmla="*/ 227683 h 806699"/>
                <a:gd name="connsiteX32" fmla="*/ 609090 w 765431"/>
                <a:gd name="connsiteY32" fmla="*/ 230667 h 806699"/>
                <a:gd name="connsiteX33" fmla="*/ 618039 w 765431"/>
                <a:gd name="connsiteY33" fmla="*/ 231771 h 806699"/>
                <a:gd name="connsiteX34" fmla="*/ 619055 w 765431"/>
                <a:gd name="connsiteY34" fmla="*/ 233652 h 806699"/>
                <a:gd name="connsiteX35" fmla="*/ 636991 w 765431"/>
                <a:gd name="connsiteY35" fmla="*/ 253549 h 806699"/>
                <a:gd name="connsiteX36" fmla="*/ 638984 w 765431"/>
                <a:gd name="connsiteY36" fmla="*/ 286380 h 806699"/>
                <a:gd name="connsiteX37" fmla="*/ 632008 w 765431"/>
                <a:gd name="connsiteY37" fmla="*/ 307273 h 806699"/>
                <a:gd name="connsiteX38" fmla="*/ 645959 w 765431"/>
                <a:gd name="connsiteY38" fmla="*/ 307273 h 806699"/>
                <a:gd name="connsiteX39" fmla="*/ 657916 w 765431"/>
                <a:gd name="connsiteY39" fmla="*/ 305283 h 806699"/>
                <a:gd name="connsiteX40" fmla="*/ 652933 w 765431"/>
                <a:gd name="connsiteY40" fmla="*/ 344083 h 806699"/>
                <a:gd name="connsiteX41" fmla="*/ 666884 w 765431"/>
                <a:gd name="connsiteY41" fmla="*/ 354032 h 806699"/>
                <a:gd name="connsiteX42" fmla="*/ 637987 w 765431"/>
                <a:gd name="connsiteY42" fmla="*/ 378903 h 806699"/>
                <a:gd name="connsiteX43" fmla="*/ 635097 w 765431"/>
                <a:gd name="connsiteY43" fmla="*/ 392832 h 806699"/>
                <a:gd name="connsiteX44" fmla="*/ 627026 w 765431"/>
                <a:gd name="connsiteY44" fmla="*/ 402780 h 806699"/>
                <a:gd name="connsiteX45" fmla="*/ 615169 w 765431"/>
                <a:gd name="connsiteY45" fmla="*/ 439591 h 806699"/>
                <a:gd name="connsiteX46" fmla="*/ 622144 w 765431"/>
                <a:gd name="connsiteY46" fmla="*/ 453519 h 806699"/>
                <a:gd name="connsiteX47" fmla="*/ 632108 w 765431"/>
                <a:gd name="connsiteY47" fmla="*/ 439591 h 806699"/>
                <a:gd name="connsiteX48" fmla="*/ 650044 w 765431"/>
                <a:gd name="connsiteY48" fmla="*/ 419693 h 806699"/>
                <a:gd name="connsiteX49" fmla="*/ 685019 w 765431"/>
                <a:gd name="connsiteY49" fmla="*/ 390842 h 806699"/>
                <a:gd name="connsiteX50" fmla="*/ 707837 w 765431"/>
                <a:gd name="connsiteY50" fmla="*/ 356021 h 806699"/>
                <a:gd name="connsiteX51" fmla="*/ 718799 w 765431"/>
                <a:gd name="connsiteY51" fmla="*/ 340103 h 806699"/>
                <a:gd name="connsiteX52" fmla="*/ 733745 w 765431"/>
                <a:gd name="connsiteY52" fmla="*/ 318216 h 806699"/>
                <a:gd name="connsiteX53" fmla="*/ 734741 w 765431"/>
                <a:gd name="connsiteY53" fmla="*/ 337119 h 806699"/>
                <a:gd name="connsiteX54" fmla="*/ 722784 w 765431"/>
                <a:gd name="connsiteY54" fmla="*/ 367960 h 806699"/>
                <a:gd name="connsiteX55" fmla="*/ 714912 w 765431"/>
                <a:gd name="connsiteY55" fmla="*/ 390842 h 806699"/>
                <a:gd name="connsiteX56" fmla="*/ 693888 w 765431"/>
                <a:gd name="connsiteY56" fmla="*/ 427652 h 806699"/>
                <a:gd name="connsiteX57" fmla="*/ 676948 w 765431"/>
                <a:gd name="connsiteY57" fmla="*/ 510227 h 806699"/>
                <a:gd name="connsiteX58" fmla="*/ 664991 w 765431"/>
                <a:gd name="connsiteY58" fmla="*/ 523160 h 806699"/>
                <a:gd name="connsiteX59" fmla="*/ 649048 w 765431"/>
                <a:gd name="connsiteY59" fmla="*/ 565940 h 806699"/>
                <a:gd name="connsiteX60" fmla="*/ 653033 w 765431"/>
                <a:gd name="connsiteY60" fmla="*/ 586832 h 806699"/>
                <a:gd name="connsiteX61" fmla="*/ 652037 w 765431"/>
                <a:gd name="connsiteY61" fmla="*/ 602750 h 806699"/>
                <a:gd name="connsiteX62" fmla="*/ 641176 w 765431"/>
                <a:gd name="connsiteY62" fmla="*/ 634586 h 806699"/>
                <a:gd name="connsiteX63" fmla="*/ 629119 w 765431"/>
                <a:gd name="connsiteY63" fmla="*/ 666422 h 806699"/>
                <a:gd name="connsiteX64" fmla="*/ 627126 w 765431"/>
                <a:gd name="connsiteY64" fmla="*/ 698258 h 806699"/>
                <a:gd name="connsiteX65" fmla="*/ 628122 w 765431"/>
                <a:gd name="connsiteY65" fmla="*/ 717161 h 806699"/>
                <a:gd name="connsiteX66" fmla="*/ 644066 w 765431"/>
                <a:gd name="connsiteY66" fmla="*/ 756956 h 806699"/>
                <a:gd name="connsiteX67" fmla="*/ 640080 w 765431"/>
                <a:gd name="connsiteY67" fmla="*/ 806699 h 806699"/>
                <a:gd name="connsiteX68" fmla="*/ 310258 w 765431"/>
                <a:gd name="connsiteY68" fmla="*/ 803715 h 806699"/>
                <a:gd name="connsiteX69" fmla="*/ 269503 w 765431"/>
                <a:gd name="connsiteY69" fmla="*/ 780833 h 806699"/>
                <a:gd name="connsiteX70" fmla="*/ 220678 w 765431"/>
                <a:gd name="connsiteY70" fmla="*/ 736063 h 806699"/>
                <a:gd name="connsiteX71" fmla="*/ 224663 w 765431"/>
                <a:gd name="connsiteY71" fmla="*/ 665427 h 806699"/>
                <a:gd name="connsiteX72" fmla="*/ 212606 w 765431"/>
                <a:gd name="connsiteY72" fmla="*/ 650504 h 806699"/>
                <a:gd name="connsiteX73" fmla="*/ 208621 w 765431"/>
                <a:gd name="connsiteY73" fmla="*/ 622648 h 806699"/>
                <a:gd name="connsiteX74" fmla="*/ 206728 w 765431"/>
                <a:gd name="connsiteY74" fmla="*/ 585837 h 806699"/>
                <a:gd name="connsiteX75" fmla="*/ 182713 w 765431"/>
                <a:gd name="connsiteY75" fmla="*/ 546042 h 806699"/>
                <a:gd name="connsiteX76" fmla="*/ 155909 w 765431"/>
                <a:gd name="connsiteY76" fmla="*/ 535099 h 806699"/>
                <a:gd name="connsiteX77" fmla="*/ 134884 w 765431"/>
                <a:gd name="connsiteY77" fmla="*/ 518186 h 806699"/>
                <a:gd name="connsiteX78" fmla="*/ 101005 w 765431"/>
                <a:gd name="connsiteY78" fmla="*/ 475406 h 806699"/>
                <a:gd name="connsiteX79" fmla="*/ 75197 w 765431"/>
                <a:gd name="connsiteY79" fmla="*/ 461876 h 806699"/>
                <a:gd name="connsiteX80" fmla="*/ 66229 w 765431"/>
                <a:gd name="connsiteY80" fmla="*/ 448943 h 806699"/>
                <a:gd name="connsiteX81" fmla="*/ 10528 w 765431"/>
                <a:gd name="connsiteY81" fmla="*/ 412132 h 806699"/>
                <a:gd name="connsiteX82" fmla="*/ 11425 w 765431"/>
                <a:gd name="connsiteY82" fmla="*/ 359404 h 806699"/>
                <a:gd name="connsiteX83" fmla="*/ 18500 w 765431"/>
                <a:gd name="connsiteY83" fmla="*/ 349455 h 806699"/>
                <a:gd name="connsiteX84" fmla="*/ 17404 w 765431"/>
                <a:gd name="connsiteY84" fmla="*/ 318614 h 806699"/>
                <a:gd name="connsiteX85" fmla="*/ 16407 w 765431"/>
                <a:gd name="connsiteY85" fmla="*/ 271855 h 806699"/>
                <a:gd name="connsiteX86" fmla="*/ 165 w 765431"/>
                <a:gd name="connsiteY86" fmla="*/ 255539 h 806699"/>
                <a:gd name="connsiteX87" fmla="*/ 265219 w 765431"/>
                <a:gd name="connsiteY87" fmla="*/ 4831 h 806699"/>
                <a:gd name="connsiteX88" fmla="*/ 293119 w 765431"/>
                <a:gd name="connsiteY88" fmla="*/ 1846 h 806699"/>
                <a:gd name="connsiteX89" fmla="*/ 283154 w 765431"/>
                <a:gd name="connsiteY89" fmla="*/ 25723 h 806699"/>
                <a:gd name="connsiteX90" fmla="*/ 273190 w 765431"/>
                <a:gd name="connsiteY90" fmla="*/ 11795 h 806699"/>
                <a:gd name="connsiteX91" fmla="*/ 265219 w 765431"/>
                <a:gd name="connsiteY91" fmla="*/ 4831 h 806699"/>
                <a:gd name="connsiteX92" fmla="*/ 748492 w 765431"/>
                <a:gd name="connsiteY92" fmla="*/ 295334 h 806699"/>
                <a:gd name="connsiteX93" fmla="*/ 765432 w 765431"/>
                <a:gd name="connsiteY93" fmla="*/ 297324 h 806699"/>
                <a:gd name="connsiteX94" fmla="*/ 753475 w 765431"/>
                <a:gd name="connsiteY94" fmla="*/ 318216 h 806699"/>
                <a:gd name="connsiteX95" fmla="*/ 748492 w 765431"/>
                <a:gd name="connsiteY95" fmla="*/ 295334 h 806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765431" h="806699">
                  <a:moveTo>
                    <a:pt x="165" y="255539"/>
                  </a:moveTo>
                  <a:cubicBezTo>
                    <a:pt x="763" y="248973"/>
                    <a:pt x="1760" y="241511"/>
                    <a:pt x="8236" y="238626"/>
                  </a:cubicBezTo>
                  <a:cubicBezTo>
                    <a:pt x="14614" y="231861"/>
                    <a:pt x="15411" y="219724"/>
                    <a:pt x="21091" y="212759"/>
                  </a:cubicBezTo>
                  <a:cubicBezTo>
                    <a:pt x="29181" y="203806"/>
                    <a:pt x="40063" y="197846"/>
                    <a:pt x="51980" y="195847"/>
                  </a:cubicBezTo>
                  <a:cubicBezTo>
                    <a:pt x="54641" y="189708"/>
                    <a:pt x="61606" y="186664"/>
                    <a:pt x="67923" y="188882"/>
                  </a:cubicBezTo>
                  <a:cubicBezTo>
                    <a:pt x="67644" y="184087"/>
                    <a:pt x="70504" y="179660"/>
                    <a:pt x="74998" y="177939"/>
                  </a:cubicBezTo>
                  <a:cubicBezTo>
                    <a:pt x="74998" y="144213"/>
                    <a:pt x="74998" y="104318"/>
                    <a:pt x="74998" y="70492"/>
                  </a:cubicBezTo>
                  <a:cubicBezTo>
                    <a:pt x="89347" y="74770"/>
                    <a:pt x="87454" y="58852"/>
                    <a:pt x="98913" y="57559"/>
                  </a:cubicBezTo>
                  <a:cubicBezTo>
                    <a:pt x="101603" y="59250"/>
                    <a:pt x="106486" y="63827"/>
                    <a:pt x="109873" y="62533"/>
                  </a:cubicBezTo>
                  <a:cubicBezTo>
                    <a:pt x="121233" y="72482"/>
                    <a:pt x="143952" y="61638"/>
                    <a:pt x="156706" y="57559"/>
                  </a:cubicBezTo>
                  <a:cubicBezTo>
                    <a:pt x="161818" y="54545"/>
                    <a:pt x="167727" y="53152"/>
                    <a:pt x="173646" y="53580"/>
                  </a:cubicBezTo>
                  <a:cubicBezTo>
                    <a:pt x="179624" y="50207"/>
                    <a:pt x="185982" y="47531"/>
                    <a:pt x="192578" y="45621"/>
                  </a:cubicBezTo>
                  <a:cubicBezTo>
                    <a:pt x="195846" y="41731"/>
                    <a:pt x="200480" y="39243"/>
                    <a:pt x="205532" y="38656"/>
                  </a:cubicBezTo>
                  <a:cubicBezTo>
                    <a:pt x="208920" y="33782"/>
                    <a:pt x="212308" y="33583"/>
                    <a:pt x="216492" y="37662"/>
                  </a:cubicBezTo>
                  <a:cubicBezTo>
                    <a:pt x="224165" y="27713"/>
                    <a:pt x="244592" y="27713"/>
                    <a:pt x="238414" y="11795"/>
                  </a:cubicBezTo>
                  <a:cubicBezTo>
                    <a:pt x="247781" y="5328"/>
                    <a:pt x="255453" y="15277"/>
                    <a:pt x="262329" y="20749"/>
                  </a:cubicBezTo>
                  <a:cubicBezTo>
                    <a:pt x="271197" y="26917"/>
                    <a:pt x="267809" y="33881"/>
                    <a:pt x="263325" y="41641"/>
                  </a:cubicBezTo>
                  <a:cubicBezTo>
                    <a:pt x="258841" y="49401"/>
                    <a:pt x="248578" y="56266"/>
                    <a:pt x="256450" y="64523"/>
                  </a:cubicBezTo>
                  <a:cubicBezTo>
                    <a:pt x="248877" y="68105"/>
                    <a:pt x="247681" y="77656"/>
                    <a:pt x="243396" y="83426"/>
                  </a:cubicBezTo>
                  <a:cubicBezTo>
                    <a:pt x="248877" y="86709"/>
                    <a:pt x="255154" y="82928"/>
                    <a:pt x="259340" y="79446"/>
                  </a:cubicBezTo>
                  <a:cubicBezTo>
                    <a:pt x="265497" y="77476"/>
                    <a:pt x="269842" y="71955"/>
                    <a:pt x="270300" y="65518"/>
                  </a:cubicBezTo>
                  <a:cubicBezTo>
                    <a:pt x="275681" y="70293"/>
                    <a:pt x="286941" y="80441"/>
                    <a:pt x="292222" y="85416"/>
                  </a:cubicBezTo>
                  <a:cubicBezTo>
                    <a:pt x="297104" y="82033"/>
                    <a:pt x="304279" y="86609"/>
                    <a:pt x="308165" y="89395"/>
                  </a:cubicBezTo>
                  <a:cubicBezTo>
                    <a:pt x="312151" y="86609"/>
                    <a:pt x="312550" y="92181"/>
                    <a:pt x="314243" y="94369"/>
                  </a:cubicBezTo>
                  <a:cubicBezTo>
                    <a:pt x="319823" y="90688"/>
                    <a:pt x="323411" y="92380"/>
                    <a:pt x="327197" y="97354"/>
                  </a:cubicBezTo>
                  <a:cubicBezTo>
                    <a:pt x="341147" y="98448"/>
                    <a:pt x="343638" y="119739"/>
                    <a:pt x="348123" y="130185"/>
                  </a:cubicBezTo>
                  <a:cubicBezTo>
                    <a:pt x="397945" y="147695"/>
                    <a:pt x="469489" y="154161"/>
                    <a:pt x="512436" y="187888"/>
                  </a:cubicBezTo>
                  <a:cubicBezTo>
                    <a:pt x="519012" y="186793"/>
                    <a:pt x="530073" y="185798"/>
                    <a:pt x="532364" y="193857"/>
                  </a:cubicBezTo>
                  <a:cubicBezTo>
                    <a:pt x="547510" y="186196"/>
                    <a:pt x="547012" y="186495"/>
                    <a:pt x="563254" y="194852"/>
                  </a:cubicBezTo>
                  <a:cubicBezTo>
                    <a:pt x="566642" y="190474"/>
                    <a:pt x="573218" y="197140"/>
                    <a:pt x="576208" y="198831"/>
                  </a:cubicBezTo>
                  <a:cubicBezTo>
                    <a:pt x="588135" y="196583"/>
                    <a:pt x="600052" y="202741"/>
                    <a:pt x="605104" y="213754"/>
                  </a:cubicBezTo>
                  <a:cubicBezTo>
                    <a:pt x="602813" y="217037"/>
                    <a:pt x="595140" y="224300"/>
                    <a:pt x="601119" y="227683"/>
                  </a:cubicBezTo>
                  <a:cubicBezTo>
                    <a:pt x="601119" y="227683"/>
                    <a:pt x="609190" y="231364"/>
                    <a:pt x="609090" y="230667"/>
                  </a:cubicBezTo>
                  <a:cubicBezTo>
                    <a:pt x="611870" y="228508"/>
                    <a:pt x="615876" y="228996"/>
                    <a:pt x="618039" y="231771"/>
                  </a:cubicBezTo>
                  <a:cubicBezTo>
                    <a:pt x="618487" y="232338"/>
                    <a:pt x="618826" y="232975"/>
                    <a:pt x="619055" y="233652"/>
                  </a:cubicBezTo>
                  <a:cubicBezTo>
                    <a:pt x="627524" y="232458"/>
                    <a:pt x="649944" y="247978"/>
                    <a:pt x="636991" y="253549"/>
                  </a:cubicBezTo>
                  <a:cubicBezTo>
                    <a:pt x="647553" y="261906"/>
                    <a:pt x="639083" y="275337"/>
                    <a:pt x="638984" y="286380"/>
                  </a:cubicBezTo>
                  <a:cubicBezTo>
                    <a:pt x="632208" y="290459"/>
                    <a:pt x="633404" y="300507"/>
                    <a:pt x="632008" y="307273"/>
                  </a:cubicBezTo>
                  <a:lnTo>
                    <a:pt x="645959" y="307273"/>
                  </a:lnTo>
                  <a:cubicBezTo>
                    <a:pt x="649446" y="303393"/>
                    <a:pt x="653631" y="301403"/>
                    <a:pt x="657916" y="305283"/>
                  </a:cubicBezTo>
                  <a:cubicBezTo>
                    <a:pt x="659709" y="319211"/>
                    <a:pt x="639980" y="332642"/>
                    <a:pt x="652933" y="344083"/>
                  </a:cubicBezTo>
                  <a:cubicBezTo>
                    <a:pt x="655654" y="349495"/>
                    <a:pt x="660875" y="353226"/>
                    <a:pt x="666884" y="354032"/>
                  </a:cubicBezTo>
                  <a:cubicBezTo>
                    <a:pt x="653033" y="382584"/>
                    <a:pt x="672364" y="369850"/>
                    <a:pt x="637987" y="378903"/>
                  </a:cubicBezTo>
                  <a:cubicBezTo>
                    <a:pt x="635336" y="383032"/>
                    <a:pt x="634310" y="387997"/>
                    <a:pt x="635097" y="392832"/>
                  </a:cubicBezTo>
                  <a:cubicBezTo>
                    <a:pt x="632586" y="396284"/>
                    <a:pt x="629886" y="399607"/>
                    <a:pt x="627026" y="402780"/>
                  </a:cubicBezTo>
                  <a:cubicBezTo>
                    <a:pt x="621745" y="414520"/>
                    <a:pt x="612279" y="425563"/>
                    <a:pt x="615169" y="439591"/>
                  </a:cubicBezTo>
                  <a:cubicBezTo>
                    <a:pt x="607197" y="446654"/>
                    <a:pt x="612378" y="454116"/>
                    <a:pt x="622144" y="453519"/>
                  </a:cubicBezTo>
                  <a:cubicBezTo>
                    <a:pt x="624735" y="450236"/>
                    <a:pt x="629816" y="443570"/>
                    <a:pt x="632108" y="439591"/>
                  </a:cubicBezTo>
                  <a:cubicBezTo>
                    <a:pt x="640478" y="436805"/>
                    <a:pt x="651339" y="429642"/>
                    <a:pt x="650044" y="419693"/>
                  </a:cubicBezTo>
                  <a:cubicBezTo>
                    <a:pt x="656959" y="405467"/>
                    <a:pt x="669723" y="394941"/>
                    <a:pt x="685019" y="390842"/>
                  </a:cubicBezTo>
                  <a:cubicBezTo>
                    <a:pt x="691994" y="380893"/>
                    <a:pt x="699766" y="365373"/>
                    <a:pt x="707837" y="356021"/>
                  </a:cubicBezTo>
                  <a:cubicBezTo>
                    <a:pt x="709233" y="350350"/>
                    <a:pt x="709133" y="337318"/>
                    <a:pt x="718799" y="340103"/>
                  </a:cubicBezTo>
                  <a:cubicBezTo>
                    <a:pt x="726969" y="335129"/>
                    <a:pt x="725674" y="323190"/>
                    <a:pt x="733745" y="318216"/>
                  </a:cubicBezTo>
                  <a:cubicBezTo>
                    <a:pt x="749290" y="313441"/>
                    <a:pt x="745204" y="333438"/>
                    <a:pt x="734741" y="337119"/>
                  </a:cubicBezTo>
                  <a:cubicBezTo>
                    <a:pt x="736117" y="348739"/>
                    <a:pt x="731643" y="360289"/>
                    <a:pt x="722784" y="367960"/>
                  </a:cubicBezTo>
                  <a:cubicBezTo>
                    <a:pt x="718619" y="374974"/>
                    <a:pt x="715949" y="382754"/>
                    <a:pt x="714912" y="390842"/>
                  </a:cubicBezTo>
                  <a:cubicBezTo>
                    <a:pt x="704151" y="398602"/>
                    <a:pt x="698870" y="416012"/>
                    <a:pt x="693888" y="427652"/>
                  </a:cubicBezTo>
                  <a:cubicBezTo>
                    <a:pt x="681133" y="451430"/>
                    <a:pt x="666684" y="483365"/>
                    <a:pt x="676948" y="510227"/>
                  </a:cubicBezTo>
                  <a:cubicBezTo>
                    <a:pt x="675483" y="516325"/>
                    <a:pt x="670959" y="521220"/>
                    <a:pt x="664991" y="523160"/>
                  </a:cubicBezTo>
                  <a:cubicBezTo>
                    <a:pt x="655026" y="533109"/>
                    <a:pt x="654229" y="553703"/>
                    <a:pt x="649048" y="565940"/>
                  </a:cubicBezTo>
                  <a:cubicBezTo>
                    <a:pt x="647344" y="573153"/>
                    <a:pt x="648789" y="580754"/>
                    <a:pt x="653033" y="586832"/>
                  </a:cubicBezTo>
                  <a:cubicBezTo>
                    <a:pt x="652256" y="592105"/>
                    <a:pt x="651917" y="597428"/>
                    <a:pt x="652037" y="602750"/>
                  </a:cubicBezTo>
                  <a:cubicBezTo>
                    <a:pt x="647752" y="609615"/>
                    <a:pt x="638286" y="625931"/>
                    <a:pt x="641176" y="634586"/>
                  </a:cubicBezTo>
                  <a:cubicBezTo>
                    <a:pt x="636243" y="644833"/>
                    <a:pt x="632218" y="655488"/>
                    <a:pt x="629119" y="666422"/>
                  </a:cubicBezTo>
                  <a:cubicBezTo>
                    <a:pt x="629119" y="673386"/>
                    <a:pt x="627923" y="691294"/>
                    <a:pt x="627126" y="698258"/>
                  </a:cubicBezTo>
                  <a:cubicBezTo>
                    <a:pt x="630763" y="703949"/>
                    <a:pt x="631142" y="711122"/>
                    <a:pt x="628122" y="717161"/>
                  </a:cubicBezTo>
                  <a:cubicBezTo>
                    <a:pt x="638087" y="728005"/>
                    <a:pt x="633104" y="747007"/>
                    <a:pt x="644066" y="756956"/>
                  </a:cubicBezTo>
                  <a:cubicBezTo>
                    <a:pt x="641773" y="773073"/>
                    <a:pt x="635097" y="790184"/>
                    <a:pt x="640080" y="806699"/>
                  </a:cubicBezTo>
                  <a:cubicBezTo>
                    <a:pt x="530969" y="805704"/>
                    <a:pt x="419467" y="805406"/>
                    <a:pt x="310258" y="803715"/>
                  </a:cubicBezTo>
                  <a:cubicBezTo>
                    <a:pt x="263923" y="806699"/>
                    <a:pt x="292920" y="798840"/>
                    <a:pt x="269503" y="780833"/>
                  </a:cubicBezTo>
                  <a:cubicBezTo>
                    <a:pt x="228550" y="770884"/>
                    <a:pt x="236322" y="769491"/>
                    <a:pt x="220678" y="736063"/>
                  </a:cubicBezTo>
                  <a:cubicBezTo>
                    <a:pt x="201745" y="675376"/>
                    <a:pt x="241802" y="690498"/>
                    <a:pt x="224663" y="665427"/>
                  </a:cubicBezTo>
                  <a:cubicBezTo>
                    <a:pt x="219482" y="663040"/>
                    <a:pt x="209219" y="657269"/>
                    <a:pt x="212606" y="650504"/>
                  </a:cubicBezTo>
                  <a:cubicBezTo>
                    <a:pt x="206927" y="642545"/>
                    <a:pt x="211909" y="631701"/>
                    <a:pt x="208621" y="622648"/>
                  </a:cubicBezTo>
                  <a:cubicBezTo>
                    <a:pt x="201347" y="612002"/>
                    <a:pt x="205233" y="597477"/>
                    <a:pt x="206728" y="585837"/>
                  </a:cubicBezTo>
                  <a:cubicBezTo>
                    <a:pt x="202841" y="571710"/>
                    <a:pt x="190187" y="558379"/>
                    <a:pt x="182713" y="546042"/>
                  </a:cubicBezTo>
                  <a:cubicBezTo>
                    <a:pt x="173028" y="544600"/>
                    <a:pt x="163831" y="540849"/>
                    <a:pt x="155909" y="535099"/>
                  </a:cubicBezTo>
                  <a:cubicBezTo>
                    <a:pt x="150797" y="527448"/>
                    <a:pt x="143464" y="521549"/>
                    <a:pt x="134884" y="518186"/>
                  </a:cubicBezTo>
                  <a:cubicBezTo>
                    <a:pt x="117546" y="502168"/>
                    <a:pt x="128806" y="483465"/>
                    <a:pt x="101005" y="475406"/>
                  </a:cubicBezTo>
                  <a:cubicBezTo>
                    <a:pt x="91379" y="473198"/>
                    <a:pt x="82481" y="468532"/>
                    <a:pt x="75197" y="461876"/>
                  </a:cubicBezTo>
                  <a:cubicBezTo>
                    <a:pt x="74539" y="456344"/>
                    <a:pt x="71181" y="451509"/>
                    <a:pt x="66229" y="448943"/>
                  </a:cubicBezTo>
                  <a:cubicBezTo>
                    <a:pt x="35240" y="451629"/>
                    <a:pt x="29959" y="429045"/>
                    <a:pt x="10528" y="412132"/>
                  </a:cubicBezTo>
                  <a:cubicBezTo>
                    <a:pt x="15809" y="396612"/>
                    <a:pt x="22585" y="373631"/>
                    <a:pt x="11425" y="359404"/>
                  </a:cubicBezTo>
                  <a:cubicBezTo>
                    <a:pt x="14275" y="356459"/>
                    <a:pt x="16656" y="353106"/>
                    <a:pt x="18500" y="349455"/>
                  </a:cubicBezTo>
                  <a:cubicBezTo>
                    <a:pt x="15112" y="339506"/>
                    <a:pt x="14733" y="328782"/>
                    <a:pt x="17404" y="318614"/>
                  </a:cubicBezTo>
                  <a:cubicBezTo>
                    <a:pt x="36037" y="301104"/>
                    <a:pt x="30258" y="289663"/>
                    <a:pt x="16407" y="271855"/>
                  </a:cubicBezTo>
                  <a:cubicBezTo>
                    <a:pt x="4251" y="269965"/>
                    <a:pt x="-1030" y="269368"/>
                    <a:pt x="165" y="255539"/>
                  </a:cubicBezTo>
                  <a:close/>
                  <a:moveTo>
                    <a:pt x="265219" y="4831"/>
                  </a:moveTo>
                  <a:cubicBezTo>
                    <a:pt x="273589" y="-313"/>
                    <a:pt x="283842" y="-1417"/>
                    <a:pt x="293119" y="1846"/>
                  </a:cubicBezTo>
                  <a:cubicBezTo>
                    <a:pt x="300991" y="13785"/>
                    <a:pt x="300792" y="27315"/>
                    <a:pt x="283154" y="25723"/>
                  </a:cubicBezTo>
                  <a:cubicBezTo>
                    <a:pt x="280793" y="20470"/>
                    <a:pt x="277405" y="15735"/>
                    <a:pt x="273190" y="11795"/>
                  </a:cubicBezTo>
                  <a:cubicBezTo>
                    <a:pt x="270400" y="10700"/>
                    <a:pt x="264521" y="8910"/>
                    <a:pt x="265219" y="4831"/>
                  </a:cubicBezTo>
                  <a:close/>
                  <a:moveTo>
                    <a:pt x="748492" y="295334"/>
                  </a:moveTo>
                  <a:cubicBezTo>
                    <a:pt x="754870" y="293245"/>
                    <a:pt x="763240" y="286977"/>
                    <a:pt x="765432" y="297324"/>
                  </a:cubicBezTo>
                  <a:cubicBezTo>
                    <a:pt x="759912" y="303293"/>
                    <a:pt x="755816" y="310436"/>
                    <a:pt x="753475" y="318216"/>
                  </a:cubicBezTo>
                  <a:cubicBezTo>
                    <a:pt x="747566" y="312167"/>
                    <a:pt x="745633" y="303283"/>
                    <a:pt x="748492" y="295334"/>
                  </a:cubicBez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78" name="Freeform: Shape 1677">
              <a:extLst>
                <a:ext uri="{FF2B5EF4-FFF2-40B4-BE49-F238E27FC236}">
                  <a16:creationId xmlns:a16="http://schemas.microsoft.com/office/drawing/2014/main" id="{733E8300-BE73-4D8E-B1C6-EC65881343A6}"/>
                </a:ext>
              </a:extLst>
            </p:cNvPr>
            <p:cNvSpPr/>
            <p:nvPr/>
          </p:nvSpPr>
          <p:spPr>
            <a:xfrm>
              <a:off x="-2178487" y="959129"/>
              <a:ext cx="1016005" cy="747349"/>
            </a:xfrm>
            <a:custGeom>
              <a:avLst/>
              <a:gdLst>
                <a:gd name="connsiteX0" fmla="*/ 0 w 1016005"/>
                <a:gd name="connsiteY0" fmla="*/ 603456 h 747349"/>
                <a:gd name="connsiteX1" fmla="*/ 21922 w 1016005"/>
                <a:gd name="connsiteY1" fmla="*/ 529835 h 747349"/>
                <a:gd name="connsiteX2" fmla="*/ 33879 w 1016005"/>
                <a:gd name="connsiteY2" fmla="*/ 500984 h 747349"/>
                <a:gd name="connsiteX3" fmla="*/ 61879 w 1016005"/>
                <a:gd name="connsiteY3" fmla="*/ 279127 h 747349"/>
                <a:gd name="connsiteX4" fmla="*/ 71843 w 1016005"/>
                <a:gd name="connsiteY4" fmla="*/ 164716 h 747349"/>
                <a:gd name="connsiteX5" fmla="*/ 75829 w 1016005"/>
                <a:gd name="connsiteY5" fmla="*/ 125916 h 747349"/>
                <a:gd name="connsiteX6" fmla="*/ 77822 w 1016005"/>
                <a:gd name="connsiteY6" fmla="*/ 100049 h 747349"/>
                <a:gd name="connsiteX7" fmla="*/ 73936 w 1016005"/>
                <a:gd name="connsiteY7" fmla="*/ 87116 h 747349"/>
                <a:gd name="connsiteX8" fmla="*/ 70847 w 1016005"/>
                <a:gd name="connsiteY8" fmla="*/ 57270 h 747349"/>
                <a:gd name="connsiteX9" fmla="*/ 78819 w 1016005"/>
                <a:gd name="connsiteY9" fmla="*/ 40357 h 747349"/>
                <a:gd name="connsiteX10" fmla="*/ 74833 w 1016005"/>
                <a:gd name="connsiteY10" fmla="*/ 22449 h 747349"/>
                <a:gd name="connsiteX11" fmla="*/ 69851 w 1016005"/>
                <a:gd name="connsiteY11" fmla="*/ 5536 h 747349"/>
                <a:gd name="connsiteX12" fmla="*/ 99744 w 1016005"/>
                <a:gd name="connsiteY12" fmla="*/ 9516 h 747349"/>
                <a:gd name="connsiteX13" fmla="*/ 121665 w 1016005"/>
                <a:gd name="connsiteY13" fmla="*/ 6531 h 747349"/>
                <a:gd name="connsiteX14" fmla="*/ 135951 w 1016005"/>
                <a:gd name="connsiteY14" fmla="*/ 900 h 747349"/>
                <a:gd name="connsiteX15" fmla="*/ 141594 w 1016005"/>
                <a:gd name="connsiteY15" fmla="*/ 6531 h 747349"/>
                <a:gd name="connsiteX16" fmla="*/ 148569 w 1016005"/>
                <a:gd name="connsiteY16" fmla="*/ 21454 h 747349"/>
                <a:gd name="connsiteX17" fmla="*/ 180455 w 1016005"/>
                <a:gd name="connsiteY17" fmla="*/ 14490 h 747349"/>
                <a:gd name="connsiteX18" fmla="*/ 219217 w 1016005"/>
                <a:gd name="connsiteY18" fmla="*/ 55280 h 747349"/>
                <a:gd name="connsiteX19" fmla="*/ 222306 w 1016005"/>
                <a:gd name="connsiteY19" fmla="*/ 72193 h 747349"/>
                <a:gd name="connsiteX20" fmla="*/ 225295 w 1016005"/>
                <a:gd name="connsiteY20" fmla="*/ 91096 h 747349"/>
                <a:gd name="connsiteX21" fmla="*/ 266149 w 1016005"/>
                <a:gd name="connsiteY21" fmla="*/ 126911 h 747349"/>
                <a:gd name="connsiteX22" fmla="*/ 278369 w 1016005"/>
                <a:gd name="connsiteY22" fmla="*/ 127906 h 747349"/>
                <a:gd name="connsiteX23" fmla="*/ 279103 w 1016005"/>
                <a:gd name="connsiteY23" fmla="*/ 128901 h 747349"/>
                <a:gd name="connsiteX24" fmla="*/ 298035 w 1016005"/>
                <a:gd name="connsiteY24" fmla="*/ 123926 h 747349"/>
                <a:gd name="connsiteX25" fmla="*/ 337893 w 1016005"/>
                <a:gd name="connsiteY25" fmla="*/ 103034 h 747349"/>
                <a:gd name="connsiteX26" fmla="*/ 354833 w 1016005"/>
                <a:gd name="connsiteY26" fmla="*/ 103034 h 747349"/>
                <a:gd name="connsiteX27" fmla="*/ 379644 w 1016005"/>
                <a:gd name="connsiteY27" fmla="*/ 97065 h 747349"/>
                <a:gd name="connsiteX28" fmla="*/ 404555 w 1016005"/>
                <a:gd name="connsiteY28" fmla="*/ 101044 h 747349"/>
                <a:gd name="connsiteX29" fmla="*/ 423487 w 1016005"/>
                <a:gd name="connsiteY29" fmla="*/ 118952 h 747349"/>
                <a:gd name="connsiteX30" fmla="*/ 436441 w 1016005"/>
                <a:gd name="connsiteY30" fmla="*/ 110993 h 747349"/>
                <a:gd name="connsiteX31" fmla="*/ 460455 w 1016005"/>
                <a:gd name="connsiteY31" fmla="*/ 111988 h 747349"/>
                <a:gd name="connsiteX32" fmla="*/ 486363 w 1016005"/>
                <a:gd name="connsiteY32" fmla="*/ 99055 h 747349"/>
                <a:gd name="connsiteX33" fmla="*/ 498320 w 1016005"/>
                <a:gd name="connsiteY33" fmla="*/ 94080 h 747349"/>
                <a:gd name="connsiteX34" fmla="*/ 546149 w 1016005"/>
                <a:gd name="connsiteY34" fmla="*/ 97065 h 747349"/>
                <a:gd name="connsiteX35" fmla="*/ 564085 w 1016005"/>
                <a:gd name="connsiteY35" fmla="*/ 87116 h 747349"/>
                <a:gd name="connsiteX36" fmla="*/ 588996 w 1016005"/>
                <a:gd name="connsiteY36" fmla="*/ 77167 h 747349"/>
                <a:gd name="connsiteX37" fmla="*/ 613907 w 1016005"/>
                <a:gd name="connsiteY37" fmla="*/ 74183 h 747349"/>
                <a:gd name="connsiteX38" fmla="*/ 626761 w 1016005"/>
                <a:gd name="connsiteY38" fmla="*/ 61249 h 747349"/>
                <a:gd name="connsiteX39" fmla="*/ 666619 w 1016005"/>
                <a:gd name="connsiteY39" fmla="*/ 58265 h 747349"/>
                <a:gd name="connsiteX40" fmla="*/ 700398 w 1016005"/>
                <a:gd name="connsiteY40" fmla="*/ 48316 h 747349"/>
                <a:gd name="connsiteX41" fmla="*/ 960469 w 1016005"/>
                <a:gd name="connsiteY41" fmla="*/ 48316 h 747349"/>
                <a:gd name="connsiteX42" fmla="*/ 983388 w 1016005"/>
                <a:gd name="connsiteY42" fmla="*/ 79157 h 747349"/>
                <a:gd name="connsiteX43" fmla="*/ 1009295 w 1016005"/>
                <a:gd name="connsiteY43" fmla="*/ 105024 h 747349"/>
                <a:gd name="connsiteX44" fmla="*/ 1012284 w 1016005"/>
                <a:gd name="connsiteY44" fmla="*/ 125916 h 747349"/>
                <a:gd name="connsiteX45" fmla="*/ 990363 w 1016005"/>
                <a:gd name="connsiteY45" fmla="*/ 170685 h 747349"/>
                <a:gd name="connsiteX46" fmla="*/ 977409 w 1016005"/>
                <a:gd name="connsiteY46" fmla="*/ 213465 h 747349"/>
                <a:gd name="connsiteX47" fmla="*/ 967444 w 1016005"/>
                <a:gd name="connsiteY47" fmla="*/ 230378 h 747349"/>
                <a:gd name="connsiteX48" fmla="*/ 958477 w 1016005"/>
                <a:gd name="connsiteY48" fmla="*/ 265199 h 747349"/>
                <a:gd name="connsiteX49" fmla="*/ 921608 w 1016005"/>
                <a:gd name="connsiteY49" fmla="*/ 318922 h 747349"/>
                <a:gd name="connsiteX50" fmla="*/ 919615 w 1016005"/>
                <a:gd name="connsiteY50" fmla="*/ 334840 h 747349"/>
                <a:gd name="connsiteX51" fmla="*/ 923601 w 1016005"/>
                <a:gd name="connsiteY51" fmla="*/ 350758 h 747349"/>
                <a:gd name="connsiteX52" fmla="*/ 934562 w 1016005"/>
                <a:gd name="connsiteY52" fmla="*/ 354737 h 747349"/>
                <a:gd name="connsiteX53" fmla="*/ 942533 w 1016005"/>
                <a:gd name="connsiteY53" fmla="*/ 361701 h 747349"/>
                <a:gd name="connsiteX54" fmla="*/ 953494 w 1016005"/>
                <a:gd name="connsiteY54" fmla="*/ 361701 h 747349"/>
                <a:gd name="connsiteX55" fmla="*/ 954491 w 1016005"/>
                <a:gd name="connsiteY55" fmla="*/ 368665 h 747349"/>
                <a:gd name="connsiteX56" fmla="*/ 963459 w 1016005"/>
                <a:gd name="connsiteY56" fmla="*/ 376624 h 747349"/>
                <a:gd name="connsiteX57" fmla="*/ 954590 w 1016005"/>
                <a:gd name="connsiteY57" fmla="*/ 406471 h 747349"/>
                <a:gd name="connsiteX58" fmla="*/ 946619 w 1016005"/>
                <a:gd name="connsiteY58" fmla="*/ 459199 h 747349"/>
                <a:gd name="connsiteX59" fmla="*/ 946619 w 1016005"/>
                <a:gd name="connsiteY59" fmla="*/ 746718 h 747349"/>
                <a:gd name="connsiteX60" fmla="*/ 220213 w 1016005"/>
                <a:gd name="connsiteY60" fmla="*/ 745723 h 747349"/>
                <a:gd name="connsiteX61" fmla="*/ 42847 w 1016005"/>
                <a:gd name="connsiteY61" fmla="*/ 746718 h 747349"/>
                <a:gd name="connsiteX62" fmla="*/ 24014 w 1016005"/>
                <a:gd name="connsiteY62" fmla="*/ 715877 h 747349"/>
                <a:gd name="connsiteX63" fmla="*/ 16043 w 1016005"/>
                <a:gd name="connsiteY63" fmla="*/ 687025 h 747349"/>
                <a:gd name="connsiteX64" fmla="*/ 17936 w 1016005"/>
                <a:gd name="connsiteY64" fmla="*/ 635292 h 747349"/>
                <a:gd name="connsiteX65" fmla="*/ 0 w 1016005"/>
                <a:gd name="connsiteY65" fmla="*/ 603456 h 747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016005" h="747349">
                  <a:moveTo>
                    <a:pt x="0" y="603456"/>
                  </a:moveTo>
                  <a:cubicBezTo>
                    <a:pt x="12456" y="581767"/>
                    <a:pt x="16740" y="553712"/>
                    <a:pt x="21922" y="529835"/>
                  </a:cubicBezTo>
                  <a:cubicBezTo>
                    <a:pt x="14947" y="522373"/>
                    <a:pt x="31886" y="509341"/>
                    <a:pt x="33879" y="500984"/>
                  </a:cubicBezTo>
                  <a:cubicBezTo>
                    <a:pt x="55203" y="429651"/>
                    <a:pt x="55601" y="352449"/>
                    <a:pt x="61879" y="279127"/>
                  </a:cubicBezTo>
                  <a:cubicBezTo>
                    <a:pt x="58093" y="241520"/>
                    <a:pt x="80811" y="202024"/>
                    <a:pt x="71843" y="164716"/>
                  </a:cubicBezTo>
                  <a:cubicBezTo>
                    <a:pt x="76128" y="153176"/>
                    <a:pt x="71843" y="137357"/>
                    <a:pt x="75829" y="125916"/>
                  </a:cubicBezTo>
                  <a:cubicBezTo>
                    <a:pt x="77189" y="117360"/>
                    <a:pt x="77856" y="108715"/>
                    <a:pt x="77822" y="100049"/>
                  </a:cubicBezTo>
                  <a:cubicBezTo>
                    <a:pt x="75230" y="96239"/>
                    <a:pt x="73873" y="91722"/>
                    <a:pt x="73936" y="87116"/>
                  </a:cubicBezTo>
                  <a:cubicBezTo>
                    <a:pt x="75882" y="77078"/>
                    <a:pt x="74807" y="66691"/>
                    <a:pt x="70847" y="57270"/>
                  </a:cubicBezTo>
                  <a:cubicBezTo>
                    <a:pt x="77722" y="55380"/>
                    <a:pt x="79117" y="46227"/>
                    <a:pt x="78819" y="40357"/>
                  </a:cubicBezTo>
                  <a:lnTo>
                    <a:pt x="74833" y="22449"/>
                  </a:lnTo>
                  <a:cubicBezTo>
                    <a:pt x="69950" y="18072"/>
                    <a:pt x="61381" y="11903"/>
                    <a:pt x="69851" y="5536"/>
                  </a:cubicBezTo>
                  <a:cubicBezTo>
                    <a:pt x="79117" y="17475"/>
                    <a:pt x="87587" y="15485"/>
                    <a:pt x="99744" y="9516"/>
                  </a:cubicBezTo>
                  <a:cubicBezTo>
                    <a:pt x="105224" y="17574"/>
                    <a:pt x="113794" y="5835"/>
                    <a:pt x="121665" y="6531"/>
                  </a:cubicBezTo>
                  <a:cubicBezTo>
                    <a:pt x="124052" y="1040"/>
                    <a:pt x="130448" y="-1487"/>
                    <a:pt x="135951" y="900"/>
                  </a:cubicBezTo>
                  <a:cubicBezTo>
                    <a:pt x="138480" y="1995"/>
                    <a:pt x="140497" y="4004"/>
                    <a:pt x="141594" y="6531"/>
                  </a:cubicBezTo>
                  <a:cubicBezTo>
                    <a:pt x="140816" y="12441"/>
                    <a:pt x="143536" y="18261"/>
                    <a:pt x="148569" y="21454"/>
                  </a:cubicBezTo>
                  <a:cubicBezTo>
                    <a:pt x="160826" y="25235"/>
                    <a:pt x="169196" y="11506"/>
                    <a:pt x="180455" y="14490"/>
                  </a:cubicBezTo>
                  <a:cubicBezTo>
                    <a:pt x="198058" y="22728"/>
                    <a:pt x="211899" y="37293"/>
                    <a:pt x="219217" y="55280"/>
                  </a:cubicBezTo>
                  <a:cubicBezTo>
                    <a:pt x="218943" y="61080"/>
                    <a:pt x="219999" y="66860"/>
                    <a:pt x="222306" y="72193"/>
                  </a:cubicBezTo>
                  <a:cubicBezTo>
                    <a:pt x="220925" y="78650"/>
                    <a:pt x="221990" y="85385"/>
                    <a:pt x="225295" y="91096"/>
                  </a:cubicBezTo>
                  <a:cubicBezTo>
                    <a:pt x="217623" y="120146"/>
                    <a:pt x="248911" y="116365"/>
                    <a:pt x="266149" y="126911"/>
                  </a:cubicBezTo>
                  <a:cubicBezTo>
                    <a:pt x="269797" y="123817"/>
                    <a:pt x="275269" y="124255"/>
                    <a:pt x="278369" y="127906"/>
                  </a:cubicBezTo>
                  <a:cubicBezTo>
                    <a:pt x="278638" y="128214"/>
                    <a:pt x="278883" y="128553"/>
                    <a:pt x="279103" y="128901"/>
                  </a:cubicBezTo>
                  <a:cubicBezTo>
                    <a:pt x="285849" y="130453"/>
                    <a:pt x="292930" y="128592"/>
                    <a:pt x="298035" y="123926"/>
                  </a:cubicBezTo>
                  <a:cubicBezTo>
                    <a:pt x="313540" y="122414"/>
                    <a:pt x="327839" y="114913"/>
                    <a:pt x="337893" y="103034"/>
                  </a:cubicBezTo>
                  <a:cubicBezTo>
                    <a:pt x="343384" y="101144"/>
                    <a:pt x="349342" y="101144"/>
                    <a:pt x="354833" y="103034"/>
                  </a:cubicBezTo>
                  <a:cubicBezTo>
                    <a:pt x="359317" y="101641"/>
                    <a:pt x="374761" y="98358"/>
                    <a:pt x="379644" y="97065"/>
                  </a:cubicBezTo>
                  <a:cubicBezTo>
                    <a:pt x="386998" y="101880"/>
                    <a:pt x="396065" y="103332"/>
                    <a:pt x="404555" y="101044"/>
                  </a:cubicBezTo>
                  <a:cubicBezTo>
                    <a:pt x="414171" y="102119"/>
                    <a:pt x="421893" y="109431"/>
                    <a:pt x="423487" y="118952"/>
                  </a:cubicBezTo>
                  <a:cubicBezTo>
                    <a:pt x="428848" y="118554"/>
                    <a:pt x="433671" y="115589"/>
                    <a:pt x="436441" y="110993"/>
                  </a:cubicBezTo>
                  <a:cubicBezTo>
                    <a:pt x="444433" y="109769"/>
                    <a:pt x="452593" y="110098"/>
                    <a:pt x="460455" y="111988"/>
                  </a:cubicBezTo>
                  <a:cubicBezTo>
                    <a:pt x="462448" y="106715"/>
                    <a:pt x="481680" y="101044"/>
                    <a:pt x="486363" y="99055"/>
                  </a:cubicBezTo>
                  <a:cubicBezTo>
                    <a:pt x="489063" y="95234"/>
                    <a:pt x="493707" y="93304"/>
                    <a:pt x="498320" y="94080"/>
                  </a:cubicBezTo>
                  <a:cubicBezTo>
                    <a:pt x="510875" y="108904"/>
                    <a:pt x="530206" y="98358"/>
                    <a:pt x="546149" y="97065"/>
                  </a:cubicBezTo>
                  <a:cubicBezTo>
                    <a:pt x="550703" y="91663"/>
                    <a:pt x="557090" y="88121"/>
                    <a:pt x="564085" y="87116"/>
                  </a:cubicBezTo>
                  <a:cubicBezTo>
                    <a:pt x="571399" y="81714"/>
                    <a:pt x="579978" y="78291"/>
                    <a:pt x="588996" y="77167"/>
                  </a:cubicBezTo>
                  <a:cubicBezTo>
                    <a:pt x="597177" y="75317"/>
                    <a:pt x="605527" y="74312"/>
                    <a:pt x="613907" y="74183"/>
                  </a:cubicBezTo>
                  <a:cubicBezTo>
                    <a:pt x="615801" y="72093"/>
                    <a:pt x="622776" y="59956"/>
                    <a:pt x="626761" y="61249"/>
                  </a:cubicBezTo>
                  <a:cubicBezTo>
                    <a:pt x="638420" y="68213"/>
                    <a:pt x="654462" y="61249"/>
                    <a:pt x="666619" y="58265"/>
                  </a:cubicBezTo>
                  <a:cubicBezTo>
                    <a:pt x="678855" y="61438"/>
                    <a:pt x="691849" y="57618"/>
                    <a:pt x="700398" y="48316"/>
                  </a:cubicBezTo>
                  <a:cubicBezTo>
                    <a:pt x="785295" y="46028"/>
                    <a:pt x="875573" y="49410"/>
                    <a:pt x="960469" y="48316"/>
                  </a:cubicBezTo>
                  <a:cubicBezTo>
                    <a:pt x="967146" y="58265"/>
                    <a:pt x="969736" y="77167"/>
                    <a:pt x="983388" y="79157"/>
                  </a:cubicBezTo>
                  <a:cubicBezTo>
                    <a:pt x="992156" y="90101"/>
                    <a:pt x="1010889" y="86320"/>
                    <a:pt x="1009295" y="105024"/>
                  </a:cubicBezTo>
                  <a:cubicBezTo>
                    <a:pt x="1012982" y="111192"/>
                    <a:pt x="1020555" y="119151"/>
                    <a:pt x="1012284" y="125916"/>
                  </a:cubicBezTo>
                  <a:cubicBezTo>
                    <a:pt x="1006604" y="136959"/>
                    <a:pt x="995743" y="159443"/>
                    <a:pt x="990363" y="170685"/>
                  </a:cubicBezTo>
                  <a:cubicBezTo>
                    <a:pt x="987573" y="185360"/>
                    <a:pt x="983228" y="199706"/>
                    <a:pt x="977409" y="213465"/>
                  </a:cubicBezTo>
                  <a:cubicBezTo>
                    <a:pt x="971829" y="217435"/>
                    <a:pt x="968212" y="223583"/>
                    <a:pt x="967444" y="230378"/>
                  </a:cubicBezTo>
                  <a:cubicBezTo>
                    <a:pt x="974320" y="242018"/>
                    <a:pt x="963060" y="254653"/>
                    <a:pt x="958477" y="265199"/>
                  </a:cubicBezTo>
                  <a:cubicBezTo>
                    <a:pt x="933665" y="271665"/>
                    <a:pt x="939046" y="304397"/>
                    <a:pt x="921608" y="318922"/>
                  </a:cubicBezTo>
                  <a:cubicBezTo>
                    <a:pt x="922904" y="324294"/>
                    <a:pt x="922196" y="329955"/>
                    <a:pt x="919615" y="334840"/>
                  </a:cubicBezTo>
                  <a:cubicBezTo>
                    <a:pt x="922106" y="339416"/>
                    <a:pt x="927786" y="345584"/>
                    <a:pt x="923601" y="350758"/>
                  </a:cubicBezTo>
                  <a:cubicBezTo>
                    <a:pt x="921010" y="355732"/>
                    <a:pt x="931373" y="359015"/>
                    <a:pt x="934562" y="354737"/>
                  </a:cubicBezTo>
                  <a:lnTo>
                    <a:pt x="942533" y="361701"/>
                  </a:lnTo>
                  <a:lnTo>
                    <a:pt x="953494" y="361701"/>
                  </a:lnTo>
                  <a:lnTo>
                    <a:pt x="954491" y="368665"/>
                  </a:lnTo>
                  <a:cubicBezTo>
                    <a:pt x="956882" y="368665"/>
                    <a:pt x="965252" y="372148"/>
                    <a:pt x="963459" y="376624"/>
                  </a:cubicBezTo>
                  <a:cubicBezTo>
                    <a:pt x="943530" y="391150"/>
                    <a:pt x="962263" y="391050"/>
                    <a:pt x="954590" y="406471"/>
                  </a:cubicBezTo>
                  <a:cubicBezTo>
                    <a:pt x="952597" y="422787"/>
                    <a:pt x="943430" y="441590"/>
                    <a:pt x="946619" y="459199"/>
                  </a:cubicBezTo>
                  <a:cubicBezTo>
                    <a:pt x="946619" y="548738"/>
                    <a:pt x="946619" y="657477"/>
                    <a:pt x="946619" y="746718"/>
                  </a:cubicBezTo>
                  <a:cubicBezTo>
                    <a:pt x="704882" y="748210"/>
                    <a:pt x="461950" y="746718"/>
                    <a:pt x="220213" y="745723"/>
                  </a:cubicBezTo>
                  <a:cubicBezTo>
                    <a:pt x="161922" y="744927"/>
                    <a:pt x="101338" y="748807"/>
                    <a:pt x="42847" y="746718"/>
                  </a:cubicBezTo>
                  <a:cubicBezTo>
                    <a:pt x="34975" y="737764"/>
                    <a:pt x="22918" y="729606"/>
                    <a:pt x="24014" y="715877"/>
                  </a:cubicBezTo>
                  <a:cubicBezTo>
                    <a:pt x="19782" y="706764"/>
                    <a:pt x="17089" y="697014"/>
                    <a:pt x="16043" y="687025"/>
                  </a:cubicBezTo>
                  <a:cubicBezTo>
                    <a:pt x="13053" y="670610"/>
                    <a:pt x="21922" y="651707"/>
                    <a:pt x="17936" y="635292"/>
                  </a:cubicBezTo>
                  <a:cubicBezTo>
                    <a:pt x="8356" y="627144"/>
                    <a:pt x="1997" y="615862"/>
                    <a:pt x="0" y="603456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79" name="Freeform: Shape 1678">
              <a:extLst>
                <a:ext uri="{FF2B5EF4-FFF2-40B4-BE49-F238E27FC236}">
                  <a16:creationId xmlns:a16="http://schemas.microsoft.com/office/drawing/2014/main" id="{C55DF408-FD19-4545-AED7-58A6CA667D6D}"/>
                </a:ext>
              </a:extLst>
            </p:cNvPr>
            <p:cNvSpPr/>
            <p:nvPr/>
          </p:nvSpPr>
          <p:spPr>
            <a:xfrm>
              <a:off x="2963147" y="2125684"/>
              <a:ext cx="1060212" cy="466673"/>
            </a:xfrm>
            <a:custGeom>
              <a:avLst/>
              <a:gdLst>
                <a:gd name="connsiteX0" fmla="*/ 6975 w 1060212"/>
                <a:gd name="connsiteY0" fmla="*/ 451673 h 466673"/>
                <a:gd name="connsiteX1" fmla="*/ 29893 w 1060212"/>
                <a:gd name="connsiteY1" fmla="*/ 446699 h 466673"/>
                <a:gd name="connsiteX2" fmla="*/ 67758 w 1060212"/>
                <a:gd name="connsiteY2" fmla="*/ 434760 h 466673"/>
                <a:gd name="connsiteX3" fmla="*/ 97651 w 1060212"/>
                <a:gd name="connsiteY3" fmla="*/ 412873 h 466673"/>
                <a:gd name="connsiteX4" fmla="*/ 115587 w 1060212"/>
                <a:gd name="connsiteY4" fmla="*/ 390985 h 466673"/>
                <a:gd name="connsiteX5" fmla="*/ 118476 w 1060212"/>
                <a:gd name="connsiteY5" fmla="*/ 377057 h 466673"/>
                <a:gd name="connsiteX6" fmla="*/ 140398 w 1060212"/>
                <a:gd name="connsiteY6" fmla="*/ 363129 h 466673"/>
                <a:gd name="connsiteX7" fmla="*/ 171288 w 1060212"/>
                <a:gd name="connsiteY7" fmla="*/ 347211 h 466673"/>
                <a:gd name="connsiteX8" fmla="*/ 219117 w 1060212"/>
                <a:gd name="connsiteY8" fmla="*/ 313385 h 466673"/>
                <a:gd name="connsiteX9" fmla="*/ 212142 w 1060212"/>
                <a:gd name="connsiteY9" fmla="*/ 322339 h 466673"/>
                <a:gd name="connsiteX10" fmla="*/ 223103 w 1060212"/>
                <a:gd name="connsiteY10" fmla="*/ 342237 h 466673"/>
                <a:gd name="connsiteX11" fmla="*/ 242135 w 1060212"/>
                <a:gd name="connsiteY11" fmla="*/ 356165 h 466673"/>
                <a:gd name="connsiteX12" fmla="*/ 290861 w 1060212"/>
                <a:gd name="connsiteY12" fmla="*/ 341242 h 466673"/>
                <a:gd name="connsiteX13" fmla="*/ 321751 w 1060212"/>
                <a:gd name="connsiteY13" fmla="*/ 350196 h 466673"/>
                <a:gd name="connsiteX14" fmla="*/ 356626 w 1060212"/>
                <a:gd name="connsiteY14" fmla="*/ 341242 h 466673"/>
                <a:gd name="connsiteX15" fmla="*/ 364597 w 1060212"/>
                <a:gd name="connsiteY15" fmla="*/ 335272 h 466673"/>
                <a:gd name="connsiteX16" fmla="*/ 393494 w 1060212"/>
                <a:gd name="connsiteY16" fmla="*/ 319354 h 466673"/>
                <a:gd name="connsiteX17" fmla="*/ 425381 w 1060212"/>
                <a:gd name="connsiteY17" fmla="*/ 309406 h 466673"/>
                <a:gd name="connsiteX18" fmla="*/ 433352 w 1060212"/>
                <a:gd name="connsiteY18" fmla="*/ 295477 h 466673"/>
                <a:gd name="connsiteX19" fmla="*/ 429466 w 1060212"/>
                <a:gd name="connsiteY19" fmla="*/ 280554 h 466673"/>
                <a:gd name="connsiteX20" fmla="*/ 465337 w 1060212"/>
                <a:gd name="connsiteY20" fmla="*/ 228821 h 466673"/>
                <a:gd name="connsiteX21" fmla="*/ 488256 w 1060212"/>
                <a:gd name="connsiteY21" fmla="*/ 192011 h 466673"/>
                <a:gd name="connsiteX22" fmla="*/ 495231 w 1060212"/>
                <a:gd name="connsiteY22" fmla="*/ 179077 h 466673"/>
                <a:gd name="connsiteX23" fmla="*/ 506092 w 1060212"/>
                <a:gd name="connsiteY23" fmla="*/ 141272 h 466673"/>
                <a:gd name="connsiteX24" fmla="*/ 548042 w 1060212"/>
                <a:gd name="connsiteY24" fmla="*/ 169129 h 466673"/>
                <a:gd name="connsiteX25" fmla="*/ 567971 w 1060212"/>
                <a:gd name="connsiteY25" fmla="*/ 139282 h 466673"/>
                <a:gd name="connsiteX26" fmla="*/ 587900 w 1060212"/>
                <a:gd name="connsiteY26" fmla="*/ 101477 h 466673"/>
                <a:gd name="connsiteX27" fmla="*/ 603843 w 1060212"/>
                <a:gd name="connsiteY27" fmla="*/ 113416 h 466673"/>
                <a:gd name="connsiteX28" fmla="*/ 615800 w 1060212"/>
                <a:gd name="connsiteY28" fmla="*/ 92523 h 466673"/>
                <a:gd name="connsiteX29" fmla="*/ 646690 w 1060212"/>
                <a:gd name="connsiteY29" fmla="*/ 66656 h 466673"/>
                <a:gd name="connsiteX30" fmla="*/ 661636 w 1060212"/>
                <a:gd name="connsiteY30" fmla="*/ 49744 h 466673"/>
                <a:gd name="connsiteX31" fmla="*/ 662633 w 1060212"/>
                <a:gd name="connsiteY31" fmla="*/ 30841 h 466673"/>
                <a:gd name="connsiteX32" fmla="*/ 669608 w 1060212"/>
                <a:gd name="connsiteY32" fmla="*/ 0 h 466673"/>
                <a:gd name="connsiteX33" fmla="*/ 735373 w 1060212"/>
                <a:gd name="connsiteY33" fmla="*/ 53723 h 466673"/>
                <a:gd name="connsiteX34" fmla="*/ 781309 w 1060212"/>
                <a:gd name="connsiteY34" fmla="*/ 39795 h 466673"/>
                <a:gd name="connsiteX35" fmla="*/ 781309 w 1060212"/>
                <a:gd name="connsiteY35" fmla="*/ 63672 h 466673"/>
                <a:gd name="connsiteX36" fmla="*/ 808113 w 1060212"/>
                <a:gd name="connsiteY36" fmla="*/ 77600 h 466673"/>
                <a:gd name="connsiteX37" fmla="*/ 821067 w 1060212"/>
                <a:gd name="connsiteY37" fmla="*/ 81580 h 466673"/>
                <a:gd name="connsiteX38" fmla="*/ 834020 w 1060212"/>
                <a:gd name="connsiteY38" fmla="*/ 96503 h 466673"/>
                <a:gd name="connsiteX39" fmla="*/ 833024 w 1060212"/>
                <a:gd name="connsiteY39" fmla="*/ 122369 h 466673"/>
                <a:gd name="connsiteX40" fmla="*/ 823060 w 1060212"/>
                <a:gd name="connsiteY40" fmla="*/ 134308 h 466673"/>
                <a:gd name="connsiteX41" fmla="*/ 799145 w 1060212"/>
                <a:gd name="connsiteY41" fmla="*/ 161169 h 466673"/>
                <a:gd name="connsiteX42" fmla="*/ 833124 w 1060212"/>
                <a:gd name="connsiteY42" fmla="*/ 178082 h 466673"/>
                <a:gd name="connsiteX43" fmla="*/ 836014 w 1060212"/>
                <a:gd name="connsiteY43" fmla="*/ 188031 h 466673"/>
                <a:gd name="connsiteX44" fmla="*/ 843985 w 1060212"/>
                <a:gd name="connsiteY44" fmla="*/ 201959 h 466673"/>
                <a:gd name="connsiteX45" fmla="*/ 859928 w 1060212"/>
                <a:gd name="connsiteY45" fmla="*/ 209918 h 466673"/>
                <a:gd name="connsiteX46" fmla="*/ 889822 w 1060212"/>
                <a:gd name="connsiteY46" fmla="*/ 218872 h 466673"/>
                <a:gd name="connsiteX47" fmla="*/ 910747 w 1060212"/>
                <a:gd name="connsiteY47" fmla="*/ 239764 h 466673"/>
                <a:gd name="connsiteX48" fmla="*/ 933665 w 1060212"/>
                <a:gd name="connsiteY48" fmla="*/ 262647 h 466673"/>
                <a:gd name="connsiteX49" fmla="*/ 925793 w 1060212"/>
                <a:gd name="connsiteY49" fmla="*/ 280554 h 466673"/>
                <a:gd name="connsiteX50" fmla="*/ 929779 w 1060212"/>
                <a:gd name="connsiteY50" fmla="*/ 296472 h 466673"/>
                <a:gd name="connsiteX51" fmla="*/ 930675 w 1060212"/>
                <a:gd name="connsiteY51" fmla="*/ 345221 h 466673"/>
                <a:gd name="connsiteX52" fmla="*/ 909750 w 1060212"/>
                <a:gd name="connsiteY52" fmla="*/ 334278 h 466673"/>
                <a:gd name="connsiteX53" fmla="*/ 915729 w 1060212"/>
                <a:gd name="connsiteY53" fmla="*/ 359149 h 466673"/>
                <a:gd name="connsiteX54" fmla="*/ 927686 w 1060212"/>
                <a:gd name="connsiteY54" fmla="*/ 376062 h 466673"/>
                <a:gd name="connsiteX55" fmla="*/ 931672 w 1060212"/>
                <a:gd name="connsiteY55" fmla="*/ 399939 h 466673"/>
                <a:gd name="connsiteX56" fmla="*/ 981494 w 1060212"/>
                <a:gd name="connsiteY56" fmla="*/ 464606 h 466673"/>
                <a:gd name="connsiteX57" fmla="*/ 251103 w 1060212"/>
                <a:gd name="connsiteY57" fmla="*/ 458637 h 466673"/>
                <a:gd name="connsiteX58" fmla="*/ 255089 w 1060212"/>
                <a:gd name="connsiteY58" fmla="*/ 455652 h 466673"/>
                <a:gd name="connsiteX59" fmla="*/ 0 w 1060212"/>
                <a:gd name="connsiteY59" fmla="*/ 456647 h 466673"/>
                <a:gd name="connsiteX60" fmla="*/ 961565 w 1060212"/>
                <a:gd name="connsiteY60" fmla="*/ 349201 h 466673"/>
                <a:gd name="connsiteX61" fmla="*/ 988569 w 1060212"/>
                <a:gd name="connsiteY61" fmla="*/ 275580 h 466673"/>
                <a:gd name="connsiteX62" fmla="*/ 995444 w 1060212"/>
                <a:gd name="connsiteY62" fmla="*/ 251703 h 466673"/>
                <a:gd name="connsiteX63" fmla="*/ 1060213 w 1060212"/>
                <a:gd name="connsiteY63" fmla="*/ 231806 h 466673"/>
                <a:gd name="connsiteX64" fmla="*/ 1021352 w 1060212"/>
                <a:gd name="connsiteY64" fmla="*/ 276575 h 466673"/>
                <a:gd name="connsiteX65" fmla="*/ 1006405 w 1060212"/>
                <a:gd name="connsiteY65" fmla="*/ 318360 h 466673"/>
                <a:gd name="connsiteX66" fmla="*/ 1000426 w 1060212"/>
                <a:gd name="connsiteY66" fmla="*/ 335272 h 466673"/>
                <a:gd name="connsiteX67" fmla="*/ 992455 w 1060212"/>
                <a:gd name="connsiteY67" fmla="*/ 347211 h 466673"/>
                <a:gd name="connsiteX68" fmla="*/ 972526 w 1060212"/>
                <a:gd name="connsiteY68" fmla="*/ 380042 h 466673"/>
                <a:gd name="connsiteX69" fmla="*/ 961565 w 1060212"/>
                <a:gd name="connsiteY69" fmla="*/ 349201 h 466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1060212" h="466673">
                  <a:moveTo>
                    <a:pt x="6975" y="451673"/>
                  </a:moveTo>
                  <a:cubicBezTo>
                    <a:pt x="13900" y="447644"/>
                    <a:pt x="21921" y="445902"/>
                    <a:pt x="29893" y="446699"/>
                  </a:cubicBezTo>
                  <a:cubicBezTo>
                    <a:pt x="41741" y="440590"/>
                    <a:pt x="54545" y="436551"/>
                    <a:pt x="67758" y="434760"/>
                  </a:cubicBezTo>
                  <a:cubicBezTo>
                    <a:pt x="69851" y="414166"/>
                    <a:pt x="82804" y="419141"/>
                    <a:pt x="97651" y="412873"/>
                  </a:cubicBezTo>
                  <a:cubicBezTo>
                    <a:pt x="106619" y="402924"/>
                    <a:pt x="93466" y="394368"/>
                    <a:pt x="115587" y="390985"/>
                  </a:cubicBezTo>
                  <a:cubicBezTo>
                    <a:pt x="118995" y="387205"/>
                    <a:pt x="120091" y="381882"/>
                    <a:pt x="118476" y="377057"/>
                  </a:cubicBezTo>
                  <a:cubicBezTo>
                    <a:pt x="125501" y="371983"/>
                    <a:pt x="132815" y="367337"/>
                    <a:pt x="140398" y="363129"/>
                  </a:cubicBezTo>
                  <a:cubicBezTo>
                    <a:pt x="147174" y="356463"/>
                    <a:pt x="164512" y="354474"/>
                    <a:pt x="171288" y="347211"/>
                  </a:cubicBezTo>
                  <a:cubicBezTo>
                    <a:pt x="182249" y="342734"/>
                    <a:pt x="208555" y="303834"/>
                    <a:pt x="219117" y="313385"/>
                  </a:cubicBezTo>
                  <a:lnTo>
                    <a:pt x="212142" y="322339"/>
                  </a:lnTo>
                  <a:cubicBezTo>
                    <a:pt x="218519" y="326418"/>
                    <a:pt x="219915" y="335969"/>
                    <a:pt x="223103" y="342237"/>
                  </a:cubicBezTo>
                  <a:cubicBezTo>
                    <a:pt x="226591" y="350992"/>
                    <a:pt x="239146" y="348206"/>
                    <a:pt x="242135" y="356165"/>
                  </a:cubicBezTo>
                  <a:cubicBezTo>
                    <a:pt x="258477" y="371088"/>
                    <a:pt x="279302" y="355468"/>
                    <a:pt x="290861" y="341242"/>
                  </a:cubicBezTo>
                  <a:cubicBezTo>
                    <a:pt x="300826" y="351191"/>
                    <a:pt x="308398" y="361736"/>
                    <a:pt x="321751" y="350196"/>
                  </a:cubicBezTo>
                  <a:cubicBezTo>
                    <a:pt x="332413" y="347410"/>
                    <a:pt x="347459" y="347708"/>
                    <a:pt x="356626" y="341242"/>
                  </a:cubicBezTo>
                  <a:cubicBezTo>
                    <a:pt x="344569" y="330199"/>
                    <a:pt x="355530" y="321344"/>
                    <a:pt x="364597" y="335272"/>
                  </a:cubicBezTo>
                  <a:cubicBezTo>
                    <a:pt x="374901" y="331273"/>
                    <a:pt x="384616" y="325921"/>
                    <a:pt x="393494" y="319354"/>
                  </a:cubicBezTo>
                  <a:cubicBezTo>
                    <a:pt x="405352" y="334576"/>
                    <a:pt x="414619" y="316867"/>
                    <a:pt x="425381" y="309406"/>
                  </a:cubicBezTo>
                  <a:cubicBezTo>
                    <a:pt x="425261" y="303656"/>
                    <a:pt x="428330" y="298303"/>
                    <a:pt x="433352" y="295477"/>
                  </a:cubicBezTo>
                  <a:cubicBezTo>
                    <a:pt x="429964" y="290802"/>
                    <a:pt x="421494" y="285529"/>
                    <a:pt x="429466" y="280554"/>
                  </a:cubicBezTo>
                  <a:cubicBezTo>
                    <a:pt x="435444" y="259961"/>
                    <a:pt x="454775" y="246928"/>
                    <a:pt x="465337" y="228821"/>
                  </a:cubicBezTo>
                  <a:cubicBezTo>
                    <a:pt x="467878" y="214037"/>
                    <a:pt x="476099" y="200825"/>
                    <a:pt x="488256" y="192011"/>
                  </a:cubicBezTo>
                  <a:cubicBezTo>
                    <a:pt x="483374" y="186041"/>
                    <a:pt x="491245" y="182062"/>
                    <a:pt x="495231" y="179077"/>
                  </a:cubicBezTo>
                  <a:cubicBezTo>
                    <a:pt x="502007" y="168532"/>
                    <a:pt x="502704" y="153111"/>
                    <a:pt x="506092" y="141272"/>
                  </a:cubicBezTo>
                  <a:cubicBezTo>
                    <a:pt x="527316" y="147042"/>
                    <a:pt x="521936" y="168830"/>
                    <a:pt x="548042" y="169129"/>
                  </a:cubicBezTo>
                  <a:cubicBezTo>
                    <a:pt x="559401" y="166144"/>
                    <a:pt x="562092" y="148236"/>
                    <a:pt x="567971" y="139282"/>
                  </a:cubicBezTo>
                  <a:cubicBezTo>
                    <a:pt x="577936" y="129334"/>
                    <a:pt x="580527" y="113217"/>
                    <a:pt x="587900" y="101477"/>
                  </a:cubicBezTo>
                  <a:lnTo>
                    <a:pt x="603843" y="113416"/>
                  </a:lnTo>
                  <a:cubicBezTo>
                    <a:pt x="606732" y="108043"/>
                    <a:pt x="612612" y="97597"/>
                    <a:pt x="615800" y="92523"/>
                  </a:cubicBezTo>
                  <a:cubicBezTo>
                    <a:pt x="628654" y="87509"/>
                    <a:pt x="639516" y="78426"/>
                    <a:pt x="646690" y="66656"/>
                  </a:cubicBezTo>
                  <a:cubicBezTo>
                    <a:pt x="650955" y="60429"/>
                    <a:pt x="655977" y="54748"/>
                    <a:pt x="661636" y="49744"/>
                  </a:cubicBezTo>
                  <a:cubicBezTo>
                    <a:pt x="657551" y="44172"/>
                    <a:pt x="664127" y="37009"/>
                    <a:pt x="662633" y="30841"/>
                  </a:cubicBezTo>
                  <a:cubicBezTo>
                    <a:pt x="669857" y="22315"/>
                    <a:pt x="672468" y="10804"/>
                    <a:pt x="669608" y="0"/>
                  </a:cubicBezTo>
                  <a:cubicBezTo>
                    <a:pt x="689537" y="16117"/>
                    <a:pt x="715245" y="37805"/>
                    <a:pt x="735373" y="53723"/>
                  </a:cubicBezTo>
                  <a:cubicBezTo>
                    <a:pt x="746633" y="20693"/>
                    <a:pt x="752711" y="12933"/>
                    <a:pt x="781309" y="39795"/>
                  </a:cubicBezTo>
                  <a:cubicBezTo>
                    <a:pt x="772540" y="55116"/>
                    <a:pt x="769252" y="47754"/>
                    <a:pt x="781309" y="63672"/>
                  </a:cubicBezTo>
                  <a:cubicBezTo>
                    <a:pt x="789878" y="65861"/>
                    <a:pt x="810405" y="64567"/>
                    <a:pt x="808113" y="77600"/>
                  </a:cubicBezTo>
                  <a:cubicBezTo>
                    <a:pt x="812089" y="79858"/>
                    <a:pt x="816513" y="81222"/>
                    <a:pt x="821067" y="81580"/>
                  </a:cubicBezTo>
                  <a:cubicBezTo>
                    <a:pt x="824644" y="87151"/>
                    <a:pt x="828999" y="92175"/>
                    <a:pt x="834020" y="96503"/>
                  </a:cubicBezTo>
                  <a:cubicBezTo>
                    <a:pt x="834539" y="105138"/>
                    <a:pt x="834200" y="113804"/>
                    <a:pt x="833024" y="122369"/>
                  </a:cubicBezTo>
                  <a:cubicBezTo>
                    <a:pt x="827146" y="121673"/>
                    <a:pt x="820071" y="128339"/>
                    <a:pt x="823060" y="134308"/>
                  </a:cubicBezTo>
                  <a:cubicBezTo>
                    <a:pt x="804327" y="129931"/>
                    <a:pt x="801238" y="145948"/>
                    <a:pt x="799145" y="161169"/>
                  </a:cubicBezTo>
                  <a:cubicBezTo>
                    <a:pt x="795160" y="187235"/>
                    <a:pt x="814789" y="183853"/>
                    <a:pt x="833124" y="178082"/>
                  </a:cubicBezTo>
                  <a:cubicBezTo>
                    <a:pt x="836193" y="180390"/>
                    <a:pt x="837359" y="184440"/>
                    <a:pt x="836014" y="188031"/>
                  </a:cubicBezTo>
                  <a:cubicBezTo>
                    <a:pt x="839800" y="191314"/>
                    <a:pt x="846875" y="196189"/>
                    <a:pt x="843985" y="201959"/>
                  </a:cubicBezTo>
                  <a:lnTo>
                    <a:pt x="859928" y="209918"/>
                  </a:lnTo>
                  <a:cubicBezTo>
                    <a:pt x="869195" y="211311"/>
                    <a:pt x="889124" y="206237"/>
                    <a:pt x="889822" y="218872"/>
                  </a:cubicBezTo>
                  <a:cubicBezTo>
                    <a:pt x="898291" y="223449"/>
                    <a:pt x="902875" y="234492"/>
                    <a:pt x="910747" y="239764"/>
                  </a:cubicBezTo>
                  <a:cubicBezTo>
                    <a:pt x="918619" y="245038"/>
                    <a:pt x="941138" y="249713"/>
                    <a:pt x="933665" y="262647"/>
                  </a:cubicBezTo>
                  <a:cubicBezTo>
                    <a:pt x="927038" y="265920"/>
                    <a:pt x="923720" y="273471"/>
                    <a:pt x="925793" y="280554"/>
                  </a:cubicBezTo>
                  <a:cubicBezTo>
                    <a:pt x="921708" y="286126"/>
                    <a:pt x="925793" y="292294"/>
                    <a:pt x="929779" y="296472"/>
                  </a:cubicBezTo>
                  <a:cubicBezTo>
                    <a:pt x="924398" y="312490"/>
                    <a:pt x="939743" y="329104"/>
                    <a:pt x="930675" y="345221"/>
                  </a:cubicBezTo>
                  <a:cubicBezTo>
                    <a:pt x="924996" y="342237"/>
                    <a:pt x="916726" y="328309"/>
                    <a:pt x="909750" y="334278"/>
                  </a:cubicBezTo>
                  <a:cubicBezTo>
                    <a:pt x="912540" y="342535"/>
                    <a:pt x="923402" y="351290"/>
                    <a:pt x="915729" y="359149"/>
                  </a:cubicBezTo>
                  <a:cubicBezTo>
                    <a:pt x="921170" y="363607"/>
                    <a:pt x="925295" y="369456"/>
                    <a:pt x="927686" y="376062"/>
                  </a:cubicBezTo>
                  <a:cubicBezTo>
                    <a:pt x="935459" y="383524"/>
                    <a:pt x="921409" y="393771"/>
                    <a:pt x="931672" y="399939"/>
                  </a:cubicBezTo>
                  <a:cubicBezTo>
                    <a:pt x="980797" y="426005"/>
                    <a:pt x="952398" y="370591"/>
                    <a:pt x="981494" y="464606"/>
                  </a:cubicBezTo>
                  <a:cubicBezTo>
                    <a:pt x="738263" y="464606"/>
                    <a:pt x="494035" y="472068"/>
                    <a:pt x="251103" y="458637"/>
                  </a:cubicBezTo>
                  <a:lnTo>
                    <a:pt x="255089" y="455652"/>
                  </a:lnTo>
                  <a:cubicBezTo>
                    <a:pt x="172783" y="457642"/>
                    <a:pt x="84697" y="458637"/>
                    <a:pt x="0" y="456647"/>
                  </a:cubicBezTo>
                  <a:close/>
                  <a:moveTo>
                    <a:pt x="961565" y="349201"/>
                  </a:moveTo>
                  <a:cubicBezTo>
                    <a:pt x="970334" y="325324"/>
                    <a:pt x="970234" y="295677"/>
                    <a:pt x="988569" y="275580"/>
                  </a:cubicBezTo>
                  <a:cubicBezTo>
                    <a:pt x="983487" y="262647"/>
                    <a:pt x="1014775" y="268915"/>
                    <a:pt x="995444" y="251703"/>
                  </a:cubicBezTo>
                  <a:cubicBezTo>
                    <a:pt x="1010391" y="233397"/>
                    <a:pt x="1039088" y="233696"/>
                    <a:pt x="1060213" y="231806"/>
                  </a:cubicBezTo>
                  <a:cubicBezTo>
                    <a:pt x="1036597" y="281549"/>
                    <a:pt x="1040882" y="236880"/>
                    <a:pt x="1021352" y="276575"/>
                  </a:cubicBezTo>
                  <a:cubicBezTo>
                    <a:pt x="1014077" y="289608"/>
                    <a:pt x="1015971" y="306918"/>
                    <a:pt x="1006405" y="318360"/>
                  </a:cubicBezTo>
                  <a:cubicBezTo>
                    <a:pt x="1011586" y="322538"/>
                    <a:pt x="1002319" y="331691"/>
                    <a:pt x="1000426" y="335272"/>
                  </a:cubicBezTo>
                  <a:cubicBezTo>
                    <a:pt x="999201" y="340038"/>
                    <a:pt x="996391" y="344246"/>
                    <a:pt x="992455" y="347211"/>
                  </a:cubicBezTo>
                  <a:cubicBezTo>
                    <a:pt x="990482" y="360373"/>
                    <a:pt x="983297" y="372202"/>
                    <a:pt x="972526" y="380042"/>
                  </a:cubicBezTo>
                  <a:cubicBezTo>
                    <a:pt x="962960" y="377754"/>
                    <a:pt x="966348" y="356961"/>
                    <a:pt x="961565" y="349201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80" name="Freeform: Shape 1679">
              <a:extLst>
                <a:ext uri="{FF2B5EF4-FFF2-40B4-BE49-F238E27FC236}">
                  <a16:creationId xmlns:a16="http://schemas.microsoft.com/office/drawing/2014/main" id="{EBFC208A-805F-43F5-9C68-5434C7490B63}"/>
                </a:ext>
              </a:extLst>
            </p:cNvPr>
            <p:cNvSpPr/>
            <p:nvPr/>
          </p:nvSpPr>
          <p:spPr>
            <a:xfrm>
              <a:off x="2128429" y="2570392"/>
              <a:ext cx="1089807" cy="262743"/>
            </a:xfrm>
            <a:custGeom>
              <a:avLst/>
              <a:gdLst>
                <a:gd name="connsiteX0" fmla="*/ 698 w 1089807"/>
                <a:gd name="connsiteY0" fmla="*/ 255683 h 262743"/>
                <a:gd name="connsiteX1" fmla="*/ 13651 w 1089807"/>
                <a:gd name="connsiteY1" fmla="*/ 252698 h 262743"/>
                <a:gd name="connsiteX2" fmla="*/ 27601 w 1089807"/>
                <a:gd name="connsiteY2" fmla="*/ 241755 h 262743"/>
                <a:gd name="connsiteX3" fmla="*/ 17637 w 1089807"/>
                <a:gd name="connsiteY3" fmla="*/ 217877 h 262743"/>
                <a:gd name="connsiteX4" fmla="*/ 24612 w 1089807"/>
                <a:gd name="connsiteY4" fmla="*/ 196985 h 262743"/>
                <a:gd name="connsiteX5" fmla="*/ 33580 w 1089807"/>
                <a:gd name="connsiteY5" fmla="*/ 195990 h 262743"/>
                <a:gd name="connsiteX6" fmla="*/ 34577 w 1089807"/>
                <a:gd name="connsiteY6" fmla="*/ 175098 h 262743"/>
                <a:gd name="connsiteX7" fmla="*/ 54505 w 1089807"/>
                <a:gd name="connsiteY7" fmla="*/ 163159 h 262743"/>
                <a:gd name="connsiteX8" fmla="*/ 44541 w 1089807"/>
                <a:gd name="connsiteY8" fmla="*/ 153211 h 262743"/>
                <a:gd name="connsiteX9" fmla="*/ 56498 w 1089807"/>
                <a:gd name="connsiteY9" fmla="*/ 145252 h 262743"/>
                <a:gd name="connsiteX10" fmla="*/ 72441 w 1089807"/>
                <a:gd name="connsiteY10" fmla="*/ 129334 h 262743"/>
                <a:gd name="connsiteX11" fmla="*/ 83502 w 1089807"/>
                <a:gd name="connsiteY11" fmla="*/ 122370 h 262743"/>
                <a:gd name="connsiteX12" fmla="*/ 72441 w 1089807"/>
                <a:gd name="connsiteY12" fmla="*/ 105457 h 262743"/>
                <a:gd name="connsiteX13" fmla="*/ 79416 w 1089807"/>
                <a:gd name="connsiteY13" fmla="*/ 92523 h 262743"/>
                <a:gd name="connsiteX14" fmla="*/ 90377 w 1089807"/>
                <a:gd name="connsiteY14" fmla="*/ 84564 h 262743"/>
                <a:gd name="connsiteX15" fmla="*/ 77423 w 1089807"/>
                <a:gd name="connsiteY15" fmla="*/ 70636 h 262743"/>
                <a:gd name="connsiteX16" fmla="*/ 95359 w 1089807"/>
                <a:gd name="connsiteY16" fmla="*/ 62677 h 262743"/>
                <a:gd name="connsiteX17" fmla="*/ 99345 w 1089807"/>
                <a:gd name="connsiteY17" fmla="*/ 51734 h 262743"/>
                <a:gd name="connsiteX18" fmla="*/ 96356 w 1089807"/>
                <a:gd name="connsiteY18" fmla="*/ 40790 h 262743"/>
                <a:gd name="connsiteX19" fmla="*/ 97352 w 1089807"/>
                <a:gd name="connsiteY19" fmla="*/ 27857 h 262743"/>
                <a:gd name="connsiteX20" fmla="*/ 228882 w 1089807"/>
                <a:gd name="connsiteY20" fmla="*/ 27857 h 262743"/>
                <a:gd name="connsiteX21" fmla="*/ 283686 w 1089807"/>
                <a:gd name="connsiteY21" fmla="*/ 27857 h 262743"/>
                <a:gd name="connsiteX22" fmla="*/ 281694 w 1089807"/>
                <a:gd name="connsiteY22" fmla="*/ 0 h 262743"/>
                <a:gd name="connsiteX23" fmla="*/ 309594 w 1089807"/>
                <a:gd name="connsiteY23" fmla="*/ 1990 h 262743"/>
                <a:gd name="connsiteX24" fmla="*/ 308597 w 1089807"/>
                <a:gd name="connsiteY24" fmla="*/ 6964 h 262743"/>
                <a:gd name="connsiteX25" fmla="*/ 568669 w 1089807"/>
                <a:gd name="connsiteY25" fmla="*/ 8954 h 262743"/>
                <a:gd name="connsiteX26" fmla="*/ 731089 w 1089807"/>
                <a:gd name="connsiteY26" fmla="*/ 12934 h 262743"/>
                <a:gd name="connsiteX27" fmla="*/ 884541 w 1089807"/>
                <a:gd name="connsiteY27" fmla="*/ 12934 h 262743"/>
                <a:gd name="connsiteX28" fmla="*/ 1089807 w 1089807"/>
                <a:gd name="connsiteY28" fmla="*/ 10944 h 262743"/>
                <a:gd name="connsiteX29" fmla="*/ 1083829 w 1089807"/>
                <a:gd name="connsiteY29" fmla="*/ 32831 h 262743"/>
                <a:gd name="connsiteX30" fmla="*/ 1081836 w 1089807"/>
                <a:gd name="connsiteY30" fmla="*/ 52729 h 262743"/>
                <a:gd name="connsiteX31" fmla="*/ 1035103 w 1089807"/>
                <a:gd name="connsiteY31" fmla="*/ 89539 h 262743"/>
                <a:gd name="connsiteX32" fmla="*/ 1027032 w 1089807"/>
                <a:gd name="connsiteY32" fmla="*/ 84564 h 262743"/>
                <a:gd name="connsiteX33" fmla="*/ 1018063 w 1089807"/>
                <a:gd name="connsiteY33" fmla="*/ 81580 h 262743"/>
                <a:gd name="connsiteX34" fmla="*/ 986277 w 1089807"/>
                <a:gd name="connsiteY34" fmla="*/ 104462 h 262743"/>
                <a:gd name="connsiteX35" fmla="*/ 968241 w 1089807"/>
                <a:gd name="connsiteY35" fmla="*/ 109436 h 262743"/>
                <a:gd name="connsiteX36" fmla="*/ 966248 w 1089807"/>
                <a:gd name="connsiteY36" fmla="*/ 96503 h 262743"/>
                <a:gd name="connsiteX37" fmla="*/ 947316 w 1089807"/>
                <a:gd name="connsiteY37" fmla="*/ 107447 h 262743"/>
                <a:gd name="connsiteX38" fmla="*/ 936355 w 1089807"/>
                <a:gd name="connsiteY38" fmla="*/ 114411 h 262743"/>
                <a:gd name="connsiteX39" fmla="*/ 932470 w 1089807"/>
                <a:gd name="connsiteY39" fmla="*/ 125354 h 262743"/>
                <a:gd name="connsiteX40" fmla="*/ 922505 w 1089807"/>
                <a:gd name="connsiteY40" fmla="*/ 139282 h 262743"/>
                <a:gd name="connsiteX41" fmla="*/ 894605 w 1089807"/>
                <a:gd name="connsiteY41" fmla="*/ 148236 h 262743"/>
                <a:gd name="connsiteX42" fmla="*/ 881750 w 1089807"/>
                <a:gd name="connsiteY42" fmla="*/ 159180 h 262743"/>
                <a:gd name="connsiteX43" fmla="*/ 866704 w 1089807"/>
                <a:gd name="connsiteY43" fmla="*/ 166144 h 262743"/>
                <a:gd name="connsiteX44" fmla="*/ 856740 w 1089807"/>
                <a:gd name="connsiteY44" fmla="*/ 173108 h 262743"/>
                <a:gd name="connsiteX45" fmla="*/ 804028 w 1089807"/>
                <a:gd name="connsiteY45" fmla="*/ 187037 h 262743"/>
                <a:gd name="connsiteX46" fmla="*/ 792968 w 1089807"/>
                <a:gd name="connsiteY46" fmla="*/ 202954 h 262743"/>
                <a:gd name="connsiteX47" fmla="*/ 790975 w 1089807"/>
                <a:gd name="connsiteY47" fmla="*/ 214893 h 262743"/>
                <a:gd name="connsiteX48" fmla="*/ 765068 w 1089807"/>
                <a:gd name="connsiteY48" fmla="*/ 218872 h 262743"/>
                <a:gd name="connsiteX49" fmla="*/ 758092 w 1089807"/>
                <a:gd name="connsiteY49" fmla="*/ 228821 h 262743"/>
                <a:gd name="connsiteX50" fmla="*/ 702291 w 1089807"/>
                <a:gd name="connsiteY50" fmla="*/ 261652 h 262743"/>
                <a:gd name="connsiteX51" fmla="*/ 264854 w 1089807"/>
                <a:gd name="connsiteY51" fmla="*/ 258667 h 262743"/>
                <a:gd name="connsiteX52" fmla="*/ 265850 w 1089807"/>
                <a:gd name="connsiteY52" fmla="*/ 260657 h 262743"/>
                <a:gd name="connsiteX53" fmla="*/ 0 w 1089807"/>
                <a:gd name="connsiteY53" fmla="*/ 260657 h 262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089807" h="262743">
                  <a:moveTo>
                    <a:pt x="698" y="255683"/>
                  </a:moveTo>
                  <a:cubicBezTo>
                    <a:pt x="4813" y="253952"/>
                    <a:pt x="9197" y="252947"/>
                    <a:pt x="13651" y="252698"/>
                  </a:cubicBezTo>
                  <a:cubicBezTo>
                    <a:pt x="15046" y="244441"/>
                    <a:pt x="18733" y="238571"/>
                    <a:pt x="27601" y="241755"/>
                  </a:cubicBezTo>
                  <a:cubicBezTo>
                    <a:pt x="25708" y="231806"/>
                    <a:pt x="31388" y="219967"/>
                    <a:pt x="17637" y="217877"/>
                  </a:cubicBezTo>
                  <a:cubicBezTo>
                    <a:pt x="24313" y="213699"/>
                    <a:pt x="30292" y="204148"/>
                    <a:pt x="24612" y="196985"/>
                  </a:cubicBezTo>
                  <a:cubicBezTo>
                    <a:pt x="27273" y="195244"/>
                    <a:pt x="30601" y="194876"/>
                    <a:pt x="33580" y="195990"/>
                  </a:cubicBezTo>
                  <a:cubicBezTo>
                    <a:pt x="38861" y="189921"/>
                    <a:pt x="31786" y="182261"/>
                    <a:pt x="34577" y="175098"/>
                  </a:cubicBezTo>
                  <a:cubicBezTo>
                    <a:pt x="52313" y="181664"/>
                    <a:pt x="40555" y="165746"/>
                    <a:pt x="54505" y="163159"/>
                  </a:cubicBezTo>
                  <a:cubicBezTo>
                    <a:pt x="52512" y="161269"/>
                    <a:pt x="46633" y="155200"/>
                    <a:pt x="44541" y="153211"/>
                  </a:cubicBezTo>
                  <a:cubicBezTo>
                    <a:pt x="47032" y="148037"/>
                    <a:pt x="49822" y="142068"/>
                    <a:pt x="56498" y="145252"/>
                  </a:cubicBezTo>
                  <a:cubicBezTo>
                    <a:pt x="60882" y="139084"/>
                    <a:pt x="76427" y="138387"/>
                    <a:pt x="72441" y="129334"/>
                  </a:cubicBezTo>
                  <a:cubicBezTo>
                    <a:pt x="71445" y="124359"/>
                    <a:pt x="80512" y="123564"/>
                    <a:pt x="83502" y="122370"/>
                  </a:cubicBezTo>
                  <a:cubicBezTo>
                    <a:pt x="83502" y="116798"/>
                    <a:pt x="74534" y="110829"/>
                    <a:pt x="72441" y="105457"/>
                  </a:cubicBezTo>
                  <a:cubicBezTo>
                    <a:pt x="77822" y="104462"/>
                    <a:pt x="78819" y="96702"/>
                    <a:pt x="79416" y="92523"/>
                  </a:cubicBezTo>
                  <a:lnTo>
                    <a:pt x="90377" y="84564"/>
                  </a:lnTo>
                  <a:cubicBezTo>
                    <a:pt x="87557" y="78734"/>
                    <a:pt x="83044" y="73879"/>
                    <a:pt x="77423" y="70636"/>
                  </a:cubicBezTo>
                  <a:cubicBezTo>
                    <a:pt x="81210" y="64170"/>
                    <a:pt x="90477" y="72526"/>
                    <a:pt x="95359" y="62677"/>
                  </a:cubicBezTo>
                  <a:cubicBezTo>
                    <a:pt x="82107" y="55713"/>
                    <a:pt x="88085" y="52729"/>
                    <a:pt x="99345" y="51734"/>
                  </a:cubicBezTo>
                  <a:cubicBezTo>
                    <a:pt x="101338" y="48152"/>
                    <a:pt x="98747" y="43476"/>
                    <a:pt x="96356" y="40790"/>
                  </a:cubicBezTo>
                  <a:cubicBezTo>
                    <a:pt x="99046" y="36990"/>
                    <a:pt x="99435" y="32025"/>
                    <a:pt x="97352" y="27857"/>
                  </a:cubicBezTo>
                  <a:cubicBezTo>
                    <a:pt x="139402" y="26961"/>
                    <a:pt x="187032" y="27857"/>
                    <a:pt x="228882" y="27857"/>
                  </a:cubicBezTo>
                  <a:lnTo>
                    <a:pt x="283686" y="27857"/>
                  </a:lnTo>
                  <a:cubicBezTo>
                    <a:pt x="289068" y="19897"/>
                    <a:pt x="283686" y="7959"/>
                    <a:pt x="281694" y="0"/>
                  </a:cubicBezTo>
                  <a:cubicBezTo>
                    <a:pt x="291020" y="179"/>
                    <a:pt x="300337" y="836"/>
                    <a:pt x="309594" y="1990"/>
                  </a:cubicBezTo>
                  <a:lnTo>
                    <a:pt x="308597" y="6964"/>
                  </a:lnTo>
                  <a:cubicBezTo>
                    <a:pt x="395388" y="4974"/>
                    <a:pt x="482476" y="2786"/>
                    <a:pt x="568669" y="8954"/>
                  </a:cubicBezTo>
                  <a:cubicBezTo>
                    <a:pt x="621779" y="8456"/>
                    <a:pt x="678277" y="9849"/>
                    <a:pt x="731089" y="12934"/>
                  </a:cubicBezTo>
                  <a:cubicBezTo>
                    <a:pt x="782505" y="16615"/>
                    <a:pt x="834419" y="11441"/>
                    <a:pt x="884541" y="12934"/>
                  </a:cubicBezTo>
                  <a:cubicBezTo>
                    <a:pt x="952797" y="13829"/>
                    <a:pt x="1024042" y="12237"/>
                    <a:pt x="1089807" y="10944"/>
                  </a:cubicBezTo>
                  <a:cubicBezTo>
                    <a:pt x="1082234" y="14525"/>
                    <a:pt x="1082732" y="25966"/>
                    <a:pt x="1083829" y="32831"/>
                  </a:cubicBezTo>
                  <a:cubicBezTo>
                    <a:pt x="1079375" y="38522"/>
                    <a:pt x="1078597" y="46272"/>
                    <a:pt x="1081836" y="52729"/>
                  </a:cubicBezTo>
                  <a:cubicBezTo>
                    <a:pt x="1048455" y="45665"/>
                    <a:pt x="1055430" y="77899"/>
                    <a:pt x="1035103" y="89539"/>
                  </a:cubicBezTo>
                  <a:cubicBezTo>
                    <a:pt x="1030619" y="90335"/>
                    <a:pt x="1027928" y="88942"/>
                    <a:pt x="1027032" y="84564"/>
                  </a:cubicBezTo>
                  <a:lnTo>
                    <a:pt x="1018063" y="81580"/>
                  </a:lnTo>
                  <a:cubicBezTo>
                    <a:pt x="1004114" y="88743"/>
                    <a:pt x="993551" y="86355"/>
                    <a:pt x="986277" y="104462"/>
                  </a:cubicBezTo>
                  <a:cubicBezTo>
                    <a:pt x="980299" y="108939"/>
                    <a:pt x="975316" y="116500"/>
                    <a:pt x="968241" y="109436"/>
                  </a:cubicBezTo>
                  <a:cubicBezTo>
                    <a:pt x="970912" y="105238"/>
                    <a:pt x="970055" y="99706"/>
                    <a:pt x="966248" y="96503"/>
                  </a:cubicBezTo>
                  <a:lnTo>
                    <a:pt x="947316" y="107447"/>
                  </a:lnTo>
                  <a:cubicBezTo>
                    <a:pt x="947316" y="114411"/>
                    <a:pt x="942733" y="119783"/>
                    <a:pt x="936355" y="114411"/>
                  </a:cubicBezTo>
                  <a:cubicBezTo>
                    <a:pt x="929779" y="115903"/>
                    <a:pt x="930477" y="120081"/>
                    <a:pt x="932470" y="125354"/>
                  </a:cubicBezTo>
                  <a:cubicBezTo>
                    <a:pt x="929978" y="129334"/>
                    <a:pt x="924597" y="135303"/>
                    <a:pt x="922505" y="139282"/>
                  </a:cubicBezTo>
                  <a:cubicBezTo>
                    <a:pt x="912262" y="136755"/>
                    <a:pt x="901460" y="140228"/>
                    <a:pt x="894605" y="148236"/>
                  </a:cubicBezTo>
                  <a:cubicBezTo>
                    <a:pt x="888576" y="149132"/>
                    <a:pt x="883584" y="153380"/>
                    <a:pt x="881750" y="159180"/>
                  </a:cubicBezTo>
                  <a:cubicBezTo>
                    <a:pt x="876470" y="155897"/>
                    <a:pt x="870092" y="163060"/>
                    <a:pt x="866704" y="166144"/>
                  </a:cubicBezTo>
                  <a:cubicBezTo>
                    <a:pt x="863416" y="166144"/>
                    <a:pt x="858832" y="171019"/>
                    <a:pt x="856740" y="173108"/>
                  </a:cubicBezTo>
                  <a:cubicBezTo>
                    <a:pt x="835914" y="173108"/>
                    <a:pt x="819273" y="170024"/>
                    <a:pt x="804028" y="187037"/>
                  </a:cubicBezTo>
                  <a:cubicBezTo>
                    <a:pt x="797850" y="189723"/>
                    <a:pt x="787786" y="194896"/>
                    <a:pt x="792968" y="202954"/>
                  </a:cubicBezTo>
                  <a:cubicBezTo>
                    <a:pt x="788484" y="205243"/>
                    <a:pt x="789380" y="210913"/>
                    <a:pt x="790975" y="214893"/>
                  </a:cubicBezTo>
                  <a:cubicBezTo>
                    <a:pt x="783800" y="219569"/>
                    <a:pt x="773238" y="227428"/>
                    <a:pt x="765068" y="218872"/>
                  </a:cubicBezTo>
                  <a:cubicBezTo>
                    <a:pt x="762178" y="221061"/>
                    <a:pt x="756897" y="224842"/>
                    <a:pt x="758092" y="228821"/>
                  </a:cubicBezTo>
                  <a:cubicBezTo>
                    <a:pt x="755502" y="279162"/>
                    <a:pt x="742448" y="257275"/>
                    <a:pt x="702291" y="261652"/>
                  </a:cubicBezTo>
                  <a:cubicBezTo>
                    <a:pt x="557509" y="263343"/>
                    <a:pt x="409736" y="260956"/>
                    <a:pt x="264854" y="258667"/>
                  </a:cubicBezTo>
                  <a:lnTo>
                    <a:pt x="265850" y="260657"/>
                  </a:lnTo>
                  <a:lnTo>
                    <a:pt x="0" y="260657"/>
                  </a:ln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81" name="Freeform: Shape 1680">
              <a:extLst>
                <a:ext uri="{FF2B5EF4-FFF2-40B4-BE49-F238E27FC236}">
                  <a16:creationId xmlns:a16="http://schemas.microsoft.com/office/drawing/2014/main" id="{140C8CDE-7C04-4423-9560-CA1275DA41FD}"/>
                </a:ext>
              </a:extLst>
            </p:cNvPr>
            <p:cNvSpPr/>
            <p:nvPr/>
          </p:nvSpPr>
          <p:spPr>
            <a:xfrm>
              <a:off x="1658556" y="3130365"/>
              <a:ext cx="633004" cy="599055"/>
            </a:xfrm>
            <a:custGeom>
              <a:avLst/>
              <a:gdLst>
                <a:gd name="connsiteX0" fmla="*/ 250 w 633004"/>
                <a:gd name="connsiteY0" fmla="*/ 48890 h 599055"/>
                <a:gd name="connsiteX1" fmla="*/ 250 w 633004"/>
                <a:gd name="connsiteY1" fmla="*/ 141 h 599055"/>
                <a:gd name="connsiteX2" fmla="*/ 350001 w 633004"/>
                <a:gd name="connsiteY2" fmla="*/ 2131 h 599055"/>
                <a:gd name="connsiteX3" fmla="*/ 373915 w 633004"/>
                <a:gd name="connsiteY3" fmla="*/ 20039 h 599055"/>
                <a:gd name="connsiteX4" fmla="*/ 375908 w 633004"/>
                <a:gd name="connsiteY4" fmla="*/ 43916 h 599055"/>
                <a:gd name="connsiteX5" fmla="*/ 381887 w 633004"/>
                <a:gd name="connsiteY5" fmla="*/ 74757 h 599055"/>
                <a:gd name="connsiteX6" fmla="*/ 375908 w 633004"/>
                <a:gd name="connsiteY6" fmla="*/ 86695 h 599055"/>
                <a:gd name="connsiteX7" fmla="*/ 386869 w 633004"/>
                <a:gd name="connsiteY7" fmla="*/ 88685 h 599055"/>
                <a:gd name="connsiteX8" fmla="*/ 392847 w 633004"/>
                <a:gd name="connsiteY8" fmla="*/ 101618 h 599055"/>
                <a:gd name="connsiteX9" fmla="*/ 368933 w 633004"/>
                <a:gd name="connsiteY9" fmla="*/ 121516 h 599055"/>
                <a:gd name="connsiteX10" fmla="*/ 378897 w 633004"/>
                <a:gd name="connsiteY10" fmla="*/ 137434 h 599055"/>
                <a:gd name="connsiteX11" fmla="*/ 373018 w 633004"/>
                <a:gd name="connsiteY11" fmla="*/ 148378 h 599055"/>
                <a:gd name="connsiteX12" fmla="*/ 360961 w 633004"/>
                <a:gd name="connsiteY12" fmla="*/ 156336 h 599055"/>
                <a:gd name="connsiteX13" fmla="*/ 352990 w 633004"/>
                <a:gd name="connsiteY13" fmla="*/ 170265 h 599055"/>
                <a:gd name="connsiteX14" fmla="*/ 340036 w 633004"/>
                <a:gd name="connsiteY14" fmla="*/ 175239 h 599055"/>
                <a:gd name="connsiteX15" fmla="*/ 343025 w 633004"/>
                <a:gd name="connsiteY15" fmla="*/ 189168 h 599055"/>
                <a:gd name="connsiteX16" fmla="*/ 333061 w 633004"/>
                <a:gd name="connsiteY16" fmla="*/ 204091 h 599055"/>
                <a:gd name="connsiteX17" fmla="*/ 327979 w 633004"/>
                <a:gd name="connsiteY17" fmla="*/ 219014 h 599055"/>
                <a:gd name="connsiteX18" fmla="*/ 319111 w 633004"/>
                <a:gd name="connsiteY18" fmla="*/ 234931 h 599055"/>
                <a:gd name="connsiteX19" fmla="*/ 319111 w 633004"/>
                <a:gd name="connsiteY19" fmla="*/ 256819 h 599055"/>
                <a:gd name="connsiteX20" fmla="*/ 309146 w 633004"/>
                <a:gd name="connsiteY20" fmla="*/ 270747 h 599055"/>
                <a:gd name="connsiteX21" fmla="*/ 303168 w 633004"/>
                <a:gd name="connsiteY21" fmla="*/ 299598 h 599055"/>
                <a:gd name="connsiteX22" fmla="*/ 543310 w 633004"/>
                <a:gd name="connsiteY22" fmla="*/ 298604 h 599055"/>
                <a:gd name="connsiteX23" fmla="*/ 535438 w 633004"/>
                <a:gd name="connsiteY23" fmla="*/ 365260 h 599055"/>
                <a:gd name="connsiteX24" fmla="*/ 568221 w 633004"/>
                <a:gd name="connsiteY24" fmla="*/ 418983 h 599055"/>
                <a:gd name="connsiteX25" fmla="*/ 536335 w 633004"/>
                <a:gd name="connsiteY25" fmla="*/ 438881 h 599055"/>
                <a:gd name="connsiteX26" fmla="*/ 528363 w 633004"/>
                <a:gd name="connsiteY26" fmla="*/ 442860 h 599055"/>
                <a:gd name="connsiteX27" fmla="*/ 534442 w 633004"/>
                <a:gd name="connsiteY27" fmla="*/ 454799 h 599055"/>
                <a:gd name="connsiteX28" fmla="*/ 553274 w 633004"/>
                <a:gd name="connsiteY28" fmla="*/ 464748 h 599055"/>
                <a:gd name="connsiteX29" fmla="*/ 562242 w 633004"/>
                <a:gd name="connsiteY29" fmla="*/ 446840 h 599055"/>
                <a:gd name="connsiteX30" fmla="*/ 591139 w 633004"/>
                <a:gd name="connsiteY30" fmla="*/ 435896 h 599055"/>
                <a:gd name="connsiteX31" fmla="*/ 611068 w 633004"/>
                <a:gd name="connsiteY31" fmla="*/ 422963 h 599055"/>
                <a:gd name="connsiteX32" fmla="*/ 605090 w 633004"/>
                <a:gd name="connsiteY32" fmla="*/ 462758 h 599055"/>
                <a:gd name="connsiteX33" fmla="*/ 600107 w 633004"/>
                <a:gd name="connsiteY33" fmla="*/ 480666 h 599055"/>
                <a:gd name="connsiteX34" fmla="*/ 584164 w 633004"/>
                <a:gd name="connsiteY34" fmla="*/ 478676 h 599055"/>
                <a:gd name="connsiteX35" fmla="*/ 571211 w 633004"/>
                <a:gd name="connsiteY35" fmla="*/ 498573 h 599055"/>
                <a:gd name="connsiteX36" fmla="*/ 559253 w 633004"/>
                <a:gd name="connsiteY36" fmla="*/ 501558 h 599055"/>
                <a:gd name="connsiteX37" fmla="*/ 567225 w 633004"/>
                <a:gd name="connsiteY37" fmla="*/ 526430 h 599055"/>
                <a:gd name="connsiteX38" fmla="*/ 595125 w 633004"/>
                <a:gd name="connsiteY38" fmla="*/ 533394 h 599055"/>
                <a:gd name="connsiteX39" fmla="*/ 609075 w 633004"/>
                <a:gd name="connsiteY39" fmla="*/ 539363 h 599055"/>
                <a:gd name="connsiteX40" fmla="*/ 620036 w 633004"/>
                <a:gd name="connsiteY40" fmla="*/ 557271 h 599055"/>
                <a:gd name="connsiteX41" fmla="*/ 632990 w 633004"/>
                <a:gd name="connsiteY41" fmla="*/ 565230 h 599055"/>
                <a:gd name="connsiteX42" fmla="*/ 617047 w 633004"/>
                <a:gd name="connsiteY42" fmla="*/ 590102 h 599055"/>
                <a:gd name="connsiteX43" fmla="*/ 584164 w 633004"/>
                <a:gd name="connsiteY43" fmla="*/ 599056 h 599055"/>
                <a:gd name="connsiteX44" fmla="*/ 584164 w 633004"/>
                <a:gd name="connsiteY44" fmla="*/ 587117 h 599055"/>
                <a:gd name="connsiteX45" fmla="*/ 585211 w 633004"/>
                <a:gd name="connsiteY45" fmla="*/ 571249 h 599055"/>
                <a:gd name="connsiteX46" fmla="*/ 585161 w 633004"/>
                <a:gd name="connsiteY46" fmla="*/ 571199 h 599055"/>
                <a:gd name="connsiteX47" fmla="*/ 563239 w 633004"/>
                <a:gd name="connsiteY47" fmla="*/ 554286 h 599055"/>
                <a:gd name="connsiteX48" fmla="*/ 554271 w 633004"/>
                <a:gd name="connsiteY48" fmla="*/ 547322 h 599055"/>
                <a:gd name="connsiteX49" fmla="*/ 528363 w 633004"/>
                <a:gd name="connsiteY49" fmla="*/ 543343 h 599055"/>
                <a:gd name="connsiteX50" fmla="*/ 480534 w 633004"/>
                <a:gd name="connsiteY50" fmla="*/ 577169 h 599055"/>
                <a:gd name="connsiteX51" fmla="*/ 426727 w 633004"/>
                <a:gd name="connsiteY51" fmla="*/ 581148 h 599055"/>
                <a:gd name="connsiteX52" fmla="*/ 399823 w 633004"/>
                <a:gd name="connsiteY52" fmla="*/ 581148 h 599055"/>
                <a:gd name="connsiteX53" fmla="*/ 341033 w 633004"/>
                <a:gd name="connsiteY53" fmla="*/ 546327 h 599055"/>
                <a:gd name="connsiteX54" fmla="*/ 350001 w 633004"/>
                <a:gd name="connsiteY54" fmla="*/ 537374 h 599055"/>
                <a:gd name="connsiteX55" fmla="*/ 337146 w 633004"/>
                <a:gd name="connsiteY55" fmla="*/ 528419 h 599055"/>
                <a:gd name="connsiteX56" fmla="*/ 333061 w 633004"/>
                <a:gd name="connsiteY56" fmla="*/ 517476 h 599055"/>
                <a:gd name="connsiteX57" fmla="*/ 325090 w 633004"/>
                <a:gd name="connsiteY57" fmla="*/ 521455 h 599055"/>
                <a:gd name="connsiteX58" fmla="*/ 316122 w 633004"/>
                <a:gd name="connsiteY58" fmla="*/ 512502 h 599055"/>
                <a:gd name="connsiteX59" fmla="*/ 305370 w 633004"/>
                <a:gd name="connsiteY59" fmla="*/ 498573 h 599055"/>
                <a:gd name="connsiteX60" fmla="*/ 302172 w 633004"/>
                <a:gd name="connsiteY60" fmla="*/ 498573 h 599055"/>
                <a:gd name="connsiteX61" fmla="*/ 293203 w 633004"/>
                <a:gd name="connsiteY61" fmla="*/ 507527 h 599055"/>
                <a:gd name="connsiteX62" fmla="*/ 237403 w 633004"/>
                <a:gd name="connsiteY62" fmla="*/ 505537 h 599055"/>
                <a:gd name="connsiteX63" fmla="*/ 120819 w 633004"/>
                <a:gd name="connsiteY63" fmla="*/ 481660 h 599055"/>
                <a:gd name="connsiteX64" fmla="*/ 26157 w 633004"/>
                <a:gd name="connsiteY64" fmla="*/ 489619 h 599055"/>
                <a:gd name="connsiteX65" fmla="*/ 24264 w 633004"/>
                <a:gd name="connsiteY65" fmla="*/ 463753 h 599055"/>
                <a:gd name="connsiteX66" fmla="*/ 43196 w 633004"/>
                <a:gd name="connsiteY66" fmla="*/ 437886 h 599055"/>
                <a:gd name="connsiteX67" fmla="*/ 43196 w 633004"/>
                <a:gd name="connsiteY67" fmla="*/ 419978 h 599055"/>
                <a:gd name="connsiteX68" fmla="*/ 36221 w 633004"/>
                <a:gd name="connsiteY68" fmla="*/ 397096 h 599055"/>
                <a:gd name="connsiteX69" fmla="*/ 43296 w 633004"/>
                <a:gd name="connsiteY69" fmla="*/ 382173 h 599055"/>
                <a:gd name="connsiteX70" fmla="*/ 40207 w 633004"/>
                <a:gd name="connsiteY70" fmla="*/ 365260 h 599055"/>
                <a:gd name="connsiteX71" fmla="*/ 52264 w 633004"/>
                <a:gd name="connsiteY71" fmla="*/ 346358 h 599055"/>
                <a:gd name="connsiteX72" fmla="*/ 62228 w 633004"/>
                <a:gd name="connsiteY72" fmla="*/ 317506 h 599055"/>
                <a:gd name="connsiteX73" fmla="*/ 62228 w 633004"/>
                <a:gd name="connsiteY73" fmla="*/ 303578 h 599055"/>
                <a:gd name="connsiteX74" fmla="*/ 64221 w 633004"/>
                <a:gd name="connsiteY74" fmla="*/ 271742 h 599055"/>
                <a:gd name="connsiteX75" fmla="*/ 56250 w 633004"/>
                <a:gd name="connsiteY75" fmla="*/ 272737 h 599055"/>
                <a:gd name="connsiteX76" fmla="*/ 47282 w 633004"/>
                <a:gd name="connsiteY76" fmla="*/ 243886 h 599055"/>
                <a:gd name="connsiteX77" fmla="*/ 40307 w 633004"/>
                <a:gd name="connsiteY77" fmla="*/ 224983 h 599055"/>
                <a:gd name="connsiteX78" fmla="*/ 30342 w 633004"/>
                <a:gd name="connsiteY78" fmla="*/ 196131 h 599055"/>
                <a:gd name="connsiteX79" fmla="*/ 17289 w 633004"/>
                <a:gd name="connsiteY79" fmla="*/ 167280 h 599055"/>
                <a:gd name="connsiteX80" fmla="*/ 449 w 633004"/>
                <a:gd name="connsiteY80" fmla="*/ 131465 h 599055"/>
                <a:gd name="connsiteX81" fmla="*/ 250 w 633004"/>
                <a:gd name="connsiteY81" fmla="*/ 48890 h 5990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633004" h="599055">
                  <a:moveTo>
                    <a:pt x="250" y="48890"/>
                  </a:moveTo>
                  <a:lnTo>
                    <a:pt x="250" y="141"/>
                  </a:lnTo>
                  <a:cubicBezTo>
                    <a:pt x="116136" y="-754"/>
                    <a:pt x="234214" y="2927"/>
                    <a:pt x="350001" y="2131"/>
                  </a:cubicBezTo>
                  <a:cubicBezTo>
                    <a:pt x="359965" y="141"/>
                    <a:pt x="376306" y="8001"/>
                    <a:pt x="373915" y="20039"/>
                  </a:cubicBezTo>
                  <a:cubicBezTo>
                    <a:pt x="359965" y="27102"/>
                    <a:pt x="358869" y="41429"/>
                    <a:pt x="375908" y="43916"/>
                  </a:cubicBezTo>
                  <a:cubicBezTo>
                    <a:pt x="364847" y="52770"/>
                    <a:pt x="375908" y="66201"/>
                    <a:pt x="381887" y="74757"/>
                  </a:cubicBezTo>
                  <a:cubicBezTo>
                    <a:pt x="372819" y="73563"/>
                    <a:pt x="375609" y="80726"/>
                    <a:pt x="375908" y="86695"/>
                  </a:cubicBezTo>
                  <a:lnTo>
                    <a:pt x="386869" y="88685"/>
                  </a:lnTo>
                  <a:cubicBezTo>
                    <a:pt x="385374" y="95550"/>
                    <a:pt x="383381" y="101519"/>
                    <a:pt x="392847" y="101618"/>
                  </a:cubicBezTo>
                  <a:cubicBezTo>
                    <a:pt x="389260" y="114552"/>
                    <a:pt x="383680" y="123705"/>
                    <a:pt x="368933" y="121516"/>
                  </a:cubicBezTo>
                  <a:cubicBezTo>
                    <a:pt x="368933" y="122013"/>
                    <a:pt x="378897" y="137732"/>
                    <a:pt x="378897" y="137434"/>
                  </a:cubicBezTo>
                  <a:cubicBezTo>
                    <a:pt x="377004" y="139722"/>
                    <a:pt x="371524" y="144796"/>
                    <a:pt x="373018" y="148378"/>
                  </a:cubicBezTo>
                  <a:cubicBezTo>
                    <a:pt x="370338" y="152645"/>
                    <a:pt x="365944" y="155551"/>
                    <a:pt x="360961" y="156336"/>
                  </a:cubicBezTo>
                  <a:cubicBezTo>
                    <a:pt x="361759" y="161410"/>
                    <a:pt x="356776" y="167380"/>
                    <a:pt x="352990" y="170265"/>
                  </a:cubicBezTo>
                  <a:cubicBezTo>
                    <a:pt x="350459" y="174851"/>
                    <a:pt x="344989" y="176950"/>
                    <a:pt x="340036" y="175239"/>
                  </a:cubicBezTo>
                  <a:cubicBezTo>
                    <a:pt x="336748" y="179617"/>
                    <a:pt x="340036" y="185188"/>
                    <a:pt x="343025" y="189168"/>
                  </a:cubicBezTo>
                  <a:cubicBezTo>
                    <a:pt x="334157" y="188471"/>
                    <a:pt x="333858" y="197624"/>
                    <a:pt x="333061" y="204091"/>
                  </a:cubicBezTo>
                  <a:cubicBezTo>
                    <a:pt x="324791" y="206279"/>
                    <a:pt x="323097" y="212149"/>
                    <a:pt x="327979" y="219014"/>
                  </a:cubicBezTo>
                  <a:cubicBezTo>
                    <a:pt x="319011" y="219014"/>
                    <a:pt x="316919" y="227371"/>
                    <a:pt x="319111" y="234931"/>
                  </a:cubicBezTo>
                  <a:cubicBezTo>
                    <a:pt x="314477" y="241498"/>
                    <a:pt x="314477" y="250253"/>
                    <a:pt x="319111" y="256819"/>
                  </a:cubicBezTo>
                  <a:cubicBezTo>
                    <a:pt x="311936" y="263087"/>
                    <a:pt x="292605" y="257714"/>
                    <a:pt x="309146" y="270747"/>
                  </a:cubicBezTo>
                  <a:cubicBezTo>
                    <a:pt x="297887" y="285372"/>
                    <a:pt x="321801" y="287958"/>
                    <a:pt x="303168" y="299598"/>
                  </a:cubicBezTo>
                  <a:cubicBezTo>
                    <a:pt x="381787" y="299598"/>
                    <a:pt x="464890" y="299598"/>
                    <a:pt x="543310" y="298604"/>
                  </a:cubicBezTo>
                  <a:cubicBezTo>
                    <a:pt x="539025" y="321187"/>
                    <a:pt x="522883" y="342378"/>
                    <a:pt x="535438" y="365260"/>
                  </a:cubicBezTo>
                  <a:cubicBezTo>
                    <a:pt x="554869" y="377298"/>
                    <a:pt x="548791" y="409930"/>
                    <a:pt x="568221" y="418983"/>
                  </a:cubicBezTo>
                  <a:cubicBezTo>
                    <a:pt x="555965" y="422665"/>
                    <a:pt x="548292" y="435797"/>
                    <a:pt x="536335" y="438881"/>
                  </a:cubicBezTo>
                  <a:cubicBezTo>
                    <a:pt x="536335" y="439378"/>
                    <a:pt x="527068" y="441368"/>
                    <a:pt x="528363" y="442860"/>
                  </a:cubicBezTo>
                  <a:cubicBezTo>
                    <a:pt x="526969" y="448829"/>
                    <a:pt x="527367" y="453705"/>
                    <a:pt x="534442" y="454799"/>
                  </a:cubicBezTo>
                  <a:cubicBezTo>
                    <a:pt x="541517" y="455893"/>
                    <a:pt x="545701" y="464748"/>
                    <a:pt x="553274" y="464748"/>
                  </a:cubicBezTo>
                  <a:cubicBezTo>
                    <a:pt x="560848" y="464748"/>
                    <a:pt x="561146" y="451814"/>
                    <a:pt x="562242" y="446840"/>
                  </a:cubicBezTo>
                  <a:cubicBezTo>
                    <a:pt x="569496" y="438692"/>
                    <a:pt x="580298" y="434603"/>
                    <a:pt x="591139" y="435896"/>
                  </a:cubicBezTo>
                  <a:cubicBezTo>
                    <a:pt x="596859" y="430305"/>
                    <a:pt x="603635" y="425908"/>
                    <a:pt x="611068" y="422963"/>
                  </a:cubicBezTo>
                  <a:cubicBezTo>
                    <a:pt x="613360" y="436095"/>
                    <a:pt x="603694" y="449626"/>
                    <a:pt x="605090" y="462758"/>
                  </a:cubicBezTo>
                  <a:cubicBezTo>
                    <a:pt x="602001" y="467036"/>
                    <a:pt x="596022" y="475194"/>
                    <a:pt x="600107" y="480666"/>
                  </a:cubicBezTo>
                  <a:lnTo>
                    <a:pt x="584164" y="478676"/>
                  </a:lnTo>
                  <a:cubicBezTo>
                    <a:pt x="586755" y="492604"/>
                    <a:pt x="579680" y="492604"/>
                    <a:pt x="571211" y="498573"/>
                  </a:cubicBezTo>
                  <a:cubicBezTo>
                    <a:pt x="567822" y="493002"/>
                    <a:pt x="562641" y="499369"/>
                    <a:pt x="559253" y="501558"/>
                  </a:cubicBezTo>
                  <a:cubicBezTo>
                    <a:pt x="564136" y="508622"/>
                    <a:pt x="562242" y="519565"/>
                    <a:pt x="567225" y="526430"/>
                  </a:cubicBezTo>
                  <a:cubicBezTo>
                    <a:pt x="575874" y="530837"/>
                    <a:pt x="585420" y="533225"/>
                    <a:pt x="595125" y="533394"/>
                  </a:cubicBezTo>
                  <a:cubicBezTo>
                    <a:pt x="598414" y="537473"/>
                    <a:pt x="603595" y="542049"/>
                    <a:pt x="609075" y="539363"/>
                  </a:cubicBezTo>
                  <a:cubicBezTo>
                    <a:pt x="613061" y="543044"/>
                    <a:pt x="620335" y="551401"/>
                    <a:pt x="620036" y="557271"/>
                  </a:cubicBezTo>
                  <a:cubicBezTo>
                    <a:pt x="625816" y="557271"/>
                    <a:pt x="633388" y="557271"/>
                    <a:pt x="632990" y="565230"/>
                  </a:cubicBezTo>
                  <a:cubicBezTo>
                    <a:pt x="630299" y="575776"/>
                    <a:pt x="613061" y="578462"/>
                    <a:pt x="617047" y="590102"/>
                  </a:cubicBezTo>
                  <a:cubicBezTo>
                    <a:pt x="594627" y="578561"/>
                    <a:pt x="601901" y="581546"/>
                    <a:pt x="584164" y="599056"/>
                  </a:cubicBezTo>
                  <a:lnTo>
                    <a:pt x="584164" y="587117"/>
                  </a:lnTo>
                  <a:cubicBezTo>
                    <a:pt x="588837" y="583028"/>
                    <a:pt x="589306" y="575925"/>
                    <a:pt x="585211" y="571249"/>
                  </a:cubicBezTo>
                  <a:cubicBezTo>
                    <a:pt x="585190" y="571239"/>
                    <a:pt x="585180" y="571219"/>
                    <a:pt x="585161" y="571199"/>
                  </a:cubicBezTo>
                  <a:cubicBezTo>
                    <a:pt x="577488" y="566921"/>
                    <a:pt x="574001" y="554784"/>
                    <a:pt x="563239" y="554286"/>
                  </a:cubicBezTo>
                  <a:cubicBezTo>
                    <a:pt x="559153" y="554784"/>
                    <a:pt x="555965" y="550506"/>
                    <a:pt x="554271" y="547322"/>
                  </a:cubicBezTo>
                  <a:cubicBezTo>
                    <a:pt x="548193" y="546029"/>
                    <a:pt x="534342" y="544139"/>
                    <a:pt x="528363" y="543343"/>
                  </a:cubicBezTo>
                  <a:cubicBezTo>
                    <a:pt x="512221" y="552097"/>
                    <a:pt x="496776" y="567717"/>
                    <a:pt x="480534" y="577169"/>
                  </a:cubicBezTo>
                  <a:cubicBezTo>
                    <a:pt x="462867" y="580989"/>
                    <a:pt x="444762" y="582322"/>
                    <a:pt x="426727" y="581148"/>
                  </a:cubicBezTo>
                  <a:cubicBezTo>
                    <a:pt x="417938" y="583685"/>
                    <a:pt x="408611" y="583685"/>
                    <a:pt x="399823" y="581148"/>
                  </a:cubicBezTo>
                  <a:cubicBezTo>
                    <a:pt x="398926" y="558166"/>
                    <a:pt x="353388" y="564733"/>
                    <a:pt x="341033" y="546327"/>
                  </a:cubicBezTo>
                  <a:cubicBezTo>
                    <a:pt x="343623" y="544636"/>
                    <a:pt x="349502" y="540756"/>
                    <a:pt x="350001" y="537374"/>
                  </a:cubicBezTo>
                  <a:cubicBezTo>
                    <a:pt x="344859" y="535861"/>
                    <a:pt x="340345" y="532717"/>
                    <a:pt x="337146" y="528419"/>
                  </a:cubicBezTo>
                  <a:cubicBezTo>
                    <a:pt x="341631" y="525733"/>
                    <a:pt x="334356" y="519963"/>
                    <a:pt x="333061" y="517476"/>
                  </a:cubicBezTo>
                  <a:lnTo>
                    <a:pt x="325090" y="521455"/>
                  </a:lnTo>
                  <a:cubicBezTo>
                    <a:pt x="322618" y="517993"/>
                    <a:pt x="319589" y="514969"/>
                    <a:pt x="316122" y="512502"/>
                  </a:cubicBezTo>
                  <a:cubicBezTo>
                    <a:pt x="317008" y="505687"/>
                    <a:pt x="312186" y="499459"/>
                    <a:pt x="305370" y="498573"/>
                  </a:cubicBezTo>
                  <a:cubicBezTo>
                    <a:pt x="304304" y="498434"/>
                    <a:pt x="303228" y="498434"/>
                    <a:pt x="302172" y="498573"/>
                  </a:cubicBezTo>
                  <a:cubicBezTo>
                    <a:pt x="313631" y="460470"/>
                    <a:pt x="239794" y="495489"/>
                    <a:pt x="293203" y="507527"/>
                  </a:cubicBezTo>
                  <a:cubicBezTo>
                    <a:pt x="280549" y="539662"/>
                    <a:pt x="259324" y="497579"/>
                    <a:pt x="237403" y="505537"/>
                  </a:cubicBezTo>
                  <a:cubicBezTo>
                    <a:pt x="201033" y="525435"/>
                    <a:pt x="156193" y="490415"/>
                    <a:pt x="120819" y="481660"/>
                  </a:cubicBezTo>
                  <a:cubicBezTo>
                    <a:pt x="93616" y="475691"/>
                    <a:pt x="51068" y="475691"/>
                    <a:pt x="26157" y="489619"/>
                  </a:cubicBezTo>
                  <a:cubicBezTo>
                    <a:pt x="18086" y="473900"/>
                    <a:pt x="8520" y="478576"/>
                    <a:pt x="24264" y="463753"/>
                  </a:cubicBezTo>
                  <a:cubicBezTo>
                    <a:pt x="30043" y="456192"/>
                    <a:pt x="33531" y="443059"/>
                    <a:pt x="43196" y="437886"/>
                  </a:cubicBezTo>
                  <a:cubicBezTo>
                    <a:pt x="43196" y="433210"/>
                    <a:pt x="43196" y="424654"/>
                    <a:pt x="43196" y="419978"/>
                  </a:cubicBezTo>
                  <a:cubicBezTo>
                    <a:pt x="42300" y="412119"/>
                    <a:pt x="43196" y="402667"/>
                    <a:pt x="36221" y="397096"/>
                  </a:cubicBezTo>
                  <a:cubicBezTo>
                    <a:pt x="37118" y="392321"/>
                    <a:pt x="37915" y="384163"/>
                    <a:pt x="43296" y="382173"/>
                  </a:cubicBezTo>
                  <a:cubicBezTo>
                    <a:pt x="43077" y="376413"/>
                    <a:pt x="42041" y="370722"/>
                    <a:pt x="40207" y="365260"/>
                  </a:cubicBezTo>
                  <a:cubicBezTo>
                    <a:pt x="44890" y="359987"/>
                    <a:pt x="46285" y="350835"/>
                    <a:pt x="52264" y="346358"/>
                  </a:cubicBezTo>
                  <a:cubicBezTo>
                    <a:pt x="53958" y="336409"/>
                    <a:pt x="60933" y="327753"/>
                    <a:pt x="62228" y="317506"/>
                  </a:cubicBezTo>
                  <a:cubicBezTo>
                    <a:pt x="65158" y="313328"/>
                    <a:pt x="65158" y="307756"/>
                    <a:pt x="62228" y="303578"/>
                  </a:cubicBezTo>
                  <a:cubicBezTo>
                    <a:pt x="67011" y="294127"/>
                    <a:pt x="63823" y="281691"/>
                    <a:pt x="64221" y="271742"/>
                  </a:cubicBezTo>
                  <a:cubicBezTo>
                    <a:pt x="61541" y="271891"/>
                    <a:pt x="58880" y="272220"/>
                    <a:pt x="56250" y="272737"/>
                  </a:cubicBezTo>
                  <a:cubicBezTo>
                    <a:pt x="56848" y="256122"/>
                    <a:pt x="42997" y="259903"/>
                    <a:pt x="47282" y="243886"/>
                  </a:cubicBezTo>
                  <a:cubicBezTo>
                    <a:pt x="47282" y="235429"/>
                    <a:pt x="33431" y="231748"/>
                    <a:pt x="40307" y="224983"/>
                  </a:cubicBezTo>
                  <a:cubicBezTo>
                    <a:pt x="22570" y="220904"/>
                    <a:pt x="29445" y="208965"/>
                    <a:pt x="30342" y="196131"/>
                  </a:cubicBezTo>
                  <a:cubicBezTo>
                    <a:pt x="26586" y="186262"/>
                    <a:pt x="22221" y="176622"/>
                    <a:pt x="17289" y="167280"/>
                  </a:cubicBezTo>
                  <a:cubicBezTo>
                    <a:pt x="848" y="163997"/>
                    <a:pt x="-1145" y="145094"/>
                    <a:pt x="449" y="131465"/>
                  </a:cubicBezTo>
                  <a:cubicBezTo>
                    <a:pt x="250" y="105897"/>
                    <a:pt x="250" y="74459"/>
                    <a:pt x="250" y="48890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82" name="Freeform: Shape 1681">
              <a:extLst>
                <a:ext uri="{FF2B5EF4-FFF2-40B4-BE49-F238E27FC236}">
                  <a16:creationId xmlns:a16="http://schemas.microsoft.com/office/drawing/2014/main" id="{92CF2A10-E328-42A3-B019-01F559B7ECEC}"/>
                </a:ext>
              </a:extLst>
            </p:cNvPr>
            <p:cNvSpPr/>
            <p:nvPr/>
          </p:nvSpPr>
          <p:spPr>
            <a:xfrm>
              <a:off x="3455389" y="1183538"/>
              <a:ext cx="993451" cy="772022"/>
            </a:xfrm>
            <a:custGeom>
              <a:avLst/>
              <a:gdLst>
                <a:gd name="connsiteX0" fmla="*/ 0 w 993451"/>
                <a:gd name="connsiteY0" fmla="*/ 476545 h 772022"/>
                <a:gd name="connsiteX1" fmla="*/ 59786 w 993451"/>
                <a:gd name="connsiteY1" fmla="*/ 435755 h 772022"/>
                <a:gd name="connsiteX2" fmla="*/ 78719 w 993451"/>
                <a:gd name="connsiteY2" fmla="*/ 425806 h 772022"/>
                <a:gd name="connsiteX3" fmla="*/ 89680 w 993451"/>
                <a:gd name="connsiteY3" fmla="*/ 404914 h 772022"/>
                <a:gd name="connsiteX4" fmla="*/ 112598 w 993451"/>
                <a:gd name="connsiteY4" fmla="*/ 381037 h 772022"/>
                <a:gd name="connsiteX5" fmla="*/ 106719 w 993451"/>
                <a:gd name="connsiteY5" fmla="*/ 363129 h 772022"/>
                <a:gd name="connsiteX6" fmla="*/ 94762 w 993451"/>
                <a:gd name="connsiteY6" fmla="*/ 342237 h 772022"/>
                <a:gd name="connsiteX7" fmla="*/ 87786 w 993451"/>
                <a:gd name="connsiteY7" fmla="*/ 330298 h 772022"/>
                <a:gd name="connsiteX8" fmla="*/ 86690 w 993451"/>
                <a:gd name="connsiteY8" fmla="*/ 306421 h 772022"/>
                <a:gd name="connsiteX9" fmla="*/ 251103 w 993451"/>
                <a:gd name="connsiteY9" fmla="*/ 293488 h 772022"/>
                <a:gd name="connsiteX10" fmla="*/ 283986 w 993451"/>
                <a:gd name="connsiteY10" fmla="*/ 308411 h 772022"/>
                <a:gd name="connsiteX11" fmla="*/ 346761 w 993451"/>
                <a:gd name="connsiteY11" fmla="*/ 305426 h 772022"/>
                <a:gd name="connsiteX12" fmla="*/ 381637 w 993451"/>
                <a:gd name="connsiteY12" fmla="*/ 293488 h 772022"/>
                <a:gd name="connsiteX13" fmla="*/ 393594 w 993451"/>
                <a:gd name="connsiteY13" fmla="*/ 280555 h 772022"/>
                <a:gd name="connsiteX14" fmla="*/ 426477 w 993451"/>
                <a:gd name="connsiteY14" fmla="*/ 261652 h 772022"/>
                <a:gd name="connsiteX15" fmla="*/ 426477 w 993451"/>
                <a:gd name="connsiteY15" fmla="*/ 260657 h 772022"/>
                <a:gd name="connsiteX16" fmla="*/ 446405 w 993451"/>
                <a:gd name="connsiteY16" fmla="*/ 221857 h 772022"/>
                <a:gd name="connsiteX17" fmla="*/ 417509 w 993451"/>
                <a:gd name="connsiteY17" fmla="*/ 198975 h 772022"/>
                <a:gd name="connsiteX18" fmla="*/ 437438 w 993451"/>
                <a:gd name="connsiteY18" fmla="*/ 183057 h 772022"/>
                <a:gd name="connsiteX19" fmla="*/ 427673 w 993451"/>
                <a:gd name="connsiteY19" fmla="*/ 172909 h 772022"/>
                <a:gd name="connsiteX20" fmla="*/ 425480 w 993451"/>
                <a:gd name="connsiteY20" fmla="*/ 173108 h 772022"/>
                <a:gd name="connsiteX21" fmla="*/ 436541 w 993451"/>
                <a:gd name="connsiteY21" fmla="*/ 143262 h 772022"/>
                <a:gd name="connsiteX22" fmla="*/ 452384 w 993451"/>
                <a:gd name="connsiteY22" fmla="*/ 136298 h 772022"/>
                <a:gd name="connsiteX23" fmla="*/ 460456 w 993451"/>
                <a:gd name="connsiteY23" fmla="*/ 126349 h 772022"/>
                <a:gd name="connsiteX24" fmla="*/ 479288 w 993451"/>
                <a:gd name="connsiteY24" fmla="*/ 117395 h 772022"/>
                <a:gd name="connsiteX25" fmla="*/ 502206 w 993451"/>
                <a:gd name="connsiteY25" fmla="*/ 88544 h 772022"/>
                <a:gd name="connsiteX26" fmla="*/ 619886 w 993451"/>
                <a:gd name="connsiteY26" fmla="*/ 0 h 772022"/>
                <a:gd name="connsiteX27" fmla="*/ 807117 w 993451"/>
                <a:gd name="connsiteY27" fmla="*/ 995 h 772022"/>
                <a:gd name="connsiteX28" fmla="*/ 802135 w 993451"/>
                <a:gd name="connsiteY28" fmla="*/ 27857 h 772022"/>
                <a:gd name="connsiteX29" fmla="*/ 808114 w 993451"/>
                <a:gd name="connsiteY29" fmla="*/ 37805 h 772022"/>
                <a:gd name="connsiteX30" fmla="*/ 801139 w 993451"/>
                <a:gd name="connsiteY30" fmla="*/ 69641 h 772022"/>
                <a:gd name="connsiteX31" fmla="*/ 811103 w 993451"/>
                <a:gd name="connsiteY31" fmla="*/ 89539 h 772022"/>
                <a:gd name="connsiteX32" fmla="*/ 810206 w 993451"/>
                <a:gd name="connsiteY32" fmla="*/ 132318 h 772022"/>
                <a:gd name="connsiteX33" fmla="*/ 795259 w 993451"/>
                <a:gd name="connsiteY33" fmla="*/ 171118 h 772022"/>
                <a:gd name="connsiteX34" fmla="*/ 799146 w 993451"/>
                <a:gd name="connsiteY34" fmla="*/ 191016 h 772022"/>
                <a:gd name="connsiteX35" fmla="*/ 806121 w 993451"/>
                <a:gd name="connsiteY35" fmla="*/ 218872 h 772022"/>
                <a:gd name="connsiteX36" fmla="*/ 800142 w 993451"/>
                <a:gd name="connsiteY36" fmla="*/ 253693 h 772022"/>
                <a:gd name="connsiteX37" fmla="*/ 809110 w 993451"/>
                <a:gd name="connsiteY37" fmla="*/ 243744 h 772022"/>
                <a:gd name="connsiteX38" fmla="*/ 818078 w 993451"/>
                <a:gd name="connsiteY38" fmla="*/ 297468 h 772022"/>
                <a:gd name="connsiteX39" fmla="*/ 813196 w 993451"/>
                <a:gd name="connsiteY39" fmla="*/ 386011 h 772022"/>
                <a:gd name="connsiteX40" fmla="*/ 789181 w 993451"/>
                <a:gd name="connsiteY40" fmla="*/ 513355 h 772022"/>
                <a:gd name="connsiteX41" fmla="*/ 783203 w 993451"/>
                <a:gd name="connsiteY41" fmla="*/ 601899 h 772022"/>
                <a:gd name="connsiteX42" fmla="*/ 789181 w 993451"/>
                <a:gd name="connsiteY42" fmla="*/ 654627 h 772022"/>
                <a:gd name="connsiteX43" fmla="*/ 758292 w 993451"/>
                <a:gd name="connsiteY43" fmla="*/ 673530 h 772022"/>
                <a:gd name="connsiteX44" fmla="*/ 767259 w 993451"/>
                <a:gd name="connsiteY44" fmla="*/ 692433 h 772022"/>
                <a:gd name="connsiteX45" fmla="*/ 753310 w 993451"/>
                <a:gd name="connsiteY45" fmla="*/ 709345 h 772022"/>
                <a:gd name="connsiteX46" fmla="*/ 787188 w 993451"/>
                <a:gd name="connsiteY46" fmla="*/ 703376 h 772022"/>
                <a:gd name="connsiteX47" fmla="*/ 795160 w 993451"/>
                <a:gd name="connsiteY47" fmla="*/ 700392 h 772022"/>
                <a:gd name="connsiteX48" fmla="*/ 820071 w 993451"/>
                <a:gd name="connsiteY48" fmla="*/ 705366 h 772022"/>
                <a:gd name="connsiteX49" fmla="*/ 831032 w 993451"/>
                <a:gd name="connsiteY49" fmla="*/ 701386 h 772022"/>
                <a:gd name="connsiteX50" fmla="*/ 836014 w 993451"/>
                <a:gd name="connsiteY50" fmla="*/ 694422 h 772022"/>
                <a:gd name="connsiteX51" fmla="*/ 951601 w 993451"/>
                <a:gd name="connsiteY51" fmla="*/ 657612 h 772022"/>
                <a:gd name="connsiteX52" fmla="*/ 948712 w 993451"/>
                <a:gd name="connsiteY52" fmla="*/ 683479 h 772022"/>
                <a:gd name="connsiteX53" fmla="*/ 965551 w 993451"/>
                <a:gd name="connsiteY53" fmla="*/ 672535 h 772022"/>
                <a:gd name="connsiteX54" fmla="*/ 969079 w 993451"/>
                <a:gd name="connsiteY54" fmla="*/ 686155 h 772022"/>
                <a:gd name="connsiteX55" fmla="*/ 969637 w 993451"/>
                <a:gd name="connsiteY55" fmla="*/ 686463 h 772022"/>
                <a:gd name="connsiteX56" fmla="*/ 993452 w 993451"/>
                <a:gd name="connsiteY56" fmla="*/ 678504 h 772022"/>
                <a:gd name="connsiteX57" fmla="*/ 880954 w 993451"/>
                <a:gd name="connsiteY57" fmla="*/ 729243 h 772022"/>
                <a:gd name="connsiteX58" fmla="*/ 824057 w 993451"/>
                <a:gd name="connsiteY58" fmla="*/ 751130 h 772022"/>
                <a:gd name="connsiteX59" fmla="*/ 797153 w 993451"/>
                <a:gd name="connsiteY59" fmla="*/ 754115 h 772022"/>
                <a:gd name="connsiteX60" fmla="*/ 752313 w 993451"/>
                <a:gd name="connsiteY60" fmla="*/ 758094 h 772022"/>
                <a:gd name="connsiteX61" fmla="*/ 717437 w 993451"/>
                <a:gd name="connsiteY61" fmla="*/ 756104 h 772022"/>
                <a:gd name="connsiteX62" fmla="*/ 691530 w 993451"/>
                <a:gd name="connsiteY62" fmla="*/ 772023 h 772022"/>
                <a:gd name="connsiteX63" fmla="*/ 697509 w 993451"/>
                <a:gd name="connsiteY63" fmla="*/ 763069 h 772022"/>
                <a:gd name="connsiteX64" fmla="*/ 698505 w 993451"/>
                <a:gd name="connsiteY64" fmla="*/ 751130 h 772022"/>
                <a:gd name="connsiteX65" fmla="*/ 713552 w 993451"/>
                <a:gd name="connsiteY65" fmla="*/ 747151 h 772022"/>
                <a:gd name="connsiteX66" fmla="*/ 719430 w 993451"/>
                <a:gd name="connsiteY66" fmla="*/ 739192 h 772022"/>
                <a:gd name="connsiteX67" fmla="*/ 737366 w 993451"/>
                <a:gd name="connsiteY67" fmla="*/ 690443 h 772022"/>
                <a:gd name="connsiteX68" fmla="*/ 631744 w 993451"/>
                <a:gd name="connsiteY68" fmla="*/ 618812 h 772022"/>
                <a:gd name="connsiteX69" fmla="*/ 612811 w 993451"/>
                <a:gd name="connsiteY69" fmla="*/ 613837 h 772022"/>
                <a:gd name="connsiteX70" fmla="*/ 588997 w 993451"/>
                <a:gd name="connsiteY70" fmla="*/ 555140 h 772022"/>
                <a:gd name="connsiteX71" fmla="*/ 564982 w 993451"/>
                <a:gd name="connsiteY71" fmla="*/ 541212 h 772022"/>
                <a:gd name="connsiteX72" fmla="*/ 529110 w 993451"/>
                <a:gd name="connsiteY72" fmla="*/ 522309 h 772022"/>
                <a:gd name="connsiteX73" fmla="*/ 0 w 993451"/>
                <a:gd name="connsiteY73" fmla="*/ 522309 h 772022"/>
                <a:gd name="connsiteX74" fmla="*/ 973523 w 993451"/>
                <a:gd name="connsiteY74" fmla="*/ 643684 h 772022"/>
                <a:gd name="connsiteX75" fmla="*/ 985480 w 993451"/>
                <a:gd name="connsiteY75" fmla="*/ 641694 h 772022"/>
                <a:gd name="connsiteX76" fmla="*/ 971530 w 993451"/>
                <a:gd name="connsiteY76" fmla="*/ 650648 h 772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3451" h="772022">
                  <a:moveTo>
                    <a:pt x="0" y="476545"/>
                  </a:moveTo>
                  <a:cubicBezTo>
                    <a:pt x="21623" y="468188"/>
                    <a:pt x="40954" y="447494"/>
                    <a:pt x="59786" y="435755"/>
                  </a:cubicBezTo>
                  <a:cubicBezTo>
                    <a:pt x="64370" y="432571"/>
                    <a:pt x="74434" y="428791"/>
                    <a:pt x="78719" y="425806"/>
                  </a:cubicBezTo>
                  <a:cubicBezTo>
                    <a:pt x="80014" y="417748"/>
                    <a:pt x="89580" y="413271"/>
                    <a:pt x="89680" y="404914"/>
                  </a:cubicBezTo>
                  <a:cubicBezTo>
                    <a:pt x="98548" y="400437"/>
                    <a:pt x="118776" y="393274"/>
                    <a:pt x="112598" y="381037"/>
                  </a:cubicBezTo>
                  <a:cubicBezTo>
                    <a:pt x="111303" y="374769"/>
                    <a:pt x="104726" y="370193"/>
                    <a:pt x="106719" y="363129"/>
                  </a:cubicBezTo>
                  <a:cubicBezTo>
                    <a:pt x="99146" y="355270"/>
                    <a:pt x="89082" y="357259"/>
                    <a:pt x="94762" y="342237"/>
                  </a:cubicBezTo>
                  <a:cubicBezTo>
                    <a:pt x="88783" y="337063"/>
                    <a:pt x="83502" y="340943"/>
                    <a:pt x="87786" y="330298"/>
                  </a:cubicBezTo>
                  <a:cubicBezTo>
                    <a:pt x="91972" y="324727"/>
                    <a:pt x="88384" y="312589"/>
                    <a:pt x="86690" y="306421"/>
                  </a:cubicBezTo>
                  <a:cubicBezTo>
                    <a:pt x="139133" y="286544"/>
                    <a:pt x="196189" y="282057"/>
                    <a:pt x="251103" y="293488"/>
                  </a:cubicBezTo>
                  <a:cubicBezTo>
                    <a:pt x="259474" y="298263"/>
                    <a:pt x="274221" y="315972"/>
                    <a:pt x="283986" y="308411"/>
                  </a:cubicBezTo>
                  <a:cubicBezTo>
                    <a:pt x="304393" y="302561"/>
                    <a:pt x="325886" y="301537"/>
                    <a:pt x="346761" y="305426"/>
                  </a:cubicBezTo>
                  <a:cubicBezTo>
                    <a:pt x="359038" y="303665"/>
                    <a:pt x="370865" y="299616"/>
                    <a:pt x="381637" y="293488"/>
                  </a:cubicBezTo>
                  <a:cubicBezTo>
                    <a:pt x="386619" y="293488"/>
                    <a:pt x="391601" y="283539"/>
                    <a:pt x="393594" y="280555"/>
                  </a:cubicBezTo>
                  <a:cubicBezTo>
                    <a:pt x="403559" y="275978"/>
                    <a:pt x="414918" y="260657"/>
                    <a:pt x="426477" y="261652"/>
                  </a:cubicBezTo>
                  <a:lnTo>
                    <a:pt x="426477" y="260657"/>
                  </a:lnTo>
                  <a:cubicBezTo>
                    <a:pt x="451487" y="272894"/>
                    <a:pt x="449096" y="237178"/>
                    <a:pt x="446405" y="221857"/>
                  </a:cubicBezTo>
                  <a:cubicBezTo>
                    <a:pt x="445907" y="207431"/>
                    <a:pt x="430263" y="200069"/>
                    <a:pt x="417509" y="198975"/>
                  </a:cubicBezTo>
                  <a:cubicBezTo>
                    <a:pt x="417509" y="191712"/>
                    <a:pt x="432555" y="185743"/>
                    <a:pt x="437438" y="183057"/>
                  </a:cubicBezTo>
                  <a:cubicBezTo>
                    <a:pt x="437547" y="177565"/>
                    <a:pt x="433183" y="173019"/>
                    <a:pt x="427673" y="172909"/>
                  </a:cubicBezTo>
                  <a:cubicBezTo>
                    <a:pt x="426935" y="172889"/>
                    <a:pt x="426208" y="172959"/>
                    <a:pt x="425480" y="173108"/>
                  </a:cubicBezTo>
                  <a:cubicBezTo>
                    <a:pt x="427772" y="163159"/>
                    <a:pt x="426876" y="150724"/>
                    <a:pt x="436541" y="143262"/>
                  </a:cubicBezTo>
                  <a:cubicBezTo>
                    <a:pt x="442490" y="142904"/>
                    <a:pt x="448109" y="140436"/>
                    <a:pt x="452384" y="136298"/>
                  </a:cubicBezTo>
                  <a:cubicBezTo>
                    <a:pt x="451089" y="129931"/>
                    <a:pt x="454776" y="127742"/>
                    <a:pt x="460456" y="126349"/>
                  </a:cubicBezTo>
                  <a:cubicBezTo>
                    <a:pt x="464740" y="123066"/>
                    <a:pt x="473409" y="115306"/>
                    <a:pt x="479288" y="117395"/>
                  </a:cubicBezTo>
                  <a:cubicBezTo>
                    <a:pt x="488983" y="109595"/>
                    <a:pt x="496806" y="99736"/>
                    <a:pt x="502206" y="88544"/>
                  </a:cubicBezTo>
                  <a:cubicBezTo>
                    <a:pt x="534989" y="51733"/>
                    <a:pt x="575146" y="17211"/>
                    <a:pt x="619886" y="0"/>
                  </a:cubicBezTo>
                  <a:cubicBezTo>
                    <a:pt x="679673" y="9252"/>
                    <a:pt x="746235" y="0"/>
                    <a:pt x="807117" y="995"/>
                  </a:cubicBezTo>
                  <a:cubicBezTo>
                    <a:pt x="808353" y="10247"/>
                    <a:pt x="806599" y="19659"/>
                    <a:pt x="802135" y="27857"/>
                  </a:cubicBezTo>
                  <a:cubicBezTo>
                    <a:pt x="802962" y="31747"/>
                    <a:pt x="805064" y="35248"/>
                    <a:pt x="808114" y="37805"/>
                  </a:cubicBezTo>
                  <a:cubicBezTo>
                    <a:pt x="805214" y="48281"/>
                    <a:pt x="802882" y="58907"/>
                    <a:pt x="801139" y="69641"/>
                  </a:cubicBezTo>
                  <a:cubicBezTo>
                    <a:pt x="802862" y="76964"/>
                    <a:pt x="806270" y="83778"/>
                    <a:pt x="811103" y="89539"/>
                  </a:cubicBezTo>
                  <a:cubicBezTo>
                    <a:pt x="815886" y="103765"/>
                    <a:pt x="805124" y="117893"/>
                    <a:pt x="810206" y="132318"/>
                  </a:cubicBezTo>
                  <a:cubicBezTo>
                    <a:pt x="802633" y="144098"/>
                    <a:pt x="797541" y="157300"/>
                    <a:pt x="795259" y="171118"/>
                  </a:cubicBezTo>
                  <a:cubicBezTo>
                    <a:pt x="800839" y="176093"/>
                    <a:pt x="797452" y="184549"/>
                    <a:pt x="799146" y="191016"/>
                  </a:cubicBezTo>
                  <a:cubicBezTo>
                    <a:pt x="805921" y="200069"/>
                    <a:pt x="798149" y="210913"/>
                    <a:pt x="806121" y="218872"/>
                  </a:cubicBezTo>
                  <a:cubicBezTo>
                    <a:pt x="802633" y="228821"/>
                    <a:pt x="790776" y="244441"/>
                    <a:pt x="800142" y="253693"/>
                  </a:cubicBezTo>
                  <a:lnTo>
                    <a:pt x="809110" y="243744"/>
                  </a:lnTo>
                  <a:cubicBezTo>
                    <a:pt x="824156" y="258966"/>
                    <a:pt x="818178" y="278565"/>
                    <a:pt x="818078" y="297468"/>
                  </a:cubicBezTo>
                  <a:cubicBezTo>
                    <a:pt x="815487" y="322041"/>
                    <a:pt x="818776" y="362433"/>
                    <a:pt x="813196" y="386011"/>
                  </a:cubicBezTo>
                  <a:cubicBezTo>
                    <a:pt x="825252" y="408595"/>
                    <a:pt x="779217" y="491866"/>
                    <a:pt x="789181" y="513355"/>
                  </a:cubicBezTo>
                  <a:cubicBezTo>
                    <a:pt x="786989" y="539620"/>
                    <a:pt x="784996" y="575833"/>
                    <a:pt x="783203" y="601899"/>
                  </a:cubicBezTo>
                  <a:cubicBezTo>
                    <a:pt x="783203" y="619309"/>
                    <a:pt x="776726" y="640102"/>
                    <a:pt x="789181" y="654627"/>
                  </a:cubicBezTo>
                  <a:cubicBezTo>
                    <a:pt x="786192" y="656518"/>
                    <a:pt x="760085" y="671441"/>
                    <a:pt x="758292" y="673530"/>
                  </a:cubicBezTo>
                  <a:cubicBezTo>
                    <a:pt x="760883" y="677410"/>
                    <a:pt x="769452" y="687259"/>
                    <a:pt x="767259" y="692433"/>
                  </a:cubicBezTo>
                  <a:cubicBezTo>
                    <a:pt x="765068" y="697606"/>
                    <a:pt x="754904" y="702381"/>
                    <a:pt x="753310" y="709345"/>
                  </a:cubicBezTo>
                  <a:cubicBezTo>
                    <a:pt x="764868" y="715116"/>
                    <a:pt x="775530" y="703376"/>
                    <a:pt x="787188" y="703376"/>
                  </a:cubicBezTo>
                  <a:cubicBezTo>
                    <a:pt x="787188" y="697805"/>
                    <a:pt x="791374" y="698601"/>
                    <a:pt x="795160" y="700392"/>
                  </a:cubicBezTo>
                  <a:cubicBezTo>
                    <a:pt x="802135" y="694223"/>
                    <a:pt x="812199" y="704570"/>
                    <a:pt x="820071" y="705366"/>
                  </a:cubicBezTo>
                  <a:cubicBezTo>
                    <a:pt x="823807" y="704272"/>
                    <a:pt x="827464" y="702948"/>
                    <a:pt x="831032" y="701386"/>
                  </a:cubicBezTo>
                  <a:cubicBezTo>
                    <a:pt x="831441" y="698382"/>
                    <a:pt x="833303" y="695775"/>
                    <a:pt x="836014" y="694422"/>
                  </a:cubicBezTo>
                  <a:cubicBezTo>
                    <a:pt x="911445" y="700889"/>
                    <a:pt x="896398" y="684474"/>
                    <a:pt x="951601" y="657612"/>
                  </a:cubicBezTo>
                  <a:cubicBezTo>
                    <a:pt x="954391" y="667561"/>
                    <a:pt x="929580" y="676714"/>
                    <a:pt x="948712" y="683479"/>
                  </a:cubicBezTo>
                  <a:cubicBezTo>
                    <a:pt x="959672" y="682782"/>
                    <a:pt x="955288" y="666566"/>
                    <a:pt x="965551" y="672535"/>
                  </a:cubicBezTo>
                  <a:cubicBezTo>
                    <a:pt x="962761" y="677271"/>
                    <a:pt x="964336" y="683369"/>
                    <a:pt x="969079" y="686155"/>
                  </a:cubicBezTo>
                  <a:cubicBezTo>
                    <a:pt x="969258" y="686264"/>
                    <a:pt x="969447" y="686364"/>
                    <a:pt x="969637" y="686463"/>
                  </a:cubicBezTo>
                  <a:cubicBezTo>
                    <a:pt x="975516" y="680594"/>
                    <a:pt x="984783" y="673530"/>
                    <a:pt x="993452" y="678504"/>
                  </a:cubicBezTo>
                  <a:cubicBezTo>
                    <a:pt x="965352" y="703078"/>
                    <a:pt x="915132" y="713524"/>
                    <a:pt x="880954" y="729243"/>
                  </a:cubicBezTo>
                  <a:cubicBezTo>
                    <a:pt x="863217" y="735809"/>
                    <a:pt x="842192" y="745957"/>
                    <a:pt x="824057" y="751130"/>
                  </a:cubicBezTo>
                  <a:cubicBezTo>
                    <a:pt x="815886" y="753916"/>
                    <a:pt x="804726" y="750036"/>
                    <a:pt x="797153" y="754115"/>
                  </a:cubicBezTo>
                  <a:cubicBezTo>
                    <a:pt x="782615" y="758363"/>
                    <a:pt x="767379" y="759716"/>
                    <a:pt x="752313" y="758094"/>
                  </a:cubicBezTo>
                  <a:cubicBezTo>
                    <a:pt x="735075" y="763864"/>
                    <a:pt x="733181" y="770033"/>
                    <a:pt x="717437" y="756104"/>
                  </a:cubicBezTo>
                  <a:cubicBezTo>
                    <a:pt x="711977" y="765367"/>
                    <a:pt x="702272" y="771326"/>
                    <a:pt x="691530" y="772023"/>
                  </a:cubicBezTo>
                  <a:cubicBezTo>
                    <a:pt x="691530" y="767944"/>
                    <a:pt x="692726" y="763467"/>
                    <a:pt x="697509" y="763069"/>
                  </a:cubicBezTo>
                  <a:cubicBezTo>
                    <a:pt x="698386" y="759149"/>
                    <a:pt x="698715" y="755139"/>
                    <a:pt x="698505" y="751130"/>
                  </a:cubicBezTo>
                  <a:cubicBezTo>
                    <a:pt x="703159" y="748703"/>
                    <a:pt x="708300" y="747340"/>
                    <a:pt x="713552" y="747151"/>
                  </a:cubicBezTo>
                  <a:cubicBezTo>
                    <a:pt x="715734" y="744663"/>
                    <a:pt x="717696" y="742007"/>
                    <a:pt x="719430" y="739192"/>
                  </a:cubicBezTo>
                  <a:cubicBezTo>
                    <a:pt x="725010" y="722975"/>
                    <a:pt x="736071" y="708251"/>
                    <a:pt x="737366" y="690443"/>
                  </a:cubicBezTo>
                  <a:cubicBezTo>
                    <a:pt x="710164" y="669948"/>
                    <a:pt x="646292" y="646967"/>
                    <a:pt x="631744" y="618812"/>
                  </a:cubicBezTo>
                  <a:cubicBezTo>
                    <a:pt x="625197" y="618265"/>
                    <a:pt x="618790" y="616573"/>
                    <a:pt x="612811" y="613837"/>
                  </a:cubicBezTo>
                  <a:cubicBezTo>
                    <a:pt x="586007" y="605282"/>
                    <a:pt x="595673" y="575336"/>
                    <a:pt x="588997" y="555140"/>
                  </a:cubicBezTo>
                  <a:cubicBezTo>
                    <a:pt x="584313" y="546982"/>
                    <a:pt x="572953" y="544694"/>
                    <a:pt x="564982" y="541212"/>
                  </a:cubicBezTo>
                  <a:cubicBezTo>
                    <a:pt x="563089" y="520518"/>
                    <a:pt x="545053" y="521911"/>
                    <a:pt x="529110" y="522309"/>
                  </a:cubicBezTo>
                  <a:lnTo>
                    <a:pt x="0" y="522309"/>
                  </a:lnTo>
                  <a:close/>
                  <a:moveTo>
                    <a:pt x="973523" y="643684"/>
                  </a:moveTo>
                  <a:lnTo>
                    <a:pt x="985480" y="641694"/>
                  </a:lnTo>
                  <a:cubicBezTo>
                    <a:pt x="990861" y="650548"/>
                    <a:pt x="975516" y="648658"/>
                    <a:pt x="971530" y="650648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683" name="Freeform: Shape 1682">
              <a:extLst>
                <a:ext uri="{FF2B5EF4-FFF2-40B4-BE49-F238E27FC236}">
                  <a16:creationId xmlns:a16="http://schemas.microsoft.com/office/drawing/2014/main" id="{C5F92617-6021-45D5-95A4-92026FB42EA6}"/>
                </a:ext>
              </a:extLst>
            </p:cNvPr>
            <p:cNvSpPr/>
            <p:nvPr/>
          </p:nvSpPr>
          <p:spPr>
            <a:xfrm>
              <a:off x="2115176" y="599546"/>
              <a:ext cx="1006504" cy="1157038"/>
            </a:xfrm>
            <a:custGeom>
              <a:avLst/>
              <a:gdLst>
                <a:gd name="connsiteX0" fmla="*/ 0 w 1006504"/>
                <a:gd name="connsiteY0" fmla="*/ 304432 h 1157038"/>
                <a:gd name="connsiteX1" fmla="*/ 46833 w 1006504"/>
                <a:gd name="connsiteY1" fmla="*/ 285529 h 1157038"/>
                <a:gd name="connsiteX2" fmla="*/ 87687 w 1006504"/>
                <a:gd name="connsiteY2" fmla="*/ 256678 h 1157038"/>
                <a:gd name="connsiteX3" fmla="*/ 149466 w 1006504"/>
                <a:gd name="connsiteY3" fmla="*/ 240760 h 1157038"/>
                <a:gd name="connsiteX4" fmla="*/ 174477 w 1006504"/>
                <a:gd name="connsiteY4" fmla="*/ 224842 h 1157038"/>
                <a:gd name="connsiteX5" fmla="*/ 192313 w 1006504"/>
                <a:gd name="connsiteY5" fmla="*/ 206934 h 1157038"/>
                <a:gd name="connsiteX6" fmla="*/ 230178 w 1006504"/>
                <a:gd name="connsiteY6" fmla="*/ 180072 h 1157038"/>
                <a:gd name="connsiteX7" fmla="*/ 343872 w 1006504"/>
                <a:gd name="connsiteY7" fmla="*/ 140277 h 1157038"/>
                <a:gd name="connsiteX8" fmla="*/ 310889 w 1006504"/>
                <a:gd name="connsiteY8" fmla="*/ 153211 h 1157038"/>
                <a:gd name="connsiteX9" fmla="*/ 302848 w 1006504"/>
                <a:gd name="connsiteY9" fmla="*/ 167905 h 1157038"/>
                <a:gd name="connsiteX10" fmla="*/ 301921 w 1006504"/>
                <a:gd name="connsiteY10" fmla="*/ 168134 h 1157038"/>
                <a:gd name="connsiteX11" fmla="*/ 279003 w 1006504"/>
                <a:gd name="connsiteY11" fmla="*/ 186041 h 1157038"/>
                <a:gd name="connsiteX12" fmla="*/ 261067 w 1006504"/>
                <a:gd name="connsiteY12" fmla="*/ 209918 h 1157038"/>
                <a:gd name="connsiteX13" fmla="*/ 243132 w 1006504"/>
                <a:gd name="connsiteY13" fmla="*/ 252698 h 1157038"/>
                <a:gd name="connsiteX14" fmla="*/ 285978 w 1006504"/>
                <a:gd name="connsiteY14" fmla="*/ 230811 h 1157038"/>
                <a:gd name="connsiteX15" fmla="*/ 315872 w 1006504"/>
                <a:gd name="connsiteY15" fmla="*/ 241754 h 1157038"/>
                <a:gd name="connsiteX16" fmla="*/ 357622 w 1006504"/>
                <a:gd name="connsiteY16" fmla="*/ 276575 h 1157038"/>
                <a:gd name="connsiteX17" fmla="*/ 383530 w 1006504"/>
                <a:gd name="connsiteY17" fmla="*/ 315375 h 1157038"/>
                <a:gd name="connsiteX18" fmla="*/ 432356 w 1006504"/>
                <a:gd name="connsiteY18" fmla="*/ 311396 h 1157038"/>
                <a:gd name="connsiteX19" fmla="*/ 467231 w 1006504"/>
                <a:gd name="connsiteY19" fmla="*/ 306421 h 1157038"/>
                <a:gd name="connsiteX20" fmla="*/ 485167 w 1006504"/>
                <a:gd name="connsiteY20" fmla="*/ 319355 h 1157038"/>
                <a:gd name="connsiteX21" fmla="*/ 620683 w 1006504"/>
                <a:gd name="connsiteY21" fmla="*/ 283539 h 1157038"/>
                <a:gd name="connsiteX22" fmla="*/ 685452 w 1006504"/>
                <a:gd name="connsiteY22" fmla="*/ 266626 h 1157038"/>
                <a:gd name="connsiteX23" fmla="*/ 699402 w 1006504"/>
                <a:gd name="connsiteY23" fmla="*/ 324329 h 1157038"/>
                <a:gd name="connsiteX24" fmla="*/ 721323 w 1006504"/>
                <a:gd name="connsiteY24" fmla="*/ 319355 h 1157038"/>
                <a:gd name="connsiteX25" fmla="*/ 744241 w 1006504"/>
                <a:gd name="connsiteY25" fmla="*/ 327314 h 1157038"/>
                <a:gd name="connsiteX26" fmla="*/ 770149 w 1006504"/>
                <a:gd name="connsiteY26" fmla="*/ 318360 h 1157038"/>
                <a:gd name="connsiteX27" fmla="*/ 789081 w 1006504"/>
                <a:gd name="connsiteY27" fmla="*/ 340247 h 1157038"/>
                <a:gd name="connsiteX28" fmla="*/ 792070 w 1006504"/>
                <a:gd name="connsiteY28" fmla="*/ 376063 h 1157038"/>
                <a:gd name="connsiteX29" fmla="*/ 821964 w 1006504"/>
                <a:gd name="connsiteY29" fmla="*/ 399939 h 1157038"/>
                <a:gd name="connsiteX30" fmla="*/ 841892 w 1006504"/>
                <a:gd name="connsiteY30" fmla="*/ 388996 h 1157038"/>
                <a:gd name="connsiteX31" fmla="*/ 871786 w 1006504"/>
                <a:gd name="connsiteY31" fmla="*/ 407898 h 1157038"/>
                <a:gd name="connsiteX32" fmla="*/ 849864 w 1006504"/>
                <a:gd name="connsiteY32" fmla="*/ 416852 h 1157038"/>
                <a:gd name="connsiteX33" fmla="*/ 817978 w 1006504"/>
                <a:gd name="connsiteY33" fmla="*/ 413868 h 1157038"/>
                <a:gd name="connsiteX34" fmla="*/ 759188 w 1006504"/>
                <a:gd name="connsiteY34" fmla="*/ 419837 h 1157038"/>
                <a:gd name="connsiteX35" fmla="*/ 735274 w 1006504"/>
                <a:gd name="connsiteY35" fmla="*/ 416852 h 1157038"/>
                <a:gd name="connsiteX36" fmla="*/ 718334 w 1006504"/>
                <a:gd name="connsiteY36" fmla="*/ 434760 h 1157038"/>
                <a:gd name="connsiteX37" fmla="*/ 661537 w 1006504"/>
                <a:gd name="connsiteY37" fmla="*/ 397950 h 1157038"/>
                <a:gd name="connsiteX38" fmla="*/ 612711 w 1006504"/>
                <a:gd name="connsiteY38" fmla="*/ 392975 h 1157038"/>
                <a:gd name="connsiteX39" fmla="*/ 592782 w 1006504"/>
                <a:gd name="connsiteY39" fmla="*/ 414863 h 1157038"/>
                <a:gd name="connsiteX40" fmla="*/ 565879 w 1006504"/>
                <a:gd name="connsiteY40" fmla="*/ 421827 h 1157038"/>
                <a:gd name="connsiteX41" fmla="*/ 520042 w 1006504"/>
                <a:gd name="connsiteY41" fmla="*/ 417847 h 1157038"/>
                <a:gd name="connsiteX42" fmla="*/ 475202 w 1006504"/>
                <a:gd name="connsiteY42" fmla="*/ 489478 h 1157038"/>
                <a:gd name="connsiteX43" fmla="*/ 474206 w 1006504"/>
                <a:gd name="connsiteY43" fmla="*/ 455652 h 1157038"/>
                <a:gd name="connsiteX44" fmla="*/ 458263 w 1006504"/>
                <a:gd name="connsiteY44" fmla="*/ 441724 h 1157038"/>
                <a:gd name="connsiteX45" fmla="*/ 420398 w 1006504"/>
                <a:gd name="connsiteY45" fmla="*/ 458637 h 1157038"/>
                <a:gd name="connsiteX46" fmla="*/ 393494 w 1006504"/>
                <a:gd name="connsiteY46" fmla="*/ 497437 h 1157038"/>
                <a:gd name="connsiteX47" fmla="*/ 360612 w 1006504"/>
                <a:gd name="connsiteY47" fmla="*/ 552155 h 1157038"/>
                <a:gd name="connsiteX48" fmla="*/ 341680 w 1006504"/>
                <a:gd name="connsiteY48" fmla="*/ 560114 h 1157038"/>
                <a:gd name="connsiteX49" fmla="*/ 340783 w 1006504"/>
                <a:gd name="connsiteY49" fmla="*/ 518330 h 1157038"/>
                <a:gd name="connsiteX50" fmla="*/ 320854 w 1006504"/>
                <a:gd name="connsiteY50" fmla="*/ 523304 h 1157038"/>
                <a:gd name="connsiteX51" fmla="*/ 327829 w 1006504"/>
                <a:gd name="connsiteY51" fmla="*/ 502412 h 1157038"/>
                <a:gd name="connsiteX52" fmla="*/ 325836 w 1006504"/>
                <a:gd name="connsiteY52" fmla="*/ 469581 h 1157038"/>
                <a:gd name="connsiteX53" fmla="*/ 308000 w 1006504"/>
                <a:gd name="connsiteY53" fmla="*/ 449683 h 1157038"/>
                <a:gd name="connsiteX54" fmla="*/ 299918 w 1006504"/>
                <a:gd name="connsiteY54" fmla="*/ 445684 h 1157038"/>
                <a:gd name="connsiteX55" fmla="*/ 298035 w 1006504"/>
                <a:gd name="connsiteY55" fmla="*/ 446699 h 1157038"/>
                <a:gd name="connsiteX56" fmla="*/ 290163 w 1006504"/>
                <a:gd name="connsiteY56" fmla="*/ 443714 h 1157038"/>
                <a:gd name="connsiteX57" fmla="*/ 294049 w 1006504"/>
                <a:gd name="connsiteY57" fmla="*/ 429786 h 1157038"/>
                <a:gd name="connsiteX58" fmla="*/ 265153 w 1006504"/>
                <a:gd name="connsiteY58" fmla="*/ 414863 h 1157038"/>
                <a:gd name="connsiteX59" fmla="*/ 252299 w 1006504"/>
                <a:gd name="connsiteY59" fmla="*/ 410883 h 1157038"/>
                <a:gd name="connsiteX60" fmla="*/ 226292 w 1006504"/>
                <a:gd name="connsiteY60" fmla="*/ 408893 h 1157038"/>
                <a:gd name="connsiteX61" fmla="*/ 218320 w 1006504"/>
                <a:gd name="connsiteY61" fmla="*/ 404914 h 1157038"/>
                <a:gd name="connsiteX62" fmla="*/ 210349 w 1006504"/>
                <a:gd name="connsiteY62" fmla="*/ 402924 h 1157038"/>
                <a:gd name="connsiteX63" fmla="*/ 179459 w 1006504"/>
                <a:gd name="connsiteY63" fmla="*/ 389991 h 1157038"/>
                <a:gd name="connsiteX64" fmla="*/ 37068 w 1006504"/>
                <a:gd name="connsiteY64" fmla="*/ 346216 h 1157038"/>
                <a:gd name="connsiteX65" fmla="*/ 25010 w 1006504"/>
                <a:gd name="connsiteY65" fmla="*/ 316370 h 1157038"/>
                <a:gd name="connsiteX66" fmla="*/ 10164 w 1006504"/>
                <a:gd name="connsiteY66" fmla="*/ 307416 h 1157038"/>
                <a:gd name="connsiteX67" fmla="*/ 0 w 1006504"/>
                <a:gd name="connsiteY67" fmla="*/ 304432 h 1157038"/>
                <a:gd name="connsiteX68" fmla="*/ 150463 w 1006504"/>
                <a:gd name="connsiteY68" fmla="*/ 56708 h 1157038"/>
                <a:gd name="connsiteX69" fmla="*/ 201281 w 1006504"/>
                <a:gd name="connsiteY69" fmla="*/ 28851 h 1157038"/>
                <a:gd name="connsiteX70" fmla="*/ 250107 w 1006504"/>
                <a:gd name="connsiteY70" fmla="*/ 0 h 1157038"/>
                <a:gd name="connsiteX71" fmla="*/ 234163 w 1006504"/>
                <a:gd name="connsiteY71" fmla="*/ 19897 h 1157038"/>
                <a:gd name="connsiteX72" fmla="*/ 196299 w 1006504"/>
                <a:gd name="connsiteY72" fmla="*/ 45764 h 1157038"/>
                <a:gd name="connsiteX73" fmla="*/ 172384 w 1006504"/>
                <a:gd name="connsiteY73" fmla="*/ 66657 h 1157038"/>
                <a:gd name="connsiteX74" fmla="*/ 145480 w 1006504"/>
                <a:gd name="connsiteY74" fmla="*/ 62677 h 1157038"/>
                <a:gd name="connsiteX75" fmla="*/ 468327 w 1006504"/>
                <a:gd name="connsiteY75" fmla="*/ 1134157 h 1157038"/>
                <a:gd name="connsiteX76" fmla="*/ 509281 w 1006504"/>
                <a:gd name="connsiteY76" fmla="*/ 1064516 h 1157038"/>
                <a:gd name="connsiteX77" fmla="*/ 521238 w 1006504"/>
                <a:gd name="connsiteY77" fmla="*/ 915284 h 1157038"/>
                <a:gd name="connsiteX78" fmla="*/ 487260 w 1006504"/>
                <a:gd name="connsiteY78" fmla="*/ 824751 h 1157038"/>
                <a:gd name="connsiteX79" fmla="*/ 500213 w 1006504"/>
                <a:gd name="connsiteY79" fmla="*/ 793910 h 1157038"/>
                <a:gd name="connsiteX80" fmla="*/ 490249 w 1006504"/>
                <a:gd name="connsiteY80" fmla="*/ 752125 h 1157038"/>
                <a:gd name="connsiteX81" fmla="*/ 523231 w 1006504"/>
                <a:gd name="connsiteY81" fmla="*/ 692433 h 1157038"/>
                <a:gd name="connsiteX82" fmla="*/ 527117 w 1006504"/>
                <a:gd name="connsiteY82" fmla="*/ 663581 h 1157038"/>
                <a:gd name="connsiteX83" fmla="*/ 544157 w 1006504"/>
                <a:gd name="connsiteY83" fmla="*/ 632740 h 1157038"/>
                <a:gd name="connsiteX84" fmla="*/ 564085 w 1006504"/>
                <a:gd name="connsiteY84" fmla="*/ 591950 h 1157038"/>
                <a:gd name="connsiteX85" fmla="*/ 587003 w 1006504"/>
                <a:gd name="connsiteY85" fmla="*/ 577027 h 1157038"/>
                <a:gd name="connsiteX86" fmla="*/ 611914 w 1006504"/>
                <a:gd name="connsiteY86" fmla="*/ 549171 h 1157038"/>
                <a:gd name="connsiteX87" fmla="*/ 615900 w 1006504"/>
                <a:gd name="connsiteY87" fmla="*/ 590955 h 1157038"/>
                <a:gd name="connsiteX88" fmla="*/ 656854 w 1006504"/>
                <a:gd name="connsiteY88" fmla="*/ 522309 h 1157038"/>
                <a:gd name="connsiteX89" fmla="*/ 691630 w 1006504"/>
                <a:gd name="connsiteY89" fmla="*/ 513355 h 1157038"/>
                <a:gd name="connsiteX90" fmla="*/ 665822 w 1006504"/>
                <a:gd name="connsiteY90" fmla="*/ 485499 h 1157038"/>
                <a:gd name="connsiteX91" fmla="*/ 684754 w 1006504"/>
                <a:gd name="connsiteY91" fmla="*/ 463611 h 1157038"/>
                <a:gd name="connsiteX92" fmla="*/ 679672 w 1006504"/>
                <a:gd name="connsiteY92" fmla="*/ 450678 h 1157038"/>
                <a:gd name="connsiteX93" fmla="*/ 737466 w 1006504"/>
                <a:gd name="connsiteY93" fmla="*/ 461622 h 1157038"/>
                <a:gd name="connsiteX94" fmla="*/ 754405 w 1006504"/>
                <a:gd name="connsiteY94" fmla="*/ 466596 h 1157038"/>
                <a:gd name="connsiteX95" fmla="*/ 795259 w 1006504"/>
                <a:gd name="connsiteY95" fmla="*/ 497437 h 1157038"/>
                <a:gd name="connsiteX96" fmla="*/ 827145 w 1006504"/>
                <a:gd name="connsiteY96" fmla="*/ 509376 h 1157038"/>
                <a:gd name="connsiteX97" fmla="*/ 870989 w 1006504"/>
                <a:gd name="connsiteY97" fmla="*/ 523304 h 1157038"/>
                <a:gd name="connsiteX98" fmla="*/ 881950 w 1006504"/>
                <a:gd name="connsiteY98" fmla="*/ 546186 h 1157038"/>
                <a:gd name="connsiteX99" fmla="*/ 898889 w 1006504"/>
                <a:gd name="connsiteY99" fmla="*/ 582001 h 1157038"/>
                <a:gd name="connsiteX100" fmla="*/ 877964 w 1006504"/>
                <a:gd name="connsiteY100" fmla="*/ 596925 h 1157038"/>
                <a:gd name="connsiteX101" fmla="*/ 892911 w 1006504"/>
                <a:gd name="connsiteY101" fmla="*/ 611848 h 1157038"/>
                <a:gd name="connsiteX102" fmla="*/ 892911 w 1006504"/>
                <a:gd name="connsiteY102" fmla="*/ 655622 h 1157038"/>
                <a:gd name="connsiteX103" fmla="*/ 882049 w 1006504"/>
                <a:gd name="connsiteY103" fmla="*/ 710340 h 1157038"/>
                <a:gd name="connsiteX104" fmla="*/ 867003 w 1006504"/>
                <a:gd name="connsiteY104" fmla="*/ 717304 h 1157038"/>
                <a:gd name="connsiteX105" fmla="*/ 859032 w 1006504"/>
                <a:gd name="connsiteY105" fmla="*/ 753120 h 1157038"/>
                <a:gd name="connsiteX106" fmla="*/ 845181 w 1006504"/>
                <a:gd name="connsiteY106" fmla="*/ 765058 h 1157038"/>
                <a:gd name="connsiteX107" fmla="*/ 816284 w 1006504"/>
                <a:gd name="connsiteY107" fmla="*/ 801869 h 1157038"/>
                <a:gd name="connsiteX108" fmla="*/ 818277 w 1006504"/>
                <a:gd name="connsiteY108" fmla="*/ 819776 h 1157038"/>
                <a:gd name="connsiteX109" fmla="*/ 847074 w 1006504"/>
                <a:gd name="connsiteY109" fmla="*/ 833705 h 1157038"/>
                <a:gd name="connsiteX110" fmla="*/ 869096 w 1006504"/>
                <a:gd name="connsiteY110" fmla="*/ 806843 h 1157038"/>
                <a:gd name="connsiteX111" fmla="*/ 881950 w 1006504"/>
                <a:gd name="connsiteY111" fmla="*/ 776997 h 1157038"/>
                <a:gd name="connsiteX112" fmla="*/ 899885 w 1006504"/>
                <a:gd name="connsiteY112" fmla="*/ 767048 h 1157038"/>
                <a:gd name="connsiteX113" fmla="*/ 926789 w 1006504"/>
                <a:gd name="connsiteY113" fmla="*/ 760084 h 1157038"/>
                <a:gd name="connsiteX114" fmla="*/ 941736 w 1006504"/>
                <a:gd name="connsiteY114" fmla="*/ 750135 h 1157038"/>
                <a:gd name="connsiteX115" fmla="*/ 983587 w 1006504"/>
                <a:gd name="connsiteY115" fmla="*/ 835694 h 1157038"/>
                <a:gd name="connsiteX116" fmla="*/ 1006505 w 1006504"/>
                <a:gd name="connsiteY116" fmla="*/ 935182 h 1157038"/>
                <a:gd name="connsiteX117" fmla="*/ 972626 w 1006504"/>
                <a:gd name="connsiteY117" fmla="*/ 1017756 h 1157038"/>
                <a:gd name="connsiteX118" fmla="*/ 969636 w 1006504"/>
                <a:gd name="connsiteY118" fmla="*/ 1006813 h 1157038"/>
                <a:gd name="connsiteX119" fmla="*/ 950704 w 1006504"/>
                <a:gd name="connsiteY119" fmla="*/ 1014772 h 1157038"/>
                <a:gd name="connsiteX120" fmla="*/ 938747 w 1006504"/>
                <a:gd name="connsiteY120" fmla="*/ 1047603 h 1157038"/>
                <a:gd name="connsiteX121" fmla="*/ 915929 w 1006504"/>
                <a:gd name="connsiteY121" fmla="*/ 1076454 h 1157038"/>
                <a:gd name="connsiteX122" fmla="*/ 908854 w 1006504"/>
                <a:gd name="connsiteY122" fmla="*/ 1097346 h 1157038"/>
                <a:gd name="connsiteX123" fmla="*/ 891914 w 1006504"/>
                <a:gd name="connsiteY123" fmla="*/ 1119234 h 1157038"/>
                <a:gd name="connsiteX124" fmla="*/ 882946 w 1006504"/>
                <a:gd name="connsiteY124" fmla="*/ 1131172 h 1157038"/>
                <a:gd name="connsiteX125" fmla="*/ 876071 w 1006504"/>
                <a:gd name="connsiteY125" fmla="*/ 1151070 h 1157038"/>
                <a:gd name="connsiteX126" fmla="*/ 705579 w 1006504"/>
                <a:gd name="connsiteY126" fmla="*/ 1157039 h 1157038"/>
                <a:gd name="connsiteX127" fmla="*/ 705579 w 1006504"/>
                <a:gd name="connsiteY127" fmla="*/ 1146095 h 1157038"/>
                <a:gd name="connsiteX128" fmla="*/ 451487 w 1006504"/>
                <a:gd name="connsiteY128" fmla="*/ 1146095 h 1157038"/>
                <a:gd name="connsiteX129" fmla="*/ 538078 w 1006504"/>
                <a:gd name="connsiteY129" fmla="*/ 579017 h 1157038"/>
                <a:gd name="connsiteX130" fmla="*/ 560996 w 1006504"/>
                <a:gd name="connsiteY130" fmla="*/ 565089 h 1157038"/>
                <a:gd name="connsiteX131" fmla="*/ 536085 w 1006504"/>
                <a:gd name="connsiteY131" fmla="*/ 585981 h 1157038"/>
                <a:gd name="connsiteX132" fmla="*/ 592882 w 1006504"/>
                <a:gd name="connsiteY132" fmla="*/ 454658 h 1157038"/>
                <a:gd name="connsiteX133" fmla="*/ 635729 w 1006504"/>
                <a:gd name="connsiteY133" fmla="*/ 440729 h 1157038"/>
                <a:gd name="connsiteX134" fmla="*/ 592882 w 1006504"/>
                <a:gd name="connsiteY134" fmla="*/ 454658 h 1157038"/>
                <a:gd name="connsiteX135" fmla="*/ 729395 w 1006504"/>
                <a:gd name="connsiteY135" fmla="*/ 426801 h 1157038"/>
                <a:gd name="connsiteX136" fmla="*/ 762277 w 1006504"/>
                <a:gd name="connsiteY136" fmla="*/ 448688 h 1157038"/>
                <a:gd name="connsiteX137" fmla="*/ 733381 w 1006504"/>
                <a:gd name="connsiteY137" fmla="*/ 442719 h 1157038"/>
                <a:gd name="connsiteX138" fmla="*/ 729395 w 1006504"/>
                <a:gd name="connsiteY138" fmla="*/ 426801 h 1157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006504" h="1157038">
                  <a:moveTo>
                    <a:pt x="0" y="304432"/>
                  </a:moveTo>
                  <a:cubicBezTo>
                    <a:pt x="10961" y="295478"/>
                    <a:pt x="33580" y="289906"/>
                    <a:pt x="46833" y="285529"/>
                  </a:cubicBezTo>
                  <a:cubicBezTo>
                    <a:pt x="60384" y="276973"/>
                    <a:pt x="70747" y="258070"/>
                    <a:pt x="87687" y="256678"/>
                  </a:cubicBezTo>
                  <a:cubicBezTo>
                    <a:pt x="109439" y="257951"/>
                    <a:pt x="131042" y="252380"/>
                    <a:pt x="149466" y="240760"/>
                  </a:cubicBezTo>
                  <a:cubicBezTo>
                    <a:pt x="154687" y="231686"/>
                    <a:pt x="164034" y="225737"/>
                    <a:pt x="174477" y="224842"/>
                  </a:cubicBezTo>
                  <a:cubicBezTo>
                    <a:pt x="185537" y="226732"/>
                    <a:pt x="188128" y="214893"/>
                    <a:pt x="192313" y="206934"/>
                  </a:cubicBezTo>
                  <a:cubicBezTo>
                    <a:pt x="203104" y="195662"/>
                    <a:pt x="215959" y="186539"/>
                    <a:pt x="230178" y="180072"/>
                  </a:cubicBezTo>
                  <a:cubicBezTo>
                    <a:pt x="260868" y="143063"/>
                    <a:pt x="294947" y="128438"/>
                    <a:pt x="343872" y="140277"/>
                  </a:cubicBezTo>
                  <a:cubicBezTo>
                    <a:pt x="378249" y="158881"/>
                    <a:pt x="322249" y="150723"/>
                    <a:pt x="310889" y="153211"/>
                  </a:cubicBezTo>
                  <a:cubicBezTo>
                    <a:pt x="312733" y="159488"/>
                    <a:pt x="309135" y="166064"/>
                    <a:pt x="302848" y="167905"/>
                  </a:cubicBezTo>
                  <a:cubicBezTo>
                    <a:pt x="302539" y="167994"/>
                    <a:pt x="302230" y="168074"/>
                    <a:pt x="301921" y="168134"/>
                  </a:cubicBezTo>
                  <a:cubicBezTo>
                    <a:pt x="294836" y="174780"/>
                    <a:pt x="287164" y="180779"/>
                    <a:pt x="279003" y="186041"/>
                  </a:cubicBezTo>
                  <a:cubicBezTo>
                    <a:pt x="276114" y="195901"/>
                    <a:pt x="269747" y="204387"/>
                    <a:pt x="261067" y="209918"/>
                  </a:cubicBezTo>
                  <a:cubicBezTo>
                    <a:pt x="256483" y="223648"/>
                    <a:pt x="244327" y="237974"/>
                    <a:pt x="243132" y="252698"/>
                  </a:cubicBezTo>
                  <a:cubicBezTo>
                    <a:pt x="257978" y="250708"/>
                    <a:pt x="273025" y="236681"/>
                    <a:pt x="285978" y="230811"/>
                  </a:cubicBezTo>
                  <a:cubicBezTo>
                    <a:pt x="291758" y="239765"/>
                    <a:pt x="305907" y="241356"/>
                    <a:pt x="315872" y="241754"/>
                  </a:cubicBezTo>
                  <a:cubicBezTo>
                    <a:pt x="332213" y="247425"/>
                    <a:pt x="355729" y="256479"/>
                    <a:pt x="357622" y="276575"/>
                  </a:cubicBezTo>
                  <a:cubicBezTo>
                    <a:pt x="363701" y="290304"/>
                    <a:pt x="385124" y="298860"/>
                    <a:pt x="383530" y="315375"/>
                  </a:cubicBezTo>
                  <a:cubicBezTo>
                    <a:pt x="399901" y="317703"/>
                    <a:pt x="416582" y="316340"/>
                    <a:pt x="432356" y="311396"/>
                  </a:cubicBezTo>
                  <a:cubicBezTo>
                    <a:pt x="443018" y="331990"/>
                    <a:pt x="462249" y="328806"/>
                    <a:pt x="467231" y="306421"/>
                  </a:cubicBezTo>
                  <a:cubicBezTo>
                    <a:pt x="474276" y="309028"/>
                    <a:pt x="480473" y="313505"/>
                    <a:pt x="485167" y="319355"/>
                  </a:cubicBezTo>
                  <a:cubicBezTo>
                    <a:pt x="517551" y="281251"/>
                    <a:pt x="574846" y="280256"/>
                    <a:pt x="620683" y="283539"/>
                  </a:cubicBezTo>
                  <a:cubicBezTo>
                    <a:pt x="640403" y="272307"/>
                    <a:pt x="662743" y="266467"/>
                    <a:pt x="685452" y="266626"/>
                  </a:cubicBezTo>
                  <a:cubicBezTo>
                    <a:pt x="674590" y="284236"/>
                    <a:pt x="670206" y="324826"/>
                    <a:pt x="699402" y="324329"/>
                  </a:cubicBezTo>
                  <a:lnTo>
                    <a:pt x="721323" y="319355"/>
                  </a:lnTo>
                  <a:cubicBezTo>
                    <a:pt x="728348" y="323523"/>
                    <a:pt x="736140" y="326229"/>
                    <a:pt x="744241" y="327314"/>
                  </a:cubicBezTo>
                  <a:cubicBezTo>
                    <a:pt x="749124" y="317932"/>
                    <a:pt x="760503" y="314002"/>
                    <a:pt x="770149" y="318360"/>
                  </a:cubicBezTo>
                  <a:cubicBezTo>
                    <a:pt x="794163" y="297169"/>
                    <a:pt x="792868" y="321245"/>
                    <a:pt x="789081" y="340247"/>
                  </a:cubicBezTo>
                  <a:cubicBezTo>
                    <a:pt x="792938" y="351778"/>
                    <a:pt x="793964" y="364054"/>
                    <a:pt x="792070" y="376063"/>
                  </a:cubicBezTo>
                  <a:cubicBezTo>
                    <a:pt x="802035" y="381932"/>
                    <a:pt x="810704" y="395960"/>
                    <a:pt x="821964" y="399939"/>
                  </a:cubicBezTo>
                  <a:cubicBezTo>
                    <a:pt x="825651" y="391583"/>
                    <a:pt x="832526" y="385613"/>
                    <a:pt x="841892" y="388996"/>
                  </a:cubicBezTo>
                  <a:cubicBezTo>
                    <a:pt x="853651" y="386807"/>
                    <a:pt x="865807" y="398945"/>
                    <a:pt x="871786" y="407898"/>
                  </a:cubicBezTo>
                  <a:cubicBezTo>
                    <a:pt x="867900" y="420732"/>
                    <a:pt x="861821" y="427796"/>
                    <a:pt x="849864" y="416852"/>
                  </a:cubicBezTo>
                  <a:cubicBezTo>
                    <a:pt x="839192" y="419389"/>
                    <a:pt x="827993" y="418335"/>
                    <a:pt x="817978" y="413868"/>
                  </a:cubicBezTo>
                  <a:cubicBezTo>
                    <a:pt x="798179" y="411759"/>
                    <a:pt x="778160" y="413798"/>
                    <a:pt x="759188" y="419837"/>
                  </a:cubicBezTo>
                  <a:cubicBezTo>
                    <a:pt x="753169" y="412843"/>
                    <a:pt x="742827" y="411560"/>
                    <a:pt x="735274" y="416852"/>
                  </a:cubicBezTo>
                  <a:cubicBezTo>
                    <a:pt x="723914" y="414166"/>
                    <a:pt x="709565" y="422623"/>
                    <a:pt x="718334" y="434760"/>
                  </a:cubicBezTo>
                  <a:cubicBezTo>
                    <a:pt x="694619" y="433467"/>
                    <a:pt x="684854" y="401531"/>
                    <a:pt x="661537" y="397950"/>
                  </a:cubicBezTo>
                  <a:cubicBezTo>
                    <a:pt x="645484" y="394547"/>
                    <a:pt x="629123" y="392886"/>
                    <a:pt x="612711" y="392975"/>
                  </a:cubicBezTo>
                  <a:cubicBezTo>
                    <a:pt x="609124" y="397751"/>
                    <a:pt x="599259" y="413669"/>
                    <a:pt x="592782" y="414863"/>
                  </a:cubicBezTo>
                  <a:cubicBezTo>
                    <a:pt x="580626" y="408893"/>
                    <a:pt x="574846" y="412873"/>
                    <a:pt x="565879" y="421827"/>
                  </a:cubicBezTo>
                  <a:cubicBezTo>
                    <a:pt x="551699" y="414604"/>
                    <a:pt x="535258" y="413181"/>
                    <a:pt x="520042" y="417847"/>
                  </a:cubicBezTo>
                  <a:cubicBezTo>
                    <a:pt x="513067" y="449584"/>
                    <a:pt x="475700" y="457045"/>
                    <a:pt x="475202" y="489478"/>
                  </a:cubicBezTo>
                  <a:cubicBezTo>
                    <a:pt x="464341" y="480823"/>
                    <a:pt x="461053" y="464009"/>
                    <a:pt x="474206" y="455652"/>
                  </a:cubicBezTo>
                  <a:lnTo>
                    <a:pt x="458263" y="441724"/>
                  </a:lnTo>
                  <a:cubicBezTo>
                    <a:pt x="451886" y="457344"/>
                    <a:pt x="435943" y="473958"/>
                    <a:pt x="420398" y="458637"/>
                  </a:cubicBezTo>
                  <a:cubicBezTo>
                    <a:pt x="406946" y="465303"/>
                    <a:pt x="399074" y="484504"/>
                    <a:pt x="393494" y="497437"/>
                  </a:cubicBezTo>
                  <a:cubicBezTo>
                    <a:pt x="384536" y="516807"/>
                    <a:pt x="373516" y="535153"/>
                    <a:pt x="360612" y="552155"/>
                  </a:cubicBezTo>
                  <a:cubicBezTo>
                    <a:pt x="358320" y="566282"/>
                    <a:pt x="352840" y="578221"/>
                    <a:pt x="341680" y="560114"/>
                  </a:cubicBezTo>
                  <a:cubicBezTo>
                    <a:pt x="325238" y="548773"/>
                    <a:pt x="359516" y="526288"/>
                    <a:pt x="340783" y="518330"/>
                  </a:cubicBezTo>
                  <a:cubicBezTo>
                    <a:pt x="336199" y="524597"/>
                    <a:pt x="327530" y="523403"/>
                    <a:pt x="320854" y="523304"/>
                  </a:cubicBezTo>
                  <a:cubicBezTo>
                    <a:pt x="322249" y="516539"/>
                    <a:pt x="320854" y="506491"/>
                    <a:pt x="327829" y="502412"/>
                  </a:cubicBezTo>
                  <a:cubicBezTo>
                    <a:pt x="327829" y="491368"/>
                    <a:pt x="336398" y="477938"/>
                    <a:pt x="325836" y="469581"/>
                  </a:cubicBezTo>
                  <a:cubicBezTo>
                    <a:pt x="338989" y="464109"/>
                    <a:pt x="315872" y="448489"/>
                    <a:pt x="308000" y="449683"/>
                  </a:cubicBezTo>
                  <a:cubicBezTo>
                    <a:pt x="306874" y="446350"/>
                    <a:pt x="303257" y="444560"/>
                    <a:pt x="299918" y="445684"/>
                  </a:cubicBezTo>
                  <a:cubicBezTo>
                    <a:pt x="299241" y="445913"/>
                    <a:pt x="298604" y="446261"/>
                    <a:pt x="298035" y="446699"/>
                  </a:cubicBezTo>
                  <a:cubicBezTo>
                    <a:pt x="295315" y="445982"/>
                    <a:pt x="292674" y="444977"/>
                    <a:pt x="290163" y="443714"/>
                  </a:cubicBezTo>
                  <a:cubicBezTo>
                    <a:pt x="283886" y="440232"/>
                    <a:pt x="292356" y="433268"/>
                    <a:pt x="294049" y="429786"/>
                  </a:cubicBezTo>
                  <a:cubicBezTo>
                    <a:pt x="288997" y="418772"/>
                    <a:pt x="277070" y="412614"/>
                    <a:pt x="265153" y="414863"/>
                  </a:cubicBezTo>
                  <a:cubicBezTo>
                    <a:pt x="261964" y="413072"/>
                    <a:pt x="255886" y="406605"/>
                    <a:pt x="252299" y="410883"/>
                  </a:cubicBezTo>
                  <a:cubicBezTo>
                    <a:pt x="245623" y="407898"/>
                    <a:pt x="230875" y="398547"/>
                    <a:pt x="226292" y="408893"/>
                  </a:cubicBezTo>
                  <a:cubicBezTo>
                    <a:pt x="222206" y="410784"/>
                    <a:pt x="219914" y="408893"/>
                    <a:pt x="218320" y="404914"/>
                  </a:cubicBezTo>
                  <a:lnTo>
                    <a:pt x="210349" y="402924"/>
                  </a:lnTo>
                  <a:cubicBezTo>
                    <a:pt x="199786" y="407103"/>
                    <a:pt x="188427" y="393771"/>
                    <a:pt x="179459" y="389991"/>
                  </a:cubicBezTo>
                  <a:cubicBezTo>
                    <a:pt x="141993" y="369098"/>
                    <a:pt x="77224" y="360642"/>
                    <a:pt x="37068" y="346216"/>
                  </a:cubicBezTo>
                  <a:cubicBezTo>
                    <a:pt x="33909" y="335939"/>
                    <a:pt x="29873" y="325961"/>
                    <a:pt x="25010" y="316370"/>
                  </a:cubicBezTo>
                  <a:cubicBezTo>
                    <a:pt x="19191" y="315156"/>
                    <a:pt x="13950" y="311993"/>
                    <a:pt x="10164" y="307416"/>
                  </a:cubicBezTo>
                  <a:cubicBezTo>
                    <a:pt x="5679" y="310600"/>
                    <a:pt x="1295" y="310600"/>
                    <a:pt x="0" y="304432"/>
                  </a:cubicBezTo>
                  <a:close/>
                  <a:moveTo>
                    <a:pt x="150463" y="56708"/>
                  </a:moveTo>
                  <a:cubicBezTo>
                    <a:pt x="165867" y="44869"/>
                    <a:pt x="183006" y="35477"/>
                    <a:pt x="201281" y="28851"/>
                  </a:cubicBezTo>
                  <a:cubicBezTo>
                    <a:pt x="215331" y="15888"/>
                    <a:pt x="231971" y="6059"/>
                    <a:pt x="250107" y="0"/>
                  </a:cubicBezTo>
                  <a:cubicBezTo>
                    <a:pt x="254092" y="8257"/>
                    <a:pt x="238847" y="15918"/>
                    <a:pt x="234163" y="19897"/>
                  </a:cubicBezTo>
                  <a:cubicBezTo>
                    <a:pt x="234163" y="37706"/>
                    <a:pt x="208954" y="39795"/>
                    <a:pt x="196299" y="45764"/>
                  </a:cubicBezTo>
                  <a:cubicBezTo>
                    <a:pt x="194705" y="55713"/>
                    <a:pt x="180854" y="63473"/>
                    <a:pt x="172384" y="66657"/>
                  </a:cubicBezTo>
                  <a:cubicBezTo>
                    <a:pt x="163765" y="72596"/>
                    <a:pt x="152007" y="70855"/>
                    <a:pt x="145480" y="62677"/>
                  </a:cubicBezTo>
                  <a:close/>
                  <a:moveTo>
                    <a:pt x="468327" y="1134157"/>
                  </a:moveTo>
                  <a:cubicBezTo>
                    <a:pt x="486662" y="1116647"/>
                    <a:pt x="492042" y="1083219"/>
                    <a:pt x="509281" y="1064516"/>
                  </a:cubicBezTo>
                  <a:cubicBezTo>
                    <a:pt x="530336" y="1017627"/>
                    <a:pt x="534561" y="964919"/>
                    <a:pt x="521238" y="915284"/>
                  </a:cubicBezTo>
                  <a:cubicBezTo>
                    <a:pt x="507357" y="886125"/>
                    <a:pt x="495998" y="855841"/>
                    <a:pt x="487260" y="824751"/>
                  </a:cubicBezTo>
                  <a:cubicBezTo>
                    <a:pt x="489651" y="814802"/>
                    <a:pt x="501110" y="804853"/>
                    <a:pt x="500213" y="793910"/>
                  </a:cubicBezTo>
                  <a:cubicBezTo>
                    <a:pt x="503502" y="780081"/>
                    <a:pt x="494334" y="764760"/>
                    <a:pt x="490249" y="752125"/>
                  </a:cubicBezTo>
                  <a:cubicBezTo>
                    <a:pt x="506491" y="735610"/>
                    <a:pt x="517900" y="714966"/>
                    <a:pt x="523231" y="692433"/>
                  </a:cubicBezTo>
                  <a:cubicBezTo>
                    <a:pt x="523430" y="682703"/>
                    <a:pt x="524726" y="673023"/>
                    <a:pt x="527117" y="663581"/>
                  </a:cubicBezTo>
                  <a:cubicBezTo>
                    <a:pt x="519843" y="645275"/>
                    <a:pt x="522833" y="634929"/>
                    <a:pt x="544157" y="632740"/>
                  </a:cubicBezTo>
                  <a:cubicBezTo>
                    <a:pt x="550334" y="579017"/>
                    <a:pt x="550035" y="620404"/>
                    <a:pt x="564085" y="591950"/>
                  </a:cubicBezTo>
                  <a:cubicBezTo>
                    <a:pt x="576541" y="604287"/>
                    <a:pt x="585210" y="589264"/>
                    <a:pt x="587003" y="577027"/>
                  </a:cubicBezTo>
                  <a:cubicBezTo>
                    <a:pt x="596968" y="570759"/>
                    <a:pt x="600156" y="553847"/>
                    <a:pt x="611914" y="549171"/>
                  </a:cubicBezTo>
                  <a:cubicBezTo>
                    <a:pt x="616996" y="560612"/>
                    <a:pt x="604541" y="580708"/>
                    <a:pt x="615900" y="590955"/>
                  </a:cubicBezTo>
                  <a:cubicBezTo>
                    <a:pt x="655757" y="572749"/>
                    <a:pt x="610220" y="541212"/>
                    <a:pt x="656854" y="522309"/>
                  </a:cubicBezTo>
                  <a:cubicBezTo>
                    <a:pt x="667615" y="521712"/>
                    <a:pt x="685352" y="523901"/>
                    <a:pt x="691630" y="513355"/>
                  </a:cubicBezTo>
                  <a:cubicBezTo>
                    <a:pt x="677460" y="511425"/>
                    <a:pt x="666649" y="499755"/>
                    <a:pt x="665822" y="485499"/>
                  </a:cubicBezTo>
                  <a:cubicBezTo>
                    <a:pt x="670236" y="476764"/>
                    <a:pt x="676743" y="469252"/>
                    <a:pt x="684754" y="463611"/>
                  </a:cubicBezTo>
                  <a:lnTo>
                    <a:pt x="679672" y="450678"/>
                  </a:lnTo>
                  <a:cubicBezTo>
                    <a:pt x="713950" y="457145"/>
                    <a:pt x="701395" y="432571"/>
                    <a:pt x="737466" y="461622"/>
                  </a:cubicBezTo>
                  <a:cubicBezTo>
                    <a:pt x="742448" y="465104"/>
                    <a:pt x="748825" y="474157"/>
                    <a:pt x="754405" y="466596"/>
                  </a:cubicBezTo>
                  <a:cubicBezTo>
                    <a:pt x="773447" y="466457"/>
                    <a:pt x="790208" y="479112"/>
                    <a:pt x="795259" y="497437"/>
                  </a:cubicBezTo>
                  <a:cubicBezTo>
                    <a:pt x="806220" y="499526"/>
                    <a:pt x="820768" y="498432"/>
                    <a:pt x="827145" y="509376"/>
                  </a:cubicBezTo>
                  <a:cubicBezTo>
                    <a:pt x="841394" y="512559"/>
                    <a:pt x="856042" y="527880"/>
                    <a:pt x="870989" y="523304"/>
                  </a:cubicBezTo>
                  <a:cubicBezTo>
                    <a:pt x="874576" y="528179"/>
                    <a:pt x="888227" y="538824"/>
                    <a:pt x="881950" y="546186"/>
                  </a:cubicBezTo>
                  <a:cubicBezTo>
                    <a:pt x="890051" y="556801"/>
                    <a:pt x="895820" y="569008"/>
                    <a:pt x="898889" y="582001"/>
                  </a:cubicBezTo>
                  <a:cubicBezTo>
                    <a:pt x="875274" y="572053"/>
                    <a:pt x="877267" y="570759"/>
                    <a:pt x="877964" y="596925"/>
                  </a:cubicBezTo>
                  <a:cubicBezTo>
                    <a:pt x="880754" y="602197"/>
                    <a:pt x="892512" y="606873"/>
                    <a:pt x="892911" y="611848"/>
                  </a:cubicBezTo>
                  <a:cubicBezTo>
                    <a:pt x="893509" y="625577"/>
                    <a:pt x="900982" y="642987"/>
                    <a:pt x="892911" y="655622"/>
                  </a:cubicBezTo>
                  <a:cubicBezTo>
                    <a:pt x="891216" y="670844"/>
                    <a:pt x="897793" y="701784"/>
                    <a:pt x="882049" y="710340"/>
                  </a:cubicBezTo>
                  <a:cubicBezTo>
                    <a:pt x="878801" y="715364"/>
                    <a:pt x="872942" y="718070"/>
                    <a:pt x="867003" y="717304"/>
                  </a:cubicBezTo>
                  <a:cubicBezTo>
                    <a:pt x="862907" y="728875"/>
                    <a:pt x="860227" y="740903"/>
                    <a:pt x="859032" y="753120"/>
                  </a:cubicBezTo>
                  <a:cubicBezTo>
                    <a:pt x="852056" y="753916"/>
                    <a:pt x="844483" y="756602"/>
                    <a:pt x="845181" y="765058"/>
                  </a:cubicBezTo>
                  <a:cubicBezTo>
                    <a:pt x="821765" y="759885"/>
                    <a:pt x="815886" y="783663"/>
                    <a:pt x="816284" y="801869"/>
                  </a:cubicBezTo>
                  <a:cubicBezTo>
                    <a:pt x="811800" y="806644"/>
                    <a:pt x="815487" y="815100"/>
                    <a:pt x="818277" y="819776"/>
                  </a:cubicBezTo>
                  <a:cubicBezTo>
                    <a:pt x="829537" y="817090"/>
                    <a:pt x="840099" y="825845"/>
                    <a:pt x="847074" y="833705"/>
                  </a:cubicBezTo>
                  <a:cubicBezTo>
                    <a:pt x="855016" y="825258"/>
                    <a:pt x="862370" y="816284"/>
                    <a:pt x="869096" y="806843"/>
                  </a:cubicBezTo>
                  <a:cubicBezTo>
                    <a:pt x="872185" y="796417"/>
                    <a:pt x="876499" y="786398"/>
                    <a:pt x="881950" y="776997"/>
                  </a:cubicBezTo>
                  <a:cubicBezTo>
                    <a:pt x="887131" y="775803"/>
                    <a:pt x="899487" y="773913"/>
                    <a:pt x="899885" y="767048"/>
                  </a:cubicBezTo>
                  <a:cubicBezTo>
                    <a:pt x="909093" y="765755"/>
                    <a:pt x="918111" y="763417"/>
                    <a:pt x="926789" y="760084"/>
                  </a:cubicBezTo>
                  <a:cubicBezTo>
                    <a:pt x="927587" y="754911"/>
                    <a:pt x="937850" y="751727"/>
                    <a:pt x="941736" y="750135"/>
                  </a:cubicBezTo>
                  <a:cubicBezTo>
                    <a:pt x="976313" y="762074"/>
                    <a:pt x="983686" y="803460"/>
                    <a:pt x="983587" y="835694"/>
                  </a:cubicBezTo>
                  <a:cubicBezTo>
                    <a:pt x="995245" y="866138"/>
                    <a:pt x="986875" y="907524"/>
                    <a:pt x="1006505" y="935182"/>
                  </a:cubicBezTo>
                  <a:cubicBezTo>
                    <a:pt x="994448" y="961447"/>
                    <a:pt x="1007202" y="1005917"/>
                    <a:pt x="972626" y="1017756"/>
                  </a:cubicBezTo>
                  <a:lnTo>
                    <a:pt x="969636" y="1006813"/>
                  </a:lnTo>
                  <a:cubicBezTo>
                    <a:pt x="964854" y="1009101"/>
                    <a:pt x="953594" y="1010295"/>
                    <a:pt x="950704" y="1014772"/>
                  </a:cubicBezTo>
                  <a:cubicBezTo>
                    <a:pt x="949707" y="1023228"/>
                    <a:pt x="947216" y="1043723"/>
                    <a:pt x="938747" y="1047603"/>
                  </a:cubicBezTo>
                  <a:cubicBezTo>
                    <a:pt x="922704" y="1052279"/>
                    <a:pt x="917822" y="1060437"/>
                    <a:pt x="915929" y="1076454"/>
                  </a:cubicBezTo>
                  <a:cubicBezTo>
                    <a:pt x="915929" y="1083219"/>
                    <a:pt x="916825" y="1094362"/>
                    <a:pt x="908854" y="1097346"/>
                  </a:cubicBezTo>
                  <a:cubicBezTo>
                    <a:pt x="907987" y="1107325"/>
                    <a:pt x="901371" y="1115881"/>
                    <a:pt x="891914" y="1119234"/>
                  </a:cubicBezTo>
                  <a:cubicBezTo>
                    <a:pt x="891147" y="1124477"/>
                    <a:pt x="887769" y="1128963"/>
                    <a:pt x="882946" y="1131172"/>
                  </a:cubicBezTo>
                  <a:cubicBezTo>
                    <a:pt x="872185" y="1137440"/>
                    <a:pt x="882946" y="1148980"/>
                    <a:pt x="876071" y="1151070"/>
                  </a:cubicBezTo>
                  <a:cubicBezTo>
                    <a:pt x="821067" y="1153557"/>
                    <a:pt x="760683" y="1155447"/>
                    <a:pt x="705579" y="1157039"/>
                  </a:cubicBezTo>
                  <a:lnTo>
                    <a:pt x="705579" y="1146095"/>
                  </a:lnTo>
                  <a:cubicBezTo>
                    <a:pt x="622477" y="1147289"/>
                    <a:pt x="534590" y="1148184"/>
                    <a:pt x="451487" y="1146095"/>
                  </a:cubicBezTo>
                  <a:close/>
                  <a:moveTo>
                    <a:pt x="538078" y="579017"/>
                  </a:moveTo>
                  <a:cubicBezTo>
                    <a:pt x="543060" y="571854"/>
                    <a:pt x="551331" y="546982"/>
                    <a:pt x="560996" y="565089"/>
                  </a:cubicBezTo>
                  <a:cubicBezTo>
                    <a:pt x="559302" y="575037"/>
                    <a:pt x="547644" y="592348"/>
                    <a:pt x="536085" y="585981"/>
                  </a:cubicBezTo>
                  <a:close/>
                  <a:moveTo>
                    <a:pt x="592882" y="454658"/>
                  </a:moveTo>
                  <a:cubicBezTo>
                    <a:pt x="612811" y="448987"/>
                    <a:pt x="607032" y="431577"/>
                    <a:pt x="635729" y="440729"/>
                  </a:cubicBezTo>
                  <a:cubicBezTo>
                    <a:pt x="626761" y="470476"/>
                    <a:pt x="603544" y="512261"/>
                    <a:pt x="592882" y="454658"/>
                  </a:cubicBezTo>
                  <a:close/>
                  <a:moveTo>
                    <a:pt x="729395" y="426801"/>
                  </a:moveTo>
                  <a:cubicBezTo>
                    <a:pt x="736569" y="437446"/>
                    <a:pt x="752114" y="442321"/>
                    <a:pt x="762277" y="448688"/>
                  </a:cubicBezTo>
                  <a:cubicBezTo>
                    <a:pt x="756498" y="465900"/>
                    <a:pt x="740256" y="450977"/>
                    <a:pt x="733381" y="442719"/>
                  </a:cubicBezTo>
                  <a:cubicBezTo>
                    <a:pt x="729893" y="438143"/>
                    <a:pt x="722320" y="432074"/>
                    <a:pt x="729395" y="426801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684" name="Freeform: Shape 1683">
              <a:extLst>
                <a:ext uri="{FF2B5EF4-FFF2-40B4-BE49-F238E27FC236}">
                  <a16:creationId xmlns:a16="http://schemas.microsoft.com/office/drawing/2014/main" id="{3920E9BD-068E-4910-BA1C-B99425774CB4}"/>
                </a:ext>
              </a:extLst>
            </p:cNvPr>
            <p:cNvSpPr/>
            <p:nvPr/>
          </p:nvSpPr>
          <p:spPr>
            <a:xfrm>
              <a:off x="-1258772" y="449320"/>
              <a:ext cx="780196" cy="1256937"/>
            </a:xfrm>
            <a:custGeom>
              <a:avLst/>
              <a:gdLst>
                <a:gd name="connsiteX0" fmla="*/ 0 w 780196"/>
                <a:gd name="connsiteY0" fmla="*/ 844648 h 1256937"/>
                <a:gd name="connsiteX1" fmla="*/ 1993 w 780196"/>
                <a:gd name="connsiteY1" fmla="*/ 828730 h 1256937"/>
                <a:gd name="connsiteX2" fmla="*/ 23018 w 780196"/>
                <a:gd name="connsiteY2" fmla="*/ 784956 h 1256937"/>
                <a:gd name="connsiteX3" fmla="*/ 43843 w 780196"/>
                <a:gd name="connsiteY3" fmla="*/ 765058 h 1256937"/>
                <a:gd name="connsiteX4" fmla="*/ 50818 w 780196"/>
                <a:gd name="connsiteY4" fmla="*/ 749140 h 1256937"/>
                <a:gd name="connsiteX5" fmla="*/ 49922 w 780196"/>
                <a:gd name="connsiteY5" fmla="*/ 731233 h 1256937"/>
                <a:gd name="connsiteX6" fmla="*/ 68854 w 780196"/>
                <a:gd name="connsiteY6" fmla="*/ 688453 h 1256937"/>
                <a:gd name="connsiteX7" fmla="*/ 97651 w 780196"/>
                <a:gd name="connsiteY7" fmla="*/ 626771 h 1256937"/>
                <a:gd name="connsiteX8" fmla="*/ 81808 w 780196"/>
                <a:gd name="connsiteY8" fmla="*/ 597919 h 1256937"/>
                <a:gd name="connsiteX9" fmla="*/ 56797 w 780196"/>
                <a:gd name="connsiteY9" fmla="*/ 586976 h 1256937"/>
                <a:gd name="connsiteX10" fmla="*/ 37964 w 780196"/>
                <a:gd name="connsiteY10" fmla="*/ 546186 h 1256937"/>
                <a:gd name="connsiteX11" fmla="*/ 34875 w 780196"/>
                <a:gd name="connsiteY11" fmla="*/ 521314 h 1256937"/>
                <a:gd name="connsiteX12" fmla="*/ 21922 w 780196"/>
                <a:gd name="connsiteY12" fmla="*/ 493458 h 1256937"/>
                <a:gd name="connsiteX13" fmla="*/ 25907 w 780196"/>
                <a:gd name="connsiteY13" fmla="*/ 480524 h 1256937"/>
                <a:gd name="connsiteX14" fmla="*/ 25907 w 780196"/>
                <a:gd name="connsiteY14" fmla="*/ 0 h 1256937"/>
                <a:gd name="connsiteX15" fmla="*/ 149466 w 780196"/>
                <a:gd name="connsiteY15" fmla="*/ 0 h 1256937"/>
                <a:gd name="connsiteX16" fmla="*/ 149466 w 780196"/>
                <a:gd name="connsiteY16" fmla="*/ 148236 h 1256937"/>
                <a:gd name="connsiteX17" fmla="*/ 151459 w 780196"/>
                <a:gd name="connsiteY17" fmla="*/ 192011 h 1256937"/>
                <a:gd name="connsiteX18" fmla="*/ 175373 w 780196"/>
                <a:gd name="connsiteY18" fmla="*/ 223847 h 1256937"/>
                <a:gd name="connsiteX19" fmla="*/ 189423 w 780196"/>
                <a:gd name="connsiteY19" fmla="*/ 253693 h 1256937"/>
                <a:gd name="connsiteX20" fmla="*/ 202277 w 780196"/>
                <a:gd name="connsiteY20" fmla="*/ 286524 h 1256937"/>
                <a:gd name="connsiteX21" fmla="*/ 209352 w 780196"/>
                <a:gd name="connsiteY21" fmla="*/ 307416 h 1256937"/>
                <a:gd name="connsiteX22" fmla="*/ 222306 w 780196"/>
                <a:gd name="connsiteY22" fmla="*/ 322339 h 1256937"/>
                <a:gd name="connsiteX23" fmla="*/ 258078 w 780196"/>
                <a:gd name="connsiteY23" fmla="*/ 351191 h 1256937"/>
                <a:gd name="connsiteX24" fmla="*/ 290961 w 780196"/>
                <a:gd name="connsiteY24" fmla="*/ 390986 h 1256937"/>
                <a:gd name="connsiteX25" fmla="*/ 308000 w 780196"/>
                <a:gd name="connsiteY25" fmla="*/ 415857 h 1256937"/>
                <a:gd name="connsiteX26" fmla="*/ 319957 w 780196"/>
                <a:gd name="connsiteY26" fmla="*/ 422822 h 1256937"/>
                <a:gd name="connsiteX27" fmla="*/ 350847 w 780196"/>
                <a:gd name="connsiteY27" fmla="*/ 439734 h 1256937"/>
                <a:gd name="connsiteX28" fmla="*/ 365694 w 780196"/>
                <a:gd name="connsiteY28" fmla="*/ 452668 h 1256937"/>
                <a:gd name="connsiteX29" fmla="*/ 356726 w 780196"/>
                <a:gd name="connsiteY29" fmla="*/ 467591 h 1256937"/>
                <a:gd name="connsiteX30" fmla="*/ 354733 w 780196"/>
                <a:gd name="connsiteY30" fmla="*/ 487488 h 1256937"/>
                <a:gd name="connsiteX31" fmla="*/ 351743 w 780196"/>
                <a:gd name="connsiteY31" fmla="*/ 508381 h 1256937"/>
                <a:gd name="connsiteX32" fmla="*/ 351743 w 780196"/>
                <a:gd name="connsiteY32" fmla="*/ 526289 h 1256937"/>
                <a:gd name="connsiteX33" fmla="*/ 341779 w 780196"/>
                <a:gd name="connsiteY33" fmla="*/ 535242 h 1256937"/>
                <a:gd name="connsiteX34" fmla="*/ 346662 w 780196"/>
                <a:gd name="connsiteY34" fmla="*/ 552155 h 1256937"/>
                <a:gd name="connsiteX35" fmla="*/ 355630 w 780196"/>
                <a:gd name="connsiteY35" fmla="*/ 574043 h 1256937"/>
                <a:gd name="connsiteX36" fmla="*/ 336797 w 780196"/>
                <a:gd name="connsiteY36" fmla="*/ 596925 h 1256937"/>
                <a:gd name="connsiteX37" fmla="*/ 361708 w 780196"/>
                <a:gd name="connsiteY37" fmla="*/ 648658 h 1256937"/>
                <a:gd name="connsiteX38" fmla="*/ 384526 w 780196"/>
                <a:gd name="connsiteY38" fmla="*/ 639704 h 1256937"/>
                <a:gd name="connsiteX39" fmla="*/ 405452 w 780196"/>
                <a:gd name="connsiteY39" fmla="*/ 619807 h 1256937"/>
                <a:gd name="connsiteX40" fmla="*/ 411530 w 780196"/>
                <a:gd name="connsiteY40" fmla="*/ 611848 h 1256937"/>
                <a:gd name="connsiteX41" fmla="*/ 431459 w 780196"/>
                <a:gd name="connsiteY41" fmla="*/ 629755 h 1256937"/>
                <a:gd name="connsiteX42" fmla="*/ 432356 w 780196"/>
                <a:gd name="connsiteY42" fmla="*/ 643684 h 1256937"/>
                <a:gd name="connsiteX43" fmla="*/ 441324 w 780196"/>
                <a:gd name="connsiteY43" fmla="*/ 668556 h 1256937"/>
                <a:gd name="connsiteX44" fmla="*/ 451288 w 780196"/>
                <a:gd name="connsiteY44" fmla="*/ 695417 h 1256937"/>
                <a:gd name="connsiteX45" fmla="*/ 477196 w 780196"/>
                <a:gd name="connsiteY45" fmla="*/ 745161 h 1256937"/>
                <a:gd name="connsiteX46" fmla="*/ 495131 w 780196"/>
                <a:gd name="connsiteY46" fmla="*/ 772022 h 1256937"/>
                <a:gd name="connsiteX47" fmla="*/ 517053 w 780196"/>
                <a:gd name="connsiteY47" fmla="*/ 778987 h 1256937"/>
                <a:gd name="connsiteX48" fmla="*/ 527018 w 780196"/>
                <a:gd name="connsiteY48" fmla="*/ 802864 h 1256937"/>
                <a:gd name="connsiteX49" fmla="*/ 532000 w 780196"/>
                <a:gd name="connsiteY49" fmla="*/ 821766 h 1256937"/>
                <a:gd name="connsiteX50" fmla="*/ 547943 w 780196"/>
                <a:gd name="connsiteY50" fmla="*/ 846638 h 1256937"/>
                <a:gd name="connsiteX51" fmla="*/ 555815 w 780196"/>
                <a:gd name="connsiteY51" fmla="*/ 841664 h 1256937"/>
                <a:gd name="connsiteX52" fmla="*/ 569864 w 780196"/>
                <a:gd name="connsiteY52" fmla="*/ 824751 h 1256937"/>
                <a:gd name="connsiteX53" fmla="*/ 610619 w 780196"/>
                <a:gd name="connsiteY53" fmla="*/ 834700 h 1256937"/>
                <a:gd name="connsiteX54" fmla="*/ 643501 w 780196"/>
                <a:gd name="connsiteY54" fmla="*/ 819776 h 1256937"/>
                <a:gd name="connsiteX55" fmla="*/ 683359 w 780196"/>
                <a:gd name="connsiteY55" fmla="*/ 822761 h 1256937"/>
                <a:gd name="connsiteX56" fmla="*/ 714348 w 780196"/>
                <a:gd name="connsiteY56" fmla="*/ 815797 h 1256937"/>
                <a:gd name="connsiteX57" fmla="*/ 737167 w 780196"/>
                <a:gd name="connsiteY57" fmla="*/ 780976 h 1256937"/>
                <a:gd name="connsiteX58" fmla="*/ 759188 w 780196"/>
                <a:gd name="connsiteY58" fmla="*/ 811817 h 1256937"/>
                <a:gd name="connsiteX59" fmla="*/ 769153 w 780196"/>
                <a:gd name="connsiteY59" fmla="*/ 826741 h 1256937"/>
                <a:gd name="connsiteX60" fmla="*/ 779117 w 780196"/>
                <a:gd name="connsiteY60" fmla="*/ 929213 h 1256937"/>
                <a:gd name="connsiteX61" fmla="*/ 779117 w 780196"/>
                <a:gd name="connsiteY61" fmla="*/ 1256526 h 1256937"/>
                <a:gd name="connsiteX62" fmla="*/ 26804 w 780196"/>
                <a:gd name="connsiteY62" fmla="*/ 1256526 h 1256937"/>
                <a:gd name="connsiteX63" fmla="*/ 26804 w 780196"/>
                <a:gd name="connsiteY63" fmla="*/ 969008 h 1256937"/>
                <a:gd name="connsiteX64" fmla="*/ 34875 w 780196"/>
                <a:gd name="connsiteY64" fmla="*/ 916279 h 1256937"/>
                <a:gd name="connsiteX65" fmla="*/ 43744 w 780196"/>
                <a:gd name="connsiteY65" fmla="*/ 886433 h 1256937"/>
                <a:gd name="connsiteX66" fmla="*/ 33779 w 780196"/>
                <a:gd name="connsiteY66" fmla="*/ 871510 h 1256937"/>
                <a:gd name="connsiteX67" fmla="*/ 22719 w 780196"/>
                <a:gd name="connsiteY67" fmla="*/ 871510 h 1256937"/>
                <a:gd name="connsiteX68" fmla="*/ 8868 w 780196"/>
                <a:gd name="connsiteY68" fmla="*/ 867530 h 1256937"/>
                <a:gd name="connsiteX69" fmla="*/ 0 w 780196"/>
                <a:gd name="connsiteY69" fmla="*/ 844648 h 1256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780196" h="1256937">
                  <a:moveTo>
                    <a:pt x="0" y="844648"/>
                  </a:moveTo>
                  <a:cubicBezTo>
                    <a:pt x="2680" y="839793"/>
                    <a:pt x="3388" y="834093"/>
                    <a:pt x="1993" y="828730"/>
                  </a:cubicBezTo>
                  <a:cubicBezTo>
                    <a:pt x="13452" y="818284"/>
                    <a:pt x="17438" y="798884"/>
                    <a:pt x="23018" y="784956"/>
                  </a:cubicBezTo>
                  <a:cubicBezTo>
                    <a:pt x="29793" y="778688"/>
                    <a:pt x="41751" y="775007"/>
                    <a:pt x="43843" y="765058"/>
                  </a:cubicBezTo>
                  <a:cubicBezTo>
                    <a:pt x="46853" y="760074"/>
                    <a:pt x="49194" y="754722"/>
                    <a:pt x="50818" y="749140"/>
                  </a:cubicBezTo>
                  <a:cubicBezTo>
                    <a:pt x="48148" y="743529"/>
                    <a:pt x="47829" y="737083"/>
                    <a:pt x="49922" y="731233"/>
                  </a:cubicBezTo>
                  <a:cubicBezTo>
                    <a:pt x="60783" y="723572"/>
                    <a:pt x="66662" y="700789"/>
                    <a:pt x="68854" y="688453"/>
                  </a:cubicBezTo>
                  <a:cubicBezTo>
                    <a:pt x="76527" y="667053"/>
                    <a:pt x="86172" y="646400"/>
                    <a:pt x="97651" y="626771"/>
                  </a:cubicBezTo>
                  <a:cubicBezTo>
                    <a:pt x="89779" y="619011"/>
                    <a:pt x="90178" y="604685"/>
                    <a:pt x="81808" y="597919"/>
                  </a:cubicBezTo>
                  <a:cubicBezTo>
                    <a:pt x="71843" y="599511"/>
                    <a:pt x="65865" y="587971"/>
                    <a:pt x="56797" y="586976"/>
                  </a:cubicBezTo>
                  <a:cubicBezTo>
                    <a:pt x="47849" y="574779"/>
                    <a:pt x="41442" y="560900"/>
                    <a:pt x="37964" y="546186"/>
                  </a:cubicBezTo>
                  <a:cubicBezTo>
                    <a:pt x="25708" y="540416"/>
                    <a:pt x="49025" y="529174"/>
                    <a:pt x="34875" y="521314"/>
                  </a:cubicBezTo>
                  <a:cubicBezTo>
                    <a:pt x="35912" y="510370"/>
                    <a:pt x="30959" y="499725"/>
                    <a:pt x="21922" y="493458"/>
                  </a:cubicBezTo>
                  <a:cubicBezTo>
                    <a:pt x="24044" y="489428"/>
                    <a:pt x="25389" y="485041"/>
                    <a:pt x="25907" y="480524"/>
                  </a:cubicBezTo>
                  <a:cubicBezTo>
                    <a:pt x="22719" y="323135"/>
                    <a:pt x="26505" y="157290"/>
                    <a:pt x="25907" y="0"/>
                  </a:cubicBezTo>
                  <a:lnTo>
                    <a:pt x="149466" y="0"/>
                  </a:lnTo>
                  <a:cubicBezTo>
                    <a:pt x="149466" y="36412"/>
                    <a:pt x="149466" y="112819"/>
                    <a:pt x="149466" y="148236"/>
                  </a:cubicBezTo>
                  <a:cubicBezTo>
                    <a:pt x="150861" y="159379"/>
                    <a:pt x="146676" y="181963"/>
                    <a:pt x="151459" y="192011"/>
                  </a:cubicBezTo>
                  <a:cubicBezTo>
                    <a:pt x="156242" y="202059"/>
                    <a:pt x="164811" y="217877"/>
                    <a:pt x="175373" y="223847"/>
                  </a:cubicBezTo>
                  <a:cubicBezTo>
                    <a:pt x="171786" y="237178"/>
                    <a:pt x="194605" y="241257"/>
                    <a:pt x="189423" y="253693"/>
                  </a:cubicBezTo>
                  <a:cubicBezTo>
                    <a:pt x="201281" y="265830"/>
                    <a:pt x="179459" y="272397"/>
                    <a:pt x="202277" y="286524"/>
                  </a:cubicBezTo>
                  <a:cubicBezTo>
                    <a:pt x="182349" y="294284"/>
                    <a:pt x="198092" y="302541"/>
                    <a:pt x="209352" y="307416"/>
                  </a:cubicBezTo>
                  <a:cubicBezTo>
                    <a:pt x="212082" y="313564"/>
                    <a:pt x="216596" y="318758"/>
                    <a:pt x="222306" y="322339"/>
                  </a:cubicBezTo>
                  <a:cubicBezTo>
                    <a:pt x="244726" y="325224"/>
                    <a:pt x="243530" y="338158"/>
                    <a:pt x="258078" y="351191"/>
                  </a:cubicBezTo>
                  <a:cubicBezTo>
                    <a:pt x="268043" y="364323"/>
                    <a:pt x="277010" y="381634"/>
                    <a:pt x="290961" y="390986"/>
                  </a:cubicBezTo>
                  <a:cubicBezTo>
                    <a:pt x="284982" y="402626"/>
                    <a:pt x="298733" y="411679"/>
                    <a:pt x="308000" y="415857"/>
                  </a:cubicBezTo>
                  <a:cubicBezTo>
                    <a:pt x="309096" y="422822"/>
                    <a:pt x="313978" y="423419"/>
                    <a:pt x="319957" y="422822"/>
                  </a:cubicBezTo>
                  <a:cubicBezTo>
                    <a:pt x="338889" y="430781"/>
                    <a:pt x="318662" y="443813"/>
                    <a:pt x="350847" y="439734"/>
                  </a:cubicBezTo>
                  <a:cubicBezTo>
                    <a:pt x="364797" y="432969"/>
                    <a:pt x="370078" y="437944"/>
                    <a:pt x="365694" y="452668"/>
                  </a:cubicBezTo>
                  <a:cubicBezTo>
                    <a:pt x="364897" y="458736"/>
                    <a:pt x="365096" y="467989"/>
                    <a:pt x="356726" y="467591"/>
                  </a:cubicBezTo>
                  <a:cubicBezTo>
                    <a:pt x="357722" y="473262"/>
                    <a:pt x="362107" y="484305"/>
                    <a:pt x="354733" y="487488"/>
                  </a:cubicBezTo>
                  <a:cubicBezTo>
                    <a:pt x="354703" y="494552"/>
                    <a:pt x="353697" y="501586"/>
                    <a:pt x="351743" y="508381"/>
                  </a:cubicBezTo>
                  <a:cubicBezTo>
                    <a:pt x="350797" y="514310"/>
                    <a:pt x="350797" y="520359"/>
                    <a:pt x="351743" y="526289"/>
                  </a:cubicBezTo>
                  <a:cubicBezTo>
                    <a:pt x="345167" y="526289"/>
                    <a:pt x="340982" y="527880"/>
                    <a:pt x="341779" y="535242"/>
                  </a:cubicBezTo>
                  <a:cubicBezTo>
                    <a:pt x="350847" y="537929"/>
                    <a:pt x="349252" y="545191"/>
                    <a:pt x="346662" y="552155"/>
                  </a:cubicBezTo>
                  <a:cubicBezTo>
                    <a:pt x="350448" y="559418"/>
                    <a:pt x="359317" y="565089"/>
                    <a:pt x="355630" y="574043"/>
                  </a:cubicBezTo>
                  <a:cubicBezTo>
                    <a:pt x="365594" y="587374"/>
                    <a:pt x="339388" y="582001"/>
                    <a:pt x="336797" y="596925"/>
                  </a:cubicBezTo>
                  <a:cubicBezTo>
                    <a:pt x="360512" y="626771"/>
                    <a:pt x="314975" y="619011"/>
                    <a:pt x="361708" y="648658"/>
                  </a:cubicBezTo>
                  <a:cubicBezTo>
                    <a:pt x="380740" y="655423"/>
                    <a:pt x="367587" y="638212"/>
                    <a:pt x="384526" y="639704"/>
                  </a:cubicBezTo>
                  <a:cubicBezTo>
                    <a:pt x="392139" y="633775"/>
                    <a:pt x="399144" y="627109"/>
                    <a:pt x="405452" y="619807"/>
                  </a:cubicBezTo>
                  <a:cubicBezTo>
                    <a:pt x="404754" y="614534"/>
                    <a:pt x="405452" y="611649"/>
                    <a:pt x="411530" y="611848"/>
                  </a:cubicBezTo>
                  <a:cubicBezTo>
                    <a:pt x="417140" y="618872"/>
                    <a:pt x="423866" y="624930"/>
                    <a:pt x="431459" y="629755"/>
                  </a:cubicBezTo>
                  <a:lnTo>
                    <a:pt x="432356" y="643684"/>
                  </a:lnTo>
                  <a:cubicBezTo>
                    <a:pt x="439530" y="649752"/>
                    <a:pt x="435644" y="661492"/>
                    <a:pt x="441324" y="668556"/>
                  </a:cubicBezTo>
                  <a:cubicBezTo>
                    <a:pt x="437338" y="676415"/>
                    <a:pt x="447203" y="689448"/>
                    <a:pt x="451288" y="695417"/>
                  </a:cubicBezTo>
                  <a:cubicBezTo>
                    <a:pt x="457167" y="717304"/>
                    <a:pt x="483672" y="720687"/>
                    <a:pt x="477196" y="745161"/>
                  </a:cubicBezTo>
                  <a:cubicBezTo>
                    <a:pt x="466334" y="759189"/>
                    <a:pt x="485665" y="765954"/>
                    <a:pt x="495131" y="772022"/>
                  </a:cubicBezTo>
                  <a:cubicBezTo>
                    <a:pt x="501210" y="763367"/>
                    <a:pt x="511672" y="775902"/>
                    <a:pt x="517053" y="778987"/>
                  </a:cubicBezTo>
                  <a:cubicBezTo>
                    <a:pt x="519345" y="784956"/>
                    <a:pt x="524327" y="796994"/>
                    <a:pt x="527018" y="802864"/>
                  </a:cubicBezTo>
                  <a:cubicBezTo>
                    <a:pt x="525473" y="809599"/>
                    <a:pt x="527336" y="816662"/>
                    <a:pt x="532000" y="821766"/>
                  </a:cubicBezTo>
                  <a:cubicBezTo>
                    <a:pt x="529309" y="832312"/>
                    <a:pt x="540270" y="841664"/>
                    <a:pt x="547943" y="846638"/>
                  </a:cubicBezTo>
                  <a:cubicBezTo>
                    <a:pt x="550205" y="844469"/>
                    <a:pt x="552885" y="842778"/>
                    <a:pt x="555815" y="841664"/>
                  </a:cubicBezTo>
                  <a:cubicBezTo>
                    <a:pt x="551630" y="834898"/>
                    <a:pt x="564882" y="826840"/>
                    <a:pt x="569864" y="824751"/>
                  </a:cubicBezTo>
                  <a:cubicBezTo>
                    <a:pt x="582220" y="827039"/>
                    <a:pt x="599758" y="826641"/>
                    <a:pt x="610619" y="834700"/>
                  </a:cubicBezTo>
                  <a:cubicBezTo>
                    <a:pt x="615003" y="805351"/>
                    <a:pt x="622178" y="815996"/>
                    <a:pt x="643501" y="819776"/>
                  </a:cubicBezTo>
                  <a:cubicBezTo>
                    <a:pt x="656356" y="821070"/>
                    <a:pt x="676284" y="806744"/>
                    <a:pt x="683359" y="822761"/>
                  </a:cubicBezTo>
                  <a:cubicBezTo>
                    <a:pt x="691938" y="815548"/>
                    <a:pt x="703497" y="812942"/>
                    <a:pt x="714348" y="815797"/>
                  </a:cubicBezTo>
                  <a:cubicBezTo>
                    <a:pt x="725210" y="809032"/>
                    <a:pt x="724313" y="782071"/>
                    <a:pt x="737167" y="780976"/>
                  </a:cubicBezTo>
                  <a:cubicBezTo>
                    <a:pt x="747590" y="788677"/>
                    <a:pt x="755302" y="799471"/>
                    <a:pt x="759188" y="811817"/>
                  </a:cubicBezTo>
                  <a:cubicBezTo>
                    <a:pt x="764559" y="815071"/>
                    <a:pt x="768206" y="820542"/>
                    <a:pt x="769153" y="826741"/>
                  </a:cubicBezTo>
                  <a:cubicBezTo>
                    <a:pt x="789081" y="823060"/>
                    <a:pt x="775131" y="911802"/>
                    <a:pt x="779117" y="929213"/>
                  </a:cubicBezTo>
                  <a:cubicBezTo>
                    <a:pt x="779117" y="1036759"/>
                    <a:pt x="779117" y="1148881"/>
                    <a:pt x="779117" y="1256526"/>
                  </a:cubicBezTo>
                  <a:cubicBezTo>
                    <a:pt x="529010" y="1257123"/>
                    <a:pt x="277010" y="1257024"/>
                    <a:pt x="26804" y="1256526"/>
                  </a:cubicBezTo>
                  <a:cubicBezTo>
                    <a:pt x="26804" y="1166988"/>
                    <a:pt x="26804" y="1058447"/>
                    <a:pt x="26804" y="969008"/>
                  </a:cubicBezTo>
                  <a:cubicBezTo>
                    <a:pt x="23715" y="951398"/>
                    <a:pt x="32882" y="932595"/>
                    <a:pt x="34875" y="916279"/>
                  </a:cubicBezTo>
                  <a:cubicBezTo>
                    <a:pt x="42648" y="900660"/>
                    <a:pt x="23815" y="901257"/>
                    <a:pt x="43744" y="886433"/>
                  </a:cubicBezTo>
                  <a:cubicBezTo>
                    <a:pt x="43744" y="877977"/>
                    <a:pt x="32185" y="881459"/>
                    <a:pt x="33779" y="871510"/>
                  </a:cubicBezTo>
                  <a:lnTo>
                    <a:pt x="22719" y="871510"/>
                  </a:lnTo>
                  <a:cubicBezTo>
                    <a:pt x="18932" y="867829"/>
                    <a:pt x="13950" y="862357"/>
                    <a:pt x="8868" y="867530"/>
                  </a:cubicBezTo>
                  <a:cubicBezTo>
                    <a:pt x="-3089" y="859671"/>
                    <a:pt x="12156" y="859273"/>
                    <a:pt x="0" y="844648"/>
                  </a:cubicBez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85" name="Freeform: Shape 1684">
              <a:extLst>
                <a:ext uri="{FF2B5EF4-FFF2-40B4-BE49-F238E27FC236}">
                  <a16:creationId xmlns:a16="http://schemas.microsoft.com/office/drawing/2014/main" id="{5B8FFF8D-9ACB-41F4-B147-860085FB4368}"/>
                </a:ext>
              </a:extLst>
            </p:cNvPr>
            <p:cNvSpPr/>
            <p:nvPr/>
          </p:nvSpPr>
          <p:spPr>
            <a:xfrm>
              <a:off x="2466510" y="3429964"/>
              <a:ext cx="955099" cy="923874"/>
            </a:xfrm>
            <a:custGeom>
              <a:avLst/>
              <a:gdLst>
                <a:gd name="connsiteX0" fmla="*/ 3399 w 955099"/>
                <a:gd name="connsiteY0" fmla="*/ 6964 h 923874"/>
                <a:gd name="connsiteX1" fmla="*/ 2402 w 955099"/>
                <a:gd name="connsiteY1" fmla="*/ 0 h 923874"/>
                <a:gd name="connsiteX2" fmla="*/ 329235 w 955099"/>
                <a:gd name="connsiteY2" fmla="*/ 0 h 923874"/>
                <a:gd name="connsiteX3" fmla="*/ 338203 w 955099"/>
                <a:gd name="connsiteY3" fmla="*/ 16913 h 923874"/>
                <a:gd name="connsiteX4" fmla="*/ 347171 w 955099"/>
                <a:gd name="connsiteY4" fmla="*/ 41785 h 923874"/>
                <a:gd name="connsiteX5" fmla="*/ 444822 w 955099"/>
                <a:gd name="connsiteY5" fmla="*/ 46759 h 923874"/>
                <a:gd name="connsiteX6" fmla="*/ 679982 w 955099"/>
                <a:gd name="connsiteY6" fmla="*/ 63672 h 923874"/>
                <a:gd name="connsiteX7" fmla="*/ 682075 w 955099"/>
                <a:gd name="connsiteY7" fmla="*/ 76605 h 923874"/>
                <a:gd name="connsiteX8" fmla="*/ 702003 w 955099"/>
                <a:gd name="connsiteY8" fmla="*/ 91529 h 923874"/>
                <a:gd name="connsiteX9" fmla="*/ 704993 w 955099"/>
                <a:gd name="connsiteY9" fmla="*/ 57703 h 923874"/>
                <a:gd name="connsiteX10" fmla="*/ 713961 w 955099"/>
                <a:gd name="connsiteY10" fmla="*/ 24872 h 923874"/>
                <a:gd name="connsiteX11" fmla="*/ 736879 w 955099"/>
                <a:gd name="connsiteY11" fmla="*/ 32831 h 923874"/>
                <a:gd name="connsiteX12" fmla="*/ 768765 w 955099"/>
                <a:gd name="connsiteY12" fmla="*/ 39795 h 923874"/>
                <a:gd name="connsiteX13" fmla="*/ 778729 w 955099"/>
                <a:gd name="connsiteY13" fmla="*/ 69641 h 923874"/>
                <a:gd name="connsiteX14" fmla="*/ 798658 w 955099"/>
                <a:gd name="connsiteY14" fmla="*/ 162165 h 923874"/>
                <a:gd name="connsiteX15" fmla="*/ 885349 w 955099"/>
                <a:gd name="connsiteY15" fmla="*/ 347211 h 923874"/>
                <a:gd name="connsiteX16" fmla="*/ 884452 w 955099"/>
                <a:gd name="connsiteY16" fmla="*/ 406904 h 923874"/>
                <a:gd name="connsiteX17" fmla="*/ 955100 w 955099"/>
                <a:gd name="connsiteY17" fmla="*/ 605879 h 923874"/>
                <a:gd name="connsiteX18" fmla="*/ 945135 w 955099"/>
                <a:gd name="connsiteY18" fmla="*/ 702381 h 923874"/>
                <a:gd name="connsiteX19" fmla="*/ 939156 w 955099"/>
                <a:gd name="connsiteY19" fmla="*/ 761079 h 923874"/>
                <a:gd name="connsiteX20" fmla="*/ 930189 w 955099"/>
                <a:gd name="connsiteY20" fmla="*/ 752125 h 923874"/>
                <a:gd name="connsiteX21" fmla="*/ 919227 w 955099"/>
                <a:gd name="connsiteY21" fmla="*/ 799879 h 923874"/>
                <a:gd name="connsiteX22" fmla="*/ 936167 w 955099"/>
                <a:gd name="connsiteY22" fmla="*/ 780976 h 923874"/>
                <a:gd name="connsiteX23" fmla="*/ 876381 w 955099"/>
                <a:gd name="connsiteY23" fmla="*/ 872505 h 923874"/>
                <a:gd name="connsiteX24" fmla="*/ 814501 w 955099"/>
                <a:gd name="connsiteY24" fmla="*/ 893397 h 923874"/>
                <a:gd name="connsiteX25" fmla="*/ 896210 w 955099"/>
                <a:gd name="connsiteY25" fmla="*/ 825746 h 923874"/>
                <a:gd name="connsiteX26" fmla="*/ 864323 w 955099"/>
                <a:gd name="connsiteY26" fmla="*/ 832710 h 923874"/>
                <a:gd name="connsiteX27" fmla="*/ 831441 w 955099"/>
                <a:gd name="connsiteY27" fmla="*/ 835694 h 923874"/>
                <a:gd name="connsiteX28" fmla="*/ 811512 w 955099"/>
                <a:gd name="connsiteY28" fmla="*/ 819777 h 923874"/>
                <a:gd name="connsiteX29" fmla="*/ 814501 w 955099"/>
                <a:gd name="connsiteY29" fmla="*/ 796894 h 923874"/>
                <a:gd name="connsiteX30" fmla="*/ 796566 w 955099"/>
                <a:gd name="connsiteY30" fmla="*/ 760084 h 923874"/>
                <a:gd name="connsiteX31" fmla="*/ 784708 w 955099"/>
                <a:gd name="connsiteY31" fmla="*/ 745161 h 923874"/>
                <a:gd name="connsiteX32" fmla="*/ 747839 w 955099"/>
                <a:gd name="connsiteY32" fmla="*/ 734217 h 923874"/>
                <a:gd name="connsiteX33" fmla="*/ 716850 w 955099"/>
                <a:gd name="connsiteY33" fmla="*/ 653633 h 923874"/>
                <a:gd name="connsiteX34" fmla="*/ 697918 w 955099"/>
                <a:gd name="connsiteY34" fmla="*/ 655622 h 923874"/>
                <a:gd name="connsiteX35" fmla="*/ 674003 w 955099"/>
                <a:gd name="connsiteY35" fmla="*/ 607868 h 923874"/>
                <a:gd name="connsiteX36" fmla="*/ 613220 w 955099"/>
                <a:gd name="connsiteY36" fmla="*/ 499427 h 923874"/>
                <a:gd name="connsiteX37" fmla="*/ 642117 w 955099"/>
                <a:gd name="connsiteY37" fmla="*/ 474555 h 923874"/>
                <a:gd name="connsiteX38" fmla="*/ 637135 w 955099"/>
                <a:gd name="connsiteY38" fmla="*/ 453663 h 923874"/>
                <a:gd name="connsiteX39" fmla="*/ 615213 w 955099"/>
                <a:gd name="connsiteY39" fmla="*/ 487488 h 923874"/>
                <a:gd name="connsiteX40" fmla="*/ 603355 w 955099"/>
                <a:gd name="connsiteY40" fmla="*/ 429786 h 923874"/>
                <a:gd name="connsiteX41" fmla="*/ 615313 w 955099"/>
                <a:gd name="connsiteY41" fmla="*/ 386011 h 923874"/>
                <a:gd name="connsiteX42" fmla="*/ 623185 w 955099"/>
                <a:gd name="connsiteY42" fmla="*/ 333283 h 923874"/>
                <a:gd name="connsiteX43" fmla="*/ 617306 w 955099"/>
                <a:gd name="connsiteY43" fmla="*/ 318360 h 923874"/>
                <a:gd name="connsiteX44" fmla="*/ 620295 w 955099"/>
                <a:gd name="connsiteY44" fmla="*/ 303437 h 923874"/>
                <a:gd name="connsiteX45" fmla="*/ 611228 w 955099"/>
                <a:gd name="connsiteY45" fmla="*/ 288514 h 923874"/>
                <a:gd name="connsiteX46" fmla="*/ 603256 w 955099"/>
                <a:gd name="connsiteY46" fmla="*/ 275580 h 923874"/>
                <a:gd name="connsiteX47" fmla="*/ 581335 w 955099"/>
                <a:gd name="connsiteY47" fmla="*/ 263642 h 923874"/>
                <a:gd name="connsiteX48" fmla="*/ 574359 w 955099"/>
                <a:gd name="connsiteY48" fmla="*/ 270606 h 923874"/>
                <a:gd name="connsiteX49" fmla="*/ 559413 w 955099"/>
                <a:gd name="connsiteY49" fmla="*/ 247724 h 923874"/>
                <a:gd name="connsiteX50" fmla="*/ 551441 w 955099"/>
                <a:gd name="connsiteY50" fmla="*/ 227826 h 923874"/>
                <a:gd name="connsiteX51" fmla="*/ 542473 w 955099"/>
                <a:gd name="connsiteY51" fmla="*/ 221857 h 923874"/>
                <a:gd name="connsiteX52" fmla="*/ 529619 w 955099"/>
                <a:gd name="connsiteY52" fmla="*/ 194000 h 923874"/>
                <a:gd name="connsiteX53" fmla="*/ 495740 w 955099"/>
                <a:gd name="connsiteY53" fmla="*/ 157190 h 923874"/>
                <a:gd name="connsiteX54" fmla="*/ 456779 w 955099"/>
                <a:gd name="connsiteY54" fmla="*/ 132318 h 923874"/>
                <a:gd name="connsiteX55" fmla="*/ 432865 w 955099"/>
                <a:gd name="connsiteY55" fmla="*/ 134308 h 923874"/>
                <a:gd name="connsiteX56" fmla="*/ 408950 w 955099"/>
                <a:gd name="connsiteY56" fmla="*/ 144257 h 923874"/>
                <a:gd name="connsiteX57" fmla="*/ 411940 w 955099"/>
                <a:gd name="connsiteY57" fmla="*/ 160175 h 923874"/>
                <a:gd name="connsiteX58" fmla="*/ 383043 w 955099"/>
                <a:gd name="connsiteY58" fmla="*/ 161170 h 923874"/>
                <a:gd name="connsiteX59" fmla="*/ 379057 w 955099"/>
                <a:gd name="connsiteY59" fmla="*/ 176093 h 923874"/>
                <a:gd name="connsiteX60" fmla="*/ 358132 w 955099"/>
                <a:gd name="connsiteY60" fmla="*/ 190021 h 923874"/>
                <a:gd name="connsiteX61" fmla="*/ 324252 w 955099"/>
                <a:gd name="connsiteY61" fmla="*/ 204944 h 923874"/>
                <a:gd name="connsiteX62" fmla="*/ 285391 w 955099"/>
                <a:gd name="connsiteY62" fmla="*/ 194995 h 923874"/>
                <a:gd name="connsiteX63" fmla="*/ 280509 w 955099"/>
                <a:gd name="connsiteY63" fmla="*/ 156195 h 923874"/>
                <a:gd name="connsiteX64" fmla="*/ 268452 w 955099"/>
                <a:gd name="connsiteY64" fmla="*/ 151221 h 923874"/>
                <a:gd name="connsiteX65" fmla="*/ 227598 w 955099"/>
                <a:gd name="connsiteY65" fmla="*/ 119385 h 923874"/>
                <a:gd name="connsiteX66" fmla="*/ 13363 w 955099"/>
                <a:gd name="connsiteY66" fmla="*/ 104462 h 923874"/>
                <a:gd name="connsiteX67" fmla="*/ 32295 w 955099"/>
                <a:gd name="connsiteY67" fmla="*/ 81580 h 923874"/>
                <a:gd name="connsiteX68" fmla="*/ 28410 w 955099"/>
                <a:gd name="connsiteY68" fmla="*/ 49744 h 923874"/>
                <a:gd name="connsiteX69" fmla="*/ 3399 w 955099"/>
                <a:gd name="connsiteY69" fmla="*/ 6964 h 923874"/>
                <a:gd name="connsiteX70" fmla="*/ 682971 w 955099"/>
                <a:gd name="connsiteY70" fmla="*/ 912300 h 923874"/>
                <a:gd name="connsiteX71" fmla="*/ 693932 w 955099"/>
                <a:gd name="connsiteY71" fmla="*/ 918269 h 923874"/>
                <a:gd name="connsiteX72" fmla="*/ 682971 w 955099"/>
                <a:gd name="connsiteY72" fmla="*/ 912300 h 923874"/>
                <a:gd name="connsiteX73" fmla="*/ 704893 w 955099"/>
                <a:gd name="connsiteY73" fmla="*/ 916279 h 923874"/>
                <a:gd name="connsiteX74" fmla="*/ 723825 w 955099"/>
                <a:gd name="connsiteY74" fmla="*/ 911305 h 923874"/>
                <a:gd name="connsiteX75" fmla="*/ 705063 w 955099"/>
                <a:gd name="connsiteY75" fmla="*/ 923532 h 923874"/>
                <a:gd name="connsiteX76" fmla="*/ 703897 w 955099"/>
                <a:gd name="connsiteY76" fmla="*/ 923244 h 923874"/>
                <a:gd name="connsiteX77" fmla="*/ 730801 w 955099"/>
                <a:gd name="connsiteY77" fmla="*/ 913295 h 923874"/>
                <a:gd name="connsiteX78" fmla="*/ 759797 w 955099"/>
                <a:gd name="connsiteY78" fmla="*/ 890413 h 923874"/>
                <a:gd name="connsiteX79" fmla="*/ 802544 w 955099"/>
                <a:gd name="connsiteY79" fmla="*/ 898372 h 923874"/>
                <a:gd name="connsiteX80" fmla="*/ 776637 w 955099"/>
                <a:gd name="connsiteY80" fmla="*/ 903346 h 923874"/>
                <a:gd name="connsiteX81" fmla="*/ 730801 w 955099"/>
                <a:gd name="connsiteY81" fmla="*/ 916279 h 92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955099" h="923874">
                  <a:moveTo>
                    <a:pt x="3399" y="6964"/>
                  </a:moveTo>
                  <a:lnTo>
                    <a:pt x="2402" y="0"/>
                  </a:lnTo>
                  <a:cubicBezTo>
                    <a:pt x="111114" y="0"/>
                    <a:pt x="220723" y="696"/>
                    <a:pt x="329235" y="0"/>
                  </a:cubicBezTo>
                  <a:cubicBezTo>
                    <a:pt x="328438" y="5572"/>
                    <a:pt x="335313" y="12635"/>
                    <a:pt x="338203" y="16913"/>
                  </a:cubicBezTo>
                  <a:cubicBezTo>
                    <a:pt x="337356" y="26115"/>
                    <a:pt x="340644" y="35229"/>
                    <a:pt x="347171" y="41785"/>
                  </a:cubicBezTo>
                  <a:cubicBezTo>
                    <a:pt x="377064" y="42879"/>
                    <a:pt x="415427" y="46162"/>
                    <a:pt x="444822" y="46759"/>
                  </a:cubicBezTo>
                  <a:cubicBezTo>
                    <a:pt x="522644" y="52430"/>
                    <a:pt x="602459" y="55813"/>
                    <a:pt x="679982" y="63672"/>
                  </a:cubicBezTo>
                  <a:cubicBezTo>
                    <a:pt x="677829" y="67990"/>
                    <a:pt x="678677" y="73183"/>
                    <a:pt x="682075" y="76605"/>
                  </a:cubicBezTo>
                  <a:cubicBezTo>
                    <a:pt x="677690" y="92026"/>
                    <a:pt x="689448" y="94613"/>
                    <a:pt x="702003" y="91529"/>
                  </a:cubicBezTo>
                  <a:cubicBezTo>
                    <a:pt x="704046" y="80366"/>
                    <a:pt x="705052" y="69044"/>
                    <a:pt x="704993" y="57703"/>
                  </a:cubicBezTo>
                  <a:cubicBezTo>
                    <a:pt x="698565" y="46142"/>
                    <a:pt x="702551" y="31577"/>
                    <a:pt x="713961" y="24872"/>
                  </a:cubicBezTo>
                  <a:cubicBezTo>
                    <a:pt x="721414" y="28036"/>
                    <a:pt x="729067" y="30692"/>
                    <a:pt x="736879" y="32831"/>
                  </a:cubicBezTo>
                  <a:cubicBezTo>
                    <a:pt x="746554" y="38333"/>
                    <a:pt x="757674" y="40760"/>
                    <a:pt x="768765" y="39795"/>
                  </a:cubicBezTo>
                  <a:cubicBezTo>
                    <a:pt x="786302" y="39795"/>
                    <a:pt x="773149" y="58399"/>
                    <a:pt x="778729" y="69641"/>
                  </a:cubicBezTo>
                  <a:cubicBezTo>
                    <a:pt x="783651" y="100831"/>
                    <a:pt x="790308" y="131712"/>
                    <a:pt x="798658" y="162165"/>
                  </a:cubicBezTo>
                  <a:cubicBezTo>
                    <a:pt x="812309" y="228523"/>
                    <a:pt x="847583" y="291498"/>
                    <a:pt x="885349" y="347211"/>
                  </a:cubicBezTo>
                  <a:cubicBezTo>
                    <a:pt x="901292" y="380241"/>
                    <a:pt x="873889" y="363726"/>
                    <a:pt x="884452" y="406904"/>
                  </a:cubicBezTo>
                  <a:cubicBezTo>
                    <a:pt x="905776" y="469183"/>
                    <a:pt x="941448" y="540814"/>
                    <a:pt x="955100" y="605879"/>
                  </a:cubicBezTo>
                  <a:cubicBezTo>
                    <a:pt x="954203" y="636919"/>
                    <a:pt x="948722" y="671341"/>
                    <a:pt x="945135" y="702381"/>
                  </a:cubicBezTo>
                  <a:cubicBezTo>
                    <a:pt x="943242" y="721682"/>
                    <a:pt x="947128" y="742873"/>
                    <a:pt x="939156" y="761079"/>
                  </a:cubicBezTo>
                  <a:cubicBezTo>
                    <a:pt x="937363" y="759189"/>
                    <a:pt x="932181" y="754115"/>
                    <a:pt x="930189" y="752125"/>
                  </a:cubicBezTo>
                  <a:cubicBezTo>
                    <a:pt x="922814" y="766053"/>
                    <a:pt x="912850" y="783961"/>
                    <a:pt x="919227" y="799879"/>
                  </a:cubicBezTo>
                  <a:cubicBezTo>
                    <a:pt x="927298" y="798486"/>
                    <a:pt x="933776" y="787941"/>
                    <a:pt x="936167" y="780976"/>
                  </a:cubicBezTo>
                  <a:cubicBezTo>
                    <a:pt x="938658" y="810823"/>
                    <a:pt x="897704" y="851712"/>
                    <a:pt x="876381" y="872505"/>
                  </a:cubicBezTo>
                  <a:cubicBezTo>
                    <a:pt x="863527" y="876683"/>
                    <a:pt x="825163" y="910310"/>
                    <a:pt x="814501" y="893397"/>
                  </a:cubicBezTo>
                  <a:cubicBezTo>
                    <a:pt x="841206" y="875887"/>
                    <a:pt x="891527" y="862158"/>
                    <a:pt x="896210" y="825746"/>
                  </a:cubicBezTo>
                  <a:cubicBezTo>
                    <a:pt x="885249" y="821468"/>
                    <a:pt x="873989" y="832213"/>
                    <a:pt x="864323" y="832710"/>
                  </a:cubicBezTo>
                  <a:cubicBezTo>
                    <a:pt x="852865" y="821369"/>
                    <a:pt x="844395" y="836292"/>
                    <a:pt x="831441" y="835694"/>
                  </a:cubicBezTo>
                  <a:cubicBezTo>
                    <a:pt x="821477" y="839773"/>
                    <a:pt x="814003" y="828532"/>
                    <a:pt x="811512" y="819777"/>
                  </a:cubicBezTo>
                  <a:cubicBezTo>
                    <a:pt x="813883" y="812395"/>
                    <a:pt x="814900" y="804635"/>
                    <a:pt x="814501" y="796894"/>
                  </a:cubicBezTo>
                  <a:cubicBezTo>
                    <a:pt x="807028" y="786946"/>
                    <a:pt x="803839" y="770132"/>
                    <a:pt x="796566" y="760084"/>
                  </a:cubicBezTo>
                  <a:cubicBezTo>
                    <a:pt x="789640" y="758433"/>
                    <a:pt x="784748" y="752274"/>
                    <a:pt x="784708" y="745161"/>
                  </a:cubicBezTo>
                  <a:cubicBezTo>
                    <a:pt x="772950" y="743271"/>
                    <a:pt x="758402" y="722776"/>
                    <a:pt x="747839" y="734217"/>
                  </a:cubicBezTo>
                  <a:cubicBezTo>
                    <a:pt x="729007" y="712529"/>
                    <a:pt x="734487" y="675221"/>
                    <a:pt x="716850" y="653633"/>
                  </a:cubicBezTo>
                  <a:cubicBezTo>
                    <a:pt x="712167" y="647962"/>
                    <a:pt x="702900" y="652240"/>
                    <a:pt x="697918" y="655622"/>
                  </a:cubicBezTo>
                  <a:cubicBezTo>
                    <a:pt x="677989" y="652240"/>
                    <a:pt x="673605" y="624383"/>
                    <a:pt x="674003" y="607868"/>
                  </a:cubicBezTo>
                  <a:cubicBezTo>
                    <a:pt x="656137" y="570431"/>
                    <a:pt x="635840" y="534208"/>
                    <a:pt x="613220" y="499427"/>
                  </a:cubicBezTo>
                  <a:cubicBezTo>
                    <a:pt x="629761" y="504899"/>
                    <a:pt x="634246" y="485200"/>
                    <a:pt x="642117" y="474555"/>
                  </a:cubicBezTo>
                  <a:cubicBezTo>
                    <a:pt x="659854" y="465402"/>
                    <a:pt x="651185" y="459135"/>
                    <a:pt x="637135" y="453663"/>
                  </a:cubicBezTo>
                  <a:cubicBezTo>
                    <a:pt x="627171" y="463611"/>
                    <a:pt x="627171" y="479629"/>
                    <a:pt x="615213" y="487488"/>
                  </a:cubicBezTo>
                  <a:cubicBezTo>
                    <a:pt x="615213" y="458140"/>
                    <a:pt x="592993" y="463015"/>
                    <a:pt x="603355" y="429786"/>
                  </a:cubicBezTo>
                  <a:cubicBezTo>
                    <a:pt x="591697" y="399940"/>
                    <a:pt x="610131" y="408893"/>
                    <a:pt x="615313" y="386011"/>
                  </a:cubicBezTo>
                  <a:cubicBezTo>
                    <a:pt x="622517" y="369427"/>
                    <a:pt x="625238" y="351241"/>
                    <a:pt x="623185" y="333283"/>
                  </a:cubicBezTo>
                  <a:cubicBezTo>
                    <a:pt x="616608" y="331592"/>
                    <a:pt x="616808" y="323334"/>
                    <a:pt x="617306" y="318360"/>
                  </a:cubicBezTo>
                  <a:cubicBezTo>
                    <a:pt x="614984" y="313256"/>
                    <a:pt x="616190" y="307257"/>
                    <a:pt x="620295" y="303437"/>
                  </a:cubicBezTo>
                  <a:cubicBezTo>
                    <a:pt x="617545" y="298303"/>
                    <a:pt x="614516" y="293319"/>
                    <a:pt x="611228" y="288514"/>
                  </a:cubicBezTo>
                  <a:cubicBezTo>
                    <a:pt x="613220" y="282843"/>
                    <a:pt x="607740" y="278067"/>
                    <a:pt x="603256" y="275580"/>
                  </a:cubicBezTo>
                  <a:cubicBezTo>
                    <a:pt x="613220" y="264637"/>
                    <a:pt x="587811" y="266129"/>
                    <a:pt x="581335" y="263642"/>
                  </a:cubicBezTo>
                  <a:cubicBezTo>
                    <a:pt x="580139" y="267721"/>
                    <a:pt x="580437" y="273590"/>
                    <a:pt x="574359" y="270606"/>
                  </a:cubicBezTo>
                  <a:cubicBezTo>
                    <a:pt x="570174" y="260657"/>
                    <a:pt x="574359" y="249316"/>
                    <a:pt x="559413" y="247724"/>
                  </a:cubicBezTo>
                  <a:cubicBezTo>
                    <a:pt x="559931" y="240223"/>
                    <a:pt x="556992" y="232900"/>
                    <a:pt x="551441" y="227826"/>
                  </a:cubicBezTo>
                  <a:cubicBezTo>
                    <a:pt x="546758" y="227826"/>
                    <a:pt x="543370" y="226732"/>
                    <a:pt x="542473" y="221857"/>
                  </a:cubicBezTo>
                  <a:cubicBezTo>
                    <a:pt x="528622" y="216584"/>
                    <a:pt x="530516" y="206436"/>
                    <a:pt x="529619" y="194000"/>
                  </a:cubicBezTo>
                  <a:cubicBezTo>
                    <a:pt x="509690" y="185942"/>
                    <a:pt x="507897" y="173108"/>
                    <a:pt x="495740" y="157190"/>
                  </a:cubicBezTo>
                  <a:cubicBezTo>
                    <a:pt x="485178" y="148634"/>
                    <a:pt x="465847" y="142765"/>
                    <a:pt x="456779" y="132318"/>
                  </a:cubicBezTo>
                  <a:cubicBezTo>
                    <a:pt x="450203" y="128041"/>
                    <a:pt x="440039" y="132318"/>
                    <a:pt x="432865" y="134308"/>
                  </a:cubicBezTo>
                  <a:cubicBezTo>
                    <a:pt x="425391" y="131423"/>
                    <a:pt x="414829" y="140377"/>
                    <a:pt x="408950" y="144257"/>
                  </a:cubicBezTo>
                  <a:cubicBezTo>
                    <a:pt x="411541" y="148535"/>
                    <a:pt x="416224" y="155400"/>
                    <a:pt x="411940" y="160175"/>
                  </a:cubicBezTo>
                  <a:cubicBezTo>
                    <a:pt x="401975" y="160175"/>
                    <a:pt x="392011" y="153012"/>
                    <a:pt x="383043" y="161170"/>
                  </a:cubicBezTo>
                  <a:cubicBezTo>
                    <a:pt x="383043" y="165647"/>
                    <a:pt x="386132" y="175098"/>
                    <a:pt x="379057" y="176093"/>
                  </a:cubicBezTo>
                  <a:cubicBezTo>
                    <a:pt x="370807" y="178451"/>
                    <a:pt x="363493" y="183326"/>
                    <a:pt x="358132" y="190021"/>
                  </a:cubicBezTo>
                  <a:cubicBezTo>
                    <a:pt x="350160" y="192707"/>
                    <a:pt x="332025" y="201064"/>
                    <a:pt x="324252" y="204944"/>
                  </a:cubicBezTo>
                  <a:cubicBezTo>
                    <a:pt x="312694" y="198776"/>
                    <a:pt x="298445" y="186738"/>
                    <a:pt x="285391" y="194995"/>
                  </a:cubicBezTo>
                  <a:cubicBezTo>
                    <a:pt x="278705" y="183216"/>
                    <a:pt x="276941" y="169268"/>
                    <a:pt x="280509" y="156195"/>
                  </a:cubicBezTo>
                  <a:cubicBezTo>
                    <a:pt x="278516" y="152514"/>
                    <a:pt x="272238" y="151221"/>
                    <a:pt x="268452" y="151221"/>
                  </a:cubicBezTo>
                  <a:cubicBezTo>
                    <a:pt x="257690" y="138885"/>
                    <a:pt x="239954" y="130030"/>
                    <a:pt x="227598" y="119385"/>
                  </a:cubicBezTo>
                  <a:cubicBezTo>
                    <a:pt x="161036" y="73223"/>
                    <a:pt x="86801" y="90534"/>
                    <a:pt x="13363" y="104462"/>
                  </a:cubicBezTo>
                  <a:cubicBezTo>
                    <a:pt x="21434" y="98493"/>
                    <a:pt x="22530" y="84564"/>
                    <a:pt x="32295" y="81580"/>
                  </a:cubicBezTo>
                  <a:cubicBezTo>
                    <a:pt x="15455" y="76605"/>
                    <a:pt x="28110" y="61185"/>
                    <a:pt x="28410" y="49744"/>
                  </a:cubicBezTo>
                  <a:cubicBezTo>
                    <a:pt x="16651" y="39497"/>
                    <a:pt x="-9256" y="23977"/>
                    <a:pt x="3399" y="6964"/>
                  </a:cubicBezTo>
                  <a:close/>
                  <a:moveTo>
                    <a:pt x="682971" y="912300"/>
                  </a:moveTo>
                  <a:cubicBezTo>
                    <a:pt x="688751" y="901356"/>
                    <a:pt x="698815" y="907823"/>
                    <a:pt x="693932" y="918269"/>
                  </a:cubicBezTo>
                  <a:cubicBezTo>
                    <a:pt x="688950" y="918170"/>
                    <a:pt x="681975" y="919861"/>
                    <a:pt x="682971" y="912300"/>
                  </a:cubicBezTo>
                  <a:close/>
                  <a:moveTo>
                    <a:pt x="704893" y="916279"/>
                  </a:moveTo>
                  <a:cubicBezTo>
                    <a:pt x="706686" y="909514"/>
                    <a:pt x="719043" y="911504"/>
                    <a:pt x="723825" y="911305"/>
                  </a:cubicBezTo>
                  <a:cubicBezTo>
                    <a:pt x="722032" y="919851"/>
                    <a:pt x="713632" y="925333"/>
                    <a:pt x="705063" y="923532"/>
                  </a:cubicBezTo>
                  <a:cubicBezTo>
                    <a:pt x="704674" y="923452"/>
                    <a:pt x="704285" y="923353"/>
                    <a:pt x="703897" y="923244"/>
                  </a:cubicBezTo>
                  <a:close/>
                  <a:moveTo>
                    <a:pt x="730801" y="913295"/>
                  </a:moveTo>
                  <a:cubicBezTo>
                    <a:pt x="736949" y="902053"/>
                    <a:pt x="747421" y="893795"/>
                    <a:pt x="759797" y="890413"/>
                  </a:cubicBezTo>
                  <a:cubicBezTo>
                    <a:pt x="769761" y="873400"/>
                    <a:pt x="795470" y="882652"/>
                    <a:pt x="802544" y="898372"/>
                  </a:cubicBezTo>
                  <a:cubicBezTo>
                    <a:pt x="795370" y="900560"/>
                    <a:pt x="784110" y="907823"/>
                    <a:pt x="776637" y="903346"/>
                  </a:cubicBezTo>
                  <a:cubicBezTo>
                    <a:pt x="762487" y="908022"/>
                    <a:pt x="746146" y="916080"/>
                    <a:pt x="730801" y="916279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86" name="Freeform: Shape 1685">
              <a:extLst>
                <a:ext uri="{FF2B5EF4-FFF2-40B4-BE49-F238E27FC236}">
                  <a16:creationId xmlns:a16="http://schemas.microsoft.com/office/drawing/2014/main" id="{13998357-8D3D-4D18-9EDC-1E77BF48367E}"/>
                </a:ext>
              </a:extLst>
            </p:cNvPr>
            <p:cNvSpPr/>
            <p:nvPr/>
          </p:nvSpPr>
          <p:spPr>
            <a:xfrm>
              <a:off x="-1109405" y="449320"/>
              <a:ext cx="1510777" cy="846637"/>
            </a:xfrm>
            <a:custGeom>
              <a:avLst/>
              <a:gdLst>
                <a:gd name="connsiteX0" fmla="*/ 100 w 1510777"/>
                <a:gd name="connsiteY0" fmla="*/ 0 h 846637"/>
                <a:gd name="connsiteX1" fmla="*/ 1509708 w 1510777"/>
                <a:gd name="connsiteY1" fmla="*/ 0 h 846637"/>
                <a:gd name="connsiteX2" fmla="*/ 1510704 w 1510777"/>
                <a:gd name="connsiteY2" fmla="*/ 737202 h 846637"/>
                <a:gd name="connsiteX3" fmla="*/ 873978 w 1510777"/>
                <a:gd name="connsiteY3" fmla="*/ 736207 h 846637"/>
                <a:gd name="connsiteX4" fmla="*/ 629850 w 1510777"/>
                <a:gd name="connsiteY4" fmla="*/ 736207 h 846637"/>
                <a:gd name="connsiteX5" fmla="*/ 629850 w 1510777"/>
                <a:gd name="connsiteY5" fmla="*/ 829725 h 846637"/>
                <a:gd name="connsiteX6" fmla="*/ 617993 w 1510777"/>
                <a:gd name="connsiteY6" fmla="*/ 818782 h 846637"/>
                <a:gd name="connsiteX7" fmla="*/ 607032 w 1510777"/>
                <a:gd name="connsiteY7" fmla="*/ 803858 h 846637"/>
                <a:gd name="connsiteX8" fmla="*/ 570163 w 1510777"/>
                <a:gd name="connsiteY8" fmla="*/ 810822 h 846637"/>
                <a:gd name="connsiteX9" fmla="*/ 558107 w 1510777"/>
                <a:gd name="connsiteY9" fmla="*/ 814802 h 846637"/>
                <a:gd name="connsiteX10" fmla="*/ 534192 w 1510777"/>
                <a:gd name="connsiteY10" fmla="*/ 822761 h 846637"/>
                <a:gd name="connsiteX11" fmla="*/ 505295 w 1510777"/>
                <a:gd name="connsiteY11" fmla="*/ 818782 h 846637"/>
                <a:gd name="connsiteX12" fmla="*/ 461452 w 1510777"/>
                <a:gd name="connsiteY12" fmla="*/ 834700 h 846637"/>
                <a:gd name="connsiteX13" fmla="*/ 420598 w 1510777"/>
                <a:gd name="connsiteY13" fmla="*/ 824751 h 846637"/>
                <a:gd name="connsiteX14" fmla="*/ 406647 w 1510777"/>
                <a:gd name="connsiteY14" fmla="*/ 841664 h 846637"/>
                <a:gd name="connsiteX15" fmla="*/ 398676 w 1510777"/>
                <a:gd name="connsiteY15" fmla="*/ 846638 h 846637"/>
                <a:gd name="connsiteX16" fmla="*/ 382833 w 1510777"/>
                <a:gd name="connsiteY16" fmla="*/ 821766 h 846637"/>
                <a:gd name="connsiteX17" fmla="*/ 377850 w 1510777"/>
                <a:gd name="connsiteY17" fmla="*/ 802864 h 846637"/>
                <a:gd name="connsiteX18" fmla="*/ 367886 w 1510777"/>
                <a:gd name="connsiteY18" fmla="*/ 778987 h 846637"/>
                <a:gd name="connsiteX19" fmla="*/ 346064 w 1510777"/>
                <a:gd name="connsiteY19" fmla="*/ 772022 h 846637"/>
                <a:gd name="connsiteX20" fmla="*/ 324142 w 1510777"/>
                <a:gd name="connsiteY20" fmla="*/ 753120 h 846637"/>
                <a:gd name="connsiteX21" fmla="*/ 329025 w 1510777"/>
                <a:gd name="connsiteY21" fmla="*/ 735212 h 846637"/>
                <a:gd name="connsiteX22" fmla="*/ 312085 w 1510777"/>
                <a:gd name="connsiteY22" fmla="*/ 714320 h 846637"/>
                <a:gd name="connsiteX23" fmla="*/ 291160 w 1510777"/>
                <a:gd name="connsiteY23" fmla="*/ 678504 h 846637"/>
                <a:gd name="connsiteX24" fmla="*/ 288171 w 1510777"/>
                <a:gd name="connsiteY24" fmla="*/ 650648 h 846637"/>
                <a:gd name="connsiteX25" fmla="*/ 282292 w 1510777"/>
                <a:gd name="connsiteY25" fmla="*/ 629755 h 846637"/>
                <a:gd name="connsiteX26" fmla="*/ 256285 w 1510777"/>
                <a:gd name="connsiteY26" fmla="*/ 619807 h 846637"/>
                <a:gd name="connsiteX27" fmla="*/ 226391 w 1510777"/>
                <a:gd name="connsiteY27" fmla="*/ 640699 h 846637"/>
                <a:gd name="connsiteX28" fmla="*/ 200384 w 1510777"/>
                <a:gd name="connsiteY28" fmla="*/ 639704 h 846637"/>
                <a:gd name="connsiteX29" fmla="*/ 190420 w 1510777"/>
                <a:gd name="connsiteY29" fmla="*/ 620802 h 846637"/>
                <a:gd name="connsiteX30" fmla="*/ 194306 w 1510777"/>
                <a:gd name="connsiteY30" fmla="*/ 607868 h 846637"/>
                <a:gd name="connsiteX31" fmla="*/ 205366 w 1510777"/>
                <a:gd name="connsiteY31" fmla="*/ 583991 h 846637"/>
                <a:gd name="connsiteX32" fmla="*/ 206263 w 1510777"/>
                <a:gd name="connsiteY32" fmla="*/ 574043 h 846637"/>
                <a:gd name="connsiteX33" fmla="*/ 207260 w 1510777"/>
                <a:gd name="connsiteY33" fmla="*/ 565089 h 846637"/>
                <a:gd name="connsiteX34" fmla="*/ 200384 w 1510777"/>
                <a:gd name="connsiteY34" fmla="*/ 540217 h 846637"/>
                <a:gd name="connsiteX35" fmla="*/ 202377 w 1510777"/>
                <a:gd name="connsiteY35" fmla="*/ 526289 h 846637"/>
                <a:gd name="connsiteX36" fmla="*/ 202377 w 1510777"/>
                <a:gd name="connsiteY36" fmla="*/ 508381 h 846637"/>
                <a:gd name="connsiteX37" fmla="*/ 205267 w 1510777"/>
                <a:gd name="connsiteY37" fmla="*/ 487488 h 846637"/>
                <a:gd name="connsiteX38" fmla="*/ 207260 w 1510777"/>
                <a:gd name="connsiteY38" fmla="*/ 467591 h 846637"/>
                <a:gd name="connsiteX39" fmla="*/ 216228 w 1510777"/>
                <a:gd name="connsiteY39" fmla="*/ 452668 h 846637"/>
                <a:gd name="connsiteX40" fmla="*/ 201281 w 1510777"/>
                <a:gd name="connsiteY40" fmla="*/ 439734 h 846637"/>
                <a:gd name="connsiteX41" fmla="*/ 170491 w 1510777"/>
                <a:gd name="connsiteY41" fmla="*/ 422822 h 846637"/>
                <a:gd name="connsiteX42" fmla="*/ 158534 w 1510777"/>
                <a:gd name="connsiteY42" fmla="*/ 415857 h 846637"/>
                <a:gd name="connsiteX43" fmla="*/ 141594 w 1510777"/>
                <a:gd name="connsiteY43" fmla="*/ 390986 h 846637"/>
                <a:gd name="connsiteX44" fmla="*/ 108612 w 1510777"/>
                <a:gd name="connsiteY44" fmla="*/ 351191 h 846637"/>
                <a:gd name="connsiteX45" fmla="*/ 72740 w 1510777"/>
                <a:gd name="connsiteY45" fmla="*/ 322339 h 846637"/>
                <a:gd name="connsiteX46" fmla="*/ 59886 w 1510777"/>
                <a:gd name="connsiteY46" fmla="*/ 307416 h 846637"/>
                <a:gd name="connsiteX47" fmla="*/ 52811 w 1510777"/>
                <a:gd name="connsiteY47" fmla="*/ 286524 h 846637"/>
                <a:gd name="connsiteX48" fmla="*/ 39957 w 1510777"/>
                <a:gd name="connsiteY48" fmla="*/ 253693 h 846637"/>
                <a:gd name="connsiteX49" fmla="*/ 26007 w 1510777"/>
                <a:gd name="connsiteY49" fmla="*/ 223847 h 846637"/>
                <a:gd name="connsiteX50" fmla="*/ 0 w 1510777"/>
                <a:gd name="connsiteY50" fmla="*/ 189026 h 846637"/>
                <a:gd name="connsiteX51" fmla="*/ 0 w 1510777"/>
                <a:gd name="connsiteY51" fmla="*/ 148236 h 846637"/>
                <a:gd name="connsiteX52" fmla="*/ 100 w 1510777"/>
                <a:gd name="connsiteY52" fmla="*/ 0 h 846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510777" h="846637">
                  <a:moveTo>
                    <a:pt x="100" y="0"/>
                  </a:moveTo>
                  <a:lnTo>
                    <a:pt x="1509708" y="0"/>
                  </a:lnTo>
                  <a:cubicBezTo>
                    <a:pt x="1511003" y="245137"/>
                    <a:pt x="1510804" y="491965"/>
                    <a:pt x="1510704" y="737202"/>
                  </a:cubicBezTo>
                  <a:cubicBezTo>
                    <a:pt x="1301452" y="737202"/>
                    <a:pt x="1082932" y="737998"/>
                    <a:pt x="873978" y="736207"/>
                  </a:cubicBezTo>
                  <a:cubicBezTo>
                    <a:pt x="794960" y="735212"/>
                    <a:pt x="708569" y="738794"/>
                    <a:pt x="629850" y="736207"/>
                  </a:cubicBezTo>
                  <a:cubicBezTo>
                    <a:pt x="628455" y="765456"/>
                    <a:pt x="628555" y="800476"/>
                    <a:pt x="629850" y="829725"/>
                  </a:cubicBezTo>
                  <a:cubicBezTo>
                    <a:pt x="623573" y="828730"/>
                    <a:pt x="617793" y="825945"/>
                    <a:pt x="617993" y="818782"/>
                  </a:cubicBezTo>
                  <a:cubicBezTo>
                    <a:pt x="612632" y="815309"/>
                    <a:pt x="608736" y="810007"/>
                    <a:pt x="607032" y="803858"/>
                  </a:cubicBezTo>
                  <a:cubicBezTo>
                    <a:pt x="587103" y="768739"/>
                    <a:pt x="581523" y="778987"/>
                    <a:pt x="570163" y="810822"/>
                  </a:cubicBezTo>
                  <a:cubicBezTo>
                    <a:pt x="567622" y="814862"/>
                    <a:pt x="562561" y="816533"/>
                    <a:pt x="558107" y="814802"/>
                  </a:cubicBezTo>
                  <a:cubicBezTo>
                    <a:pt x="549398" y="814235"/>
                    <a:pt x="540818" y="817090"/>
                    <a:pt x="534192" y="822761"/>
                  </a:cubicBezTo>
                  <a:cubicBezTo>
                    <a:pt x="529608" y="810425"/>
                    <a:pt x="514263" y="816493"/>
                    <a:pt x="505295" y="818782"/>
                  </a:cubicBezTo>
                  <a:cubicBezTo>
                    <a:pt x="482975" y="824552"/>
                    <a:pt x="464939" y="798387"/>
                    <a:pt x="461452" y="834700"/>
                  </a:cubicBezTo>
                  <a:cubicBezTo>
                    <a:pt x="450989" y="826641"/>
                    <a:pt x="433053" y="827039"/>
                    <a:pt x="420598" y="824751"/>
                  </a:cubicBezTo>
                  <a:cubicBezTo>
                    <a:pt x="415715" y="826840"/>
                    <a:pt x="402462" y="834700"/>
                    <a:pt x="406647" y="841664"/>
                  </a:cubicBezTo>
                  <a:cubicBezTo>
                    <a:pt x="403808" y="843017"/>
                    <a:pt x="401137" y="844688"/>
                    <a:pt x="398676" y="846638"/>
                  </a:cubicBezTo>
                  <a:cubicBezTo>
                    <a:pt x="390904" y="840967"/>
                    <a:pt x="380242" y="832511"/>
                    <a:pt x="382833" y="821766"/>
                  </a:cubicBezTo>
                  <a:cubicBezTo>
                    <a:pt x="378159" y="816672"/>
                    <a:pt x="376296" y="809599"/>
                    <a:pt x="377850" y="802864"/>
                  </a:cubicBezTo>
                  <a:cubicBezTo>
                    <a:pt x="374961" y="796695"/>
                    <a:pt x="370277" y="785055"/>
                    <a:pt x="367886" y="778987"/>
                  </a:cubicBezTo>
                  <a:cubicBezTo>
                    <a:pt x="361907" y="774808"/>
                    <a:pt x="352640" y="764262"/>
                    <a:pt x="346064" y="772022"/>
                  </a:cubicBezTo>
                  <a:cubicBezTo>
                    <a:pt x="337494" y="766053"/>
                    <a:pt x="327630" y="764362"/>
                    <a:pt x="324142" y="753120"/>
                  </a:cubicBezTo>
                  <a:cubicBezTo>
                    <a:pt x="327291" y="747678"/>
                    <a:pt x="328975" y="741500"/>
                    <a:pt x="329025" y="735212"/>
                  </a:cubicBezTo>
                  <a:cubicBezTo>
                    <a:pt x="329025" y="725263"/>
                    <a:pt x="319957" y="718399"/>
                    <a:pt x="312085" y="714320"/>
                  </a:cubicBezTo>
                  <a:cubicBezTo>
                    <a:pt x="305907" y="701934"/>
                    <a:pt x="298922" y="689965"/>
                    <a:pt x="291160" y="678504"/>
                  </a:cubicBezTo>
                  <a:cubicBezTo>
                    <a:pt x="294249" y="669252"/>
                    <a:pt x="286477" y="659900"/>
                    <a:pt x="288171" y="650648"/>
                  </a:cubicBezTo>
                  <a:cubicBezTo>
                    <a:pt x="283188" y="646768"/>
                    <a:pt x="282192" y="635526"/>
                    <a:pt x="282292" y="629755"/>
                  </a:cubicBezTo>
                  <a:cubicBezTo>
                    <a:pt x="274221" y="627467"/>
                    <a:pt x="255687" y="598218"/>
                    <a:pt x="256285" y="619807"/>
                  </a:cubicBezTo>
                  <a:cubicBezTo>
                    <a:pt x="249110" y="627567"/>
                    <a:pt x="238349" y="641793"/>
                    <a:pt x="226391" y="640699"/>
                  </a:cubicBezTo>
                  <a:cubicBezTo>
                    <a:pt x="225495" y="658806"/>
                    <a:pt x="208356" y="646270"/>
                    <a:pt x="200384" y="639704"/>
                  </a:cubicBezTo>
                  <a:cubicBezTo>
                    <a:pt x="192881" y="636690"/>
                    <a:pt x="188666" y="628691"/>
                    <a:pt x="190420" y="620802"/>
                  </a:cubicBezTo>
                  <a:cubicBezTo>
                    <a:pt x="196797" y="619508"/>
                    <a:pt x="194904" y="612445"/>
                    <a:pt x="194306" y="607868"/>
                  </a:cubicBezTo>
                  <a:cubicBezTo>
                    <a:pt x="182947" y="596129"/>
                    <a:pt x="190519" y="585285"/>
                    <a:pt x="205366" y="583991"/>
                  </a:cubicBezTo>
                  <a:cubicBezTo>
                    <a:pt x="208854" y="580907"/>
                    <a:pt x="209751" y="577624"/>
                    <a:pt x="206263" y="574043"/>
                  </a:cubicBezTo>
                  <a:lnTo>
                    <a:pt x="207260" y="565089"/>
                  </a:lnTo>
                  <a:cubicBezTo>
                    <a:pt x="199169" y="559607"/>
                    <a:pt x="196249" y="549071"/>
                    <a:pt x="200384" y="540217"/>
                  </a:cubicBezTo>
                  <a:cubicBezTo>
                    <a:pt x="189722" y="536138"/>
                    <a:pt x="189424" y="525194"/>
                    <a:pt x="202377" y="526289"/>
                  </a:cubicBezTo>
                  <a:cubicBezTo>
                    <a:pt x="201430" y="520359"/>
                    <a:pt x="201430" y="514310"/>
                    <a:pt x="202377" y="508381"/>
                  </a:cubicBezTo>
                  <a:cubicBezTo>
                    <a:pt x="204241" y="501576"/>
                    <a:pt x="205217" y="494552"/>
                    <a:pt x="205267" y="487488"/>
                  </a:cubicBezTo>
                  <a:cubicBezTo>
                    <a:pt x="212740" y="484603"/>
                    <a:pt x="208156" y="472864"/>
                    <a:pt x="207260" y="467591"/>
                  </a:cubicBezTo>
                  <a:cubicBezTo>
                    <a:pt x="215630" y="468387"/>
                    <a:pt x="215430" y="458239"/>
                    <a:pt x="216228" y="452668"/>
                  </a:cubicBezTo>
                  <a:cubicBezTo>
                    <a:pt x="220612" y="438441"/>
                    <a:pt x="215430" y="432770"/>
                    <a:pt x="201281" y="439734"/>
                  </a:cubicBezTo>
                  <a:cubicBezTo>
                    <a:pt x="169295" y="443913"/>
                    <a:pt x="189424" y="430880"/>
                    <a:pt x="170491" y="422822"/>
                  </a:cubicBezTo>
                  <a:cubicBezTo>
                    <a:pt x="164712" y="424115"/>
                    <a:pt x="159331" y="422125"/>
                    <a:pt x="158534" y="415857"/>
                  </a:cubicBezTo>
                  <a:cubicBezTo>
                    <a:pt x="149367" y="411878"/>
                    <a:pt x="135416" y="402427"/>
                    <a:pt x="141594" y="390986"/>
                  </a:cubicBezTo>
                  <a:cubicBezTo>
                    <a:pt x="127544" y="381634"/>
                    <a:pt x="118776" y="364223"/>
                    <a:pt x="108612" y="351191"/>
                  </a:cubicBezTo>
                  <a:cubicBezTo>
                    <a:pt x="94562" y="338556"/>
                    <a:pt x="94662" y="324926"/>
                    <a:pt x="72740" y="322339"/>
                  </a:cubicBezTo>
                  <a:cubicBezTo>
                    <a:pt x="67080" y="318738"/>
                    <a:pt x="62606" y="313545"/>
                    <a:pt x="59886" y="307416"/>
                  </a:cubicBezTo>
                  <a:cubicBezTo>
                    <a:pt x="49922" y="303636"/>
                    <a:pt x="32783" y="293388"/>
                    <a:pt x="52811" y="286524"/>
                  </a:cubicBezTo>
                  <a:cubicBezTo>
                    <a:pt x="30391" y="272198"/>
                    <a:pt x="51915" y="265830"/>
                    <a:pt x="39957" y="253693"/>
                  </a:cubicBezTo>
                  <a:cubicBezTo>
                    <a:pt x="45238" y="241257"/>
                    <a:pt x="22320" y="237178"/>
                    <a:pt x="26007" y="223847"/>
                  </a:cubicBezTo>
                  <a:cubicBezTo>
                    <a:pt x="14050" y="217082"/>
                    <a:pt x="7473" y="199771"/>
                    <a:pt x="0" y="189026"/>
                  </a:cubicBezTo>
                  <a:cubicBezTo>
                    <a:pt x="0" y="179077"/>
                    <a:pt x="0" y="158185"/>
                    <a:pt x="0" y="148236"/>
                  </a:cubicBezTo>
                  <a:cubicBezTo>
                    <a:pt x="100" y="113117"/>
                    <a:pt x="199" y="35915"/>
                    <a:pt x="100" y="0"/>
                  </a:cubicBez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687" name="Freeform: Shape 1686">
              <a:extLst>
                <a:ext uri="{FF2B5EF4-FFF2-40B4-BE49-F238E27FC236}">
                  <a16:creationId xmlns:a16="http://schemas.microsoft.com/office/drawing/2014/main" id="{F9D2F569-A1D0-4725-ABE5-8CC2D97CFE68}"/>
                </a:ext>
              </a:extLst>
            </p:cNvPr>
            <p:cNvSpPr/>
            <p:nvPr/>
          </p:nvSpPr>
          <p:spPr>
            <a:xfrm>
              <a:off x="1258237" y="375700"/>
              <a:ext cx="973522" cy="1073469"/>
            </a:xfrm>
            <a:custGeom>
              <a:avLst/>
              <a:gdLst>
                <a:gd name="connsiteX0" fmla="*/ 0 w 973522"/>
                <a:gd name="connsiteY0" fmla="*/ 73621 h 1073469"/>
                <a:gd name="connsiteX1" fmla="*/ 261067 w 973522"/>
                <a:gd name="connsiteY1" fmla="*/ 73621 h 1073469"/>
                <a:gd name="connsiteX2" fmla="*/ 261067 w 973522"/>
                <a:gd name="connsiteY2" fmla="*/ 0 h 1073469"/>
                <a:gd name="connsiteX3" fmla="*/ 285978 w 973522"/>
                <a:gd name="connsiteY3" fmla="*/ 2985 h 1073469"/>
                <a:gd name="connsiteX4" fmla="*/ 302918 w 973522"/>
                <a:gd name="connsiteY4" fmla="*/ 11938 h 1073469"/>
                <a:gd name="connsiteX5" fmla="*/ 311886 w 973522"/>
                <a:gd name="connsiteY5" fmla="*/ 73621 h 1073469"/>
                <a:gd name="connsiteX6" fmla="*/ 318961 w 973522"/>
                <a:gd name="connsiteY6" fmla="*/ 113416 h 1073469"/>
                <a:gd name="connsiteX7" fmla="*/ 349750 w 973522"/>
                <a:gd name="connsiteY7" fmla="*/ 132318 h 1073469"/>
                <a:gd name="connsiteX8" fmla="*/ 370776 w 973522"/>
                <a:gd name="connsiteY8" fmla="*/ 129334 h 1073469"/>
                <a:gd name="connsiteX9" fmla="*/ 374662 w 973522"/>
                <a:gd name="connsiteY9" fmla="*/ 139282 h 1073469"/>
                <a:gd name="connsiteX10" fmla="*/ 394590 w 973522"/>
                <a:gd name="connsiteY10" fmla="*/ 141272 h 1073469"/>
                <a:gd name="connsiteX11" fmla="*/ 429466 w 973522"/>
                <a:gd name="connsiteY11" fmla="*/ 164154 h 1073469"/>
                <a:gd name="connsiteX12" fmla="*/ 473309 w 973522"/>
                <a:gd name="connsiteY12" fmla="*/ 160175 h 1073469"/>
                <a:gd name="connsiteX13" fmla="*/ 485366 w 973522"/>
                <a:gd name="connsiteY13" fmla="*/ 149231 h 1073469"/>
                <a:gd name="connsiteX14" fmla="*/ 514163 w 973522"/>
                <a:gd name="connsiteY14" fmla="*/ 145252 h 1073469"/>
                <a:gd name="connsiteX15" fmla="*/ 577936 w 973522"/>
                <a:gd name="connsiteY15" fmla="*/ 160175 h 1073469"/>
                <a:gd name="connsiteX16" fmla="*/ 574946 w 973522"/>
                <a:gd name="connsiteY16" fmla="*/ 175098 h 1073469"/>
                <a:gd name="connsiteX17" fmla="*/ 592882 w 973522"/>
                <a:gd name="connsiteY17" fmla="*/ 178083 h 1073469"/>
                <a:gd name="connsiteX18" fmla="*/ 599857 w 973522"/>
                <a:gd name="connsiteY18" fmla="*/ 185047 h 1073469"/>
                <a:gd name="connsiteX19" fmla="*/ 610818 w 973522"/>
                <a:gd name="connsiteY19" fmla="*/ 221857 h 1073469"/>
                <a:gd name="connsiteX20" fmla="*/ 620783 w 973522"/>
                <a:gd name="connsiteY20" fmla="*/ 201960 h 1073469"/>
                <a:gd name="connsiteX21" fmla="*/ 636825 w 973522"/>
                <a:gd name="connsiteY21" fmla="*/ 194995 h 1073469"/>
                <a:gd name="connsiteX22" fmla="*/ 659644 w 973522"/>
                <a:gd name="connsiteY22" fmla="*/ 215888 h 1073469"/>
                <a:gd name="connsiteX23" fmla="*/ 685551 w 973522"/>
                <a:gd name="connsiteY23" fmla="*/ 224842 h 1073469"/>
                <a:gd name="connsiteX24" fmla="*/ 696512 w 973522"/>
                <a:gd name="connsiteY24" fmla="*/ 240760 h 1073469"/>
                <a:gd name="connsiteX25" fmla="*/ 715444 w 973522"/>
                <a:gd name="connsiteY25" fmla="*/ 252698 h 1073469"/>
                <a:gd name="connsiteX26" fmla="*/ 752313 w 973522"/>
                <a:gd name="connsiteY26" fmla="*/ 246729 h 1073469"/>
                <a:gd name="connsiteX27" fmla="*/ 803131 w 973522"/>
                <a:gd name="connsiteY27" fmla="*/ 216883 h 1073469"/>
                <a:gd name="connsiteX28" fmla="*/ 838106 w 973522"/>
                <a:gd name="connsiteY28" fmla="*/ 239765 h 1073469"/>
                <a:gd name="connsiteX29" fmla="*/ 891815 w 973522"/>
                <a:gd name="connsiteY29" fmla="*/ 241754 h 1073469"/>
                <a:gd name="connsiteX30" fmla="*/ 912740 w 973522"/>
                <a:gd name="connsiteY30" fmla="*/ 259662 h 1073469"/>
                <a:gd name="connsiteX31" fmla="*/ 940640 w 973522"/>
                <a:gd name="connsiteY31" fmla="*/ 258667 h 1073469"/>
                <a:gd name="connsiteX32" fmla="*/ 973523 w 973522"/>
                <a:gd name="connsiteY32" fmla="*/ 260657 h 1073469"/>
                <a:gd name="connsiteX33" fmla="*/ 856042 w 973522"/>
                <a:gd name="connsiteY33" fmla="*/ 312391 h 1073469"/>
                <a:gd name="connsiteX34" fmla="*/ 750320 w 973522"/>
                <a:gd name="connsiteY34" fmla="*/ 396955 h 1073469"/>
                <a:gd name="connsiteX35" fmla="*/ 681565 w 973522"/>
                <a:gd name="connsiteY35" fmla="*/ 460627 h 1073469"/>
                <a:gd name="connsiteX36" fmla="*/ 655658 w 973522"/>
                <a:gd name="connsiteY36" fmla="*/ 502412 h 1073469"/>
                <a:gd name="connsiteX37" fmla="*/ 644697 w 973522"/>
                <a:gd name="connsiteY37" fmla="*/ 497437 h 1073469"/>
                <a:gd name="connsiteX38" fmla="*/ 620783 w 973522"/>
                <a:gd name="connsiteY38" fmla="*/ 510371 h 1073469"/>
                <a:gd name="connsiteX39" fmla="*/ 620783 w 973522"/>
                <a:gd name="connsiteY39" fmla="*/ 617817 h 1073469"/>
                <a:gd name="connsiteX40" fmla="*/ 613807 w 973522"/>
                <a:gd name="connsiteY40" fmla="*/ 628761 h 1073469"/>
                <a:gd name="connsiteX41" fmla="*/ 597865 w 973522"/>
                <a:gd name="connsiteY41" fmla="*/ 635725 h 1073469"/>
                <a:gd name="connsiteX42" fmla="*/ 566975 w 973522"/>
                <a:gd name="connsiteY42" fmla="*/ 652638 h 1073469"/>
                <a:gd name="connsiteX43" fmla="*/ 554021 w 973522"/>
                <a:gd name="connsiteY43" fmla="*/ 678504 h 1073469"/>
                <a:gd name="connsiteX44" fmla="*/ 546149 w 973522"/>
                <a:gd name="connsiteY44" fmla="*/ 695417 h 1073469"/>
                <a:gd name="connsiteX45" fmla="*/ 570960 w 973522"/>
                <a:gd name="connsiteY45" fmla="*/ 726258 h 1073469"/>
                <a:gd name="connsiteX46" fmla="*/ 560996 w 973522"/>
                <a:gd name="connsiteY46" fmla="*/ 773017 h 1073469"/>
                <a:gd name="connsiteX47" fmla="*/ 556911 w 973522"/>
                <a:gd name="connsiteY47" fmla="*/ 798884 h 1073469"/>
                <a:gd name="connsiteX48" fmla="*/ 556014 w 973522"/>
                <a:gd name="connsiteY48" fmla="*/ 851612 h 1073469"/>
                <a:gd name="connsiteX49" fmla="*/ 607829 w 973522"/>
                <a:gd name="connsiteY49" fmla="*/ 888423 h 1073469"/>
                <a:gd name="connsiteX50" fmla="*/ 617793 w 973522"/>
                <a:gd name="connsiteY50" fmla="*/ 892402 h 1073469"/>
                <a:gd name="connsiteX51" fmla="*/ 667615 w 973522"/>
                <a:gd name="connsiteY51" fmla="*/ 931202 h 1073469"/>
                <a:gd name="connsiteX52" fmla="*/ 680669 w 973522"/>
                <a:gd name="connsiteY52" fmla="*/ 958064 h 1073469"/>
                <a:gd name="connsiteX53" fmla="*/ 711459 w 973522"/>
                <a:gd name="connsiteY53" fmla="*/ 981941 h 1073469"/>
                <a:gd name="connsiteX54" fmla="*/ 738362 w 973522"/>
                <a:gd name="connsiteY54" fmla="*/ 1000844 h 1073469"/>
                <a:gd name="connsiteX55" fmla="*/ 749323 w 973522"/>
                <a:gd name="connsiteY55" fmla="*/ 1044618 h 1073469"/>
                <a:gd name="connsiteX56" fmla="*/ 756299 w 973522"/>
                <a:gd name="connsiteY56" fmla="*/ 1073469 h 1073469"/>
                <a:gd name="connsiteX57" fmla="*/ 97651 w 973522"/>
                <a:gd name="connsiteY57" fmla="*/ 1073469 h 1073469"/>
                <a:gd name="connsiteX58" fmla="*/ 96754 w 973522"/>
                <a:gd name="connsiteY58" fmla="*/ 814802 h 1073469"/>
                <a:gd name="connsiteX59" fmla="*/ 88783 w 973522"/>
                <a:gd name="connsiteY59" fmla="*/ 743171 h 1073469"/>
                <a:gd name="connsiteX60" fmla="*/ 60882 w 973522"/>
                <a:gd name="connsiteY60" fmla="*/ 725263 h 1073469"/>
                <a:gd name="connsiteX61" fmla="*/ 60882 w 973522"/>
                <a:gd name="connsiteY61" fmla="*/ 685468 h 1073469"/>
                <a:gd name="connsiteX62" fmla="*/ 82704 w 973522"/>
                <a:gd name="connsiteY62" fmla="*/ 628761 h 1073469"/>
                <a:gd name="connsiteX63" fmla="*/ 78818 w 973522"/>
                <a:gd name="connsiteY63" fmla="*/ 573048 h 1073469"/>
                <a:gd name="connsiteX64" fmla="*/ 60882 w 973522"/>
                <a:gd name="connsiteY64" fmla="*/ 528278 h 1073469"/>
                <a:gd name="connsiteX65" fmla="*/ 54904 w 973522"/>
                <a:gd name="connsiteY65" fmla="*/ 489478 h 1073469"/>
                <a:gd name="connsiteX66" fmla="*/ 49822 w 973522"/>
                <a:gd name="connsiteY66" fmla="*/ 446699 h 1073469"/>
                <a:gd name="connsiteX67" fmla="*/ 46932 w 973522"/>
                <a:gd name="connsiteY67" fmla="*/ 356165 h 1073469"/>
                <a:gd name="connsiteX68" fmla="*/ 28897 w 973522"/>
                <a:gd name="connsiteY68" fmla="*/ 292493 h 1073469"/>
                <a:gd name="connsiteX69" fmla="*/ 9964 w 973522"/>
                <a:gd name="connsiteY69" fmla="*/ 231806 h 1073469"/>
                <a:gd name="connsiteX70" fmla="*/ 15943 w 973522"/>
                <a:gd name="connsiteY70" fmla="*/ 137293 h 1073469"/>
                <a:gd name="connsiteX71" fmla="*/ 0 w 973522"/>
                <a:gd name="connsiteY71" fmla="*/ 73621 h 1073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973522" h="1073469">
                  <a:moveTo>
                    <a:pt x="0" y="73621"/>
                  </a:moveTo>
                  <a:lnTo>
                    <a:pt x="261067" y="73621"/>
                  </a:lnTo>
                  <a:lnTo>
                    <a:pt x="261067" y="0"/>
                  </a:lnTo>
                  <a:cubicBezTo>
                    <a:pt x="270135" y="6765"/>
                    <a:pt x="276413" y="4576"/>
                    <a:pt x="285978" y="2985"/>
                  </a:cubicBezTo>
                  <a:cubicBezTo>
                    <a:pt x="290931" y="7133"/>
                    <a:pt x="296700" y="10184"/>
                    <a:pt x="302918" y="11938"/>
                  </a:cubicBezTo>
                  <a:cubicBezTo>
                    <a:pt x="304014" y="31836"/>
                    <a:pt x="312882" y="54320"/>
                    <a:pt x="311886" y="73621"/>
                  </a:cubicBezTo>
                  <a:cubicBezTo>
                    <a:pt x="321850" y="75212"/>
                    <a:pt x="319658" y="104362"/>
                    <a:pt x="318961" y="113416"/>
                  </a:cubicBezTo>
                  <a:cubicBezTo>
                    <a:pt x="326573" y="123257"/>
                    <a:pt x="337524" y="129980"/>
                    <a:pt x="349750" y="132318"/>
                  </a:cubicBezTo>
                  <a:cubicBezTo>
                    <a:pt x="354334" y="127742"/>
                    <a:pt x="364996" y="128438"/>
                    <a:pt x="370776" y="129334"/>
                  </a:cubicBezTo>
                  <a:cubicBezTo>
                    <a:pt x="373625" y="131816"/>
                    <a:pt x="375070" y="135532"/>
                    <a:pt x="374662" y="139282"/>
                  </a:cubicBezTo>
                  <a:lnTo>
                    <a:pt x="394590" y="141272"/>
                  </a:lnTo>
                  <a:cubicBezTo>
                    <a:pt x="410434" y="144655"/>
                    <a:pt x="436142" y="139481"/>
                    <a:pt x="429466" y="164154"/>
                  </a:cubicBezTo>
                  <a:cubicBezTo>
                    <a:pt x="444203" y="165786"/>
                    <a:pt x="459110" y="164429"/>
                    <a:pt x="473309" y="160175"/>
                  </a:cubicBezTo>
                  <a:cubicBezTo>
                    <a:pt x="470918" y="150226"/>
                    <a:pt x="477793" y="150226"/>
                    <a:pt x="485366" y="149231"/>
                  </a:cubicBezTo>
                  <a:cubicBezTo>
                    <a:pt x="488355" y="140576"/>
                    <a:pt x="507985" y="139979"/>
                    <a:pt x="514163" y="145252"/>
                  </a:cubicBezTo>
                  <a:cubicBezTo>
                    <a:pt x="542263" y="135303"/>
                    <a:pt x="552327" y="165149"/>
                    <a:pt x="577936" y="160175"/>
                  </a:cubicBezTo>
                  <a:cubicBezTo>
                    <a:pt x="578304" y="165327"/>
                    <a:pt x="577268" y="170482"/>
                    <a:pt x="574946" y="175098"/>
                  </a:cubicBezTo>
                  <a:cubicBezTo>
                    <a:pt x="580028" y="179077"/>
                    <a:pt x="586784" y="180212"/>
                    <a:pt x="592882" y="178083"/>
                  </a:cubicBezTo>
                  <a:lnTo>
                    <a:pt x="599857" y="185047"/>
                  </a:lnTo>
                  <a:cubicBezTo>
                    <a:pt x="595971" y="197483"/>
                    <a:pt x="607629" y="210316"/>
                    <a:pt x="610818" y="221857"/>
                  </a:cubicBezTo>
                  <a:cubicBezTo>
                    <a:pt x="618620" y="218614"/>
                    <a:pt x="622865" y="210137"/>
                    <a:pt x="620783" y="201960"/>
                  </a:cubicBezTo>
                  <a:cubicBezTo>
                    <a:pt x="622477" y="195393"/>
                    <a:pt x="631445" y="195095"/>
                    <a:pt x="636825" y="194995"/>
                  </a:cubicBezTo>
                  <a:cubicBezTo>
                    <a:pt x="651274" y="191613"/>
                    <a:pt x="660042" y="201860"/>
                    <a:pt x="659644" y="215888"/>
                  </a:cubicBezTo>
                  <a:cubicBezTo>
                    <a:pt x="668761" y="217261"/>
                    <a:pt x="677540" y="220295"/>
                    <a:pt x="685551" y="224842"/>
                  </a:cubicBezTo>
                  <a:cubicBezTo>
                    <a:pt x="695516" y="222454"/>
                    <a:pt x="695516" y="234790"/>
                    <a:pt x="696512" y="240760"/>
                  </a:cubicBezTo>
                  <a:cubicBezTo>
                    <a:pt x="704583" y="241555"/>
                    <a:pt x="717238" y="240760"/>
                    <a:pt x="715444" y="252698"/>
                  </a:cubicBezTo>
                  <a:cubicBezTo>
                    <a:pt x="725409" y="249514"/>
                    <a:pt x="742149" y="250907"/>
                    <a:pt x="752313" y="246729"/>
                  </a:cubicBezTo>
                  <a:cubicBezTo>
                    <a:pt x="766163" y="234989"/>
                    <a:pt x="785096" y="219768"/>
                    <a:pt x="803131" y="216883"/>
                  </a:cubicBezTo>
                  <a:cubicBezTo>
                    <a:pt x="810305" y="237974"/>
                    <a:pt x="813095" y="250907"/>
                    <a:pt x="838106" y="239765"/>
                  </a:cubicBezTo>
                  <a:cubicBezTo>
                    <a:pt x="855703" y="243953"/>
                    <a:pt x="873958" y="244630"/>
                    <a:pt x="891815" y="241754"/>
                  </a:cubicBezTo>
                  <a:cubicBezTo>
                    <a:pt x="901579" y="243366"/>
                    <a:pt x="909651" y="250271"/>
                    <a:pt x="912740" y="259662"/>
                  </a:cubicBezTo>
                  <a:cubicBezTo>
                    <a:pt x="921489" y="264577"/>
                    <a:pt x="932260" y="264189"/>
                    <a:pt x="940640" y="258667"/>
                  </a:cubicBezTo>
                  <a:cubicBezTo>
                    <a:pt x="951521" y="260269"/>
                    <a:pt x="962522" y="260936"/>
                    <a:pt x="973523" y="260657"/>
                  </a:cubicBezTo>
                  <a:cubicBezTo>
                    <a:pt x="937541" y="284355"/>
                    <a:pt x="897833" y="301835"/>
                    <a:pt x="856042" y="312391"/>
                  </a:cubicBezTo>
                  <a:cubicBezTo>
                    <a:pt x="814112" y="331044"/>
                    <a:pt x="777702" y="360164"/>
                    <a:pt x="750320" y="396955"/>
                  </a:cubicBezTo>
                  <a:cubicBezTo>
                    <a:pt x="728597" y="419429"/>
                    <a:pt x="705649" y="440690"/>
                    <a:pt x="681565" y="460627"/>
                  </a:cubicBezTo>
                  <a:cubicBezTo>
                    <a:pt x="666419" y="472366"/>
                    <a:pt x="641708" y="480524"/>
                    <a:pt x="655658" y="502412"/>
                  </a:cubicBezTo>
                  <a:cubicBezTo>
                    <a:pt x="652469" y="503705"/>
                    <a:pt x="647088" y="499128"/>
                    <a:pt x="644697" y="497437"/>
                  </a:cubicBezTo>
                  <a:cubicBezTo>
                    <a:pt x="633338" y="498631"/>
                    <a:pt x="634733" y="514648"/>
                    <a:pt x="620783" y="510371"/>
                  </a:cubicBezTo>
                  <a:lnTo>
                    <a:pt x="620783" y="617817"/>
                  </a:lnTo>
                  <a:cubicBezTo>
                    <a:pt x="616329" y="619578"/>
                    <a:pt x="613518" y="623985"/>
                    <a:pt x="613807" y="628761"/>
                  </a:cubicBezTo>
                  <a:cubicBezTo>
                    <a:pt x="607490" y="626592"/>
                    <a:pt x="600555" y="629616"/>
                    <a:pt x="597865" y="635725"/>
                  </a:cubicBezTo>
                  <a:cubicBezTo>
                    <a:pt x="585937" y="637675"/>
                    <a:pt x="575036" y="643644"/>
                    <a:pt x="566975" y="652638"/>
                  </a:cubicBezTo>
                  <a:cubicBezTo>
                    <a:pt x="561295" y="659602"/>
                    <a:pt x="560398" y="671739"/>
                    <a:pt x="554021" y="678504"/>
                  </a:cubicBezTo>
                  <a:cubicBezTo>
                    <a:pt x="547744" y="681389"/>
                    <a:pt x="546548" y="688950"/>
                    <a:pt x="546149" y="695417"/>
                  </a:cubicBezTo>
                  <a:cubicBezTo>
                    <a:pt x="544455" y="720886"/>
                    <a:pt x="562889" y="698899"/>
                    <a:pt x="570960" y="726258"/>
                  </a:cubicBezTo>
                  <a:cubicBezTo>
                    <a:pt x="586704" y="741181"/>
                    <a:pt x="556711" y="756104"/>
                    <a:pt x="560996" y="773017"/>
                  </a:cubicBezTo>
                  <a:cubicBezTo>
                    <a:pt x="561993" y="782966"/>
                    <a:pt x="566676" y="791124"/>
                    <a:pt x="556911" y="798884"/>
                  </a:cubicBezTo>
                  <a:cubicBezTo>
                    <a:pt x="568071" y="813111"/>
                    <a:pt x="561295" y="836092"/>
                    <a:pt x="556014" y="851612"/>
                  </a:cubicBezTo>
                  <a:cubicBezTo>
                    <a:pt x="573551" y="866138"/>
                    <a:pt x="580626" y="890015"/>
                    <a:pt x="607829" y="888423"/>
                  </a:cubicBezTo>
                  <a:cubicBezTo>
                    <a:pt x="610818" y="887428"/>
                    <a:pt x="615501" y="890711"/>
                    <a:pt x="617793" y="892402"/>
                  </a:cubicBezTo>
                  <a:cubicBezTo>
                    <a:pt x="621380" y="917075"/>
                    <a:pt x="658847" y="910608"/>
                    <a:pt x="667615" y="931202"/>
                  </a:cubicBezTo>
                  <a:cubicBezTo>
                    <a:pt x="668482" y="941459"/>
                    <a:pt x="673136" y="951030"/>
                    <a:pt x="680669" y="958064"/>
                  </a:cubicBezTo>
                  <a:cubicBezTo>
                    <a:pt x="692925" y="961447"/>
                    <a:pt x="700598" y="976171"/>
                    <a:pt x="711459" y="981941"/>
                  </a:cubicBezTo>
                  <a:cubicBezTo>
                    <a:pt x="723406" y="982309"/>
                    <a:pt x="733988" y="989741"/>
                    <a:pt x="738362" y="1000844"/>
                  </a:cubicBezTo>
                  <a:cubicBezTo>
                    <a:pt x="750230" y="1012066"/>
                    <a:pt x="754505" y="1029138"/>
                    <a:pt x="749323" y="1044618"/>
                  </a:cubicBezTo>
                  <a:cubicBezTo>
                    <a:pt x="749822" y="1053472"/>
                    <a:pt x="755601" y="1064516"/>
                    <a:pt x="756299" y="1073469"/>
                  </a:cubicBezTo>
                  <a:lnTo>
                    <a:pt x="97651" y="1073469"/>
                  </a:lnTo>
                  <a:cubicBezTo>
                    <a:pt x="97153" y="989402"/>
                    <a:pt x="99046" y="898670"/>
                    <a:pt x="96754" y="814802"/>
                  </a:cubicBezTo>
                  <a:cubicBezTo>
                    <a:pt x="94163" y="798586"/>
                    <a:pt x="103530" y="754314"/>
                    <a:pt x="88783" y="743171"/>
                  </a:cubicBezTo>
                  <a:cubicBezTo>
                    <a:pt x="78320" y="738197"/>
                    <a:pt x="64868" y="738097"/>
                    <a:pt x="60882" y="725263"/>
                  </a:cubicBezTo>
                  <a:cubicBezTo>
                    <a:pt x="53309" y="708749"/>
                    <a:pt x="38562" y="697805"/>
                    <a:pt x="60882" y="685468"/>
                  </a:cubicBezTo>
                  <a:cubicBezTo>
                    <a:pt x="80811" y="674326"/>
                    <a:pt x="86491" y="650150"/>
                    <a:pt x="82704" y="628761"/>
                  </a:cubicBezTo>
                  <a:cubicBezTo>
                    <a:pt x="87189" y="612544"/>
                    <a:pt x="77523" y="589662"/>
                    <a:pt x="78818" y="573048"/>
                  </a:cubicBezTo>
                  <a:cubicBezTo>
                    <a:pt x="67758" y="563099"/>
                    <a:pt x="63075" y="541908"/>
                    <a:pt x="60882" y="528278"/>
                  </a:cubicBezTo>
                  <a:cubicBezTo>
                    <a:pt x="53110" y="517633"/>
                    <a:pt x="56299" y="501815"/>
                    <a:pt x="54904" y="489478"/>
                  </a:cubicBezTo>
                  <a:cubicBezTo>
                    <a:pt x="58790" y="477341"/>
                    <a:pt x="58989" y="456846"/>
                    <a:pt x="49822" y="446699"/>
                  </a:cubicBezTo>
                  <a:cubicBezTo>
                    <a:pt x="54705" y="418345"/>
                    <a:pt x="45438" y="384917"/>
                    <a:pt x="46932" y="356165"/>
                  </a:cubicBezTo>
                  <a:cubicBezTo>
                    <a:pt x="46603" y="333731"/>
                    <a:pt x="40386" y="311774"/>
                    <a:pt x="28897" y="292493"/>
                  </a:cubicBezTo>
                  <a:cubicBezTo>
                    <a:pt x="23904" y="271879"/>
                    <a:pt x="17577" y="251604"/>
                    <a:pt x="9964" y="231806"/>
                  </a:cubicBezTo>
                  <a:cubicBezTo>
                    <a:pt x="16142" y="201960"/>
                    <a:pt x="3487" y="166641"/>
                    <a:pt x="15943" y="137293"/>
                  </a:cubicBezTo>
                  <a:cubicBezTo>
                    <a:pt x="12157" y="116898"/>
                    <a:pt x="0" y="94414"/>
                    <a:pt x="0" y="73621"/>
                  </a:cubicBez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88" name="Freeform: Shape 1687">
              <a:extLst>
                <a:ext uri="{FF2B5EF4-FFF2-40B4-BE49-F238E27FC236}">
                  <a16:creationId xmlns:a16="http://schemas.microsoft.com/office/drawing/2014/main" id="{67DA2429-4583-44FE-94E4-6E0FC9FE3080}"/>
                </a:ext>
              </a:extLst>
            </p:cNvPr>
            <p:cNvSpPr/>
            <p:nvPr/>
          </p:nvSpPr>
          <p:spPr>
            <a:xfrm>
              <a:off x="400301" y="1535535"/>
              <a:ext cx="1099273" cy="502997"/>
            </a:xfrm>
            <a:custGeom>
              <a:avLst/>
              <a:gdLst>
                <a:gd name="connsiteX0" fmla="*/ 0 w 1099273"/>
                <a:gd name="connsiteY0" fmla="*/ 318946 h 502997"/>
                <a:gd name="connsiteX1" fmla="*/ 0 w 1099273"/>
                <a:gd name="connsiteY1" fmla="*/ 586 h 502997"/>
                <a:gd name="connsiteX2" fmla="*/ 528114 w 1099273"/>
                <a:gd name="connsiteY2" fmla="*/ 586 h 502997"/>
                <a:gd name="connsiteX3" fmla="*/ 654661 w 1099273"/>
                <a:gd name="connsiteY3" fmla="*/ 586 h 502997"/>
                <a:gd name="connsiteX4" fmla="*/ 700498 w 1099273"/>
                <a:gd name="connsiteY4" fmla="*/ 6555 h 502997"/>
                <a:gd name="connsiteX5" fmla="*/ 741352 w 1099273"/>
                <a:gd name="connsiteY5" fmla="*/ 27447 h 502997"/>
                <a:gd name="connsiteX6" fmla="*/ 756398 w 1099273"/>
                <a:gd name="connsiteY6" fmla="*/ 40381 h 502997"/>
                <a:gd name="connsiteX7" fmla="*/ 779217 w 1099273"/>
                <a:gd name="connsiteY7" fmla="*/ 23468 h 502997"/>
                <a:gd name="connsiteX8" fmla="*/ 811103 w 1099273"/>
                <a:gd name="connsiteY8" fmla="*/ 24463 h 502997"/>
                <a:gd name="connsiteX9" fmla="*/ 830035 w 1099273"/>
                <a:gd name="connsiteY9" fmla="*/ 26453 h 502997"/>
                <a:gd name="connsiteX10" fmla="*/ 844085 w 1099273"/>
                <a:gd name="connsiteY10" fmla="*/ 24463 h 502997"/>
                <a:gd name="connsiteX11" fmla="*/ 869893 w 1099273"/>
                <a:gd name="connsiteY11" fmla="*/ 39386 h 502997"/>
                <a:gd name="connsiteX12" fmla="*/ 890818 w 1099273"/>
                <a:gd name="connsiteY12" fmla="*/ 47345 h 502997"/>
                <a:gd name="connsiteX13" fmla="*/ 910747 w 1099273"/>
                <a:gd name="connsiteY13" fmla="*/ 51324 h 502997"/>
                <a:gd name="connsiteX14" fmla="*/ 914832 w 1099273"/>
                <a:gd name="connsiteY14" fmla="*/ 58289 h 502997"/>
                <a:gd name="connsiteX15" fmla="*/ 924797 w 1099273"/>
                <a:gd name="connsiteY15" fmla="*/ 58289 h 502997"/>
                <a:gd name="connsiteX16" fmla="*/ 935758 w 1099273"/>
                <a:gd name="connsiteY16" fmla="*/ 85150 h 502997"/>
                <a:gd name="connsiteX17" fmla="*/ 949708 w 1099273"/>
                <a:gd name="connsiteY17" fmla="*/ 89130 h 502997"/>
                <a:gd name="connsiteX18" fmla="*/ 964654 w 1099273"/>
                <a:gd name="connsiteY18" fmla="*/ 92114 h 502997"/>
                <a:gd name="connsiteX19" fmla="*/ 970633 w 1099273"/>
                <a:gd name="connsiteY19" fmla="*/ 133899 h 502997"/>
                <a:gd name="connsiteX20" fmla="*/ 978704 w 1099273"/>
                <a:gd name="connsiteY20" fmla="*/ 151807 h 502997"/>
                <a:gd name="connsiteX21" fmla="*/ 984683 w 1099273"/>
                <a:gd name="connsiteY21" fmla="*/ 166730 h 502997"/>
                <a:gd name="connsiteX22" fmla="*/ 998633 w 1099273"/>
                <a:gd name="connsiteY22" fmla="*/ 197571 h 502997"/>
                <a:gd name="connsiteX23" fmla="*/ 1002519 w 1099273"/>
                <a:gd name="connsiteY23" fmla="*/ 250299 h 502997"/>
                <a:gd name="connsiteX24" fmla="*/ 1011487 w 1099273"/>
                <a:gd name="connsiteY24" fmla="*/ 247315 h 502997"/>
                <a:gd name="connsiteX25" fmla="*/ 1022548 w 1099273"/>
                <a:gd name="connsiteY25" fmla="*/ 262238 h 502997"/>
                <a:gd name="connsiteX26" fmla="*/ 1026533 w 1099273"/>
                <a:gd name="connsiteY26" fmla="*/ 292084 h 502997"/>
                <a:gd name="connsiteX27" fmla="*/ 1023444 w 1099273"/>
                <a:gd name="connsiteY27" fmla="*/ 307007 h 502997"/>
                <a:gd name="connsiteX28" fmla="*/ 1030420 w 1099273"/>
                <a:gd name="connsiteY28" fmla="*/ 307007 h 502997"/>
                <a:gd name="connsiteX29" fmla="*/ 1034405 w 1099273"/>
                <a:gd name="connsiteY29" fmla="*/ 342822 h 502997"/>
                <a:gd name="connsiteX30" fmla="*/ 1036498 w 1099273"/>
                <a:gd name="connsiteY30" fmla="*/ 356751 h 502997"/>
                <a:gd name="connsiteX31" fmla="*/ 1026533 w 1099273"/>
                <a:gd name="connsiteY31" fmla="*/ 381623 h 502997"/>
                <a:gd name="connsiteX32" fmla="*/ 1044469 w 1099273"/>
                <a:gd name="connsiteY32" fmla="*/ 404505 h 502997"/>
                <a:gd name="connsiteX33" fmla="*/ 1048455 w 1099273"/>
                <a:gd name="connsiteY33" fmla="*/ 416443 h 502997"/>
                <a:gd name="connsiteX34" fmla="*/ 1056426 w 1099273"/>
                <a:gd name="connsiteY34" fmla="*/ 450269 h 502997"/>
                <a:gd name="connsiteX35" fmla="*/ 1069380 w 1099273"/>
                <a:gd name="connsiteY35" fmla="*/ 460218 h 502997"/>
                <a:gd name="connsiteX36" fmla="*/ 1079345 w 1099273"/>
                <a:gd name="connsiteY36" fmla="*/ 464197 h 502997"/>
                <a:gd name="connsiteX37" fmla="*/ 1088412 w 1099273"/>
                <a:gd name="connsiteY37" fmla="*/ 486084 h 502997"/>
                <a:gd name="connsiteX38" fmla="*/ 1099274 w 1099273"/>
                <a:gd name="connsiteY38" fmla="*/ 502997 h 502997"/>
                <a:gd name="connsiteX39" fmla="*/ 251302 w 1099273"/>
                <a:gd name="connsiteY39" fmla="*/ 502997 h 502997"/>
                <a:gd name="connsiteX40" fmla="*/ 251302 w 1099273"/>
                <a:gd name="connsiteY40" fmla="*/ 337848 h 502997"/>
                <a:gd name="connsiteX41" fmla="*/ 199 w 1099273"/>
                <a:gd name="connsiteY41" fmla="*/ 337848 h 502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99273" h="502997">
                  <a:moveTo>
                    <a:pt x="0" y="318946"/>
                  </a:moveTo>
                  <a:lnTo>
                    <a:pt x="0" y="586"/>
                  </a:lnTo>
                  <a:cubicBezTo>
                    <a:pt x="172185" y="88"/>
                    <a:pt x="355630" y="586"/>
                    <a:pt x="528114" y="586"/>
                  </a:cubicBezTo>
                  <a:lnTo>
                    <a:pt x="654661" y="586"/>
                  </a:lnTo>
                  <a:cubicBezTo>
                    <a:pt x="658647" y="2675"/>
                    <a:pt x="704483" y="-4985"/>
                    <a:pt x="700498" y="6555"/>
                  </a:cubicBezTo>
                  <a:cubicBezTo>
                    <a:pt x="712635" y="16086"/>
                    <a:pt x="726515" y="23179"/>
                    <a:pt x="741352" y="27447"/>
                  </a:cubicBezTo>
                  <a:cubicBezTo>
                    <a:pt x="745238" y="29736"/>
                    <a:pt x="751316" y="38093"/>
                    <a:pt x="756398" y="40381"/>
                  </a:cubicBezTo>
                  <a:cubicBezTo>
                    <a:pt x="773437" y="41575"/>
                    <a:pt x="771145" y="32422"/>
                    <a:pt x="779217" y="23468"/>
                  </a:cubicBezTo>
                  <a:cubicBezTo>
                    <a:pt x="789181" y="25159"/>
                    <a:pt x="801238" y="29039"/>
                    <a:pt x="811103" y="24463"/>
                  </a:cubicBezTo>
                  <a:cubicBezTo>
                    <a:pt x="817450" y="24771"/>
                    <a:pt x="823768" y="25438"/>
                    <a:pt x="830035" y="26453"/>
                  </a:cubicBezTo>
                  <a:cubicBezTo>
                    <a:pt x="832426" y="22473"/>
                    <a:pt x="840498" y="23965"/>
                    <a:pt x="844085" y="24463"/>
                  </a:cubicBezTo>
                  <a:cubicBezTo>
                    <a:pt x="856540" y="19588"/>
                    <a:pt x="860526" y="34411"/>
                    <a:pt x="869893" y="39386"/>
                  </a:cubicBezTo>
                  <a:cubicBezTo>
                    <a:pt x="875672" y="39386"/>
                    <a:pt x="887430" y="41774"/>
                    <a:pt x="890818" y="47345"/>
                  </a:cubicBezTo>
                  <a:cubicBezTo>
                    <a:pt x="896398" y="43664"/>
                    <a:pt x="905964" y="48340"/>
                    <a:pt x="910747" y="51324"/>
                  </a:cubicBezTo>
                  <a:cubicBezTo>
                    <a:pt x="912441" y="50230"/>
                    <a:pt x="914135" y="57791"/>
                    <a:pt x="914832" y="58289"/>
                  </a:cubicBezTo>
                  <a:lnTo>
                    <a:pt x="924797" y="58289"/>
                  </a:lnTo>
                  <a:cubicBezTo>
                    <a:pt x="920711" y="69332"/>
                    <a:pt x="932569" y="75500"/>
                    <a:pt x="935758" y="85150"/>
                  </a:cubicBezTo>
                  <a:cubicBezTo>
                    <a:pt x="940441" y="85150"/>
                    <a:pt x="948611" y="82464"/>
                    <a:pt x="949708" y="89130"/>
                  </a:cubicBezTo>
                  <a:cubicBezTo>
                    <a:pt x="954819" y="86851"/>
                    <a:pt x="960818" y="88045"/>
                    <a:pt x="964654" y="92114"/>
                  </a:cubicBezTo>
                  <a:cubicBezTo>
                    <a:pt x="952498" y="109127"/>
                    <a:pt x="971629" y="118677"/>
                    <a:pt x="970633" y="133899"/>
                  </a:cubicBezTo>
                  <a:cubicBezTo>
                    <a:pt x="964355" y="138575"/>
                    <a:pt x="974519" y="148325"/>
                    <a:pt x="978704" y="151807"/>
                  </a:cubicBezTo>
                  <a:cubicBezTo>
                    <a:pt x="978704" y="157278"/>
                    <a:pt x="978007" y="164939"/>
                    <a:pt x="984683" y="166730"/>
                  </a:cubicBezTo>
                  <a:cubicBezTo>
                    <a:pt x="1004612" y="177972"/>
                    <a:pt x="985580" y="180161"/>
                    <a:pt x="998633" y="197571"/>
                  </a:cubicBezTo>
                  <a:cubicBezTo>
                    <a:pt x="1013281" y="212693"/>
                    <a:pt x="988669" y="226223"/>
                    <a:pt x="1002519" y="250299"/>
                  </a:cubicBezTo>
                  <a:lnTo>
                    <a:pt x="1011487" y="247315"/>
                  </a:lnTo>
                  <a:cubicBezTo>
                    <a:pt x="1014177" y="254179"/>
                    <a:pt x="1012882" y="262536"/>
                    <a:pt x="1022548" y="262238"/>
                  </a:cubicBezTo>
                  <a:cubicBezTo>
                    <a:pt x="1021651" y="272187"/>
                    <a:pt x="1019160" y="284423"/>
                    <a:pt x="1026533" y="292084"/>
                  </a:cubicBezTo>
                  <a:cubicBezTo>
                    <a:pt x="1023873" y="296581"/>
                    <a:pt x="1022787" y="301824"/>
                    <a:pt x="1023444" y="307007"/>
                  </a:cubicBezTo>
                  <a:lnTo>
                    <a:pt x="1030420" y="307007"/>
                  </a:lnTo>
                  <a:cubicBezTo>
                    <a:pt x="1029224" y="318448"/>
                    <a:pt x="1026533" y="333272"/>
                    <a:pt x="1034405" y="342822"/>
                  </a:cubicBezTo>
                  <a:cubicBezTo>
                    <a:pt x="1033010" y="347548"/>
                    <a:pt x="1033777" y="352642"/>
                    <a:pt x="1036498" y="356751"/>
                  </a:cubicBezTo>
                  <a:cubicBezTo>
                    <a:pt x="1028925" y="365605"/>
                    <a:pt x="1038092" y="374460"/>
                    <a:pt x="1026533" y="381623"/>
                  </a:cubicBezTo>
                  <a:cubicBezTo>
                    <a:pt x="1029423" y="391571"/>
                    <a:pt x="1042676" y="394158"/>
                    <a:pt x="1044469" y="404505"/>
                  </a:cubicBezTo>
                  <a:cubicBezTo>
                    <a:pt x="1041480" y="407987"/>
                    <a:pt x="1041580" y="418930"/>
                    <a:pt x="1048455" y="416443"/>
                  </a:cubicBezTo>
                  <a:cubicBezTo>
                    <a:pt x="1051943" y="426392"/>
                    <a:pt x="1059316" y="439126"/>
                    <a:pt x="1056426" y="450269"/>
                  </a:cubicBezTo>
                  <a:cubicBezTo>
                    <a:pt x="1061708" y="451662"/>
                    <a:pt x="1069879" y="453353"/>
                    <a:pt x="1069380" y="460218"/>
                  </a:cubicBezTo>
                  <a:cubicBezTo>
                    <a:pt x="1068085" y="461810"/>
                    <a:pt x="1079345" y="463700"/>
                    <a:pt x="1079345" y="464197"/>
                  </a:cubicBezTo>
                  <a:cubicBezTo>
                    <a:pt x="1075857" y="472554"/>
                    <a:pt x="1084526" y="479419"/>
                    <a:pt x="1088412" y="486084"/>
                  </a:cubicBezTo>
                  <a:cubicBezTo>
                    <a:pt x="1082633" y="496929"/>
                    <a:pt x="1093195" y="497923"/>
                    <a:pt x="1099274" y="502997"/>
                  </a:cubicBezTo>
                  <a:lnTo>
                    <a:pt x="251302" y="502997"/>
                  </a:lnTo>
                  <a:lnTo>
                    <a:pt x="251302" y="337848"/>
                  </a:lnTo>
                  <a:lnTo>
                    <a:pt x="199" y="337848"/>
                  </a:ln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689" name="Freeform: Shape 1688">
              <a:extLst>
                <a:ext uri="{FF2B5EF4-FFF2-40B4-BE49-F238E27FC236}">
                  <a16:creationId xmlns:a16="http://schemas.microsoft.com/office/drawing/2014/main" id="{EBA0D847-F4E6-4883-965E-2F4EBDA66EF5}"/>
                </a:ext>
              </a:extLst>
            </p:cNvPr>
            <p:cNvSpPr/>
            <p:nvPr/>
          </p:nvSpPr>
          <p:spPr>
            <a:xfrm>
              <a:off x="-2200309" y="446695"/>
              <a:ext cx="982490" cy="642341"/>
            </a:xfrm>
            <a:custGeom>
              <a:avLst/>
              <a:gdLst>
                <a:gd name="connsiteX0" fmla="*/ 0 w 982490"/>
                <a:gd name="connsiteY0" fmla="*/ 119025 h 642341"/>
                <a:gd name="connsiteX1" fmla="*/ 59786 w 982490"/>
                <a:gd name="connsiteY1" fmla="*/ 141908 h 642341"/>
                <a:gd name="connsiteX2" fmla="*/ 84598 w 982490"/>
                <a:gd name="connsiteY2" fmla="*/ 158820 h 642341"/>
                <a:gd name="connsiteX3" fmla="*/ 125452 w 982490"/>
                <a:gd name="connsiteY3" fmla="*/ 161805 h 642341"/>
                <a:gd name="connsiteX4" fmla="*/ 199189 w 982490"/>
                <a:gd name="connsiteY4" fmla="*/ 158820 h 642341"/>
                <a:gd name="connsiteX5" fmla="*/ 238149 w 982490"/>
                <a:gd name="connsiteY5" fmla="*/ 166779 h 642341"/>
                <a:gd name="connsiteX6" fmla="*/ 254989 w 982490"/>
                <a:gd name="connsiteY6" fmla="*/ 196626 h 642341"/>
                <a:gd name="connsiteX7" fmla="*/ 271032 w 982490"/>
                <a:gd name="connsiteY7" fmla="*/ 201600 h 642341"/>
                <a:gd name="connsiteX8" fmla="*/ 266947 w 982490"/>
                <a:gd name="connsiteY8" fmla="*/ 186677 h 642341"/>
                <a:gd name="connsiteX9" fmla="*/ 248014 w 982490"/>
                <a:gd name="connsiteY9" fmla="*/ 142902 h 642341"/>
                <a:gd name="connsiteX10" fmla="*/ 258975 w 982490"/>
                <a:gd name="connsiteY10" fmla="*/ 113056 h 642341"/>
                <a:gd name="connsiteX11" fmla="*/ 261067 w 982490"/>
                <a:gd name="connsiteY11" fmla="*/ 92164 h 642341"/>
                <a:gd name="connsiteX12" fmla="*/ 252099 w 982490"/>
                <a:gd name="connsiteY12" fmla="*/ 42420 h 642341"/>
                <a:gd name="connsiteX13" fmla="*/ 240142 w 982490"/>
                <a:gd name="connsiteY13" fmla="*/ 13569 h 642341"/>
                <a:gd name="connsiteX14" fmla="*/ 419502 w 982490"/>
                <a:gd name="connsiteY14" fmla="*/ 2625 h 642341"/>
                <a:gd name="connsiteX15" fmla="*/ 967544 w 982490"/>
                <a:gd name="connsiteY15" fmla="*/ 2625 h 642341"/>
                <a:gd name="connsiteX16" fmla="*/ 966647 w 982490"/>
                <a:gd name="connsiteY16" fmla="*/ 474196 h 642341"/>
                <a:gd name="connsiteX17" fmla="*/ 963558 w 982490"/>
                <a:gd name="connsiteY17" fmla="*/ 496083 h 642341"/>
                <a:gd name="connsiteX18" fmla="*/ 976512 w 982490"/>
                <a:gd name="connsiteY18" fmla="*/ 513991 h 642341"/>
                <a:gd name="connsiteX19" fmla="*/ 981594 w 982490"/>
                <a:gd name="connsiteY19" fmla="*/ 528914 h 642341"/>
                <a:gd name="connsiteX20" fmla="*/ 982491 w 982490"/>
                <a:gd name="connsiteY20" fmla="*/ 560750 h 642341"/>
                <a:gd name="connsiteX21" fmla="*/ 722420 w 982490"/>
                <a:gd name="connsiteY21" fmla="*/ 560750 h 642341"/>
                <a:gd name="connsiteX22" fmla="*/ 688541 w 982490"/>
                <a:gd name="connsiteY22" fmla="*/ 570698 h 642341"/>
                <a:gd name="connsiteX23" fmla="*/ 658647 w 982490"/>
                <a:gd name="connsiteY23" fmla="*/ 577663 h 642341"/>
                <a:gd name="connsiteX24" fmla="*/ 644697 w 982490"/>
                <a:gd name="connsiteY24" fmla="*/ 574678 h 642341"/>
                <a:gd name="connsiteX25" fmla="*/ 598861 w 982490"/>
                <a:gd name="connsiteY25" fmla="*/ 591591 h 642341"/>
                <a:gd name="connsiteX26" fmla="*/ 576939 w 982490"/>
                <a:gd name="connsiteY26" fmla="*/ 601540 h 642341"/>
                <a:gd name="connsiteX27" fmla="*/ 544057 w 982490"/>
                <a:gd name="connsiteY27" fmla="*/ 614473 h 642341"/>
                <a:gd name="connsiteX28" fmla="*/ 508284 w 982490"/>
                <a:gd name="connsiteY28" fmla="*/ 611488 h 642341"/>
                <a:gd name="connsiteX29" fmla="*/ 487260 w 982490"/>
                <a:gd name="connsiteY29" fmla="*/ 619447 h 642341"/>
                <a:gd name="connsiteX30" fmla="*/ 479288 w 982490"/>
                <a:gd name="connsiteY30" fmla="*/ 623427 h 642341"/>
                <a:gd name="connsiteX31" fmla="*/ 453480 w 982490"/>
                <a:gd name="connsiteY31" fmla="*/ 629396 h 642341"/>
                <a:gd name="connsiteX32" fmla="*/ 426477 w 982490"/>
                <a:gd name="connsiteY32" fmla="*/ 613478 h 642341"/>
                <a:gd name="connsiteX33" fmla="*/ 401566 w 982490"/>
                <a:gd name="connsiteY33" fmla="*/ 609498 h 642341"/>
                <a:gd name="connsiteX34" fmla="*/ 376754 w 982490"/>
                <a:gd name="connsiteY34" fmla="*/ 615468 h 642341"/>
                <a:gd name="connsiteX35" fmla="*/ 359815 w 982490"/>
                <a:gd name="connsiteY35" fmla="*/ 615468 h 642341"/>
                <a:gd name="connsiteX36" fmla="*/ 329922 w 982490"/>
                <a:gd name="connsiteY36" fmla="*/ 635365 h 642341"/>
                <a:gd name="connsiteX37" fmla="*/ 309993 w 982490"/>
                <a:gd name="connsiteY37" fmla="*/ 642329 h 642341"/>
                <a:gd name="connsiteX38" fmla="*/ 295046 w 982490"/>
                <a:gd name="connsiteY38" fmla="*/ 636360 h 642341"/>
                <a:gd name="connsiteX39" fmla="*/ 281096 w 982490"/>
                <a:gd name="connsiteY39" fmla="*/ 635365 h 642341"/>
                <a:gd name="connsiteX40" fmla="*/ 250206 w 982490"/>
                <a:gd name="connsiteY40" fmla="*/ 624422 h 642341"/>
                <a:gd name="connsiteX41" fmla="*/ 243132 w 982490"/>
                <a:gd name="connsiteY41" fmla="*/ 594575 h 642341"/>
                <a:gd name="connsiteX42" fmla="*/ 241139 w 982490"/>
                <a:gd name="connsiteY42" fmla="*/ 567714 h 642341"/>
                <a:gd name="connsiteX43" fmla="*/ 222306 w 982490"/>
                <a:gd name="connsiteY43" fmla="*/ 540852 h 642341"/>
                <a:gd name="connsiteX44" fmla="*/ 171487 w 982490"/>
                <a:gd name="connsiteY44" fmla="*/ 533888 h 642341"/>
                <a:gd name="connsiteX45" fmla="*/ 157438 w 982490"/>
                <a:gd name="connsiteY45" fmla="*/ 512001 h 642341"/>
                <a:gd name="connsiteX46" fmla="*/ 133523 w 982490"/>
                <a:gd name="connsiteY46" fmla="*/ 512001 h 642341"/>
                <a:gd name="connsiteX47" fmla="*/ 125651 w 982490"/>
                <a:gd name="connsiteY47" fmla="*/ 507027 h 642341"/>
                <a:gd name="connsiteX48" fmla="*/ 115687 w 982490"/>
                <a:gd name="connsiteY48" fmla="*/ 509016 h 642341"/>
                <a:gd name="connsiteX49" fmla="*/ 107616 w 982490"/>
                <a:gd name="connsiteY49" fmla="*/ 516975 h 642341"/>
                <a:gd name="connsiteX50" fmla="*/ 81708 w 982490"/>
                <a:gd name="connsiteY50" fmla="*/ 512001 h 642341"/>
                <a:gd name="connsiteX51" fmla="*/ 82705 w 982490"/>
                <a:gd name="connsiteY51" fmla="*/ 445344 h 642341"/>
                <a:gd name="connsiteX52" fmla="*/ 81708 w 982490"/>
                <a:gd name="connsiteY52" fmla="*/ 426442 h 642341"/>
                <a:gd name="connsiteX53" fmla="*/ 68854 w 982490"/>
                <a:gd name="connsiteY53" fmla="*/ 391621 h 642341"/>
                <a:gd name="connsiteX54" fmla="*/ 67758 w 982490"/>
                <a:gd name="connsiteY54" fmla="*/ 348841 h 642341"/>
                <a:gd name="connsiteX55" fmla="*/ 51815 w 982490"/>
                <a:gd name="connsiteY55" fmla="*/ 312031 h 642341"/>
                <a:gd name="connsiteX56" fmla="*/ 12954 w 982490"/>
                <a:gd name="connsiteY56" fmla="*/ 212544 h 642341"/>
                <a:gd name="connsiteX57" fmla="*/ 1096 w 982490"/>
                <a:gd name="connsiteY57" fmla="*/ 162800 h 642341"/>
                <a:gd name="connsiteX58" fmla="*/ 0 w 982490"/>
                <a:gd name="connsiteY58" fmla="*/ 119025 h 642341"/>
                <a:gd name="connsiteX59" fmla="*/ 187231 w 982490"/>
                <a:gd name="connsiteY59" fmla="*/ 63313 h 642341"/>
                <a:gd name="connsiteX60" fmla="*/ 215132 w 982490"/>
                <a:gd name="connsiteY60" fmla="*/ 55354 h 642341"/>
                <a:gd name="connsiteX61" fmla="*/ 225096 w 982490"/>
                <a:gd name="connsiteY61" fmla="*/ 42420 h 642341"/>
                <a:gd name="connsiteX62" fmla="*/ 242035 w 982490"/>
                <a:gd name="connsiteY62" fmla="*/ 78236 h 642341"/>
                <a:gd name="connsiteX63" fmla="*/ 240080 w 982490"/>
                <a:gd name="connsiteY63" fmla="*/ 101088 h 642341"/>
                <a:gd name="connsiteX64" fmla="*/ 240043 w 982490"/>
                <a:gd name="connsiteY64" fmla="*/ 101118 h 642341"/>
                <a:gd name="connsiteX65" fmla="*/ 233068 w 982490"/>
                <a:gd name="connsiteY65" fmla="*/ 113056 h 642341"/>
                <a:gd name="connsiteX66" fmla="*/ 187231 w 982490"/>
                <a:gd name="connsiteY66" fmla="*/ 63313 h 6423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982490" h="642341">
                  <a:moveTo>
                    <a:pt x="0" y="119025"/>
                  </a:moveTo>
                  <a:cubicBezTo>
                    <a:pt x="19929" y="115344"/>
                    <a:pt x="38961" y="141410"/>
                    <a:pt x="59786" y="141908"/>
                  </a:cubicBezTo>
                  <a:cubicBezTo>
                    <a:pt x="66263" y="144693"/>
                    <a:pt x="82107" y="151359"/>
                    <a:pt x="84598" y="158820"/>
                  </a:cubicBezTo>
                  <a:cubicBezTo>
                    <a:pt x="98091" y="161099"/>
                    <a:pt x="111770" y="162104"/>
                    <a:pt x="125452" y="161805"/>
                  </a:cubicBezTo>
                  <a:cubicBezTo>
                    <a:pt x="150164" y="159019"/>
                    <a:pt x="180754" y="184588"/>
                    <a:pt x="199189" y="158820"/>
                  </a:cubicBezTo>
                  <a:cubicBezTo>
                    <a:pt x="211046" y="174838"/>
                    <a:pt x="221011" y="178718"/>
                    <a:pt x="238149" y="166779"/>
                  </a:cubicBezTo>
                  <a:cubicBezTo>
                    <a:pt x="257480" y="158622"/>
                    <a:pt x="255388" y="184588"/>
                    <a:pt x="254989" y="196626"/>
                  </a:cubicBezTo>
                  <a:cubicBezTo>
                    <a:pt x="260071" y="205381"/>
                    <a:pt x="261267" y="210057"/>
                    <a:pt x="271032" y="201600"/>
                  </a:cubicBezTo>
                  <a:cubicBezTo>
                    <a:pt x="278705" y="196228"/>
                    <a:pt x="272825" y="189861"/>
                    <a:pt x="266947" y="186677"/>
                  </a:cubicBezTo>
                  <a:cubicBezTo>
                    <a:pt x="273025" y="159218"/>
                    <a:pt x="254989" y="163397"/>
                    <a:pt x="248014" y="142902"/>
                  </a:cubicBezTo>
                  <a:cubicBezTo>
                    <a:pt x="253702" y="133819"/>
                    <a:pt x="257434" y="123652"/>
                    <a:pt x="258975" y="113056"/>
                  </a:cubicBezTo>
                  <a:cubicBezTo>
                    <a:pt x="255775" y="106241"/>
                    <a:pt x="256578" y="98213"/>
                    <a:pt x="261067" y="92164"/>
                  </a:cubicBezTo>
                  <a:cubicBezTo>
                    <a:pt x="264455" y="76047"/>
                    <a:pt x="252498" y="58438"/>
                    <a:pt x="252099" y="42420"/>
                  </a:cubicBezTo>
                  <a:cubicBezTo>
                    <a:pt x="253096" y="31676"/>
                    <a:pt x="240341" y="24313"/>
                    <a:pt x="240142" y="13569"/>
                  </a:cubicBezTo>
                  <a:cubicBezTo>
                    <a:pt x="246320" y="-12696"/>
                    <a:pt x="388114" y="8296"/>
                    <a:pt x="419502" y="2625"/>
                  </a:cubicBezTo>
                  <a:lnTo>
                    <a:pt x="967544" y="2625"/>
                  </a:lnTo>
                  <a:cubicBezTo>
                    <a:pt x="967544" y="156831"/>
                    <a:pt x="966149" y="319692"/>
                    <a:pt x="966647" y="474196"/>
                  </a:cubicBezTo>
                  <a:cubicBezTo>
                    <a:pt x="968341" y="481627"/>
                    <a:pt x="967245" y="489417"/>
                    <a:pt x="963558" y="496083"/>
                  </a:cubicBezTo>
                  <a:cubicBezTo>
                    <a:pt x="969417" y="500769"/>
                    <a:pt x="973901" y="506957"/>
                    <a:pt x="976512" y="513991"/>
                  </a:cubicBezTo>
                  <a:cubicBezTo>
                    <a:pt x="975914" y="518468"/>
                    <a:pt x="976512" y="526625"/>
                    <a:pt x="981594" y="528914"/>
                  </a:cubicBezTo>
                  <a:cubicBezTo>
                    <a:pt x="971131" y="557765"/>
                    <a:pt x="976313" y="533490"/>
                    <a:pt x="982491" y="560750"/>
                  </a:cubicBezTo>
                  <a:cubicBezTo>
                    <a:pt x="897594" y="561844"/>
                    <a:pt x="807316" y="558462"/>
                    <a:pt x="722420" y="560750"/>
                  </a:cubicBezTo>
                  <a:cubicBezTo>
                    <a:pt x="713840" y="570062"/>
                    <a:pt x="700807" y="573892"/>
                    <a:pt x="688541" y="570698"/>
                  </a:cubicBezTo>
                  <a:cubicBezTo>
                    <a:pt x="679872" y="573982"/>
                    <a:pt x="667416" y="575076"/>
                    <a:pt x="658647" y="577663"/>
                  </a:cubicBezTo>
                  <a:cubicBezTo>
                    <a:pt x="654861" y="576568"/>
                    <a:pt x="648683" y="572290"/>
                    <a:pt x="644697" y="574678"/>
                  </a:cubicBezTo>
                  <a:cubicBezTo>
                    <a:pt x="637224" y="592287"/>
                    <a:pt x="614804" y="586716"/>
                    <a:pt x="598861" y="591591"/>
                  </a:cubicBezTo>
                  <a:cubicBezTo>
                    <a:pt x="592573" y="596794"/>
                    <a:pt x="585000" y="600226"/>
                    <a:pt x="576939" y="601540"/>
                  </a:cubicBezTo>
                  <a:cubicBezTo>
                    <a:pt x="570064" y="611488"/>
                    <a:pt x="554519" y="610891"/>
                    <a:pt x="544057" y="614473"/>
                  </a:cubicBezTo>
                  <a:cubicBezTo>
                    <a:pt x="528711" y="619447"/>
                    <a:pt x="519544" y="597262"/>
                    <a:pt x="508284" y="611488"/>
                  </a:cubicBezTo>
                  <a:lnTo>
                    <a:pt x="487260" y="619447"/>
                  </a:lnTo>
                  <a:cubicBezTo>
                    <a:pt x="485167" y="620940"/>
                    <a:pt x="482477" y="626113"/>
                    <a:pt x="479288" y="623427"/>
                  </a:cubicBezTo>
                  <a:cubicBezTo>
                    <a:pt x="472711" y="621736"/>
                    <a:pt x="456370" y="621437"/>
                    <a:pt x="453480" y="629396"/>
                  </a:cubicBezTo>
                  <a:cubicBezTo>
                    <a:pt x="437736" y="635564"/>
                    <a:pt x="450889" y="617856"/>
                    <a:pt x="426477" y="613478"/>
                  </a:cubicBezTo>
                  <a:cubicBezTo>
                    <a:pt x="417987" y="615766"/>
                    <a:pt x="408919" y="614314"/>
                    <a:pt x="401566" y="609498"/>
                  </a:cubicBezTo>
                  <a:lnTo>
                    <a:pt x="376754" y="615468"/>
                  </a:lnTo>
                  <a:cubicBezTo>
                    <a:pt x="371274" y="613528"/>
                    <a:pt x="365295" y="613528"/>
                    <a:pt x="359815" y="615468"/>
                  </a:cubicBezTo>
                  <a:cubicBezTo>
                    <a:pt x="353737" y="624720"/>
                    <a:pt x="339886" y="630391"/>
                    <a:pt x="329922" y="635365"/>
                  </a:cubicBezTo>
                  <a:cubicBezTo>
                    <a:pt x="322710" y="635534"/>
                    <a:pt x="315736" y="637972"/>
                    <a:pt x="309993" y="642329"/>
                  </a:cubicBezTo>
                  <a:cubicBezTo>
                    <a:pt x="304392" y="642528"/>
                    <a:pt x="298966" y="640360"/>
                    <a:pt x="295046" y="636360"/>
                  </a:cubicBezTo>
                  <a:cubicBezTo>
                    <a:pt x="290772" y="639464"/>
                    <a:pt x="284885" y="639036"/>
                    <a:pt x="281096" y="635365"/>
                  </a:cubicBezTo>
                  <a:cubicBezTo>
                    <a:pt x="270337" y="633177"/>
                    <a:pt x="259941" y="629496"/>
                    <a:pt x="250206" y="624422"/>
                  </a:cubicBezTo>
                  <a:cubicBezTo>
                    <a:pt x="242733" y="616264"/>
                    <a:pt x="250206" y="603430"/>
                    <a:pt x="243132" y="594575"/>
                  </a:cubicBezTo>
                  <a:cubicBezTo>
                    <a:pt x="246320" y="585920"/>
                    <a:pt x="240043" y="576369"/>
                    <a:pt x="241139" y="567714"/>
                  </a:cubicBezTo>
                  <a:cubicBezTo>
                    <a:pt x="234961" y="560153"/>
                    <a:pt x="232470" y="544235"/>
                    <a:pt x="222306" y="540852"/>
                  </a:cubicBezTo>
                  <a:cubicBezTo>
                    <a:pt x="194007" y="513991"/>
                    <a:pt x="197793" y="533789"/>
                    <a:pt x="171487" y="533888"/>
                  </a:cubicBezTo>
                  <a:cubicBezTo>
                    <a:pt x="161523" y="530207"/>
                    <a:pt x="165808" y="517970"/>
                    <a:pt x="157438" y="512001"/>
                  </a:cubicBezTo>
                  <a:cubicBezTo>
                    <a:pt x="149491" y="512896"/>
                    <a:pt x="141470" y="512896"/>
                    <a:pt x="133523" y="512001"/>
                  </a:cubicBezTo>
                  <a:cubicBezTo>
                    <a:pt x="132726" y="509315"/>
                    <a:pt x="129238" y="502052"/>
                    <a:pt x="125651" y="507027"/>
                  </a:cubicBezTo>
                  <a:cubicBezTo>
                    <a:pt x="123858" y="510111"/>
                    <a:pt x="118477" y="510011"/>
                    <a:pt x="115687" y="509016"/>
                  </a:cubicBezTo>
                  <a:lnTo>
                    <a:pt x="107616" y="516975"/>
                  </a:lnTo>
                  <a:cubicBezTo>
                    <a:pt x="93366" y="513394"/>
                    <a:pt x="101836" y="501953"/>
                    <a:pt x="81708" y="512001"/>
                  </a:cubicBezTo>
                  <a:cubicBezTo>
                    <a:pt x="85079" y="489935"/>
                    <a:pt x="85414" y="467500"/>
                    <a:pt x="82705" y="445344"/>
                  </a:cubicBezTo>
                  <a:cubicBezTo>
                    <a:pt x="108811" y="446936"/>
                    <a:pt x="102633" y="429526"/>
                    <a:pt x="81708" y="426442"/>
                  </a:cubicBezTo>
                  <a:cubicBezTo>
                    <a:pt x="79117" y="416493"/>
                    <a:pt x="78121" y="397789"/>
                    <a:pt x="68854" y="391621"/>
                  </a:cubicBezTo>
                  <a:cubicBezTo>
                    <a:pt x="72043" y="383264"/>
                    <a:pt x="68854" y="357696"/>
                    <a:pt x="67758" y="348841"/>
                  </a:cubicBezTo>
                  <a:cubicBezTo>
                    <a:pt x="65267" y="337798"/>
                    <a:pt x="61082" y="319692"/>
                    <a:pt x="51815" y="312031"/>
                  </a:cubicBezTo>
                  <a:cubicBezTo>
                    <a:pt x="47630" y="277708"/>
                    <a:pt x="41850" y="235028"/>
                    <a:pt x="12954" y="212544"/>
                  </a:cubicBezTo>
                  <a:cubicBezTo>
                    <a:pt x="3587" y="198317"/>
                    <a:pt x="7673" y="177624"/>
                    <a:pt x="1096" y="162800"/>
                  </a:cubicBezTo>
                  <a:cubicBezTo>
                    <a:pt x="7984" y="148921"/>
                    <a:pt x="7574" y="132546"/>
                    <a:pt x="0" y="119025"/>
                  </a:cubicBezTo>
                  <a:close/>
                  <a:moveTo>
                    <a:pt x="187231" y="63313"/>
                  </a:moveTo>
                  <a:cubicBezTo>
                    <a:pt x="196946" y="62411"/>
                    <a:pt x="206407" y="59712"/>
                    <a:pt x="215132" y="55354"/>
                  </a:cubicBezTo>
                  <a:cubicBezTo>
                    <a:pt x="216925" y="51772"/>
                    <a:pt x="219914" y="42221"/>
                    <a:pt x="225096" y="42420"/>
                  </a:cubicBezTo>
                  <a:cubicBezTo>
                    <a:pt x="237950" y="48688"/>
                    <a:pt x="258676" y="65203"/>
                    <a:pt x="242035" y="78236"/>
                  </a:cubicBezTo>
                  <a:cubicBezTo>
                    <a:pt x="247816" y="85084"/>
                    <a:pt x="246940" y="95318"/>
                    <a:pt x="240080" y="101088"/>
                  </a:cubicBezTo>
                  <a:cubicBezTo>
                    <a:pt x="240067" y="101098"/>
                    <a:pt x="240056" y="101108"/>
                    <a:pt x="240043" y="101118"/>
                  </a:cubicBezTo>
                  <a:cubicBezTo>
                    <a:pt x="242534" y="108778"/>
                    <a:pt x="242235" y="112758"/>
                    <a:pt x="233068" y="113056"/>
                  </a:cubicBezTo>
                  <a:cubicBezTo>
                    <a:pt x="201181" y="101018"/>
                    <a:pt x="195302" y="98233"/>
                    <a:pt x="187231" y="63313"/>
                  </a:cubicBez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690" name="Freeform: Shape 1689">
              <a:extLst>
                <a:ext uri="{FF2B5EF4-FFF2-40B4-BE49-F238E27FC236}">
                  <a16:creationId xmlns:a16="http://schemas.microsoft.com/office/drawing/2014/main" id="{E1928119-3000-4394-AA68-23FF77179409}"/>
                </a:ext>
              </a:extLst>
            </p:cNvPr>
            <p:cNvSpPr/>
            <p:nvPr/>
          </p:nvSpPr>
          <p:spPr>
            <a:xfrm>
              <a:off x="2818663" y="1709826"/>
              <a:ext cx="541581" cy="586683"/>
            </a:xfrm>
            <a:custGeom>
              <a:avLst/>
              <a:gdLst>
                <a:gd name="connsiteX0" fmla="*/ 0 w 541581"/>
                <a:gd name="connsiteY0" fmla="*/ 454658 h 586683"/>
                <a:gd name="connsiteX1" fmla="*/ 1992 w 541581"/>
                <a:gd name="connsiteY1" fmla="*/ 74616 h 586683"/>
                <a:gd name="connsiteX2" fmla="*/ 1992 w 541581"/>
                <a:gd name="connsiteY2" fmla="*/ 46759 h 586683"/>
                <a:gd name="connsiteX3" fmla="*/ 86690 w 541581"/>
                <a:gd name="connsiteY3" fmla="*/ 43774 h 586683"/>
                <a:gd name="connsiteX4" fmla="*/ 177366 w 541581"/>
                <a:gd name="connsiteY4" fmla="*/ 47754 h 586683"/>
                <a:gd name="connsiteX5" fmla="*/ 200284 w 541581"/>
                <a:gd name="connsiteY5" fmla="*/ 55713 h 586683"/>
                <a:gd name="connsiteX6" fmla="*/ 220213 w 541581"/>
                <a:gd name="connsiteY6" fmla="*/ 63672 h 586683"/>
                <a:gd name="connsiteX7" fmla="*/ 265053 w 541581"/>
                <a:gd name="connsiteY7" fmla="*/ 72626 h 586683"/>
                <a:gd name="connsiteX8" fmla="*/ 308897 w 541581"/>
                <a:gd name="connsiteY8" fmla="*/ 92523 h 586683"/>
                <a:gd name="connsiteX9" fmla="*/ 331815 w 541581"/>
                <a:gd name="connsiteY9" fmla="*/ 84564 h 586683"/>
                <a:gd name="connsiteX10" fmla="*/ 359715 w 541581"/>
                <a:gd name="connsiteY10" fmla="*/ 79590 h 586683"/>
                <a:gd name="connsiteX11" fmla="*/ 378648 w 541581"/>
                <a:gd name="connsiteY11" fmla="*/ 80585 h 586683"/>
                <a:gd name="connsiteX12" fmla="*/ 400569 w 541581"/>
                <a:gd name="connsiteY12" fmla="*/ 73621 h 586683"/>
                <a:gd name="connsiteX13" fmla="*/ 444412 w 541581"/>
                <a:gd name="connsiteY13" fmla="*/ 35815 h 586683"/>
                <a:gd name="connsiteX14" fmla="*/ 541067 w 541581"/>
                <a:gd name="connsiteY14" fmla="*/ 0 h 586683"/>
                <a:gd name="connsiteX15" fmla="*/ 541067 w 541581"/>
                <a:gd name="connsiteY15" fmla="*/ 142267 h 586683"/>
                <a:gd name="connsiteX16" fmla="*/ 541067 w 541581"/>
                <a:gd name="connsiteY16" fmla="*/ 188031 h 586683"/>
                <a:gd name="connsiteX17" fmla="*/ 527117 w 541581"/>
                <a:gd name="connsiteY17" fmla="*/ 226831 h 586683"/>
                <a:gd name="connsiteX18" fmla="*/ 528213 w 541581"/>
                <a:gd name="connsiteY18" fmla="*/ 242749 h 586683"/>
                <a:gd name="connsiteX19" fmla="*/ 527117 w 541581"/>
                <a:gd name="connsiteY19" fmla="*/ 263642 h 586683"/>
                <a:gd name="connsiteX20" fmla="*/ 530106 w 541581"/>
                <a:gd name="connsiteY20" fmla="*/ 278565 h 586683"/>
                <a:gd name="connsiteX21" fmla="*/ 517252 w 541581"/>
                <a:gd name="connsiteY21" fmla="*/ 303437 h 586683"/>
                <a:gd name="connsiteX22" fmla="*/ 505195 w 541581"/>
                <a:gd name="connsiteY22" fmla="*/ 342237 h 586683"/>
                <a:gd name="connsiteX23" fmla="*/ 497224 w 541581"/>
                <a:gd name="connsiteY23" fmla="*/ 367109 h 586683"/>
                <a:gd name="connsiteX24" fmla="*/ 471416 w 541581"/>
                <a:gd name="connsiteY24" fmla="*/ 408893 h 586683"/>
                <a:gd name="connsiteX25" fmla="*/ 457366 w 541581"/>
                <a:gd name="connsiteY25" fmla="*/ 421826 h 586683"/>
                <a:gd name="connsiteX26" fmla="*/ 434448 w 541581"/>
                <a:gd name="connsiteY26" fmla="*/ 434760 h 586683"/>
                <a:gd name="connsiteX27" fmla="*/ 417508 w 541581"/>
                <a:gd name="connsiteY27" fmla="*/ 430781 h 586683"/>
                <a:gd name="connsiteX28" fmla="*/ 410533 w 541581"/>
                <a:gd name="connsiteY28" fmla="*/ 437745 h 586683"/>
                <a:gd name="connsiteX29" fmla="*/ 403559 w 541581"/>
                <a:gd name="connsiteY29" fmla="*/ 446698 h 586683"/>
                <a:gd name="connsiteX30" fmla="*/ 391601 w 541581"/>
                <a:gd name="connsiteY30" fmla="*/ 455652 h 586683"/>
                <a:gd name="connsiteX31" fmla="*/ 387615 w 541581"/>
                <a:gd name="connsiteY31" fmla="*/ 474555 h 586683"/>
                <a:gd name="connsiteX32" fmla="*/ 380740 w 541581"/>
                <a:gd name="connsiteY32" fmla="*/ 484504 h 586683"/>
                <a:gd name="connsiteX33" fmla="*/ 367686 w 541581"/>
                <a:gd name="connsiteY33" fmla="*/ 502411 h 586683"/>
                <a:gd name="connsiteX34" fmla="*/ 337793 w 541581"/>
                <a:gd name="connsiteY34" fmla="*/ 506391 h 586683"/>
                <a:gd name="connsiteX35" fmla="*/ 328825 w 541581"/>
                <a:gd name="connsiteY35" fmla="*/ 523304 h 586683"/>
                <a:gd name="connsiteX36" fmla="*/ 332811 w 541581"/>
                <a:gd name="connsiteY36" fmla="*/ 554145 h 586683"/>
                <a:gd name="connsiteX37" fmla="*/ 320853 w 541581"/>
                <a:gd name="connsiteY37" fmla="*/ 557129 h 586683"/>
                <a:gd name="connsiteX38" fmla="*/ 306904 w 541581"/>
                <a:gd name="connsiteY38" fmla="*/ 582001 h 586683"/>
                <a:gd name="connsiteX39" fmla="*/ 270135 w 541581"/>
                <a:gd name="connsiteY39" fmla="*/ 569068 h 586683"/>
                <a:gd name="connsiteX40" fmla="*/ 254092 w 541581"/>
                <a:gd name="connsiteY40" fmla="*/ 562104 h 586683"/>
                <a:gd name="connsiteX41" fmla="*/ 243131 w 541581"/>
                <a:gd name="connsiteY41" fmla="*/ 530268 h 586683"/>
                <a:gd name="connsiteX42" fmla="*/ 224199 w 541581"/>
                <a:gd name="connsiteY42" fmla="*/ 538227 h 586683"/>
                <a:gd name="connsiteX43" fmla="*/ 207260 w 541581"/>
                <a:gd name="connsiteY43" fmla="*/ 552155 h 586683"/>
                <a:gd name="connsiteX44" fmla="*/ 193309 w 541581"/>
                <a:gd name="connsiteY44" fmla="*/ 556135 h 586683"/>
                <a:gd name="connsiteX45" fmla="*/ 173380 w 541581"/>
                <a:gd name="connsiteY45" fmla="*/ 545191 h 586683"/>
                <a:gd name="connsiteX46" fmla="*/ 150462 w 541581"/>
                <a:gd name="connsiteY46" fmla="*/ 543201 h 586683"/>
                <a:gd name="connsiteX47" fmla="*/ 130534 w 541581"/>
                <a:gd name="connsiteY47" fmla="*/ 540217 h 586683"/>
                <a:gd name="connsiteX48" fmla="*/ 121665 w 541581"/>
                <a:gd name="connsiteY48" fmla="*/ 531263 h 586683"/>
                <a:gd name="connsiteX49" fmla="*/ 112598 w 541581"/>
                <a:gd name="connsiteY49" fmla="*/ 527283 h 586683"/>
                <a:gd name="connsiteX50" fmla="*/ 96654 w 541581"/>
                <a:gd name="connsiteY50" fmla="*/ 528278 h 586683"/>
                <a:gd name="connsiteX51" fmla="*/ 76725 w 541581"/>
                <a:gd name="connsiteY51" fmla="*/ 522309 h 586683"/>
                <a:gd name="connsiteX52" fmla="*/ 73736 w 541581"/>
                <a:gd name="connsiteY52" fmla="*/ 511365 h 586683"/>
                <a:gd name="connsiteX53" fmla="*/ 66761 w 541581"/>
                <a:gd name="connsiteY53" fmla="*/ 498432 h 586683"/>
                <a:gd name="connsiteX54" fmla="*/ 52811 w 541581"/>
                <a:gd name="connsiteY54" fmla="*/ 483509 h 586683"/>
                <a:gd name="connsiteX55" fmla="*/ 33879 w 541581"/>
                <a:gd name="connsiteY55" fmla="*/ 475550 h 586683"/>
                <a:gd name="connsiteX56" fmla="*/ 0 w 541581"/>
                <a:gd name="connsiteY56" fmla="*/ 474555 h 586683"/>
                <a:gd name="connsiteX57" fmla="*/ 246120 w 541581"/>
                <a:gd name="connsiteY57" fmla="*/ 47754 h 586683"/>
                <a:gd name="connsiteX58" fmla="*/ 251103 w 541581"/>
                <a:gd name="connsiteY58" fmla="*/ 42779 h 586683"/>
                <a:gd name="connsiteX59" fmla="*/ 249110 w 541581"/>
                <a:gd name="connsiteY59" fmla="*/ 58698 h 58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41581" h="586683">
                  <a:moveTo>
                    <a:pt x="0" y="454658"/>
                  </a:moveTo>
                  <a:cubicBezTo>
                    <a:pt x="2391" y="328507"/>
                    <a:pt x="1992" y="200865"/>
                    <a:pt x="1992" y="74616"/>
                  </a:cubicBezTo>
                  <a:lnTo>
                    <a:pt x="1992" y="46759"/>
                  </a:lnTo>
                  <a:cubicBezTo>
                    <a:pt x="25210" y="46759"/>
                    <a:pt x="63971" y="44570"/>
                    <a:pt x="86690" y="43774"/>
                  </a:cubicBezTo>
                  <a:cubicBezTo>
                    <a:pt x="104227" y="46560"/>
                    <a:pt x="173281" y="33826"/>
                    <a:pt x="177366" y="47754"/>
                  </a:cubicBezTo>
                  <a:cubicBezTo>
                    <a:pt x="185736" y="43476"/>
                    <a:pt x="194804" y="49744"/>
                    <a:pt x="200284" y="55713"/>
                  </a:cubicBezTo>
                  <a:cubicBezTo>
                    <a:pt x="205067" y="57305"/>
                    <a:pt x="215530" y="61682"/>
                    <a:pt x="220213" y="63672"/>
                  </a:cubicBezTo>
                  <a:cubicBezTo>
                    <a:pt x="246320" y="96801"/>
                    <a:pt x="236256" y="52430"/>
                    <a:pt x="265053" y="72626"/>
                  </a:cubicBezTo>
                  <a:cubicBezTo>
                    <a:pt x="269637" y="90732"/>
                    <a:pt x="292555" y="108342"/>
                    <a:pt x="308897" y="92523"/>
                  </a:cubicBezTo>
                  <a:cubicBezTo>
                    <a:pt x="317257" y="92792"/>
                    <a:pt x="325428" y="89956"/>
                    <a:pt x="331815" y="84564"/>
                  </a:cubicBezTo>
                  <a:cubicBezTo>
                    <a:pt x="339487" y="83470"/>
                    <a:pt x="352939" y="75511"/>
                    <a:pt x="359715" y="79590"/>
                  </a:cubicBezTo>
                  <a:cubicBezTo>
                    <a:pt x="362206" y="83171"/>
                    <a:pt x="375259" y="80187"/>
                    <a:pt x="378648" y="80585"/>
                  </a:cubicBezTo>
                  <a:cubicBezTo>
                    <a:pt x="385523" y="84365"/>
                    <a:pt x="395288" y="77003"/>
                    <a:pt x="400569" y="73621"/>
                  </a:cubicBezTo>
                  <a:cubicBezTo>
                    <a:pt x="414719" y="63672"/>
                    <a:pt x="429665" y="44769"/>
                    <a:pt x="444412" y="35815"/>
                  </a:cubicBezTo>
                  <a:cubicBezTo>
                    <a:pt x="475701" y="24076"/>
                    <a:pt x="508783" y="9252"/>
                    <a:pt x="541067" y="0"/>
                  </a:cubicBezTo>
                  <a:cubicBezTo>
                    <a:pt x="541067" y="46063"/>
                    <a:pt x="541067" y="96204"/>
                    <a:pt x="541067" y="142267"/>
                  </a:cubicBezTo>
                  <a:cubicBezTo>
                    <a:pt x="541067" y="155399"/>
                    <a:pt x="541067" y="175098"/>
                    <a:pt x="541067" y="188031"/>
                  </a:cubicBezTo>
                  <a:cubicBezTo>
                    <a:pt x="539074" y="199074"/>
                    <a:pt x="548839" y="232204"/>
                    <a:pt x="527117" y="226831"/>
                  </a:cubicBezTo>
                  <a:cubicBezTo>
                    <a:pt x="519943" y="231507"/>
                    <a:pt x="524725" y="237476"/>
                    <a:pt x="528213" y="242749"/>
                  </a:cubicBezTo>
                  <a:cubicBezTo>
                    <a:pt x="530306" y="249624"/>
                    <a:pt x="529917" y="257016"/>
                    <a:pt x="527117" y="263642"/>
                  </a:cubicBezTo>
                  <a:cubicBezTo>
                    <a:pt x="527117" y="264338"/>
                    <a:pt x="529708" y="277470"/>
                    <a:pt x="530106" y="278565"/>
                  </a:cubicBezTo>
                  <a:cubicBezTo>
                    <a:pt x="525523" y="285330"/>
                    <a:pt x="521836" y="296870"/>
                    <a:pt x="517252" y="303437"/>
                  </a:cubicBezTo>
                  <a:cubicBezTo>
                    <a:pt x="511473" y="315873"/>
                    <a:pt x="517750" y="333283"/>
                    <a:pt x="505195" y="342237"/>
                  </a:cubicBezTo>
                  <a:cubicBezTo>
                    <a:pt x="503203" y="349997"/>
                    <a:pt x="504299" y="361637"/>
                    <a:pt x="497224" y="367109"/>
                  </a:cubicBezTo>
                  <a:cubicBezTo>
                    <a:pt x="510377" y="383723"/>
                    <a:pt x="479686" y="395960"/>
                    <a:pt x="471416" y="408893"/>
                  </a:cubicBezTo>
                  <a:cubicBezTo>
                    <a:pt x="468028" y="413370"/>
                    <a:pt x="463544" y="420931"/>
                    <a:pt x="457366" y="421826"/>
                  </a:cubicBezTo>
                  <a:cubicBezTo>
                    <a:pt x="452185" y="424911"/>
                    <a:pt x="440426" y="436451"/>
                    <a:pt x="434448" y="434760"/>
                  </a:cubicBezTo>
                  <a:cubicBezTo>
                    <a:pt x="426676" y="434760"/>
                    <a:pt x="428668" y="416554"/>
                    <a:pt x="417508" y="430781"/>
                  </a:cubicBezTo>
                  <a:lnTo>
                    <a:pt x="410533" y="437745"/>
                  </a:lnTo>
                  <a:cubicBezTo>
                    <a:pt x="410533" y="442222"/>
                    <a:pt x="410533" y="449086"/>
                    <a:pt x="403559" y="446698"/>
                  </a:cubicBezTo>
                  <a:cubicBezTo>
                    <a:pt x="396583" y="444311"/>
                    <a:pt x="393594" y="449882"/>
                    <a:pt x="391601" y="455652"/>
                  </a:cubicBezTo>
                  <a:cubicBezTo>
                    <a:pt x="384327" y="459731"/>
                    <a:pt x="386021" y="467690"/>
                    <a:pt x="387615" y="474555"/>
                  </a:cubicBezTo>
                  <a:cubicBezTo>
                    <a:pt x="381139" y="475649"/>
                    <a:pt x="377053" y="477639"/>
                    <a:pt x="380740" y="484504"/>
                  </a:cubicBezTo>
                  <a:cubicBezTo>
                    <a:pt x="385423" y="494452"/>
                    <a:pt x="378149" y="501814"/>
                    <a:pt x="367686" y="502411"/>
                  </a:cubicBezTo>
                  <a:cubicBezTo>
                    <a:pt x="356726" y="479331"/>
                    <a:pt x="346562" y="486891"/>
                    <a:pt x="337793" y="506391"/>
                  </a:cubicBezTo>
                  <a:cubicBezTo>
                    <a:pt x="336797" y="511564"/>
                    <a:pt x="335202" y="521812"/>
                    <a:pt x="328825" y="523304"/>
                  </a:cubicBezTo>
                  <a:cubicBezTo>
                    <a:pt x="330121" y="531760"/>
                    <a:pt x="331815" y="545688"/>
                    <a:pt x="332811" y="554145"/>
                  </a:cubicBezTo>
                  <a:cubicBezTo>
                    <a:pt x="329274" y="556453"/>
                    <a:pt x="325059" y="557507"/>
                    <a:pt x="320853" y="557129"/>
                  </a:cubicBezTo>
                  <a:cubicBezTo>
                    <a:pt x="314676" y="564591"/>
                    <a:pt x="320256" y="581604"/>
                    <a:pt x="306904" y="582001"/>
                  </a:cubicBezTo>
                  <a:cubicBezTo>
                    <a:pt x="278206" y="589364"/>
                    <a:pt x="286975" y="590060"/>
                    <a:pt x="270135" y="569068"/>
                  </a:cubicBezTo>
                  <a:cubicBezTo>
                    <a:pt x="266358" y="564123"/>
                    <a:pt x="260290" y="561487"/>
                    <a:pt x="254092" y="562104"/>
                  </a:cubicBezTo>
                  <a:cubicBezTo>
                    <a:pt x="245024" y="554145"/>
                    <a:pt x="246220" y="540913"/>
                    <a:pt x="243131" y="530268"/>
                  </a:cubicBezTo>
                  <a:cubicBezTo>
                    <a:pt x="237950" y="533750"/>
                    <a:pt x="228085" y="533153"/>
                    <a:pt x="224199" y="538227"/>
                  </a:cubicBezTo>
                  <a:cubicBezTo>
                    <a:pt x="217024" y="540714"/>
                    <a:pt x="214235" y="549966"/>
                    <a:pt x="207260" y="552155"/>
                  </a:cubicBezTo>
                  <a:cubicBezTo>
                    <a:pt x="202227" y="550514"/>
                    <a:pt x="196707" y="552086"/>
                    <a:pt x="193309" y="556135"/>
                  </a:cubicBezTo>
                  <a:cubicBezTo>
                    <a:pt x="187729" y="551757"/>
                    <a:pt x="181352" y="544296"/>
                    <a:pt x="173380" y="545191"/>
                  </a:cubicBezTo>
                  <a:cubicBezTo>
                    <a:pt x="166934" y="539749"/>
                    <a:pt x="157756" y="538953"/>
                    <a:pt x="150462" y="543201"/>
                  </a:cubicBezTo>
                  <a:cubicBezTo>
                    <a:pt x="150462" y="555637"/>
                    <a:pt x="129836" y="550265"/>
                    <a:pt x="130534" y="540217"/>
                  </a:cubicBezTo>
                  <a:cubicBezTo>
                    <a:pt x="126319" y="538814"/>
                    <a:pt x="123021" y="535491"/>
                    <a:pt x="121665" y="531263"/>
                  </a:cubicBezTo>
                  <a:cubicBezTo>
                    <a:pt x="118437" y="530477"/>
                    <a:pt x="115368" y="529124"/>
                    <a:pt x="112598" y="527283"/>
                  </a:cubicBezTo>
                  <a:cubicBezTo>
                    <a:pt x="107396" y="525264"/>
                    <a:pt x="101567" y="525632"/>
                    <a:pt x="96654" y="528278"/>
                  </a:cubicBezTo>
                  <a:lnTo>
                    <a:pt x="76725" y="522309"/>
                  </a:lnTo>
                  <a:cubicBezTo>
                    <a:pt x="74304" y="519205"/>
                    <a:pt x="73228" y="515265"/>
                    <a:pt x="73736" y="511365"/>
                  </a:cubicBezTo>
                  <a:cubicBezTo>
                    <a:pt x="74633" y="510768"/>
                    <a:pt x="66961" y="499029"/>
                    <a:pt x="66761" y="498432"/>
                  </a:cubicBezTo>
                  <a:cubicBezTo>
                    <a:pt x="66383" y="490722"/>
                    <a:pt x="60484" y="484424"/>
                    <a:pt x="52811" y="483509"/>
                  </a:cubicBezTo>
                  <a:cubicBezTo>
                    <a:pt x="42847" y="467790"/>
                    <a:pt x="51316" y="471769"/>
                    <a:pt x="33879" y="475550"/>
                  </a:cubicBezTo>
                  <a:cubicBezTo>
                    <a:pt x="16939" y="488981"/>
                    <a:pt x="16541" y="455652"/>
                    <a:pt x="0" y="474555"/>
                  </a:cubicBezTo>
                  <a:close/>
                  <a:moveTo>
                    <a:pt x="246120" y="47754"/>
                  </a:moveTo>
                  <a:lnTo>
                    <a:pt x="251103" y="42779"/>
                  </a:lnTo>
                  <a:cubicBezTo>
                    <a:pt x="258078" y="47455"/>
                    <a:pt x="258576" y="57305"/>
                    <a:pt x="249110" y="58698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91" name="Freeform: Shape 1690">
              <a:extLst>
                <a:ext uri="{FF2B5EF4-FFF2-40B4-BE49-F238E27FC236}">
                  <a16:creationId xmlns:a16="http://schemas.microsoft.com/office/drawing/2014/main" id="{A9EC041B-41D6-4165-912E-9CE93DDF53EE}"/>
                </a:ext>
              </a:extLst>
            </p:cNvPr>
            <p:cNvSpPr/>
            <p:nvPr/>
          </p:nvSpPr>
          <p:spPr>
            <a:xfrm>
              <a:off x="1977657" y="1619293"/>
              <a:ext cx="504109" cy="903345"/>
            </a:xfrm>
            <a:custGeom>
              <a:avLst/>
              <a:gdLst>
                <a:gd name="connsiteX0" fmla="*/ 10 w 504109"/>
                <a:gd name="connsiteY0" fmla="*/ 386011 h 903345"/>
                <a:gd name="connsiteX1" fmla="*/ 16950 w 504109"/>
                <a:gd name="connsiteY1" fmla="*/ 353180 h 903345"/>
                <a:gd name="connsiteX2" fmla="*/ 18046 w 504109"/>
                <a:gd name="connsiteY2" fmla="*/ 335273 h 903345"/>
                <a:gd name="connsiteX3" fmla="*/ 20935 w 504109"/>
                <a:gd name="connsiteY3" fmla="*/ 318360 h 903345"/>
                <a:gd name="connsiteX4" fmla="*/ 52822 w 504109"/>
                <a:gd name="connsiteY4" fmla="*/ 290503 h 903345"/>
                <a:gd name="connsiteX5" fmla="*/ 69761 w 504109"/>
                <a:gd name="connsiteY5" fmla="*/ 261652 h 903345"/>
                <a:gd name="connsiteX6" fmla="*/ 58900 w 504109"/>
                <a:gd name="connsiteY6" fmla="*/ 226831 h 903345"/>
                <a:gd name="connsiteX7" fmla="*/ 49832 w 504109"/>
                <a:gd name="connsiteY7" fmla="*/ 211908 h 903345"/>
                <a:gd name="connsiteX8" fmla="*/ 60793 w 504109"/>
                <a:gd name="connsiteY8" fmla="*/ 183057 h 903345"/>
                <a:gd name="connsiteX9" fmla="*/ 101647 w 504109"/>
                <a:gd name="connsiteY9" fmla="*/ 178082 h 903345"/>
                <a:gd name="connsiteX10" fmla="*/ 125562 w 504109"/>
                <a:gd name="connsiteY10" fmla="*/ 167139 h 903345"/>
                <a:gd name="connsiteX11" fmla="*/ 147583 w 504109"/>
                <a:gd name="connsiteY11" fmla="*/ 154206 h 903345"/>
                <a:gd name="connsiteX12" fmla="*/ 150573 w 504109"/>
                <a:gd name="connsiteY12" fmla="*/ 130329 h 903345"/>
                <a:gd name="connsiteX13" fmla="*/ 167412 w 504109"/>
                <a:gd name="connsiteY13" fmla="*/ 118390 h 903345"/>
                <a:gd name="connsiteX14" fmla="*/ 172395 w 504109"/>
                <a:gd name="connsiteY14" fmla="*/ 87549 h 903345"/>
                <a:gd name="connsiteX15" fmla="*/ 139512 w 504109"/>
                <a:gd name="connsiteY15" fmla="*/ 45764 h 903345"/>
                <a:gd name="connsiteX16" fmla="*/ 133533 w 504109"/>
                <a:gd name="connsiteY16" fmla="*/ 25867 h 903345"/>
                <a:gd name="connsiteX17" fmla="*/ 118587 w 504109"/>
                <a:gd name="connsiteY17" fmla="*/ 11938 h 903345"/>
                <a:gd name="connsiteX18" fmla="*/ 108622 w 504109"/>
                <a:gd name="connsiteY18" fmla="*/ 0 h 903345"/>
                <a:gd name="connsiteX19" fmla="*/ 466344 w 504109"/>
                <a:gd name="connsiteY19" fmla="*/ 2985 h 903345"/>
                <a:gd name="connsiteX20" fmla="*/ 466344 w 504109"/>
                <a:gd name="connsiteY20" fmla="*/ 51733 h 903345"/>
                <a:gd name="connsiteX21" fmla="*/ 483284 w 504109"/>
                <a:gd name="connsiteY21" fmla="*/ 81580 h 903345"/>
                <a:gd name="connsiteX22" fmla="*/ 490159 w 504109"/>
                <a:gd name="connsiteY22" fmla="*/ 105457 h 903345"/>
                <a:gd name="connsiteX23" fmla="*/ 500124 w 504109"/>
                <a:gd name="connsiteY23" fmla="*/ 129334 h 903345"/>
                <a:gd name="connsiteX24" fmla="*/ 501220 w 504109"/>
                <a:gd name="connsiteY24" fmla="*/ 203949 h 903345"/>
                <a:gd name="connsiteX25" fmla="*/ 500224 w 504109"/>
                <a:gd name="connsiteY25" fmla="*/ 525294 h 903345"/>
                <a:gd name="connsiteX26" fmla="*/ 494145 w 504109"/>
                <a:gd name="connsiteY26" fmla="*/ 548176 h 903345"/>
                <a:gd name="connsiteX27" fmla="*/ 486173 w 504109"/>
                <a:gd name="connsiteY27" fmla="*/ 556135 h 903345"/>
                <a:gd name="connsiteX28" fmla="*/ 495241 w 504109"/>
                <a:gd name="connsiteY28" fmla="*/ 573048 h 903345"/>
                <a:gd name="connsiteX29" fmla="*/ 500224 w 504109"/>
                <a:gd name="connsiteY29" fmla="*/ 586976 h 903345"/>
                <a:gd name="connsiteX30" fmla="*/ 498131 w 504109"/>
                <a:gd name="connsiteY30" fmla="*/ 601899 h 903345"/>
                <a:gd name="connsiteX31" fmla="*/ 504110 w 504109"/>
                <a:gd name="connsiteY31" fmla="*/ 620802 h 903345"/>
                <a:gd name="connsiteX32" fmla="*/ 489163 w 504109"/>
                <a:gd name="connsiteY32" fmla="*/ 639704 h 903345"/>
                <a:gd name="connsiteX33" fmla="*/ 484181 w 504109"/>
                <a:gd name="connsiteY33" fmla="*/ 660597 h 903345"/>
                <a:gd name="connsiteX34" fmla="*/ 445320 w 504109"/>
                <a:gd name="connsiteY34" fmla="*/ 704371 h 903345"/>
                <a:gd name="connsiteX35" fmla="*/ 450402 w 504109"/>
                <a:gd name="connsiteY35" fmla="*/ 718299 h 903345"/>
                <a:gd name="connsiteX36" fmla="*/ 437348 w 504109"/>
                <a:gd name="connsiteY36" fmla="*/ 737202 h 903345"/>
                <a:gd name="connsiteX37" fmla="*/ 432366 w 504109"/>
                <a:gd name="connsiteY37" fmla="*/ 765058 h 903345"/>
                <a:gd name="connsiteX38" fmla="*/ 433362 w 504109"/>
                <a:gd name="connsiteY38" fmla="*/ 782966 h 903345"/>
                <a:gd name="connsiteX39" fmla="*/ 433362 w 504109"/>
                <a:gd name="connsiteY39" fmla="*/ 823756 h 903345"/>
                <a:gd name="connsiteX40" fmla="*/ 405462 w 504109"/>
                <a:gd name="connsiteY40" fmla="*/ 829725 h 903345"/>
                <a:gd name="connsiteX41" fmla="*/ 388522 w 504109"/>
                <a:gd name="connsiteY41" fmla="*/ 833705 h 903345"/>
                <a:gd name="connsiteX42" fmla="*/ 376565 w 504109"/>
                <a:gd name="connsiteY42" fmla="*/ 854597 h 903345"/>
                <a:gd name="connsiteX43" fmla="*/ 387526 w 504109"/>
                <a:gd name="connsiteY43" fmla="*/ 877479 h 903345"/>
                <a:gd name="connsiteX44" fmla="*/ 364608 w 504109"/>
                <a:gd name="connsiteY44" fmla="*/ 883448 h 903345"/>
                <a:gd name="connsiteX45" fmla="*/ 335711 w 504109"/>
                <a:gd name="connsiteY45" fmla="*/ 869520 h 903345"/>
                <a:gd name="connsiteX46" fmla="*/ 293860 w 504109"/>
                <a:gd name="connsiteY46" fmla="*/ 889418 h 903345"/>
                <a:gd name="connsiteX47" fmla="*/ 298843 w 504109"/>
                <a:gd name="connsiteY47" fmla="*/ 903346 h 903345"/>
                <a:gd name="connsiteX48" fmla="*/ 276921 w 504109"/>
                <a:gd name="connsiteY48" fmla="*/ 896382 h 903345"/>
                <a:gd name="connsiteX49" fmla="*/ 266957 w 504109"/>
                <a:gd name="connsiteY49" fmla="*/ 884443 h 903345"/>
                <a:gd name="connsiteX50" fmla="*/ 257889 w 504109"/>
                <a:gd name="connsiteY50" fmla="*/ 871510 h 903345"/>
                <a:gd name="connsiteX51" fmla="*/ 249918 w 504109"/>
                <a:gd name="connsiteY51" fmla="*/ 856587 h 903345"/>
                <a:gd name="connsiteX52" fmla="*/ 255896 w 504109"/>
                <a:gd name="connsiteY52" fmla="*/ 826740 h 903345"/>
                <a:gd name="connsiteX53" fmla="*/ 253007 w 504109"/>
                <a:gd name="connsiteY53" fmla="*/ 810822 h 903345"/>
                <a:gd name="connsiteX54" fmla="*/ 240949 w 504109"/>
                <a:gd name="connsiteY54" fmla="*/ 785951 h 903345"/>
                <a:gd name="connsiteX55" fmla="*/ 228096 w 504109"/>
                <a:gd name="connsiteY55" fmla="*/ 772022 h 903345"/>
                <a:gd name="connsiteX56" fmla="*/ 199099 w 504109"/>
                <a:gd name="connsiteY56" fmla="*/ 763069 h 903345"/>
                <a:gd name="connsiteX57" fmla="*/ 195113 w 504109"/>
                <a:gd name="connsiteY57" fmla="*/ 748145 h 903345"/>
                <a:gd name="connsiteX58" fmla="*/ 173192 w 504109"/>
                <a:gd name="connsiteY58" fmla="*/ 734217 h 903345"/>
                <a:gd name="connsiteX59" fmla="*/ 142302 w 504109"/>
                <a:gd name="connsiteY59" fmla="*/ 690443 h 903345"/>
                <a:gd name="connsiteX60" fmla="*/ 156252 w 504109"/>
                <a:gd name="connsiteY60" fmla="*/ 659602 h 903345"/>
                <a:gd name="connsiteX61" fmla="*/ 166216 w 504109"/>
                <a:gd name="connsiteY61" fmla="*/ 636719 h 903345"/>
                <a:gd name="connsiteX62" fmla="*/ 139313 w 504109"/>
                <a:gd name="connsiteY62" fmla="*/ 587971 h 903345"/>
                <a:gd name="connsiteX63" fmla="*/ 119384 w 504109"/>
                <a:gd name="connsiteY63" fmla="*/ 602894 h 903345"/>
                <a:gd name="connsiteX64" fmla="*/ 99455 w 504109"/>
                <a:gd name="connsiteY64" fmla="*/ 573048 h 903345"/>
                <a:gd name="connsiteX65" fmla="*/ 97562 w 504109"/>
                <a:gd name="connsiteY65" fmla="*/ 540217 h 903345"/>
                <a:gd name="connsiteX66" fmla="*/ 58601 w 504109"/>
                <a:gd name="connsiteY66" fmla="*/ 509376 h 903345"/>
                <a:gd name="connsiteX67" fmla="*/ 44651 w 504109"/>
                <a:gd name="connsiteY67" fmla="*/ 493458 h 903345"/>
                <a:gd name="connsiteX68" fmla="*/ 17747 w 504109"/>
                <a:gd name="connsiteY68" fmla="*/ 463611 h 903345"/>
                <a:gd name="connsiteX69" fmla="*/ 8779 w 504109"/>
                <a:gd name="connsiteY69" fmla="*/ 444709 h 903345"/>
                <a:gd name="connsiteX70" fmla="*/ 2800 w 504109"/>
                <a:gd name="connsiteY70" fmla="*/ 415857 h 903345"/>
                <a:gd name="connsiteX71" fmla="*/ 10 w 504109"/>
                <a:gd name="connsiteY71" fmla="*/ 386011 h 90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04109" h="903345">
                  <a:moveTo>
                    <a:pt x="10" y="386011"/>
                  </a:moveTo>
                  <a:cubicBezTo>
                    <a:pt x="1106" y="374172"/>
                    <a:pt x="5790" y="358951"/>
                    <a:pt x="16950" y="353180"/>
                  </a:cubicBezTo>
                  <a:cubicBezTo>
                    <a:pt x="15963" y="347201"/>
                    <a:pt x="16342" y="341083"/>
                    <a:pt x="18046" y="335273"/>
                  </a:cubicBezTo>
                  <a:cubicBezTo>
                    <a:pt x="10772" y="331293"/>
                    <a:pt x="17249" y="322837"/>
                    <a:pt x="20935" y="318360"/>
                  </a:cubicBezTo>
                  <a:cubicBezTo>
                    <a:pt x="46444" y="309903"/>
                    <a:pt x="45946" y="319753"/>
                    <a:pt x="52822" y="290503"/>
                  </a:cubicBezTo>
                  <a:cubicBezTo>
                    <a:pt x="48736" y="278565"/>
                    <a:pt x="66672" y="272198"/>
                    <a:pt x="69761" y="261652"/>
                  </a:cubicBezTo>
                  <a:cubicBezTo>
                    <a:pt x="70359" y="251703"/>
                    <a:pt x="73846" y="226632"/>
                    <a:pt x="58900" y="226831"/>
                  </a:cubicBezTo>
                  <a:cubicBezTo>
                    <a:pt x="56150" y="221698"/>
                    <a:pt x="53121" y="216714"/>
                    <a:pt x="49832" y="211908"/>
                  </a:cubicBezTo>
                  <a:cubicBezTo>
                    <a:pt x="52612" y="201979"/>
                    <a:pt x="56289" y="192329"/>
                    <a:pt x="60793" y="183057"/>
                  </a:cubicBezTo>
                  <a:cubicBezTo>
                    <a:pt x="74345" y="183057"/>
                    <a:pt x="87498" y="176391"/>
                    <a:pt x="101647" y="178082"/>
                  </a:cubicBezTo>
                  <a:cubicBezTo>
                    <a:pt x="109519" y="175496"/>
                    <a:pt x="116992" y="166442"/>
                    <a:pt x="125562" y="167139"/>
                  </a:cubicBezTo>
                  <a:cubicBezTo>
                    <a:pt x="134131" y="167835"/>
                    <a:pt x="140209" y="157688"/>
                    <a:pt x="147583" y="154206"/>
                  </a:cubicBezTo>
                  <a:cubicBezTo>
                    <a:pt x="145789" y="146246"/>
                    <a:pt x="151569" y="137890"/>
                    <a:pt x="150573" y="130329"/>
                  </a:cubicBezTo>
                  <a:cubicBezTo>
                    <a:pt x="155684" y="125692"/>
                    <a:pt x="161344" y="121683"/>
                    <a:pt x="167412" y="118390"/>
                  </a:cubicBezTo>
                  <a:cubicBezTo>
                    <a:pt x="167881" y="107954"/>
                    <a:pt x="169545" y="97607"/>
                    <a:pt x="172395" y="87549"/>
                  </a:cubicBezTo>
                  <a:cubicBezTo>
                    <a:pt x="164921" y="51435"/>
                    <a:pt x="167412" y="67651"/>
                    <a:pt x="139512" y="45764"/>
                  </a:cubicBezTo>
                  <a:cubicBezTo>
                    <a:pt x="133135" y="39298"/>
                    <a:pt x="140209" y="31936"/>
                    <a:pt x="133533" y="25867"/>
                  </a:cubicBezTo>
                  <a:cubicBezTo>
                    <a:pt x="128242" y="21569"/>
                    <a:pt x="123250" y="16913"/>
                    <a:pt x="118587" y="11938"/>
                  </a:cubicBezTo>
                  <a:cubicBezTo>
                    <a:pt x="113505" y="10546"/>
                    <a:pt x="106829" y="5969"/>
                    <a:pt x="108622" y="0"/>
                  </a:cubicBezTo>
                  <a:cubicBezTo>
                    <a:pt x="227199" y="895"/>
                    <a:pt x="347768" y="2189"/>
                    <a:pt x="466344" y="2985"/>
                  </a:cubicBezTo>
                  <a:cubicBezTo>
                    <a:pt x="466344" y="18803"/>
                    <a:pt x="459270" y="36213"/>
                    <a:pt x="466344" y="51733"/>
                  </a:cubicBezTo>
                  <a:cubicBezTo>
                    <a:pt x="470031" y="62379"/>
                    <a:pt x="481590" y="70537"/>
                    <a:pt x="483284" y="81580"/>
                  </a:cubicBezTo>
                  <a:cubicBezTo>
                    <a:pt x="484769" y="89748"/>
                    <a:pt x="487080" y="97746"/>
                    <a:pt x="490159" y="105457"/>
                  </a:cubicBezTo>
                  <a:cubicBezTo>
                    <a:pt x="487668" y="109834"/>
                    <a:pt x="495540" y="126946"/>
                    <a:pt x="500124" y="129334"/>
                  </a:cubicBezTo>
                  <a:cubicBezTo>
                    <a:pt x="502715" y="150823"/>
                    <a:pt x="500124" y="182161"/>
                    <a:pt x="501220" y="203949"/>
                  </a:cubicBezTo>
                  <a:cubicBezTo>
                    <a:pt x="501220" y="310500"/>
                    <a:pt x="499526" y="418743"/>
                    <a:pt x="500224" y="525294"/>
                  </a:cubicBezTo>
                  <a:cubicBezTo>
                    <a:pt x="487868" y="526289"/>
                    <a:pt x="491355" y="540117"/>
                    <a:pt x="494145" y="548176"/>
                  </a:cubicBezTo>
                  <a:cubicBezTo>
                    <a:pt x="494145" y="548176"/>
                    <a:pt x="485177" y="555438"/>
                    <a:pt x="486173" y="556135"/>
                  </a:cubicBezTo>
                  <a:cubicBezTo>
                    <a:pt x="487091" y="562671"/>
                    <a:pt x="490309" y="568660"/>
                    <a:pt x="495241" y="573048"/>
                  </a:cubicBezTo>
                  <a:cubicBezTo>
                    <a:pt x="492980" y="578281"/>
                    <a:pt x="495162" y="584359"/>
                    <a:pt x="500224" y="586976"/>
                  </a:cubicBezTo>
                  <a:cubicBezTo>
                    <a:pt x="500781" y="592050"/>
                    <a:pt x="500064" y="597173"/>
                    <a:pt x="498131" y="601899"/>
                  </a:cubicBezTo>
                  <a:cubicBezTo>
                    <a:pt x="499526" y="607172"/>
                    <a:pt x="503213" y="615330"/>
                    <a:pt x="504110" y="620802"/>
                  </a:cubicBezTo>
                  <a:cubicBezTo>
                    <a:pt x="502117" y="626970"/>
                    <a:pt x="496138" y="637615"/>
                    <a:pt x="489163" y="639704"/>
                  </a:cubicBezTo>
                  <a:cubicBezTo>
                    <a:pt x="488665" y="646270"/>
                    <a:pt x="483184" y="653831"/>
                    <a:pt x="484181" y="660597"/>
                  </a:cubicBezTo>
                  <a:cubicBezTo>
                    <a:pt x="464252" y="675420"/>
                    <a:pt x="476110" y="689249"/>
                    <a:pt x="445320" y="704371"/>
                  </a:cubicBezTo>
                  <a:cubicBezTo>
                    <a:pt x="443885" y="709624"/>
                    <a:pt x="445917" y="715205"/>
                    <a:pt x="450402" y="718299"/>
                  </a:cubicBezTo>
                  <a:cubicBezTo>
                    <a:pt x="447213" y="724169"/>
                    <a:pt x="443626" y="733720"/>
                    <a:pt x="437348" y="737202"/>
                  </a:cubicBezTo>
                  <a:cubicBezTo>
                    <a:pt x="440617" y="746723"/>
                    <a:pt x="438733" y="757259"/>
                    <a:pt x="432366" y="765058"/>
                  </a:cubicBezTo>
                  <a:cubicBezTo>
                    <a:pt x="437099" y="769953"/>
                    <a:pt x="437517" y="777574"/>
                    <a:pt x="433362" y="782966"/>
                  </a:cubicBezTo>
                  <a:cubicBezTo>
                    <a:pt x="409647" y="800177"/>
                    <a:pt x="428679" y="806545"/>
                    <a:pt x="433362" y="823756"/>
                  </a:cubicBezTo>
                  <a:cubicBezTo>
                    <a:pt x="426786" y="825646"/>
                    <a:pt x="412437" y="828531"/>
                    <a:pt x="405462" y="829725"/>
                  </a:cubicBezTo>
                  <a:cubicBezTo>
                    <a:pt x="401875" y="833605"/>
                    <a:pt x="392109" y="839674"/>
                    <a:pt x="388522" y="833705"/>
                  </a:cubicBezTo>
                  <a:cubicBezTo>
                    <a:pt x="380351" y="836590"/>
                    <a:pt x="380351" y="848031"/>
                    <a:pt x="376565" y="854597"/>
                  </a:cubicBezTo>
                  <a:cubicBezTo>
                    <a:pt x="379156" y="860367"/>
                    <a:pt x="384636" y="871908"/>
                    <a:pt x="387526" y="877479"/>
                  </a:cubicBezTo>
                  <a:cubicBezTo>
                    <a:pt x="385433" y="894193"/>
                    <a:pt x="375469" y="892701"/>
                    <a:pt x="364608" y="883448"/>
                  </a:cubicBezTo>
                  <a:cubicBezTo>
                    <a:pt x="354544" y="879757"/>
                    <a:pt x="344868" y="875092"/>
                    <a:pt x="335711" y="869520"/>
                  </a:cubicBezTo>
                  <a:cubicBezTo>
                    <a:pt x="313789" y="856487"/>
                    <a:pt x="305818" y="874097"/>
                    <a:pt x="293860" y="889418"/>
                  </a:cubicBezTo>
                  <a:cubicBezTo>
                    <a:pt x="296949" y="890412"/>
                    <a:pt x="299540" y="900262"/>
                    <a:pt x="298843" y="903346"/>
                  </a:cubicBezTo>
                  <a:cubicBezTo>
                    <a:pt x="291240" y="902092"/>
                    <a:pt x="283857" y="899744"/>
                    <a:pt x="276921" y="896382"/>
                  </a:cubicBezTo>
                  <a:cubicBezTo>
                    <a:pt x="270245" y="896382"/>
                    <a:pt x="268053" y="889815"/>
                    <a:pt x="266957" y="884443"/>
                  </a:cubicBezTo>
                  <a:lnTo>
                    <a:pt x="257889" y="871510"/>
                  </a:lnTo>
                  <a:cubicBezTo>
                    <a:pt x="257291" y="866237"/>
                    <a:pt x="256295" y="857980"/>
                    <a:pt x="249918" y="856587"/>
                  </a:cubicBezTo>
                  <a:cubicBezTo>
                    <a:pt x="255896" y="841365"/>
                    <a:pt x="270743" y="847434"/>
                    <a:pt x="255896" y="826740"/>
                  </a:cubicBezTo>
                  <a:cubicBezTo>
                    <a:pt x="253903" y="822761"/>
                    <a:pt x="248821" y="815101"/>
                    <a:pt x="253007" y="810822"/>
                  </a:cubicBezTo>
                  <a:cubicBezTo>
                    <a:pt x="252209" y="800874"/>
                    <a:pt x="252110" y="788637"/>
                    <a:pt x="240949" y="785951"/>
                  </a:cubicBezTo>
                  <a:cubicBezTo>
                    <a:pt x="234234" y="784339"/>
                    <a:pt x="229152" y="778837"/>
                    <a:pt x="228096" y="772022"/>
                  </a:cubicBezTo>
                  <a:cubicBezTo>
                    <a:pt x="218131" y="767844"/>
                    <a:pt x="209163" y="752722"/>
                    <a:pt x="199099" y="763069"/>
                  </a:cubicBezTo>
                  <a:cubicBezTo>
                    <a:pt x="196010" y="758393"/>
                    <a:pt x="191426" y="754115"/>
                    <a:pt x="195113" y="748145"/>
                  </a:cubicBezTo>
                  <a:cubicBezTo>
                    <a:pt x="186644" y="748145"/>
                    <a:pt x="178772" y="739689"/>
                    <a:pt x="173192" y="734217"/>
                  </a:cubicBezTo>
                  <a:cubicBezTo>
                    <a:pt x="157846" y="725462"/>
                    <a:pt x="140708" y="709544"/>
                    <a:pt x="142302" y="690443"/>
                  </a:cubicBezTo>
                  <a:cubicBezTo>
                    <a:pt x="145291" y="679499"/>
                    <a:pt x="155953" y="671540"/>
                    <a:pt x="156252" y="659602"/>
                  </a:cubicBezTo>
                  <a:cubicBezTo>
                    <a:pt x="159142" y="652837"/>
                    <a:pt x="168708" y="644977"/>
                    <a:pt x="166216" y="636719"/>
                  </a:cubicBezTo>
                  <a:cubicBezTo>
                    <a:pt x="154458" y="605978"/>
                    <a:pt x="210060" y="616822"/>
                    <a:pt x="139313" y="587971"/>
                  </a:cubicBezTo>
                  <a:cubicBezTo>
                    <a:pt x="127555" y="584986"/>
                    <a:pt x="127654" y="597322"/>
                    <a:pt x="119384" y="602894"/>
                  </a:cubicBezTo>
                  <a:cubicBezTo>
                    <a:pt x="104736" y="601800"/>
                    <a:pt x="105334" y="582996"/>
                    <a:pt x="99455" y="573048"/>
                  </a:cubicBezTo>
                  <a:cubicBezTo>
                    <a:pt x="106928" y="564293"/>
                    <a:pt x="97562" y="550663"/>
                    <a:pt x="97562" y="540217"/>
                  </a:cubicBezTo>
                  <a:cubicBezTo>
                    <a:pt x="85953" y="528308"/>
                    <a:pt x="72860" y="517941"/>
                    <a:pt x="58601" y="509376"/>
                  </a:cubicBezTo>
                  <a:cubicBezTo>
                    <a:pt x="56508" y="503108"/>
                    <a:pt x="52921" y="492662"/>
                    <a:pt x="44651" y="493458"/>
                  </a:cubicBezTo>
                  <a:cubicBezTo>
                    <a:pt x="41562" y="481121"/>
                    <a:pt x="26217" y="472366"/>
                    <a:pt x="17747" y="463611"/>
                  </a:cubicBezTo>
                  <a:cubicBezTo>
                    <a:pt x="19341" y="456021"/>
                    <a:pt x="15674" y="448290"/>
                    <a:pt x="8779" y="444709"/>
                  </a:cubicBezTo>
                  <a:cubicBezTo>
                    <a:pt x="10742" y="434680"/>
                    <a:pt x="8589" y="424284"/>
                    <a:pt x="2800" y="415857"/>
                  </a:cubicBezTo>
                  <a:cubicBezTo>
                    <a:pt x="827" y="406038"/>
                    <a:pt x="-109" y="396030"/>
                    <a:pt x="10" y="386011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692" name="Freeform: Shape 1691">
              <a:extLst>
                <a:ext uri="{FF2B5EF4-FFF2-40B4-BE49-F238E27FC236}">
                  <a16:creationId xmlns:a16="http://schemas.microsoft.com/office/drawing/2014/main" id="{088EDEBB-F9C6-4D0A-B8D6-8EC1121D2740}"/>
                </a:ext>
              </a:extLst>
            </p:cNvPr>
            <p:cNvSpPr/>
            <p:nvPr/>
          </p:nvSpPr>
          <p:spPr>
            <a:xfrm>
              <a:off x="1442578" y="1938429"/>
              <a:ext cx="837946" cy="738574"/>
            </a:xfrm>
            <a:custGeom>
              <a:avLst/>
              <a:gdLst>
                <a:gd name="connsiteX0" fmla="*/ 0 w 837946"/>
                <a:gd name="connsiteY0" fmla="*/ 4198 h 738574"/>
                <a:gd name="connsiteX1" fmla="*/ 354733 w 837946"/>
                <a:gd name="connsiteY1" fmla="*/ 3203 h 738574"/>
                <a:gd name="connsiteX2" fmla="*/ 509181 w 837946"/>
                <a:gd name="connsiteY2" fmla="*/ 219 h 738574"/>
                <a:gd name="connsiteX3" fmla="*/ 521138 w 837946"/>
                <a:gd name="connsiteY3" fmla="*/ 11162 h 738574"/>
                <a:gd name="connsiteX4" fmla="*/ 534092 w 837946"/>
                <a:gd name="connsiteY4" fmla="*/ 29070 h 738574"/>
                <a:gd name="connsiteX5" fmla="*/ 546049 w 837946"/>
                <a:gd name="connsiteY5" fmla="*/ 38024 h 738574"/>
                <a:gd name="connsiteX6" fmla="*/ 538078 w 837946"/>
                <a:gd name="connsiteY6" fmla="*/ 96721 h 738574"/>
                <a:gd name="connsiteX7" fmla="*/ 544056 w 837946"/>
                <a:gd name="connsiteY7" fmla="*/ 125573 h 738574"/>
                <a:gd name="connsiteX8" fmla="*/ 553025 w 837946"/>
                <a:gd name="connsiteY8" fmla="*/ 139501 h 738574"/>
                <a:gd name="connsiteX9" fmla="*/ 579928 w 837946"/>
                <a:gd name="connsiteY9" fmla="*/ 174322 h 738574"/>
                <a:gd name="connsiteX10" fmla="*/ 593879 w 837946"/>
                <a:gd name="connsiteY10" fmla="*/ 190240 h 738574"/>
                <a:gd name="connsiteX11" fmla="*/ 618790 w 837946"/>
                <a:gd name="connsiteY11" fmla="*/ 208147 h 738574"/>
                <a:gd name="connsiteX12" fmla="*/ 635729 w 837946"/>
                <a:gd name="connsiteY12" fmla="*/ 237993 h 738574"/>
                <a:gd name="connsiteX13" fmla="*/ 634733 w 837946"/>
                <a:gd name="connsiteY13" fmla="*/ 253911 h 738574"/>
                <a:gd name="connsiteX14" fmla="*/ 661736 w 837946"/>
                <a:gd name="connsiteY14" fmla="*/ 276794 h 738574"/>
                <a:gd name="connsiteX15" fmla="*/ 687644 w 837946"/>
                <a:gd name="connsiteY15" fmla="*/ 274804 h 738574"/>
                <a:gd name="connsiteX16" fmla="*/ 710462 w 837946"/>
                <a:gd name="connsiteY16" fmla="*/ 286743 h 738574"/>
                <a:gd name="connsiteX17" fmla="*/ 700498 w 837946"/>
                <a:gd name="connsiteY17" fmla="*/ 313604 h 738574"/>
                <a:gd name="connsiteX18" fmla="*/ 692427 w 837946"/>
                <a:gd name="connsiteY18" fmla="*/ 338476 h 738574"/>
                <a:gd name="connsiteX19" fmla="*/ 680469 w 837946"/>
                <a:gd name="connsiteY19" fmla="*/ 363348 h 738574"/>
                <a:gd name="connsiteX20" fmla="*/ 708370 w 837946"/>
                <a:gd name="connsiteY20" fmla="*/ 415081 h 738574"/>
                <a:gd name="connsiteX21" fmla="*/ 730291 w 837946"/>
                <a:gd name="connsiteY21" fmla="*/ 429009 h 738574"/>
                <a:gd name="connsiteX22" fmla="*/ 734277 w 837946"/>
                <a:gd name="connsiteY22" fmla="*/ 443933 h 738574"/>
                <a:gd name="connsiteX23" fmla="*/ 752213 w 837946"/>
                <a:gd name="connsiteY23" fmla="*/ 445922 h 738574"/>
                <a:gd name="connsiteX24" fmla="*/ 766163 w 837946"/>
                <a:gd name="connsiteY24" fmla="*/ 461840 h 738574"/>
                <a:gd name="connsiteX25" fmla="*/ 785096 w 837946"/>
                <a:gd name="connsiteY25" fmla="*/ 471789 h 738574"/>
                <a:gd name="connsiteX26" fmla="*/ 786092 w 837946"/>
                <a:gd name="connsiteY26" fmla="*/ 497656 h 738574"/>
                <a:gd name="connsiteX27" fmla="*/ 791074 w 837946"/>
                <a:gd name="connsiteY27" fmla="*/ 528497 h 738574"/>
                <a:gd name="connsiteX28" fmla="*/ 785096 w 837946"/>
                <a:gd name="connsiteY28" fmla="*/ 537451 h 738574"/>
                <a:gd name="connsiteX29" fmla="*/ 793067 w 837946"/>
                <a:gd name="connsiteY29" fmla="*/ 552374 h 738574"/>
                <a:gd name="connsiteX30" fmla="*/ 805024 w 837946"/>
                <a:gd name="connsiteY30" fmla="*/ 575256 h 738574"/>
                <a:gd name="connsiteX31" fmla="*/ 825950 w 837946"/>
                <a:gd name="connsiteY31" fmla="*/ 583215 h 738574"/>
                <a:gd name="connsiteX32" fmla="*/ 837907 w 837946"/>
                <a:gd name="connsiteY32" fmla="*/ 590179 h 738574"/>
                <a:gd name="connsiteX33" fmla="*/ 831032 w 837946"/>
                <a:gd name="connsiteY33" fmla="*/ 620025 h 738574"/>
                <a:gd name="connsiteX34" fmla="*/ 829936 w 837946"/>
                <a:gd name="connsiteY34" fmla="*/ 634949 h 738574"/>
                <a:gd name="connsiteX35" fmla="*/ 809010 w 837946"/>
                <a:gd name="connsiteY35" fmla="*/ 640918 h 738574"/>
                <a:gd name="connsiteX36" fmla="*/ 803032 w 837946"/>
                <a:gd name="connsiteY36" fmla="*/ 640918 h 738574"/>
                <a:gd name="connsiteX37" fmla="*/ 778121 w 837946"/>
                <a:gd name="connsiteY37" fmla="*/ 653851 h 738574"/>
                <a:gd name="connsiteX38" fmla="*/ 782106 w 837946"/>
                <a:gd name="connsiteY38" fmla="*/ 672754 h 738574"/>
                <a:gd name="connsiteX39" fmla="*/ 775131 w 837946"/>
                <a:gd name="connsiteY39" fmla="*/ 684692 h 738574"/>
                <a:gd name="connsiteX40" fmla="*/ 781110 w 837946"/>
                <a:gd name="connsiteY40" fmla="*/ 694641 h 738574"/>
                <a:gd name="connsiteX41" fmla="*/ 763174 w 837946"/>
                <a:gd name="connsiteY41" fmla="*/ 702600 h 738574"/>
                <a:gd name="connsiteX42" fmla="*/ 765167 w 837946"/>
                <a:gd name="connsiteY42" fmla="*/ 724487 h 738574"/>
                <a:gd name="connsiteX43" fmla="*/ 737266 w 837946"/>
                <a:gd name="connsiteY43" fmla="*/ 737420 h 738574"/>
                <a:gd name="connsiteX44" fmla="*/ 678477 w 837946"/>
                <a:gd name="connsiteY44" fmla="*/ 738415 h 738574"/>
                <a:gd name="connsiteX45" fmla="*/ 687444 w 837946"/>
                <a:gd name="connsiteY45" fmla="*/ 720507 h 738574"/>
                <a:gd name="connsiteX46" fmla="*/ 697409 w 837946"/>
                <a:gd name="connsiteY46" fmla="*/ 708569 h 738574"/>
                <a:gd name="connsiteX47" fmla="*/ 710362 w 837946"/>
                <a:gd name="connsiteY47" fmla="*/ 696631 h 738574"/>
                <a:gd name="connsiteX48" fmla="*/ 716341 w 837946"/>
                <a:gd name="connsiteY48" fmla="*/ 682702 h 738574"/>
                <a:gd name="connsiteX49" fmla="*/ 708370 w 837946"/>
                <a:gd name="connsiteY49" fmla="*/ 672754 h 738574"/>
                <a:gd name="connsiteX50" fmla="*/ 696412 w 837946"/>
                <a:gd name="connsiteY50" fmla="*/ 660815 h 738574"/>
                <a:gd name="connsiteX51" fmla="*/ 547943 w 837946"/>
                <a:gd name="connsiteY51" fmla="*/ 660815 h 738574"/>
                <a:gd name="connsiteX52" fmla="*/ 143388 w 837946"/>
                <a:gd name="connsiteY52" fmla="*/ 659820 h 738574"/>
                <a:gd name="connsiteX53" fmla="*/ 147373 w 837946"/>
                <a:gd name="connsiteY53" fmla="*/ 237993 h 738574"/>
                <a:gd name="connsiteX54" fmla="*/ 136412 w 837946"/>
                <a:gd name="connsiteY54" fmla="*/ 233019 h 738574"/>
                <a:gd name="connsiteX55" fmla="*/ 122462 w 837946"/>
                <a:gd name="connsiteY55" fmla="*/ 230035 h 738574"/>
                <a:gd name="connsiteX56" fmla="*/ 109509 w 837946"/>
                <a:gd name="connsiteY56" fmla="*/ 199193 h 738574"/>
                <a:gd name="connsiteX57" fmla="*/ 98648 w 837946"/>
                <a:gd name="connsiteY57" fmla="*/ 191235 h 738574"/>
                <a:gd name="connsiteX58" fmla="*/ 81608 w 837946"/>
                <a:gd name="connsiteY58" fmla="*/ 173327 h 738574"/>
                <a:gd name="connsiteX59" fmla="*/ 91573 w 837946"/>
                <a:gd name="connsiteY59" fmla="*/ 156414 h 738574"/>
                <a:gd name="connsiteX60" fmla="*/ 99544 w 837946"/>
                <a:gd name="connsiteY60" fmla="*/ 145470 h 738574"/>
                <a:gd name="connsiteX61" fmla="*/ 101537 w 837946"/>
                <a:gd name="connsiteY61" fmla="*/ 116619 h 738574"/>
                <a:gd name="connsiteX62" fmla="*/ 85594 w 837946"/>
                <a:gd name="connsiteY62" fmla="*/ 122588 h 738574"/>
                <a:gd name="connsiteX63" fmla="*/ 56697 w 837946"/>
                <a:gd name="connsiteY63" fmla="*/ 99706 h 738574"/>
                <a:gd name="connsiteX64" fmla="*/ 45836 w 837946"/>
                <a:gd name="connsiteY64" fmla="*/ 82793 h 738574"/>
                <a:gd name="connsiteX65" fmla="*/ 36868 w 837946"/>
                <a:gd name="connsiteY65" fmla="*/ 60906 h 738574"/>
                <a:gd name="connsiteX66" fmla="*/ 26904 w 837946"/>
                <a:gd name="connsiteY66" fmla="*/ 56927 h 738574"/>
                <a:gd name="connsiteX67" fmla="*/ 13950 w 837946"/>
                <a:gd name="connsiteY67" fmla="*/ 46978 h 738574"/>
                <a:gd name="connsiteX68" fmla="*/ 5978 w 837946"/>
                <a:gd name="connsiteY68" fmla="*/ 13152 h 738574"/>
                <a:gd name="connsiteX69" fmla="*/ 0 w 837946"/>
                <a:gd name="connsiteY69" fmla="*/ 4198 h 738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837946" h="738574">
                  <a:moveTo>
                    <a:pt x="0" y="4198"/>
                  </a:moveTo>
                  <a:cubicBezTo>
                    <a:pt x="117979" y="5591"/>
                    <a:pt x="236854" y="6884"/>
                    <a:pt x="354733" y="3203"/>
                  </a:cubicBezTo>
                  <a:cubicBezTo>
                    <a:pt x="404555" y="4596"/>
                    <a:pt x="459558" y="-1174"/>
                    <a:pt x="509181" y="219"/>
                  </a:cubicBezTo>
                  <a:cubicBezTo>
                    <a:pt x="513167" y="4596"/>
                    <a:pt x="514163" y="11162"/>
                    <a:pt x="521138" y="11162"/>
                  </a:cubicBezTo>
                  <a:cubicBezTo>
                    <a:pt x="520341" y="19022"/>
                    <a:pt x="528911" y="24593"/>
                    <a:pt x="534092" y="29070"/>
                  </a:cubicBezTo>
                  <a:cubicBezTo>
                    <a:pt x="534092" y="34243"/>
                    <a:pt x="542462" y="36631"/>
                    <a:pt x="546049" y="38024"/>
                  </a:cubicBezTo>
                  <a:cubicBezTo>
                    <a:pt x="532797" y="54041"/>
                    <a:pt x="533694" y="77819"/>
                    <a:pt x="538078" y="96721"/>
                  </a:cubicBezTo>
                  <a:cubicBezTo>
                    <a:pt x="543907" y="105128"/>
                    <a:pt x="546069" y="115544"/>
                    <a:pt x="544056" y="125573"/>
                  </a:cubicBezTo>
                  <a:cubicBezTo>
                    <a:pt x="548341" y="128756"/>
                    <a:pt x="554519" y="133432"/>
                    <a:pt x="553025" y="139501"/>
                  </a:cubicBezTo>
                  <a:cubicBezTo>
                    <a:pt x="553822" y="153230"/>
                    <a:pt x="578135" y="159398"/>
                    <a:pt x="579928" y="174322"/>
                  </a:cubicBezTo>
                  <a:cubicBezTo>
                    <a:pt x="588199" y="173625"/>
                    <a:pt x="591686" y="184270"/>
                    <a:pt x="593879" y="190240"/>
                  </a:cubicBezTo>
                  <a:cubicBezTo>
                    <a:pt x="602807" y="195294"/>
                    <a:pt x="611157" y="201303"/>
                    <a:pt x="618790" y="208147"/>
                  </a:cubicBezTo>
                  <a:cubicBezTo>
                    <a:pt x="629043" y="214674"/>
                    <a:pt x="635390" y="225856"/>
                    <a:pt x="635729" y="237993"/>
                  </a:cubicBezTo>
                  <a:cubicBezTo>
                    <a:pt x="638928" y="242948"/>
                    <a:pt x="638529" y="249395"/>
                    <a:pt x="634733" y="253911"/>
                  </a:cubicBezTo>
                  <a:cubicBezTo>
                    <a:pt x="639615" y="265352"/>
                    <a:pt x="646391" y="296691"/>
                    <a:pt x="661736" y="276794"/>
                  </a:cubicBezTo>
                  <a:cubicBezTo>
                    <a:pt x="664427" y="262567"/>
                    <a:pt x="679174" y="270626"/>
                    <a:pt x="687644" y="274804"/>
                  </a:cubicBezTo>
                  <a:cubicBezTo>
                    <a:pt x="695984" y="277192"/>
                    <a:pt x="703756" y="281251"/>
                    <a:pt x="710462" y="286743"/>
                  </a:cubicBezTo>
                  <a:cubicBezTo>
                    <a:pt x="713651" y="297885"/>
                    <a:pt x="693224" y="301765"/>
                    <a:pt x="700498" y="313604"/>
                  </a:cubicBezTo>
                  <a:cubicBezTo>
                    <a:pt x="704882" y="322558"/>
                    <a:pt x="697010" y="331611"/>
                    <a:pt x="692427" y="338476"/>
                  </a:cubicBezTo>
                  <a:cubicBezTo>
                    <a:pt x="690703" y="347669"/>
                    <a:pt x="686577" y="356254"/>
                    <a:pt x="680469" y="363348"/>
                  </a:cubicBezTo>
                  <a:cubicBezTo>
                    <a:pt x="669708" y="384340"/>
                    <a:pt x="691131" y="405431"/>
                    <a:pt x="708370" y="415081"/>
                  </a:cubicBezTo>
                  <a:cubicBezTo>
                    <a:pt x="713850" y="420454"/>
                    <a:pt x="721921" y="429507"/>
                    <a:pt x="730291" y="429009"/>
                  </a:cubicBezTo>
                  <a:cubicBezTo>
                    <a:pt x="726604" y="434979"/>
                    <a:pt x="731188" y="438958"/>
                    <a:pt x="734277" y="443933"/>
                  </a:cubicBezTo>
                  <a:cubicBezTo>
                    <a:pt x="741451" y="438063"/>
                    <a:pt x="746135" y="439655"/>
                    <a:pt x="752213" y="445922"/>
                  </a:cubicBezTo>
                  <a:cubicBezTo>
                    <a:pt x="758391" y="449007"/>
                    <a:pt x="765765" y="454379"/>
                    <a:pt x="766163" y="461840"/>
                  </a:cubicBezTo>
                  <a:cubicBezTo>
                    <a:pt x="771046" y="464128"/>
                    <a:pt x="780512" y="469103"/>
                    <a:pt x="785096" y="471789"/>
                  </a:cubicBezTo>
                  <a:cubicBezTo>
                    <a:pt x="787945" y="480126"/>
                    <a:pt x="788294" y="489120"/>
                    <a:pt x="786092" y="497656"/>
                  </a:cubicBezTo>
                  <a:cubicBezTo>
                    <a:pt x="788782" y="506510"/>
                    <a:pt x="806519" y="523821"/>
                    <a:pt x="791074" y="528497"/>
                  </a:cubicBezTo>
                  <a:cubicBezTo>
                    <a:pt x="788184" y="529193"/>
                    <a:pt x="786092" y="535063"/>
                    <a:pt x="785096" y="537451"/>
                  </a:cubicBezTo>
                  <a:cubicBezTo>
                    <a:pt x="791473" y="538744"/>
                    <a:pt x="792469" y="547399"/>
                    <a:pt x="793067" y="552374"/>
                  </a:cubicBezTo>
                  <a:cubicBezTo>
                    <a:pt x="798697" y="559020"/>
                    <a:pt x="802782" y="566839"/>
                    <a:pt x="805024" y="575256"/>
                  </a:cubicBezTo>
                  <a:cubicBezTo>
                    <a:pt x="812319" y="576997"/>
                    <a:pt x="819343" y="579673"/>
                    <a:pt x="825950" y="583215"/>
                  </a:cubicBezTo>
                  <a:cubicBezTo>
                    <a:pt x="829936" y="583215"/>
                    <a:pt x="838605" y="584707"/>
                    <a:pt x="837907" y="590179"/>
                  </a:cubicBezTo>
                  <a:cubicBezTo>
                    <a:pt x="833223" y="599421"/>
                    <a:pt x="830862" y="609669"/>
                    <a:pt x="831032" y="620025"/>
                  </a:cubicBezTo>
                  <a:cubicBezTo>
                    <a:pt x="823957" y="623905"/>
                    <a:pt x="825950" y="629974"/>
                    <a:pt x="829936" y="634949"/>
                  </a:cubicBezTo>
                  <a:cubicBezTo>
                    <a:pt x="818676" y="642709"/>
                    <a:pt x="826547" y="658925"/>
                    <a:pt x="809010" y="640918"/>
                  </a:cubicBezTo>
                  <a:lnTo>
                    <a:pt x="803032" y="640918"/>
                  </a:lnTo>
                  <a:cubicBezTo>
                    <a:pt x="799644" y="660019"/>
                    <a:pt x="783601" y="640420"/>
                    <a:pt x="778121" y="653851"/>
                  </a:cubicBezTo>
                  <a:cubicBezTo>
                    <a:pt x="784318" y="658059"/>
                    <a:pt x="786082" y="666406"/>
                    <a:pt x="782106" y="672754"/>
                  </a:cubicBezTo>
                  <a:cubicBezTo>
                    <a:pt x="789380" y="680613"/>
                    <a:pt x="785394" y="686383"/>
                    <a:pt x="775131" y="684692"/>
                  </a:cubicBezTo>
                  <a:cubicBezTo>
                    <a:pt x="770647" y="689965"/>
                    <a:pt x="777523" y="692154"/>
                    <a:pt x="781110" y="694641"/>
                  </a:cubicBezTo>
                  <a:cubicBezTo>
                    <a:pt x="776128" y="704590"/>
                    <a:pt x="767060" y="696133"/>
                    <a:pt x="763174" y="702600"/>
                  </a:cubicBezTo>
                  <a:cubicBezTo>
                    <a:pt x="775231" y="710857"/>
                    <a:pt x="780612" y="716329"/>
                    <a:pt x="765167" y="724487"/>
                  </a:cubicBezTo>
                  <a:cubicBezTo>
                    <a:pt x="767060" y="741002"/>
                    <a:pt x="747530" y="737122"/>
                    <a:pt x="737266" y="737420"/>
                  </a:cubicBezTo>
                  <a:cubicBezTo>
                    <a:pt x="719729" y="739609"/>
                    <a:pt x="696213" y="737918"/>
                    <a:pt x="678477" y="738415"/>
                  </a:cubicBezTo>
                  <a:cubicBezTo>
                    <a:pt x="680768" y="734038"/>
                    <a:pt x="685252" y="724885"/>
                    <a:pt x="687444" y="720507"/>
                  </a:cubicBezTo>
                  <a:cubicBezTo>
                    <a:pt x="693035" y="719155"/>
                    <a:pt x="697090" y="714310"/>
                    <a:pt x="697409" y="708569"/>
                  </a:cubicBezTo>
                  <a:cubicBezTo>
                    <a:pt x="703118" y="706420"/>
                    <a:pt x="707762" y="702132"/>
                    <a:pt x="710362" y="696631"/>
                  </a:cubicBezTo>
                  <a:cubicBezTo>
                    <a:pt x="714956" y="693586"/>
                    <a:pt x="717298" y="688115"/>
                    <a:pt x="716341" y="682702"/>
                  </a:cubicBezTo>
                  <a:cubicBezTo>
                    <a:pt x="718135" y="677728"/>
                    <a:pt x="711857" y="674744"/>
                    <a:pt x="708370" y="672754"/>
                  </a:cubicBezTo>
                  <a:cubicBezTo>
                    <a:pt x="708370" y="664496"/>
                    <a:pt x="705779" y="658726"/>
                    <a:pt x="696412" y="660815"/>
                  </a:cubicBezTo>
                  <a:cubicBezTo>
                    <a:pt x="648683" y="659224"/>
                    <a:pt x="595772" y="659323"/>
                    <a:pt x="547943" y="660815"/>
                  </a:cubicBezTo>
                  <a:cubicBezTo>
                    <a:pt x="413921" y="657930"/>
                    <a:pt x="277708" y="660815"/>
                    <a:pt x="143388" y="659820"/>
                  </a:cubicBezTo>
                  <a:cubicBezTo>
                    <a:pt x="145181" y="520040"/>
                    <a:pt x="141096" y="377276"/>
                    <a:pt x="147373" y="237993"/>
                  </a:cubicBezTo>
                  <a:cubicBezTo>
                    <a:pt x="144583" y="238591"/>
                    <a:pt x="139003" y="234114"/>
                    <a:pt x="136412" y="233019"/>
                  </a:cubicBezTo>
                  <a:cubicBezTo>
                    <a:pt x="131660" y="235596"/>
                    <a:pt x="125741" y="234332"/>
                    <a:pt x="122462" y="230035"/>
                  </a:cubicBezTo>
                  <a:cubicBezTo>
                    <a:pt x="115687" y="221081"/>
                    <a:pt x="104228" y="211232"/>
                    <a:pt x="109509" y="199193"/>
                  </a:cubicBezTo>
                  <a:cubicBezTo>
                    <a:pt x="103729" y="199691"/>
                    <a:pt x="100939" y="196010"/>
                    <a:pt x="98648" y="191235"/>
                  </a:cubicBezTo>
                  <a:cubicBezTo>
                    <a:pt x="93466" y="186658"/>
                    <a:pt x="86391" y="178202"/>
                    <a:pt x="81608" y="173327"/>
                  </a:cubicBezTo>
                  <a:cubicBezTo>
                    <a:pt x="87876" y="170034"/>
                    <a:pt x="91742" y="163487"/>
                    <a:pt x="91573" y="156414"/>
                  </a:cubicBezTo>
                  <a:cubicBezTo>
                    <a:pt x="95658" y="154325"/>
                    <a:pt x="101537" y="150942"/>
                    <a:pt x="99544" y="145470"/>
                  </a:cubicBezTo>
                  <a:cubicBezTo>
                    <a:pt x="122761" y="148554"/>
                    <a:pt x="111103" y="125573"/>
                    <a:pt x="101537" y="116619"/>
                  </a:cubicBezTo>
                  <a:cubicBezTo>
                    <a:pt x="95568" y="115942"/>
                    <a:pt x="89640" y="118161"/>
                    <a:pt x="85594" y="122588"/>
                  </a:cubicBezTo>
                  <a:cubicBezTo>
                    <a:pt x="74892" y="116420"/>
                    <a:pt x="65147" y="108710"/>
                    <a:pt x="56697" y="99706"/>
                  </a:cubicBezTo>
                  <a:cubicBezTo>
                    <a:pt x="50619" y="94831"/>
                    <a:pt x="40057" y="93339"/>
                    <a:pt x="45836" y="82793"/>
                  </a:cubicBezTo>
                  <a:cubicBezTo>
                    <a:pt x="41950" y="76128"/>
                    <a:pt x="33281" y="69263"/>
                    <a:pt x="36868" y="60906"/>
                  </a:cubicBezTo>
                  <a:cubicBezTo>
                    <a:pt x="36868" y="60906"/>
                    <a:pt x="25409" y="58419"/>
                    <a:pt x="26904" y="56927"/>
                  </a:cubicBezTo>
                  <a:cubicBezTo>
                    <a:pt x="27502" y="50161"/>
                    <a:pt x="19131" y="48271"/>
                    <a:pt x="13950" y="46978"/>
                  </a:cubicBezTo>
                  <a:cubicBezTo>
                    <a:pt x="16840" y="35835"/>
                    <a:pt x="9466" y="23101"/>
                    <a:pt x="5978" y="13152"/>
                  </a:cubicBezTo>
                  <a:cubicBezTo>
                    <a:pt x="-598" y="15540"/>
                    <a:pt x="797" y="8178"/>
                    <a:pt x="0" y="4198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93" name="Freeform: Shape 1692">
              <a:extLst>
                <a:ext uri="{FF2B5EF4-FFF2-40B4-BE49-F238E27FC236}">
                  <a16:creationId xmlns:a16="http://schemas.microsoft.com/office/drawing/2014/main" id="{06D6E9C9-585D-457A-8224-C40D9C5711CC}"/>
                </a:ext>
              </a:extLst>
            </p:cNvPr>
            <p:cNvSpPr/>
            <p:nvPr/>
          </p:nvSpPr>
          <p:spPr>
            <a:xfrm>
              <a:off x="1334091" y="1449169"/>
              <a:ext cx="815960" cy="526201"/>
            </a:xfrm>
            <a:custGeom>
              <a:avLst/>
              <a:gdLst>
                <a:gd name="connsiteX0" fmla="*/ 871 w 815960"/>
                <a:gd name="connsiteY0" fmla="*/ 124359 h 526201"/>
                <a:gd name="connsiteX1" fmla="*/ 10836 w 815960"/>
                <a:gd name="connsiteY1" fmla="*/ 99487 h 526201"/>
                <a:gd name="connsiteX2" fmla="*/ 12829 w 815960"/>
                <a:gd name="connsiteY2" fmla="*/ 89539 h 526201"/>
                <a:gd name="connsiteX3" fmla="*/ 13825 w 815960"/>
                <a:gd name="connsiteY3" fmla="*/ 79590 h 526201"/>
                <a:gd name="connsiteX4" fmla="*/ 21797 w 815960"/>
                <a:gd name="connsiteY4" fmla="*/ 71631 h 526201"/>
                <a:gd name="connsiteX5" fmla="*/ 18907 w 815960"/>
                <a:gd name="connsiteY5" fmla="*/ 47754 h 526201"/>
                <a:gd name="connsiteX6" fmla="*/ 5854 w 815960"/>
                <a:gd name="connsiteY6" fmla="*/ 35816 h 526201"/>
                <a:gd name="connsiteX7" fmla="*/ 12829 w 815960"/>
                <a:gd name="connsiteY7" fmla="*/ 19897 h 526201"/>
                <a:gd name="connsiteX8" fmla="*/ 3861 w 815960"/>
                <a:gd name="connsiteY8" fmla="*/ 10944 h 526201"/>
                <a:gd name="connsiteX9" fmla="*/ 2864 w 815960"/>
                <a:gd name="connsiteY9" fmla="*/ 0 h 526201"/>
                <a:gd name="connsiteX10" fmla="*/ 680444 w 815960"/>
                <a:gd name="connsiteY10" fmla="*/ 0 h 526201"/>
                <a:gd name="connsiteX11" fmla="*/ 681540 w 815960"/>
                <a:gd name="connsiteY11" fmla="*/ 21887 h 526201"/>
                <a:gd name="connsiteX12" fmla="*/ 700373 w 815960"/>
                <a:gd name="connsiteY12" fmla="*/ 42780 h 526201"/>
                <a:gd name="connsiteX13" fmla="*/ 688515 w 815960"/>
                <a:gd name="connsiteY13" fmla="*/ 90534 h 526201"/>
                <a:gd name="connsiteX14" fmla="*/ 695490 w 815960"/>
                <a:gd name="connsiteY14" fmla="*/ 109436 h 526201"/>
                <a:gd name="connsiteX15" fmla="*/ 705455 w 815960"/>
                <a:gd name="connsiteY15" fmla="*/ 134308 h 526201"/>
                <a:gd name="connsiteX16" fmla="*/ 752188 w 815960"/>
                <a:gd name="connsiteY16" fmla="*/ 176093 h 526201"/>
                <a:gd name="connsiteX17" fmla="*/ 781085 w 815960"/>
                <a:gd name="connsiteY17" fmla="*/ 201960 h 526201"/>
                <a:gd name="connsiteX18" fmla="*/ 812971 w 815960"/>
                <a:gd name="connsiteY18" fmla="*/ 238770 h 526201"/>
                <a:gd name="connsiteX19" fmla="*/ 815960 w 815960"/>
                <a:gd name="connsiteY19" fmla="*/ 257673 h 526201"/>
                <a:gd name="connsiteX20" fmla="*/ 812971 w 815960"/>
                <a:gd name="connsiteY20" fmla="*/ 276575 h 526201"/>
                <a:gd name="connsiteX21" fmla="*/ 811077 w 815960"/>
                <a:gd name="connsiteY21" fmla="*/ 288514 h 526201"/>
                <a:gd name="connsiteX22" fmla="*/ 802010 w 815960"/>
                <a:gd name="connsiteY22" fmla="*/ 293488 h 526201"/>
                <a:gd name="connsiteX23" fmla="*/ 794138 w 815960"/>
                <a:gd name="connsiteY23" fmla="*/ 308411 h 526201"/>
                <a:gd name="connsiteX24" fmla="*/ 791149 w 815960"/>
                <a:gd name="connsiteY24" fmla="*/ 324329 h 526201"/>
                <a:gd name="connsiteX25" fmla="*/ 761255 w 815960"/>
                <a:gd name="connsiteY25" fmla="*/ 338257 h 526201"/>
                <a:gd name="connsiteX26" fmla="*/ 734352 w 815960"/>
                <a:gd name="connsiteY26" fmla="*/ 348206 h 526201"/>
                <a:gd name="connsiteX27" fmla="*/ 704458 w 815960"/>
                <a:gd name="connsiteY27" fmla="*/ 353180 h 526201"/>
                <a:gd name="connsiteX28" fmla="*/ 698480 w 815960"/>
                <a:gd name="connsiteY28" fmla="*/ 368103 h 526201"/>
                <a:gd name="connsiteX29" fmla="*/ 697583 w 815960"/>
                <a:gd name="connsiteY29" fmla="*/ 388001 h 526201"/>
                <a:gd name="connsiteX30" fmla="*/ 707547 w 815960"/>
                <a:gd name="connsiteY30" fmla="*/ 396955 h 526201"/>
                <a:gd name="connsiteX31" fmla="*/ 713526 w 815960"/>
                <a:gd name="connsiteY31" fmla="*/ 431776 h 526201"/>
                <a:gd name="connsiteX32" fmla="*/ 695590 w 815960"/>
                <a:gd name="connsiteY32" fmla="*/ 453663 h 526201"/>
                <a:gd name="connsiteX33" fmla="*/ 692601 w 815960"/>
                <a:gd name="connsiteY33" fmla="*/ 474555 h 526201"/>
                <a:gd name="connsiteX34" fmla="*/ 660814 w 815960"/>
                <a:gd name="connsiteY34" fmla="*/ 493458 h 526201"/>
                <a:gd name="connsiteX35" fmla="*/ 661811 w 815960"/>
                <a:gd name="connsiteY35" fmla="*/ 505396 h 526201"/>
                <a:gd name="connsiteX36" fmla="*/ 659718 w 815960"/>
                <a:gd name="connsiteY36" fmla="*/ 515345 h 526201"/>
                <a:gd name="connsiteX37" fmla="*/ 644771 w 815960"/>
                <a:gd name="connsiteY37" fmla="*/ 523304 h 526201"/>
                <a:gd name="connsiteX38" fmla="*/ 630821 w 815960"/>
                <a:gd name="connsiteY38" fmla="*/ 507386 h 526201"/>
                <a:gd name="connsiteX39" fmla="*/ 621853 w 815960"/>
                <a:gd name="connsiteY39" fmla="*/ 494453 h 526201"/>
                <a:gd name="connsiteX40" fmla="*/ 589967 w 815960"/>
                <a:gd name="connsiteY40" fmla="*/ 489478 h 526201"/>
                <a:gd name="connsiteX41" fmla="*/ 463419 w 815960"/>
                <a:gd name="connsiteY41" fmla="*/ 492463 h 526201"/>
                <a:gd name="connsiteX42" fmla="*/ 108686 w 815960"/>
                <a:gd name="connsiteY42" fmla="*/ 493458 h 526201"/>
                <a:gd name="connsiteX43" fmla="*/ 97725 w 815960"/>
                <a:gd name="connsiteY43" fmla="*/ 476545 h 526201"/>
                <a:gd name="connsiteX44" fmla="*/ 99818 w 815960"/>
                <a:gd name="connsiteY44" fmla="*/ 459632 h 526201"/>
                <a:gd name="connsiteX45" fmla="*/ 98722 w 815960"/>
                <a:gd name="connsiteY45" fmla="*/ 449683 h 526201"/>
                <a:gd name="connsiteX46" fmla="*/ 99718 w 815960"/>
                <a:gd name="connsiteY46" fmla="*/ 436750 h 526201"/>
                <a:gd name="connsiteX47" fmla="*/ 95733 w 815960"/>
                <a:gd name="connsiteY47" fmla="*/ 420832 h 526201"/>
                <a:gd name="connsiteX48" fmla="*/ 96729 w 815960"/>
                <a:gd name="connsiteY48" fmla="*/ 392975 h 526201"/>
                <a:gd name="connsiteX49" fmla="*/ 89754 w 815960"/>
                <a:gd name="connsiteY49" fmla="*/ 392975 h 526201"/>
                <a:gd name="connsiteX50" fmla="*/ 92843 w 815960"/>
                <a:gd name="connsiteY50" fmla="*/ 378052 h 526201"/>
                <a:gd name="connsiteX51" fmla="*/ 88857 w 815960"/>
                <a:gd name="connsiteY51" fmla="*/ 348206 h 526201"/>
                <a:gd name="connsiteX52" fmla="*/ 77797 w 815960"/>
                <a:gd name="connsiteY52" fmla="*/ 333283 h 526201"/>
                <a:gd name="connsiteX53" fmla="*/ 68829 w 815960"/>
                <a:gd name="connsiteY53" fmla="*/ 336268 h 526201"/>
                <a:gd name="connsiteX54" fmla="*/ 64942 w 815960"/>
                <a:gd name="connsiteY54" fmla="*/ 283539 h 526201"/>
                <a:gd name="connsiteX55" fmla="*/ 50893 w 815960"/>
                <a:gd name="connsiteY55" fmla="*/ 252698 h 526201"/>
                <a:gd name="connsiteX56" fmla="*/ 45014 w 815960"/>
                <a:gd name="connsiteY56" fmla="*/ 237775 h 526201"/>
                <a:gd name="connsiteX57" fmla="*/ 36942 w 815960"/>
                <a:gd name="connsiteY57" fmla="*/ 219867 h 526201"/>
                <a:gd name="connsiteX58" fmla="*/ 27975 w 815960"/>
                <a:gd name="connsiteY58" fmla="*/ 198975 h 526201"/>
                <a:gd name="connsiteX59" fmla="*/ 31063 w 815960"/>
                <a:gd name="connsiteY59" fmla="*/ 178083 h 526201"/>
                <a:gd name="connsiteX60" fmla="*/ 22992 w 815960"/>
                <a:gd name="connsiteY60" fmla="*/ 173108 h 526201"/>
                <a:gd name="connsiteX61" fmla="*/ 19106 w 815960"/>
                <a:gd name="connsiteY61" fmla="*/ 162165 h 526201"/>
                <a:gd name="connsiteX62" fmla="*/ 13028 w 815960"/>
                <a:gd name="connsiteY62" fmla="*/ 147241 h 526201"/>
                <a:gd name="connsiteX63" fmla="*/ 871 w 815960"/>
                <a:gd name="connsiteY63" fmla="*/ 124359 h 526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815960" h="526201">
                  <a:moveTo>
                    <a:pt x="871" y="124359"/>
                  </a:moveTo>
                  <a:cubicBezTo>
                    <a:pt x="4459" y="116699"/>
                    <a:pt x="12729" y="108441"/>
                    <a:pt x="10836" y="99487"/>
                  </a:cubicBezTo>
                  <a:cubicBezTo>
                    <a:pt x="13526" y="96304"/>
                    <a:pt x="17611" y="93021"/>
                    <a:pt x="12829" y="89539"/>
                  </a:cubicBezTo>
                  <a:cubicBezTo>
                    <a:pt x="17313" y="86853"/>
                    <a:pt x="16416" y="83371"/>
                    <a:pt x="13825" y="79590"/>
                  </a:cubicBezTo>
                  <a:cubicBezTo>
                    <a:pt x="15718" y="78197"/>
                    <a:pt x="22195" y="74516"/>
                    <a:pt x="21797" y="71631"/>
                  </a:cubicBezTo>
                  <a:cubicBezTo>
                    <a:pt x="25384" y="65861"/>
                    <a:pt x="18010" y="54818"/>
                    <a:pt x="18907" y="47754"/>
                  </a:cubicBezTo>
                  <a:cubicBezTo>
                    <a:pt x="11234" y="49644"/>
                    <a:pt x="7348" y="42083"/>
                    <a:pt x="5854" y="35816"/>
                  </a:cubicBezTo>
                  <a:cubicBezTo>
                    <a:pt x="15021" y="36910"/>
                    <a:pt x="12330" y="25867"/>
                    <a:pt x="12829" y="19897"/>
                  </a:cubicBezTo>
                  <a:lnTo>
                    <a:pt x="3861" y="10944"/>
                  </a:lnTo>
                  <a:cubicBezTo>
                    <a:pt x="5046" y="7312"/>
                    <a:pt x="4688" y="3353"/>
                    <a:pt x="2864" y="0"/>
                  </a:cubicBezTo>
                  <a:lnTo>
                    <a:pt x="680444" y="0"/>
                  </a:lnTo>
                  <a:cubicBezTo>
                    <a:pt x="675960" y="8257"/>
                    <a:pt x="684131" y="14028"/>
                    <a:pt x="681540" y="21887"/>
                  </a:cubicBezTo>
                  <a:cubicBezTo>
                    <a:pt x="687519" y="28255"/>
                    <a:pt x="697782" y="33627"/>
                    <a:pt x="700373" y="42780"/>
                  </a:cubicBezTo>
                  <a:cubicBezTo>
                    <a:pt x="686343" y="54370"/>
                    <a:pt x="681530" y="73740"/>
                    <a:pt x="688515" y="90534"/>
                  </a:cubicBezTo>
                  <a:cubicBezTo>
                    <a:pt x="688685" y="97428"/>
                    <a:pt x="691136" y="104074"/>
                    <a:pt x="695490" y="109436"/>
                  </a:cubicBezTo>
                  <a:cubicBezTo>
                    <a:pt x="696208" y="118539"/>
                    <a:pt x="699685" y="127215"/>
                    <a:pt x="705455" y="134308"/>
                  </a:cubicBezTo>
                  <a:cubicBezTo>
                    <a:pt x="728173" y="149928"/>
                    <a:pt x="751690" y="138586"/>
                    <a:pt x="752188" y="176093"/>
                  </a:cubicBezTo>
                  <a:cubicBezTo>
                    <a:pt x="763437" y="182719"/>
                    <a:pt x="773263" y="191513"/>
                    <a:pt x="781085" y="201960"/>
                  </a:cubicBezTo>
                  <a:cubicBezTo>
                    <a:pt x="773412" y="221857"/>
                    <a:pt x="806594" y="223946"/>
                    <a:pt x="812971" y="238770"/>
                  </a:cubicBezTo>
                  <a:cubicBezTo>
                    <a:pt x="812183" y="245227"/>
                    <a:pt x="813220" y="251773"/>
                    <a:pt x="815960" y="257673"/>
                  </a:cubicBezTo>
                  <a:cubicBezTo>
                    <a:pt x="814077" y="263801"/>
                    <a:pt x="813070" y="270168"/>
                    <a:pt x="812971" y="276575"/>
                  </a:cubicBezTo>
                  <a:cubicBezTo>
                    <a:pt x="810480" y="280027"/>
                    <a:pt x="809782" y="284455"/>
                    <a:pt x="811077" y="288514"/>
                  </a:cubicBezTo>
                  <a:cubicBezTo>
                    <a:pt x="809782" y="288514"/>
                    <a:pt x="803206" y="294085"/>
                    <a:pt x="802010" y="293488"/>
                  </a:cubicBezTo>
                  <a:cubicBezTo>
                    <a:pt x="796350" y="296154"/>
                    <a:pt x="793142" y="302243"/>
                    <a:pt x="794138" y="308411"/>
                  </a:cubicBezTo>
                  <a:cubicBezTo>
                    <a:pt x="790650" y="311296"/>
                    <a:pt x="790850" y="320350"/>
                    <a:pt x="791149" y="324329"/>
                  </a:cubicBezTo>
                  <a:cubicBezTo>
                    <a:pt x="781683" y="330398"/>
                    <a:pt x="773312" y="338954"/>
                    <a:pt x="761255" y="338257"/>
                  </a:cubicBezTo>
                  <a:cubicBezTo>
                    <a:pt x="754280" y="345500"/>
                    <a:pt x="744366" y="349161"/>
                    <a:pt x="734352" y="348206"/>
                  </a:cubicBezTo>
                  <a:cubicBezTo>
                    <a:pt x="725075" y="352693"/>
                    <a:pt x="714692" y="354424"/>
                    <a:pt x="704458" y="353180"/>
                  </a:cubicBezTo>
                  <a:cubicBezTo>
                    <a:pt x="701320" y="357618"/>
                    <a:pt x="699277" y="362731"/>
                    <a:pt x="698480" y="368103"/>
                  </a:cubicBezTo>
                  <a:cubicBezTo>
                    <a:pt x="696487" y="373177"/>
                    <a:pt x="691305" y="383823"/>
                    <a:pt x="697583" y="388001"/>
                  </a:cubicBezTo>
                  <a:cubicBezTo>
                    <a:pt x="699277" y="391085"/>
                    <a:pt x="702266" y="399343"/>
                    <a:pt x="707547" y="396955"/>
                  </a:cubicBezTo>
                  <a:cubicBezTo>
                    <a:pt x="715917" y="405809"/>
                    <a:pt x="714622" y="420434"/>
                    <a:pt x="713526" y="431776"/>
                  </a:cubicBezTo>
                  <a:cubicBezTo>
                    <a:pt x="708424" y="439744"/>
                    <a:pt x="702405" y="447097"/>
                    <a:pt x="695590" y="453663"/>
                  </a:cubicBezTo>
                  <a:cubicBezTo>
                    <a:pt x="698081" y="460030"/>
                    <a:pt x="693597" y="468287"/>
                    <a:pt x="692601" y="474555"/>
                  </a:cubicBezTo>
                  <a:cubicBezTo>
                    <a:pt x="692601" y="489976"/>
                    <a:pt x="666295" y="480524"/>
                    <a:pt x="660814" y="493458"/>
                  </a:cubicBezTo>
                  <a:cubicBezTo>
                    <a:pt x="658821" y="496940"/>
                    <a:pt x="656629" y="503406"/>
                    <a:pt x="661811" y="505396"/>
                  </a:cubicBezTo>
                  <a:lnTo>
                    <a:pt x="659718" y="515345"/>
                  </a:lnTo>
                  <a:cubicBezTo>
                    <a:pt x="663903" y="526886"/>
                    <a:pt x="652843" y="528676"/>
                    <a:pt x="644771" y="523304"/>
                  </a:cubicBezTo>
                  <a:cubicBezTo>
                    <a:pt x="643376" y="516837"/>
                    <a:pt x="634807" y="512261"/>
                    <a:pt x="630821" y="507386"/>
                  </a:cubicBezTo>
                  <a:cubicBezTo>
                    <a:pt x="632117" y="496840"/>
                    <a:pt x="622650" y="502213"/>
                    <a:pt x="621853" y="494453"/>
                  </a:cubicBezTo>
                  <a:cubicBezTo>
                    <a:pt x="619761" y="484504"/>
                    <a:pt x="596245" y="490175"/>
                    <a:pt x="589967" y="489478"/>
                  </a:cubicBezTo>
                  <a:cubicBezTo>
                    <a:pt x="549312" y="490672"/>
                    <a:pt x="504174" y="492960"/>
                    <a:pt x="463419" y="492463"/>
                  </a:cubicBezTo>
                  <a:cubicBezTo>
                    <a:pt x="345540" y="496144"/>
                    <a:pt x="226665" y="494851"/>
                    <a:pt x="108686" y="493458"/>
                  </a:cubicBezTo>
                  <a:cubicBezTo>
                    <a:pt x="114167" y="487190"/>
                    <a:pt x="103405" y="478535"/>
                    <a:pt x="97725" y="476545"/>
                  </a:cubicBezTo>
                  <a:cubicBezTo>
                    <a:pt x="90850" y="467491"/>
                    <a:pt x="94537" y="466596"/>
                    <a:pt x="99818" y="459632"/>
                  </a:cubicBezTo>
                  <a:lnTo>
                    <a:pt x="98722" y="449683"/>
                  </a:lnTo>
                  <a:cubicBezTo>
                    <a:pt x="102478" y="446340"/>
                    <a:pt x="102917" y="440630"/>
                    <a:pt x="99718" y="436750"/>
                  </a:cubicBezTo>
                  <a:cubicBezTo>
                    <a:pt x="101253" y="431109"/>
                    <a:pt x="99738" y="425090"/>
                    <a:pt x="95733" y="420832"/>
                  </a:cubicBezTo>
                  <a:cubicBezTo>
                    <a:pt x="95314" y="411530"/>
                    <a:pt x="95643" y="402218"/>
                    <a:pt x="96729" y="392975"/>
                  </a:cubicBezTo>
                  <a:lnTo>
                    <a:pt x="89754" y="392975"/>
                  </a:lnTo>
                  <a:cubicBezTo>
                    <a:pt x="89096" y="387792"/>
                    <a:pt x="90182" y="382549"/>
                    <a:pt x="92843" y="378052"/>
                  </a:cubicBezTo>
                  <a:cubicBezTo>
                    <a:pt x="85370" y="370392"/>
                    <a:pt x="87960" y="358155"/>
                    <a:pt x="88857" y="348206"/>
                  </a:cubicBezTo>
                  <a:cubicBezTo>
                    <a:pt x="78893" y="348206"/>
                    <a:pt x="80487" y="340148"/>
                    <a:pt x="77797" y="333283"/>
                  </a:cubicBezTo>
                  <a:lnTo>
                    <a:pt x="68829" y="336268"/>
                  </a:lnTo>
                  <a:cubicBezTo>
                    <a:pt x="54779" y="311993"/>
                    <a:pt x="79590" y="298661"/>
                    <a:pt x="64942" y="283539"/>
                  </a:cubicBezTo>
                  <a:cubicBezTo>
                    <a:pt x="51889" y="266129"/>
                    <a:pt x="71320" y="263642"/>
                    <a:pt x="50893" y="252698"/>
                  </a:cubicBezTo>
                  <a:cubicBezTo>
                    <a:pt x="44416" y="251007"/>
                    <a:pt x="44515" y="242749"/>
                    <a:pt x="45014" y="237775"/>
                  </a:cubicBezTo>
                  <a:cubicBezTo>
                    <a:pt x="40928" y="234393"/>
                    <a:pt x="30565" y="224344"/>
                    <a:pt x="36942" y="219867"/>
                  </a:cubicBezTo>
                  <a:cubicBezTo>
                    <a:pt x="38935" y="212406"/>
                    <a:pt x="31960" y="204546"/>
                    <a:pt x="27975" y="198975"/>
                  </a:cubicBezTo>
                  <a:cubicBezTo>
                    <a:pt x="26420" y="191872"/>
                    <a:pt x="27516" y="184440"/>
                    <a:pt x="31063" y="178083"/>
                  </a:cubicBezTo>
                  <a:lnTo>
                    <a:pt x="22992" y="173108"/>
                  </a:lnTo>
                  <a:cubicBezTo>
                    <a:pt x="17811" y="170323"/>
                    <a:pt x="16416" y="167636"/>
                    <a:pt x="19106" y="162165"/>
                  </a:cubicBezTo>
                  <a:cubicBezTo>
                    <a:pt x="16675" y="157369"/>
                    <a:pt x="14642" y="152375"/>
                    <a:pt x="13028" y="147241"/>
                  </a:cubicBezTo>
                  <a:cubicBezTo>
                    <a:pt x="5953" y="141869"/>
                    <a:pt x="-2815" y="134010"/>
                    <a:pt x="871" y="124359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>
                <a:solidFill>
                  <a:schemeClr val="accent5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694" name="Freeform: Shape 1693">
              <a:extLst>
                <a:ext uri="{FF2B5EF4-FFF2-40B4-BE49-F238E27FC236}">
                  <a16:creationId xmlns:a16="http://schemas.microsoft.com/office/drawing/2014/main" id="{DBFB77AE-F34D-46DA-9C5B-A5D9983D1294}"/>
                </a:ext>
              </a:extLst>
            </p:cNvPr>
            <p:cNvSpPr/>
            <p:nvPr/>
          </p:nvSpPr>
          <p:spPr>
            <a:xfrm>
              <a:off x="398627" y="1016399"/>
              <a:ext cx="959253" cy="607179"/>
            </a:xfrm>
            <a:custGeom>
              <a:avLst/>
              <a:gdLst>
                <a:gd name="connsiteX0" fmla="*/ 678 w 959253"/>
                <a:gd name="connsiteY0" fmla="*/ 170124 h 607179"/>
                <a:gd name="connsiteX1" fmla="*/ 2671 w 959253"/>
                <a:gd name="connsiteY1" fmla="*/ 170124 h 607179"/>
                <a:gd name="connsiteX2" fmla="*/ 2671 w 959253"/>
                <a:gd name="connsiteY2" fmla="*/ 0 h 607179"/>
                <a:gd name="connsiteX3" fmla="*/ 943311 w 959253"/>
                <a:gd name="connsiteY3" fmla="*/ 1990 h 607179"/>
                <a:gd name="connsiteX4" fmla="*/ 929361 w 959253"/>
                <a:gd name="connsiteY4" fmla="*/ 38800 h 607179"/>
                <a:gd name="connsiteX5" fmla="*/ 907439 w 959253"/>
                <a:gd name="connsiteY5" fmla="*/ 58698 h 607179"/>
                <a:gd name="connsiteX6" fmla="*/ 929361 w 959253"/>
                <a:gd name="connsiteY6" fmla="*/ 96503 h 607179"/>
                <a:gd name="connsiteX7" fmla="*/ 956364 w 959253"/>
                <a:gd name="connsiteY7" fmla="*/ 174103 h 607179"/>
                <a:gd name="connsiteX8" fmla="*/ 957261 w 959253"/>
                <a:gd name="connsiteY8" fmla="*/ 432770 h 607179"/>
                <a:gd name="connsiteX9" fmla="*/ 938329 w 959253"/>
                <a:gd name="connsiteY9" fmla="*/ 432770 h 607179"/>
                <a:gd name="connsiteX10" fmla="*/ 939325 w 959253"/>
                <a:gd name="connsiteY10" fmla="*/ 443714 h 607179"/>
                <a:gd name="connsiteX11" fmla="*/ 948293 w 959253"/>
                <a:gd name="connsiteY11" fmla="*/ 452668 h 607179"/>
                <a:gd name="connsiteX12" fmla="*/ 941318 w 959253"/>
                <a:gd name="connsiteY12" fmla="*/ 468586 h 607179"/>
                <a:gd name="connsiteX13" fmla="*/ 954371 w 959253"/>
                <a:gd name="connsiteY13" fmla="*/ 480524 h 607179"/>
                <a:gd name="connsiteX14" fmla="*/ 959254 w 959253"/>
                <a:gd name="connsiteY14" fmla="*/ 499427 h 607179"/>
                <a:gd name="connsiteX15" fmla="*/ 956264 w 959253"/>
                <a:gd name="connsiteY15" fmla="*/ 507386 h 607179"/>
                <a:gd name="connsiteX16" fmla="*/ 952378 w 959253"/>
                <a:gd name="connsiteY16" fmla="*/ 518330 h 607179"/>
                <a:gd name="connsiteX17" fmla="*/ 951382 w 959253"/>
                <a:gd name="connsiteY17" fmla="*/ 526289 h 607179"/>
                <a:gd name="connsiteX18" fmla="*/ 946400 w 959253"/>
                <a:gd name="connsiteY18" fmla="*/ 540217 h 607179"/>
                <a:gd name="connsiteX19" fmla="*/ 954371 w 959253"/>
                <a:gd name="connsiteY19" fmla="*/ 594935 h 607179"/>
                <a:gd name="connsiteX20" fmla="*/ 958257 w 959253"/>
                <a:gd name="connsiteY20" fmla="*/ 605879 h 607179"/>
                <a:gd name="connsiteX21" fmla="*/ 948293 w 959253"/>
                <a:gd name="connsiteY21" fmla="*/ 602894 h 607179"/>
                <a:gd name="connsiteX22" fmla="*/ 937232 w 959253"/>
                <a:gd name="connsiteY22" fmla="*/ 603889 h 607179"/>
                <a:gd name="connsiteX23" fmla="*/ 926271 w 959253"/>
                <a:gd name="connsiteY23" fmla="*/ 577027 h 607179"/>
                <a:gd name="connsiteX24" fmla="*/ 916307 w 959253"/>
                <a:gd name="connsiteY24" fmla="*/ 577027 h 607179"/>
                <a:gd name="connsiteX25" fmla="*/ 912321 w 959253"/>
                <a:gd name="connsiteY25" fmla="*/ 570063 h 607179"/>
                <a:gd name="connsiteX26" fmla="*/ 892393 w 959253"/>
                <a:gd name="connsiteY26" fmla="*/ 566084 h 607179"/>
                <a:gd name="connsiteX27" fmla="*/ 871467 w 959253"/>
                <a:gd name="connsiteY27" fmla="*/ 558125 h 607179"/>
                <a:gd name="connsiteX28" fmla="*/ 845560 w 959253"/>
                <a:gd name="connsiteY28" fmla="*/ 543201 h 607179"/>
                <a:gd name="connsiteX29" fmla="*/ 831610 w 959253"/>
                <a:gd name="connsiteY29" fmla="*/ 545191 h 607179"/>
                <a:gd name="connsiteX30" fmla="*/ 812777 w 959253"/>
                <a:gd name="connsiteY30" fmla="*/ 543201 h 607179"/>
                <a:gd name="connsiteX31" fmla="*/ 780791 w 959253"/>
                <a:gd name="connsiteY31" fmla="*/ 542207 h 607179"/>
                <a:gd name="connsiteX32" fmla="*/ 757873 w 959253"/>
                <a:gd name="connsiteY32" fmla="*/ 559119 h 607179"/>
                <a:gd name="connsiteX33" fmla="*/ 742926 w 959253"/>
                <a:gd name="connsiteY33" fmla="*/ 546186 h 607179"/>
                <a:gd name="connsiteX34" fmla="*/ 702072 w 959253"/>
                <a:gd name="connsiteY34" fmla="*/ 525294 h 607179"/>
                <a:gd name="connsiteX35" fmla="*/ 604521 w 959253"/>
                <a:gd name="connsiteY35" fmla="*/ 519325 h 607179"/>
                <a:gd name="connsiteX36" fmla="*/ 248791 w 959253"/>
                <a:gd name="connsiteY36" fmla="*/ 519325 h 607179"/>
                <a:gd name="connsiteX37" fmla="*/ 70429 w 959253"/>
                <a:gd name="connsiteY37" fmla="*/ 519325 h 607179"/>
                <a:gd name="connsiteX38" fmla="*/ 678 w 959253"/>
                <a:gd name="connsiteY38" fmla="*/ 436750 h 607179"/>
                <a:gd name="connsiteX39" fmla="*/ 678 w 959253"/>
                <a:gd name="connsiteY39" fmla="*/ 170124 h 607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959253" h="607179">
                  <a:moveTo>
                    <a:pt x="678" y="170124"/>
                  </a:moveTo>
                  <a:lnTo>
                    <a:pt x="2671" y="170124"/>
                  </a:lnTo>
                  <a:lnTo>
                    <a:pt x="2671" y="0"/>
                  </a:lnTo>
                  <a:cubicBezTo>
                    <a:pt x="315852" y="1791"/>
                    <a:pt x="630428" y="1094"/>
                    <a:pt x="943311" y="1990"/>
                  </a:cubicBezTo>
                  <a:cubicBezTo>
                    <a:pt x="944606" y="16913"/>
                    <a:pt x="937133" y="27359"/>
                    <a:pt x="929361" y="38800"/>
                  </a:cubicBezTo>
                  <a:cubicBezTo>
                    <a:pt x="922485" y="43775"/>
                    <a:pt x="910329" y="50042"/>
                    <a:pt x="907439" y="58698"/>
                  </a:cubicBezTo>
                  <a:cubicBezTo>
                    <a:pt x="912570" y="72437"/>
                    <a:pt x="919984" y="85221"/>
                    <a:pt x="929361" y="96503"/>
                  </a:cubicBezTo>
                  <a:cubicBezTo>
                    <a:pt x="969218" y="96503"/>
                    <a:pt x="953275" y="149530"/>
                    <a:pt x="956364" y="174103"/>
                  </a:cubicBezTo>
                  <a:cubicBezTo>
                    <a:pt x="958656" y="257871"/>
                    <a:pt x="956364" y="348803"/>
                    <a:pt x="957261" y="432770"/>
                  </a:cubicBezTo>
                  <a:lnTo>
                    <a:pt x="938329" y="432770"/>
                  </a:lnTo>
                  <a:cubicBezTo>
                    <a:pt x="940152" y="436123"/>
                    <a:pt x="940511" y="440083"/>
                    <a:pt x="939325" y="443714"/>
                  </a:cubicBezTo>
                  <a:lnTo>
                    <a:pt x="948293" y="452668"/>
                  </a:lnTo>
                  <a:cubicBezTo>
                    <a:pt x="947795" y="458637"/>
                    <a:pt x="950485" y="469780"/>
                    <a:pt x="941318" y="468586"/>
                  </a:cubicBezTo>
                  <a:cubicBezTo>
                    <a:pt x="942812" y="474953"/>
                    <a:pt x="946699" y="482415"/>
                    <a:pt x="954371" y="480524"/>
                  </a:cubicBezTo>
                  <a:cubicBezTo>
                    <a:pt x="954521" y="487120"/>
                    <a:pt x="956195" y="493587"/>
                    <a:pt x="959254" y="499427"/>
                  </a:cubicBezTo>
                  <a:cubicBezTo>
                    <a:pt x="958556" y="501317"/>
                    <a:pt x="956862" y="505496"/>
                    <a:pt x="956264" y="507386"/>
                  </a:cubicBezTo>
                  <a:cubicBezTo>
                    <a:pt x="951482" y="510371"/>
                    <a:pt x="947695" y="512858"/>
                    <a:pt x="952378" y="518330"/>
                  </a:cubicBezTo>
                  <a:cubicBezTo>
                    <a:pt x="948991" y="520916"/>
                    <a:pt x="947795" y="523105"/>
                    <a:pt x="951382" y="526289"/>
                  </a:cubicBezTo>
                  <a:cubicBezTo>
                    <a:pt x="947297" y="529681"/>
                    <a:pt x="945393" y="535014"/>
                    <a:pt x="946400" y="540217"/>
                  </a:cubicBezTo>
                  <a:cubicBezTo>
                    <a:pt x="922684" y="572550"/>
                    <a:pt x="945104" y="566581"/>
                    <a:pt x="954371" y="594935"/>
                  </a:cubicBezTo>
                  <a:cubicBezTo>
                    <a:pt x="951581" y="600208"/>
                    <a:pt x="953076" y="603292"/>
                    <a:pt x="958257" y="605879"/>
                  </a:cubicBezTo>
                  <a:cubicBezTo>
                    <a:pt x="953873" y="607669"/>
                    <a:pt x="949987" y="608366"/>
                    <a:pt x="948293" y="602894"/>
                  </a:cubicBezTo>
                  <a:lnTo>
                    <a:pt x="937232" y="603889"/>
                  </a:lnTo>
                  <a:cubicBezTo>
                    <a:pt x="934044" y="593940"/>
                    <a:pt x="922186" y="588070"/>
                    <a:pt x="926271" y="577027"/>
                  </a:cubicBezTo>
                  <a:lnTo>
                    <a:pt x="916307" y="577027"/>
                  </a:lnTo>
                  <a:cubicBezTo>
                    <a:pt x="914912" y="577027"/>
                    <a:pt x="914514" y="568869"/>
                    <a:pt x="912321" y="570063"/>
                  </a:cubicBezTo>
                  <a:cubicBezTo>
                    <a:pt x="906442" y="566880"/>
                    <a:pt x="898869" y="562502"/>
                    <a:pt x="892393" y="566084"/>
                  </a:cubicBezTo>
                  <a:cubicBezTo>
                    <a:pt x="886713" y="560821"/>
                    <a:pt x="879210" y="557975"/>
                    <a:pt x="871467" y="558125"/>
                  </a:cubicBezTo>
                  <a:cubicBezTo>
                    <a:pt x="862101" y="553250"/>
                    <a:pt x="858215" y="538227"/>
                    <a:pt x="845560" y="543201"/>
                  </a:cubicBezTo>
                  <a:cubicBezTo>
                    <a:pt x="840976" y="542605"/>
                    <a:pt x="834798" y="541311"/>
                    <a:pt x="831610" y="545191"/>
                  </a:cubicBezTo>
                  <a:cubicBezTo>
                    <a:pt x="825372" y="544166"/>
                    <a:pt x="819084" y="543500"/>
                    <a:pt x="812777" y="543201"/>
                  </a:cubicBezTo>
                  <a:cubicBezTo>
                    <a:pt x="802813" y="547778"/>
                    <a:pt x="790955" y="543898"/>
                    <a:pt x="780791" y="542207"/>
                  </a:cubicBezTo>
                  <a:cubicBezTo>
                    <a:pt x="772421" y="551160"/>
                    <a:pt x="775410" y="560214"/>
                    <a:pt x="757873" y="559119"/>
                  </a:cubicBezTo>
                  <a:cubicBezTo>
                    <a:pt x="752991" y="556732"/>
                    <a:pt x="747012" y="548474"/>
                    <a:pt x="742926" y="546186"/>
                  </a:cubicBezTo>
                  <a:cubicBezTo>
                    <a:pt x="728090" y="541918"/>
                    <a:pt x="714209" y="534825"/>
                    <a:pt x="702072" y="525294"/>
                  </a:cubicBezTo>
                  <a:cubicBezTo>
                    <a:pt x="692108" y="510570"/>
                    <a:pt x="624450" y="523403"/>
                    <a:pt x="604521" y="519325"/>
                  </a:cubicBezTo>
                  <a:lnTo>
                    <a:pt x="248791" y="519325"/>
                  </a:lnTo>
                  <a:cubicBezTo>
                    <a:pt x="193688" y="520319"/>
                    <a:pt x="125432" y="517633"/>
                    <a:pt x="70429" y="519325"/>
                  </a:cubicBezTo>
                  <a:cubicBezTo>
                    <a:pt x="-23735" y="523503"/>
                    <a:pt x="5560" y="520319"/>
                    <a:pt x="678" y="436750"/>
                  </a:cubicBezTo>
                  <a:cubicBezTo>
                    <a:pt x="777" y="350594"/>
                    <a:pt x="678" y="256280"/>
                    <a:pt x="678" y="170124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95" name="Freeform: Shape 1694">
              <a:extLst>
                <a:ext uri="{FF2B5EF4-FFF2-40B4-BE49-F238E27FC236}">
                  <a16:creationId xmlns:a16="http://schemas.microsoft.com/office/drawing/2014/main" id="{06780496-6CAE-4EA8-B34A-182C2A20125E}"/>
                </a:ext>
              </a:extLst>
            </p:cNvPr>
            <p:cNvSpPr/>
            <p:nvPr/>
          </p:nvSpPr>
          <p:spPr>
            <a:xfrm>
              <a:off x="1586066" y="2597896"/>
              <a:ext cx="625764" cy="534787"/>
            </a:xfrm>
            <a:custGeom>
              <a:avLst/>
              <a:gdLst>
                <a:gd name="connsiteX0" fmla="*/ 0 w 625764"/>
                <a:gd name="connsiteY0" fmla="*/ 353 h 534787"/>
                <a:gd name="connsiteX1" fmla="*/ 404555 w 625764"/>
                <a:gd name="connsiteY1" fmla="*/ 1347 h 534787"/>
                <a:gd name="connsiteX2" fmla="*/ 553025 w 625764"/>
                <a:gd name="connsiteY2" fmla="*/ 1347 h 534787"/>
                <a:gd name="connsiteX3" fmla="*/ 564982 w 625764"/>
                <a:gd name="connsiteY3" fmla="*/ 13286 h 534787"/>
                <a:gd name="connsiteX4" fmla="*/ 572953 w 625764"/>
                <a:gd name="connsiteY4" fmla="*/ 23235 h 534787"/>
                <a:gd name="connsiteX5" fmla="*/ 566975 w 625764"/>
                <a:gd name="connsiteY5" fmla="*/ 37163 h 534787"/>
                <a:gd name="connsiteX6" fmla="*/ 554021 w 625764"/>
                <a:gd name="connsiteY6" fmla="*/ 49102 h 534787"/>
                <a:gd name="connsiteX7" fmla="*/ 544057 w 625764"/>
                <a:gd name="connsiteY7" fmla="*/ 61040 h 534787"/>
                <a:gd name="connsiteX8" fmla="*/ 535089 w 625764"/>
                <a:gd name="connsiteY8" fmla="*/ 78948 h 534787"/>
                <a:gd name="connsiteX9" fmla="*/ 593879 w 625764"/>
                <a:gd name="connsiteY9" fmla="*/ 77953 h 534787"/>
                <a:gd name="connsiteX10" fmla="*/ 625765 w 625764"/>
                <a:gd name="connsiteY10" fmla="*/ 92876 h 534787"/>
                <a:gd name="connsiteX11" fmla="*/ 615800 w 625764"/>
                <a:gd name="connsiteY11" fmla="*/ 107799 h 534787"/>
                <a:gd name="connsiteX12" fmla="*/ 598761 w 625764"/>
                <a:gd name="connsiteY12" fmla="*/ 117748 h 534787"/>
                <a:gd name="connsiteX13" fmla="*/ 586804 w 625764"/>
                <a:gd name="connsiteY13" fmla="*/ 125707 h 534787"/>
                <a:gd name="connsiteX14" fmla="*/ 596768 w 625764"/>
                <a:gd name="connsiteY14" fmla="*/ 135655 h 534787"/>
                <a:gd name="connsiteX15" fmla="*/ 576839 w 625764"/>
                <a:gd name="connsiteY15" fmla="*/ 147594 h 534787"/>
                <a:gd name="connsiteX16" fmla="*/ 575843 w 625764"/>
                <a:gd name="connsiteY16" fmla="*/ 168486 h 534787"/>
                <a:gd name="connsiteX17" fmla="*/ 566875 w 625764"/>
                <a:gd name="connsiteY17" fmla="*/ 169481 h 534787"/>
                <a:gd name="connsiteX18" fmla="*/ 559900 w 625764"/>
                <a:gd name="connsiteY18" fmla="*/ 190373 h 534787"/>
                <a:gd name="connsiteX19" fmla="*/ 569865 w 625764"/>
                <a:gd name="connsiteY19" fmla="*/ 214251 h 534787"/>
                <a:gd name="connsiteX20" fmla="*/ 555914 w 625764"/>
                <a:gd name="connsiteY20" fmla="*/ 225194 h 534787"/>
                <a:gd name="connsiteX21" fmla="*/ 541964 w 625764"/>
                <a:gd name="connsiteY21" fmla="*/ 252056 h 534787"/>
                <a:gd name="connsiteX22" fmla="*/ 523032 w 625764"/>
                <a:gd name="connsiteY22" fmla="*/ 258025 h 534787"/>
                <a:gd name="connsiteX23" fmla="*/ 512071 w 625764"/>
                <a:gd name="connsiteY23" fmla="*/ 277923 h 534787"/>
                <a:gd name="connsiteX24" fmla="*/ 507089 w 625764"/>
                <a:gd name="connsiteY24" fmla="*/ 290856 h 534787"/>
                <a:gd name="connsiteX25" fmla="*/ 509181 w 625764"/>
                <a:gd name="connsiteY25" fmla="*/ 321697 h 534787"/>
                <a:gd name="connsiteX26" fmla="*/ 498121 w 625764"/>
                <a:gd name="connsiteY26" fmla="*/ 333636 h 534787"/>
                <a:gd name="connsiteX27" fmla="*/ 486263 w 625764"/>
                <a:gd name="connsiteY27" fmla="*/ 340600 h 534787"/>
                <a:gd name="connsiteX28" fmla="*/ 468227 w 625764"/>
                <a:gd name="connsiteY28" fmla="*/ 350548 h 534787"/>
                <a:gd name="connsiteX29" fmla="*/ 462249 w 625764"/>
                <a:gd name="connsiteY29" fmla="*/ 367461 h 534787"/>
                <a:gd name="connsiteX30" fmla="*/ 469224 w 625764"/>
                <a:gd name="connsiteY30" fmla="*/ 380395 h 534787"/>
                <a:gd name="connsiteX31" fmla="*/ 458263 w 625764"/>
                <a:gd name="connsiteY31" fmla="*/ 385369 h 534787"/>
                <a:gd name="connsiteX32" fmla="*/ 444313 w 625764"/>
                <a:gd name="connsiteY32" fmla="*/ 390343 h 534787"/>
                <a:gd name="connsiteX33" fmla="*/ 448299 w 625764"/>
                <a:gd name="connsiteY33" fmla="*/ 411236 h 534787"/>
                <a:gd name="connsiteX34" fmla="*/ 452284 w 625764"/>
                <a:gd name="connsiteY34" fmla="*/ 420190 h 534787"/>
                <a:gd name="connsiteX35" fmla="*/ 437338 w 625764"/>
                <a:gd name="connsiteY35" fmla="*/ 423174 h 534787"/>
                <a:gd name="connsiteX36" fmla="*/ 433352 w 625764"/>
                <a:gd name="connsiteY36" fmla="*/ 438097 h 534787"/>
                <a:gd name="connsiteX37" fmla="*/ 439331 w 625764"/>
                <a:gd name="connsiteY37" fmla="*/ 444066 h 534787"/>
                <a:gd name="connsiteX38" fmla="*/ 441423 w 625764"/>
                <a:gd name="connsiteY38" fmla="*/ 476897 h 534787"/>
                <a:gd name="connsiteX39" fmla="*/ 439430 w 625764"/>
                <a:gd name="connsiteY39" fmla="*/ 493810 h 534787"/>
                <a:gd name="connsiteX40" fmla="*/ 446306 w 625764"/>
                <a:gd name="connsiteY40" fmla="*/ 500774 h 534787"/>
                <a:gd name="connsiteX41" fmla="*/ 442320 w 625764"/>
                <a:gd name="connsiteY41" fmla="*/ 515698 h 534787"/>
                <a:gd name="connsiteX42" fmla="*/ 440427 w 625764"/>
                <a:gd name="connsiteY42" fmla="*/ 527636 h 534787"/>
                <a:gd name="connsiteX43" fmla="*/ 435345 w 625764"/>
                <a:gd name="connsiteY43" fmla="*/ 533605 h 534787"/>
                <a:gd name="connsiteX44" fmla="*/ 72640 w 625764"/>
                <a:gd name="connsiteY44" fmla="*/ 532611 h 534787"/>
                <a:gd name="connsiteX45" fmla="*/ 72640 w 625764"/>
                <a:gd name="connsiteY45" fmla="*/ 453021 h 534787"/>
                <a:gd name="connsiteX46" fmla="*/ 54705 w 625764"/>
                <a:gd name="connsiteY46" fmla="*/ 446056 h 534787"/>
                <a:gd name="connsiteX47" fmla="*/ 39758 w 625764"/>
                <a:gd name="connsiteY47" fmla="*/ 451031 h 534787"/>
                <a:gd name="connsiteX48" fmla="*/ 25808 w 625764"/>
                <a:gd name="connsiteY48" fmla="*/ 449041 h 534787"/>
                <a:gd name="connsiteX49" fmla="*/ 17936 w 625764"/>
                <a:gd name="connsiteY49" fmla="*/ 417205 h 534787"/>
                <a:gd name="connsiteX50" fmla="*/ 18833 w 625764"/>
                <a:gd name="connsiteY50" fmla="*/ 382384 h 534787"/>
                <a:gd name="connsiteX51" fmla="*/ 22818 w 625764"/>
                <a:gd name="connsiteY51" fmla="*/ 223205 h 534787"/>
                <a:gd name="connsiteX52" fmla="*/ 0 w 625764"/>
                <a:gd name="connsiteY52" fmla="*/ 353 h 53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625764" h="534787">
                  <a:moveTo>
                    <a:pt x="0" y="353"/>
                  </a:moveTo>
                  <a:cubicBezTo>
                    <a:pt x="134320" y="1248"/>
                    <a:pt x="270534" y="-1538"/>
                    <a:pt x="404555" y="1347"/>
                  </a:cubicBezTo>
                  <a:cubicBezTo>
                    <a:pt x="452384" y="-145"/>
                    <a:pt x="505295" y="-244"/>
                    <a:pt x="553025" y="1347"/>
                  </a:cubicBezTo>
                  <a:cubicBezTo>
                    <a:pt x="561694" y="-742"/>
                    <a:pt x="565181" y="5029"/>
                    <a:pt x="564982" y="13286"/>
                  </a:cubicBezTo>
                  <a:cubicBezTo>
                    <a:pt x="567573" y="15276"/>
                    <a:pt x="575544" y="18260"/>
                    <a:pt x="572953" y="23235"/>
                  </a:cubicBezTo>
                  <a:cubicBezTo>
                    <a:pt x="573910" y="28647"/>
                    <a:pt x="571568" y="34119"/>
                    <a:pt x="566975" y="37163"/>
                  </a:cubicBezTo>
                  <a:cubicBezTo>
                    <a:pt x="564324" y="42635"/>
                    <a:pt x="559691" y="46893"/>
                    <a:pt x="554021" y="49102"/>
                  </a:cubicBezTo>
                  <a:cubicBezTo>
                    <a:pt x="553702" y="54842"/>
                    <a:pt x="549647" y="59687"/>
                    <a:pt x="544057" y="61040"/>
                  </a:cubicBezTo>
                  <a:cubicBezTo>
                    <a:pt x="541665" y="65318"/>
                    <a:pt x="537480" y="74570"/>
                    <a:pt x="535089" y="78948"/>
                  </a:cubicBezTo>
                  <a:cubicBezTo>
                    <a:pt x="552825" y="78450"/>
                    <a:pt x="576341" y="80142"/>
                    <a:pt x="593879" y="77953"/>
                  </a:cubicBezTo>
                  <a:cubicBezTo>
                    <a:pt x="611416" y="75764"/>
                    <a:pt x="616299" y="77057"/>
                    <a:pt x="625765" y="92876"/>
                  </a:cubicBezTo>
                  <a:cubicBezTo>
                    <a:pt x="623473" y="99641"/>
                    <a:pt x="610918" y="92876"/>
                    <a:pt x="615800" y="107799"/>
                  </a:cubicBezTo>
                  <a:cubicBezTo>
                    <a:pt x="609622" y="110187"/>
                    <a:pt x="603873" y="113549"/>
                    <a:pt x="598761" y="117748"/>
                  </a:cubicBezTo>
                  <a:cubicBezTo>
                    <a:pt x="592185" y="114564"/>
                    <a:pt x="588797" y="120633"/>
                    <a:pt x="586804" y="125707"/>
                  </a:cubicBezTo>
                  <a:cubicBezTo>
                    <a:pt x="588897" y="127597"/>
                    <a:pt x="594875" y="133765"/>
                    <a:pt x="596768" y="135655"/>
                  </a:cubicBezTo>
                  <a:cubicBezTo>
                    <a:pt x="582818" y="138242"/>
                    <a:pt x="594576" y="154160"/>
                    <a:pt x="576839" y="147594"/>
                  </a:cubicBezTo>
                  <a:cubicBezTo>
                    <a:pt x="574049" y="154757"/>
                    <a:pt x="581124" y="162418"/>
                    <a:pt x="575843" y="168486"/>
                  </a:cubicBezTo>
                  <a:cubicBezTo>
                    <a:pt x="572854" y="167462"/>
                    <a:pt x="569566" y="167830"/>
                    <a:pt x="566875" y="169481"/>
                  </a:cubicBezTo>
                  <a:cubicBezTo>
                    <a:pt x="572555" y="176644"/>
                    <a:pt x="566875" y="186195"/>
                    <a:pt x="559900" y="190373"/>
                  </a:cubicBezTo>
                  <a:cubicBezTo>
                    <a:pt x="573651" y="192463"/>
                    <a:pt x="567971" y="204501"/>
                    <a:pt x="569865" y="214251"/>
                  </a:cubicBezTo>
                  <a:cubicBezTo>
                    <a:pt x="560896" y="211167"/>
                    <a:pt x="557309" y="216837"/>
                    <a:pt x="555914" y="225194"/>
                  </a:cubicBezTo>
                  <a:cubicBezTo>
                    <a:pt x="521039" y="228179"/>
                    <a:pt x="567772" y="242306"/>
                    <a:pt x="541964" y="252056"/>
                  </a:cubicBezTo>
                  <a:cubicBezTo>
                    <a:pt x="536543" y="256195"/>
                    <a:pt x="529847" y="258304"/>
                    <a:pt x="523032" y="258025"/>
                  </a:cubicBezTo>
                  <a:cubicBezTo>
                    <a:pt x="523630" y="265487"/>
                    <a:pt x="515259" y="271754"/>
                    <a:pt x="512071" y="277923"/>
                  </a:cubicBezTo>
                  <a:cubicBezTo>
                    <a:pt x="512808" y="282807"/>
                    <a:pt x="510915" y="287722"/>
                    <a:pt x="507089" y="290856"/>
                  </a:cubicBezTo>
                  <a:cubicBezTo>
                    <a:pt x="515957" y="299213"/>
                    <a:pt x="504896" y="310753"/>
                    <a:pt x="509181" y="321697"/>
                  </a:cubicBezTo>
                  <a:cubicBezTo>
                    <a:pt x="504498" y="323388"/>
                    <a:pt x="497921" y="327965"/>
                    <a:pt x="498121" y="333636"/>
                  </a:cubicBezTo>
                  <a:cubicBezTo>
                    <a:pt x="489751" y="328562"/>
                    <a:pt x="482975" y="328960"/>
                    <a:pt x="486263" y="340600"/>
                  </a:cubicBezTo>
                  <a:cubicBezTo>
                    <a:pt x="477694" y="340600"/>
                    <a:pt x="476996" y="351742"/>
                    <a:pt x="468227" y="350548"/>
                  </a:cubicBezTo>
                  <a:cubicBezTo>
                    <a:pt x="474605" y="361293"/>
                    <a:pt x="462149" y="359204"/>
                    <a:pt x="462249" y="367461"/>
                  </a:cubicBezTo>
                  <a:cubicBezTo>
                    <a:pt x="466434" y="371043"/>
                    <a:pt x="474405" y="371839"/>
                    <a:pt x="469224" y="380395"/>
                  </a:cubicBezTo>
                  <a:cubicBezTo>
                    <a:pt x="465218" y="381141"/>
                    <a:pt x="461452" y="382842"/>
                    <a:pt x="458263" y="385369"/>
                  </a:cubicBezTo>
                  <a:cubicBezTo>
                    <a:pt x="455274" y="390443"/>
                    <a:pt x="448299" y="385369"/>
                    <a:pt x="444313" y="390343"/>
                  </a:cubicBezTo>
                  <a:cubicBezTo>
                    <a:pt x="461850" y="396412"/>
                    <a:pt x="443815" y="400292"/>
                    <a:pt x="448299" y="411236"/>
                  </a:cubicBezTo>
                  <a:cubicBezTo>
                    <a:pt x="451617" y="412867"/>
                    <a:pt x="453291" y="416638"/>
                    <a:pt x="452284" y="420190"/>
                  </a:cubicBezTo>
                  <a:cubicBezTo>
                    <a:pt x="447302" y="419394"/>
                    <a:pt x="440327" y="417702"/>
                    <a:pt x="437338" y="423174"/>
                  </a:cubicBezTo>
                  <a:cubicBezTo>
                    <a:pt x="451089" y="427452"/>
                    <a:pt x="445011" y="437301"/>
                    <a:pt x="433352" y="438097"/>
                  </a:cubicBezTo>
                  <a:lnTo>
                    <a:pt x="439331" y="444066"/>
                  </a:lnTo>
                  <a:cubicBezTo>
                    <a:pt x="421096" y="450533"/>
                    <a:pt x="432555" y="467048"/>
                    <a:pt x="441423" y="476897"/>
                  </a:cubicBezTo>
                  <a:cubicBezTo>
                    <a:pt x="436541" y="480578"/>
                    <a:pt x="438035" y="488935"/>
                    <a:pt x="439430" y="493810"/>
                  </a:cubicBezTo>
                  <a:cubicBezTo>
                    <a:pt x="443516" y="493810"/>
                    <a:pt x="445907" y="496994"/>
                    <a:pt x="446306" y="500774"/>
                  </a:cubicBezTo>
                  <a:cubicBezTo>
                    <a:pt x="446704" y="504555"/>
                    <a:pt x="443516" y="512017"/>
                    <a:pt x="442320" y="515698"/>
                  </a:cubicBezTo>
                  <a:cubicBezTo>
                    <a:pt x="430064" y="514703"/>
                    <a:pt x="432356" y="522861"/>
                    <a:pt x="440427" y="527636"/>
                  </a:cubicBezTo>
                  <a:lnTo>
                    <a:pt x="435345" y="533605"/>
                  </a:lnTo>
                  <a:cubicBezTo>
                    <a:pt x="316270" y="537386"/>
                    <a:pt x="192612" y="530720"/>
                    <a:pt x="72640" y="532611"/>
                  </a:cubicBezTo>
                  <a:cubicBezTo>
                    <a:pt x="72640" y="507142"/>
                    <a:pt x="72640" y="478390"/>
                    <a:pt x="72640" y="453021"/>
                  </a:cubicBezTo>
                  <a:cubicBezTo>
                    <a:pt x="68555" y="448245"/>
                    <a:pt x="59288" y="450533"/>
                    <a:pt x="54705" y="446056"/>
                  </a:cubicBezTo>
                  <a:cubicBezTo>
                    <a:pt x="52612" y="451827"/>
                    <a:pt x="44740" y="448345"/>
                    <a:pt x="39758" y="451031"/>
                  </a:cubicBezTo>
                  <a:cubicBezTo>
                    <a:pt x="35174" y="449538"/>
                    <a:pt x="30391" y="453816"/>
                    <a:pt x="25808" y="449041"/>
                  </a:cubicBezTo>
                  <a:cubicBezTo>
                    <a:pt x="14947" y="444066"/>
                    <a:pt x="17039" y="426557"/>
                    <a:pt x="17936" y="417205"/>
                  </a:cubicBezTo>
                  <a:cubicBezTo>
                    <a:pt x="17627" y="405595"/>
                    <a:pt x="17936" y="393965"/>
                    <a:pt x="18833" y="382384"/>
                  </a:cubicBezTo>
                  <a:cubicBezTo>
                    <a:pt x="18833" y="330253"/>
                    <a:pt x="20626" y="275237"/>
                    <a:pt x="22818" y="223205"/>
                  </a:cubicBezTo>
                  <a:cubicBezTo>
                    <a:pt x="27800" y="149086"/>
                    <a:pt x="7971" y="73675"/>
                    <a:pt x="0" y="353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96" name="Freeform: Shape 1695">
              <a:extLst>
                <a:ext uri="{FF2B5EF4-FFF2-40B4-BE49-F238E27FC236}">
                  <a16:creationId xmlns:a16="http://schemas.microsoft.com/office/drawing/2014/main" id="{31199510-D351-4C89-A1C5-0DA814516EE9}"/>
                </a:ext>
              </a:extLst>
            </p:cNvPr>
            <p:cNvSpPr/>
            <p:nvPr/>
          </p:nvSpPr>
          <p:spPr>
            <a:xfrm>
              <a:off x="1961624" y="2831049"/>
              <a:ext cx="444512" cy="717690"/>
            </a:xfrm>
            <a:custGeom>
              <a:avLst/>
              <a:gdLst>
                <a:gd name="connsiteX0" fmla="*/ 2092 w 444512"/>
                <a:gd name="connsiteY0" fmla="*/ 559119 h 717690"/>
                <a:gd name="connsiteX1" fmla="*/ 16043 w 444512"/>
                <a:gd name="connsiteY1" fmla="*/ 556135 h 717690"/>
                <a:gd name="connsiteX2" fmla="*/ 16043 w 444512"/>
                <a:gd name="connsiteY2" fmla="*/ 534247 h 717690"/>
                <a:gd name="connsiteX3" fmla="*/ 24911 w 444512"/>
                <a:gd name="connsiteY3" fmla="*/ 518330 h 717690"/>
                <a:gd name="connsiteX4" fmla="*/ 29993 w 444512"/>
                <a:gd name="connsiteY4" fmla="*/ 503406 h 717690"/>
                <a:gd name="connsiteX5" fmla="*/ 39957 w 444512"/>
                <a:gd name="connsiteY5" fmla="*/ 488483 h 717690"/>
                <a:gd name="connsiteX6" fmla="*/ 37068 w 444512"/>
                <a:gd name="connsiteY6" fmla="*/ 474555 h 717690"/>
                <a:gd name="connsiteX7" fmla="*/ 49921 w 444512"/>
                <a:gd name="connsiteY7" fmla="*/ 469580 h 717690"/>
                <a:gd name="connsiteX8" fmla="*/ 57893 w 444512"/>
                <a:gd name="connsiteY8" fmla="*/ 455652 h 717690"/>
                <a:gd name="connsiteX9" fmla="*/ 69850 w 444512"/>
                <a:gd name="connsiteY9" fmla="*/ 447693 h 717690"/>
                <a:gd name="connsiteX10" fmla="*/ 75829 w 444512"/>
                <a:gd name="connsiteY10" fmla="*/ 436750 h 717690"/>
                <a:gd name="connsiteX11" fmla="*/ 65865 w 444512"/>
                <a:gd name="connsiteY11" fmla="*/ 420832 h 717690"/>
                <a:gd name="connsiteX12" fmla="*/ 89779 w 444512"/>
                <a:gd name="connsiteY12" fmla="*/ 400934 h 717690"/>
                <a:gd name="connsiteX13" fmla="*/ 83801 w 444512"/>
                <a:gd name="connsiteY13" fmla="*/ 388001 h 717690"/>
                <a:gd name="connsiteX14" fmla="*/ 72840 w 444512"/>
                <a:gd name="connsiteY14" fmla="*/ 386011 h 717690"/>
                <a:gd name="connsiteX15" fmla="*/ 78819 w 444512"/>
                <a:gd name="connsiteY15" fmla="*/ 374073 h 717690"/>
                <a:gd name="connsiteX16" fmla="*/ 72840 w 444512"/>
                <a:gd name="connsiteY16" fmla="*/ 343232 h 717690"/>
                <a:gd name="connsiteX17" fmla="*/ 70947 w 444512"/>
                <a:gd name="connsiteY17" fmla="*/ 319355 h 717690"/>
                <a:gd name="connsiteX18" fmla="*/ 58890 w 444512"/>
                <a:gd name="connsiteY18" fmla="*/ 301447 h 717690"/>
                <a:gd name="connsiteX19" fmla="*/ 56897 w 444512"/>
                <a:gd name="connsiteY19" fmla="*/ 287519 h 717690"/>
                <a:gd name="connsiteX20" fmla="*/ 70847 w 444512"/>
                <a:gd name="connsiteY20" fmla="*/ 267621 h 717690"/>
                <a:gd name="connsiteX21" fmla="*/ 63872 w 444512"/>
                <a:gd name="connsiteY21" fmla="*/ 260657 h 717690"/>
                <a:gd name="connsiteX22" fmla="*/ 65964 w 444512"/>
                <a:gd name="connsiteY22" fmla="*/ 243744 h 717690"/>
                <a:gd name="connsiteX23" fmla="*/ 63872 w 444512"/>
                <a:gd name="connsiteY23" fmla="*/ 210913 h 717690"/>
                <a:gd name="connsiteX24" fmla="*/ 57893 w 444512"/>
                <a:gd name="connsiteY24" fmla="*/ 204944 h 717690"/>
                <a:gd name="connsiteX25" fmla="*/ 61879 w 444512"/>
                <a:gd name="connsiteY25" fmla="*/ 190021 h 717690"/>
                <a:gd name="connsiteX26" fmla="*/ 76826 w 444512"/>
                <a:gd name="connsiteY26" fmla="*/ 187036 h 717690"/>
                <a:gd name="connsiteX27" fmla="*/ 71943 w 444512"/>
                <a:gd name="connsiteY27" fmla="*/ 170124 h 717690"/>
                <a:gd name="connsiteX28" fmla="*/ 68854 w 444512"/>
                <a:gd name="connsiteY28" fmla="*/ 157190 h 717690"/>
                <a:gd name="connsiteX29" fmla="*/ 82804 w 444512"/>
                <a:gd name="connsiteY29" fmla="*/ 152216 h 717690"/>
                <a:gd name="connsiteX30" fmla="*/ 93765 w 444512"/>
                <a:gd name="connsiteY30" fmla="*/ 147241 h 717690"/>
                <a:gd name="connsiteX31" fmla="*/ 86790 w 444512"/>
                <a:gd name="connsiteY31" fmla="*/ 134308 h 717690"/>
                <a:gd name="connsiteX32" fmla="*/ 92769 w 444512"/>
                <a:gd name="connsiteY32" fmla="*/ 117395 h 717690"/>
                <a:gd name="connsiteX33" fmla="*/ 110704 w 444512"/>
                <a:gd name="connsiteY33" fmla="*/ 107446 h 717690"/>
                <a:gd name="connsiteX34" fmla="*/ 122662 w 444512"/>
                <a:gd name="connsiteY34" fmla="*/ 100482 h 717690"/>
                <a:gd name="connsiteX35" fmla="*/ 133722 w 444512"/>
                <a:gd name="connsiteY35" fmla="*/ 88544 h 717690"/>
                <a:gd name="connsiteX36" fmla="*/ 136612 w 444512"/>
                <a:gd name="connsiteY36" fmla="*/ 65662 h 717690"/>
                <a:gd name="connsiteX37" fmla="*/ 136612 w 444512"/>
                <a:gd name="connsiteY37" fmla="*/ 50739 h 717690"/>
                <a:gd name="connsiteX38" fmla="*/ 142591 w 444512"/>
                <a:gd name="connsiteY38" fmla="*/ 35816 h 717690"/>
                <a:gd name="connsiteX39" fmla="*/ 147473 w 444512"/>
                <a:gd name="connsiteY39" fmla="*/ 24872 h 717690"/>
                <a:gd name="connsiteX40" fmla="*/ 166405 w 444512"/>
                <a:gd name="connsiteY40" fmla="*/ 18903 h 717690"/>
                <a:gd name="connsiteX41" fmla="*/ 166405 w 444512"/>
                <a:gd name="connsiteY41" fmla="*/ 0 h 717690"/>
                <a:gd name="connsiteX42" fmla="*/ 397580 w 444512"/>
                <a:gd name="connsiteY42" fmla="*/ 0 h 717690"/>
                <a:gd name="connsiteX43" fmla="*/ 432455 w 444512"/>
                <a:gd name="connsiteY43" fmla="*/ 0 h 717690"/>
                <a:gd name="connsiteX44" fmla="*/ 444512 w 444512"/>
                <a:gd name="connsiteY44" fmla="*/ 15918 h 717690"/>
                <a:gd name="connsiteX45" fmla="*/ 439430 w 444512"/>
                <a:gd name="connsiteY45" fmla="*/ 63672 h 717690"/>
                <a:gd name="connsiteX46" fmla="*/ 422491 w 444512"/>
                <a:gd name="connsiteY46" fmla="*/ 221857 h 717690"/>
                <a:gd name="connsiteX47" fmla="*/ 398576 w 444512"/>
                <a:gd name="connsiteY47" fmla="*/ 466596 h 717690"/>
                <a:gd name="connsiteX48" fmla="*/ 406548 w 444512"/>
                <a:gd name="connsiteY48" fmla="*/ 665571 h 717690"/>
                <a:gd name="connsiteX49" fmla="*/ 400668 w 444512"/>
                <a:gd name="connsiteY49" fmla="*/ 693427 h 717690"/>
                <a:gd name="connsiteX50" fmla="*/ 391601 w 444512"/>
                <a:gd name="connsiteY50" fmla="*/ 694422 h 717690"/>
                <a:gd name="connsiteX51" fmla="*/ 379743 w 444512"/>
                <a:gd name="connsiteY51" fmla="*/ 692433 h 717690"/>
                <a:gd name="connsiteX52" fmla="*/ 368683 w 444512"/>
                <a:gd name="connsiteY52" fmla="*/ 694422 h 717690"/>
                <a:gd name="connsiteX53" fmla="*/ 356726 w 444512"/>
                <a:gd name="connsiteY53" fmla="*/ 692433 h 717690"/>
                <a:gd name="connsiteX54" fmla="*/ 320854 w 444512"/>
                <a:gd name="connsiteY54" fmla="*/ 690443 h 717690"/>
                <a:gd name="connsiteX55" fmla="*/ 287971 w 444512"/>
                <a:gd name="connsiteY55" fmla="*/ 701386 h 717690"/>
                <a:gd name="connsiteX56" fmla="*/ 255089 w 444512"/>
                <a:gd name="connsiteY56" fmla="*/ 712330 h 717690"/>
                <a:gd name="connsiteX57" fmla="*/ 242135 w 444512"/>
                <a:gd name="connsiteY57" fmla="*/ 674525 h 717690"/>
                <a:gd name="connsiteX58" fmla="*/ 226292 w 444512"/>
                <a:gd name="connsiteY58" fmla="*/ 638709 h 717690"/>
                <a:gd name="connsiteX59" fmla="*/ 240142 w 444512"/>
                <a:gd name="connsiteY59" fmla="*/ 597920 h 717690"/>
                <a:gd name="connsiteX60" fmla="*/ 0 w 444512"/>
                <a:gd name="connsiteY60" fmla="*/ 598914 h 717690"/>
                <a:gd name="connsiteX61" fmla="*/ 1993 w 444512"/>
                <a:gd name="connsiteY61" fmla="*/ 578022 h 717690"/>
                <a:gd name="connsiteX62" fmla="*/ 2092 w 444512"/>
                <a:gd name="connsiteY62" fmla="*/ 559119 h 717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44512" h="717690">
                  <a:moveTo>
                    <a:pt x="2092" y="559119"/>
                  </a:moveTo>
                  <a:cubicBezTo>
                    <a:pt x="6955" y="560472"/>
                    <a:pt x="12166" y="559358"/>
                    <a:pt x="16043" y="556135"/>
                  </a:cubicBezTo>
                  <a:cubicBezTo>
                    <a:pt x="11409" y="549568"/>
                    <a:pt x="11409" y="540814"/>
                    <a:pt x="16043" y="534247"/>
                  </a:cubicBezTo>
                  <a:cubicBezTo>
                    <a:pt x="13850" y="526786"/>
                    <a:pt x="16043" y="518628"/>
                    <a:pt x="24911" y="518330"/>
                  </a:cubicBezTo>
                  <a:cubicBezTo>
                    <a:pt x="19829" y="511365"/>
                    <a:pt x="21722" y="505595"/>
                    <a:pt x="29993" y="503406"/>
                  </a:cubicBezTo>
                  <a:cubicBezTo>
                    <a:pt x="30690" y="496940"/>
                    <a:pt x="30989" y="487687"/>
                    <a:pt x="39957" y="488483"/>
                  </a:cubicBezTo>
                  <a:cubicBezTo>
                    <a:pt x="37267" y="484802"/>
                    <a:pt x="33680" y="479032"/>
                    <a:pt x="37068" y="474555"/>
                  </a:cubicBezTo>
                  <a:cubicBezTo>
                    <a:pt x="41990" y="476256"/>
                    <a:pt x="47430" y="474157"/>
                    <a:pt x="49921" y="469580"/>
                  </a:cubicBezTo>
                  <a:cubicBezTo>
                    <a:pt x="53708" y="466696"/>
                    <a:pt x="58690" y="460726"/>
                    <a:pt x="57893" y="455652"/>
                  </a:cubicBezTo>
                  <a:cubicBezTo>
                    <a:pt x="62855" y="454886"/>
                    <a:pt x="67240" y="451981"/>
                    <a:pt x="69850" y="447693"/>
                  </a:cubicBezTo>
                  <a:cubicBezTo>
                    <a:pt x="68356" y="444211"/>
                    <a:pt x="73936" y="438938"/>
                    <a:pt x="75829" y="436750"/>
                  </a:cubicBezTo>
                  <a:cubicBezTo>
                    <a:pt x="75829" y="436750"/>
                    <a:pt x="65865" y="421329"/>
                    <a:pt x="65865" y="420832"/>
                  </a:cubicBezTo>
                  <a:cubicBezTo>
                    <a:pt x="80711" y="423020"/>
                    <a:pt x="85793" y="413868"/>
                    <a:pt x="89779" y="400934"/>
                  </a:cubicBezTo>
                  <a:cubicBezTo>
                    <a:pt x="80313" y="400934"/>
                    <a:pt x="82306" y="394866"/>
                    <a:pt x="83801" y="388001"/>
                  </a:cubicBezTo>
                  <a:lnTo>
                    <a:pt x="72840" y="386011"/>
                  </a:lnTo>
                  <a:cubicBezTo>
                    <a:pt x="72840" y="380042"/>
                    <a:pt x="69751" y="372879"/>
                    <a:pt x="78819" y="374073"/>
                  </a:cubicBezTo>
                  <a:cubicBezTo>
                    <a:pt x="73139" y="365517"/>
                    <a:pt x="61779" y="351987"/>
                    <a:pt x="72840" y="343232"/>
                  </a:cubicBezTo>
                  <a:cubicBezTo>
                    <a:pt x="55601" y="340744"/>
                    <a:pt x="57096" y="326319"/>
                    <a:pt x="70947" y="319355"/>
                  </a:cubicBezTo>
                  <a:cubicBezTo>
                    <a:pt x="73637" y="310401"/>
                    <a:pt x="63772" y="307018"/>
                    <a:pt x="58890" y="301447"/>
                  </a:cubicBezTo>
                  <a:cubicBezTo>
                    <a:pt x="66861" y="294881"/>
                    <a:pt x="63672" y="292692"/>
                    <a:pt x="56897" y="287519"/>
                  </a:cubicBezTo>
                  <a:cubicBezTo>
                    <a:pt x="66363" y="276078"/>
                    <a:pt x="66861" y="290205"/>
                    <a:pt x="70847" y="267621"/>
                  </a:cubicBezTo>
                  <a:cubicBezTo>
                    <a:pt x="70249" y="263841"/>
                    <a:pt x="68256" y="260358"/>
                    <a:pt x="63872" y="260657"/>
                  </a:cubicBezTo>
                  <a:cubicBezTo>
                    <a:pt x="62477" y="255782"/>
                    <a:pt x="61181" y="247425"/>
                    <a:pt x="65964" y="243744"/>
                  </a:cubicBezTo>
                  <a:cubicBezTo>
                    <a:pt x="57096" y="233795"/>
                    <a:pt x="46036" y="217281"/>
                    <a:pt x="63872" y="210913"/>
                  </a:cubicBezTo>
                  <a:lnTo>
                    <a:pt x="57893" y="204944"/>
                  </a:lnTo>
                  <a:cubicBezTo>
                    <a:pt x="69551" y="204148"/>
                    <a:pt x="75630" y="194299"/>
                    <a:pt x="61879" y="190021"/>
                  </a:cubicBezTo>
                  <a:cubicBezTo>
                    <a:pt x="64868" y="184549"/>
                    <a:pt x="71843" y="186240"/>
                    <a:pt x="76826" y="187036"/>
                  </a:cubicBezTo>
                  <a:cubicBezTo>
                    <a:pt x="78220" y="180271"/>
                    <a:pt x="70847" y="177585"/>
                    <a:pt x="71943" y="170124"/>
                  </a:cubicBezTo>
                  <a:cubicBezTo>
                    <a:pt x="80014" y="166144"/>
                    <a:pt x="76527" y="158583"/>
                    <a:pt x="68854" y="157190"/>
                  </a:cubicBezTo>
                  <a:cubicBezTo>
                    <a:pt x="72840" y="152514"/>
                    <a:pt x="79815" y="157190"/>
                    <a:pt x="82804" y="152216"/>
                  </a:cubicBezTo>
                  <a:cubicBezTo>
                    <a:pt x="85983" y="149669"/>
                    <a:pt x="89749" y="147968"/>
                    <a:pt x="93765" y="147241"/>
                  </a:cubicBezTo>
                  <a:cubicBezTo>
                    <a:pt x="98947" y="138686"/>
                    <a:pt x="90975" y="137889"/>
                    <a:pt x="86790" y="134308"/>
                  </a:cubicBezTo>
                  <a:cubicBezTo>
                    <a:pt x="86790" y="126150"/>
                    <a:pt x="99146" y="128140"/>
                    <a:pt x="92769" y="117395"/>
                  </a:cubicBezTo>
                  <a:cubicBezTo>
                    <a:pt x="101537" y="118589"/>
                    <a:pt x="102235" y="107446"/>
                    <a:pt x="110704" y="107446"/>
                  </a:cubicBezTo>
                  <a:cubicBezTo>
                    <a:pt x="107516" y="95806"/>
                    <a:pt x="114391" y="95408"/>
                    <a:pt x="122662" y="100482"/>
                  </a:cubicBezTo>
                  <a:cubicBezTo>
                    <a:pt x="122662" y="94613"/>
                    <a:pt x="128939" y="90534"/>
                    <a:pt x="133722" y="88544"/>
                  </a:cubicBezTo>
                  <a:cubicBezTo>
                    <a:pt x="131859" y="80824"/>
                    <a:pt x="132885" y="72686"/>
                    <a:pt x="136612" y="65662"/>
                  </a:cubicBezTo>
                  <a:cubicBezTo>
                    <a:pt x="131630" y="59692"/>
                    <a:pt x="131829" y="56608"/>
                    <a:pt x="136612" y="50739"/>
                  </a:cubicBezTo>
                  <a:cubicBezTo>
                    <a:pt x="135018" y="46262"/>
                    <a:pt x="140000" y="39098"/>
                    <a:pt x="142591" y="35816"/>
                  </a:cubicBezTo>
                  <a:cubicBezTo>
                    <a:pt x="145859" y="33149"/>
                    <a:pt x="147672" y="29090"/>
                    <a:pt x="147473" y="24872"/>
                  </a:cubicBezTo>
                  <a:cubicBezTo>
                    <a:pt x="154279" y="25091"/>
                    <a:pt x="160965" y="22992"/>
                    <a:pt x="166405" y="18903"/>
                  </a:cubicBezTo>
                  <a:cubicBezTo>
                    <a:pt x="179459" y="13530"/>
                    <a:pt x="175074" y="6964"/>
                    <a:pt x="166405" y="0"/>
                  </a:cubicBezTo>
                  <a:cubicBezTo>
                    <a:pt x="241537" y="0"/>
                    <a:pt x="322747" y="0"/>
                    <a:pt x="397580" y="0"/>
                  </a:cubicBezTo>
                  <a:cubicBezTo>
                    <a:pt x="408043" y="0"/>
                    <a:pt x="422092" y="0"/>
                    <a:pt x="432455" y="0"/>
                  </a:cubicBezTo>
                  <a:cubicBezTo>
                    <a:pt x="434309" y="6646"/>
                    <a:pt x="438613" y="12336"/>
                    <a:pt x="444512" y="15918"/>
                  </a:cubicBezTo>
                  <a:cubicBezTo>
                    <a:pt x="443416" y="22982"/>
                    <a:pt x="440726" y="58299"/>
                    <a:pt x="439430" y="63672"/>
                  </a:cubicBezTo>
                  <a:cubicBezTo>
                    <a:pt x="434348" y="114013"/>
                    <a:pt x="428071" y="171516"/>
                    <a:pt x="422491" y="221857"/>
                  </a:cubicBezTo>
                  <a:cubicBezTo>
                    <a:pt x="414918" y="302342"/>
                    <a:pt x="405850" y="386111"/>
                    <a:pt x="398576" y="466596"/>
                  </a:cubicBezTo>
                  <a:cubicBezTo>
                    <a:pt x="398576" y="531163"/>
                    <a:pt x="404555" y="600904"/>
                    <a:pt x="406548" y="665571"/>
                  </a:cubicBezTo>
                  <a:cubicBezTo>
                    <a:pt x="404854" y="668953"/>
                    <a:pt x="413224" y="700789"/>
                    <a:pt x="400668" y="693427"/>
                  </a:cubicBezTo>
                  <a:cubicBezTo>
                    <a:pt x="398477" y="697705"/>
                    <a:pt x="395288" y="697009"/>
                    <a:pt x="391601" y="694422"/>
                  </a:cubicBezTo>
                  <a:cubicBezTo>
                    <a:pt x="387516" y="694920"/>
                    <a:pt x="381637" y="697805"/>
                    <a:pt x="379743" y="692433"/>
                  </a:cubicBezTo>
                  <a:cubicBezTo>
                    <a:pt x="375967" y="691010"/>
                    <a:pt x="371722" y="691776"/>
                    <a:pt x="368683" y="694422"/>
                  </a:cubicBezTo>
                  <a:cubicBezTo>
                    <a:pt x="365893" y="694422"/>
                    <a:pt x="359715" y="692631"/>
                    <a:pt x="356726" y="692433"/>
                  </a:cubicBezTo>
                  <a:cubicBezTo>
                    <a:pt x="345566" y="686812"/>
                    <a:pt x="332562" y="686085"/>
                    <a:pt x="320854" y="690443"/>
                  </a:cubicBezTo>
                  <a:cubicBezTo>
                    <a:pt x="310361" y="695357"/>
                    <a:pt x="299321" y="699039"/>
                    <a:pt x="287971" y="701386"/>
                  </a:cubicBezTo>
                  <a:cubicBezTo>
                    <a:pt x="275017" y="708251"/>
                    <a:pt x="271928" y="726756"/>
                    <a:pt x="255089" y="712330"/>
                  </a:cubicBezTo>
                  <a:cubicBezTo>
                    <a:pt x="251960" y="699357"/>
                    <a:pt x="247625" y="686692"/>
                    <a:pt x="242135" y="674525"/>
                  </a:cubicBezTo>
                  <a:cubicBezTo>
                    <a:pt x="232001" y="665372"/>
                    <a:pt x="226242" y="652349"/>
                    <a:pt x="226292" y="638709"/>
                  </a:cubicBezTo>
                  <a:cubicBezTo>
                    <a:pt x="232480" y="625696"/>
                    <a:pt x="237123" y="612007"/>
                    <a:pt x="240142" y="597920"/>
                  </a:cubicBezTo>
                  <a:cubicBezTo>
                    <a:pt x="161722" y="599113"/>
                    <a:pt x="78619" y="599014"/>
                    <a:pt x="0" y="598914"/>
                  </a:cubicBezTo>
                  <a:cubicBezTo>
                    <a:pt x="12456" y="590160"/>
                    <a:pt x="6676" y="589563"/>
                    <a:pt x="1993" y="578022"/>
                  </a:cubicBezTo>
                  <a:cubicBezTo>
                    <a:pt x="12057" y="566083"/>
                    <a:pt x="-5580" y="568372"/>
                    <a:pt x="2092" y="559119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97" name="Freeform: Shape 1696">
              <a:extLst>
                <a:ext uri="{FF2B5EF4-FFF2-40B4-BE49-F238E27FC236}">
                  <a16:creationId xmlns:a16="http://schemas.microsoft.com/office/drawing/2014/main" id="{EDAAEF71-F345-43CC-AD2E-C2E4B77BE763}"/>
                </a:ext>
              </a:extLst>
            </p:cNvPr>
            <p:cNvSpPr/>
            <p:nvPr/>
          </p:nvSpPr>
          <p:spPr>
            <a:xfrm>
              <a:off x="-229448" y="1873383"/>
              <a:ext cx="882018" cy="647663"/>
            </a:xfrm>
            <a:custGeom>
              <a:avLst/>
              <a:gdLst>
                <a:gd name="connsiteX0" fmla="*/ 0 w 882018"/>
                <a:gd name="connsiteY0" fmla="*/ 408893 h 647663"/>
                <a:gd name="connsiteX1" fmla="*/ 997 w 882018"/>
                <a:gd name="connsiteY1" fmla="*/ 0 h 647663"/>
                <a:gd name="connsiteX2" fmla="*/ 880854 w 882018"/>
                <a:gd name="connsiteY2" fmla="*/ 0 h 647663"/>
                <a:gd name="connsiteX3" fmla="*/ 881850 w 882018"/>
                <a:gd name="connsiteY3" fmla="*/ 647663 h 647663"/>
                <a:gd name="connsiteX4" fmla="*/ 997 w 882018"/>
                <a:gd name="connsiteY4" fmla="*/ 646668 h 647663"/>
                <a:gd name="connsiteX5" fmla="*/ 0 w 882018"/>
                <a:gd name="connsiteY5" fmla="*/ 408893 h 647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2018" h="647663">
                  <a:moveTo>
                    <a:pt x="0" y="408893"/>
                  </a:moveTo>
                  <a:cubicBezTo>
                    <a:pt x="1794" y="275481"/>
                    <a:pt x="797" y="133114"/>
                    <a:pt x="997" y="0"/>
                  </a:cubicBezTo>
                  <a:cubicBezTo>
                    <a:pt x="292555" y="597"/>
                    <a:pt x="588897" y="0"/>
                    <a:pt x="880854" y="0"/>
                  </a:cubicBezTo>
                  <a:cubicBezTo>
                    <a:pt x="880854" y="215092"/>
                    <a:pt x="882548" y="432571"/>
                    <a:pt x="881850" y="647663"/>
                  </a:cubicBezTo>
                  <a:cubicBezTo>
                    <a:pt x="588100" y="647663"/>
                    <a:pt x="293950" y="647663"/>
                    <a:pt x="997" y="646668"/>
                  </a:cubicBezTo>
                  <a:cubicBezTo>
                    <a:pt x="2790" y="571356"/>
                    <a:pt x="2192" y="482912"/>
                    <a:pt x="0" y="408893"/>
                  </a:cubicBez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98" name="Freeform: Shape 1697">
              <a:extLst>
                <a:ext uri="{FF2B5EF4-FFF2-40B4-BE49-F238E27FC236}">
                  <a16:creationId xmlns:a16="http://schemas.microsoft.com/office/drawing/2014/main" id="{D4321F72-B0F7-49A1-98A9-B63B5ED941D6}"/>
                </a:ext>
              </a:extLst>
            </p:cNvPr>
            <p:cNvSpPr/>
            <p:nvPr/>
          </p:nvSpPr>
          <p:spPr>
            <a:xfrm>
              <a:off x="2881638" y="2585092"/>
              <a:ext cx="1114054" cy="419890"/>
            </a:xfrm>
            <a:custGeom>
              <a:avLst/>
              <a:gdLst>
                <a:gd name="connsiteX0" fmla="*/ 4783 w 1114054"/>
                <a:gd name="connsiteY0" fmla="*/ 214520 h 419890"/>
                <a:gd name="connsiteX1" fmla="*/ 10751 w 1114054"/>
                <a:gd name="connsiteY1" fmla="*/ 205984 h 419890"/>
                <a:gd name="connsiteX2" fmla="*/ 17736 w 1114054"/>
                <a:gd name="connsiteY2" fmla="*/ 208550 h 419890"/>
                <a:gd name="connsiteX3" fmla="*/ 37665 w 1114054"/>
                <a:gd name="connsiteY3" fmla="*/ 200592 h 419890"/>
                <a:gd name="connsiteX4" fmla="*/ 39758 w 1114054"/>
                <a:gd name="connsiteY4" fmla="*/ 188653 h 419890"/>
                <a:gd name="connsiteX5" fmla="*/ 50718 w 1114054"/>
                <a:gd name="connsiteY5" fmla="*/ 172735 h 419890"/>
                <a:gd name="connsiteX6" fmla="*/ 103530 w 1114054"/>
                <a:gd name="connsiteY6" fmla="*/ 158807 h 419890"/>
                <a:gd name="connsiteX7" fmla="*/ 113494 w 1114054"/>
                <a:gd name="connsiteY7" fmla="*/ 151843 h 419890"/>
                <a:gd name="connsiteX8" fmla="*/ 128441 w 1114054"/>
                <a:gd name="connsiteY8" fmla="*/ 144879 h 419890"/>
                <a:gd name="connsiteX9" fmla="*/ 141395 w 1114054"/>
                <a:gd name="connsiteY9" fmla="*/ 133935 h 419890"/>
                <a:gd name="connsiteX10" fmla="*/ 169295 w 1114054"/>
                <a:gd name="connsiteY10" fmla="*/ 124981 h 419890"/>
                <a:gd name="connsiteX11" fmla="*/ 179260 w 1114054"/>
                <a:gd name="connsiteY11" fmla="*/ 111053 h 419890"/>
                <a:gd name="connsiteX12" fmla="*/ 183345 w 1114054"/>
                <a:gd name="connsiteY12" fmla="*/ 100109 h 419890"/>
                <a:gd name="connsiteX13" fmla="*/ 194206 w 1114054"/>
                <a:gd name="connsiteY13" fmla="*/ 93145 h 419890"/>
                <a:gd name="connsiteX14" fmla="*/ 213138 w 1114054"/>
                <a:gd name="connsiteY14" fmla="*/ 82202 h 419890"/>
                <a:gd name="connsiteX15" fmla="*/ 215131 w 1114054"/>
                <a:gd name="connsiteY15" fmla="*/ 95135 h 419890"/>
                <a:gd name="connsiteX16" fmla="*/ 233067 w 1114054"/>
                <a:gd name="connsiteY16" fmla="*/ 90160 h 419890"/>
                <a:gd name="connsiteX17" fmla="*/ 265053 w 1114054"/>
                <a:gd name="connsiteY17" fmla="*/ 67278 h 419890"/>
                <a:gd name="connsiteX18" fmla="*/ 273921 w 1114054"/>
                <a:gd name="connsiteY18" fmla="*/ 70263 h 419890"/>
                <a:gd name="connsiteX19" fmla="*/ 281893 w 1114054"/>
                <a:gd name="connsiteY19" fmla="*/ 75237 h 419890"/>
                <a:gd name="connsiteX20" fmla="*/ 328726 w 1114054"/>
                <a:gd name="connsiteY20" fmla="*/ 38427 h 419890"/>
                <a:gd name="connsiteX21" fmla="*/ 330818 w 1114054"/>
                <a:gd name="connsiteY21" fmla="*/ 18529 h 419890"/>
                <a:gd name="connsiteX22" fmla="*/ 373566 w 1114054"/>
                <a:gd name="connsiteY22" fmla="*/ 1617 h 419890"/>
                <a:gd name="connsiteX23" fmla="*/ 488156 w 1114054"/>
                <a:gd name="connsiteY23" fmla="*/ 5596 h 419890"/>
                <a:gd name="connsiteX24" fmla="*/ 789082 w 1114054"/>
                <a:gd name="connsiteY24" fmla="*/ 6591 h 419890"/>
                <a:gd name="connsiteX25" fmla="*/ 1043174 w 1114054"/>
                <a:gd name="connsiteY25" fmla="*/ 5596 h 419890"/>
                <a:gd name="connsiteX26" fmla="*/ 1067088 w 1114054"/>
                <a:gd name="connsiteY26" fmla="*/ 23504 h 419890"/>
                <a:gd name="connsiteX27" fmla="*/ 1090006 w 1114054"/>
                <a:gd name="connsiteY27" fmla="*/ 88171 h 419890"/>
                <a:gd name="connsiteX28" fmla="*/ 1110932 w 1114054"/>
                <a:gd name="connsiteY28" fmla="*/ 185668 h 419890"/>
                <a:gd name="connsiteX29" fmla="*/ 1091999 w 1114054"/>
                <a:gd name="connsiteY29" fmla="*/ 211535 h 419890"/>
                <a:gd name="connsiteX30" fmla="*/ 979401 w 1114054"/>
                <a:gd name="connsiteY30" fmla="*/ 309033 h 419890"/>
                <a:gd name="connsiteX31" fmla="*/ 880754 w 1114054"/>
                <a:gd name="connsiteY31" fmla="*/ 316992 h 419890"/>
                <a:gd name="connsiteX32" fmla="*/ 808113 w 1114054"/>
                <a:gd name="connsiteY32" fmla="*/ 396582 h 419890"/>
                <a:gd name="connsiteX33" fmla="*/ 778220 w 1114054"/>
                <a:gd name="connsiteY33" fmla="*/ 411505 h 419890"/>
                <a:gd name="connsiteX34" fmla="*/ 747331 w 1114054"/>
                <a:gd name="connsiteY34" fmla="*/ 412500 h 419890"/>
                <a:gd name="connsiteX35" fmla="*/ 713451 w 1114054"/>
                <a:gd name="connsiteY35" fmla="*/ 406530 h 419890"/>
                <a:gd name="connsiteX36" fmla="*/ 584910 w 1114054"/>
                <a:gd name="connsiteY36" fmla="*/ 275207 h 419890"/>
                <a:gd name="connsiteX37" fmla="*/ 443416 w 1114054"/>
                <a:gd name="connsiteY37" fmla="*/ 273217 h 419890"/>
                <a:gd name="connsiteX38" fmla="*/ 426477 w 1114054"/>
                <a:gd name="connsiteY38" fmla="*/ 229443 h 419890"/>
                <a:gd name="connsiteX39" fmla="*/ 412526 w 1114054"/>
                <a:gd name="connsiteY39" fmla="*/ 239392 h 419890"/>
                <a:gd name="connsiteX40" fmla="*/ 412526 w 1114054"/>
                <a:gd name="connsiteY40" fmla="*/ 223474 h 419890"/>
                <a:gd name="connsiteX41" fmla="*/ 376655 w 1114054"/>
                <a:gd name="connsiteY41" fmla="*/ 220489 h 419890"/>
                <a:gd name="connsiteX42" fmla="*/ 248113 w 1114054"/>
                <a:gd name="connsiteY42" fmla="*/ 215515 h 419890"/>
                <a:gd name="connsiteX43" fmla="*/ 206263 w 1114054"/>
                <a:gd name="connsiteY43" fmla="*/ 226458 h 419890"/>
                <a:gd name="connsiteX44" fmla="*/ 193409 w 1114054"/>
                <a:gd name="connsiteY44" fmla="*/ 232427 h 419890"/>
                <a:gd name="connsiteX45" fmla="*/ 165409 w 1114054"/>
                <a:gd name="connsiteY45" fmla="*/ 241381 h 419890"/>
                <a:gd name="connsiteX46" fmla="*/ 0 w 1114054"/>
                <a:gd name="connsiteY46" fmla="*/ 247350 h 419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114054" h="419890">
                  <a:moveTo>
                    <a:pt x="4783" y="214520"/>
                  </a:moveTo>
                  <a:cubicBezTo>
                    <a:pt x="4065" y="210520"/>
                    <a:pt x="6736" y="206690"/>
                    <a:pt x="10751" y="205984"/>
                  </a:cubicBezTo>
                  <a:cubicBezTo>
                    <a:pt x="13372" y="205516"/>
                    <a:pt x="16043" y="206491"/>
                    <a:pt x="17736" y="208550"/>
                  </a:cubicBezTo>
                  <a:cubicBezTo>
                    <a:pt x="24811" y="209844"/>
                    <a:pt x="32583" y="203576"/>
                    <a:pt x="37665" y="200592"/>
                  </a:cubicBezTo>
                  <a:cubicBezTo>
                    <a:pt x="36769" y="196214"/>
                    <a:pt x="34576" y="191240"/>
                    <a:pt x="39758" y="188653"/>
                  </a:cubicBezTo>
                  <a:cubicBezTo>
                    <a:pt x="34576" y="180495"/>
                    <a:pt x="44441" y="175521"/>
                    <a:pt x="50718" y="172735"/>
                  </a:cubicBezTo>
                  <a:cubicBezTo>
                    <a:pt x="66163" y="155623"/>
                    <a:pt x="82405" y="158409"/>
                    <a:pt x="103530" y="158807"/>
                  </a:cubicBezTo>
                  <a:cubicBezTo>
                    <a:pt x="105722" y="156519"/>
                    <a:pt x="109907" y="151644"/>
                    <a:pt x="113494" y="151843"/>
                  </a:cubicBezTo>
                  <a:cubicBezTo>
                    <a:pt x="117181" y="148659"/>
                    <a:pt x="123459" y="141894"/>
                    <a:pt x="128441" y="144879"/>
                  </a:cubicBezTo>
                  <a:cubicBezTo>
                    <a:pt x="130315" y="139059"/>
                    <a:pt x="135336" y="134820"/>
                    <a:pt x="141395" y="133935"/>
                  </a:cubicBezTo>
                  <a:cubicBezTo>
                    <a:pt x="148250" y="125926"/>
                    <a:pt x="159052" y="122454"/>
                    <a:pt x="169295" y="124981"/>
                  </a:cubicBezTo>
                  <a:cubicBezTo>
                    <a:pt x="171487" y="120902"/>
                    <a:pt x="176868" y="115032"/>
                    <a:pt x="179260" y="111053"/>
                  </a:cubicBezTo>
                  <a:cubicBezTo>
                    <a:pt x="177366" y="105780"/>
                    <a:pt x="176669" y="101601"/>
                    <a:pt x="183345" y="100109"/>
                  </a:cubicBezTo>
                  <a:cubicBezTo>
                    <a:pt x="189622" y="105482"/>
                    <a:pt x="194206" y="100109"/>
                    <a:pt x="194206" y="93145"/>
                  </a:cubicBezTo>
                  <a:cubicBezTo>
                    <a:pt x="198591" y="90658"/>
                    <a:pt x="208854" y="84788"/>
                    <a:pt x="213138" y="82202"/>
                  </a:cubicBezTo>
                  <a:cubicBezTo>
                    <a:pt x="216945" y="85405"/>
                    <a:pt x="217802" y="90936"/>
                    <a:pt x="215131" y="95135"/>
                  </a:cubicBezTo>
                  <a:cubicBezTo>
                    <a:pt x="222106" y="102198"/>
                    <a:pt x="227188" y="95135"/>
                    <a:pt x="233067" y="90160"/>
                  </a:cubicBezTo>
                  <a:cubicBezTo>
                    <a:pt x="240341" y="72253"/>
                    <a:pt x="251103" y="74342"/>
                    <a:pt x="265053" y="67278"/>
                  </a:cubicBezTo>
                  <a:lnTo>
                    <a:pt x="273921" y="70263"/>
                  </a:lnTo>
                  <a:cubicBezTo>
                    <a:pt x="273921" y="74839"/>
                    <a:pt x="278007" y="75834"/>
                    <a:pt x="281893" y="75237"/>
                  </a:cubicBezTo>
                  <a:cubicBezTo>
                    <a:pt x="301822" y="63697"/>
                    <a:pt x="295644" y="31264"/>
                    <a:pt x="328726" y="38427"/>
                  </a:cubicBezTo>
                  <a:cubicBezTo>
                    <a:pt x="325517" y="31950"/>
                    <a:pt x="326324" y="24200"/>
                    <a:pt x="330818" y="18529"/>
                  </a:cubicBezTo>
                  <a:cubicBezTo>
                    <a:pt x="322348" y="-11814"/>
                    <a:pt x="356526" y="5099"/>
                    <a:pt x="373566" y="1617"/>
                  </a:cubicBezTo>
                  <a:cubicBezTo>
                    <a:pt x="410932" y="4203"/>
                    <a:pt x="450889" y="2910"/>
                    <a:pt x="488156" y="5596"/>
                  </a:cubicBezTo>
                  <a:cubicBezTo>
                    <a:pt x="587800" y="8680"/>
                    <a:pt x="689338" y="7387"/>
                    <a:pt x="789082" y="6591"/>
                  </a:cubicBezTo>
                  <a:cubicBezTo>
                    <a:pt x="872484" y="7188"/>
                    <a:pt x="959971" y="5397"/>
                    <a:pt x="1043174" y="5596"/>
                  </a:cubicBezTo>
                  <a:cubicBezTo>
                    <a:pt x="1059814" y="4502"/>
                    <a:pt x="1065594" y="3905"/>
                    <a:pt x="1067088" y="23504"/>
                  </a:cubicBezTo>
                  <a:cubicBezTo>
                    <a:pt x="1070755" y="46267"/>
                    <a:pt x="1078518" y="68174"/>
                    <a:pt x="1090006" y="88171"/>
                  </a:cubicBezTo>
                  <a:cubicBezTo>
                    <a:pt x="1104056" y="118017"/>
                    <a:pt x="1121195" y="152241"/>
                    <a:pt x="1110932" y="185668"/>
                  </a:cubicBezTo>
                  <a:cubicBezTo>
                    <a:pt x="1106647" y="195617"/>
                    <a:pt x="1110932" y="217007"/>
                    <a:pt x="1091999" y="211535"/>
                  </a:cubicBezTo>
                  <a:cubicBezTo>
                    <a:pt x="1043841" y="229284"/>
                    <a:pt x="1003814" y="263945"/>
                    <a:pt x="979401" y="309033"/>
                  </a:cubicBezTo>
                  <a:cubicBezTo>
                    <a:pt x="963658" y="275605"/>
                    <a:pt x="902277" y="299084"/>
                    <a:pt x="880754" y="316992"/>
                  </a:cubicBezTo>
                  <a:cubicBezTo>
                    <a:pt x="848071" y="332910"/>
                    <a:pt x="817679" y="360468"/>
                    <a:pt x="808113" y="396582"/>
                  </a:cubicBezTo>
                  <a:cubicBezTo>
                    <a:pt x="795060" y="430805"/>
                    <a:pt x="808113" y="419464"/>
                    <a:pt x="778220" y="411505"/>
                  </a:cubicBezTo>
                  <a:cubicBezTo>
                    <a:pt x="767917" y="411286"/>
                    <a:pt x="757603" y="411624"/>
                    <a:pt x="747331" y="412500"/>
                  </a:cubicBezTo>
                  <a:cubicBezTo>
                    <a:pt x="730092" y="420558"/>
                    <a:pt x="726405" y="422448"/>
                    <a:pt x="713451" y="406530"/>
                  </a:cubicBezTo>
                  <a:cubicBezTo>
                    <a:pt x="673594" y="364547"/>
                    <a:pt x="625466" y="316992"/>
                    <a:pt x="584910" y="275207"/>
                  </a:cubicBezTo>
                  <a:cubicBezTo>
                    <a:pt x="539373" y="276102"/>
                    <a:pt x="489053" y="272919"/>
                    <a:pt x="443416" y="273217"/>
                  </a:cubicBezTo>
                  <a:cubicBezTo>
                    <a:pt x="450391" y="255310"/>
                    <a:pt x="434946" y="243371"/>
                    <a:pt x="426477" y="229443"/>
                  </a:cubicBezTo>
                  <a:lnTo>
                    <a:pt x="412526" y="239392"/>
                  </a:lnTo>
                  <a:cubicBezTo>
                    <a:pt x="408142" y="234318"/>
                    <a:pt x="415316" y="228647"/>
                    <a:pt x="412526" y="223474"/>
                  </a:cubicBezTo>
                  <a:cubicBezTo>
                    <a:pt x="414818" y="221285"/>
                    <a:pt x="376455" y="221086"/>
                    <a:pt x="376655" y="220489"/>
                  </a:cubicBezTo>
                  <a:cubicBezTo>
                    <a:pt x="335003" y="218897"/>
                    <a:pt x="289765" y="216907"/>
                    <a:pt x="248113" y="215515"/>
                  </a:cubicBezTo>
                  <a:cubicBezTo>
                    <a:pt x="235060" y="214122"/>
                    <a:pt x="220612" y="225463"/>
                    <a:pt x="206263" y="226458"/>
                  </a:cubicBezTo>
                  <a:cubicBezTo>
                    <a:pt x="203473" y="228647"/>
                    <a:pt x="197594" y="236407"/>
                    <a:pt x="193409" y="232427"/>
                  </a:cubicBezTo>
                  <a:cubicBezTo>
                    <a:pt x="186533" y="235114"/>
                    <a:pt x="172484" y="239590"/>
                    <a:pt x="165409" y="241381"/>
                  </a:cubicBezTo>
                  <a:cubicBezTo>
                    <a:pt x="113096" y="252922"/>
                    <a:pt x="53509" y="245062"/>
                    <a:pt x="0" y="247350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699" name="Freeform: Shape 1698">
              <a:extLst>
                <a:ext uri="{FF2B5EF4-FFF2-40B4-BE49-F238E27FC236}">
                  <a16:creationId xmlns:a16="http://schemas.microsoft.com/office/drawing/2014/main" id="{5AAAFE7D-07B0-46D5-853A-C61C99ECBA6E}"/>
                </a:ext>
              </a:extLst>
            </p:cNvPr>
            <p:cNvSpPr/>
            <p:nvPr/>
          </p:nvSpPr>
          <p:spPr>
            <a:xfrm>
              <a:off x="-858202" y="1705606"/>
              <a:ext cx="630199" cy="814908"/>
            </a:xfrm>
            <a:custGeom>
              <a:avLst/>
              <a:gdLst>
                <a:gd name="connsiteX0" fmla="*/ 0 w 630199"/>
                <a:gd name="connsiteY0" fmla="*/ 718540 h 814908"/>
                <a:gd name="connsiteX1" fmla="*/ 1993 w 630199"/>
                <a:gd name="connsiteY1" fmla="*/ 1236 h 814908"/>
                <a:gd name="connsiteX2" fmla="*/ 378648 w 630199"/>
                <a:gd name="connsiteY2" fmla="*/ 241 h 814908"/>
                <a:gd name="connsiteX3" fmla="*/ 378648 w 630199"/>
                <a:gd name="connsiteY3" fmla="*/ 168772 h 814908"/>
                <a:gd name="connsiteX4" fmla="*/ 629751 w 630199"/>
                <a:gd name="connsiteY4" fmla="*/ 167778 h 814908"/>
                <a:gd name="connsiteX5" fmla="*/ 629751 w 630199"/>
                <a:gd name="connsiteY5" fmla="*/ 814446 h 814908"/>
                <a:gd name="connsiteX6" fmla="*/ 996 w 630199"/>
                <a:gd name="connsiteY6" fmla="*/ 814446 h 814908"/>
                <a:gd name="connsiteX7" fmla="*/ 0 w 630199"/>
                <a:gd name="connsiteY7" fmla="*/ 718540 h 81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30199" h="814908">
                  <a:moveTo>
                    <a:pt x="0" y="718540"/>
                  </a:moveTo>
                  <a:cubicBezTo>
                    <a:pt x="2292" y="480367"/>
                    <a:pt x="996" y="239508"/>
                    <a:pt x="1993" y="1236"/>
                  </a:cubicBezTo>
                  <a:cubicBezTo>
                    <a:pt x="126349" y="1236"/>
                    <a:pt x="254391" y="-655"/>
                    <a:pt x="378648" y="241"/>
                  </a:cubicBezTo>
                  <a:lnTo>
                    <a:pt x="378648" y="168772"/>
                  </a:lnTo>
                  <a:cubicBezTo>
                    <a:pt x="459160" y="168772"/>
                    <a:pt x="549537" y="168772"/>
                    <a:pt x="629751" y="167778"/>
                  </a:cubicBezTo>
                  <a:cubicBezTo>
                    <a:pt x="628754" y="381477"/>
                    <a:pt x="631145" y="600747"/>
                    <a:pt x="629751" y="814446"/>
                  </a:cubicBezTo>
                  <a:cubicBezTo>
                    <a:pt x="423986" y="815739"/>
                    <a:pt x="207160" y="813849"/>
                    <a:pt x="996" y="814446"/>
                  </a:cubicBezTo>
                  <a:cubicBezTo>
                    <a:pt x="1594" y="784898"/>
                    <a:pt x="100" y="747690"/>
                    <a:pt x="0" y="718540"/>
                  </a:cubicBez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 dirty="0"/>
            </a:p>
          </p:txBody>
        </p:sp>
        <p:sp>
          <p:nvSpPr>
            <p:cNvPr id="1700" name="Freeform: Shape 1699">
              <a:extLst>
                <a:ext uri="{FF2B5EF4-FFF2-40B4-BE49-F238E27FC236}">
                  <a16:creationId xmlns:a16="http://schemas.microsoft.com/office/drawing/2014/main" id="{1CB1CC48-921C-4DC5-96D6-05A0C8342753}"/>
                </a:ext>
              </a:extLst>
            </p:cNvPr>
            <p:cNvSpPr/>
            <p:nvPr/>
          </p:nvSpPr>
          <p:spPr>
            <a:xfrm>
              <a:off x="531732" y="2519654"/>
              <a:ext cx="1078348" cy="520427"/>
            </a:xfrm>
            <a:custGeom>
              <a:avLst/>
              <a:gdLst>
                <a:gd name="connsiteX0" fmla="*/ 99 w 1078348"/>
                <a:gd name="connsiteY0" fmla="*/ 51734 h 520427"/>
                <a:gd name="connsiteX1" fmla="*/ 99 w 1078348"/>
                <a:gd name="connsiteY1" fmla="*/ 0 h 520427"/>
                <a:gd name="connsiteX2" fmla="*/ 1054334 w 1078348"/>
                <a:gd name="connsiteY2" fmla="*/ 995 h 520427"/>
                <a:gd name="connsiteX3" fmla="*/ 1078348 w 1078348"/>
                <a:gd name="connsiteY3" fmla="*/ 250708 h 520427"/>
                <a:gd name="connsiteX4" fmla="*/ 1074362 w 1078348"/>
                <a:gd name="connsiteY4" fmla="*/ 386011 h 520427"/>
                <a:gd name="connsiteX5" fmla="*/ 1072270 w 1078348"/>
                <a:gd name="connsiteY5" fmla="*/ 495448 h 520427"/>
                <a:gd name="connsiteX6" fmla="*/ 1066291 w 1078348"/>
                <a:gd name="connsiteY6" fmla="*/ 520319 h 520427"/>
                <a:gd name="connsiteX7" fmla="*/ 1053338 w 1078348"/>
                <a:gd name="connsiteY7" fmla="*/ 512360 h 520427"/>
                <a:gd name="connsiteX8" fmla="*/ 1036398 w 1078348"/>
                <a:gd name="connsiteY8" fmla="*/ 501417 h 520427"/>
                <a:gd name="connsiteX9" fmla="*/ 1019558 w 1078348"/>
                <a:gd name="connsiteY9" fmla="*/ 497437 h 520427"/>
                <a:gd name="connsiteX10" fmla="*/ 1000526 w 1078348"/>
                <a:gd name="connsiteY10" fmla="*/ 483509 h 520427"/>
                <a:gd name="connsiteX11" fmla="*/ 974718 w 1078348"/>
                <a:gd name="connsiteY11" fmla="*/ 473560 h 520427"/>
                <a:gd name="connsiteX12" fmla="*/ 940740 w 1078348"/>
                <a:gd name="connsiteY12" fmla="*/ 480524 h 520427"/>
                <a:gd name="connsiteX13" fmla="*/ 930775 w 1078348"/>
                <a:gd name="connsiteY13" fmla="*/ 474555 h 520427"/>
                <a:gd name="connsiteX14" fmla="*/ 903971 w 1078348"/>
                <a:gd name="connsiteY14" fmla="*/ 484504 h 520427"/>
                <a:gd name="connsiteX15" fmla="*/ 872982 w 1078348"/>
                <a:gd name="connsiteY15" fmla="*/ 487488 h 520427"/>
                <a:gd name="connsiteX16" fmla="*/ 852156 w 1078348"/>
                <a:gd name="connsiteY16" fmla="*/ 501417 h 520427"/>
                <a:gd name="connsiteX17" fmla="*/ 835117 w 1078348"/>
                <a:gd name="connsiteY17" fmla="*/ 509376 h 520427"/>
                <a:gd name="connsiteX18" fmla="*/ 818177 w 1078348"/>
                <a:gd name="connsiteY18" fmla="*/ 497437 h 520427"/>
                <a:gd name="connsiteX19" fmla="*/ 809210 w 1078348"/>
                <a:gd name="connsiteY19" fmla="*/ 490473 h 520427"/>
                <a:gd name="connsiteX20" fmla="*/ 798249 w 1078348"/>
                <a:gd name="connsiteY20" fmla="*/ 475550 h 520427"/>
                <a:gd name="connsiteX21" fmla="*/ 783302 w 1078348"/>
                <a:gd name="connsiteY21" fmla="*/ 487488 h 520427"/>
                <a:gd name="connsiteX22" fmla="*/ 774334 w 1078348"/>
                <a:gd name="connsiteY22" fmla="*/ 486494 h 520427"/>
                <a:gd name="connsiteX23" fmla="*/ 767459 w 1078348"/>
                <a:gd name="connsiteY23" fmla="*/ 471571 h 520427"/>
                <a:gd name="connsiteX24" fmla="*/ 761380 w 1078348"/>
                <a:gd name="connsiteY24" fmla="*/ 471571 h 520427"/>
                <a:gd name="connsiteX25" fmla="*/ 757494 w 1078348"/>
                <a:gd name="connsiteY25" fmla="*/ 480524 h 520427"/>
                <a:gd name="connsiteX26" fmla="*/ 743544 w 1078348"/>
                <a:gd name="connsiteY26" fmla="*/ 503406 h 520427"/>
                <a:gd name="connsiteX27" fmla="*/ 729494 w 1078348"/>
                <a:gd name="connsiteY27" fmla="*/ 491468 h 520427"/>
                <a:gd name="connsiteX28" fmla="*/ 729494 w 1078348"/>
                <a:gd name="connsiteY28" fmla="*/ 476545 h 520427"/>
                <a:gd name="connsiteX29" fmla="*/ 699601 w 1078348"/>
                <a:gd name="connsiteY29" fmla="*/ 489478 h 520427"/>
                <a:gd name="connsiteX30" fmla="*/ 694519 w 1078348"/>
                <a:gd name="connsiteY30" fmla="*/ 476545 h 520427"/>
                <a:gd name="connsiteX31" fmla="*/ 684555 w 1078348"/>
                <a:gd name="connsiteY31" fmla="*/ 478535 h 520427"/>
                <a:gd name="connsiteX32" fmla="*/ 670605 w 1078348"/>
                <a:gd name="connsiteY32" fmla="*/ 464606 h 520427"/>
                <a:gd name="connsiteX33" fmla="*/ 646690 w 1078348"/>
                <a:gd name="connsiteY33" fmla="*/ 485499 h 520427"/>
                <a:gd name="connsiteX34" fmla="*/ 635829 w 1078348"/>
                <a:gd name="connsiteY34" fmla="*/ 464606 h 520427"/>
                <a:gd name="connsiteX35" fmla="*/ 613807 w 1078348"/>
                <a:gd name="connsiteY35" fmla="*/ 439735 h 520427"/>
                <a:gd name="connsiteX36" fmla="*/ 578932 w 1078348"/>
                <a:gd name="connsiteY36" fmla="*/ 443714 h 520427"/>
                <a:gd name="connsiteX37" fmla="*/ 569964 w 1078348"/>
                <a:gd name="connsiteY37" fmla="*/ 453663 h 520427"/>
                <a:gd name="connsiteX38" fmla="*/ 537082 w 1078348"/>
                <a:gd name="connsiteY38" fmla="*/ 443714 h 520427"/>
                <a:gd name="connsiteX39" fmla="*/ 520142 w 1078348"/>
                <a:gd name="connsiteY39" fmla="*/ 438740 h 520427"/>
                <a:gd name="connsiteX40" fmla="*/ 496227 w 1078348"/>
                <a:gd name="connsiteY40" fmla="*/ 432770 h 520427"/>
                <a:gd name="connsiteX41" fmla="*/ 477395 w 1078348"/>
                <a:gd name="connsiteY41" fmla="*/ 415858 h 520427"/>
                <a:gd name="connsiteX42" fmla="*/ 450391 w 1078348"/>
                <a:gd name="connsiteY42" fmla="*/ 405909 h 520427"/>
                <a:gd name="connsiteX43" fmla="*/ 428569 w 1078348"/>
                <a:gd name="connsiteY43" fmla="*/ 405909 h 520427"/>
                <a:gd name="connsiteX44" fmla="*/ 377651 w 1078348"/>
                <a:gd name="connsiteY44" fmla="*/ 378052 h 520427"/>
                <a:gd name="connsiteX45" fmla="*/ 377651 w 1078348"/>
                <a:gd name="connsiteY45" fmla="*/ 78595 h 520427"/>
                <a:gd name="connsiteX46" fmla="*/ 0 w 1078348"/>
                <a:gd name="connsiteY46" fmla="*/ 78595 h 520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8348" h="520427">
                  <a:moveTo>
                    <a:pt x="99" y="51734"/>
                  </a:moveTo>
                  <a:lnTo>
                    <a:pt x="99" y="0"/>
                  </a:lnTo>
                  <a:cubicBezTo>
                    <a:pt x="351245" y="2786"/>
                    <a:pt x="703288" y="-1890"/>
                    <a:pt x="1054334" y="995"/>
                  </a:cubicBezTo>
                  <a:cubicBezTo>
                    <a:pt x="1049850" y="84465"/>
                    <a:pt x="1068284" y="168333"/>
                    <a:pt x="1078348" y="250708"/>
                  </a:cubicBezTo>
                  <a:cubicBezTo>
                    <a:pt x="1078348" y="294582"/>
                    <a:pt x="1075658" y="342237"/>
                    <a:pt x="1074362" y="386011"/>
                  </a:cubicBezTo>
                  <a:cubicBezTo>
                    <a:pt x="1074362" y="420932"/>
                    <a:pt x="1072370" y="460627"/>
                    <a:pt x="1072270" y="495448"/>
                  </a:cubicBezTo>
                  <a:cubicBezTo>
                    <a:pt x="1070676" y="498631"/>
                    <a:pt x="1074960" y="522210"/>
                    <a:pt x="1066291" y="520319"/>
                  </a:cubicBezTo>
                  <a:cubicBezTo>
                    <a:pt x="1063730" y="515524"/>
                    <a:pt x="1058778" y="512480"/>
                    <a:pt x="1053338" y="512360"/>
                  </a:cubicBezTo>
                  <a:cubicBezTo>
                    <a:pt x="1046871" y="510172"/>
                    <a:pt x="1041051" y="506411"/>
                    <a:pt x="1036398" y="501417"/>
                  </a:cubicBezTo>
                  <a:cubicBezTo>
                    <a:pt x="1030479" y="503178"/>
                    <a:pt x="1024062" y="501666"/>
                    <a:pt x="1019558" y="497437"/>
                  </a:cubicBezTo>
                  <a:cubicBezTo>
                    <a:pt x="1014676" y="491269"/>
                    <a:pt x="1009594" y="483310"/>
                    <a:pt x="1000526" y="483509"/>
                  </a:cubicBezTo>
                  <a:cubicBezTo>
                    <a:pt x="994647" y="478336"/>
                    <a:pt x="980597" y="462219"/>
                    <a:pt x="974718" y="473560"/>
                  </a:cubicBezTo>
                  <a:cubicBezTo>
                    <a:pt x="971231" y="488086"/>
                    <a:pt x="951402" y="484007"/>
                    <a:pt x="940740" y="480524"/>
                  </a:cubicBezTo>
                  <a:cubicBezTo>
                    <a:pt x="939524" y="476217"/>
                    <a:pt x="935159" y="473600"/>
                    <a:pt x="930775" y="474555"/>
                  </a:cubicBezTo>
                  <a:cubicBezTo>
                    <a:pt x="921399" y="476535"/>
                    <a:pt x="912371" y="479888"/>
                    <a:pt x="903971" y="484504"/>
                  </a:cubicBezTo>
                  <a:cubicBezTo>
                    <a:pt x="893578" y="482295"/>
                    <a:pt x="882757" y="483340"/>
                    <a:pt x="872982" y="487488"/>
                  </a:cubicBezTo>
                  <a:cubicBezTo>
                    <a:pt x="863017" y="485499"/>
                    <a:pt x="857836" y="494751"/>
                    <a:pt x="852156" y="501417"/>
                  </a:cubicBezTo>
                  <a:cubicBezTo>
                    <a:pt x="845081" y="494652"/>
                    <a:pt x="841096" y="506093"/>
                    <a:pt x="835117" y="509376"/>
                  </a:cubicBezTo>
                  <a:cubicBezTo>
                    <a:pt x="830832" y="502810"/>
                    <a:pt x="827644" y="493557"/>
                    <a:pt x="818177" y="497437"/>
                  </a:cubicBezTo>
                  <a:cubicBezTo>
                    <a:pt x="816982" y="492861"/>
                    <a:pt x="814590" y="488981"/>
                    <a:pt x="809210" y="490473"/>
                  </a:cubicBezTo>
                  <a:cubicBezTo>
                    <a:pt x="802035" y="485399"/>
                    <a:pt x="813195" y="481718"/>
                    <a:pt x="798249" y="475550"/>
                  </a:cubicBezTo>
                  <a:cubicBezTo>
                    <a:pt x="794761" y="482216"/>
                    <a:pt x="792569" y="491369"/>
                    <a:pt x="783302" y="487488"/>
                  </a:cubicBezTo>
                  <a:cubicBezTo>
                    <a:pt x="782206" y="481420"/>
                    <a:pt x="778021" y="485200"/>
                    <a:pt x="774334" y="486494"/>
                  </a:cubicBezTo>
                  <a:cubicBezTo>
                    <a:pt x="770687" y="482256"/>
                    <a:pt x="768306" y="477092"/>
                    <a:pt x="767459" y="471571"/>
                  </a:cubicBezTo>
                  <a:lnTo>
                    <a:pt x="761380" y="471571"/>
                  </a:lnTo>
                  <a:cubicBezTo>
                    <a:pt x="757893" y="473560"/>
                    <a:pt x="755501" y="476545"/>
                    <a:pt x="757494" y="480524"/>
                  </a:cubicBezTo>
                  <a:cubicBezTo>
                    <a:pt x="747530" y="483509"/>
                    <a:pt x="744142" y="493657"/>
                    <a:pt x="743544" y="503406"/>
                  </a:cubicBezTo>
                  <a:cubicBezTo>
                    <a:pt x="734975" y="509674"/>
                    <a:pt x="732782" y="496343"/>
                    <a:pt x="729494" y="491468"/>
                  </a:cubicBezTo>
                  <a:cubicBezTo>
                    <a:pt x="736669" y="487886"/>
                    <a:pt x="732284" y="481519"/>
                    <a:pt x="729494" y="476545"/>
                  </a:cubicBezTo>
                  <a:cubicBezTo>
                    <a:pt x="718234" y="478435"/>
                    <a:pt x="711359" y="493557"/>
                    <a:pt x="699601" y="489478"/>
                  </a:cubicBezTo>
                  <a:cubicBezTo>
                    <a:pt x="699362" y="484733"/>
                    <a:pt x="697578" y="480186"/>
                    <a:pt x="694519" y="476545"/>
                  </a:cubicBezTo>
                  <a:cubicBezTo>
                    <a:pt x="694519" y="474157"/>
                    <a:pt x="685551" y="478634"/>
                    <a:pt x="684555" y="478535"/>
                  </a:cubicBezTo>
                  <a:cubicBezTo>
                    <a:pt x="679074" y="473958"/>
                    <a:pt x="679473" y="465104"/>
                    <a:pt x="670605" y="464606"/>
                  </a:cubicBezTo>
                  <a:cubicBezTo>
                    <a:pt x="663231" y="470178"/>
                    <a:pt x="655259" y="481718"/>
                    <a:pt x="646690" y="485499"/>
                  </a:cubicBezTo>
                  <a:cubicBezTo>
                    <a:pt x="634235" y="483708"/>
                    <a:pt x="633637" y="475550"/>
                    <a:pt x="635829" y="464606"/>
                  </a:cubicBezTo>
                  <a:cubicBezTo>
                    <a:pt x="610320" y="464010"/>
                    <a:pt x="620982" y="457841"/>
                    <a:pt x="613807" y="439735"/>
                  </a:cubicBezTo>
                  <a:cubicBezTo>
                    <a:pt x="606035" y="453961"/>
                    <a:pt x="588298" y="432373"/>
                    <a:pt x="578932" y="443714"/>
                  </a:cubicBezTo>
                  <a:cubicBezTo>
                    <a:pt x="578494" y="448649"/>
                    <a:pt x="574837" y="452708"/>
                    <a:pt x="569964" y="453663"/>
                  </a:cubicBezTo>
                  <a:cubicBezTo>
                    <a:pt x="553722" y="442222"/>
                    <a:pt x="559203" y="433765"/>
                    <a:pt x="537082" y="443714"/>
                  </a:cubicBezTo>
                  <a:cubicBezTo>
                    <a:pt x="531850" y="440879"/>
                    <a:pt x="526081" y="439187"/>
                    <a:pt x="520142" y="438740"/>
                  </a:cubicBezTo>
                  <a:cubicBezTo>
                    <a:pt x="513835" y="432581"/>
                    <a:pt x="504697" y="430303"/>
                    <a:pt x="496227" y="432770"/>
                  </a:cubicBezTo>
                  <a:cubicBezTo>
                    <a:pt x="481779" y="432173"/>
                    <a:pt x="477295" y="431577"/>
                    <a:pt x="477395" y="415858"/>
                  </a:cubicBezTo>
                  <a:cubicBezTo>
                    <a:pt x="470619" y="407501"/>
                    <a:pt x="454676" y="383823"/>
                    <a:pt x="450391" y="405909"/>
                  </a:cubicBezTo>
                  <a:cubicBezTo>
                    <a:pt x="445309" y="403621"/>
                    <a:pt x="429267" y="396557"/>
                    <a:pt x="428569" y="405909"/>
                  </a:cubicBezTo>
                  <a:cubicBezTo>
                    <a:pt x="405252" y="411679"/>
                    <a:pt x="398676" y="368502"/>
                    <a:pt x="377651" y="378052"/>
                  </a:cubicBezTo>
                  <a:lnTo>
                    <a:pt x="377651" y="78595"/>
                  </a:lnTo>
                  <a:lnTo>
                    <a:pt x="0" y="78595"/>
                  </a:ln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01" name="Freeform: Shape 1700">
              <a:extLst>
                <a:ext uri="{FF2B5EF4-FFF2-40B4-BE49-F238E27FC236}">
                  <a16:creationId xmlns:a16="http://schemas.microsoft.com/office/drawing/2014/main" id="{D7672A0D-E74D-4328-AC94-047CD0A27059}"/>
                </a:ext>
              </a:extLst>
            </p:cNvPr>
            <p:cNvSpPr/>
            <p:nvPr/>
          </p:nvSpPr>
          <p:spPr>
            <a:xfrm>
              <a:off x="-480551" y="1185186"/>
              <a:ext cx="880987" cy="688794"/>
            </a:xfrm>
            <a:custGeom>
              <a:avLst/>
              <a:gdLst>
                <a:gd name="connsiteX0" fmla="*/ 0 w 880987"/>
                <a:gd name="connsiteY0" fmla="*/ 24219 h 688794"/>
                <a:gd name="connsiteX1" fmla="*/ 997 w 880987"/>
                <a:gd name="connsiteY1" fmla="*/ 342 h 688794"/>
                <a:gd name="connsiteX2" fmla="*/ 43943 w 880987"/>
                <a:gd name="connsiteY2" fmla="*/ 2331 h 688794"/>
                <a:gd name="connsiteX3" fmla="*/ 250107 w 880987"/>
                <a:gd name="connsiteY3" fmla="*/ 1337 h 688794"/>
                <a:gd name="connsiteX4" fmla="*/ 879857 w 880987"/>
                <a:gd name="connsiteY4" fmla="*/ 1337 h 688794"/>
                <a:gd name="connsiteX5" fmla="*/ 880854 w 880987"/>
                <a:gd name="connsiteY5" fmla="*/ 687800 h 688794"/>
                <a:gd name="connsiteX6" fmla="*/ 997 w 880987"/>
                <a:gd name="connsiteY6" fmla="*/ 688795 h 688794"/>
                <a:gd name="connsiteX7" fmla="*/ 0 w 880987"/>
                <a:gd name="connsiteY7" fmla="*/ 24219 h 68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80987" h="688794">
                  <a:moveTo>
                    <a:pt x="0" y="24219"/>
                  </a:moveTo>
                  <a:lnTo>
                    <a:pt x="997" y="342"/>
                  </a:lnTo>
                  <a:cubicBezTo>
                    <a:pt x="15345" y="-365"/>
                    <a:pt x="29724" y="302"/>
                    <a:pt x="43943" y="2331"/>
                  </a:cubicBezTo>
                  <a:cubicBezTo>
                    <a:pt x="109409" y="1337"/>
                    <a:pt x="184740" y="-1748"/>
                    <a:pt x="250107" y="1337"/>
                  </a:cubicBezTo>
                  <a:cubicBezTo>
                    <a:pt x="456868" y="242"/>
                    <a:pt x="672897" y="2033"/>
                    <a:pt x="879857" y="1337"/>
                  </a:cubicBezTo>
                  <a:cubicBezTo>
                    <a:pt x="879857" y="229362"/>
                    <a:pt x="881452" y="459874"/>
                    <a:pt x="880854" y="687800"/>
                  </a:cubicBezTo>
                  <a:cubicBezTo>
                    <a:pt x="589395" y="689491"/>
                    <a:pt x="292455" y="687004"/>
                    <a:pt x="997" y="688795"/>
                  </a:cubicBezTo>
                  <a:cubicBezTo>
                    <a:pt x="598" y="468032"/>
                    <a:pt x="2093" y="244882"/>
                    <a:pt x="0" y="24219"/>
                  </a:cubicBez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02" name="Freeform: Shape 1701">
              <a:extLst>
                <a:ext uri="{FF2B5EF4-FFF2-40B4-BE49-F238E27FC236}">
                  <a16:creationId xmlns:a16="http://schemas.microsoft.com/office/drawing/2014/main" id="{FBE8632F-1165-493D-A9E6-CB86E899960E}"/>
                </a:ext>
              </a:extLst>
            </p:cNvPr>
            <p:cNvSpPr/>
            <p:nvPr/>
          </p:nvSpPr>
          <p:spPr>
            <a:xfrm>
              <a:off x="3095982" y="1933673"/>
              <a:ext cx="614345" cy="554232"/>
            </a:xfrm>
            <a:custGeom>
              <a:avLst/>
              <a:gdLst>
                <a:gd name="connsiteX0" fmla="*/ 2680 w 614345"/>
                <a:gd name="connsiteY0" fmla="*/ 395960 h 554232"/>
                <a:gd name="connsiteX1" fmla="*/ 5670 w 614345"/>
                <a:gd name="connsiteY1" fmla="*/ 378052 h 554232"/>
                <a:gd name="connsiteX2" fmla="*/ 2680 w 614345"/>
                <a:gd name="connsiteY2" fmla="*/ 360144 h 554232"/>
                <a:gd name="connsiteX3" fmla="*/ 29584 w 614345"/>
                <a:gd name="connsiteY3" fmla="*/ 358155 h 554232"/>
                <a:gd name="connsiteX4" fmla="*/ 43534 w 614345"/>
                <a:gd name="connsiteY4" fmla="*/ 333283 h 554232"/>
                <a:gd name="connsiteX5" fmla="*/ 55492 w 614345"/>
                <a:gd name="connsiteY5" fmla="*/ 330298 h 554232"/>
                <a:gd name="connsiteX6" fmla="*/ 51506 w 614345"/>
                <a:gd name="connsiteY6" fmla="*/ 299457 h 554232"/>
                <a:gd name="connsiteX7" fmla="*/ 72531 w 614345"/>
                <a:gd name="connsiteY7" fmla="*/ 264636 h 554232"/>
                <a:gd name="connsiteX8" fmla="*/ 90367 w 614345"/>
                <a:gd name="connsiteY8" fmla="*/ 278565 h 554232"/>
                <a:gd name="connsiteX9" fmla="*/ 110296 w 614345"/>
                <a:gd name="connsiteY9" fmla="*/ 250708 h 554232"/>
                <a:gd name="connsiteX10" fmla="*/ 112389 w 614345"/>
                <a:gd name="connsiteY10" fmla="*/ 233795 h 554232"/>
                <a:gd name="connsiteX11" fmla="*/ 126239 w 614345"/>
                <a:gd name="connsiteY11" fmla="*/ 222852 h 554232"/>
                <a:gd name="connsiteX12" fmla="*/ 133214 w 614345"/>
                <a:gd name="connsiteY12" fmla="*/ 213898 h 554232"/>
                <a:gd name="connsiteX13" fmla="*/ 140189 w 614345"/>
                <a:gd name="connsiteY13" fmla="*/ 206934 h 554232"/>
                <a:gd name="connsiteX14" fmla="*/ 180047 w 614345"/>
                <a:gd name="connsiteY14" fmla="*/ 197980 h 554232"/>
                <a:gd name="connsiteX15" fmla="*/ 198979 w 614345"/>
                <a:gd name="connsiteY15" fmla="*/ 180072 h 554232"/>
                <a:gd name="connsiteX16" fmla="*/ 223990 w 614345"/>
                <a:gd name="connsiteY16" fmla="*/ 151221 h 554232"/>
                <a:gd name="connsiteX17" fmla="*/ 224986 w 614345"/>
                <a:gd name="connsiteY17" fmla="*/ 137293 h 554232"/>
                <a:gd name="connsiteX18" fmla="*/ 235948 w 614345"/>
                <a:gd name="connsiteY18" fmla="*/ 109436 h 554232"/>
                <a:gd name="connsiteX19" fmla="*/ 252787 w 614345"/>
                <a:gd name="connsiteY19" fmla="*/ 54718 h 554232"/>
                <a:gd name="connsiteX20" fmla="*/ 249798 w 614345"/>
                <a:gd name="connsiteY20" fmla="*/ 39795 h 554232"/>
                <a:gd name="connsiteX21" fmla="*/ 250794 w 614345"/>
                <a:gd name="connsiteY21" fmla="*/ 18903 h 554232"/>
                <a:gd name="connsiteX22" fmla="*/ 263748 w 614345"/>
                <a:gd name="connsiteY22" fmla="*/ 0 h 554232"/>
                <a:gd name="connsiteX23" fmla="*/ 263748 w 614345"/>
                <a:gd name="connsiteY23" fmla="*/ 150226 h 554232"/>
                <a:gd name="connsiteX24" fmla="*/ 395278 w 614345"/>
                <a:gd name="connsiteY24" fmla="*/ 150226 h 554232"/>
                <a:gd name="connsiteX25" fmla="*/ 393285 w 614345"/>
                <a:gd name="connsiteY25" fmla="*/ 233795 h 554232"/>
                <a:gd name="connsiteX26" fmla="*/ 434139 w 614345"/>
                <a:gd name="connsiteY26" fmla="*/ 202954 h 554232"/>
                <a:gd name="connsiteX27" fmla="*/ 460047 w 614345"/>
                <a:gd name="connsiteY27" fmla="*/ 195990 h 554232"/>
                <a:gd name="connsiteX28" fmla="*/ 483961 w 614345"/>
                <a:gd name="connsiteY28" fmla="*/ 164154 h 554232"/>
                <a:gd name="connsiteX29" fmla="*/ 522922 w 614345"/>
                <a:gd name="connsiteY29" fmla="*/ 182062 h 554232"/>
                <a:gd name="connsiteX30" fmla="*/ 552816 w 614345"/>
                <a:gd name="connsiteY30" fmla="*/ 160175 h 554232"/>
                <a:gd name="connsiteX31" fmla="*/ 579620 w 614345"/>
                <a:gd name="connsiteY31" fmla="*/ 170123 h 554232"/>
                <a:gd name="connsiteX32" fmla="*/ 601541 w 614345"/>
                <a:gd name="connsiteY32" fmla="*/ 172113 h 554232"/>
                <a:gd name="connsiteX33" fmla="*/ 612602 w 614345"/>
                <a:gd name="connsiteY33" fmla="*/ 209918 h 554232"/>
                <a:gd name="connsiteX34" fmla="*/ 602638 w 614345"/>
                <a:gd name="connsiteY34" fmla="*/ 245734 h 554232"/>
                <a:gd name="connsiteX35" fmla="*/ 536872 w 614345"/>
                <a:gd name="connsiteY35" fmla="*/ 192011 h 554232"/>
                <a:gd name="connsiteX36" fmla="*/ 537869 w 614345"/>
                <a:gd name="connsiteY36" fmla="*/ 209918 h 554232"/>
                <a:gd name="connsiteX37" fmla="*/ 529898 w 614345"/>
                <a:gd name="connsiteY37" fmla="*/ 228821 h 554232"/>
                <a:gd name="connsiteX38" fmla="*/ 528901 w 614345"/>
                <a:gd name="connsiteY38" fmla="*/ 241754 h 554232"/>
                <a:gd name="connsiteX39" fmla="*/ 513954 w 614345"/>
                <a:gd name="connsiteY39" fmla="*/ 258667 h 554232"/>
                <a:gd name="connsiteX40" fmla="*/ 483065 w 614345"/>
                <a:gd name="connsiteY40" fmla="*/ 284534 h 554232"/>
                <a:gd name="connsiteX41" fmla="*/ 471107 w 614345"/>
                <a:gd name="connsiteY41" fmla="*/ 305426 h 554232"/>
                <a:gd name="connsiteX42" fmla="*/ 455165 w 614345"/>
                <a:gd name="connsiteY42" fmla="*/ 293488 h 554232"/>
                <a:gd name="connsiteX43" fmla="*/ 435236 w 614345"/>
                <a:gd name="connsiteY43" fmla="*/ 331293 h 554232"/>
                <a:gd name="connsiteX44" fmla="*/ 415307 w 614345"/>
                <a:gd name="connsiteY44" fmla="*/ 361139 h 554232"/>
                <a:gd name="connsiteX45" fmla="*/ 373456 w 614345"/>
                <a:gd name="connsiteY45" fmla="*/ 333283 h 554232"/>
                <a:gd name="connsiteX46" fmla="*/ 362495 w 614345"/>
                <a:gd name="connsiteY46" fmla="*/ 371088 h 554232"/>
                <a:gd name="connsiteX47" fmla="*/ 355620 w 614345"/>
                <a:gd name="connsiteY47" fmla="*/ 384021 h 554232"/>
                <a:gd name="connsiteX48" fmla="*/ 332702 w 614345"/>
                <a:gd name="connsiteY48" fmla="*/ 420832 h 554232"/>
                <a:gd name="connsiteX49" fmla="*/ 296830 w 614345"/>
                <a:gd name="connsiteY49" fmla="*/ 472565 h 554232"/>
                <a:gd name="connsiteX50" fmla="*/ 300716 w 614345"/>
                <a:gd name="connsiteY50" fmla="*/ 487488 h 554232"/>
                <a:gd name="connsiteX51" fmla="*/ 292844 w 614345"/>
                <a:gd name="connsiteY51" fmla="*/ 501416 h 554232"/>
                <a:gd name="connsiteX52" fmla="*/ 260859 w 614345"/>
                <a:gd name="connsiteY52" fmla="*/ 511365 h 554232"/>
                <a:gd name="connsiteX53" fmla="*/ 231962 w 614345"/>
                <a:gd name="connsiteY53" fmla="*/ 527283 h 554232"/>
                <a:gd name="connsiteX54" fmla="*/ 223990 w 614345"/>
                <a:gd name="connsiteY54" fmla="*/ 533253 h 554232"/>
                <a:gd name="connsiteX55" fmla="*/ 189115 w 614345"/>
                <a:gd name="connsiteY55" fmla="*/ 542206 h 554232"/>
                <a:gd name="connsiteX56" fmla="*/ 158225 w 614345"/>
                <a:gd name="connsiteY56" fmla="*/ 533253 h 554232"/>
                <a:gd name="connsiteX57" fmla="*/ 109399 w 614345"/>
                <a:gd name="connsiteY57" fmla="*/ 548176 h 554232"/>
                <a:gd name="connsiteX58" fmla="*/ 90567 w 614345"/>
                <a:gd name="connsiteY58" fmla="*/ 534247 h 554232"/>
                <a:gd name="connsiteX59" fmla="*/ 79506 w 614345"/>
                <a:gd name="connsiteY59" fmla="*/ 514350 h 554232"/>
                <a:gd name="connsiteX60" fmla="*/ 86481 w 614345"/>
                <a:gd name="connsiteY60" fmla="*/ 505396 h 554232"/>
                <a:gd name="connsiteX61" fmla="*/ 69542 w 614345"/>
                <a:gd name="connsiteY61" fmla="*/ 500422 h 554232"/>
                <a:gd name="connsiteX62" fmla="*/ 40645 w 614345"/>
                <a:gd name="connsiteY62" fmla="*/ 477540 h 554232"/>
                <a:gd name="connsiteX63" fmla="*/ 24702 w 614345"/>
                <a:gd name="connsiteY63" fmla="*/ 448688 h 554232"/>
                <a:gd name="connsiteX64" fmla="*/ 18354 w 614345"/>
                <a:gd name="connsiteY64" fmla="*/ 432730 h 554232"/>
                <a:gd name="connsiteX65" fmla="*/ 18823 w 614345"/>
                <a:gd name="connsiteY65" fmla="*/ 431775 h 554232"/>
                <a:gd name="connsiteX66" fmla="*/ 2680 w 614345"/>
                <a:gd name="connsiteY66" fmla="*/ 395960 h 554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14345" h="554232">
                  <a:moveTo>
                    <a:pt x="2680" y="395960"/>
                  </a:moveTo>
                  <a:cubicBezTo>
                    <a:pt x="4125" y="390070"/>
                    <a:pt x="5132" y="384091"/>
                    <a:pt x="5670" y="378052"/>
                  </a:cubicBezTo>
                  <a:cubicBezTo>
                    <a:pt x="1485" y="373575"/>
                    <a:pt x="2880" y="365716"/>
                    <a:pt x="2680" y="360144"/>
                  </a:cubicBezTo>
                  <a:cubicBezTo>
                    <a:pt x="9456" y="366711"/>
                    <a:pt x="21513" y="358951"/>
                    <a:pt x="29584" y="358155"/>
                  </a:cubicBezTo>
                  <a:cubicBezTo>
                    <a:pt x="42936" y="358155"/>
                    <a:pt x="37356" y="340744"/>
                    <a:pt x="43534" y="333283"/>
                  </a:cubicBezTo>
                  <a:cubicBezTo>
                    <a:pt x="47740" y="333661"/>
                    <a:pt x="51955" y="332606"/>
                    <a:pt x="55492" y="330298"/>
                  </a:cubicBezTo>
                  <a:cubicBezTo>
                    <a:pt x="54495" y="321842"/>
                    <a:pt x="52802" y="307914"/>
                    <a:pt x="51506" y="299457"/>
                  </a:cubicBezTo>
                  <a:cubicBezTo>
                    <a:pt x="62567" y="292990"/>
                    <a:pt x="60374" y="273193"/>
                    <a:pt x="72531" y="264636"/>
                  </a:cubicBezTo>
                  <a:cubicBezTo>
                    <a:pt x="79705" y="258966"/>
                    <a:pt x="87278" y="273391"/>
                    <a:pt x="90367" y="278565"/>
                  </a:cubicBezTo>
                  <a:cubicBezTo>
                    <a:pt x="120260" y="275680"/>
                    <a:pt x="89371" y="252698"/>
                    <a:pt x="110296" y="250708"/>
                  </a:cubicBezTo>
                  <a:cubicBezTo>
                    <a:pt x="110296" y="245634"/>
                    <a:pt x="106011" y="236681"/>
                    <a:pt x="112389" y="233795"/>
                  </a:cubicBezTo>
                  <a:cubicBezTo>
                    <a:pt x="116873" y="228722"/>
                    <a:pt x="117171" y="220066"/>
                    <a:pt x="126239" y="222852"/>
                  </a:cubicBezTo>
                  <a:cubicBezTo>
                    <a:pt x="133513" y="224643"/>
                    <a:pt x="132616" y="218972"/>
                    <a:pt x="133214" y="213898"/>
                  </a:cubicBezTo>
                  <a:lnTo>
                    <a:pt x="140189" y="206934"/>
                  </a:lnTo>
                  <a:cubicBezTo>
                    <a:pt x="157926" y="187733"/>
                    <a:pt x="142382" y="231010"/>
                    <a:pt x="180047" y="197980"/>
                  </a:cubicBezTo>
                  <a:cubicBezTo>
                    <a:pt x="188816" y="196189"/>
                    <a:pt x="192403" y="185146"/>
                    <a:pt x="198979" y="180072"/>
                  </a:cubicBezTo>
                  <a:cubicBezTo>
                    <a:pt x="205157" y="171616"/>
                    <a:pt x="223890" y="161269"/>
                    <a:pt x="223990" y="151221"/>
                  </a:cubicBezTo>
                  <a:cubicBezTo>
                    <a:pt x="220303" y="146346"/>
                    <a:pt x="219606" y="141272"/>
                    <a:pt x="224986" y="137293"/>
                  </a:cubicBezTo>
                  <a:cubicBezTo>
                    <a:pt x="224578" y="126886"/>
                    <a:pt x="228554" y="116778"/>
                    <a:pt x="235948" y="109436"/>
                  </a:cubicBezTo>
                  <a:cubicBezTo>
                    <a:pt x="234054" y="89539"/>
                    <a:pt x="243421" y="71133"/>
                    <a:pt x="252787" y="54718"/>
                  </a:cubicBezTo>
                  <a:cubicBezTo>
                    <a:pt x="251472" y="49813"/>
                    <a:pt x="250475" y="44829"/>
                    <a:pt x="249798" y="39795"/>
                  </a:cubicBezTo>
                  <a:cubicBezTo>
                    <a:pt x="252648" y="33179"/>
                    <a:pt x="252997" y="25757"/>
                    <a:pt x="250794" y="18903"/>
                  </a:cubicBezTo>
                  <a:cubicBezTo>
                    <a:pt x="238339" y="3383"/>
                    <a:pt x="251691" y="4278"/>
                    <a:pt x="263748" y="0"/>
                  </a:cubicBezTo>
                  <a:lnTo>
                    <a:pt x="263748" y="150226"/>
                  </a:lnTo>
                  <a:lnTo>
                    <a:pt x="395278" y="150226"/>
                  </a:lnTo>
                  <a:cubicBezTo>
                    <a:pt x="393983" y="174799"/>
                    <a:pt x="395278" y="209222"/>
                    <a:pt x="393285" y="233795"/>
                  </a:cubicBezTo>
                  <a:cubicBezTo>
                    <a:pt x="408780" y="226264"/>
                    <a:pt x="422660" y="215788"/>
                    <a:pt x="434139" y="202954"/>
                  </a:cubicBezTo>
                  <a:cubicBezTo>
                    <a:pt x="441214" y="190717"/>
                    <a:pt x="447592" y="187434"/>
                    <a:pt x="460047" y="195990"/>
                  </a:cubicBezTo>
                  <a:cubicBezTo>
                    <a:pt x="463335" y="185245"/>
                    <a:pt x="479079" y="174600"/>
                    <a:pt x="483961" y="164154"/>
                  </a:cubicBezTo>
                  <a:cubicBezTo>
                    <a:pt x="493926" y="181366"/>
                    <a:pt x="502894" y="183156"/>
                    <a:pt x="522922" y="182062"/>
                  </a:cubicBezTo>
                  <a:cubicBezTo>
                    <a:pt x="528801" y="165049"/>
                    <a:pt x="538467" y="166044"/>
                    <a:pt x="552816" y="160175"/>
                  </a:cubicBezTo>
                  <a:cubicBezTo>
                    <a:pt x="565072" y="157687"/>
                    <a:pt x="573840" y="157091"/>
                    <a:pt x="579620" y="170123"/>
                  </a:cubicBezTo>
                  <a:cubicBezTo>
                    <a:pt x="586983" y="168989"/>
                    <a:pt x="594506" y="169666"/>
                    <a:pt x="601541" y="172113"/>
                  </a:cubicBezTo>
                  <a:cubicBezTo>
                    <a:pt x="599349" y="185743"/>
                    <a:pt x="615392" y="197383"/>
                    <a:pt x="612602" y="209918"/>
                  </a:cubicBezTo>
                  <a:cubicBezTo>
                    <a:pt x="619378" y="219867"/>
                    <a:pt x="604331" y="234890"/>
                    <a:pt x="602638" y="245734"/>
                  </a:cubicBezTo>
                  <a:cubicBezTo>
                    <a:pt x="582709" y="229816"/>
                    <a:pt x="556602" y="208227"/>
                    <a:pt x="536872" y="192011"/>
                  </a:cubicBezTo>
                  <a:cubicBezTo>
                    <a:pt x="537749" y="197940"/>
                    <a:pt x="538088" y="203929"/>
                    <a:pt x="537869" y="209918"/>
                  </a:cubicBezTo>
                  <a:cubicBezTo>
                    <a:pt x="535577" y="213799"/>
                    <a:pt x="527905" y="223946"/>
                    <a:pt x="529898" y="228821"/>
                  </a:cubicBezTo>
                  <a:cubicBezTo>
                    <a:pt x="528303" y="232303"/>
                    <a:pt x="526111" y="238770"/>
                    <a:pt x="528901" y="241754"/>
                  </a:cubicBezTo>
                  <a:cubicBezTo>
                    <a:pt x="523241" y="246759"/>
                    <a:pt x="518219" y="252439"/>
                    <a:pt x="513954" y="258667"/>
                  </a:cubicBezTo>
                  <a:cubicBezTo>
                    <a:pt x="506770" y="270437"/>
                    <a:pt x="495919" y="279520"/>
                    <a:pt x="483065" y="284534"/>
                  </a:cubicBezTo>
                  <a:cubicBezTo>
                    <a:pt x="479976" y="289608"/>
                    <a:pt x="473897" y="300154"/>
                    <a:pt x="471107" y="305426"/>
                  </a:cubicBezTo>
                  <a:lnTo>
                    <a:pt x="455165" y="293488"/>
                  </a:lnTo>
                  <a:cubicBezTo>
                    <a:pt x="447790" y="305228"/>
                    <a:pt x="445200" y="321742"/>
                    <a:pt x="435236" y="331293"/>
                  </a:cubicBezTo>
                  <a:cubicBezTo>
                    <a:pt x="429456" y="340247"/>
                    <a:pt x="426766" y="358155"/>
                    <a:pt x="415307" y="361139"/>
                  </a:cubicBezTo>
                  <a:cubicBezTo>
                    <a:pt x="389299" y="361139"/>
                    <a:pt x="394681" y="339053"/>
                    <a:pt x="373456" y="333283"/>
                  </a:cubicBezTo>
                  <a:cubicBezTo>
                    <a:pt x="370068" y="345122"/>
                    <a:pt x="369371" y="360543"/>
                    <a:pt x="362495" y="371088"/>
                  </a:cubicBezTo>
                  <a:cubicBezTo>
                    <a:pt x="358510" y="374371"/>
                    <a:pt x="350837" y="377953"/>
                    <a:pt x="355620" y="384021"/>
                  </a:cubicBezTo>
                  <a:cubicBezTo>
                    <a:pt x="343463" y="392836"/>
                    <a:pt x="335243" y="406048"/>
                    <a:pt x="332702" y="420832"/>
                  </a:cubicBezTo>
                  <a:cubicBezTo>
                    <a:pt x="322139" y="438938"/>
                    <a:pt x="302808" y="451971"/>
                    <a:pt x="296830" y="472565"/>
                  </a:cubicBezTo>
                  <a:cubicBezTo>
                    <a:pt x="289057" y="477540"/>
                    <a:pt x="296830" y="483210"/>
                    <a:pt x="300716" y="487488"/>
                  </a:cubicBezTo>
                  <a:cubicBezTo>
                    <a:pt x="295694" y="490304"/>
                    <a:pt x="292665" y="495676"/>
                    <a:pt x="292844" y="501416"/>
                  </a:cubicBezTo>
                  <a:cubicBezTo>
                    <a:pt x="281983" y="508978"/>
                    <a:pt x="272915" y="526587"/>
                    <a:pt x="260859" y="511365"/>
                  </a:cubicBezTo>
                  <a:cubicBezTo>
                    <a:pt x="251960" y="517892"/>
                    <a:pt x="242245" y="523244"/>
                    <a:pt x="231962" y="527283"/>
                  </a:cubicBezTo>
                  <a:cubicBezTo>
                    <a:pt x="222894" y="513554"/>
                    <a:pt x="212033" y="522210"/>
                    <a:pt x="223990" y="533253"/>
                  </a:cubicBezTo>
                  <a:cubicBezTo>
                    <a:pt x="214822" y="539719"/>
                    <a:pt x="199777" y="539421"/>
                    <a:pt x="189115" y="542206"/>
                  </a:cubicBezTo>
                  <a:cubicBezTo>
                    <a:pt x="174766" y="553847"/>
                    <a:pt x="168588" y="543002"/>
                    <a:pt x="158225" y="533253"/>
                  </a:cubicBezTo>
                  <a:cubicBezTo>
                    <a:pt x="146567" y="547479"/>
                    <a:pt x="125840" y="563099"/>
                    <a:pt x="109399" y="548176"/>
                  </a:cubicBezTo>
                  <a:cubicBezTo>
                    <a:pt x="106509" y="540217"/>
                    <a:pt x="93955" y="543002"/>
                    <a:pt x="90567" y="534247"/>
                  </a:cubicBezTo>
                  <a:cubicBezTo>
                    <a:pt x="87278" y="527980"/>
                    <a:pt x="85883" y="518429"/>
                    <a:pt x="79506" y="514350"/>
                  </a:cubicBezTo>
                  <a:lnTo>
                    <a:pt x="86481" y="505396"/>
                  </a:lnTo>
                  <a:cubicBezTo>
                    <a:pt x="83791" y="501019"/>
                    <a:pt x="74026" y="500521"/>
                    <a:pt x="69542" y="500422"/>
                  </a:cubicBezTo>
                  <a:cubicBezTo>
                    <a:pt x="60335" y="492274"/>
                    <a:pt x="50689" y="484633"/>
                    <a:pt x="40645" y="477540"/>
                  </a:cubicBezTo>
                  <a:cubicBezTo>
                    <a:pt x="36819" y="467173"/>
                    <a:pt x="31448" y="457443"/>
                    <a:pt x="24702" y="448688"/>
                  </a:cubicBezTo>
                  <a:cubicBezTo>
                    <a:pt x="18534" y="446032"/>
                    <a:pt x="15694" y="438889"/>
                    <a:pt x="18354" y="432730"/>
                  </a:cubicBezTo>
                  <a:cubicBezTo>
                    <a:pt x="18494" y="432412"/>
                    <a:pt x="18654" y="432084"/>
                    <a:pt x="18823" y="431775"/>
                  </a:cubicBezTo>
                  <a:cubicBezTo>
                    <a:pt x="13342" y="420135"/>
                    <a:pt x="-7284" y="409391"/>
                    <a:pt x="2680" y="395960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03" name="Freeform: Shape 1702">
              <a:extLst>
                <a:ext uri="{FF2B5EF4-FFF2-40B4-BE49-F238E27FC236}">
                  <a16:creationId xmlns:a16="http://schemas.microsoft.com/office/drawing/2014/main" id="{39A864C1-6DAE-4E19-BDC8-A84BD72EA5BB}"/>
                </a:ext>
              </a:extLst>
            </p:cNvPr>
            <p:cNvSpPr/>
            <p:nvPr/>
          </p:nvSpPr>
          <p:spPr>
            <a:xfrm>
              <a:off x="2410973" y="1745642"/>
              <a:ext cx="410866" cy="652637"/>
            </a:xfrm>
            <a:custGeom>
              <a:avLst/>
              <a:gdLst>
                <a:gd name="connsiteX0" fmla="*/ 146 w 410866"/>
                <a:gd name="connsiteY0" fmla="*/ 637715 h 652637"/>
                <a:gd name="connsiteX1" fmla="*/ 6125 w 410866"/>
                <a:gd name="connsiteY1" fmla="*/ 621796 h 652637"/>
                <a:gd name="connsiteX2" fmla="*/ 9214 w 410866"/>
                <a:gd name="connsiteY2" fmla="*/ 606873 h 652637"/>
                <a:gd name="connsiteX3" fmla="*/ 12104 w 410866"/>
                <a:gd name="connsiteY3" fmla="*/ 578022 h 652637"/>
                <a:gd name="connsiteX4" fmla="*/ 50964 w 410866"/>
                <a:gd name="connsiteY4" fmla="*/ 534248 h 652637"/>
                <a:gd name="connsiteX5" fmla="*/ 55947 w 410866"/>
                <a:gd name="connsiteY5" fmla="*/ 513355 h 652637"/>
                <a:gd name="connsiteX6" fmla="*/ 70893 w 410866"/>
                <a:gd name="connsiteY6" fmla="*/ 494453 h 652637"/>
                <a:gd name="connsiteX7" fmla="*/ 64915 w 410866"/>
                <a:gd name="connsiteY7" fmla="*/ 475550 h 652637"/>
                <a:gd name="connsiteX8" fmla="*/ 66908 w 410866"/>
                <a:gd name="connsiteY8" fmla="*/ 460627 h 652637"/>
                <a:gd name="connsiteX9" fmla="*/ 62025 w 410866"/>
                <a:gd name="connsiteY9" fmla="*/ 446699 h 652637"/>
                <a:gd name="connsiteX10" fmla="*/ 53057 w 410866"/>
                <a:gd name="connsiteY10" fmla="*/ 429786 h 652637"/>
                <a:gd name="connsiteX11" fmla="*/ 60929 w 410866"/>
                <a:gd name="connsiteY11" fmla="*/ 421827 h 652637"/>
                <a:gd name="connsiteX12" fmla="*/ 67008 w 410866"/>
                <a:gd name="connsiteY12" fmla="*/ 398945 h 652637"/>
                <a:gd name="connsiteX13" fmla="*/ 67904 w 410866"/>
                <a:gd name="connsiteY13" fmla="*/ 8954 h 652637"/>
                <a:gd name="connsiteX14" fmla="*/ 87833 w 410866"/>
                <a:gd name="connsiteY14" fmla="*/ 22882 h 652637"/>
                <a:gd name="connsiteX15" fmla="*/ 155591 w 410866"/>
                <a:gd name="connsiteY15" fmla="*/ 0 h 652637"/>
                <a:gd name="connsiteX16" fmla="*/ 409683 w 410866"/>
                <a:gd name="connsiteY16" fmla="*/ 0 h 652637"/>
                <a:gd name="connsiteX17" fmla="*/ 408687 w 410866"/>
                <a:gd name="connsiteY17" fmla="*/ 391980 h 652637"/>
                <a:gd name="connsiteX18" fmla="*/ 397826 w 410866"/>
                <a:gd name="connsiteY18" fmla="*/ 446699 h 652637"/>
                <a:gd name="connsiteX19" fmla="*/ 400715 w 410866"/>
                <a:gd name="connsiteY19" fmla="*/ 468586 h 652637"/>
                <a:gd name="connsiteX20" fmla="*/ 408687 w 410866"/>
                <a:gd name="connsiteY20" fmla="*/ 490473 h 652637"/>
                <a:gd name="connsiteX21" fmla="*/ 361854 w 410866"/>
                <a:gd name="connsiteY21" fmla="*/ 506391 h 652637"/>
                <a:gd name="connsiteX22" fmla="*/ 334950 w 410866"/>
                <a:gd name="connsiteY22" fmla="*/ 498432 h 652637"/>
                <a:gd name="connsiteX23" fmla="*/ 330068 w 410866"/>
                <a:gd name="connsiteY23" fmla="*/ 510370 h 652637"/>
                <a:gd name="connsiteX24" fmla="*/ 332958 w 410866"/>
                <a:gd name="connsiteY24" fmla="*/ 528278 h 652637"/>
                <a:gd name="connsiteX25" fmla="*/ 321996 w 410866"/>
                <a:gd name="connsiteY25" fmla="*/ 541212 h 652637"/>
                <a:gd name="connsiteX26" fmla="*/ 307050 w 410866"/>
                <a:gd name="connsiteY26" fmla="*/ 549171 h 652637"/>
                <a:gd name="connsiteX27" fmla="*/ 299078 w 410866"/>
                <a:gd name="connsiteY27" fmla="*/ 569068 h 652637"/>
                <a:gd name="connsiteX28" fmla="*/ 282139 w 410866"/>
                <a:gd name="connsiteY28" fmla="*/ 571058 h 652637"/>
                <a:gd name="connsiteX29" fmla="*/ 272174 w 410866"/>
                <a:gd name="connsiteY29" fmla="*/ 586976 h 652637"/>
                <a:gd name="connsiteX30" fmla="*/ 269185 w 410866"/>
                <a:gd name="connsiteY30" fmla="*/ 611848 h 652637"/>
                <a:gd name="connsiteX31" fmla="*/ 233314 w 410866"/>
                <a:gd name="connsiteY31" fmla="*/ 612843 h 652637"/>
                <a:gd name="connsiteX32" fmla="*/ 214481 w 410866"/>
                <a:gd name="connsiteY32" fmla="*/ 594935 h 652637"/>
                <a:gd name="connsiteX33" fmla="*/ 200431 w 410866"/>
                <a:gd name="connsiteY33" fmla="*/ 608863 h 652637"/>
                <a:gd name="connsiteX34" fmla="*/ 195448 w 410866"/>
                <a:gd name="connsiteY34" fmla="*/ 631745 h 652637"/>
                <a:gd name="connsiteX35" fmla="*/ 182495 w 410866"/>
                <a:gd name="connsiteY35" fmla="*/ 639704 h 652637"/>
                <a:gd name="connsiteX36" fmla="*/ 157683 w 410866"/>
                <a:gd name="connsiteY36" fmla="*/ 616822 h 652637"/>
                <a:gd name="connsiteX37" fmla="*/ 132673 w 410866"/>
                <a:gd name="connsiteY37" fmla="*/ 628761 h 652637"/>
                <a:gd name="connsiteX38" fmla="*/ 120715 w 410866"/>
                <a:gd name="connsiteY38" fmla="*/ 652638 h 652637"/>
                <a:gd name="connsiteX39" fmla="*/ 80858 w 410866"/>
                <a:gd name="connsiteY39" fmla="*/ 624781 h 652637"/>
                <a:gd name="connsiteX40" fmla="*/ 56943 w 410866"/>
                <a:gd name="connsiteY40" fmla="*/ 631745 h 652637"/>
                <a:gd name="connsiteX41" fmla="*/ 42993 w 410866"/>
                <a:gd name="connsiteY41" fmla="*/ 633735 h 652637"/>
                <a:gd name="connsiteX42" fmla="*/ 24161 w 410866"/>
                <a:gd name="connsiteY42" fmla="*/ 628761 h 652637"/>
                <a:gd name="connsiteX43" fmla="*/ 20175 w 410866"/>
                <a:gd name="connsiteY43" fmla="*/ 644678 h 652637"/>
                <a:gd name="connsiteX44" fmla="*/ 146 w 410866"/>
                <a:gd name="connsiteY44" fmla="*/ 637715 h 652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10866" h="652637">
                  <a:moveTo>
                    <a:pt x="146" y="637715"/>
                  </a:moveTo>
                  <a:cubicBezTo>
                    <a:pt x="3235" y="635924"/>
                    <a:pt x="5428" y="624881"/>
                    <a:pt x="6125" y="621796"/>
                  </a:cubicBezTo>
                  <a:cubicBezTo>
                    <a:pt x="5328" y="616126"/>
                    <a:pt x="2438" y="609559"/>
                    <a:pt x="9214" y="606873"/>
                  </a:cubicBezTo>
                  <a:cubicBezTo>
                    <a:pt x="24061" y="585384"/>
                    <a:pt x="9812" y="594736"/>
                    <a:pt x="12104" y="578022"/>
                  </a:cubicBezTo>
                  <a:cubicBezTo>
                    <a:pt x="42893" y="562900"/>
                    <a:pt x="31135" y="548972"/>
                    <a:pt x="50964" y="534248"/>
                  </a:cubicBezTo>
                  <a:cubicBezTo>
                    <a:pt x="49968" y="527383"/>
                    <a:pt x="55448" y="520120"/>
                    <a:pt x="55947" y="513355"/>
                  </a:cubicBezTo>
                  <a:cubicBezTo>
                    <a:pt x="63251" y="509296"/>
                    <a:pt x="68631" y="502491"/>
                    <a:pt x="70893" y="494453"/>
                  </a:cubicBezTo>
                  <a:cubicBezTo>
                    <a:pt x="69997" y="488981"/>
                    <a:pt x="66310" y="480723"/>
                    <a:pt x="64915" y="475550"/>
                  </a:cubicBezTo>
                  <a:cubicBezTo>
                    <a:pt x="66848" y="470824"/>
                    <a:pt x="67535" y="465691"/>
                    <a:pt x="66908" y="460627"/>
                  </a:cubicBezTo>
                  <a:cubicBezTo>
                    <a:pt x="61876" y="457980"/>
                    <a:pt x="59753" y="451902"/>
                    <a:pt x="62025" y="446699"/>
                  </a:cubicBezTo>
                  <a:cubicBezTo>
                    <a:pt x="57033" y="442371"/>
                    <a:pt x="53834" y="436342"/>
                    <a:pt x="53057" y="429786"/>
                  </a:cubicBezTo>
                  <a:cubicBezTo>
                    <a:pt x="52061" y="428990"/>
                    <a:pt x="60630" y="422225"/>
                    <a:pt x="60929" y="421827"/>
                  </a:cubicBezTo>
                  <a:cubicBezTo>
                    <a:pt x="58139" y="413768"/>
                    <a:pt x="54652" y="399940"/>
                    <a:pt x="67008" y="398945"/>
                  </a:cubicBezTo>
                  <a:cubicBezTo>
                    <a:pt x="66509" y="269611"/>
                    <a:pt x="68502" y="138486"/>
                    <a:pt x="67904" y="8954"/>
                  </a:cubicBezTo>
                  <a:cubicBezTo>
                    <a:pt x="77868" y="20494"/>
                    <a:pt x="80758" y="5969"/>
                    <a:pt x="87833" y="22882"/>
                  </a:cubicBezTo>
                  <a:cubicBezTo>
                    <a:pt x="112246" y="26961"/>
                    <a:pt x="135363" y="11242"/>
                    <a:pt x="155591" y="0"/>
                  </a:cubicBezTo>
                  <a:cubicBezTo>
                    <a:pt x="238694" y="2089"/>
                    <a:pt x="326580" y="1194"/>
                    <a:pt x="409683" y="0"/>
                  </a:cubicBezTo>
                  <a:cubicBezTo>
                    <a:pt x="409683" y="130229"/>
                    <a:pt x="409185" y="261751"/>
                    <a:pt x="408687" y="391980"/>
                  </a:cubicBezTo>
                  <a:cubicBezTo>
                    <a:pt x="404103" y="409092"/>
                    <a:pt x="416360" y="437148"/>
                    <a:pt x="397826" y="446699"/>
                  </a:cubicBezTo>
                  <a:cubicBezTo>
                    <a:pt x="403107" y="453663"/>
                    <a:pt x="410381" y="462119"/>
                    <a:pt x="400715" y="468586"/>
                  </a:cubicBezTo>
                  <a:cubicBezTo>
                    <a:pt x="416958" y="476644"/>
                    <a:pt x="408886" y="475351"/>
                    <a:pt x="408687" y="490473"/>
                  </a:cubicBezTo>
                  <a:cubicBezTo>
                    <a:pt x="391548" y="486295"/>
                    <a:pt x="375804" y="498830"/>
                    <a:pt x="361854" y="506391"/>
                  </a:cubicBezTo>
                  <a:cubicBezTo>
                    <a:pt x="354182" y="496442"/>
                    <a:pt x="346210" y="497736"/>
                    <a:pt x="334950" y="498432"/>
                  </a:cubicBezTo>
                  <a:cubicBezTo>
                    <a:pt x="328374" y="499725"/>
                    <a:pt x="328972" y="504998"/>
                    <a:pt x="330068" y="510370"/>
                  </a:cubicBezTo>
                  <a:cubicBezTo>
                    <a:pt x="329569" y="516489"/>
                    <a:pt x="330556" y="522627"/>
                    <a:pt x="332958" y="528278"/>
                  </a:cubicBezTo>
                  <a:cubicBezTo>
                    <a:pt x="331363" y="533352"/>
                    <a:pt x="323989" y="535839"/>
                    <a:pt x="321996" y="541212"/>
                  </a:cubicBezTo>
                  <a:cubicBezTo>
                    <a:pt x="317612" y="542107"/>
                    <a:pt x="308843" y="544196"/>
                    <a:pt x="307050" y="549171"/>
                  </a:cubicBezTo>
                  <a:cubicBezTo>
                    <a:pt x="305725" y="556264"/>
                    <a:pt x="303015" y="563019"/>
                    <a:pt x="299078" y="569068"/>
                  </a:cubicBezTo>
                  <a:cubicBezTo>
                    <a:pt x="294216" y="572769"/>
                    <a:pt x="287729" y="573535"/>
                    <a:pt x="282139" y="571058"/>
                  </a:cubicBezTo>
                  <a:cubicBezTo>
                    <a:pt x="279857" y="576948"/>
                    <a:pt x="276479" y="582350"/>
                    <a:pt x="272174" y="586976"/>
                  </a:cubicBezTo>
                  <a:cubicBezTo>
                    <a:pt x="272174" y="593045"/>
                    <a:pt x="270181" y="605779"/>
                    <a:pt x="269185" y="611848"/>
                  </a:cubicBezTo>
                  <a:cubicBezTo>
                    <a:pt x="246467" y="628164"/>
                    <a:pt x="258423" y="613340"/>
                    <a:pt x="233314" y="612843"/>
                  </a:cubicBezTo>
                  <a:cubicBezTo>
                    <a:pt x="228331" y="608366"/>
                    <a:pt x="222452" y="588767"/>
                    <a:pt x="214481" y="594935"/>
                  </a:cubicBezTo>
                  <a:cubicBezTo>
                    <a:pt x="208103" y="595930"/>
                    <a:pt x="203420" y="603789"/>
                    <a:pt x="200431" y="608863"/>
                  </a:cubicBezTo>
                  <a:cubicBezTo>
                    <a:pt x="187975" y="606575"/>
                    <a:pt x="195050" y="624781"/>
                    <a:pt x="195448" y="631745"/>
                  </a:cubicBezTo>
                  <a:cubicBezTo>
                    <a:pt x="187776" y="630253"/>
                    <a:pt x="182495" y="630353"/>
                    <a:pt x="182495" y="639704"/>
                  </a:cubicBezTo>
                  <a:cubicBezTo>
                    <a:pt x="171584" y="635546"/>
                    <a:pt x="162706" y="627348"/>
                    <a:pt x="157683" y="616822"/>
                  </a:cubicBezTo>
                  <a:cubicBezTo>
                    <a:pt x="149314" y="620304"/>
                    <a:pt x="142239" y="628562"/>
                    <a:pt x="132673" y="628761"/>
                  </a:cubicBezTo>
                  <a:cubicBezTo>
                    <a:pt x="128089" y="635526"/>
                    <a:pt x="126495" y="646469"/>
                    <a:pt x="120715" y="652638"/>
                  </a:cubicBezTo>
                  <a:cubicBezTo>
                    <a:pt x="112445" y="638809"/>
                    <a:pt x="94011" y="632740"/>
                    <a:pt x="80858" y="624781"/>
                  </a:cubicBezTo>
                  <a:cubicBezTo>
                    <a:pt x="73883" y="630750"/>
                    <a:pt x="63719" y="625577"/>
                    <a:pt x="56943" y="631745"/>
                  </a:cubicBezTo>
                  <a:cubicBezTo>
                    <a:pt x="56943" y="642390"/>
                    <a:pt x="48274" y="640600"/>
                    <a:pt x="42993" y="633735"/>
                  </a:cubicBezTo>
                  <a:cubicBezTo>
                    <a:pt x="36327" y="636740"/>
                    <a:pt x="28465" y="634660"/>
                    <a:pt x="24161" y="628761"/>
                  </a:cubicBezTo>
                  <a:cubicBezTo>
                    <a:pt x="14196" y="629556"/>
                    <a:pt x="15790" y="638709"/>
                    <a:pt x="20175" y="644678"/>
                  </a:cubicBezTo>
                  <a:cubicBezTo>
                    <a:pt x="15292" y="656717"/>
                    <a:pt x="-1747" y="646071"/>
                    <a:pt x="146" y="637715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04" name="Freeform: Shape 1703">
              <a:extLst>
                <a:ext uri="{FF2B5EF4-FFF2-40B4-BE49-F238E27FC236}">
                  <a16:creationId xmlns:a16="http://schemas.microsoft.com/office/drawing/2014/main" id="{9A8A7FF8-A2CD-4A30-8A8B-A21613174550}"/>
                </a:ext>
              </a:extLst>
            </p:cNvPr>
            <p:cNvSpPr/>
            <p:nvPr/>
          </p:nvSpPr>
          <p:spPr>
            <a:xfrm>
              <a:off x="-1607556" y="1705774"/>
              <a:ext cx="751246" cy="1124280"/>
            </a:xfrm>
            <a:custGeom>
              <a:avLst/>
              <a:gdLst>
                <a:gd name="connsiteX0" fmla="*/ 1027 w 751246"/>
                <a:gd name="connsiteY0" fmla="*/ 443787 h 1124280"/>
                <a:gd name="connsiteX1" fmla="*/ 2023 w 751246"/>
                <a:gd name="connsiteY1" fmla="*/ 137366 h 1124280"/>
                <a:gd name="connsiteX2" fmla="*/ 2023 w 751246"/>
                <a:gd name="connsiteY2" fmla="*/ 1068 h 1124280"/>
                <a:gd name="connsiteX3" fmla="*/ 35802 w 751246"/>
                <a:gd name="connsiteY3" fmla="*/ 73 h 1124280"/>
                <a:gd name="connsiteX4" fmla="*/ 751247 w 751246"/>
                <a:gd name="connsiteY4" fmla="*/ 1068 h 1124280"/>
                <a:gd name="connsiteX5" fmla="*/ 750350 w 751246"/>
                <a:gd name="connsiteY5" fmla="*/ 696485 h 1124280"/>
                <a:gd name="connsiteX6" fmla="*/ 750350 w 751246"/>
                <a:gd name="connsiteY6" fmla="*/ 876557 h 1124280"/>
                <a:gd name="connsiteX7" fmla="*/ 739389 w 751246"/>
                <a:gd name="connsiteY7" fmla="*/ 962116 h 1124280"/>
                <a:gd name="connsiteX8" fmla="*/ 713581 w 751246"/>
                <a:gd name="connsiteY8" fmla="*/ 953162 h 1124280"/>
                <a:gd name="connsiteX9" fmla="*/ 695546 w 751246"/>
                <a:gd name="connsiteY9" fmla="*/ 950178 h 1124280"/>
                <a:gd name="connsiteX10" fmla="*/ 663759 w 751246"/>
                <a:gd name="connsiteY10" fmla="*/ 954157 h 1124280"/>
                <a:gd name="connsiteX11" fmla="*/ 672727 w 751246"/>
                <a:gd name="connsiteY11" fmla="*/ 990968 h 1124280"/>
                <a:gd name="connsiteX12" fmla="*/ 674621 w 751246"/>
                <a:gd name="connsiteY12" fmla="*/ 1030763 h 1124280"/>
                <a:gd name="connsiteX13" fmla="*/ 672727 w 751246"/>
                <a:gd name="connsiteY13" fmla="*/ 1055635 h 1124280"/>
                <a:gd name="connsiteX14" fmla="*/ 684685 w 751246"/>
                <a:gd name="connsiteY14" fmla="*/ 1103388 h 1124280"/>
                <a:gd name="connsiteX15" fmla="*/ 676613 w 751246"/>
                <a:gd name="connsiteY15" fmla="*/ 1124281 h 1124280"/>
                <a:gd name="connsiteX16" fmla="*/ 199418 w 751246"/>
                <a:gd name="connsiteY16" fmla="*/ 672608 h 1124280"/>
                <a:gd name="connsiteX17" fmla="*/ 53937 w 751246"/>
                <a:gd name="connsiteY17" fmla="*/ 541284 h 1124280"/>
                <a:gd name="connsiteX18" fmla="*/ 1027 w 751246"/>
                <a:gd name="connsiteY18" fmla="*/ 443787 h 1124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51246" h="1124280">
                  <a:moveTo>
                    <a:pt x="1027" y="443787"/>
                  </a:moveTo>
                  <a:cubicBezTo>
                    <a:pt x="3019" y="343802"/>
                    <a:pt x="1724" y="237450"/>
                    <a:pt x="2023" y="137366"/>
                  </a:cubicBezTo>
                  <a:cubicBezTo>
                    <a:pt x="2023" y="100356"/>
                    <a:pt x="2023" y="37878"/>
                    <a:pt x="2023" y="1068"/>
                  </a:cubicBezTo>
                  <a:lnTo>
                    <a:pt x="35802" y="73"/>
                  </a:lnTo>
                  <a:cubicBezTo>
                    <a:pt x="273653" y="2063"/>
                    <a:pt x="513496" y="-1718"/>
                    <a:pt x="751247" y="1068"/>
                  </a:cubicBezTo>
                  <a:cubicBezTo>
                    <a:pt x="751247" y="231978"/>
                    <a:pt x="749752" y="465575"/>
                    <a:pt x="750350" y="696485"/>
                  </a:cubicBezTo>
                  <a:cubicBezTo>
                    <a:pt x="748258" y="754884"/>
                    <a:pt x="751346" y="817959"/>
                    <a:pt x="750350" y="876557"/>
                  </a:cubicBezTo>
                  <a:cubicBezTo>
                    <a:pt x="750350" y="902921"/>
                    <a:pt x="754635" y="939433"/>
                    <a:pt x="739389" y="962116"/>
                  </a:cubicBezTo>
                  <a:cubicBezTo>
                    <a:pt x="735603" y="975348"/>
                    <a:pt x="714179" y="963808"/>
                    <a:pt x="713581" y="953162"/>
                  </a:cubicBezTo>
                  <a:cubicBezTo>
                    <a:pt x="708101" y="942418"/>
                    <a:pt x="702521" y="952466"/>
                    <a:pt x="695546" y="950178"/>
                  </a:cubicBezTo>
                  <a:cubicBezTo>
                    <a:pt x="685581" y="941025"/>
                    <a:pt x="674023" y="953162"/>
                    <a:pt x="663759" y="954157"/>
                  </a:cubicBezTo>
                  <a:cubicBezTo>
                    <a:pt x="660332" y="967150"/>
                    <a:pt x="663710" y="980999"/>
                    <a:pt x="672727" y="990968"/>
                  </a:cubicBezTo>
                  <a:cubicBezTo>
                    <a:pt x="665493" y="1003453"/>
                    <a:pt x="666230" y="1019013"/>
                    <a:pt x="674621" y="1030763"/>
                  </a:cubicBezTo>
                  <a:cubicBezTo>
                    <a:pt x="673046" y="1038951"/>
                    <a:pt x="672408" y="1047297"/>
                    <a:pt x="672727" y="1055635"/>
                  </a:cubicBezTo>
                  <a:cubicBezTo>
                    <a:pt x="682692" y="1065583"/>
                    <a:pt x="682692" y="1090057"/>
                    <a:pt x="684685" y="1103388"/>
                  </a:cubicBezTo>
                  <a:cubicBezTo>
                    <a:pt x="676115" y="1106174"/>
                    <a:pt x="677809" y="1116322"/>
                    <a:pt x="676613" y="1124281"/>
                  </a:cubicBezTo>
                  <a:cubicBezTo>
                    <a:pt x="521966" y="971269"/>
                    <a:pt x="360243" y="819153"/>
                    <a:pt x="199418" y="672608"/>
                  </a:cubicBezTo>
                  <a:cubicBezTo>
                    <a:pt x="155475" y="630923"/>
                    <a:pt x="98080" y="582174"/>
                    <a:pt x="53937" y="541284"/>
                  </a:cubicBezTo>
                  <a:cubicBezTo>
                    <a:pt x="9795" y="500395"/>
                    <a:pt x="-4155" y="510046"/>
                    <a:pt x="1027" y="443787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05" name="Freeform: Shape 1704">
              <a:extLst>
                <a:ext uri="{FF2B5EF4-FFF2-40B4-BE49-F238E27FC236}">
                  <a16:creationId xmlns:a16="http://schemas.microsoft.com/office/drawing/2014/main" id="{543E72F5-9E8D-4529-8735-9950E6238492}"/>
                </a:ext>
              </a:extLst>
            </p:cNvPr>
            <p:cNvSpPr/>
            <p:nvPr/>
          </p:nvSpPr>
          <p:spPr>
            <a:xfrm>
              <a:off x="4214742" y="1697291"/>
              <a:ext cx="243445" cy="179077"/>
            </a:xfrm>
            <a:custGeom>
              <a:avLst/>
              <a:gdLst>
                <a:gd name="connsiteX0" fmla="*/ 2924 w 243445"/>
                <a:gd name="connsiteY0" fmla="*/ 157190 h 179077"/>
                <a:gd name="connsiteX1" fmla="*/ 29828 w 243445"/>
                <a:gd name="connsiteY1" fmla="*/ 141272 h 179077"/>
                <a:gd name="connsiteX2" fmla="*/ 23850 w 243445"/>
                <a:gd name="connsiteY2" fmla="*/ 88544 h 179077"/>
                <a:gd name="connsiteX3" fmla="*/ 29828 w 243445"/>
                <a:gd name="connsiteY3" fmla="*/ 0 h 179077"/>
                <a:gd name="connsiteX4" fmla="*/ 109544 w 243445"/>
                <a:gd name="connsiteY4" fmla="*/ 2985 h 179077"/>
                <a:gd name="connsiteX5" fmla="*/ 123494 w 243445"/>
                <a:gd name="connsiteY5" fmla="*/ 2985 h 179077"/>
                <a:gd name="connsiteX6" fmla="*/ 218156 w 243445"/>
                <a:gd name="connsiteY6" fmla="*/ 3980 h 179077"/>
                <a:gd name="connsiteX7" fmla="*/ 242170 w 243445"/>
                <a:gd name="connsiteY7" fmla="*/ 41785 h 179077"/>
                <a:gd name="connsiteX8" fmla="*/ 234099 w 243445"/>
                <a:gd name="connsiteY8" fmla="*/ 123365 h 179077"/>
                <a:gd name="connsiteX9" fmla="*/ 204205 w 243445"/>
                <a:gd name="connsiteY9" fmla="*/ 124359 h 179077"/>
                <a:gd name="connsiteX10" fmla="*/ 191252 w 243445"/>
                <a:gd name="connsiteY10" fmla="*/ 123365 h 179077"/>
                <a:gd name="connsiteX11" fmla="*/ 168334 w 243445"/>
                <a:gd name="connsiteY11" fmla="*/ 132318 h 179077"/>
                <a:gd name="connsiteX12" fmla="*/ 149401 w 243445"/>
                <a:gd name="connsiteY12" fmla="*/ 134308 h 179077"/>
                <a:gd name="connsiteX13" fmla="*/ 134455 w 243445"/>
                <a:gd name="connsiteY13" fmla="*/ 132318 h 179077"/>
                <a:gd name="connsiteX14" fmla="*/ 117515 w 243445"/>
                <a:gd name="connsiteY14" fmla="*/ 132318 h 179077"/>
                <a:gd name="connsiteX15" fmla="*/ 105558 w 243445"/>
                <a:gd name="connsiteY15" fmla="*/ 136298 h 179077"/>
                <a:gd name="connsiteX16" fmla="*/ 88619 w 243445"/>
                <a:gd name="connsiteY16" fmla="*/ 142267 h 179077"/>
                <a:gd name="connsiteX17" fmla="*/ 76761 w 243445"/>
                <a:gd name="connsiteY17" fmla="*/ 151221 h 179077"/>
                <a:gd name="connsiteX18" fmla="*/ 65700 w 243445"/>
                <a:gd name="connsiteY18" fmla="*/ 150226 h 179077"/>
                <a:gd name="connsiteX19" fmla="*/ 43779 w 243445"/>
                <a:gd name="connsiteY19" fmla="*/ 159180 h 179077"/>
                <a:gd name="connsiteX20" fmla="*/ 31821 w 243445"/>
                <a:gd name="connsiteY20" fmla="*/ 168134 h 179077"/>
                <a:gd name="connsiteX21" fmla="*/ 7906 w 243445"/>
                <a:gd name="connsiteY21" fmla="*/ 179077 h 179077"/>
                <a:gd name="connsiteX22" fmla="*/ 2924 w 243445"/>
                <a:gd name="connsiteY22" fmla="*/ 157190 h 179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3445" h="179077">
                  <a:moveTo>
                    <a:pt x="2924" y="157190"/>
                  </a:moveTo>
                  <a:lnTo>
                    <a:pt x="29828" y="141272"/>
                  </a:lnTo>
                  <a:cubicBezTo>
                    <a:pt x="17373" y="126647"/>
                    <a:pt x="23551" y="105954"/>
                    <a:pt x="23850" y="88544"/>
                  </a:cubicBezTo>
                  <a:cubicBezTo>
                    <a:pt x="25544" y="62677"/>
                    <a:pt x="27736" y="26066"/>
                    <a:pt x="29828" y="0"/>
                  </a:cubicBezTo>
                  <a:cubicBezTo>
                    <a:pt x="54540" y="895"/>
                    <a:pt x="85131" y="1890"/>
                    <a:pt x="109544" y="2985"/>
                  </a:cubicBezTo>
                  <a:cubicBezTo>
                    <a:pt x="113131" y="9750"/>
                    <a:pt x="120704" y="10745"/>
                    <a:pt x="123494" y="2985"/>
                  </a:cubicBezTo>
                  <a:cubicBezTo>
                    <a:pt x="154483" y="3582"/>
                    <a:pt x="187166" y="2985"/>
                    <a:pt x="218156" y="3980"/>
                  </a:cubicBezTo>
                  <a:cubicBezTo>
                    <a:pt x="255522" y="2686"/>
                    <a:pt x="238583" y="13928"/>
                    <a:pt x="242170" y="41785"/>
                  </a:cubicBezTo>
                  <a:cubicBezTo>
                    <a:pt x="244163" y="70537"/>
                    <a:pt x="245259" y="100482"/>
                    <a:pt x="234099" y="123365"/>
                  </a:cubicBezTo>
                  <a:cubicBezTo>
                    <a:pt x="227522" y="116201"/>
                    <a:pt x="213174" y="125553"/>
                    <a:pt x="204205" y="124359"/>
                  </a:cubicBezTo>
                  <a:cubicBezTo>
                    <a:pt x="200818" y="127245"/>
                    <a:pt x="194241" y="124956"/>
                    <a:pt x="191252" y="123365"/>
                  </a:cubicBezTo>
                  <a:cubicBezTo>
                    <a:pt x="185472" y="129334"/>
                    <a:pt x="175209" y="128836"/>
                    <a:pt x="168334" y="132318"/>
                  </a:cubicBezTo>
                  <a:cubicBezTo>
                    <a:pt x="163850" y="127941"/>
                    <a:pt x="154483" y="132318"/>
                    <a:pt x="149401" y="134308"/>
                  </a:cubicBezTo>
                  <a:cubicBezTo>
                    <a:pt x="145017" y="133612"/>
                    <a:pt x="139437" y="130030"/>
                    <a:pt x="134455" y="132318"/>
                  </a:cubicBezTo>
                  <a:cubicBezTo>
                    <a:pt x="129472" y="134606"/>
                    <a:pt x="120106" y="139083"/>
                    <a:pt x="117515" y="132318"/>
                  </a:cubicBezTo>
                  <a:lnTo>
                    <a:pt x="105558" y="136298"/>
                  </a:lnTo>
                  <a:cubicBezTo>
                    <a:pt x="98683" y="131522"/>
                    <a:pt x="92903" y="136298"/>
                    <a:pt x="88619" y="142267"/>
                  </a:cubicBezTo>
                  <a:cubicBezTo>
                    <a:pt x="83158" y="142436"/>
                    <a:pt x="78405" y="146028"/>
                    <a:pt x="76761" y="151221"/>
                  </a:cubicBezTo>
                  <a:cubicBezTo>
                    <a:pt x="74070" y="153211"/>
                    <a:pt x="68590" y="151221"/>
                    <a:pt x="65700" y="150226"/>
                  </a:cubicBezTo>
                  <a:cubicBezTo>
                    <a:pt x="59851" y="155976"/>
                    <a:pt x="51979" y="159190"/>
                    <a:pt x="43779" y="159180"/>
                  </a:cubicBezTo>
                  <a:cubicBezTo>
                    <a:pt x="49359" y="165547"/>
                    <a:pt x="37102" y="169129"/>
                    <a:pt x="31821" y="168134"/>
                  </a:cubicBezTo>
                  <a:cubicBezTo>
                    <a:pt x="23571" y="171128"/>
                    <a:pt x="15569" y="174789"/>
                    <a:pt x="7906" y="179077"/>
                  </a:cubicBezTo>
                  <a:cubicBezTo>
                    <a:pt x="11992" y="171218"/>
                    <a:pt x="-7040" y="160672"/>
                    <a:pt x="2924" y="157190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06" name="Freeform: Shape 1705">
              <a:extLst>
                <a:ext uri="{FF2B5EF4-FFF2-40B4-BE49-F238E27FC236}">
                  <a16:creationId xmlns:a16="http://schemas.microsoft.com/office/drawing/2014/main" id="{3E6A3EB9-B3CB-4021-901F-4C12A3A915CC}"/>
                </a:ext>
              </a:extLst>
            </p:cNvPr>
            <p:cNvSpPr/>
            <p:nvPr/>
          </p:nvSpPr>
          <p:spPr>
            <a:xfrm>
              <a:off x="3787203" y="2202687"/>
              <a:ext cx="26904" cy="32830"/>
            </a:xfrm>
            <a:custGeom>
              <a:avLst/>
              <a:gdLst>
                <a:gd name="connsiteX0" fmla="*/ 0 w 26904"/>
                <a:gd name="connsiteY0" fmla="*/ 9949 h 32830"/>
                <a:gd name="connsiteX1" fmla="*/ 9964 w 26904"/>
                <a:gd name="connsiteY1" fmla="*/ 0 h 32830"/>
                <a:gd name="connsiteX2" fmla="*/ 26904 w 26904"/>
                <a:gd name="connsiteY2" fmla="*/ 15918 h 32830"/>
                <a:gd name="connsiteX3" fmla="*/ 9964 w 26904"/>
                <a:gd name="connsiteY3" fmla="*/ 32831 h 32830"/>
                <a:gd name="connsiteX4" fmla="*/ 0 w 26904"/>
                <a:gd name="connsiteY4" fmla="*/ 9949 h 32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04" h="32830">
                  <a:moveTo>
                    <a:pt x="0" y="9949"/>
                  </a:moveTo>
                  <a:lnTo>
                    <a:pt x="9964" y="0"/>
                  </a:lnTo>
                  <a:cubicBezTo>
                    <a:pt x="13153" y="3383"/>
                    <a:pt x="23417" y="12734"/>
                    <a:pt x="26904" y="15918"/>
                  </a:cubicBezTo>
                  <a:lnTo>
                    <a:pt x="9964" y="32831"/>
                  </a:lnTo>
                  <a:cubicBezTo>
                    <a:pt x="11778" y="23867"/>
                    <a:pt x="7802" y="14734"/>
                    <a:pt x="0" y="9949"/>
                  </a:cubicBezTo>
                  <a:close/>
                </a:path>
              </a:pathLst>
            </a:custGeom>
            <a:solidFill>
              <a:srgbClr val="ECE8E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07" name="Freeform: Shape 1706">
              <a:extLst>
                <a:ext uri="{FF2B5EF4-FFF2-40B4-BE49-F238E27FC236}">
                  <a16:creationId xmlns:a16="http://schemas.microsoft.com/office/drawing/2014/main" id="{BB1965B9-A289-4952-AC49-1D04D8B8D931}"/>
                </a:ext>
              </a:extLst>
            </p:cNvPr>
            <p:cNvSpPr/>
            <p:nvPr/>
          </p:nvSpPr>
          <p:spPr>
            <a:xfrm>
              <a:off x="4448840" y="1702809"/>
              <a:ext cx="91945" cy="145927"/>
            </a:xfrm>
            <a:custGeom>
              <a:avLst/>
              <a:gdLst>
                <a:gd name="connsiteX0" fmla="*/ 0 w 91945"/>
                <a:gd name="connsiteY0" fmla="*/ 117448 h 145927"/>
                <a:gd name="connsiteX1" fmla="*/ 7971 w 91945"/>
                <a:gd name="connsiteY1" fmla="*/ 1048 h 145927"/>
                <a:gd name="connsiteX2" fmla="*/ 59786 w 91945"/>
                <a:gd name="connsiteY2" fmla="*/ 53 h 145927"/>
                <a:gd name="connsiteX3" fmla="*/ 59786 w 91945"/>
                <a:gd name="connsiteY3" fmla="*/ 20945 h 145927"/>
                <a:gd name="connsiteX4" fmla="*/ 65765 w 91945"/>
                <a:gd name="connsiteY4" fmla="*/ 20945 h 145927"/>
                <a:gd name="connsiteX5" fmla="*/ 75729 w 91945"/>
                <a:gd name="connsiteY5" fmla="*/ 44822 h 145927"/>
                <a:gd name="connsiteX6" fmla="*/ 91673 w 91945"/>
                <a:gd name="connsiteY6" fmla="*/ 59746 h 145927"/>
                <a:gd name="connsiteX7" fmla="*/ 71744 w 91945"/>
                <a:gd name="connsiteY7" fmla="*/ 88597 h 145927"/>
                <a:gd name="connsiteX8" fmla="*/ 53808 w 91945"/>
                <a:gd name="connsiteY8" fmla="*/ 94566 h 145927"/>
                <a:gd name="connsiteX9" fmla="*/ 37865 w 91945"/>
                <a:gd name="connsiteY9" fmla="*/ 108494 h 145927"/>
                <a:gd name="connsiteX10" fmla="*/ 0 w 91945"/>
                <a:gd name="connsiteY10" fmla="*/ 118443 h 145927"/>
                <a:gd name="connsiteX11" fmla="*/ 28897 w 91945"/>
                <a:gd name="connsiteY11" fmla="*/ 142320 h 145927"/>
                <a:gd name="connsiteX12" fmla="*/ 39858 w 91945"/>
                <a:gd name="connsiteY12" fmla="*/ 130382 h 145927"/>
                <a:gd name="connsiteX13" fmla="*/ 42847 w 91945"/>
                <a:gd name="connsiteY13" fmla="*/ 145305 h 145927"/>
                <a:gd name="connsiteX14" fmla="*/ 28897 w 91945"/>
                <a:gd name="connsiteY14" fmla="*/ 142320 h 1459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945" h="145927">
                  <a:moveTo>
                    <a:pt x="0" y="117448"/>
                  </a:moveTo>
                  <a:cubicBezTo>
                    <a:pt x="15744" y="85712"/>
                    <a:pt x="6278" y="39848"/>
                    <a:pt x="7971" y="1048"/>
                  </a:cubicBezTo>
                  <a:cubicBezTo>
                    <a:pt x="23715" y="1645"/>
                    <a:pt x="44342" y="-345"/>
                    <a:pt x="59786" y="53"/>
                  </a:cubicBezTo>
                  <a:lnTo>
                    <a:pt x="59786" y="20945"/>
                  </a:lnTo>
                  <a:lnTo>
                    <a:pt x="65765" y="20945"/>
                  </a:lnTo>
                  <a:cubicBezTo>
                    <a:pt x="65765" y="30297"/>
                    <a:pt x="63971" y="42534"/>
                    <a:pt x="75729" y="44822"/>
                  </a:cubicBezTo>
                  <a:cubicBezTo>
                    <a:pt x="79317" y="51090"/>
                    <a:pt x="83302" y="60044"/>
                    <a:pt x="91673" y="59746"/>
                  </a:cubicBezTo>
                  <a:cubicBezTo>
                    <a:pt x="88584" y="77454"/>
                    <a:pt x="101637" y="103023"/>
                    <a:pt x="71744" y="88597"/>
                  </a:cubicBezTo>
                  <a:cubicBezTo>
                    <a:pt x="69452" y="100635"/>
                    <a:pt x="61779" y="92477"/>
                    <a:pt x="53808" y="94566"/>
                  </a:cubicBezTo>
                  <a:cubicBezTo>
                    <a:pt x="51317" y="103023"/>
                    <a:pt x="48327" y="111181"/>
                    <a:pt x="37865" y="108494"/>
                  </a:cubicBezTo>
                  <a:cubicBezTo>
                    <a:pt x="25808" y="111976"/>
                    <a:pt x="12456" y="116055"/>
                    <a:pt x="0" y="118443"/>
                  </a:cubicBezTo>
                  <a:close/>
                  <a:moveTo>
                    <a:pt x="28897" y="142320"/>
                  </a:moveTo>
                  <a:cubicBezTo>
                    <a:pt x="30889" y="138042"/>
                    <a:pt x="33480" y="128889"/>
                    <a:pt x="39858" y="130382"/>
                  </a:cubicBezTo>
                  <a:cubicBezTo>
                    <a:pt x="40037" y="135485"/>
                    <a:pt x="41044" y="140529"/>
                    <a:pt x="42847" y="145305"/>
                  </a:cubicBezTo>
                  <a:cubicBezTo>
                    <a:pt x="38562" y="146300"/>
                    <a:pt x="31786" y="146598"/>
                    <a:pt x="28897" y="142320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08" name="Freeform: Shape 1707">
              <a:extLst>
                <a:ext uri="{FF2B5EF4-FFF2-40B4-BE49-F238E27FC236}">
                  <a16:creationId xmlns:a16="http://schemas.microsoft.com/office/drawing/2014/main" id="{B8F4B186-151B-4756-BB8D-0C8959B2E852}"/>
                </a:ext>
              </a:extLst>
            </p:cNvPr>
            <p:cNvSpPr/>
            <p:nvPr/>
          </p:nvSpPr>
          <p:spPr>
            <a:xfrm>
              <a:off x="2360300" y="2829060"/>
              <a:ext cx="447956" cy="712802"/>
            </a:xfrm>
            <a:custGeom>
              <a:avLst/>
              <a:gdLst>
                <a:gd name="connsiteX0" fmla="*/ 0 w 447956"/>
                <a:gd name="connsiteY0" fmla="*/ 468586 h 712802"/>
                <a:gd name="connsiteX1" fmla="*/ 26903 w 447956"/>
                <a:gd name="connsiteY1" fmla="*/ 192011 h 712802"/>
                <a:gd name="connsiteX2" fmla="*/ 40854 w 447956"/>
                <a:gd name="connsiteY2" fmla="*/ 65662 h 712802"/>
                <a:gd name="connsiteX3" fmla="*/ 45836 w 447956"/>
                <a:gd name="connsiteY3" fmla="*/ 17908 h 712802"/>
                <a:gd name="connsiteX4" fmla="*/ 32882 w 447956"/>
                <a:gd name="connsiteY4" fmla="*/ 0 h 712802"/>
                <a:gd name="connsiteX5" fmla="*/ 271031 w 447956"/>
                <a:gd name="connsiteY5" fmla="*/ 2985 h 712802"/>
                <a:gd name="connsiteX6" fmla="*/ 375757 w 447956"/>
                <a:gd name="connsiteY6" fmla="*/ 101477 h 712802"/>
                <a:gd name="connsiteX7" fmla="*/ 415615 w 447956"/>
                <a:gd name="connsiteY7" fmla="*/ 330298 h 712802"/>
                <a:gd name="connsiteX8" fmla="*/ 427572 w 447956"/>
                <a:gd name="connsiteY8" fmla="*/ 367109 h 712802"/>
                <a:gd name="connsiteX9" fmla="*/ 434548 w 447956"/>
                <a:gd name="connsiteY9" fmla="*/ 402924 h 712802"/>
                <a:gd name="connsiteX10" fmla="*/ 428569 w 447956"/>
                <a:gd name="connsiteY10" fmla="*/ 432770 h 712802"/>
                <a:gd name="connsiteX11" fmla="*/ 418605 w 447956"/>
                <a:gd name="connsiteY11" fmla="*/ 476545 h 712802"/>
                <a:gd name="connsiteX12" fmla="*/ 420597 w 447956"/>
                <a:gd name="connsiteY12" fmla="*/ 498432 h 712802"/>
                <a:gd name="connsiteX13" fmla="*/ 429566 w 447956"/>
                <a:gd name="connsiteY13" fmla="*/ 524299 h 712802"/>
                <a:gd name="connsiteX14" fmla="*/ 424583 w 447956"/>
                <a:gd name="connsiteY14" fmla="*/ 547181 h 712802"/>
                <a:gd name="connsiteX15" fmla="*/ 422590 w 447956"/>
                <a:gd name="connsiteY15" fmla="*/ 573048 h 712802"/>
                <a:gd name="connsiteX16" fmla="*/ 435544 w 447956"/>
                <a:gd name="connsiteY16" fmla="*/ 600904 h 712802"/>
                <a:gd name="connsiteX17" fmla="*/ 108711 w 447956"/>
                <a:gd name="connsiteY17" fmla="*/ 600904 h 712802"/>
                <a:gd name="connsiteX18" fmla="*/ 104726 w 447956"/>
                <a:gd name="connsiteY18" fmla="*/ 619807 h 712802"/>
                <a:gd name="connsiteX19" fmla="*/ 134619 w 447956"/>
                <a:gd name="connsiteY19" fmla="*/ 650648 h 712802"/>
                <a:gd name="connsiteX20" fmla="*/ 138505 w 447956"/>
                <a:gd name="connsiteY20" fmla="*/ 682484 h 712802"/>
                <a:gd name="connsiteX21" fmla="*/ 119573 w 447956"/>
                <a:gd name="connsiteY21" fmla="*/ 705366 h 712802"/>
                <a:gd name="connsiteX22" fmla="*/ 71743 w 447956"/>
                <a:gd name="connsiteY22" fmla="*/ 711335 h 712802"/>
                <a:gd name="connsiteX23" fmla="*/ 66761 w 447956"/>
                <a:gd name="connsiteY23" fmla="*/ 675520 h 712802"/>
                <a:gd name="connsiteX24" fmla="*/ 66761 w 447956"/>
                <a:gd name="connsiteY24" fmla="*/ 651643 h 712802"/>
                <a:gd name="connsiteX25" fmla="*/ 41850 w 447956"/>
                <a:gd name="connsiteY25" fmla="*/ 699397 h 712802"/>
                <a:gd name="connsiteX26" fmla="*/ 25907 w 447956"/>
                <a:gd name="connsiteY26" fmla="*/ 700391 h 712802"/>
                <a:gd name="connsiteX27" fmla="*/ 8968 w 447956"/>
                <a:gd name="connsiteY27" fmla="*/ 692433 h 712802"/>
                <a:gd name="connsiteX28" fmla="*/ 0 w 447956"/>
                <a:gd name="connsiteY28" fmla="*/ 468586 h 712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47956" h="712802">
                  <a:moveTo>
                    <a:pt x="0" y="468586"/>
                  </a:moveTo>
                  <a:cubicBezTo>
                    <a:pt x="8071" y="377356"/>
                    <a:pt x="19032" y="283241"/>
                    <a:pt x="26903" y="192011"/>
                  </a:cubicBezTo>
                  <a:cubicBezTo>
                    <a:pt x="32384" y="153211"/>
                    <a:pt x="36868" y="104363"/>
                    <a:pt x="40854" y="65662"/>
                  </a:cubicBezTo>
                  <a:cubicBezTo>
                    <a:pt x="41850" y="60886"/>
                    <a:pt x="45338" y="23479"/>
                    <a:pt x="45836" y="17908"/>
                  </a:cubicBezTo>
                  <a:cubicBezTo>
                    <a:pt x="39359" y="15520"/>
                    <a:pt x="35872" y="5770"/>
                    <a:pt x="32882" y="0"/>
                  </a:cubicBezTo>
                  <a:cubicBezTo>
                    <a:pt x="110306" y="597"/>
                    <a:pt x="193608" y="3582"/>
                    <a:pt x="271031" y="2985"/>
                  </a:cubicBezTo>
                  <a:cubicBezTo>
                    <a:pt x="392099" y="4278"/>
                    <a:pt x="350747" y="-14923"/>
                    <a:pt x="375757" y="101477"/>
                  </a:cubicBezTo>
                  <a:cubicBezTo>
                    <a:pt x="391302" y="175993"/>
                    <a:pt x="397879" y="256976"/>
                    <a:pt x="415615" y="330298"/>
                  </a:cubicBezTo>
                  <a:cubicBezTo>
                    <a:pt x="421086" y="342038"/>
                    <a:pt x="425101" y="354394"/>
                    <a:pt x="427572" y="367109"/>
                  </a:cubicBezTo>
                  <a:cubicBezTo>
                    <a:pt x="436839" y="374471"/>
                    <a:pt x="444910" y="393672"/>
                    <a:pt x="434548" y="402924"/>
                  </a:cubicBezTo>
                  <a:cubicBezTo>
                    <a:pt x="460754" y="417847"/>
                    <a:pt x="442917" y="418842"/>
                    <a:pt x="428569" y="432770"/>
                  </a:cubicBezTo>
                  <a:cubicBezTo>
                    <a:pt x="433552" y="447495"/>
                    <a:pt x="423886" y="463114"/>
                    <a:pt x="418605" y="476545"/>
                  </a:cubicBezTo>
                  <a:cubicBezTo>
                    <a:pt x="419960" y="483758"/>
                    <a:pt x="420627" y="491090"/>
                    <a:pt x="420597" y="498432"/>
                  </a:cubicBezTo>
                  <a:cubicBezTo>
                    <a:pt x="427313" y="505277"/>
                    <a:pt x="430602" y="514768"/>
                    <a:pt x="429566" y="524299"/>
                  </a:cubicBezTo>
                  <a:cubicBezTo>
                    <a:pt x="425579" y="530666"/>
                    <a:pt x="428170" y="540416"/>
                    <a:pt x="424583" y="547181"/>
                  </a:cubicBezTo>
                  <a:cubicBezTo>
                    <a:pt x="425480" y="555339"/>
                    <a:pt x="421594" y="564790"/>
                    <a:pt x="422590" y="573048"/>
                  </a:cubicBezTo>
                  <a:cubicBezTo>
                    <a:pt x="430093" y="580499"/>
                    <a:pt x="434687" y="590378"/>
                    <a:pt x="435544" y="600904"/>
                  </a:cubicBezTo>
                  <a:cubicBezTo>
                    <a:pt x="327032" y="601601"/>
                    <a:pt x="217423" y="600904"/>
                    <a:pt x="108711" y="600904"/>
                  </a:cubicBezTo>
                  <a:cubicBezTo>
                    <a:pt x="111203" y="605779"/>
                    <a:pt x="106918" y="615429"/>
                    <a:pt x="104726" y="619807"/>
                  </a:cubicBezTo>
                  <a:cubicBezTo>
                    <a:pt x="112797" y="631765"/>
                    <a:pt x="122921" y="642201"/>
                    <a:pt x="134619" y="650648"/>
                  </a:cubicBezTo>
                  <a:cubicBezTo>
                    <a:pt x="134619" y="661989"/>
                    <a:pt x="121665" y="677609"/>
                    <a:pt x="138505" y="682484"/>
                  </a:cubicBezTo>
                  <a:cubicBezTo>
                    <a:pt x="128541" y="685866"/>
                    <a:pt x="127644" y="699397"/>
                    <a:pt x="119573" y="705366"/>
                  </a:cubicBezTo>
                  <a:cubicBezTo>
                    <a:pt x="106220" y="708948"/>
                    <a:pt x="85594" y="715812"/>
                    <a:pt x="71743" y="711335"/>
                  </a:cubicBezTo>
                  <a:cubicBezTo>
                    <a:pt x="97452" y="702879"/>
                    <a:pt x="71145" y="690144"/>
                    <a:pt x="66761" y="675520"/>
                  </a:cubicBezTo>
                  <a:cubicBezTo>
                    <a:pt x="71096" y="668148"/>
                    <a:pt x="71096" y="659015"/>
                    <a:pt x="66761" y="651643"/>
                  </a:cubicBezTo>
                  <a:cubicBezTo>
                    <a:pt x="44740" y="633337"/>
                    <a:pt x="47530" y="686961"/>
                    <a:pt x="41850" y="699397"/>
                  </a:cubicBezTo>
                  <a:cubicBezTo>
                    <a:pt x="36519" y="699277"/>
                    <a:pt x="31189" y="699616"/>
                    <a:pt x="25907" y="700391"/>
                  </a:cubicBezTo>
                  <a:cubicBezTo>
                    <a:pt x="22220" y="696213"/>
                    <a:pt x="14647" y="685170"/>
                    <a:pt x="8968" y="692433"/>
                  </a:cubicBezTo>
                  <a:cubicBezTo>
                    <a:pt x="7274" y="619210"/>
                    <a:pt x="598" y="541709"/>
                    <a:pt x="0" y="468586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09" name="Freeform: Shape 1708">
              <a:extLst>
                <a:ext uri="{FF2B5EF4-FFF2-40B4-BE49-F238E27FC236}">
                  <a16:creationId xmlns:a16="http://schemas.microsoft.com/office/drawing/2014/main" id="{6EAA4B7D-150E-45A0-8AE3-C0F8E3E532EC}"/>
                </a:ext>
              </a:extLst>
            </p:cNvPr>
            <p:cNvSpPr/>
            <p:nvPr/>
          </p:nvSpPr>
          <p:spPr>
            <a:xfrm>
              <a:off x="3003005" y="2799213"/>
              <a:ext cx="605835" cy="477539"/>
            </a:xfrm>
            <a:custGeom>
              <a:avLst/>
              <a:gdLst>
                <a:gd name="connsiteX0" fmla="*/ 0 w 605835"/>
                <a:gd name="connsiteY0" fmla="*/ 72626 h 477539"/>
                <a:gd name="connsiteX1" fmla="*/ 3985 w 605835"/>
                <a:gd name="connsiteY1" fmla="*/ 63672 h 477539"/>
                <a:gd name="connsiteX2" fmla="*/ 8968 w 605835"/>
                <a:gd name="connsiteY2" fmla="*/ 58698 h 477539"/>
                <a:gd name="connsiteX3" fmla="*/ 28896 w 605835"/>
                <a:gd name="connsiteY3" fmla="*/ 37805 h 477539"/>
                <a:gd name="connsiteX4" fmla="*/ 43943 w 605835"/>
                <a:gd name="connsiteY4" fmla="*/ 26862 h 477539"/>
                <a:gd name="connsiteX5" fmla="*/ 74733 w 605835"/>
                <a:gd name="connsiteY5" fmla="*/ 18903 h 477539"/>
                <a:gd name="connsiteX6" fmla="*/ 118676 w 605835"/>
                <a:gd name="connsiteY6" fmla="*/ 0 h 477539"/>
                <a:gd name="connsiteX7" fmla="*/ 186334 w 605835"/>
                <a:gd name="connsiteY7" fmla="*/ 2985 h 477539"/>
                <a:gd name="connsiteX8" fmla="*/ 290960 w 605835"/>
                <a:gd name="connsiteY8" fmla="*/ 7959 h 477539"/>
                <a:gd name="connsiteX9" fmla="*/ 290960 w 605835"/>
                <a:gd name="connsiteY9" fmla="*/ 24872 h 477539"/>
                <a:gd name="connsiteX10" fmla="*/ 304911 w 605835"/>
                <a:gd name="connsiteY10" fmla="*/ 14923 h 477539"/>
                <a:gd name="connsiteX11" fmla="*/ 321850 w 605835"/>
                <a:gd name="connsiteY11" fmla="*/ 58698 h 477539"/>
                <a:gd name="connsiteX12" fmla="*/ 463345 w 605835"/>
                <a:gd name="connsiteY12" fmla="*/ 60687 h 477539"/>
                <a:gd name="connsiteX13" fmla="*/ 605836 w 605835"/>
                <a:gd name="connsiteY13" fmla="*/ 205939 h 477539"/>
                <a:gd name="connsiteX14" fmla="*/ 526121 w 605835"/>
                <a:gd name="connsiteY14" fmla="*/ 303437 h 477539"/>
                <a:gd name="connsiteX15" fmla="*/ 506192 w 605835"/>
                <a:gd name="connsiteY15" fmla="*/ 320350 h 477539"/>
                <a:gd name="connsiteX16" fmla="*/ 502206 w 605835"/>
                <a:gd name="connsiteY16" fmla="*/ 333283 h 477539"/>
                <a:gd name="connsiteX17" fmla="*/ 482277 w 605835"/>
                <a:gd name="connsiteY17" fmla="*/ 329303 h 477539"/>
                <a:gd name="connsiteX18" fmla="*/ 460256 w 605835"/>
                <a:gd name="connsiteY18" fmla="*/ 356165 h 477539"/>
                <a:gd name="connsiteX19" fmla="*/ 438334 w 605835"/>
                <a:gd name="connsiteY19" fmla="*/ 374073 h 477539"/>
                <a:gd name="connsiteX20" fmla="*/ 426377 w 605835"/>
                <a:gd name="connsiteY20" fmla="*/ 388001 h 477539"/>
                <a:gd name="connsiteX21" fmla="*/ 412426 w 605835"/>
                <a:gd name="connsiteY21" fmla="*/ 392975 h 477539"/>
                <a:gd name="connsiteX22" fmla="*/ 379544 w 605835"/>
                <a:gd name="connsiteY22" fmla="*/ 411878 h 477539"/>
                <a:gd name="connsiteX23" fmla="*/ 346662 w 605835"/>
                <a:gd name="connsiteY23" fmla="*/ 442719 h 477539"/>
                <a:gd name="connsiteX24" fmla="*/ 325737 w 605835"/>
                <a:gd name="connsiteY24" fmla="*/ 439735 h 477539"/>
                <a:gd name="connsiteX25" fmla="*/ 319758 w 605835"/>
                <a:gd name="connsiteY25" fmla="*/ 466596 h 477539"/>
                <a:gd name="connsiteX26" fmla="*/ 310790 w 605835"/>
                <a:gd name="connsiteY26" fmla="*/ 477540 h 477539"/>
                <a:gd name="connsiteX27" fmla="*/ 294847 w 605835"/>
                <a:gd name="connsiteY27" fmla="*/ 468586 h 477539"/>
                <a:gd name="connsiteX28" fmla="*/ 281893 w 605835"/>
                <a:gd name="connsiteY28" fmla="*/ 466596 h 477539"/>
                <a:gd name="connsiteX29" fmla="*/ 276911 w 605835"/>
                <a:gd name="connsiteY29" fmla="*/ 447693 h 477539"/>
                <a:gd name="connsiteX30" fmla="*/ 271928 w 605835"/>
                <a:gd name="connsiteY30" fmla="*/ 413868 h 477539"/>
                <a:gd name="connsiteX31" fmla="*/ 246021 w 605835"/>
                <a:gd name="connsiteY31" fmla="*/ 392975 h 477539"/>
                <a:gd name="connsiteX32" fmla="*/ 233167 w 605835"/>
                <a:gd name="connsiteY32" fmla="*/ 342237 h 477539"/>
                <a:gd name="connsiteX33" fmla="*/ 219117 w 605835"/>
                <a:gd name="connsiteY33" fmla="*/ 320350 h 477539"/>
                <a:gd name="connsiteX34" fmla="*/ 201181 w 605835"/>
                <a:gd name="connsiteY34" fmla="*/ 311396 h 477539"/>
                <a:gd name="connsiteX35" fmla="*/ 189224 w 605835"/>
                <a:gd name="connsiteY35" fmla="*/ 297467 h 477539"/>
                <a:gd name="connsiteX36" fmla="*/ 179260 w 605835"/>
                <a:gd name="connsiteY36" fmla="*/ 282544 h 477539"/>
                <a:gd name="connsiteX37" fmla="*/ 171288 w 605835"/>
                <a:gd name="connsiteY37" fmla="*/ 259662 h 477539"/>
                <a:gd name="connsiteX38" fmla="*/ 156342 w 605835"/>
                <a:gd name="connsiteY38" fmla="*/ 244739 h 477539"/>
                <a:gd name="connsiteX39" fmla="*/ 145380 w 605835"/>
                <a:gd name="connsiteY39" fmla="*/ 235785 h 477539"/>
                <a:gd name="connsiteX40" fmla="*/ 116484 w 605835"/>
                <a:gd name="connsiteY40" fmla="*/ 203949 h 477539"/>
                <a:gd name="connsiteX41" fmla="*/ 99544 w 605835"/>
                <a:gd name="connsiteY41" fmla="*/ 190021 h 477539"/>
                <a:gd name="connsiteX42" fmla="*/ 80612 w 605835"/>
                <a:gd name="connsiteY42" fmla="*/ 161170 h 477539"/>
                <a:gd name="connsiteX43" fmla="*/ 60683 w 605835"/>
                <a:gd name="connsiteY43" fmla="*/ 112421 h 477539"/>
                <a:gd name="connsiteX44" fmla="*/ 24811 w 605835"/>
                <a:gd name="connsiteY44" fmla="*/ 94513 h 477539"/>
                <a:gd name="connsiteX45" fmla="*/ 0 w 605835"/>
                <a:gd name="connsiteY45" fmla="*/ 72626 h 47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05835" h="477539">
                  <a:moveTo>
                    <a:pt x="0" y="72626"/>
                  </a:moveTo>
                  <a:cubicBezTo>
                    <a:pt x="2790" y="70338"/>
                    <a:pt x="6178" y="67353"/>
                    <a:pt x="3985" y="63672"/>
                  </a:cubicBezTo>
                  <a:lnTo>
                    <a:pt x="8968" y="58698"/>
                  </a:lnTo>
                  <a:cubicBezTo>
                    <a:pt x="13651" y="50639"/>
                    <a:pt x="26605" y="47257"/>
                    <a:pt x="28896" y="37805"/>
                  </a:cubicBezTo>
                  <a:cubicBezTo>
                    <a:pt x="28299" y="30145"/>
                    <a:pt x="38861" y="28454"/>
                    <a:pt x="43943" y="26862"/>
                  </a:cubicBezTo>
                  <a:cubicBezTo>
                    <a:pt x="52413" y="25966"/>
                    <a:pt x="66662" y="16913"/>
                    <a:pt x="74733" y="18903"/>
                  </a:cubicBezTo>
                  <a:cubicBezTo>
                    <a:pt x="86491" y="8954"/>
                    <a:pt x="106220" y="9451"/>
                    <a:pt x="118676" y="0"/>
                  </a:cubicBezTo>
                  <a:cubicBezTo>
                    <a:pt x="140100" y="2288"/>
                    <a:pt x="164811" y="2189"/>
                    <a:pt x="186334" y="2985"/>
                  </a:cubicBezTo>
                  <a:cubicBezTo>
                    <a:pt x="218420" y="5074"/>
                    <a:pt x="258975" y="5671"/>
                    <a:pt x="290960" y="7959"/>
                  </a:cubicBezTo>
                  <a:cubicBezTo>
                    <a:pt x="293551" y="13630"/>
                    <a:pt x="286975" y="19500"/>
                    <a:pt x="290960" y="24872"/>
                  </a:cubicBezTo>
                  <a:lnTo>
                    <a:pt x="304911" y="14923"/>
                  </a:lnTo>
                  <a:cubicBezTo>
                    <a:pt x="313380" y="28752"/>
                    <a:pt x="328825" y="40889"/>
                    <a:pt x="321850" y="58698"/>
                  </a:cubicBezTo>
                  <a:cubicBezTo>
                    <a:pt x="367487" y="58698"/>
                    <a:pt x="417808" y="61583"/>
                    <a:pt x="463345" y="60687"/>
                  </a:cubicBezTo>
                  <a:cubicBezTo>
                    <a:pt x="509181" y="107247"/>
                    <a:pt x="560199" y="159379"/>
                    <a:pt x="605836" y="205939"/>
                  </a:cubicBezTo>
                  <a:cubicBezTo>
                    <a:pt x="568967" y="212903"/>
                    <a:pt x="522534" y="265134"/>
                    <a:pt x="526121" y="303437"/>
                  </a:cubicBezTo>
                  <a:cubicBezTo>
                    <a:pt x="521148" y="310789"/>
                    <a:pt x="514263" y="316639"/>
                    <a:pt x="506192" y="320350"/>
                  </a:cubicBezTo>
                  <a:cubicBezTo>
                    <a:pt x="505594" y="324856"/>
                    <a:pt x="504249" y="329224"/>
                    <a:pt x="502206" y="333283"/>
                  </a:cubicBezTo>
                  <a:cubicBezTo>
                    <a:pt x="495231" y="330796"/>
                    <a:pt x="486661" y="337163"/>
                    <a:pt x="482277" y="329303"/>
                  </a:cubicBezTo>
                  <a:cubicBezTo>
                    <a:pt x="456768" y="339949"/>
                    <a:pt x="492241" y="342336"/>
                    <a:pt x="460256" y="356165"/>
                  </a:cubicBezTo>
                  <a:cubicBezTo>
                    <a:pt x="457466" y="365119"/>
                    <a:pt x="444811" y="368303"/>
                    <a:pt x="438334" y="374073"/>
                  </a:cubicBezTo>
                  <a:cubicBezTo>
                    <a:pt x="438334" y="379943"/>
                    <a:pt x="430761" y="385415"/>
                    <a:pt x="426377" y="388001"/>
                  </a:cubicBezTo>
                  <a:cubicBezTo>
                    <a:pt x="423108" y="392249"/>
                    <a:pt x="417648" y="394199"/>
                    <a:pt x="412426" y="392975"/>
                  </a:cubicBezTo>
                  <a:cubicBezTo>
                    <a:pt x="401147" y="398706"/>
                    <a:pt x="390176" y="405023"/>
                    <a:pt x="379544" y="411878"/>
                  </a:cubicBezTo>
                  <a:cubicBezTo>
                    <a:pt x="333508" y="405113"/>
                    <a:pt x="395088" y="431775"/>
                    <a:pt x="346662" y="442719"/>
                  </a:cubicBezTo>
                  <a:cubicBezTo>
                    <a:pt x="339587" y="440033"/>
                    <a:pt x="331615" y="430781"/>
                    <a:pt x="325737" y="439735"/>
                  </a:cubicBezTo>
                  <a:cubicBezTo>
                    <a:pt x="344370" y="450877"/>
                    <a:pt x="333907" y="458239"/>
                    <a:pt x="319758" y="466596"/>
                  </a:cubicBezTo>
                  <a:cubicBezTo>
                    <a:pt x="313679" y="466596"/>
                    <a:pt x="312184" y="472466"/>
                    <a:pt x="310790" y="477540"/>
                  </a:cubicBezTo>
                  <a:cubicBezTo>
                    <a:pt x="305140" y="475202"/>
                    <a:pt x="299789" y="472197"/>
                    <a:pt x="294847" y="468586"/>
                  </a:cubicBezTo>
                  <a:cubicBezTo>
                    <a:pt x="292754" y="472466"/>
                    <a:pt x="284882" y="467292"/>
                    <a:pt x="281893" y="466596"/>
                  </a:cubicBezTo>
                  <a:cubicBezTo>
                    <a:pt x="281773" y="459990"/>
                    <a:pt x="280070" y="453504"/>
                    <a:pt x="276911" y="447693"/>
                  </a:cubicBezTo>
                  <a:cubicBezTo>
                    <a:pt x="286875" y="435357"/>
                    <a:pt x="269338" y="426403"/>
                    <a:pt x="271928" y="413868"/>
                  </a:cubicBezTo>
                  <a:cubicBezTo>
                    <a:pt x="266249" y="403919"/>
                    <a:pt x="254491" y="399442"/>
                    <a:pt x="246021" y="392975"/>
                  </a:cubicBezTo>
                  <a:cubicBezTo>
                    <a:pt x="246619" y="376460"/>
                    <a:pt x="244427" y="355369"/>
                    <a:pt x="233167" y="342237"/>
                  </a:cubicBezTo>
                  <a:cubicBezTo>
                    <a:pt x="235957" y="331492"/>
                    <a:pt x="226491" y="326021"/>
                    <a:pt x="219117" y="320350"/>
                  </a:cubicBezTo>
                  <a:cubicBezTo>
                    <a:pt x="212790" y="318111"/>
                    <a:pt x="206771" y="315107"/>
                    <a:pt x="201181" y="311396"/>
                  </a:cubicBezTo>
                  <a:cubicBezTo>
                    <a:pt x="202576" y="303934"/>
                    <a:pt x="194904" y="299955"/>
                    <a:pt x="189224" y="297467"/>
                  </a:cubicBezTo>
                  <a:cubicBezTo>
                    <a:pt x="192811" y="289110"/>
                    <a:pt x="185936" y="285429"/>
                    <a:pt x="179260" y="282544"/>
                  </a:cubicBezTo>
                  <a:cubicBezTo>
                    <a:pt x="180754" y="273790"/>
                    <a:pt x="181751" y="262647"/>
                    <a:pt x="171288" y="259662"/>
                  </a:cubicBezTo>
                  <a:cubicBezTo>
                    <a:pt x="168089" y="253186"/>
                    <a:pt x="162838" y="247933"/>
                    <a:pt x="156342" y="244739"/>
                  </a:cubicBezTo>
                  <a:cubicBezTo>
                    <a:pt x="151558" y="244739"/>
                    <a:pt x="147673" y="239367"/>
                    <a:pt x="145380" y="235785"/>
                  </a:cubicBezTo>
                  <a:cubicBezTo>
                    <a:pt x="140916" y="221439"/>
                    <a:pt x="130344" y="209789"/>
                    <a:pt x="116484" y="203949"/>
                  </a:cubicBezTo>
                  <a:cubicBezTo>
                    <a:pt x="111511" y="198547"/>
                    <a:pt x="105802" y="193861"/>
                    <a:pt x="99544" y="190021"/>
                  </a:cubicBezTo>
                  <a:cubicBezTo>
                    <a:pt x="95130" y="179286"/>
                    <a:pt x="88703" y="169497"/>
                    <a:pt x="80612" y="161170"/>
                  </a:cubicBezTo>
                  <a:cubicBezTo>
                    <a:pt x="77324" y="143759"/>
                    <a:pt x="65466" y="129433"/>
                    <a:pt x="60683" y="112421"/>
                  </a:cubicBezTo>
                  <a:cubicBezTo>
                    <a:pt x="39459" y="109536"/>
                    <a:pt x="40754" y="111824"/>
                    <a:pt x="24811" y="94513"/>
                  </a:cubicBezTo>
                  <a:cubicBezTo>
                    <a:pt x="15743" y="89937"/>
                    <a:pt x="2292" y="83569"/>
                    <a:pt x="0" y="72626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0" name="Freeform: Shape 1709">
              <a:extLst>
                <a:ext uri="{FF2B5EF4-FFF2-40B4-BE49-F238E27FC236}">
                  <a16:creationId xmlns:a16="http://schemas.microsoft.com/office/drawing/2014/main" id="{8141F140-6013-4B03-B39C-D1A80AEB4C3A}"/>
                </a:ext>
              </a:extLst>
            </p:cNvPr>
            <p:cNvSpPr/>
            <p:nvPr/>
          </p:nvSpPr>
          <p:spPr>
            <a:xfrm>
              <a:off x="4546491" y="741023"/>
              <a:ext cx="520042" cy="783756"/>
            </a:xfrm>
            <a:custGeom>
              <a:avLst/>
              <a:gdLst>
                <a:gd name="connsiteX0" fmla="*/ 0 w 520042"/>
                <a:gd name="connsiteY0" fmla="*/ 390781 h 783756"/>
                <a:gd name="connsiteX1" fmla="*/ 8968 w 520042"/>
                <a:gd name="connsiteY1" fmla="*/ 383817 h 783756"/>
                <a:gd name="connsiteX2" fmla="*/ 29893 w 520042"/>
                <a:gd name="connsiteY2" fmla="*/ 403714 h 783756"/>
                <a:gd name="connsiteX3" fmla="*/ 34875 w 520042"/>
                <a:gd name="connsiteY3" fmla="*/ 389786 h 783756"/>
                <a:gd name="connsiteX4" fmla="*/ 34875 w 520042"/>
                <a:gd name="connsiteY4" fmla="*/ 377847 h 783756"/>
                <a:gd name="connsiteX5" fmla="*/ 37865 w 520042"/>
                <a:gd name="connsiteY5" fmla="*/ 367899 h 783756"/>
                <a:gd name="connsiteX6" fmla="*/ 44840 w 520042"/>
                <a:gd name="connsiteY6" fmla="*/ 373868 h 783756"/>
                <a:gd name="connsiteX7" fmla="*/ 56797 w 520042"/>
                <a:gd name="connsiteY7" fmla="*/ 376853 h 783756"/>
                <a:gd name="connsiteX8" fmla="*/ 44840 w 520042"/>
                <a:gd name="connsiteY8" fmla="*/ 353970 h 783756"/>
                <a:gd name="connsiteX9" fmla="*/ 87687 w 520042"/>
                <a:gd name="connsiteY9" fmla="*/ 314175 h 783756"/>
                <a:gd name="connsiteX10" fmla="*/ 103630 w 520042"/>
                <a:gd name="connsiteY10" fmla="*/ 285324 h 783756"/>
                <a:gd name="connsiteX11" fmla="*/ 96655 w 520042"/>
                <a:gd name="connsiteY11" fmla="*/ 272391 h 783756"/>
                <a:gd name="connsiteX12" fmla="*/ 97651 w 520042"/>
                <a:gd name="connsiteY12" fmla="*/ 254483 h 783756"/>
                <a:gd name="connsiteX13" fmla="*/ 106619 w 520042"/>
                <a:gd name="connsiteY13" fmla="*/ 240555 h 783756"/>
                <a:gd name="connsiteX14" fmla="*/ 104726 w 520042"/>
                <a:gd name="connsiteY14" fmla="*/ 221652 h 783756"/>
                <a:gd name="connsiteX15" fmla="*/ 110605 w 520042"/>
                <a:gd name="connsiteY15" fmla="*/ 211703 h 783756"/>
                <a:gd name="connsiteX16" fmla="*/ 129537 w 520042"/>
                <a:gd name="connsiteY16" fmla="*/ 187826 h 783756"/>
                <a:gd name="connsiteX17" fmla="*/ 190420 w 520042"/>
                <a:gd name="connsiteY17" fmla="*/ 60482 h 783756"/>
                <a:gd name="connsiteX18" fmla="*/ 248114 w 520042"/>
                <a:gd name="connsiteY18" fmla="*/ 2780 h 783756"/>
                <a:gd name="connsiteX19" fmla="*/ 257082 w 520042"/>
                <a:gd name="connsiteY19" fmla="*/ 5764 h 783756"/>
                <a:gd name="connsiteX20" fmla="*/ 257082 w 520042"/>
                <a:gd name="connsiteY20" fmla="*/ 38595 h 783756"/>
                <a:gd name="connsiteX21" fmla="*/ 273921 w 520042"/>
                <a:gd name="connsiteY21" fmla="*/ 50534 h 783756"/>
                <a:gd name="connsiteX22" fmla="*/ 311787 w 520042"/>
                <a:gd name="connsiteY22" fmla="*/ 37600 h 783756"/>
                <a:gd name="connsiteX23" fmla="*/ 340683 w 520042"/>
                <a:gd name="connsiteY23" fmla="*/ 29641 h 783756"/>
                <a:gd name="connsiteX24" fmla="*/ 387516 w 520042"/>
                <a:gd name="connsiteY24" fmla="*/ 43570 h 783756"/>
                <a:gd name="connsiteX25" fmla="*/ 401466 w 520042"/>
                <a:gd name="connsiteY25" fmla="*/ 61477 h 783756"/>
                <a:gd name="connsiteX26" fmla="*/ 414420 w 520042"/>
                <a:gd name="connsiteY26" fmla="*/ 121170 h 783756"/>
                <a:gd name="connsiteX27" fmla="*/ 419402 w 520042"/>
                <a:gd name="connsiteY27" fmla="*/ 280350 h 783756"/>
                <a:gd name="connsiteX28" fmla="*/ 417509 w 520042"/>
                <a:gd name="connsiteY28" fmla="*/ 296268 h 783756"/>
                <a:gd name="connsiteX29" fmla="*/ 412427 w 520042"/>
                <a:gd name="connsiteY29" fmla="*/ 305221 h 783756"/>
                <a:gd name="connsiteX30" fmla="*/ 412427 w 520042"/>
                <a:gd name="connsiteY30" fmla="*/ 324124 h 783756"/>
                <a:gd name="connsiteX31" fmla="*/ 434349 w 520042"/>
                <a:gd name="connsiteY31" fmla="*/ 334073 h 783756"/>
                <a:gd name="connsiteX32" fmla="*/ 461253 w 520042"/>
                <a:gd name="connsiteY32" fmla="*/ 355960 h 783756"/>
                <a:gd name="connsiteX33" fmla="*/ 459260 w 520042"/>
                <a:gd name="connsiteY33" fmla="*/ 378842 h 783756"/>
                <a:gd name="connsiteX34" fmla="*/ 453281 w 520042"/>
                <a:gd name="connsiteY34" fmla="*/ 397745 h 783756"/>
                <a:gd name="connsiteX35" fmla="*/ 479189 w 520042"/>
                <a:gd name="connsiteY35" fmla="*/ 410678 h 783756"/>
                <a:gd name="connsiteX36" fmla="*/ 516057 w 520042"/>
                <a:gd name="connsiteY36" fmla="*/ 462412 h 783756"/>
                <a:gd name="connsiteX37" fmla="*/ 520042 w 520042"/>
                <a:gd name="connsiteY37" fmla="*/ 477335 h 783756"/>
                <a:gd name="connsiteX38" fmla="*/ 476199 w 520042"/>
                <a:gd name="connsiteY38" fmla="*/ 516135 h 783756"/>
                <a:gd name="connsiteX39" fmla="*/ 463245 w 520042"/>
                <a:gd name="connsiteY39" fmla="*/ 515140 h 783756"/>
                <a:gd name="connsiteX40" fmla="*/ 449584 w 520042"/>
                <a:gd name="connsiteY40" fmla="*/ 535465 h 783756"/>
                <a:gd name="connsiteX41" fmla="*/ 450292 w 520042"/>
                <a:gd name="connsiteY41" fmla="*/ 538022 h 783756"/>
                <a:gd name="connsiteX42" fmla="*/ 440327 w 520042"/>
                <a:gd name="connsiteY42" fmla="*/ 545981 h 783756"/>
                <a:gd name="connsiteX43" fmla="*/ 431360 w 520042"/>
                <a:gd name="connsiteY43" fmla="*/ 529068 h 783756"/>
                <a:gd name="connsiteX44" fmla="*/ 405552 w 520042"/>
                <a:gd name="connsiteY44" fmla="*/ 547971 h 783756"/>
                <a:gd name="connsiteX45" fmla="*/ 395587 w 520042"/>
                <a:gd name="connsiteY45" fmla="*/ 548966 h 783756"/>
                <a:gd name="connsiteX46" fmla="*/ 381637 w 520042"/>
                <a:gd name="connsiteY46" fmla="*/ 562894 h 783756"/>
                <a:gd name="connsiteX47" fmla="*/ 371672 w 520042"/>
                <a:gd name="connsiteY47" fmla="*/ 552945 h 783756"/>
                <a:gd name="connsiteX48" fmla="*/ 365794 w 520042"/>
                <a:gd name="connsiteY48" fmla="*/ 563889 h 783756"/>
                <a:gd name="connsiteX49" fmla="*/ 365794 w 520042"/>
                <a:gd name="connsiteY49" fmla="*/ 581797 h 783756"/>
                <a:gd name="connsiteX50" fmla="*/ 345865 w 520042"/>
                <a:gd name="connsiteY50" fmla="*/ 602689 h 783756"/>
                <a:gd name="connsiteX51" fmla="*/ 313979 w 520042"/>
                <a:gd name="connsiteY51" fmla="*/ 608658 h 783756"/>
                <a:gd name="connsiteX52" fmla="*/ 305011 w 520042"/>
                <a:gd name="connsiteY52" fmla="*/ 620597 h 783756"/>
                <a:gd name="connsiteX53" fmla="*/ 304014 w 520042"/>
                <a:gd name="connsiteY53" fmla="*/ 607663 h 783756"/>
                <a:gd name="connsiteX54" fmla="*/ 278107 w 520042"/>
                <a:gd name="connsiteY54" fmla="*/ 616617 h 783756"/>
                <a:gd name="connsiteX55" fmla="*/ 270136 w 520042"/>
                <a:gd name="connsiteY55" fmla="*/ 598709 h 783756"/>
                <a:gd name="connsiteX56" fmla="*/ 268143 w 520042"/>
                <a:gd name="connsiteY56" fmla="*/ 582792 h 783756"/>
                <a:gd name="connsiteX57" fmla="*/ 252199 w 520042"/>
                <a:gd name="connsiteY57" fmla="*/ 598709 h 783756"/>
                <a:gd name="connsiteX58" fmla="*/ 253196 w 520042"/>
                <a:gd name="connsiteY58" fmla="*/ 614627 h 783756"/>
                <a:gd name="connsiteX59" fmla="*/ 240242 w 520042"/>
                <a:gd name="connsiteY59" fmla="*/ 625571 h 783756"/>
                <a:gd name="connsiteX60" fmla="*/ 231274 w 520042"/>
                <a:gd name="connsiteY60" fmla="*/ 635520 h 783756"/>
                <a:gd name="connsiteX61" fmla="*/ 221310 w 520042"/>
                <a:gd name="connsiteY61" fmla="*/ 646463 h 783756"/>
                <a:gd name="connsiteX62" fmla="*/ 212342 w 520042"/>
                <a:gd name="connsiteY62" fmla="*/ 628556 h 783756"/>
                <a:gd name="connsiteX63" fmla="*/ 198392 w 520042"/>
                <a:gd name="connsiteY63" fmla="*/ 649448 h 783756"/>
                <a:gd name="connsiteX64" fmla="*/ 189424 w 520042"/>
                <a:gd name="connsiteY64" fmla="*/ 652433 h 783756"/>
                <a:gd name="connsiteX65" fmla="*/ 174477 w 520042"/>
                <a:gd name="connsiteY65" fmla="*/ 656412 h 783756"/>
                <a:gd name="connsiteX66" fmla="*/ 167502 w 520042"/>
                <a:gd name="connsiteY66" fmla="*/ 665366 h 783756"/>
                <a:gd name="connsiteX67" fmla="*/ 157537 w 520042"/>
                <a:gd name="connsiteY67" fmla="*/ 673325 h 783756"/>
                <a:gd name="connsiteX68" fmla="*/ 153552 w 520042"/>
                <a:gd name="connsiteY68" fmla="*/ 663376 h 783756"/>
                <a:gd name="connsiteX69" fmla="*/ 138605 w 520042"/>
                <a:gd name="connsiteY69" fmla="*/ 665366 h 783756"/>
                <a:gd name="connsiteX70" fmla="*/ 124655 w 520042"/>
                <a:gd name="connsiteY70" fmla="*/ 678299 h 783756"/>
                <a:gd name="connsiteX71" fmla="*/ 112797 w 520042"/>
                <a:gd name="connsiteY71" fmla="*/ 683274 h 783756"/>
                <a:gd name="connsiteX72" fmla="*/ 110804 w 520042"/>
                <a:gd name="connsiteY72" fmla="*/ 698197 h 783756"/>
                <a:gd name="connsiteX73" fmla="*/ 90875 w 520042"/>
                <a:gd name="connsiteY73" fmla="*/ 703171 h 783756"/>
                <a:gd name="connsiteX74" fmla="*/ 94861 w 520042"/>
                <a:gd name="connsiteY74" fmla="*/ 715110 h 783756"/>
                <a:gd name="connsiteX75" fmla="*/ 70947 w 520042"/>
                <a:gd name="connsiteY75" fmla="*/ 735007 h 783756"/>
                <a:gd name="connsiteX76" fmla="*/ 66961 w 520042"/>
                <a:gd name="connsiteY76" fmla="*/ 738987 h 783756"/>
                <a:gd name="connsiteX77" fmla="*/ 63972 w 520042"/>
                <a:gd name="connsiteY77" fmla="*/ 755900 h 783756"/>
                <a:gd name="connsiteX78" fmla="*/ 48128 w 520042"/>
                <a:gd name="connsiteY78" fmla="*/ 783756 h 783756"/>
                <a:gd name="connsiteX79" fmla="*/ 27104 w 520042"/>
                <a:gd name="connsiteY79" fmla="*/ 747941 h 783756"/>
                <a:gd name="connsiteX80" fmla="*/ 15146 w 520042"/>
                <a:gd name="connsiteY80" fmla="*/ 720084 h 783756"/>
                <a:gd name="connsiteX81" fmla="*/ 13153 w 520042"/>
                <a:gd name="connsiteY81" fmla="*/ 673325 h 783756"/>
                <a:gd name="connsiteX82" fmla="*/ 0 w 520042"/>
                <a:gd name="connsiteY82" fmla="*/ 390781 h 783756"/>
                <a:gd name="connsiteX83" fmla="*/ 272028 w 520042"/>
                <a:gd name="connsiteY83" fmla="*/ 641489 h 783756"/>
                <a:gd name="connsiteX84" fmla="*/ 278007 w 520042"/>
                <a:gd name="connsiteY84" fmla="*/ 637510 h 783756"/>
                <a:gd name="connsiteX85" fmla="*/ 276014 w 520042"/>
                <a:gd name="connsiteY85" fmla="*/ 655417 h 783756"/>
                <a:gd name="connsiteX86" fmla="*/ 272327 w 520042"/>
                <a:gd name="connsiteY86" fmla="*/ 641489 h 783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520042" h="783756">
                  <a:moveTo>
                    <a:pt x="0" y="390781"/>
                  </a:moveTo>
                  <a:cubicBezTo>
                    <a:pt x="4305" y="391009"/>
                    <a:pt x="8131" y="388045"/>
                    <a:pt x="8968" y="383817"/>
                  </a:cubicBezTo>
                  <a:cubicBezTo>
                    <a:pt x="26107" y="383817"/>
                    <a:pt x="17837" y="403714"/>
                    <a:pt x="29893" y="403714"/>
                  </a:cubicBezTo>
                  <a:cubicBezTo>
                    <a:pt x="29933" y="398640"/>
                    <a:pt x="31687" y="393735"/>
                    <a:pt x="34875" y="389786"/>
                  </a:cubicBezTo>
                  <a:cubicBezTo>
                    <a:pt x="32972" y="386035"/>
                    <a:pt x="32972" y="381598"/>
                    <a:pt x="34875" y="377847"/>
                  </a:cubicBezTo>
                  <a:cubicBezTo>
                    <a:pt x="31189" y="374365"/>
                    <a:pt x="35673" y="370585"/>
                    <a:pt x="37865" y="367899"/>
                  </a:cubicBezTo>
                  <a:cubicBezTo>
                    <a:pt x="40455" y="367899"/>
                    <a:pt x="43544" y="372077"/>
                    <a:pt x="44840" y="373868"/>
                  </a:cubicBezTo>
                  <a:cubicBezTo>
                    <a:pt x="48926" y="374395"/>
                    <a:pt x="52941" y="375390"/>
                    <a:pt x="56797" y="376853"/>
                  </a:cubicBezTo>
                  <a:cubicBezTo>
                    <a:pt x="59189" y="368098"/>
                    <a:pt x="48029" y="361631"/>
                    <a:pt x="44840" y="353970"/>
                  </a:cubicBezTo>
                  <a:cubicBezTo>
                    <a:pt x="52313" y="335267"/>
                    <a:pt x="70947" y="323527"/>
                    <a:pt x="87687" y="314175"/>
                  </a:cubicBezTo>
                  <a:cubicBezTo>
                    <a:pt x="77722" y="301441"/>
                    <a:pt x="95061" y="292786"/>
                    <a:pt x="103630" y="285324"/>
                  </a:cubicBezTo>
                  <a:cubicBezTo>
                    <a:pt x="105025" y="279454"/>
                    <a:pt x="105224" y="270003"/>
                    <a:pt x="96655" y="272391"/>
                  </a:cubicBezTo>
                  <a:cubicBezTo>
                    <a:pt x="99844" y="267118"/>
                    <a:pt x="95659" y="260253"/>
                    <a:pt x="97651" y="254483"/>
                  </a:cubicBezTo>
                  <a:cubicBezTo>
                    <a:pt x="101009" y="250086"/>
                    <a:pt x="104008" y="245430"/>
                    <a:pt x="106619" y="240555"/>
                  </a:cubicBezTo>
                  <a:cubicBezTo>
                    <a:pt x="99046" y="234585"/>
                    <a:pt x="99943" y="229313"/>
                    <a:pt x="104726" y="221652"/>
                  </a:cubicBezTo>
                  <a:cubicBezTo>
                    <a:pt x="105424" y="218071"/>
                    <a:pt x="107018" y="213096"/>
                    <a:pt x="110605" y="211703"/>
                  </a:cubicBezTo>
                  <a:cubicBezTo>
                    <a:pt x="108812" y="200262"/>
                    <a:pt x="124954" y="196581"/>
                    <a:pt x="129537" y="187826"/>
                  </a:cubicBezTo>
                  <a:cubicBezTo>
                    <a:pt x="128143" y="139476"/>
                    <a:pt x="165110" y="98288"/>
                    <a:pt x="190420" y="60482"/>
                  </a:cubicBezTo>
                  <a:cubicBezTo>
                    <a:pt x="204968" y="49738"/>
                    <a:pt x="227488" y="-13934"/>
                    <a:pt x="248114" y="2780"/>
                  </a:cubicBezTo>
                  <a:lnTo>
                    <a:pt x="257082" y="5764"/>
                  </a:lnTo>
                  <a:cubicBezTo>
                    <a:pt x="254092" y="10739"/>
                    <a:pt x="256584" y="32825"/>
                    <a:pt x="257082" y="38595"/>
                  </a:cubicBezTo>
                  <a:cubicBezTo>
                    <a:pt x="261367" y="41381"/>
                    <a:pt x="269936" y="47251"/>
                    <a:pt x="273921" y="50534"/>
                  </a:cubicBezTo>
                  <a:cubicBezTo>
                    <a:pt x="285411" y="43430"/>
                    <a:pt x="298354" y="39013"/>
                    <a:pt x="311787" y="37600"/>
                  </a:cubicBezTo>
                  <a:cubicBezTo>
                    <a:pt x="313779" y="23772"/>
                    <a:pt x="331716" y="32328"/>
                    <a:pt x="340683" y="29641"/>
                  </a:cubicBezTo>
                  <a:cubicBezTo>
                    <a:pt x="336199" y="-901"/>
                    <a:pt x="380541" y="32924"/>
                    <a:pt x="387516" y="43570"/>
                  </a:cubicBezTo>
                  <a:cubicBezTo>
                    <a:pt x="392996" y="44962"/>
                    <a:pt x="399074" y="57100"/>
                    <a:pt x="401466" y="61477"/>
                  </a:cubicBezTo>
                  <a:cubicBezTo>
                    <a:pt x="421395" y="64760"/>
                    <a:pt x="413025" y="108734"/>
                    <a:pt x="414420" y="121170"/>
                  </a:cubicBezTo>
                  <a:cubicBezTo>
                    <a:pt x="417907" y="168426"/>
                    <a:pt x="408940" y="236973"/>
                    <a:pt x="419402" y="280350"/>
                  </a:cubicBezTo>
                  <a:cubicBezTo>
                    <a:pt x="414619" y="285523"/>
                    <a:pt x="410633" y="290298"/>
                    <a:pt x="417509" y="296268"/>
                  </a:cubicBezTo>
                  <a:lnTo>
                    <a:pt x="412427" y="305221"/>
                  </a:lnTo>
                  <a:cubicBezTo>
                    <a:pt x="415366" y="311181"/>
                    <a:pt x="415366" y="318165"/>
                    <a:pt x="412427" y="324124"/>
                  </a:cubicBezTo>
                  <a:cubicBezTo>
                    <a:pt x="429267" y="321040"/>
                    <a:pt x="422391" y="331188"/>
                    <a:pt x="434349" y="334073"/>
                  </a:cubicBezTo>
                  <a:cubicBezTo>
                    <a:pt x="450889" y="344022"/>
                    <a:pt x="461950" y="328004"/>
                    <a:pt x="461253" y="355960"/>
                  </a:cubicBezTo>
                  <a:cubicBezTo>
                    <a:pt x="445111" y="352379"/>
                    <a:pt x="455473" y="371878"/>
                    <a:pt x="459260" y="378842"/>
                  </a:cubicBezTo>
                  <a:cubicBezTo>
                    <a:pt x="458064" y="382921"/>
                    <a:pt x="454676" y="393865"/>
                    <a:pt x="453281" y="397745"/>
                  </a:cubicBezTo>
                  <a:cubicBezTo>
                    <a:pt x="459060" y="408589"/>
                    <a:pt x="472413" y="436545"/>
                    <a:pt x="479189" y="410678"/>
                  </a:cubicBezTo>
                  <a:cubicBezTo>
                    <a:pt x="506391" y="415056"/>
                    <a:pt x="499117" y="448185"/>
                    <a:pt x="516057" y="462412"/>
                  </a:cubicBezTo>
                  <a:cubicBezTo>
                    <a:pt x="514164" y="467983"/>
                    <a:pt x="513665" y="474649"/>
                    <a:pt x="520042" y="477335"/>
                  </a:cubicBezTo>
                  <a:cubicBezTo>
                    <a:pt x="506222" y="491134"/>
                    <a:pt x="491574" y="504087"/>
                    <a:pt x="476199" y="516135"/>
                  </a:cubicBezTo>
                  <a:cubicBezTo>
                    <a:pt x="472213" y="514046"/>
                    <a:pt x="466235" y="508673"/>
                    <a:pt x="463245" y="515140"/>
                  </a:cubicBezTo>
                  <a:cubicBezTo>
                    <a:pt x="453849" y="516991"/>
                    <a:pt x="447731" y="526084"/>
                    <a:pt x="449584" y="535465"/>
                  </a:cubicBezTo>
                  <a:cubicBezTo>
                    <a:pt x="449754" y="536331"/>
                    <a:pt x="449993" y="537186"/>
                    <a:pt x="450292" y="538022"/>
                  </a:cubicBezTo>
                  <a:lnTo>
                    <a:pt x="440327" y="545981"/>
                  </a:lnTo>
                  <a:cubicBezTo>
                    <a:pt x="436172" y="541037"/>
                    <a:pt x="433113" y="535276"/>
                    <a:pt x="431360" y="529068"/>
                  </a:cubicBezTo>
                  <a:cubicBezTo>
                    <a:pt x="420398" y="536132"/>
                    <a:pt x="408541" y="530759"/>
                    <a:pt x="405552" y="547971"/>
                  </a:cubicBezTo>
                  <a:cubicBezTo>
                    <a:pt x="402463" y="551353"/>
                    <a:pt x="399074" y="552348"/>
                    <a:pt x="395587" y="548966"/>
                  </a:cubicBezTo>
                  <a:cubicBezTo>
                    <a:pt x="388512" y="555432"/>
                    <a:pt x="384427" y="550458"/>
                    <a:pt x="381637" y="562894"/>
                  </a:cubicBezTo>
                  <a:cubicBezTo>
                    <a:pt x="377881" y="560039"/>
                    <a:pt x="374533" y="556696"/>
                    <a:pt x="371672" y="552945"/>
                  </a:cubicBezTo>
                  <a:cubicBezTo>
                    <a:pt x="364797" y="554438"/>
                    <a:pt x="362705" y="557223"/>
                    <a:pt x="365794" y="563889"/>
                  </a:cubicBezTo>
                  <a:cubicBezTo>
                    <a:pt x="361409" y="572047"/>
                    <a:pt x="355829" y="575031"/>
                    <a:pt x="365794" y="581797"/>
                  </a:cubicBezTo>
                  <a:cubicBezTo>
                    <a:pt x="345865" y="575628"/>
                    <a:pt x="347559" y="586871"/>
                    <a:pt x="345865" y="602689"/>
                  </a:cubicBezTo>
                  <a:cubicBezTo>
                    <a:pt x="334864" y="600212"/>
                    <a:pt x="323335" y="602371"/>
                    <a:pt x="313979" y="608658"/>
                  </a:cubicBezTo>
                  <a:cubicBezTo>
                    <a:pt x="312484" y="612240"/>
                    <a:pt x="310890" y="621990"/>
                    <a:pt x="305011" y="620597"/>
                  </a:cubicBezTo>
                  <a:lnTo>
                    <a:pt x="304014" y="607663"/>
                  </a:lnTo>
                  <a:cubicBezTo>
                    <a:pt x="294917" y="609096"/>
                    <a:pt x="286148" y="612130"/>
                    <a:pt x="278107" y="616617"/>
                  </a:cubicBezTo>
                  <a:lnTo>
                    <a:pt x="270136" y="598709"/>
                  </a:lnTo>
                  <a:cubicBezTo>
                    <a:pt x="280100" y="594033"/>
                    <a:pt x="271829" y="588761"/>
                    <a:pt x="268143" y="582792"/>
                  </a:cubicBezTo>
                  <a:cubicBezTo>
                    <a:pt x="253096" y="576126"/>
                    <a:pt x="257381" y="589059"/>
                    <a:pt x="252199" y="598709"/>
                  </a:cubicBezTo>
                  <a:cubicBezTo>
                    <a:pt x="256683" y="603883"/>
                    <a:pt x="259474" y="609454"/>
                    <a:pt x="253196" y="614627"/>
                  </a:cubicBezTo>
                  <a:cubicBezTo>
                    <a:pt x="260968" y="624576"/>
                    <a:pt x="248214" y="626665"/>
                    <a:pt x="240242" y="625571"/>
                  </a:cubicBezTo>
                  <a:cubicBezTo>
                    <a:pt x="238747" y="628158"/>
                    <a:pt x="235559" y="636415"/>
                    <a:pt x="231274" y="635520"/>
                  </a:cubicBezTo>
                  <a:cubicBezTo>
                    <a:pt x="229331" y="640216"/>
                    <a:pt x="225804" y="644086"/>
                    <a:pt x="221310" y="646463"/>
                  </a:cubicBezTo>
                  <a:cubicBezTo>
                    <a:pt x="219526" y="639967"/>
                    <a:pt x="216477" y="633878"/>
                    <a:pt x="212342" y="628556"/>
                  </a:cubicBezTo>
                  <a:cubicBezTo>
                    <a:pt x="208117" y="635798"/>
                    <a:pt x="203463" y="642772"/>
                    <a:pt x="198392" y="649448"/>
                  </a:cubicBezTo>
                  <a:cubicBezTo>
                    <a:pt x="194705" y="648354"/>
                    <a:pt x="191117" y="648354"/>
                    <a:pt x="189424" y="652433"/>
                  </a:cubicBezTo>
                  <a:cubicBezTo>
                    <a:pt x="184591" y="654253"/>
                    <a:pt x="179579" y="655586"/>
                    <a:pt x="174477" y="656412"/>
                  </a:cubicBezTo>
                  <a:cubicBezTo>
                    <a:pt x="171188" y="655915"/>
                    <a:pt x="168797" y="663277"/>
                    <a:pt x="167502" y="665366"/>
                  </a:cubicBezTo>
                  <a:cubicBezTo>
                    <a:pt x="163167" y="666421"/>
                    <a:pt x="159521" y="669336"/>
                    <a:pt x="157537" y="673325"/>
                  </a:cubicBezTo>
                  <a:cubicBezTo>
                    <a:pt x="153253" y="673922"/>
                    <a:pt x="154249" y="665764"/>
                    <a:pt x="153552" y="663376"/>
                  </a:cubicBezTo>
                  <a:cubicBezTo>
                    <a:pt x="149168" y="658302"/>
                    <a:pt x="142790" y="662282"/>
                    <a:pt x="138605" y="665366"/>
                  </a:cubicBezTo>
                  <a:cubicBezTo>
                    <a:pt x="136911" y="677503"/>
                    <a:pt x="127246" y="665366"/>
                    <a:pt x="124655" y="678299"/>
                  </a:cubicBezTo>
                  <a:cubicBezTo>
                    <a:pt x="119573" y="677205"/>
                    <a:pt x="113893" y="676708"/>
                    <a:pt x="112797" y="683274"/>
                  </a:cubicBezTo>
                  <a:cubicBezTo>
                    <a:pt x="109399" y="687492"/>
                    <a:pt x="108632" y="693242"/>
                    <a:pt x="110804" y="698197"/>
                  </a:cubicBezTo>
                  <a:cubicBezTo>
                    <a:pt x="104826" y="701848"/>
                    <a:pt x="97871" y="703579"/>
                    <a:pt x="90875" y="703171"/>
                  </a:cubicBezTo>
                  <a:cubicBezTo>
                    <a:pt x="86990" y="708743"/>
                    <a:pt x="89182" y="712225"/>
                    <a:pt x="94861" y="715110"/>
                  </a:cubicBezTo>
                  <a:cubicBezTo>
                    <a:pt x="86491" y="721477"/>
                    <a:pt x="84897" y="740181"/>
                    <a:pt x="70947" y="735007"/>
                  </a:cubicBezTo>
                  <a:lnTo>
                    <a:pt x="66961" y="738987"/>
                  </a:lnTo>
                  <a:cubicBezTo>
                    <a:pt x="63812" y="744031"/>
                    <a:pt x="62746" y="750090"/>
                    <a:pt x="63972" y="755900"/>
                  </a:cubicBezTo>
                  <a:cubicBezTo>
                    <a:pt x="62447" y="766863"/>
                    <a:pt x="56777" y="776832"/>
                    <a:pt x="48128" y="783756"/>
                  </a:cubicBezTo>
                  <a:cubicBezTo>
                    <a:pt x="20726" y="773807"/>
                    <a:pt x="42548" y="762267"/>
                    <a:pt x="27104" y="747941"/>
                  </a:cubicBezTo>
                  <a:cubicBezTo>
                    <a:pt x="22320" y="738987"/>
                    <a:pt x="9466" y="731127"/>
                    <a:pt x="15146" y="720084"/>
                  </a:cubicBezTo>
                  <a:cubicBezTo>
                    <a:pt x="16442" y="706454"/>
                    <a:pt x="13253" y="687253"/>
                    <a:pt x="13153" y="673325"/>
                  </a:cubicBezTo>
                  <a:cubicBezTo>
                    <a:pt x="9068" y="581001"/>
                    <a:pt x="6377" y="483105"/>
                    <a:pt x="0" y="390781"/>
                  </a:cubicBezTo>
                  <a:close/>
                  <a:moveTo>
                    <a:pt x="272028" y="641489"/>
                  </a:moveTo>
                  <a:lnTo>
                    <a:pt x="278007" y="637510"/>
                  </a:lnTo>
                  <a:cubicBezTo>
                    <a:pt x="281365" y="643270"/>
                    <a:pt x="280558" y="650542"/>
                    <a:pt x="276014" y="655417"/>
                  </a:cubicBezTo>
                  <a:cubicBezTo>
                    <a:pt x="270235" y="651935"/>
                    <a:pt x="268143" y="647458"/>
                    <a:pt x="272327" y="641489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1" name="Freeform: Shape 1710">
              <a:extLst>
                <a:ext uri="{FF2B5EF4-FFF2-40B4-BE49-F238E27FC236}">
                  <a16:creationId xmlns:a16="http://schemas.microsoft.com/office/drawing/2014/main" id="{DB6DA1EF-49F3-4171-A605-597614252DB3}"/>
                </a:ext>
              </a:extLst>
            </p:cNvPr>
            <p:cNvSpPr/>
            <p:nvPr/>
          </p:nvSpPr>
          <p:spPr>
            <a:xfrm>
              <a:off x="-953761" y="2519534"/>
              <a:ext cx="725409" cy="861681"/>
            </a:xfrm>
            <a:custGeom>
              <a:avLst/>
              <a:gdLst>
                <a:gd name="connsiteX0" fmla="*/ 1893 w 725409"/>
                <a:gd name="connsiteY0" fmla="*/ 674645 h 861681"/>
                <a:gd name="connsiteX1" fmla="*/ 6975 w 725409"/>
                <a:gd name="connsiteY1" fmla="*/ 666686 h 861681"/>
                <a:gd name="connsiteX2" fmla="*/ 13950 w 725409"/>
                <a:gd name="connsiteY2" fmla="*/ 652758 h 861681"/>
                <a:gd name="connsiteX3" fmla="*/ 43843 w 725409"/>
                <a:gd name="connsiteY3" fmla="*/ 636840 h 861681"/>
                <a:gd name="connsiteX4" fmla="*/ 41851 w 725409"/>
                <a:gd name="connsiteY4" fmla="*/ 617937 h 861681"/>
                <a:gd name="connsiteX5" fmla="*/ 17936 w 725409"/>
                <a:gd name="connsiteY5" fmla="*/ 607988 h 861681"/>
                <a:gd name="connsiteX6" fmla="*/ 17039 w 725409"/>
                <a:gd name="connsiteY6" fmla="*/ 590081 h 861681"/>
                <a:gd name="connsiteX7" fmla="*/ 18036 w 725409"/>
                <a:gd name="connsiteY7" fmla="*/ 575158 h 861681"/>
                <a:gd name="connsiteX8" fmla="*/ 11957 w 725409"/>
                <a:gd name="connsiteY8" fmla="*/ 553270 h 861681"/>
                <a:gd name="connsiteX9" fmla="*/ 24014 w 725409"/>
                <a:gd name="connsiteY9" fmla="*/ 549291 h 861681"/>
                <a:gd name="connsiteX10" fmla="*/ 36968 w 725409"/>
                <a:gd name="connsiteY10" fmla="*/ 531383 h 861681"/>
                <a:gd name="connsiteX11" fmla="*/ 39957 w 725409"/>
                <a:gd name="connsiteY11" fmla="*/ 505516 h 861681"/>
                <a:gd name="connsiteX12" fmla="*/ 38961 w 725409"/>
                <a:gd name="connsiteY12" fmla="*/ 478655 h 861681"/>
                <a:gd name="connsiteX13" fmla="*/ 45936 w 725409"/>
                <a:gd name="connsiteY13" fmla="*/ 461742 h 861681"/>
                <a:gd name="connsiteX14" fmla="*/ 48826 w 725409"/>
                <a:gd name="connsiteY14" fmla="*/ 448808 h 861681"/>
                <a:gd name="connsiteX15" fmla="*/ 73737 w 725409"/>
                <a:gd name="connsiteY15" fmla="*/ 434880 h 861681"/>
                <a:gd name="connsiteX16" fmla="*/ 84697 w 725409"/>
                <a:gd name="connsiteY16" fmla="*/ 416973 h 861681"/>
                <a:gd name="connsiteX17" fmla="*/ 54804 w 725409"/>
                <a:gd name="connsiteY17" fmla="*/ 395085 h 861681"/>
                <a:gd name="connsiteX18" fmla="*/ 40954 w 725409"/>
                <a:gd name="connsiteY18" fmla="*/ 353300 h 861681"/>
                <a:gd name="connsiteX19" fmla="*/ 24014 w 725409"/>
                <a:gd name="connsiteY19" fmla="*/ 319475 h 861681"/>
                <a:gd name="connsiteX20" fmla="*/ 25011 w 725409"/>
                <a:gd name="connsiteY20" fmla="*/ 292613 h 861681"/>
                <a:gd name="connsiteX21" fmla="*/ 28996 w 725409"/>
                <a:gd name="connsiteY21" fmla="*/ 270726 h 861681"/>
                <a:gd name="connsiteX22" fmla="*/ 19032 w 725409"/>
                <a:gd name="connsiteY22" fmla="*/ 241875 h 861681"/>
                <a:gd name="connsiteX23" fmla="*/ 16142 w 725409"/>
                <a:gd name="connsiteY23" fmla="*/ 211034 h 861681"/>
                <a:gd name="connsiteX24" fmla="*/ 19032 w 725409"/>
                <a:gd name="connsiteY24" fmla="*/ 177208 h 861681"/>
                <a:gd name="connsiteX25" fmla="*/ 9068 w 725409"/>
                <a:gd name="connsiteY25" fmla="*/ 155321 h 861681"/>
                <a:gd name="connsiteX26" fmla="*/ 10064 w 725409"/>
                <a:gd name="connsiteY26" fmla="*/ 140397 h 861681"/>
                <a:gd name="connsiteX27" fmla="*/ 30890 w 725409"/>
                <a:gd name="connsiteY27" fmla="*/ 133433 h 861681"/>
                <a:gd name="connsiteX28" fmla="*/ 45836 w 725409"/>
                <a:gd name="connsiteY28" fmla="*/ 137413 h 861681"/>
                <a:gd name="connsiteX29" fmla="*/ 55801 w 725409"/>
                <a:gd name="connsiteY29" fmla="*/ 134428 h 861681"/>
                <a:gd name="connsiteX30" fmla="*/ 83701 w 725409"/>
                <a:gd name="connsiteY30" fmla="*/ 153331 h 861681"/>
                <a:gd name="connsiteX31" fmla="*/ 96655 w 725409"/>
                <a:gd name="connsiteY31" fmla="*/ 126469 h 861681"/>
                <a:gd name="connsiteX32" fmla="*/ 96655 w 725409"/>
                <a:gd name="connsiteY32" fmla="*/ 120 h 861681"/>
                <a:gd name="connsiteX33" fmla="*/ 725409 w 725409"/>
                <a:gd name="connsiteY33" fmla="*/ 120 h 861681"/>
                <a:gd name="connsiteX34" fmla="*/ 725409 w 725409"/>
                <a:gd name="connsiteY34" fmla="*/ 861681 h 861681"/>
                <a:gd name="connsiteX35" fmla="*/ 470320 w 725409"/>
                <a:gd name="connsiteY35" fmla="*/ 861681 h 861681"/>
                <a:gd name="connsiteX36" fmla="*/ 308000 w 725409"/>
                <a:gd name="connsiteY36" fmla="*/ 800994 h 861681"/>
                <a:gd name="connsiteX37" fmla="*/ 134619 w 725409"/>
                <a:gd name="connsiteY37" fmla="*/ 737322 h 861681"/>
                <a:gd name="connsiteX38" fmla="*/ 0 w 725409"/>
                <a:gd name="connsiteY38" fmla="*/ 689568 h 861681"/>
                <a:gd name="connsiteX39" fmla="*/ 2989 w 725409"/>
                <a:gd name="connsiteY39" fmla="*/ 680614 h 861681"/>
                <a:gd name="connsiteX40" fmla="*/ 1893 w 725409"/>
                <a:gd name="connsiteY40" fmla="*/ 674645 h 86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725409" h="861681">
                  <a:moveTo>
                    <a:pt x="1893" y="674645"/>
                  </a:moveTo>
                  <a:cubicBezTo>
                    <a:pt x="-697" y="670466"/>
                    <a:pt x="4185" y="668576"/>
                    <a:pt x="6975" y="666686"/>
                  </a:cubicBezTo>
                  <a:cubicBezTo>
                    <a:pt x="8898" y="661851"/>
                    <a:pt x="11230" y="657195"/>
                    <a:pt x="13950" y="652758"/>
                  </a:cubicBezTo>
                  <a:cubicBezTo>
                    <a:pt x="27004" y="657036"/>
                    <a:pt x="37267" y="646888"/>
                    <a:pt x="43843" y="636840"/>
                  </a:cubicBezTo>
                  <a:cubicBezTo>
                    <a:pt x="46036" y="630771"/>
                    <a:pt x="42349" y="623906"/>
                    <a:pt x="41851" y="617937"/>
                  </a:cubicBezTo>
                  <a:cubicBezTo>
                    <a:pt x="40555" y="604904"/>
                    <a:pt x="27004" y="609879"/>
                    <a:pt x="17936" y="607988"/>
                  </a:cubicBezTo>
                  <a:cubicBezTo>
                    <a:pt x="14319" y="602646"/>
                    <a:pt x="13980" y="595752"/>
                    <a:pt x="17039" y="590081"/>
                  </a:cubicBezTo>
                  <a:cubicBezTo>
                    <a:pt x="16661" y="585086"/>
                    <a:pt x="16999" y="580062"/>
                    <a:pt x="18036" y="575158"/>
                  </a:cubicBezTo>
                  <a:cubicBezTo>
                    <a:pt x="7174" y="571775"/>
                    <a:pt x="18036" y="560533"/>
                    <a:pt x="11957" y="553270"/>
                  </a:cubicBezTo>
                  <a:cubicBezTo>
                    <a:pt x="15046" y="551480"/>
                    <a:pt x="21424" y="551480"/>
                    <a:pt x="24014" y="549291"/>
                  </a:cubicBezTo>
                  <a:cubicBezTo>
                    <a:pt x="26675" y="542287"/>
                    <a:pt x="31149" y="536109"/>
                    <a:pt x="36968" y="531383"/>
                  </a:cubicBezTo>
                  <a:cubicBezTo>
                    <a:pt x="35454" y="522658"/>
                    <a:pt x="36490" y="513674"/>
                    <a:pt x="39957" y="505516"/>
                  </a:cubicBezTo>
                  <a:cubicBezTo>
                    <a:pt x="37586" y="496751"/>
                    <a:pt x="37247" y="487569"/>
                    <a:pt x="38961" y="478655"/>
                  </a:cubicBezTo>
                  <a:cubicBezTo>
                    <a:pt x="32185" y="472785"/>
                    <a:pt x="42548" y="466617"/>
                    <a:pt x="45936" y="461742"/>
                  </a:cubicBezTo>
                  <a:cubicBezTo>
                    <a:pt x="47879" y="457713"/>
                    <a:pt x="48866" y="453286"/>
                    <a:pt x="48826" y="448808"/>
                  </a:cubicBezTo>
                  <a:cubicBezTo>
                    <a:pt x="56608" y="443287"/>
                    <a:pt x="64958" y="438621"/>
                    <a:pt x="73737" y="434880"/>
                  </a:cubicBezTo>
                  <a:cubicBezTo>
                    <a:pt x="77324" y="428613"/>
                    <a:pt x="88584" y="424932"/>
                    <a:pt x="84697" y="416973"/>
                  </a:cubicBezTo>
                  <a:cubicBezTo>
                    <a:pt x="78420" y="408516"/>
                    <a:pt x="65964" y="394787"/>
                    <a:pt x="54804" y="395085"/>
                  </a:cubicBezTo>
                  <a:cubicBezTo>
                    <a:pt x="55601" y="381854"/>
                    <a:pt x="46235" y="365239"/>
                    <a:pt x="40954" y="353300"/>
                  </a:cubicBezTo>
                  <a:cubicBezTo>
                    <a:pt x="34477" y="343352"/>
                    <a:pt x="19231" y="332607"/>
                    <a:pt x="24014" y="319475"/>
                  </a:cubicBezTo>
                  <a:cubicBezTo>
                    <a:pt x="22948" y="310521"/>
                    <a:pt x="23287" y="301458"/>
                    <a:pt x="25011" y="292613"/>
                  </a:cubicBezTo>
                  <a:cubicBezTo>
                    <a:pt x="34975" y="294304"/>
                    <a:pt x="28498" y="275103"/>
                    <a:pt x="28996" y="270726"/>
                  </a:cubicBezTo>
                  <a:cubicBezTo>
                    <a:pt x="27601" y="264856"/>
                    <a:pt x="24811" y="245158"/>
                    <a:pt x="19032" y="241875"/>
                  </a:cubicBezTo>
                  <a:cubicBezTo>
                    <a:pt x="17139" y="231926"/>
                    <a:pt x="25011" y="217600"/>
                    <a:pt x="16142" y="211034"/>
                  </a:cubicBezTo>
                  <a:cubicBezTo>
                    <a:pt x="16142" y="201085"/>
                    <a:pt x="10762" y="185465"/>
                    <a:pt x="19032" y="177208"/>
                  </a:cubicBezTo>
                  <a:cubicBezTo>
                    <a:pt x="13452" y="171159"/>
                    <a:pt x="9964" y="163489"/>
                    <a:pt x="9068" y="155321"/>
                  </a:cubicBezTo>
                  <a:cubicBezTo>
                    <a:pt x="8749" y="150326"/>
                    <a:pt x="9078" y="145302"/>
                    <a:pt x="10064" y="140397"/>
                  </a:cubicBezTo>
                  <a:cubicBezTo>
                    <a:pt x="17338" y="140397"/>
                    <a:pt x="23815" y="133234"/>
                    <a:pt x="30890" y="133433"/>
                  </a:cubicBezTo>
                  <a:cubicBezTo>
                    <a:pt x="36370" y="132041"/>
                    <a:pt x="40854" y="136318"/>
                    <a:pt x="45836" y="137413"/>
                  </a:cubicBezTo>
                  <a:cubicBezTo>
                    <a:pt x="48497" y="134896"/>
                    <a:pt x="52194" y="133791"/>
                    <a:pt x="55801" y="134428"/>
                  </a:cubicBezTo>
                  <a:cubicBezTo>
                    <a:pt x="61879" y="144377"/>
                    <a:pt x="69053" y="157907"/>
                    <a:pt x="83701" y="153331"/>
                  </a:cubicBezTo>
                  <a:cubicBezTo>
                    <a:pt x="86690" y="143800"/>
                    <a:pt x="91055" y="134747"/>
                    <a:pt x="96655" y="126469"/>
                  </a:cubicBezTo>
                  <a:cubicBezTo>
                    <a:pt x="96655" y="87470"/>
                    <a:pt x="96655" y="39119"/>
                    <a:pt x="96655" y="120"/>
                  </a:cubicBezTo>
                  <a:cubicBezTo>
                    <a:pt x="302918" y="-477"/>
                    <a:pt x="519544" y="1413"/>
                    <a:pt x="725409" y="120"/>
                  </a:cubicBezTo>
                  <a:lnTo>
                    <a:pt x="725409" y="861681"/>
                  </a:lnTo>
                  <a:cubicBezTo>
                    <a:pt x="649680" y="860587"/>
                    <a:pt x="546050" y="860189"/>
                    <a:pt x="470320" y="861681"/>
                  </a:cubicBezTo>
                  <a:cubicBezTo>
                    <a:pt x="446804" y="852628"/>
                    <a:pt x="334007" y="810644"/>
                    <a:pt x="308000" y="800994"/>
                  </a:cubicBezTo>
                  <a:cubicBezTo>
                    <a:pt x="271929" y="788061"/>
                    <a:pt x="168498" y="751250"/>
                    <a:pt x="134619" y="737322"/>
                  </a:cubicBezTo>
                  <a:lnTo>
                    <a:pt x="0" y="689568"/>
                  </a:lnTo>
                  <a:cubicBezTo>
                    <a:pt x="737" y="686504"/>
                    <a:pt x="1744" y="683509"/>
                    <a:pt x="2989" y="680614"/>
                  </a:cubicBezTo>
                  <a:cubicBezTo>
                    <a:pt x="100" y="679520"/>
                    <a:pt x="-199" y="677033"/>
                    <a:pt x="1893" y="674645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2" name="Freeform: Shape 1711">
              <a:extLst>
                <a:ext uri="{FF2B5EF4-FFF2-40B4-BE49-F238E27FC236}">
                  <a16:creationId xmlns:a16="http://schemas.microsoft.com/office/drawing/2014/main" id="{3EE1EA85-2CE0-426E-BEBF-80D24870F7B2}"/>
                </a:ext>
              </a:extLst>
            </p:cNvPr>
            <p:cNvSpPr/>
            <p:nvPr/>
          </p:nvSpPr>
          <p:spPr>
            <a:xfrm>
              <a:off x="-228452" y="2519654"/>
              <a:ext cx="760284" cy="861561"/>
            </a:xfrm>
            <a:custGeom>
              <a:avLst/>
              <a:gdLst>
                <a:gd name="connsiteX0" fmla="*/ 0 w 760284"/>
                <a:gd name="connsiteY0" fmla="*/ 792915 h 861561"/>
                <a:gd name="connsiteX1" fmla="*/ 0 w 760284"/>
                <a:gd name="connsiteY1" fmla="*/ 0 h 861561"/>
                <a:gd name="connsiteX2" fmla="*/ 760284 w 760284"/>
                <a:gd name="connsiteY2" fmla="*/ 0 h 861561"/>
                <a:gd name="connsiteX3" fmla="*/ 760284 w 760284"/>
                <a:gd name="connsiteY3" fmla="*/ 78595 h 861561"/>
                <a:gd name="connsiteX4" fmla="*/ 755302 w 760284"/>
                <a:gd name="connsiteY4" fmla="*/ 78595 h 861561"/>
                <a:gd name="connsiteX5" fmla="*/ 752313 w 760284"/>
                <a:gd name="connsiteY5" fmla="*/ 763069 h 861561"/>
                <a:gd name="connsiteX6" fmla="*/ 414519 w 760284"/>
                <a:gd name="connsiteY6" fmla="*/ 762074 h 861561"/>
                <a:gd name="connsiteX7" fmla="*/ 305907 w 760284"/>
                <a:gd name="connsiteY7" fmla="*/ 763069 h 861561"/>
                <a:gd name="connsiteX8" fmla="*/ 316868 w 760284"/>
                <a:gd name="connsiteY8" fmla="*/ 794905 h 861561"/>
                <a:gd name="connsiteX9" fmla="*/ 105623 w 760284"/>
                <a:gd name="connsiteY9" fmla="*/ 794905 h 861561"/>
                <a:gd name="connsiteX10" fmla="*/ 105623 w 760284"/>
                <a:gd name="connsiteY10" fmla="*/ 860566 h 861561"/>
                <a:gd name="connsiteX11" fmla="*/ 0 w 760284"/>
                <a:gd name="connsiteY11" fmla="*/ 861561 h 861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0284" h="861561">
                  <a:moveTo>
                    <a:pt x="0" y="792915"/>
                  </a:moveTo>
                  <a:lnTo>
                    <a:pt x="0" y="0"/>
                  </a:lnTo>
                  <a:cubicBezTo>
                    <a:pt x="252797" y="0"/>
                    <a:pt x="506790" y="2786"/>
                    <a:pt x="760284" y="0"/>
                  </a:cubicBezTo>
                  <a:lnTo>
                    <a:pt x="760284" y="78595"/>
                  </a:lnTo>
                  <a:lnTo>
                    <a:pt x="755302" y="78595"/>
                  </a:lnTo>
                  <a:cubicBezTo>
                    <a:pt x="756896" y="305924"/>
                    <a:pt x="753210" y="535740"/>
                    <a:pt x="752313" y="763069"/>
                  </a:cubicBezTo>
                  <a:cubicBezTo>
                    <a:pt x="642704" y="763069"/>
                    <a:pt x="524028" y="763865"/>
                    <a:pt x="414519" y="762074"/>
                  </a:cubicBezTo>
                  <a:cubicBezTo>
                    <a:pt x="380641" y="762074"/>
                    <a:pt x="339886" y="761477"/>
                    <a:pt x="305907" y="763069"/>
                  </a:cubicBezTo>
                  <a:cubicBezTo>
                    <a:pt x="300566" y="774908"/>
                    <a:pt x="305369" y="788846"/>
                    <a:pt x="316868" y="794905"/>
                  </a:cubicBezTo>
                  <a:lnTo>
                    <a:pt x="105623" y="794905"/>
                  </a:lnTo>
                  <a:lnTo>
                    <a:pt x="105623" y="860566"/>
                  </a:lnTo>
                  <a:cubicBezTo>
                    <a:pt x="78221" y="859969"/>
                    <a:pt x="26804" y="861362"/>
                    <a:pt x="0" y="861561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3" name="Freeform: Shape 1712">
              <a:extLst>
                <a:ext uri="{FF2B5EF4-FFF2-40B4-BE49-F238E27FC236}">
                  <a16:creationId xmlns:a16="http://schemas.microsoft.com/office/drawing/2014/main" id="{55636F87-C417-4586-9F30-FD878693A5E1}"/>
                </a:ext>
              </a:extLst>
            </p:cNvPr>
            <p:cNvSpPr/>
            <p:nvPr/>
          </p:nvSpPr>
          <p:spPr>
            <a:xfrm>
              <a:off x="3489666" y="2083573"/>
              <a:ext cx="557907" cy="291906"/>
            </a:xfrm>
            <a:custGeom>
              <a:avLst/>
              <a:gdLst>
                <a:gd name="connsiteX0" fmla="*/ 598 w 557907"/>
                <a:gd name="connsiteY0" fmla="*/ 62008 h 291906"/>
                <a:gd name="connsiteX1" fmla="*/ 1595 w 557907"/>
                <a:gd name="connsiteY1" fmla="*/ 326 h 291906"/>
                <a:gd name="connsiteX2" fmla="*/ 462249 w 557907"/>
                <a:gd name="connsiteY2" fmla="*/ 326 h 291906"/>
                <a:gd name="connsiteX3" fmla="*/ 468327 w 557907"/>
                <a:gd name="connsiteY3" fmla="*/ 56039 h 291906"/>
                <a:gd name="connsiteX4" fmla="*/ 477196 w 557907"/>
                <a:gd name="connsiteY4" fmla="*/ 204275 h 291906"/>
                <a:gd name="connsiteX5" fmla="*/ 557907 w 557907"/>
                <a:gd name="connsiteY5" fmla="*/ 206265 h 291906"/>
                <a:gd name="connsiteX6" fmla="*/ 541964 w 557907"/>
                <a:gd name="connsiteY6" fmla="*/ 257003 h 291906"/>
                <a:gd name="connsiteX7" fmla="*/ 486164 w 557907"/>
                <a:gd name="connsiteY7" fmla="*/ 278891 h 291906"/>
                <a:gd name="connsiteX8" fmla="*/ 466235 w 557907"/>
                <a:gd name="connsiteY8" fmla="*/ 282870 h 291906"/>
                <a:gd name="connsiteX9" fmla="*/ 452285 w 557907"/>
                <a:gd name="connsiteY9" fmla="*/ 291824 h 291906"/>
                <a:gd name="connsiteX10" fmla="*/ 456370 w 557907"/>
                <a:gd name="connsiteY10" fmla="*/ 268942 h 291906"/>
                <a:gd name="connsiteX11" fmla="*/ 446405 w 557907"/>
                <a:gd name="connsiteY11" fmla="*/ 257998 h 291906"/>
                <a:gd name="connsiteX12" fmla="*/ 456370 w 557907"/>
                <a:gd name="connsiteY12" fmla="*/ 246060 h 291906"/>
                <a:gd name="connsiteX13" fmla="*/ 434449 w 557907"/>
                <a:gd name="connsiteY13" fmla="*/ 237106 h 291906"/>
                <a:gd name="connsiteX14" fmla="*/ 438434 w 557907"/>
                <a:gd name="connsiteY14" fmla="*/ 265957 h 291906"/>
                <a:gd name="connsiteX15" fmla="*/ 426637 w 557907"/>
                <a:gd name="connsiteY15" fmla="*/ 250527 h 291906"/>
                <a:gd name="connsiteX16" fmla="*/ 427573 w 557907"/>
                <a:gd name="connsiteY16" fmla="*/ 247054 h 291906"/>
                <a:gd name="connsiteX17" fmla="*/ 411530 w 557907"/>
                <a:gd name="connsiteY17" fmla="*/ 229147 h 291906"/>
                <a:gd name="connsiteX18" fmla="*/ 406986 w 557907"/>
                <a:gd name="connsiteY18" fmla="*/ 221864 h 291906"/>
                <a:gd name="connsiteX19" fmla="*/ 407644 w 557907"/>
                <a:gd name="connsiteY19" fmla="*/ 220193 h 291906"/>
                <a:gd name="connsiteX20" fmla="*/ 396583 w 557907"/>
                <a:gd name="connsiteY20" fmla="*/ 199301 h 291906"/>
                <a:gd name="connsiteX21" fmla="*/ 418505 w 557907"/>
                <a:gd name="connsiteY21" fmla="*/ 180398 h 291906"/>
                <a:gd name="connsiteX22" fmla="*/ 416512 w 557907"/>
                <a:gd name="connsiteY22" fmla="*/ 170449 h 291906"/>
                <a:gd name="connsiteX23" fmla="*/ 408541 w 557907"/>
                <a:gd name="connsiteY23" fmla="*/ 163485 h 291906"/>
                <a:gd name="connsiteX24" fmla="*/ 395587 w 557907"/>
                <a:gd name="connsiteY24" fmla="*/ 168459 h 291906"/>
                <a:gd name="connsiteX25" fmla="*/ 389609 w 557907"/>
                <a:gd name="connsiteY25" fmla="*/ 156521 h 291906"/>
                <a:gd name="connsiteX26" fmla="*/ 404555 w 557907"/>
                <a:gd name="connsiteY26" fmla="*/ 141598 h 291906"/>
                <a:gd name="connsiteX27" fmla="*/ 413523 w 557907"/>
                <a:gd name="connsiteY27" fmla="*/ 129659 h 291906"/>
                <a:gd name="connsiteX28" fmla="*/ 391601 w 557907"/>
                <a:gd name="connsiteY28" fmla="*/ 141598 h 291906"/>
                <a:gd name="connsiteX29" fmla="*/ 409538 w 557907"/>
                <a:gd name="connsiteY29" fmla="*/ 114736 h 291906"/>
                <a:gd name="connsiteX30" fmla="*/ 403559 w 557907"/>
                <a:gd name="connsiteY30" fmla="*/ 93844 h 291906"/>
                <a:gd name="connsiteX31" fmla="*/ 418505 w 557907"/>
                <a:gd name="connsiteY31" fmla="*/ 63003 h 291906"/>
                <a:gd name="connsiteX32" fmla="*/ 437438 w 557907"/>
                <a:gd name="connsiteY32" fmla="*/ 44100 h 291906"/>
                <a:gd name="connsiteX33" fmla="*/ 389609 w 557907"/>
                <a:gd name="connsiteY33" fmla="*/ 79916 h 291906"/>
                <a:gd name="connsiteX34" fmla="*/ 372669 w 557907"/>
                <a:gd name="connsiteY34" fmla="*/ 88869 h 291906"/>
                <a:gd name="connsiteX35" fmla="*/ 389609 w 557907"/>
                <a:gd name="connsiteY35" fmla="*/ 115731 h 291906"/>
                <a:gd name="connsiteX36" fmla="*/ 382634 w 557907"/>
                <a:gd name="connsiteY36" fmla="*/ 127669 h 291906"/>
                <a:gd name="connsiteX37" fmla="*/ 373665 w 557907"/>
                <a:gd name="connsiteY37" fmla="*/ 141598 h 291906"/>
                <a:gd name="connsiteX38" fmla="*/ 377651 w 557907"/>
                <a:gd name="connsiteY38" fmla="*/ 143588 h 291906"/>
                <a:gd name="connsiteX39" fmla="*/ 372769 w 557907"/>
                <a:gd name="connsiteY39" fmla="*/ 171444 h 291906"/>
                <a:gd name="connsiteX40" fmla="*/ 389708 w 557907"/>
                <a:gd name="connsiteY40" fmla="*/ 216214 h 291906"/>
                <a:gd name="connsiteX41" fmla="*/ 388612 w 557907"/>
                <a:gd name="connsiteY41" fmla="*/ 228152 h 291906"/>
                <a:gd name="connsiteX42" fmla="*/ 389609 w 557907"/>
                <a:gd name="connsiteY42" fmla="*/ 240090 h 291906"/>
                <a:gd name="connsiteX43" fmla="*/ 398576 w 557907"/>
                <a:gd name="connsiteY43" fmla="*/ 256009 h 291906"/>
                <a:gd name="connsiteX44" fmla="*/ 398576 w 557907"/>
                <a:gd name="connsiteY44" fmla="*/ 271926 h 291906"/>
                <a:gd name="connsiteX45" fmla="*/ 384627 w 557907"/>
                <a:gd name="connsiteY45" fmla="*/ 258993 h 291906"/>
                <a:gd name="connsiteX46" fmla="*/ 370676 w 557907"/>
                <a:gd name="connsiteY46" fmla="*/ 254019 h 291906"/>
                <a:gd name="connsiteX47" fmla="*/ 329822 w 557907"/>
                <a:gd name="connsiteY47" fmla="*/ 235116 h 291906"/>
                <a:gd name="connsiteX48" fmla="*/ 315872 w 557907"/>
                <a:gd name="connsiteY48" fmla="*/ 222183 h 291906"/>
                <a:gd name="connsiteX49" fmla="*/ 303914 w 557907"/>
                <a:gd name="connsiteY49" fmla="*/ 210244 h 291906"/>
                <a:gd name="connsiteX50" fmla="*/ 281993 w 557907"/>
                <a:gd name="connsiteY50" fmla="*/ 192336 h 291906"/>
                <a:gd name="connsiteX51" fmla="*/ 289965 w 557907"/>
                <a:gd name="connsiteY51" fmla="*/ 182388 h 291906"/>
                <a:gd name="connsiteX52" fmla="*/ 296939 w 557907"/>
                <a:gd name="connsiteY52" fmla="*/ 176419 h 291906"/>
                <a:gd name="connsiteX53" fmla="*/ 306904 w 557907"/>
                <a:gd name="connsiteY53" fmla="*/ 164480 h 291906"/>
                <a:gd name="connsiteX54" fmla="*/ 307900 w 557907"/>
                <a:gd name="connsiteY54" fmla="*/ 152541 h 291906"/>
                <a:gd name="connsiteX55" fmla="*/ 324840 w 557907"/>
                <a:gd name="connsiteY55" fmla="*/ 134634 h 291906"/>
                <a:gd name="connsiteX56" fmla="*/ 307900 w 557907"/>
                <a:gd name="connsiteY56" fmla="*/ 118716 h 291906"/>
                <a:gd name="connsiteX57" fmla="*/ 297936 w 557907"/>
                <a:gd name="connsiteY57" fmla="*/ 128664 h 291906"/>
                <a:gd name="connsiteX58" fmla="*/ 281993 w 557907"/>
                <a:gd name="connsiteY58" fmla="*/ 119711 h 291906"/>
                <a:gd name="connsiteX59" fmla="*/ 274021 w 557907"/>
                <a:gd name="connsiteY59" fmla="*/ 108767 h 291906"/>
                <a:gd name="connsiteX60" fmla="*/ 247117 w 557907"/>
                <a:gd name="connsiteY60" fmla="*/ 91854 h 291906"/>
                <a:gd name="connsiteX61" fmla="*/ 243132 w 557907"/>
                <a:gd name="connsiteY61" fmla="*/ 71957 h 291906"/>
                <a:gd name="connsiteX62" fmla="*/ 222206 w 557907"/>
                <a:gd name="connsiteY62" fmla="*/ 65987 h 291906"/>
                <a:gd name="connsiteX63" fmla="*/ 220313 w 557907"/>
                <a:gd name="connsiteY63" fmla="*/ 53054 h 291906"/>
                <a:gd name="connsiteX64" fmla="*/ 208356 w 557907"/>
                <a:gd name="connsiteY64" fmla="*/ 22213 h 291906"/>
                <a:gd name="connsiteX65" fmla="*/ 177466 w 557907"/>
                <a:gd name="connsiteY65" fmla="*/ 8285 h 291906"/>
                <a:gd name="connsiteX66" fmla="*/ 129537 w 557907"/>
                <a:gd name="connsiteY66" fmla="*/ 32162 h 291906"/>
                <a:gd name="connsiteX67" fmla="*/ 90676 w 557907"/>
                <a:gd name="connsiteY67" fmla="*/ 14254 h 291906"/>
                <a:gd name="connsiteX68" fmla="*/ 66762 w 557907"/>
                <a:gd name="connsiteY68" fmla="*/ 46090 h 291906"/>
                <a:gd name="connsiteX69" fmla="*/ 40954 w 557907"/>
                <a:gd name="connsiteY69" fmla="*/ 53054 h 291906"/>
                <a:gd name="connsiteX70" fmla="*/ 0 w 557907"/>
                <a:gd name="connsiteY70" fmla="*/ 83895 h 291906"/>
                <a:gd name="connsiteX71" fmla="*/ 433053 w 557907"/>
                <a:gd name="connsiteY71" fmla="*/ 273916 h 291906"/>
                <a:gd name="connsiteX72" fmla="*/ 440029 w 557907"/>
                <a:gd name="connsiteY72" fmla="*/ 287844 h 291906"/>
                <a:gd name="connsiteX73" fmla="*/ 433053 w 557907"/>
                <a:gd name="connsiteY73" fmla="*/ 273916 h 291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557907" h="291906">
                  <a:moveTo>
                    <a:pt x="598" y="62008"/>
                  </a:moveTo>
                  <a:cubicBezTo>
                    <a:pt x="598" y="46587"/>
                    <a:pt x="598" y="15647"/>
                    <a:pt x="1595" y="326"/>
                  </a:cubicBezTo>
                  <a:lnTo>
                    <a:pt x="462249" y="326"/>
                  </a:lnTo>
                  <a:cubicBezTo>
                    <a:pt x="468925" y="-4947"/>
                    <a:pt x="466534" y="55541"/>
                    <a:pt x="468327" y="56039"/>
                  </a:cubicBezTo>
                  <a:cubicBezTo>
                    <a:pt x="470719" y="102798"/>
                    <a:pt x="473708" y="157615"/>
                    <a:pt x="477196" y="204275"/>
                  </a:cubicBezTo>
                  <a:cubicBezTo>
                    <a:pt x="502306" y="205170"/>
                    <a:pt x="532897" y="206862"/>
                    <a:pt x="557907" y="206265"/>
                  </a:cubicBezTo>
                  <a:cubicBezTo>
                    <a:pt x="554061" y="223605"/>
                    <a:pt x="548730" y="240578"/>
                    <a:pt x="541964" y="257003"/>
                  </a:cubicBezTo>
                  <a:cubicBezTo>
                    <a:pt x="541964" y="280880"/>
                    <a:pt x="500712" y="275806"/>
                    <a:pt x="486164" y="278891"/>
                  </a:cubicBezTo>
                  <a:cubicBezTo>
                    <a:pt x="480882" y="289337"/>
                    <a:pt x="475103" y="281875"/>
                    <a:pt x="466235" y="282870"/>
                  </a:cubicBezTo>
                  <a:cubicBezTo>
                    <a:pt x="464043" y="284561"/>
                    <a:pt x="455573" y="292819"/>
                    <a:pt x="452285" y="291824"/>
                  </a:cubicBezTo>
                  <a:cubicBezTo>
                    <a:pt x="449096" y="284263"/>
                    <a:pt x="455573" y="275707"/>
                    <a:pt x="456370" y="268942"/>
                  </a:cubicBezTo>
                  <a:cubicBezTo>
                    <a:pt x="457167" y="262177"/>
                    <a:pt x="451587" y="259789"/>
                    <a:pt x="446405" y="257998"/>
                  </a:cubicBezTo>
                  <a:cubicBezTo>
                    <a:pt x="444911" y="249641"/>
                    <a:pt x="448100" y="246259"/>
                    <a:pt x="456370" y="246060"/>
                  </a:cubicBezTo>
                  <a:cubicBezTo>
                    <a:pt x="453381" y="236111"/>
                    <a:pt x="443715" y="238598"/>
                    <a:pt x="434449" y="237106"/>
                  </a:cubicBezTo>
                  <a:cubicBezTo>
                    <a:pt x="434677" y="246846"/>
                    <a:pt x="436013" y="256526"/>
                    <a:pt x="438434" y="265957"/>
                  </a:cubicBezTo>
                  <a:cubicBezTo>
                    <a:pt x="430911" y="264952"/>
                    <a:pt x="425620" y="258038"/>
                    <a:pt x="426637" y="250527"/>
                  </a:cubicBezTo>
                  <a:cubicBezTo>
                    <a:pt x="426796" y="249333"/>
                    <a:pt x="427105" y="248169"/>
                    <a:pt x="427573" y="247054"/>
                  </a:cubicBezTo>
                  <a:cubicBezTo>
                    <a:pt x="421893" y="241394"/>
                    <a:pt x="416543" y="235415"/>
                    <a:pt x="411530" y="229147"/>
                  </a:cubicBezTo>
                  <a:cubicBezTo>
                    <a:pt x="408262" y="228391"/>
                    <a:pt x="406229" y="225128"/>
                    <a:pt x="406986" y="221864"/>
                  </a:cubicBezTo>
                  <a:cubicBezTo>
                    <a:pt x="407116" y="221277"/>
                    <a:pt x="407345" y="220710"/>
                    <a:pt x="407644" y="220193"/>
                  </a:cubicBezTo>
                  <a:cubicBezTo>
                    <a:pt x="404854" y="215915"/>
                    <a:pt x="398975" y="203976"/>
                    <a:pt x="396583" y="199301"/>
                  </a:cubicBezTo>
                  <a:cubicBezTo>
                    <a:pt x="411032" y="187959"/>
                    <a:pt x="392299" y="176319"/>
                    <a:pt x="418505" y="180398"/>
                  </a:cubicBezTo>
                  <a:cubicBezTo>
                    <a:pt x="418007" y="177911"/>
                    <a:pt x="417110" y="172936"/>
                    <a:pt x="416512" y="170449"/>
                  </a:cubicBezTo>
                  <a:cubicBezTo>
                    <a:pt x="413324" y="172140"/>
                    <a:pt x="410135" y="165176"/>
                    <a:pt x="408541" y="163485"/>
                  </a:cubicBezTo>
                  <a:cubicBezTo>
                    <a:pt x="403858" y="162888"/>
                    <a:pt x="400071" y="171345"/>
                    <a:pt x="395587" y="168459"/>
                  </a:cubicBezTo>
                  <a:cubicBezTo>
                    <a:pt x="396574" y="163585"/>
                    <a:pt x="394112" y="158660"/>
                    <a:pt x="389609" y="156521"/>
                  </a:cubicBezTo>
                  <a:cubicBezTo>
                    <a:pt x="392100" y="147070"/>
                    <a:pt x="400769" y="154929"/>
                    <a:pt x="404555" y="141598"/>
                  </a:cubicBezTo>
                  <a:cubicBezTo>
                    <a:pt x="418107" y="155526"/>
                    <a:pt x="413722" y="138912"/>
                    <a:pt x="413523" y="129659"/>
                  </a:cubicBezTo>
                  <a:cubicBezTo>
                    <a:pt x="391103" y="127570"/>
                    <a:pt x="403559" y="139608"/>
                    <a:pt x="391601" y="141598"/>
                  </a:cubicBezTo>
                  <a:cubicBezTo>
                    <a:pt x="393395" y="132345"/>
                    <a:pt x="395687" y="104290"/>
                    <a:pt x="409538" y="114736"/>
                  </a:cubicBezTo>
                  <a:cubicBezTo>
                    <a:pt x="411052" y="107215"/>
                    <a:pt x="408820" y="99425"/>
                    <a:pt x="403559" y="93844"/>
                  </a:cubicBezTo>
                  <a:cubicBezTo>
                    <a:pt x="407245" y="83895"/>
                    <a:pt x="414719" y="72753"/>
                    <a:pt x="418505" y="63003"/>
                  </a:cubicBezTo>
                  <a:cubicBezTo>
                    <a:pt x="422292" y="53253"/>
                    <a:pt x="442121" y="56337"/>
                    <a:pt x="437438" y="44100"/>
                  </a:cubicBezTo>
                  <a:cubicBezTo>
                    <a:pt x="417509" y="45692"/>
                    <a:pt x="405651" y="70464"/>
                    <a:pt x="389609" y="79916"/>
                  </a:cubicBezTo>
                  <a:cubicBezTo>
                    <a:pt x="385722" y="86283"/>
                    <a:pt x="376655" y="81906"/>
                    <a:pt x="372669" y="88869"/>
                  </a:cubicBezTo>
                  <a:cubicBezTo>
                    <a:pt x="391502" y="96928"/>
                    <a:pt x="380641" y="104489"/>
                    <a:pt x="389609" y="115731"/>
                  </a:cubicBezTo>
                  <a:cubicBezTo>
                    <a:pt x="386420" y="118517"/>
                    <a:pt x="375559" y="123591"/>
                    <a:pt x="382634" y="127669"/>
                  </a:cubicBezTo>
                  <a:cubicBezTo>
                    <a:pt x="380242" y="132664"/>
                    <a:pt x="377223" y="137350"/>
                    <a:pt x="373665" y="141598"/>
                  </a:cubicBezTo>
                  <a:lnTo>
                    <a:pt x="377651" y="143588"/>
                  </a:lnTo>
                  <a:cubicBezTo>
                    <a:pt x="363502" y="162789"/>
                    <a:pt x="373267" y="152541"/>
                    <a:pt x="372769" y="171444"/>
                  </a:cubicBezTo>
                  <a:cubicBezTo>
                    <a:pt x="376555" y="196415"/>
                    <a:pt x="369779" y="195222"/>
                    <a:pt x="389708" y="216214"/>
                  </a:cubicBezTo>
                  <a:cubicBezTo>
                    <a:pt x="391601" y="219397"/>
                    <a:pt x="388911" y="224968"/>
                    <a:pt x="388612" y="228152"/>
                  </a:cubicBezTo>
                  <a:cubicBezTo>
                    <a:pt x="393196" y="229843"/>
                    <a:pt x="390306" y="236907"/>
                    <a:pt x="389609" y="240090"/>
                  </a:cubicBezTo>
                  <a:cubicBezTo>
                    <a:pt x="392199" y="245612"/>
                    <a:pt x="395199" y="250935"/>
                    <a:pt x="398576" y="256009"/>
                  </a:cubicBezTo>
                  <a:cubicBezTo>
                    <a:pt x="397730" y="261281"/>
                    <a:pt x="397730" y="266653"/>
                    <a:pt x="398576" y="271926"/>
                  </a:cubicBezTo>
                  <a:cubicBezTo>
                    <a:pt x="394651" y="266902"/>
                    <a:pt x="389937" y="262535"/>
                    <a:pt x="384627" y="258993"/>
                  </a:cubicBezTo>
                  <a:cubicBezTo>
                    <a:pt x="379943" y="261580"/>
                    <a:pt x="374064" y="256904"/>
                    <a:pt x="370676" y="254019"/>
                  </a:cubicBezTo>
                  <a:cubicBezTo>
                    <a:pt x="365096" y="236708"/>
                    <a:pt x="343174" y="242677"/>
                    <a:pt x="329822" y="235116"/>
                  </a:cubicBezTo>
                  <a:cubicBezTo>
                    <a:pt x="325438" y="230530"/>
                    <a:pt x="320784" y="226212"/>
                    <a:pt x="315872" y="222183"/>
                  </a:cubicBezTo>
                  <a:cubicBezTo>
                    <a:pt x="313779" y="215417"/>
                    <a:pt x="313979" y="202285"/>
                    <a:pt x="303914" y="210244"/>
                  </a:cubicBezTo>
                  <a:cubicBezTo>
                    <a:pt x="282590" y="220989"/>
                    <a:pt x="278107" y="214721"/>
                    <a:pt x="281993" y="192336"/>
                  </a:cubicBezTo>
                  <a:lnTo>
                    <a:pt x="289965" y="182388"/>
                  </a:lnTo>
                  <a:cubicBezTo>
                    <a:pt x="292157" y="181293"/>
                    <a:pt x="298634" y="180000"/>
                    <a:pt x="296939" y="176419"/>
                  </a:cubicBezTo>
                  <a:cubicBezTo>
                    <a:pt x="293950" y="170449"/>
                    <a:pt x="301025" y="163783"/>
                    <a:pt x="306904" y="164480"/>
                  </a:cubicBezTo>
                  <a:cubicBezTo>
                    <a:pt x="307841" y="160570"/>
                    <a:pt x="308169" y="156551"/>
                    <a:pt x="307900" y="152541"/>
                  </a:cubicBezTo>
                  <a:cubicBezTo>
                    <a:pt x="313072" y="146145"/>
                    <a:pt x="318732" y="140155"/>
                    <a:pt x="324840" y="134634"/>
                  </a:cubicBezTo>
                  <a:cubicBezTo>
                    <a:pt x="321252" y="131351"/>
                    <a:pt x="311089" y="122098"/>
                    <a:pt x="307900" y="118716"/>
                  </a:cubicBezTo>
                  <a:lnTo>
                    <a:pt x="297936" y="128664"/>
                  </a:lnTo>
                  <a:cubicBezTo>
                    <a:pt x="296043" y="121601"/>
                    <a:pt x="286975" y="123591"/>
                    <a:pt x="281993" y="119711"/>
                  </a:cubicBezTo>
                  <a:cubicBezTo>
                    <a:pt x="283886" y="114040"/>
                    <a:pt x="278207" y="110956"/>
                    <a:pt x="274021" y="108767"/>
                  </a:cubicBezTo>
                  <a:cubicBezTo>
                    <a:pt x="262861" y="107971"/>
                    <a:pt x="247915" y="105086"/>
                    <a:pt x="247117" y="91854"/>
                  </a:cubicBezTo>
                  <a:cubicBezTo>
                    <a:pt x="259075" y="85288"/>
                    <a:pt x="253395" y="76235"/>
                    <a:pt x="243132" y="71957"/>
                  </a:cubicBezTo>
                  <a:cubicBezTo>
                    <a:pt x="237113" y="67509"/>
                    <a:pt x="229679" y="65391"/>
                    <a:pt x="222206" y="65987"/>
                  </a:cubicBezTo>
                  <a:cubicBezTo>
                    <a:pt x="219655" y="62177"/>
                    <a:pt x="218968" y="57431"/>
                    <a:pt x="220313" y="53054"/>
                  </a:cubicBezTo>
                  <a:cubicBezTo>
                    <a:pt x="213348" y="44190"/>
                    <a:pt x="209193" y="33445"/>
                    <a:pt x="208356" y="22213"/>
                  </a:cubicBezTo>
                  <a:cubicBezTo>
                    <a:pt x="192911" y="16741"/>
                    <a:pt x="186833" y="25396"/>
                    <a:pt x="177466" y="8285"/>
                  </a:cubicBezTo>
                  <a:cubicBezTo>
                    <a:pt x="159630" y="10374"/>
                    <a:pt x="135516" y="12364"/>
                    <a:pt x="129537" y="32162"/>
                  </a:cubicBezTo>
                  <a:cubicBezTo>
                    <a:pt x="109608" y="33156"/>
                    <a:pt x="101039" y="31565"/>
                    <a:pt x="90676" y="14254"/>
                  </a:cubicBezTo>
                  <a:cubicBezTo>
                    <a:pt x="85793" y="24700"/>
                    <a:pt x="70050" y="35246"/>
                    <a:pt x="66762" y="46090"/>
                  </a:cubicBezTo>
                  <a:cubicBezTo>
                    <a:pt x="54206" y="37534"/>
                    <a:pt x="48029" y="40718"/>
                    <a:pt x="40954" y="53054"/>
                  </a:cubicBezTo>
                  <a:cubicBezTo>
                    <a:pt x="29395" y="65848"/>
                    <a:pt x="15495" y="76314"/>
                    <a:pt x="0" y="83895"/>
                  </a:cubicBezTo>
                  <a:close/>
                  <a:moveTo>
                    <a:pt x="433053" y="273916"/>
                  </a:moveTo>
                  <a:cubicBezTo>
                    <a:pt x="443018" y="267549"/>
                    <a:pt x="440825" y="282571"/>
                    <a:pt x="440029" y="287844"/>
                  </a:cubicBezTo>
                  <a:cubicBezTo>
                    <a:pt x="431459" y="288242"/>
                    <a:pt x="433053" y="279786"/>
                    <a:pt x="433053" y="273916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4" name="Freeform: Shape 1713">
              <a:extLst>
                <a:ext uri="{FF2B5EF4-FFF2-40B4-BE49-F238E27FC236}">
                  <a16:creationId xmlns:a16="http://schemas.microsoft.com/office/drawing/2014/main" id="{51DD8D9F-01F5-424D-8072-AF5D610D8376}"/>
                </a:ext>
              </a:extLst>
            </p:cNvPr>
            <p:cNvSpPr/>
            <p:nvPr/>
          </p:nvSpPr>
          <p:spPr>
            <a:xfrm>
              <a:off x="3954606" y="2065498"/>
              <a:ext cx="92723" cy="224339"/>
            </a:xfrm>
            <a:custGeom>
              <a:avLst/>
              <a:gdLst>
                <a:gd name="connsiteX0" fmla="*/ 1992 w 92723"/>
                <a:gd name="connsiteY0" fmla="*/ 18401 h 224339"/>
                <a:gd name="connsiteX1" fmla="*/ 41063 w 92723"/>
                <a:gd name="connsiteY1" fmla="*/ 2294 h 224339"/>
                <a:gd name="connsiteX2" fmla="*/ 46832 w 92723"/>
                <a:gd name="connsiteY2" fmla="*/ 5467 h 224339"/>
                <a:gd name="connsiteX3" fmla="*/ 28896 w 92723"/>
                <a:gd name="connsiteY3" fmla="*/ 33324 h 224339"/>
                <a:gd name="connsiteX4" fmla="*/ 32882 w 92723"/>
                <a:gd name="connsiteY4" fmla="*/ 49242 h 224339"/>
                <a:gd name="connsiteX5" fmla="*/ 33978 w 92723"/>
                <a:gd name="connsiteY5" fmla="*/ 73119 h 224339"/>
                <a:gd name="connsiteX6" fmla="*/ 49822 w 92723"/>
                <a:gd name="connsiteY6" fmla="*/ 126842 h 224339"/>
                <a:gd name="connsiteX7" fmla="*/ 60783 w 92723"/>
                <a:gd name="connsiteY7" fmla="*/ 149724 h 224339"/>
                <a:gd name="connsiteX8" fmla="*/ 87687 w 92723"/>
                <a:gd name="connsiteY8" fmla="*/ 168627 h 224339"/>
                <a:gd name="connsiteX9" fmla="*/ 92669 w 92723"/>
                <a:gd name="connsiteY9" fmla="*/ 224340 h 224339"/>
                <a:gd name="connsiteX10" fmla="*/ 38861 w 92723"/>
                <a:gd name="connsiteY10" fmla="*/ 223345 h 224339"/>
                <a:gd name="connsiteX11" fmla="*/ 11060 w 92723"/>
                <a:gd name="connsiteY11" fmla="*/ 209417 h 224339"/>
                <a:gd name="connsiteX12" fmla="*/ 0 w 92723"/>
                <a:gd name="connsiteY12" fmla="*/ 18401 h 224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2723" h="224339">
                  <a:moveTo>
                    <a:pt x="1992" y="18401"/>
                  </a:moveTo>
                  <a:cubicBezTo>
                    <a:pt x="8330" y="3179"/>
                    <a:pt x="25818" y="-4034"/>
                    <a:pt x="41063" y="2294"/>
                  </a:cubicBezTo>
                  <a:cubicBezTo>
                    <a:pt x="43096" y="3139"/>
                    <a:pt x="45029" y="4204"/>
                    <a:pt x="46832" y="5467"/>
                  </a:cubicBezTo>
                  <a:cubicBezTo>
                    <a:pt x="39260" y="13029"/>
                    <a:pt x="36868" y="25862"/>
                    <a:pt x="28896" y="33324"/>
                  </a:cubicBezTo>
                  <a:cubicBezTo>
                    <a:pt x="30092" y="40089"/>
                    <a:pt x="37267" y="41880"/>
                    <a:pt x="32882" y="49242"/>
                  </a:cubicBezTo>
                  <a:cubicBezTo>
                    <a:pt x="33480" y="63369"/>
                    <a:pt x="15245" y="51331"/>
                    <a:pt x="33978" y="73119"/>
                  </a:cubicBezTo>
                  <a:cubicBezTo>
                    <a:pt x="54804" y="98986"/>
                    <a:pt x="46633" y="98289"/>
                    <a:pt x="49822" y="126842"/>
                  </a:cubicBezTo>
                  <a:cubicBezTo>
                    <a:pt x="57305" y="131966"/>
                    <a:pt x="61480" y="140691"/>
                    <a:pt x="60783" y="149724"/>
                  </a:cubicBezTo>
                  <a:cubicBezTo>
                    <a:pt x="66961" y="155594"/>
                    <a:pt x="77822" y="175591"/>
                    <a:pt x="87687" y="168627"/>
                  </a:cubicBezTo>
                  <a:cubicBezTo>
                    <a:pt x="91383" y="186962"/>
                    <a:pt x="93058" y="205646"/>
                    <a:pt x="92669" y="224340"/>
                  </a:cubicBezTo>
                  <a:cubicBezTo>
                    <a:pt x="76725" y="224340"/>
                    <a:pt x="54804" y="224340"/>
                    <a:pt x="38861" y="223345"/>
                  </a:cubicBezTo>
                  <a:cubicBezTo>
                    <a:pt x="27502" y="221256"/>
                    <a:pt x="7074" y="228817"/>
                    <a:pt x="11060" y="209417"/>
                  </a:cubicBezTo>
                  <a:cubicBezTo>
                    <a:pt x="6875" y="148829"/>
                    <a:pt x="3288" y="79188"/>
                    <a:pt x="0" y="18401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5" name="Freeform: Shape 1714">
              <a:extLst>
                <a:ext uri="{FF2B5EF4-FFF2-40B4-BE49-F238E27FC236}">
                  <a16:creationId xmlns:a16="http://schemas.microsoft.com/office/drawing/2014/main" id="{454DF6D4-F037-46C0-89AB-51C2FB477DC6}"/>
                </a:ext>
              </a:extLst>
            </p:cNvPr>
            <p:cNvSpPr/>
            <p:nvPr/>
          </p:nvSpPr>
          <p:spPr>
            <a:xfrm>
              <a:off x="3359731" y="1660082"/>
              <a:ext cx="732383" cy="423819"/>
            </a:xfrm>
            <a:custGeom>
              <a:avLst/>
              <a:gdLst>
                <a:gd name="connsiteX0" fmla="*/ 0 w 732383"/>
                <a:gd name="connsiteY0" fmla="*/ 228821 h 423819"/>
                <a:gd name="connsiteX1" fmla="*/ 0 w 732383"/>
                <a:gd name="connsiteY1" fmla="*/ 49744 h 423819"/>
                <a:gd name="connsiteX2" fmla="*/ 53807 w 732383"/>
                <a:gd name="connsiteY2" fmla="*/ 15918 h 423819"/>
                <a:gd name="connsiteX3" fmla="*/ 95658 w 732383"/>
                <a:gd name="connsiteY3" fmla="*/ 0 h 423819"/>
                <a:gd name="connsiteX4" fmla="*/ 95658 w 732383"/>
                <a:gd name="connsiteY4" fmla="*/ 45764 h 423819"/>
                <a:gd name="connsiteX5" fmla="*/ 648683 w 732383"/>
                <a:gd name="connsiteY5" fmla="*/ 46759 h 423819"/>
                <a:gd name="connsiteX6" fmla="*/ 660640 w 732383"/>
                <a:gd name="connsiteY6" fmla="*/ 64667 h 423819"/>
                <a:gd name="connsiteX7" fmla="*/ 688540 w 732383"/>
                <a:gd name="connsiteY7" fmla="*/ 117395 h 423819"/>
                <a:gd name="connsiteX8" fmla="*/ 719530 w 732383"/>
                <a:gd name="connsiteY8" fmla="*/ 141272 h 423819"/>
                <a:gd name="connsiteX9" fmla="*/ 732384 w 732383"/>
                <a:gd name="connsiteY9" fmla="*/ 153211 h 423819"/>
                <a:gd name="connsiteX10" fmla="*/ 706476 w 732383"/>
                <a:gd name="connsiteY10" fmla="*/ 187036 h 423819"/>
                <a:gd name="connsiteX11" fmla="*/ 692626 w 732383"/>
                <a:gd name="connsiteY11" fmla="*/ 202954 h 423819"/>
                <a:gd name="connsiteX12" fmla="*/ 678576 w 732383"/>
                <a:gd name="connsiteY12" fmla="*/ 218872 h 423819"/>
                <a:gd name="connsiteX13" fmla="*/ 685551 w 732383"/>
                <a:gd name="connsiteY13" fmla="*/ 231806 h 423819"/>
                <a:gd name="connsiteX14" fmla="*/ 671601 w 732383"/>
                <a:gd name="connsiteY14" fmla="*/ 252698 h 423819"/>
                <a:gd name="connsiteX15" fmla="*/ 670605 w 732383"/>
                <a:gd name="connsiteY15" fmla="*/ 284534 h 423819"/>
                <a:gd name="connsiteX16" fmla="*/ 687544 w 732383"/>
                <a:gd name="connsiteY16" fmla="*/ 310401 h 423819"/>
                <a:gd name="connsiteX17" fmla="*/ 698505 w 732383"/>
                <a:gd name="connsiteY17" fmla="*/ 312390 h 423819"/>
                <a:gd name="connsiteX18" fmla="*/ 703487 w 732383"/>
                <a:gd name="connsiteY18" fmla="*/ 322339 h 423819"/>
                <a:gd name="connsiteX19" fmla="*/ 729395 w 732383"/>
                <a:gd name="connsiteY19" fmla="*/ 353180 h 423819"/>
                <a:gd name="connsiteX20" fmla="*/ 723416 w 732383"/>
                <a:gd name="connsiteY20" fmla="*/ 357160 h 423819"/>
                <a:gd name="connsiteX21" fmla="*/ 711458 w 732383"/>
                <a:gd name="connsiteY21" fmla="*/ 365119 h 423819"/>
                <a:gd name="connsiteX22" fmla="*/ 679573 w 732383"/>
                <a:gd name="connsiteY22" fmla="*/ 384021 h 423819"/>
                <a:gd name="connsiteX23" fmla="*/ 677580 w 732383"/>
                <a:gd name="connsiteY23" fmla="*/ 394965 h 423819"/>
                <a:gd name="connsiteX24" fmla="*/ 651672 w 732383"/>
                <a:gd name="connsiteY24" fmla="*/ 403919 h 423819"/>
                <a:gd name="connsiteX25" fmla="*/ 633736 w 732383"/>
                <a:gd name="connsiteY25" fmla="*/ 405909 h 423819"/>
                <a:gd name="connsiteX26" fmla="*/ 603843 w 732383"/>
                <a:gd name="connsiteY26" fmla="*/ 412873 h 423819"/>
                <a:gd name="connsiteX27" fmla="*/ 594875 w 732383"/>
                <a:gd name="connsiteY27" fmla="*/ 423816 h 423819"/>
                <a:gd name="connsiteX28" fmla="*/ 0 w 732383"/>
                <a:gd name="connsiteY28" fmla="*/ 423816 h 42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32383" h="423819">
                  <a:moveTo>
                    <a:pt x="0" y="228821"/>
                  </a:moveTo>
                  <a:lnTo>
                    <a:pt x="0" y="49744"/>
                  </a:lnTo>
                  <a:cubicBezTo>
                    <a:pt x="20527" y="43227"/>
                    <a:pt x="39051" y="31577"/>
                    <a:pt x="53807" y="15918"/>
                  </a:cubicBezTo>
                  <a:cubicBezTo>
                    <a:pt x="67957" y="20992"/>
                    <a:pt x="82704" y="4676"/>
                    <a:pt x="95658" y="0"/>
                  </a:cubicBezTo>
                  <a:lnTo>
                    <a:pt x="95658" y="45764"/>
                  </a:lnTo>
                  <a:cubicBezTo>
                    <a:pt x="279003" y="46659"/>
                    <a:pt x="465537" y="43973"/>
                    <a:pt x="648683" y="46759"/>
                  </a:cubicBezTo>
                  <a:cubicBezTo>
                    <a:pt x="655758" y="46162"/>
                    <a:pt x="659145" y="59394"/>
                    <a:pt x="660640" y="64667"/>
                  </a:cubicBezTo>
                  <a:cubicBezTo>
                    <a:pt x="692526" y="72228"/>
                    <a:pt x="686946" y="90832"/>
                    <a:pt x="688540" y="117395"/>
                  </a:cubicBezTo>
                  <a:cubicBezTo>
                    <a:pt x="694649" y="129682"/>
                    <a:pt x="706078" y="138486"/>
                    <a:pt x="719530" y="141272"/>
                  </a:cubicBezTo>
                  <a:cubicBezTo>
                    <a:pt x="726804" y="140377"/>
                    <a:pt x="730491" y="147042"/>
                    <a:pt x="732384" y="153211"/>
                  </a:cubicBezTo>
                  <a:cubicBezTo>
                    <a:pt x="718334" y="156593"/>
                    <a:pt x="710362" y="174302"/>
                    <a:pt x="706476" y="187036"/>
                  </a:cubicBezTo>
                  <a:cubicBezTo>
                    <a:pt x="700478" y="190966"/>
                    <a:pt x="695685" y="196478"/>
                    <a:pt x="692626" y="202954"/>
                  </a:cubicBezTo>
                  <a:cubicBezTo>
                    <a:pt x="690135" y="207531"/>
                    <a:pt x="676683" y="214097"/>
                    <a:pt x="678576" y="218872"/>
                  </a:cubicBezTo>
                  <a:cubicBezTo>
                    <a:pt x="680380" y="223439"/>
                    <a:pt x="682721" y="227786"/>
                    <a:pt x="685551" y="231806"/>
                  </a:cubicBezTo>
                  <a:cubicBezTo>
                    <a:pt x="681964" y="239665"/>
                    <a:pt x="681765" y="250310"/>
                    <a:pt x="671601" y="252698"/>
                  </a:cubicBezTo>
                  <a:cubicBezTo>
                    <a:pt x="667815" y="262647"/>
                    <a:pt x="671601" y="274187"/>
                    <a:pt x="670605" y="284534"/>
                  </a:cubicBezTo>
                  <a:cubicBezTo>
                    <a:pt x="687943" y="279659"/>
                    <a:pt x="685053" y="300054"/>
                    <a:pt x="687544" y="310401"/>
                  </a:cubicBezTo>
                  <a:cubicBezTo>
                    <a:pt x="690922" y="312142"/>
                    <a:pt x="694738" y="312838"/>
                    <a:pt x="698505" y="312390"/>
                  </a:cubicBezTo>
                  <a:cubicBezTo>
                    <a:pt x="699103" y="315176"/>
                    <a:pt x="700797" y="320847"/>
                    <a:pt x="703487" y="322339"/>
                  </a:cubicBezTo>
                  <a:cubicBezTo>
                    <a:pt x="711060" y="333084"/>
                    <a:pt x="721523" y="343033"/>
                    <a:pt x="729395" y="353180"/>
                  </a:cubicBezTo>
                  <a:cubicBezTo>
                    <a:pt x="729395" y="352384"/>
                    <a:pt x="723715" y="356861"/>
                    <a:pt x="723416" y="357160"/>
                  </a:cubicBezTo>
                  <a:cubicBezTo>
                    <a:pt x="718175" y="357130"/>
                    <a:pt x="713451" y="360284"/>
                    <a:pt x="711458" y="365119"/>
                  </a:cubicBezTo>
                  <a:cubicBezTo>
                    <a:pt x="698704" y="365716"/>
                    <a:pt x="690533" y="379047"/>
                    <a:pt x="679573" y="384021"/>
                  </a:cubicBezTo>
                  <a:cubicBezTo>
                    <a:pt x="677181" y="385713"/>
                    <a:pt x="677480" y="392378"/>
                    <a:pt x="677580" y="394965"/>
                  </a:cubicBezTo>
                  <a:cubicBezTo>
                    <a:pt x="669728" y="399850"/>
                    <a:pt x="660869" y="402904"/>
                    <a:pt x="651672" y="403919"/>
                  </a:cubicBezTo>
                  <a:cubicBezTo>
                    <a:pt x="644498" y="408893"/>
                    <a:pt x="641708" y="413072"/>
                    <a:pt x="633736" y="405909"/>
                  </a:cubicBezTo>
                  <a:cubicBezTo>
                    <a:pt x="623234" y="403730"/>
                    <a:pt x="612293" y="406277"/>
                    <a:pt x="603843" y="412873"/>
                  </a:cubicBezTo>
                  <a:cubicBezTo>
                    <a:pt x="600356" y="414962"/>
                    <a:pt x="598960" y="424015"/>
                    <a:pt x="594875" y="423816"/>
                  </a:cubicBezTo>
                  <a:lnTo>
                    <a:pt x="0" y="423816"/>
                  </a:ln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6" name="Freeform: Shape 1715">
              <a:extLst>
                <a:ext uri="{FF2B5EF4-FFF2-40B4-BE49-F238E27FC236}">
                  <a16:creationId xmlns:a16="http://schemas.microsoft.com/office/drawing/2014/main" id="{F3A80D60-851D-4C66-BE46-A4DFB24656D1}"/>
                </a:ext>
              </a:extLst>
            </p:cNvPr>
            <p:cNvSpPr/>
            <p:nvPr/>
          </p:nvSpPr>
          <p:spPr>
            <a:xfrm>
              <a:off x="651404" y="2037545"/>
              <a:ext cx="938647" cy="483103"/>
            </a:xfrm>
            <a:custGeom>
              <a:avLst/>
              <a:gdLst>
                <a:gd name="connsiteX0" fmla="*/ 0 w 938647"/>
                <a:gd name="connsiteY0" fmla="*/ 590 h 483103"/>
                <a:gd name="connsiteX1" fmla="*/ 788185 w 938647"/>
                <a:gd name="connsiteY1" fmla="*/ 590 h 483103"/>
                <a:gd name="connsiteX2" fmla="*/ 857936 w 938647"/>
                <a:gd name="connsiteY2" fmla="*/ 10539 h 483103"/>
                <a:gd name="connsiteX3" fmla="*/ 892811 w 938647"/>
                <a:gd name="connsiteY3" fmla="*/ 17503 h 483103"/>
                <a:gd name="connsiteX4" fmla="*/ 890818 w 938647"/>
                <a:gd name="connsiteY4" fmla="*/ 46354 h 483103"/>
                <a:gd name="connsiteX5" fmla="*/ 882847 w 938647"/>
                <a:gd name="connsiteY5" fmla="*/ 57298 h 483103"/>
                <a:gd name="connsiteX6" fmla="*/ 872882 w 938647"/>
                <a:gd name="connsiteY6" fmla="*/ 74210 h 483103"/>
                <a:gd name="connsiteX7" fmla="*/ 889822 w 938647"/>
                <a:gd name="connsiteY7" fmla="*/ 92118 h 483103"/>
                <a:gd name="connsiteX8" fmla="*/ 900783 w 938647"/>
                <a:gd name="connsiteY8" fmla="*/ 100077 h 483103"/>
                <a:gd name="connsiteX9" fmla="*/ 919715 w 938647"/>
                <a:gd name="connsiteY9" fmla="*/ 135893 h 483103"/>
                <a:gd name="connsiteX10" fmla="*/ 938647 w 938647"/>
                <a:gd name="connsiteY10" fmla="*/ 138877 h 483103"/>
                <a:gd name="connsiteX11" fmla="*/ 934662 w 938647"/>
                <a:gd name="connsiteY11" fmla="*/ 483104 h 483103"/>
                <a:gd name="connsiteX12" fmla="*/ 997 w 938647"/>
                <a:gd name="connsiteY12" fmla="*/ 483104 h 483103"/>
                <a:gd name="connsiteX13" fmla="*/ 0 w 938647"/>
                <a:gd name="connsiteY13" fmla="*/ 590 h 48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8647" h="483103">
                  <a:moveTo>
                    <a:pt x="0" y="590"/>
                  </a:moveTo>
                  <a:lnTo>
                    <a:pt x="788185" y="590"/>
                  </a:lnTo>
                  <a:cubicBezTo>
                    <a:pt x="799943" y="2679"/>
                    <a:pt x="852854" y="-6374"/>
                    <a:pt x="857936" y="10539"/>
                  </a:cubicBezTo>
                  <a:cubicBezTo>
                    <a:pt x="884242" y="30436"/>
                    <a:pt x="869594" y="19393"/>
                    <a:pt x="892811" y="17503"/>
                  </a:cubicBezTo>
                  <a:cubicBezTo>
                    <a:pt x="902078" y="26755"/>
                    <a:pt x="914334" y="49438"/>
                    <a:pt x="890818" y="46354"/>
                  </a:cubicBezTo>
                  <a:cubicBezTo>
                    <a:pt x="892811" y="51925"/>
                    <a:pt x="886932" y="55109"/>
                    <a:pt x="882847" y="57298"/>
                  </a:cubicBezTo>
                  <a:cubicBezTo>
                    <a:pt x="883016" y="64371"/>
                    <a:pt x="879150" y="70917"/>
                    <a:pt x="872882" y="74210"/>
                  </a:cubicBezTo>
                  <a:cubicBezTo>
                    <a:pt x="877566" y="78986"/>
                    <a:pt x="884740" y="87542"/>
                    <a:pt x="889822" y="92118"/>
                  </a:cubicBezTo>
                  <a:cubicBezTo>
                    <a:pt x="892213" y="96794"/>
                    <a:pt x="895003" y="100575"/>
                    <a:pt x="900783" y="100077"/>
                  </a:cubicBezTo>
                  <a:cubicBezTo>
                    <a:pt x="895302" y="114105"/>
                    <a:pt x="910149" y="127038"/>
                    <a:pt x="919715" y="135893"/>
                  </a:cubicBezTo>
                  <a:cubicBezTo>
                    <a:pt x="926591" y="131615"/>
                    <a:pt x="932470" y="137783"/>
                    <a:pt x="938647" y="138877"/>
                  </a:cubicBezTo>
                  <a:cubicBezTo>
                    <a:pt x="932370" y="252094"/>
                    <a:pt x="937153" y="369290"/>
                    <a:pt x="934662" y="483104"/>
                  </a:cubicBezTo>
                  <a:cubicBezTo>
                    <a:pt x="623872" y="481313"/>
                    <a:pt x="311986" y="483104"/>
                    <a:pt x="997" y="483104"/>
                  </a:cubicBezTo>
                  <a:cubicBezTo>
                    <a:pt x="1196" y="323327"/>
                    <a:pt x="1196" y="160366"/>
                    <a:pt x="0" y="590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7" name="Freeform: Shape 1716">
              <a:extLst>
                <a:ext uri="{FF2B5EF4-FFF2-40B4-BE49-F238E27FC236}">
                  <a16:creationId xmlns:a16="http://schemas.microsoft.com/office/drawing/2014/main" id="{125D570A-B1C7-43B7-91BB-9F0D33D33435}"/>
                </a:ext>
              </a:extLst>
            </p:cNvPr>
            <p:cNvSpPr/>
            <p:nvPr/>
          </p:nvSpPr>
          <p:spPr>
            <a:xfrm>
              <a:off x="4251487" y="1183538"/>
              <a:ext cx="243289" cy="398944"/>
            </a:xfrm>
            <a:custGeom>
              <a:avLst/>
              <a:gdLst>
                <a:gd name="connsiteX0" fmla="*/ 2051 w 243289"/>
                <a:gd name="connsiteY0" fmla="*/ 161170 h 398944"/>
                <a:gd name="connsiteX1" fmla="*/ 10123 w 243289"/>
                <a:gd name="connsiteY1" fmla="*/ 138288 h 398944"/>
                <a:gd name="connsiteX2" fmla="*/ 13012 w 243289"/>
                <a:gd name="connsiteY2" fmla="*/ 124359 h 398944"/>
                <a:gd name="connsiteX3" fmla="*/ 8030 w 243289"/>
                <a:gd name="connsiteY3" fmla="*/ 79590 h 398944"/>
                <a:gd name="connsiteX4" fmla="*/ 11019 w 243289"/>
                <a:gd name="connsiteY4" fmla="*/ 36810 h 398944"/>
                <a:gd name="connsiteX5" fmla="*/ 11019 w 243289"/>
                <a:gd name="connsiteY5" fmla="*/ 16913 h 398944"/>
                <a:gd name="connsiteX6" fmla="*/ 30051 w 243289"/>
                <a:gd name="connsiteY6" fmla="*/ 0 h 398944"/>
                <a:gd name="connsiteX7" fmla="*/ 242193 w 243289"/>
                <a:gd name="connsiteY7" fmla="*/ 0 h 398944"/>
                <a:gd name="connsiteX8" fmla="*/ 243289 w 243289"/>
                <a:gd name="connsiteY8" fmla="*/ 17908 h 398944"/>
                <a:gd name="connsiteX9" fmla="*/ 226251 w 243289"/>
                <a:gd name="connsiteY9" fmla="*/ 47754 h 398944"/>
                <a:gd name="connsiteX10" fmla="*/ 232229 w 243289"/>
                <a:gd name="connsiteY10" fmla="*/ 61682 h 398944"/>
                <a:gd name="connsiteX11" fmla="*/ 232229 w 243289"/>
                <a:gd name="connsiteY11" fmla="*/ 90534 h 398944"/>
                <a:gd name="connsiteX12" fmla="*/ 218279 w 243289"/>
                <a:gd name="connsiteY12" fmla="*/ 104462 h 398944"/>
                <a:gd name="connsiteX13" fmla="*/ 202336 w 243289"/>
                <a:gd name="connsiteY13" fmla="*/ 117395 h 398944"/>
                <a:gd name="connsiteX14" fmla="*/ 173439 w 243289"/>
                <a:gd name="connsiteY14" fmla="*/ 127344 h 398944"/>
                <a:gd name="connsiteX15" fmla="*/ 175432 w 243289"/>
                <a:gd name="connsiteY15" fmla="*/ 161170 h 398944"/>
                <a:gd name="connsiteX16" fmla="*/ 165467 w 243289"/>
                <a:gd name="connsiteY16" fmla="*/ 180072 h 398944"/>
                <a:gd name="connsiteX17" fmla="*/ 158492 w 243289"/>
                <a:gd name="connsiteY17" fmla="*/ 200965 h 398944"/>
                <a:gd name="connsiteX18" fmla="*/ 143546 w 243289"/>
                <a:gd name="connsiteY18" fmla="*/ 227826 h 398944"/>
                <a:gd name="connsiteX19" fmla="*/ 131589 w 243289"/>
                <a:gd name="connsiteY19" fmla="*/ 252698 h 398944"/>
                <a:gd name="connsiteX20" fmla="*/ 127603 w 243289"/>
                <a:gd name="connsiteY20" fmla="*/ 289508 h 398944"/>
                <a:gd name="connsiteX21" fmla="*/ 125610 w 243289"/>
                <a:gd name="connsiteY21" fmla="*/ 311396 h 398944"/>
                <a:gd name="connsiteX22" fmla="*/ 124713 w 243289"/>
                <a:gd name="connsiteY22" fmla="*/ 337262 h 398944"/>
                <a:gd name="connsiteX23" fmla="*/ 123716 w 243289"/>
                <a:gd name="connsiteY23" fmla="*/ 351191 h 398944"/>
                <a:gd name="connsiteX24" fmla="*/ 112656 w 243289"/>
                <a:gd name="connsiteY24" fmla="*/ 359150 h 398944"/>
                <a:gd name="connsiteX25" fmla="*/ 109667 w 243289"/>
                <a:gd name="connsiteY25" fmla="*/ 375068 h 398944"/>
                <a:gd name="connsiteX26" fmla="*/ 121624 w 243289"/>
                <a:gd name="connsiteY26" fmla="*/ 398945 h 398944"/>
                <a:gd name="connsiteX27" fmla="*/ 50877 w 243289"/>
                <a:gd name="connsiteY27" fmla="*/ 395960 h 398944"/>
                <a:gd name="connsiteX28" fmla="*/ 16998 w 243289"/>
                <a:gd name="connsiteY28" fmla="*/ 386011 h 398944"/>
                <a:gd name="connsiteX29" fmla="*/ 22080 w 243289"/>
                <a:gd name="connsiteY29" fmla="*/ 297468 h 398944"/>
                <a:gd name="connsiteX30" fmla="*/ 13012 w 243289"/>
                <a:gd name="connsiteY30" fmla="*/ 243744 h 398944"/>
                <a:gd name="connsiteX31" fmla="*/ 4044 w 243289"/>
                <a:gd name="connsiteY31" fmla="*/ 253693 h 398944"/>
                <a:gd name="connsiteX32" fmla="*/ 10023 w 243289"/>
                <a:gd name="connsiteY32" fmla="*/ 218872 h 398944"/>
                <a:gd name="connsiteX33" fmla="*/ 7133 w 243289"/>
                <a:gd name="connsiteY33" fmla="*/ 199970 h 398944"/>
                <a:gd name="connsiteX34" fmla="*/ 3048 w 243289"/>
                <a:gd name="connsiteY34" fmla="*/ 177088 h 398944"/>
                <a:gd name="connsiteX35" fmla="*/ 2051 w 243289"/>
                <a:gd name="connsiteY35" fmla="*/ 161170 h 398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3289" h="398944">
                  <a:moveTo>
                    <a:pt x="2051" y="161170"/>
                  </a:moveTo>
                  <a:cubicBezTo>
                    <a:pt x="3018" y="153041"/>
                    <a:pt x="5768" y="145222"/>
                    <a:pt x="10123" y="138288"/>
                  </a:cubicBezTo>
                  <a:cubicBezTo>
                    <a:pt x="13809" y="134646"/>
                    <a:pt x="14945" y="129155"/>
                    <a:pt x="13012" y="124359"/>
                  </a:cubicBezTo>
                  <a:cubicBezTo>
                    <a:pt x="11318" y="107247"/>
                    <a:pt x="23973" y="95607"/>
                    <a:pt x="8030" y="79590"/>
                  </a:cubicBezTo>
                  <a:cubicBezTo>
                    <a:pt x="1454" y="66756"/>
                    <a:pt x="11418" y="48848"/>
                    <a:pt x="11019" y="36810"/>
                  </a:cubicBezTo>
                  <a:cubicBezTo>
                    <a:pt x="3645" y="32234"/>
                    <a:pt x="7830" y="22584"/>
                    <a:pt x="11019" y="16913"/>
                  </a:cubicBezTo>
                  <a:cubicBezTo>
                    <a:pt x="8927" y="-2487"/>
                    <a:pt x="13710" y="796"/>
                    <a:pt x="30051" y="0"/>
                  </a:cubicBezTo>
                  <a:cubicBezTo>
                    <a:pt x="99304" y="497"/>
                    <a:pt x="173040" y="2786"/>
                    <a:pt x="242193" y="0"/>
                  </a:cubicBezTo>
                  <a:cubicBezTo>
                    <a:pt x="236613" y="5173"/>
                    <a:pt x="240300" y="12536"/>
                    <a:pt x="243289" y="17908"/>
                  </a:cubicBezTo>
                  <a:cubicBezTo>
                    <a:pt x="238875" y="28523"/>
                    <a:pt x="233146" y="38551"/>
                    <a:pt x="226251" y="47754"/>
                  </a:cubicBezTo>
                  <a:lnTo>
                    <a:pt x="232229" y="61682"/>
                  </a:lnTo>
                  <a:cubicBezTo>
                    <a:pt x="244386" y="77799"/>
                    <a:pt x="228841" y="77003"/>
                    <a:pt x="232229" y="90534"/>
                  </a:cubicBezTo>
                  <a:cubicBezTo>
                    <a:pt x="226699" y="94205"/>
                    <a:pt x="221956" y="98940"/>
                    <a:pt x="218279" y="104462"/>
                  </a:cubicBezTo>
                  <a:cubicBezTo>
                    <a:pt x="211164" y="105914"/>
                    <a:pt x="205216" y="110739"/>
                    <a:pt x="202336" y="117395"/>
                  </a:cubicBezTo>
                  <a:cubicBezTo>
                    <a:pt x="192371" y="120280"/>
                    <a:pt x="179816" y="117395"/>
                    <a:pt x="173439" y="127344"/>
                  </a:cubicBezTo>
                  <a:cubicBezTo>
                    <a:pt x="172253" y="138656"/>
                    <a:pt x="172931" y="150077"/>
                    <a:pt x="175432" y="161170"/>
                  </a:cubicBezTo>
                  <a:cubicBezTo>
                    <a:pt x="172881" y="167845"/>
                    <a:pt x="169533" y="174193"/>
                    <a:pt x="165467" y="180072"/>
                  </a:cubicBezTo>
                  <a:cubicBezTo>
                    <a:pt x="168856" y="185544"/>
                    <a:pt x="161083" y="196488"/>
                    <a:pt x="158492" y="200965"/>
                  </a:cubicBezTo>
                  <a:cubicBezTo>
                    <a:pt x="157984" y="211759"/>
                    <a:pt x="152454" y="221688"/>
                    <a:pt x="143546" y="227826"/>
                  </a:cubicBezTo>
                  <a:cubicBezTo>
                    <a:pt x="142051" y="234193"/>
                    <a:pt x="139162" y="250111"/>
                    <a:pt x="131589" y="252698"/>
                  </a:cubicBezTo>
                  <a:cubicBezTo>
                    <a:pt x="131708" y="265084"/>
                    <a:pt x="130373" y="277441"/>
                    <a:pt x="127603" y="289508"/>
                  </a:cubicBezTo>
                  <a:cubicBezTo>
                    <a:pt x="131489" y="295975"/>
                    <a:pt x="126607" y="304829"/>
                    <a:pt x="125610" y="311396"/>
                  </a:cubicBezTo>
                  <a:cubicBezTo>
                    <a:pt x="122670" y="319723"/>
                    <a:pt x="122361" y="328746"/>
                    <a:pt x="124713" y="337262"/>
                  </a:cubicBezTo>
                  <a:cubicBezTo>
                    <a:pt x="121863" y="341381"/>
                    <a:pt x="121484" y="346714"/>
                    <a:pt x="123716" y="351191"/>
                  </a:cubicBezTo>
                  <a:cubicBezTo>
                    <a:pt x="121525" y="353379"/>
                    <a:pt x="116243" y="358851"/>
                    <a:pt x="112656" y="359150"/>
                  </a:cubicBezTo>
                  <a:cubicBezTo>
                    <a:pt x="113483" y="364641"/>
                    <a:pt x="112427" y="370252"/>
                    <a:pt x="109667" y="375068"/>
                  </a:cubicBezTo>
                  <a:cubicBezTo>
                    <a:pt x="108571" y="385016"/>
                    <a:pt x="119631" y="390488"/>
                    <a:pt x="121624" y="398945"/>
                  </a:cubicBezTo>
                  <a:cubicBezTo>
                    <a:pt x="101696" y="396059"/>
                    <a:pt x="70805" y="398049"/>
                    <a:pt x="50877" y="395960"/>
                  </a:cubicBezTo>
                  <a:cubicBezTo>
                    <a:pt x="40116" y="394468"/>
                    <a:pt x="19090" y="401034"/>
                    <a:pt x="16998" y="386011"/>
                  </a:cubicBezTo>
                  <a:cubicBezTo>
                    <a:pt x="22678" y="362632"/>
                    <a:pt x="19489" y="321842"/>
                    <a:pt x="22080" y="297468"/>
                  </a:cubicBezTo>
                  <a:cubicBezTo>
                    <a:pt x="22080" y="278266"/>
                    <a:pt x="28258" y="259364"/>
                    <a:pt x="13012" y="243744"/>
                  </a:cubicBezTo>
                  <a:lnTo>
                    <a:pt x="4044" y="253693"/>
                  </a:lnTo>
                  <a:cubicBezTo>
                    <a:pt x="-5322" y="244441"/>
                    <a:pt x="6535" y="228722"/>
                    <a:pt x="10023" y="218872"/>
                  </a:cubicBezTo>
                  <a:cubicBezTo>
                    <a:pt x="5718" y="213550"/>
                    <a:pt x="4622" y="206327"/>
                    <a:pt x="7133" y="199970"/>
                  </a:cubicBezTo>
                  <a:cubicBezTo>
                    <a:pt x="2948" y="193125"/>
                    <a:pt x="1493" y="184957"/>
                    <a:pt x="3048" y="177088"/>
                  </a:cubicBezTo>
                  <a:cubicBezTo>
                    <a:pt x="-1735" y="173506"/>
                    <a:pt x="58" y="165945"/>
                    <a:pt x="2051" y="161170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8" name="Freeform: Shape 1717">
              <a:extLst>
                <a:ext uri="{FF2B5EF4-FFF2-40B4-BE49-F238E27FC236}">
                  <a16:creationId xmlns:a16="http://schemas.microsoft.com/office/drawing/2014/main" id="{660EAF12-A4D5-4D1A-BE80-57F60B6D2165}"/>
                </a:ext>
              </a:extLst>
            </p:cNvPr>
            <p:cNvSpPr/>
            <p:nvPr/>
          </p:nvSpPr>
          <p:spPr>
            <a:xfrm>
              <a:off x="3983502" y="1813293"/>
              <a:ext cx="208592" cy="399318"/>
            </a:xfrm>
            <a:custGeom>
              <a:avLst/>
              <a:gdLst>
                <a:gd name="connsiteX0" fmla="*/ 0 w 208592"/>
                <a:gd name="connsiteY0" fmla="*/ 285529 h 399318"/>
                <a:gd name="connsiteX1" fmla="*/ 20926 w 208592"/>
                <a:gd name="connsiteY1" fmla="*/ 255683 h 399318"/>
                <a:gd name="connsiteX2" fmla="*/ 43844 w 208592"/>
                <a:gd name="connsiteY2" fmla="*/ 246729 h 399318"/>
                <a:gd name="connsiteX3" fmla="*/ 55801 w 208592"/>
                <a:gd name="connsiteY3" fmla="*/ 230811 h 399318"/>
                <a:gd name="connsiteX4" fmla="*/ 87687 w 208592"/>
                <a:gd name="connsiteY4" fmla="*/ 211908 h 399318"/>
                <a:gd name="connsiteX5" fmla="*/ 99644 w 208592"/>
                <a:gd name="connsiteY5" fmla="*/ 203949 h 399318"/>
                <a:gd name="connsiteX6" fmla="*/ 105623 w 208592"/>
                <a:gd name="connsiteY6" fmla="*/ 199970 h 399318"/>
                <a:gd name="connsiteX7" fmla="*/ 79715 w 208592"/>
                <a:gd name="connsiteY7" fmla="*/ 169129 h 399318"/>
                <a:gd name="connsiteX8" fmla="*/ 74733 w 208592"/>
                <a:gd name="connsiteY8" fmla="*/ 159180 h 399318"/>
                <a:gd name="connsiteX9" fmla="*/ 63772 w 208592"/>
                <a:gd name="connsiteY9" fmla="*/ 157190 h 399318"/>
                <a:gd name="connsiteX10" fmla="*/ 46833 w 208592"/>
                <a:gd name="connsiteY10" fmla="*/ 131323 h 399318"/>
                <a:gd name="connsiteX11" fmla="*/ 47829 w 208592"/>
                <a:gd name="connsiteY11" fmla="*/ 99487 h 399318"/>
                <a:gd name="connsiteX12" fmla="*/ 61779 w 208592"/>
                <a:gd name="connsiteY12" fmla="*/ 78595 h 399318"/>
                <a:gd name="connsiteX13" fmla="*/ 54804 w 208592"/>
                <a:gd name="connsiteY13" fmla="*/ 65662 h 399318"/>
                <a:gd name="connsiteX14" fmla="*/ 68755 w 208592"/>
                <a:gd name="connsiteY14" fmla="*/ 49744 h 399318"/>
                <a:gd name="connsiteX15" fmla="*/ 82704 w 208592"/>
                <a:gd name="connsiteY15" fmla="*/ 33826 h 399318"/>
                <a:gd name="connsiteX16" fmla="*/ 108612 w 208592"/>
                <a:gd name="connsiteY16" fmla="*/ 0 h 399318"/>
                <a:gd name="connsiteX17" fmla="*/ 191317 w 208592"/>
                <a:gd name="connsiteY17" fmla="*/ 49744 h 399318"/>
                <a:gd name="connsiteX18" fmla="*/ 203274 w 208592"/>
                <a:gd name="connsiteY18" fmla="*/ 83569 h 399318"/>
                <a:gd name="connsiteX19" fmla="*/ 187331 w 208592"/>
                <a:gd name="connsiteY19" fmla="*/ 115405 h 399318"/>
                <a:gd name="connsiteX20" fmla="*/ 170392 w 208592"/>
                <a:gd name="connsiteY20" fmla="*/ 121375 h 399318"/>
                <a:gd name="connsiteX21" fmla="*/ 169395 w 208592"/>
                <a:gd name="connsiteY21" fmla="*/ 133313 h 399318"/>
                <a:gd name="connsiteX22" fmla="*/ 163417 w 208592"/>
                <a:gd name="connsiteY22" fmla="*/ 142267 h 399318"/>
                <a:gd name="connsiteX23" fmla="*/ 170491 w 208592"/>
                <a:gd name="connsiteY23" fmla="*/ 153211 h 399318"/>
                <a:gd name="connsiteX24" fmla="*/ 190420 w 208592"/>
                <a:gd name="connsiteY24" fmla="*/ 156195 h 399318"/>
                <a:gd name="connsiteX25" fmla="*/ 198392 w 208592"/>
                <a:gd name="connsiteY25" fmla="*/ 179077 h 399318"/>
                <a:gd name="connsiteX26" fmla="*/ 183545 w 208592"/>
                <a:gd name="connsiteY26" fmla="*/ 264637 h 399318"/>
                <a:gd name="connsiteX27" fmla="*/ 144683 w 208592"/>
                <a:gd name="connsiteY27" fmla="*/ 329303 h 399318"/>
                <a:gd name="connsiteX28" fmla="*/ 123659 w 208592"/>
                <a:gd name="connsiteY28" fmla="*/ 344226 h 399318"/>
                <a:gd name="connsiteX29" fmla="*/ 87786 w 208592"/>
                <a:gd name="connsiteY29" fmla="*/ 397950 h 399318"/>
                <a:gd name="connsiteX30" fmla="*/ 70847 w 208592"/>
                <a:gd name="connsiteY30" fmla="*/ 357160 h 399318"/>
                <a:gd name="connsiteX31" fmla="*/ 53519 w 208592"/>
                <a:gd name="connsiteY31" fmla="*/ 357478 h 399318"/>
                <a:gd name="connsiteX32" fmla="*/ 52911 w 208592"/>
                <a:gd name="connsiteY32" fmla="*/ 358155 h 399318"/>
                <a:gd name="connsiteX33" fmla="*/ 28997 w 208592"/>
                <a:gd name="connsiteY33" fmla="*/ 334278 h 399318"/>
                <a:gd name="connsiteX34" fmla="*/ 15046 w 208592"/>
                <a:gd name="connsiteY34" fmla="*/ 322339 h 399318"/>
                <a:gd name="connsiteX35" fmla="*/ 3089 w 208592"/>
                <a:gd name="connsiteY35" fmla="*/ 313385 h 399318"/>
                <a:gd name="connsiteX36" fmla="*/ 6079 w 208592"/>
                <a:gd name="connsiteY36" fmla="*/ 294483 h 399318"/>
                <a:gd name="connsiteX37" fmla="*/ 0 w 208592"/>
                <a:gd name="connsiteY37" fmla="*/ 285529 h 39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08592" h="399318">
                  <a:moveTo>
                    <a:pt x="0" y="285529"/>
                  </a:moveTo>
                  <a:cubicBezTo>
                    <a:pt x="9168" y="277470"/>
                    <a:pt x="9964" y="262050"/>
                    <a:pt x="20926" y="255683"/>
                  </a:cubicBezTo>
                  <a:cubicBezTo>
                    <a:pt x="26506" y="248719"/>
                    <a:pt x="37068" y="250609"/>
                    <a:pt x="43844" y="246729"/>
                  </a:cubicBezTo>
                  <a:cubicBezTo>
                    <a:pt x="59089" y="241356"/>
                    <a:pt x="50420" y="240959"/>
                    <a:pt x="55801" y="230811"/>
                  </a:cubicBezTo>
                  <a:cubicBezTo>
                    <a:pt x="66762" y="225836"/>
                    <a:pt x="74933" y="212505"/>
                    <a:pt x="87687" y="211908"/>
                  </a:cubicBezTo>
                  <a:cubicBezTo>
                    <a:pt x="89650" y="207053"/>
                    <a:pt x="94393" y="203899"/>
                    <a:pt x="99644" y="203949"/>
                  </a:cubicBezTo>
                  <a:cubicBezTo>
                    <a:pt x="99644" y="203949"/>
                    <a:pt x="105025" y="199174"/>
                    <a:pt x="105623" y="199970"/>
                  </a:cubicBezTo>
                  <a:cubicBezTo>
                    <a:pt x="97751" y="190021"/>
                    <a:pt x="87288" y="180072"/>
                    <a:pt x="79715" y="169129"/>
                  </a:cubicBezTo>
                  <a:cubicBezTo>
                    <a:pt x="77025" y="167636"/>
                    <a:pt x="75331" y="161966"/>
                    <a:pt x="74733" y="159180"/>
                  </a:cubicBezTo>
                  <a:cubicBezTo>
                    <a:pt x="70967" y="159628"/>
                    <a:pt x="67150" y="158931"/>
                    <a:pt x="63772" y="157190"/>
                  </a:cubicBezTo>
                  <a:cubicBezTo>
                    <a:pt x="61281" y="147241"/>
                    <a:pt x="63772" y="126449"/>
                    <a:pt x="46833" y="131323"/>
                  </a:cubicBezTo>
                  <a:cubicBezTo>
                    <a:pt x="47630" y="121375"/>
                    <a:pt x="44043" y="109436"/>
                    <a:pt x="47829" y="99487"/>
                  </a:cubicBezTo>
                  <a:cubicBezTo>
                    <a:pt x="57793" y="97100"/>
                    <a:pt x="57793" y="86455"/>
                    <a:pt x="61779" y="78595"/>
                  </a:cubicBezTo>
                  <a:cubicBezTo>
                    <a:pt x="58909" y="74596"/>
                    <a:pt x="56568" y="70248"/>
                    <a:pt x="54804" y="65662"/>
                  </a:cubicBezTo>
                  <a:cubicBezTo>
                    <a:pt x="52811" y="60886"/>
                    <a:pt x="66463" y="54320"/>
                    <a:pt x="68755" y="49744"/>
                  </a:cubicBezTo>
                  <a:cubicBezTo>
                    <a:pt x="71853" y="43257"/>
                    <a:pt x="76676" y="37755"/>
                    <a:pt x="82704" y="33826"/>
                  </a:cubicBezTo>
                  <a:cubicBezTo>
                    <a:pt x="86591" y="21091"/>
                    <a:pt x="94562" y="3383"/>
                    <a:pt x="108612" y="0"/>
                  </a:cubicBezTo>
                  <a:cubicBezTo>
                    <a:pt x="134121" y="16017"/>
                    <a:pt x="164812" y="35617"/>
                    <a:pt x="191317" y="49744"/>
                  </a:cubicBezTo>
                  <a:cubicBezTo>
                    <a:pt x="212441" y="60588"/>
                    <a:pt x="211246" y="61881"/>
                    <a:pt x="203274" y="83569"/>
                  </a:cubicBezTo>
                  <a:cubicBezTo>
                    <a:pt x="197594" y="93518"/>
                    <a:pt x="193310" y="105954"/>
                    <a:pt x="187331" y="115405"/>
                  </a:cubicBezTo>
                  <a:cubicBezTo>
                    <a:pt x="183545" y="118987"/>
                    <a:pt x="174776" y="117893"/>
                    <a:pt x="170392" y="121375"/>
                  </a:cubicBezTo>
                  <a:cubicBezTo>
                    <a:pt x="170601" y="125384"/>
                    <a:pt x="170272" y="129393"/>
                    <a:pt x="169395" y="133313"/>
                  </a:cubicBezTo>
                  <a:cubicBezTo>
                    <a:pt x="164712" y="133313"/>
                    <a:pt x="163516" y="138188"/>
                    <a:pt x="163417" y="142267"/>
                  </a:cubicBezTo>
                  <a:cubicBezTo>
                    <a:pt x="161922" y="149530"/>
                    <a:pt x="166007" y="149530"/>
                    <a:pt x="170491" y="153211"/>
                  </a:cubicBezTo>
                  <a:cubicBezTo>
                    <a:pt x="177188" y="150534"/>
                    <a:pt x="184810" y="151669"/>
                    <a:pt x="190420" y="156195"/>
                  </a:cubicBezTo>
                  <a:cubicBezTo>
                    <a:pt x="198292" y="129931"/>
                    <a:pt x="201082" y="170820"/>
                    <a:pt x="198392" y="179077"/>
                  </a:cubicBezTo>
                  <a:cubicBezTo>
                    <a:pt x="191635" y="207252"/>
                    <a:pt x="186684" y="235835"/>
                    <a:pt x="183545" y="264637"/>
                  </a:cubicBezTo>
                  <a:cubicBezTo>
                    <a:pt x="172504" y="287280"/>
                    <a:pt x="159500" y="308919"/>
                    <a:pt x="144683" y="329303"/>
                  </a:cubicBezTo>
                  <a:cubicBezTo>
                    <a:pt x="136831" y="332975"/>
                    <a:pt x="129707" y="338028"/>
                    <a:pt x="123659" y="344226"/>
                  </a:cubicBezTo>
                  <a:cubicBezTo>
                    <a:pt x="106819" y="358752"/>
                    <a:pt x="105025" y="382927"/>
                    <a:pt x="87786" y="397950"/>
                  </a:cubicBezTo>
                  <a:cubicBezTo>
                    <a:pt x="51117" y="408496"/>
                    <a:pt x="108513" y="354573"/>
                    <a:pt x="70847" y="357160"/>
                  </a:cubicBezTo>
                  <a:cubicBezTo>
                    <a:pt x="65975" y="352474"/>
                    <a:pt x="58212" y="352613"/>
                    <a:pt x="53519" y="357478"/>
                  </a:cubicBezTo>
                  <a:cubicBezTo>
                    <a:pt x="53310" y="357697"/>
                    <a:pt x="53101" y="357926"/>
                    <a:pt x="52911" y="358155"/>
                  </a:cubicBezTo>
                  <a:cubicBezTo>
                    <a:pt x="49224" y="346117"/>
                    <a:pt x="36968" y="341839"/>
                    <a:pt x="28997" y="334278"/>
                  </a:cubicBezTo>
                  <a:cubicBezTo>
                    <a:pt x="25409" y="330000"/>
                    <a:pt x="19032" y="326219"/>
                    <a:pt x="15046" y="322339"/>
                  </a:cubicBezTo>
                  <a:cubicBezTo>
                    <a:pt x="14249" y="317067"/>
                    <a:pt x="7673" y="314281"/>
                    <a:pt x="3089" y="313385"/>
                  </a:cubicBezTo>
                  <a:cubicBezTo>
                    <a:pt x="3577" y="307018"/>
                    <a:pt x="4574" y="300691"/>
                    <a:pt x="6079" y="294483"/>
                  </a:cubicBezTo>
                  <a:cubicBezTo>
                    <a:pt x="2860" y="292513"/>
                    <a:pt x="648" y="289250"/>
                    <a:pt x="0" y="285529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19" name="Freeform: Shape 1718">
              <a:extLst>
                <a:ext uri="{FF2B5EF4-FFF2-40B4-BE49-F238E27FC236}">
                  <a16:creationId xmlns:a16="http://schemas.microsoft.com/office/drawing/2014/main" id="{65A694A4-882F-4984-95ED-CFFB3E56A681}"/>
                </a:ext>
              </a:extLst>
            </p:cNvPr>
            <p:cNvSpPr/>
            <p:nvPr/>
          </p:nvSpPr>
          <p:spPr>
            <a:xfrm>
              <a:off x="400301" y="449320"/>
              <a:ext cx="942732" cy="569068"/>
            </a:xfrm>
            <a:custGeom>
              <a:avLst/>
              <a:gdLst>
                <a:gd name="connsiteX0" fmla="*/ 0 w 942732"/>
                <a:gd name="connsiteY0" fmla="*/ 0 h 569068"/>
                <a:gd name="connsiteX1" fmla="*/ 857936 w 942732"/>
                <a:gd name="connsiteY1" fmla="*/ 0 h 569068"/>
                <a:gd name="connsiteX2" fmla="*/ 873878 w 942732"/>
                <a:gd name="connsiteY2" fmla="*/ 63672 h 569068"/>
                <a:gd name="connsiteX3" fmla="*/ 868996 w 942732"/>
                <a:gd name="connsiteY3" fmla="*/ 124359 h 569068"/>
                <a:gd name="connsiteX4" fmla="*/ 867900 w 942732"/>
                <a:gd name="connsiteY4" fmla="*/ 158185 h 569068"/>
                <a:gd name="connsiteX5" fmla="*/ 901878 w 942732"/>
                <a:gd name="connsiteY5" fmla="*/ 254688 h 569068"/>
                <a:gd name="connsiteX6" fmla="*/ 906861 w 942732"/>
                <a:gd name="connsiteY6" fmla="*/ 324329 h 569068"/>
                <a:gd name="connsiteX7" fmla="*/ 907758 w 942732"/>
                <a:gd name="connsiteY7" fmla="*/ 373078 h 569068"/>
                <a:gd name="connsiteX8" fmla="*/ 912740 w 942732"/>
                <a:gd name="connsiteY8" fmla="*/ 415857 h 569068"/>
                <a:gd name="connsiteX9" fmla="*/ 913736 w 942732"/>
                <a:gd name="connsiteY9" fmla="*/ 443714 h 569068"/>
                <a:gd name="connsiteX10" fmla="*/ 936754 w 942732"/>
                <a:gd name="connsiteY10" fmla="*/ 499427 h 569068"/>
                <a:gd name="connsiteX11" fmla="*/ 942733 w 942732"/>
                <a:gd name="connsiteY11" fmla="*/ 542206 h 569068"/>
                <a:gd name="connsiteX12" fmla="*/ 941637 w 942732"/>
                <a:gd name="connsiteY12" fmla="*/ 569068 h 569068"/>
                <a:gd name="connsiteX13" fmla="*/ 77722 w 942732"/>
                <a:gd name="connsiteY13" fmla="*/ 567078 h 569068"/>
                <a:gd name="connsiteX14" fmla="*/ 997 w 942732"/>
                <a:gd name="connsiteY14" fmla="*/ 567078 h 569068"/>
                <a:gd name="connsiteX15" fmla="*/ 997 w 942732"/>
                <a:gd name="connsiteY15" fmla="*/ 387006 h 569068"/>
                <a:gd name="connsiteX16" fmla="*/ 0 w 942732"/>
                <a:gd name="connsiteY16" fmla="*/ 0 h 569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42732" h="569068">
                  <a:moveTo>
                    <a:pt x="0" y="0"/>
                  </a:moveTo>
                  <a:lnTo>
                    <a:pt x="857936" y="0"/>
                  </a:lnTo>
                  <a:cubicBezTo>
                    <a:pt x="857936" y="20793"/>
                    <a:pt x="870092" y="43277"/>
                    <a:pt x="873878" y="63672"/>
                  </a:cubicBezTo>
                  <a:cubicBezTo>
                    <a:pt x="865309" y="81779"/>
                    <a:pt x="869295" y="105158"/>
                    <a:pt x="868996" y="124359"/>
                  </a:cubicBezTo>
                  <a:cubicBezTo>
                    <a:pt x="870231" y="135631"/>
                    <a:pt x="869863" y="147023"/>
                    <a:pt x="867900" y="158185"/>
                  </a:cubicBezTo>
                  <a:cubicBezTo>
                    <a:pt x="879558" y="189524"/>
                    <a:pt x="888327" y="224145"/>
                    <a:pt x="901878" y="254688"/>
                  </a:cubicBezTo>
                  <a:cubicBezTo>
                    <a:pt x="906861" y="274585"/>
                    <a:pt x="904170" y="303437"/>
                    <a:pt x="906861" y="324329"/>
                  </a:cubicBezTo>
                  <a:cubicBezTo>
                    <a:pt x="909651" y="340436"/>
                    <a:pt x="909950" y="356881"/>
                    <a:pt x="907758" y="373078"/>
                  </a:cubicBezTo>
                  <a:cubicBezTo>
                    <a:pt x="916825" y="383027"/>
                    <a:pt x="916726" y="403720"/>
                    <a:pt x="912740" y="415857"/>
                  </a:cubicBezTo>
                  <a:cubicBezTo>
                    <a:pt x="914334" y="422623"/>
                    <a:pt x="912241" y="437446"/>
                    <a:pt x="913736" y="443714"/>
                  </a:cubicBezTo>
                  <a:cubicBezTo>
                    <a:pt x="922704" y="460030"/>
                    <a:pt x="921508" y="486295"/>
                    <a:pt x="936754" y="499427"/>
                  </a:cubicBezTo>
                  <a:cubicBezTo>
                    <a:pt x="937152" y="513862"/>
                    <a:pt x="939156" y="528209"/>
                    <a:pt x="942733" y="542206"/>
                  </a:cubicBezTo>
                  <a:cubicBezTo>
                    <a:pt x="940869" y="551041"/>
                    <a:pt x="940501" y="560114"/>
                    <a:pt x="941637" y="569068"/>
                  </a:cubicBezTo>
                  <a:cubicBezTo>
                    <a:pt x="654064" y="568073"/>
                    <a:pt x="365295" y="569068"/>
                    <a:pt x="77722" y="567078"/>
                  </a:cubicBezTo>
                  <a:cubicBezTo>
                    <a:pt x="59886" y="568571"/>
                    <a:pt x="19231" y="567078"/>
                    <a:pt x="997" y="567078"/>
                  </a:cubicBezTo>
                  <a:cubicBezTo>
                    <a:pt x="997" y="510072"/>
                    <a:pt x="997" y="443813"/>
                    <a:pt x="997" y="387006"/>
                  </a:cubicBezTo>
                  <a:cubicBezTo>
                    <a:pt x="1594" y="258966"/>
                    <a:pt x="199" y="128040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20" name="Freeform: Shape 1719">
              <a:extLst>
                <a:ext uri="{FF2B5EF4-FFF2-40B4-BE49-F238E27FC236}">
                  <a16:creationId xmlns:a16="http://schemas.microsoft.com/office/drawing/2014/main" id="{C915B16F-0620-4BE3-809D-A24156779A30}"/>
                </a:ext>
              </a:extLst>
            </p:cNvPr>
            <p:cNvSpPr/>
            <p:nvPr/>
          </p:nvSpPr>
          <p:spPr>
            <a:xfrm>
              <a:off x="2221097" y="2178138"/>
              <a:ext cx="956384" cy="420784"/>
            </a:xfrm>
            <a:custGeom>
              <a:avLst/>
              <a:gdLst>
                <a:gd name="connsiteX0" fmla="*/ 956384 w 956384"/>
                <a:gd name="connsiteY0" fmla="*/ 256852 h 420784"/>
                <a:gd name="connsiteX1" fmla="*/ 882647 w 956384"/>
                <a:gd name="connsiteY1" fmla="*/ 310675 h 420784"/>
                <a:gd name="connsiteX2" fmla="*/ 849765 w 956384"/>
                <a:gd name="connsiteY2" fmla="*/ 340521 h 420784"/>
                <a:gd name="connsiteX3" fmla="*/ 816883 w 956384"/>
                <a:gd name="connsiteY3" fmla="*/ 365293 h 420784"/>
                <a:gd name="connsiteX4" fmla="*/ 796954 w 956384"/>
                <a:gd name="connsiteY4" fmla="*/ 384196 h 420784"/>
                <a:gd name="connsiteX5" fmla="*/ 760085 w 956384"/>
                <a:gd name="connsiteY5" fmla="*/ 394145 h 420784"/>
                <a:gd name="connsiteX6" fmla="*/ 740157 w 956384"/>
                <a:gd name="connsiteY6" fmla="*/ 407078 h 420784"/>
                <a:gd name="connsiteX7" fmla="*/ 638519 w 956384"/>
                <a:gd name="connsiteY7" fmla="*/ 405188 h 420784"/>
                <a:gd name="connsiteX8" fmla="*/ 216028 w 956384"/>
                <a:gd name="connsiteY8" fmla="*/ 399119 h 420784"/>
                <a:gd name="connsiteX9" fmla="*/ 217025 w 956384"/>
                <a:gd name="connsiteY9" fmla="*/ 394145 h 420784"/>
                <a:gd name="connsiteX10" fmla="*/ 189125 w 956384"/>
                <a:gd name="connsiteY10" fmla="*/ 392155 h 420784"/>
                <a:gd name="connsiteX11" fmla="*/ 191117 w 956384"/>
                <a:gd name="connsiteY11" fmla="*/ 420011 h 420784"/>
                <a:gd name="connsiteX12" fmla="*/ 76726 w 956384"/>
                <a:gd name="connsiteY12" fmla="*/ 420011 h 420784"/>
                <a:gd name="connsiteX13" fmla="*/ 0 w 956384"/>
                <a:gd name="connsiteY13" fmla="*/ 414042 h 420784"/>
                <a:gd name="connsiteX14" fmla="*/ 20925 w 956384"/>
                <a:gd name="connsiteY14" fmla="*/ 409963 h 420784"/>
                <a:gd name="connsiteX15" fmla="*/ 31886 w 956384"/>
                <a:gd name="connsiteY15" fmla="*/ 401109 h 420784"/>
                <a:gd name="connsiteX16" fmla="*/ 51815 w 956384"/>
                <a:gd name="connsiteY16" fmla="*/ 395139 h 420784"/>
                <a:gd name="connsiteX17" fmla="*/ 52811 w 956384"/>
                <a:gd name="connsiteY17" fmla="*/ 380216 h 420784"/>
                <a:gd name="connsiteX18" fmla="*/ 53808 w 956384"/>
                <a:gd name="connsiteY18" fmla="*/ 365293 h 420784"/>
                <a:gd name="connsiteX19" fmla="*/ 59786 w 956384"/>
                <a:gd name="connsiteY19" fmla="*/ 348380 h 420784"/>
                <a:gd name="connsiteX20" fmla="*/ 50819 w 956384"/>
                <a:gd name="connsiteY20" fmla="*/ 330473 h 420784"/>
                <a:gd name="connsiteX21" fmla="*/ 92669 w 956384"/>
                <a:gd name="connsiteY21" fmla="*/ 310575 h 420784"/>
                <a:gd name="connsiteX22" fmla="*/ 121566 w 956384"/>
                <a:gd name="connsiteY22" fmla="*/ 324404 h 420784"/>
                <a:gd name="connsiteX23" fmla="*/ 144484 w 956384"/>
                <a:gd name="connsiteY23" fmla="*/ 318435 h 420784"/>
                <a:gd name="connsiteX24" fmla="*/ 133523 w 956384"/>
                <a:gd name="connsiteY24" fmla="*/ 295652 h 420784"/>
                <a:gd name="connsiteX25" fmla="*/ 145481 w 956384"/>
                <a:gd name="connsiteY25" fmla="*/ 274660 h 420784"/>
                <a:gd name="connsiteX26" fmla="*/ 162420 w 956384"/>
                <a:gd name="connsiteY26" fmla="*/ 270681 h 420784"/>
                <a:gd name="connsiteX27" fmla="*/ 190321 w 956384"/>
                <a:gd name="connsiteY27" fmla="*/ 264712 h 420784"/>
                <a:gd name="connsiteX28" fmla="*/ 181352 w 956384"/>
                <a:gd name="connsiteY28" fmla="*/ 250883 h 420784"/>
                <a:gd name="connsiteX29" fmla="*/ 181352 w 956384"/>
                <a:gd name="connsiteY29" fmla="*/ 231980 h 420784"/>
                <a:gd name="connsiteX30" fmla="*/ 194306 w 956384"/>
                <a:gd name="connsiteY30" fmla="*/ 214968 h 420784"/>
                <a:gd name="connsiteX31" fmla="*/ 206263 w 956384"/>
                <a:gd name="connsiteY31" fmla="*/ 216957 h 420784"/>
                <a:gd name="connsiteX32" fmla="*/ 214235 w 956384"/>
                <a:gd name="connsiteY32" fmla="*/ 196165 h 420784"/>
                <a:gd name="connsiteX33" fmla="*/ 233167 w 956384"/>
                <a:gd name="connsiteY33" fmla="*/ 201039 h 420784"/>
                <a:gd name="connsiteX34" fmla="*/ 247117 w 956384"/>
                <a:gd name="connsiteY34" fmla="*/ 199050 h 420784"/>
                <a:gd name="connsiteX35" fmla="*/ 271032 w 956384"/>
                <a:gd name="connsiteY35" fmla="*/ 192086 h 420784"/>
                <a:gd name="connsiteX36" fmla="*/ 310890 w 956384"/>
                <a:gd name="connsiteY36" fmla="*/ 219942 h 420784"/>
                <a:gd name="connsiteX37" fmla="*/ 322847 w 956384"/>
                <a:gd name="connsiteY37" fmla="*/ 196065 h 420784"/>
                <a:gd name="connsiteX38" fmla="*/ 347758 w 956384"/>
                <a:gd name="connsiteY38" fmla="*/ 184127 h 420784"/>
                <a:gd name="connsiteX39" fmla="*/ 372669 w 956384"/>
                <a:gd name="connsiteY39" fmla="*/ 207009 h 420784"/>
                <a:gd name="connsiteX40" fmla="*/ 385623 w 956384"/>
                <a:gd name="connsiteY40" fmla="*/ 199050 h 420784"/>
                <a:gd name="connsiteX41" fmla="*/ 390605 w 956384"/>
                <a:gd name="connsiteY41" fmla="*/ 176267 h 420784"/>
                <a:gd name="connsiteX42" fmla="*/ 404555 w 956384"/>
                <a:gd name="connsiteY42" fmla="*/ 162239 h 420784"/>
                <a:gd name="connsiteX43" fmla="*/ 423487 w 956384"/>
                <a:gd name="connsiteY43" fmla="*/ 180147 h 420784"/>
                <a:gd name="connsiteX44" fmla="*/ 459360 w 956384"/>
                <a:gd name="connsiteY44" fmla="*/ 179152 h 420784"/>
                <a:gd name="connsiteX45" fmla="*/ 462349 w 956384"/>
                <a:gd name="connsiteY45" fmla="*/ 154280 h 420784"/>
                <a:gd name="connsiteX46" fmla="*/ 472313 w 956384"/>
                <a:gd name="connsiteY46" fmla="*/ 138362 h 420784"/>
                <a:gd name="connsiteX47" fmla="*/ 489253 w 956384"/>
                <a:gd name="connsiteY47" fmla="*/ 136373 h 420784"/>
                <a:gd name="connsiteX48" fmla="*/ 501210 w 956384"/>
                <a:gd name="connsiteY48" fmla="*/ 111501 h 420784"/>
                <a:gd name="connsiteX49" fmla="*/ 521138 w 956384"/>
                <a:gd name="connsiteY49" fmla="*/ 99562 h 420784"/>
                <a:gd name="connsiteX50" fmla="*/ 520142 w 956384"/>
                <a:gd name="connsiteY50" fmla="*/ 87624 h 420784"/>
                <a:gd name="connsiteX51" fmla="*/ 519146 w 956384"/>
                <a:gd name="connsiteY51" fmla="*/ 68721 h 420784"/>
                <a:gd name="connsiteX52" fmla="*/ 552028 w 956384"/>
                <a:gd name="connsiteY52" fmla="*/ 73795 h 420784"/>
                <a:gd name="connsiteX53" fmla="*/ 598861 w 956384"/>
                <a:gd name="connsiteY53" fmla="*/ 57778 h 420784"/>
                <a:gd name="connsiteX54" fmla="*/ 590889 w 956384"/>
                <a:gd name="connsiteY54" fmla="*/ 35891 h 420784"/>
                <a:gd name="connsiteX55" fmla="*/ 587900 w 956384"/>
                <a:gd name="connsiteY55" fmla="*/ 14003 h 420784"/>
                <a:gd name="connsiteX56" fmla="*/ 611815 w 956384"/>
                <a:gd name="connsiteY56" fmla="*/ 1070 h 420784"/>
                <a:gd name="connsiteX57" fmla="*/ 622776 w 956384"/>
                <a:gd name="connsiteY57" fmla="*/ 10024 h 420784"/>
                <a:gd name="connsiteX58" fmla="*/ 638719 w 956384"/>
                <a:gd name="connsiteY58" fmla="*/ 6144 h 420784"/>
                <a:gd name="connsiteX59" fmla="*/ 646690 w 956384"/>
                <a:gd name="connsiteY59" fmla="*/ 9128 h 420784"/>
                <a:gd name="connsiteX60" fmla="*/ 660640 w 956384"/>
                <a:gd name="connsiteY60" fmla="*/ 19972 h 420784"/>
                <a:gd name="connsiteX61" fmla="*/ 671601 w 956384"/>
                <a:gd name="connsiteY61" fmla="*/ 41860 h 420784"/>
                <a:gd name="connsiteX62" fmla="*/ 674591 w 956384"/>
                <a:gd name="connsiteY62" fmla="*/ 53798 h 420784"/>
                <a:gd name="connsiteX63" fmla="*/ 694519 w 956384"/>
                <a:gd name="connsiteY63" fmla="*/ 59767 h 420784"/>
                <a:gd name="connsiteX64" fmla="*/ 710462 w 956384"/>
                <a:gd name="connsiteY64" fmla="*/ 58872 h 420784"/>
                <a:gd name="connsiteX65" fmla="*/ 719430 w 956384"/>
                <a:gd name="connsiteY65" fmla="*/ 62752 h 420784"/>
                <a:gd name="connsiteX66" fmla="*/ 728399 w 956384"/>
                <a:gd name="connsiteY66" fmla="*/ 71706 h 420784"/>
                <a:gd name="connsiteX67" fmla="*/ 748327 w 956384"/>
                <a:gd name="connsiteY67" fmla="*/ 74790 h 420784"/>
                <a:gd name="connsiteX68" fmla="*/ 771245 w 956384"/>
                <a:gd name="connsiteY68" fmla="*/ 76780 h 420784"/>
                <a:gd name="connsiteX69" fmla="*/ 791174 w 956384"/>
                <a:gd name="connsiteY69" fmla="*/ 87723 h 420784"/>
                <a:gd name="connsiteX70" fmla="*/ 797153 w 956384"/>
                <a:gd name="connsiteY70" fmla="*/ 82649 h 420784"/>
                <a:gd name="connsiteX71" fmla="*/ 811103 w 956384"/>
                <a:gd name="connsiteY71" fmla="*/ 80660 h 420784"/>
                <a:gd name="connsiteX72" fmla="*/ 840996 w 956384"/>
                <a:gd name="connsiteY72" fmla="*/ 61857 h 420784"/>
                <a:gd name="connsiteX73" fmla="*/ 851957 w 956384"/>
                <a:gd name="connsiteY73" fmla="*/ 93593 h 420784"/>
                <a:gd name="connsiteX74" fmla="*/ 877865 w 956384"/>
                <a:gd name="connsiteY74" fmla="*/ 115480 h 420784"/>
                <a:gd name="connsiteX75" fmla="*/ 878861 w 956384"/>
                <a:gd name="connsiteY75" fmla="*/ 145327 h 420784"/>
                <a:gd name="connsiteX76" fmla="*/ 873879 w 956384"/>
                <a:gd name="connsiteY76" fmla="*/ 162239 h 420784"/>
                <a:gd name="connsiteX77" fmla="*/ 893808 w 956384"/>
                <a:gd name="connsiteY77" fmla="*/ 187211 h 420784"/>
                <a:gd name="connsiteX78" fmla="*/ 905765 w 956384"/>
                <a:gd name="connsiteY78" fmla="*/ 215067 h 420784"/>
                <a:gd name="connsiteX79" fmla="*/ 915729 w 956384"/>
                <a:gd name="connsiteY79" fmla="*/ 232975 h 420784"/>
                <a:gd name="connsiteX80" fmla="*/ 956384 w 956384"/>
                <a:gd name="connsiteY80" fmla="*/ 256852 h 420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956384" h="420784">
                  <a:moveTo>
                    <a:pt x="956384" y="256852"/>
                  </a:moveTo>
                  <a:cubicBezTo>
                    <a:pt x="935658" y="276750"/>
                    <a:pt x="908256" y="300626"/>
                    <a:pt x="882647" y="310675"/>
                  </a:cubicBezTo>
                  <a:cubicBezTo>
                    <a:pt x="847374" y="325598"/>
                    <a:pt x="871886" y="336342"/>
                    <a:pt x="849765" y="340521"/>
                  </a:cubicBezTo>
                  <a:cubicBezTo>
                    <a:pt x="833224" y="350470"/>
                    <a:pt x="857736" y="363403"/>
                    <a:pt x="816883" y="365293"/>
                  </a:cubicBezTo>
                  <a:cubicBezTo>
                    <a:pt x="810306" y="375839"/>
                    <a:pt x="812299" y="385191"/>
                    <a:pt x="796954" y="384196"/>
                  </a:cubicBezTo>
                  <a:cubicBezTo>
                    <a:pt x="786292" y="387479"/>
                    <a:pt x="771444" y="396234"/>
                    <a:pt x="760085" y="394145"/>
                  </a:cubicBezTo>
                  <a:cubicBezTo>
                    <a:pt x="753907" y="396930"/>
                    <a:pt x="743544" y="401009"/>
                    <a:pt x="740157" y="407078"/>
                  </a:cubicBezTo>
                  <a:cubicBezTo>
                    <a:pt x="710263" y="407078"/>
                    <a:pt x="668811" y="406083"/>
                    <a:pt x="638519" y="405188"/>
                  </a:cubicBezTo>
                  <a:cubicBezTo>
                    <a:pt x="497623" y="399915"/>
                    <a:pt x="356726" y="394642"/>
                    <a:pt x="216028" y="399119"/>
                  </a:cubicBezTo>
                  <a:lnTo>
                    <a:pt x="217025" y="394145"/>
                  </a:lnTo>
                  <a:cubicBezTo>
                    <a:pt x="211943" y="394145"/>
                    <a:pt x="193908" y="391757"/>
                    <a:pt x="189125" y="392155"/>
                  </a:cubicBezTo>
                  <a:cubicBezTo>
                    <a:pt x="190021" y="398323"/>
                    <a:pt x="196598" y="414440"/>
                    <a:pt x="191117" y="420011"/>
                  </a:cubicBezTo>
                  <a:lnTo>
                    <a:pt x="76726" y="420011"/>
                  </a:lnTo>
                  <a:cubicBezTo>
                    <a:pt x="56797" y="415037"/>
                    <a:pt x="12754" y="428070"/>
                    <a:pt x="0" y="414042"/>
                  </a:cubicBezTo>
                  <a:cubicBezTo>
                    <a:pt x="2990" y="404093"/>
                    <a:pt x="13353" y="411654"/>
                    <a:pt x="20925" y="409963"/>
                  </a:cubicBezTo>
                  <a:cubicBezTo>
                    <a:pt x="22819" y="404790"/>
                    <a:pt x="25210" y="399020"/>
                    <a:pt x="31886" y="401109"/>
                  </a:cubicBezTo>
                  <a:cubicBezTo>
                    <a:pt x="45338" y="419912"/>
                    <a:pt x="42448" y="401109"/>
                    <a:pt x="51815" y="395139"/>
                  </a:cubicBezTo>
                  <a:cubicBezTo>
                    <a:pt x="47730" y="389369"/>
                    <a:pt x="45837" y="384395"/>
                    <a:pt x="52811" y="380216"/>
                  </a:cubicBezTo>
                  <a:cubicBezTo>
                    <a:pt x="52792" y="375222"/>
                    <a:pt x="53131" y="370238"/>
                    <a:pt x="53808" y="365293"/>
                  </a:cubicBezTo>
                  <a:cubicBezTo>
                    <a:pt x="56508" y="359931"/>
                    <a:pt x="58511" y="354250"/>
                    <a:pt x="59786" y="348380"/>
                  </a:cubicBezTo>
                  <a:cubicBezTo>
                    <a:pt x="53908" y="345296"/>
                    <a:pt x="56299" y="333258"/>
                    <a:pt x="50819" y="330473"/>
                  </a:cubicBezTo>
                  <a:cubicBezTo>
                    <a:pt x="63075" y="315052"/>
                    <a:pt x="70748" y="297443"/>
                    <a:pt x="92669" y="310575"/>
                  </a:cubicBezTo>
                  <a:cubicBezTo>
                    <a:pt x="101807" y="316156"/>
                    <a:pt x="111492" y="320793"/>
                    <a:pt x="121566" y="324404"/>
                  </a:cubicBezTo>
                  <a:cubicBezTo>
                    <a:pt x="131530" y="333756"/>
                    <a:pt x="142890" y="334353"/>
                    <a:pt x="144484" y="318435"/>
                  </a:cubicBezTo>
                  <a:cubicBezTo>
                    <a:pt x="141495" y="312863"/>
                    <a:pt x="136014" y="301323"/>
                    <a:pt x="133523" y="295652"/>
                  </a:cubicBezTo>
                  <a:cubicBezTo>
                    <a:pt x="137210" y="289086"/>
                    <a:pt x="137310" y="277545"/>
                    <a:pt x="145481" y="274660"/>
                  </a:cubicBezTo>
                  <a:cubicBezTo>
                    <a:pt x="149068" y="280629"/>
                    <a:pt x="158733" y="274660"/>
                    <a:pt x="162420" y="270681"/>
                  </a:cubicBezTo>
                  <a:cubicBezTo>
                    <a:pt x="169295" y="269586"/>
                    <a:pt x="183644" y="266701"/>
                    <a:pt x="190321" y="264712"/>
                  </a:cubicBezTo>
                  <a:cubicBezTo>
                    <a:pt x="189712" y="258941"/>
                    <a:pt x="186375" y="253798"/>
                    <a:pt x="181352" y="250883"/>
                  </a:cubicBezTo>
                  <a:cubicBezTo>
                    <a:pt x="180256" y="246008"/>
                    <a:pt x="176769" y="235960"/>
                    <a:pt x="181352" y="231980"/>
                  </a:cubicBezTo>
                  <a:cubicBezTo>
                    <a:pt x="187281" y="227732"/>
                    <a:pt x="191785" y="221802"/>
                    <a:pt x="194306" y="214968"/>
                  </a:cubicBezTo>
                  <a:cubicBezTo>
                    <a:pt x="197096" y="216162"/>
                    <a:pt x="203274" y="218947"/>
                    <a:pt x="206263" y="216957"/>
                  </a:cubicBezTo>
                  <a:cubicBezTo>
                    <a:pt x="215630" y="210292"/>
                    <a:pt x="197196" y="198851"/>
                    <a:pt x="214235" y="196165"/>
                  </a:cubicBezTo>
                  <a:cubicBezTo>
                    <a:pt x="218599" y="202044"/>
                    <a:pt x="226491" y="204074"/>
                    <a:pt x="233167" y="201039"/>
                  </a:cubicBezTo>
                  <a:cubicBezTo>
                    <a:pt x="238348" y="207904"/>
                    <a:pt x="247018" y="209794"/>
                    <a:pt x="247117" y="199050"/>
                  </a:cubicBezTo>
                  <a:cubicBezTo>
                    <a:pt x="253894" y="192981"/>
                    <a:pt x="264057" y="198055"/>
                    <a:pt x="271032" y="192086"/>
                  </a:cubicBezTo>
                  <a:cubicBezTo>
                    <a:pt x="284185" y="200443"/>
                    <a:pt x="302519" y="206113"/>
                    <a:pt x="310890" y="219942"/>
                  </a:cubicBezTo>
                  <a:cubicBezTo>
                    <a:pt x="316669" y="213774"/>
                    <a:pt x="318263" y="202830"/>
                    <a:pt x="322847" y="196065"/>
                  </a:cubicBezTo>
                  <a:cubicBezTo>
                    <a:pt x="332811" y="196065"/>
                    <a:pt x="339388" y="187708"/>
                    <a:pt x="347758" y="184127"/>
                  </a:cubicBezTo>
                  <a:cubicBezTo>
                    <a:pt x="352760" y="194702"/>
                    <a:pt x="361698" y="202910"/>
                    <a:pt x="372669" y="207009"/>
                  </a:cubicBezTo>
                  <a:cubicBezTo>
                    <a:pt x="372669" y="197756"/>
                    <a:pt x="377850" y="197060"/>
                    <a:pt x="385623" y="199050"/>
                  </a:cubicBezTo>
                  <a:cubicBezTo>
                    <a:pt x="385125" y="192185"/>
                    <a:pt x="378050" y="173979"/>
                    <a:pt x="390605" y="176267"/>
                  </a:cubicBezTo>
                  <a:cubicBezTo>
                    <a:pt x="393594" y="171193"/>
                    <a:pt x="398178" y="163234"/>
                    <a:pt x="404555" y="162239"/>
                  </a:cubicBezTo>
                  <a:cubicBezTo>
                    <a:pt x="412527" y="156171"/>
                    <a:pt x="418306" y="175869"/>
                    <a:pt x="423487" y="180147"/>
                  </a:cubicBezTo>
                  <a:cubicBezTo>
                    <a:pt x="448698" y="180744"/>
                    <a:pt x="436441" y="195568"/>
                    <a:pt x="459360" y="179152"/>
                  </a:cubicBezTo>
                  <a:cubicBezTo>
                    <a:pt x="460356" y="173083"/>
                    <a:pt x="461950" y="160449"/>
                    <a:pt x="462349" y="154280"/>
                  </a:cubicBezTo>
                  <a:cubicBezTo>
                    <a:pt x="466683" y="149674"/>
                    <a:pt x="470071" y="144272"/>
                    <a:pt x="472313" y="138362"/>
                  </a:cubicBezTo>
                  <a:cubicBezTo>
                    <a:pt x="477883" y="140929"/>
                    <a:pt x="484430" y="140163"/>
                    <a:pt x="489253" y="136373"/>
                  </a:cubicBezTo>
                  <a:cubicBezTo>
                    <a:pt x="495530" y="129608"/>
                    <a:pt x="494334" y="117868"/>
                    <a:pt x="501210" y="111501"/>
                  </a:cubicBezTo>
                  <a:cubicBezTo>
                    <a:pt x="509879" y="111501"/>
                    <a:pt x="514861" y="103542"/>
                    <a:pt x="521138" y="99562"/>
                  </a:cubicBezTo>
                  <a:cubicBezTo>
                    <a:pt x="524128" y="96279"/>
                    <a:pt x="521936" y="91106"/>
                    <a:pt x="520142" y="87624"/>
                  </a:cubicBezTo>
                  <a:cubicBezTo>
                    <a:pt x="520312" y="81306"/>
                    <a:pt x="519973" y="74989"/>
                    <a:pt x="519146" y="68721"/>
                  </a:cubicBezTo>
                  <a:cubicBezTo>
                    <a:pt x="529877" y="62195"/>
                    <a:pt x="543768" y="64334"/>
                    <a:pt x="552028" y="73795"/>
                  </a:cubicBezTo>
                  <a:cubicBezTo>
                    <a:pt x="565879" y="66234"/>
                    <a:pt x="581922" y="53898"/>
                    <a:pt x="598861" y="57778"/>
                  </a:cubicBezTo>
                  <a:cubicBezTo>
                    <a:pt x="598861" y="42656"/>
                    <a:pt x="607032" y="44048"/>
                    <a:pt x="590889" y="35891"/>
                  </a:cubicBezTo>
                  <a:cubicBezTo>
                    <a:pt x="600854" y="29424"/>
                    <a:pt x="593082" y="21166"/>
                    <a:pt x="587900" y="14003"/>
                  </a:cubicBezTo>
                  <a:cubicBezTo>
                    <a:pt x="594975" y="10421"/>
                    <a:pt x="603544" y="-4004"/>
                    <a:pt x="611815" y="1070"/>
                  </a:cubicBezTo>
                  <a:cubicBezTo>
                    <a:pt x="613997" y="5497"/>
                    <a:pt x="617993" y="8770"/>
                    <a:pt x="622776" y="10024"/>
                  </a:cubicBezTo>
                  <a:cubicBezTo>
                    <a:pt x="626861" y="12113"/>
                    <a:pt x="633537" y="4651"/>
                    <a:pt x="638719" y="6144"/>
                  </a:cubicBezTo>
                  <a:cubicBezTo>
                    <a:pt x="642406" y="970"/>
                    <a:pt x="645594" y="4353"/>
                    <a:pt x="646690" y="9128"/>
                  </a:cubicBezTo>
                  <a:cubicBezTo>
                    <a:pt x="648185" y="15893"/>
                    <a:pt x="657850" y="15694"/>
                    <a:pt x="660640" y="19972"/>
                  </a:cubicBezTo>
                  <a:cubicBezTo>
                    <a:pt x="663849" y="27484"/>
                    <a:pt x="667516" y="34786"/>
                    <a:pt x="671601" y="41860"/>
                  </a:cubicBezTo>
                  <a:cubicBezTo>
                    <a:pt x="670934" y="46078"/>
                    <a:pt x="672010" y="50386"/>
                    <a:pt x="674591" y="53798"/>
                  </a:cubicBezTo>
                  <a:cubicBezTo>
                    <a:pt x="679573" y="55290"/>
                    <a:pt x="689537" y="58374"/>
                    <a:pt x="694519" y="59767"/>
                  </a:cubicBezTo>
                  <a:cubicBezTo>
                    <a:pt x="699442" y="57151"/>
                    <a:pt x="705271" y="56822"/>
                    <a:pt x="710462" y="58872"/>
                  </a:cubicBezTo>
                  <a:cubicBezTo>
                    <a:pt x="713203" y="60683"/>
                    <a:pt x="716232" y="61996"/>
                    <a:pt x="719430" y="62752"/>
                  </a:cubicBezTo>
                  <a:cubicBezTo>
                    <a:pt x="720765" y="67030"/>
                    <a:pt x="724113" y="70373"/>
                    <a:pt x="728399" y="71706"/>
                  </a:cubicBezTo>
                  <a:cubicBezTo>
                    <a:pt x="727601" y="81654"/>
                    <a:pt x="747730" y="87226"/>
                    <a:pt x="748327" y="74790"/>
                  </a:cubicBezTo>
                  <a:cubicBezTo>
                    <a:pt x="755621" y="70542"/>
                    <a:pt x="764798" y="71338"/>
                    <a:pt x="771245" y="76780"/>
                  </a:cubicBezTo>
                  <a:cubicBezTo>
                    <a:pt x="779117" y="75884"/>
                    <a:pt x="785494" y="83346"/>
                    <a:pt x="791174" y="87723"/>
                  </a:cubicBezTo>
                  <a:cubicBezTo>
                    <a:pt x="793366" y="86281"/>
                    <a:pt x="795379" y="84579"/>
                    <a:pt x="797153" y="82649"/>
                  </a:cubicBezTo>
                  <a:cubicBezTo>
                    <a:pt x="801876" y="84012"/>
                    <a:pt x="806958" y="83286"/>
                    <a:pt x="811103" y="80660"/>
                  </a:cubicBezTo>
                  <a:cubicBezTo>
                    <a:pt x="815188" y="68920"/>
                    <a:pt x="831032" y="66134"/>
                    <a:pt x="840996" y="61857"/>
                  </a:cubicBezTo>
                  <a:cubicBezTo>
                    <a:pt x="843986" y="72402"/>
                    <a:pt x="842790" y="85734"/>
                    <a:pt x="851957" y="93593"/>
                  </a:cubicBezTo>
                  <a:cubicBezTo>
                    <a:pt x="864114" y="92698"/>
                    <a:pt x="874178" y="105034"/>
                    <a:pt x="877865" y="115480"/>
                  </a:cubicBezTo>
                  <a:cubicBezTo>
                    <a:pt x="875872" y="125429"/>
                    <a:pt x="883544" y="136373"/>
                    <a:pt x="878861" y="145327"/>
                  </a:cubicBezTo>
                  <a:cubicBezTo>
                    <a:pt x="877845" y="151137"/>
                    <a:pt x="876170" y="156807"/>
                    <a:pt x="873879" y="162239"/>
                  </a:cubicBezTo>
                  <a:cubicBezTo>
                    <a:pt x="881202" y="169999"/>
                    <a:pt x="887859" y="178356"/>
                    <a:pt x="893808" y="187211"/>
                  </a:cubicBezTo>
                  <a:cubicBezTo>
                    <a:pt x="887928" y="201039"/>
                    <a:pt x="902975" y="202333"/>
                    <a:pt x="905765" y="215067"/>
                  </a:cubicBezTo>
                  <a:cubicBezTo>
                    <a:pt x="910976" y="219773"/>
                    <a:pt x="914473" y="226071"/>
                    <a:pt x="915729" y="232975"/>
                  </a:cubicBezTo>
                  <a:cubicBezTo>
                    <a:pt x="929181" y="239939"/>
                    <a:pt x="939445" y="258842"/>
                    <a:pt x="956384" y="256852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21" name="Freeform: Shape 1720">
              <a:extLst>
                <a:ext uri="{FF2B5EF4-FFF2-40B4-BE49-F238E27FC236}">
                  <a16:creationId xmlns:a16="http://schemas.microsoft.com/office/drawing/2014/main" id="{99AD6CDB-2EF9-43B8-A573-0AB00C6CECD8}"/>
                </a:ext>
              </a:extLst>
            </p:cNvPr>
            <p:cNvSpPr/>
            <p:nvPr/>
          </p:nvSpPr>
          <p:spPr>
            <a:xfrm>
              <a:off x="4361119" y="1131804"/>
              <a:ext cx="233201" cy="455652"/>
            </a:xfrm>
            <a:custGeom>
              <a:avLst/>
              <a:gdLst>
                <a:gd name="connsiteX0" fmla="*/ 35 w 233201"/>
                <a:gd name="connsiteY0" fmla="*/ 426801 h 455652"/>
                <a:gd name="connsiteX1" fmla="*/ 3024 w 233201"/>
                <a:gd name="connsiteY1" fmla="*/ 410883 h 455652"/>
                <a:gd name="connsiteX2" fmla="*/ 12988 w 233201"/>
                <a:gd name="connsiteY2" fmla="*/ 399939 h 455652"/>
                <a:gd name="connsiteX3" fmla="*/ 14981 w 233201"/>
                <a:gd name="connsiteY3" fmla="*/ 388996 h 455652"/>
                <a:gd name="connsiteX4" fmla="*/ 12988 w 233201"/>
                <a:gd name="connsiteY4" fmla="*/ 376063 h 455652"/>
                <a:gd name="connsiteX5" fmla="*/ 19964 w 233201"/>
                <a:gd name="connsiteY5" fmla="*/ 348206 h 455652"/>
                <a:gd name="connsiteX6" fmla="*/ 19964 w 233201"/>
                <a:gd name="connsiteY6" fmla="*/ 329303 h 455652"/>
                <a:gd name="connsiteX7" fmla="*/ 21957 w 233201"/>
                <a:gd name="connsiteY7" fmla="*/ 304432 h 455652"/>
                <a:gd name="connsiteX8" fmla="*/ 33913 w 233201"/>
                <a:gd name="connsiteY8" fmla="*/ 279560 h 455652"/>
                <a:gd name="connsiteX9" fmla="*/ 56832 w 233201"/>
                <a:gd name="connsiteY9" fmla="*/ 238770 h 455652"/>
                <a:gd name="connsiteX10" fmla="*/ 65800 w 233201"/>
                <a:gd name="connsiteY10" fmla="*/ 212903 h 455652"/>
                <a:gd name="connsiteX11" fmla="*/ 63807 w 233201"/>
                <a:gd name="connsiteY11" fmla="*/ 179077 h 455652"/>
                <a:gd name="connsiteX12" fmla="*/ 90711 w 233201"/>
                <a:gd name="connsiteY12" fmla="*/ 169129 h 455652"/>
                <a:gd name="connsiteX13" fmla="*/ 99679 w 233201"/>
                <a:gd name="connsiteY13" fmla="*/ 160175 h 455652"/>
                <a:gd name="connsiteX14" fmla="*/ 122597 w 233201"/>
                <a:gd name="connsiteY14" fmla="*/ 142267 h 455652"/>
                <a:gd name="connsiteX15" fmla="*/ 127679 w 233201"/>
                <a:gd name="connsiteY15" fmla="*/ 128339 h 455652"/>
                <a:gd name="connsiteX16" fmla="*/ 124690 w 233201"/>
                <a:gd name="connsiteY16" fmla="*/ 88544 h 455652"/>
                <a:gd name="connsiteX17" fmla="*/ 132561 w 233201"/>
                <a:gd name="connsiteY17" fmla="*/ 51733 h 455652"/>
                <a:gd name="connsiteX18" fmla="*/ 140533 w 233201"/>
                <a:gd name="connsiteY18" fmla="*/ 11938 h 455652"/>
                <a:gd name="connsiteX19" fmla="*/ 160462 w 233201"/>
                <a:gd name="connsiteY19" fmla="*/ 995 h 455652"/>
                <a:gd name="connsiteX20" fmla="*/ 185373 w 233201"/>
                <a:gd name="connsiteY20" fmla="*/ 0 h 455652"/>
                <a:gd name="connsiteX21" fmla="*/ 198326 w 233201"/>
                <a:gd name="connsiteY21" fmla="*/ 282544 h 455652"/>
                <a:gd name="connsiteX22" fmla="*/ 198326 w 233201"/>
                <a:gd name="connsiteY22" fmla="*/ 339252 h 455652"/>
                <a:gd name="connsiteX23" fmla="*/ 219252 w 233201"/>
                <a:gd name="connsiteY23" fmla="*/ 366114 h 455652"/>
                <a:gd name="connsiteX24" fmla="*/ 228957 w 233201"/>
                <a:gd name="connsiteY24" fmla="*/ 391632 h 455652"/>
                <a:gd name="connsiteX25" fmla="*/ 233202 w 233201"/>
                <a:gd name="connsiteY25" fmla="*/ 392975 h 455652"/>
                <a:gd name="connsiteX26" fmla="*/ 219252 w 233201"/>
                <a:gd name="connsiteY26" fmla="*/ 425806 h 455652"/>
                <a:gd name="connsiteX27" fmla="*/ 187366 w 233201"/>
                <a:gd name="connsiteY27" fmla="*/ 436750 h 455652"/>
                <a:gd name="connsiteX28" fmla="*/ 173415 w 233201"/>
                <a:gd name="connsiteY28" fmla="*/ 448688 h 455652"/>
                <a:gd name="connsiteX29" fmla="*/ 158469 w 233201"/>
                <a:gd name="connsiteY29" fmla="*/ 455652 h 455652"/>
                <a:gd name="connsiteX30" fmla="*/ 78753 w 233201"/>
                <a:gd name="connsiteY30" fmla="*/ 452668 h 455652"/>
                <a:gd name="connsiteX31" fmla="*/ 12988 w 233201"/>
                <a:gd name="connsiteY31" fmla="*/ 450678 h 455652"/>
                <a:gd name="connsiteX32" fmla="*/ 35 w 233201"/>
                <a:gd name="connsiteY32" fmla="*/ 426801 h 455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33201" h="455652">
                  <a:moveTo>
                    <a:pt x="35" y="426801"/>
                  </a:moveTo>
                  <a:cubicBezTo>
                    <a:pt x="2765" y="421966"/>
                    <a:pt x="3811" y="416375"/>
                    <a:pt x="3024" y="410883"/>
                  </a:cubicBezTo>
                  <a:cubicBezTo>
                    <a:pt x="6711" y="409888"/>
                    <a:pt x="16077" y="404516"/>
                    <a:pt x="12988" y="399939"/>
                  </a:cubicBezTo>
                  <a:cubicBezTo>
                    <a:pt x="11095" y="397054"/>
                    <a:pt x="13786" y="391583"/>
                    <a:pt x="14981" y="388996"/>
                  </a:cubicBezTo>
                  <a:cubicBezTo>
                    <a:pt x="14981" y="388299"/>
                    <a:pt x="12690" y="376261"/>
                    <a:pt x="12988" y="376063"/>
                  </a:cubicBezTo>
                  <a:cubicBezTo>
                    <a:pt x="14812" y="366661"/>
                    <a:pt x="17134" y="357359"/>
                    <a:pt x="19964" y="348206"/>
                  </a:cubicBezTo>
                  <a:cubicBezTo>
                    <a:pt x="18170" y="342028"/>
                    <a:pt x="18170" y="335482"/>
                    <a:pt x="19964" y="329303"/>
                  </a:cubicBezTo>
                  <a:cubicBezTo>
                    <a:pt x="21727" y="321136"/>
                    <a:pt x="22395" y="312778"/>
                    <a:pt x="21957" y="304432"/>
                  </a:cubicBezTo>
                  <a:cubicBezTo>
                    <a:pt x="29530" y="301845"/>
                    <a:pt x="31921" y="285927"/>
                    <a:pt x="33913" y="279560"/>
                  </a:cubicBezTo>
                  <a:cubicBezTo>
                    <a:pt x="48661" y="271103"/>
                    <a:pt x="47166" y="251007"/>
                    <a:pt x="56832" y="238770"/>
                  </a:cubicBezTo>
                  <a:cubicBezTo>
                    <a:pt x="53444" y="229517"/>
                    <a:pt x="64006" y="221559"/>
                    <a:pt x="65800" y="212903"/>
                  </a:cubicBezTo>
                  <a:cubicBezTo>
                    <a:pt x="63299" y="201810"/>
                    <a:pt x="62621" y="190389"/>
                    <a:pt x="63807" y="179077"/>
                  </a:cubicBezTo>
                  <a:cubicBezTo>
                    <a:pt x="69686" y="169129"/>
                    <a:pt x="82042" y="172810"/>
                    <a:pt x="90711" y="169129"/>
                  </a:cubicBezTo>
                  <a:cubicBezTo>
                    <a:pt x="94697" y="170820"/>
                    <a:pt x="95793" y="158483"/>
                    <a:pt x="99679" y="160175"/>
                  </a:cubicBezTo>
                  <a:cubicBezTo>
                    <a:pt x="109643" y="158185"/>
                    <a:pt x="114526" y="146744"/>
                    <a:pt x="122597" y="142267"/>
                  </a:cubicBezTo>
                  <a:cubicBezTo>
                    <a:pt x="120774" y="137004"/>
                    <a:pt x="122896" y="131194"/>
                    <a:pt x="127679" y="128339"/>
                  </a:cubicBezTo>
                  <a:cubicBezTo>
                    <a:pt x="127679" y="113913"/>
                    <a:pt x="108946" y="100582"/>
                    <a:pt x="124690" y="88544"/>
                  </a:cubicBezTo>
                  <a:cubicBezTo>
                    <a:pt x="141629" y="61881"/>
                    <a:pt x="122995" y="66358"/>
                    <a:pt x="132561" y="51733"/>
                  </a:cubicBezTo>
                  <a:cubicBezTo>
                    <a:pt x="131166" y="37905"/>
                    <a:pt x="152490" y="25369"/>
                    <a:pt x="140533" y="11938"/>
                  </a:cubicBezTo>
                  <a:cubicBezTo>
                    <a:pt x="145316" y="8954"/>
                    <a:pt x="155380" y="3283"/>
                    <a:pt x="160462" y="995"/>
                  </a:cubicBezTo>
                  <a:cubicBezTo>
                    <a:pt x="170426" y="14625"/>
                    <a:pt x="177899" y="15122"/>
                    <a:pt x="185373" y="0"/>
                  </a:cubicBezTo>
                  <a:cubicBezTo>
                    <a:pt x="191750" y="92424"/>
                    <a:pt x="194441" y="190120"/>
                    <a:pt x="198326" y="282544"/>
                  </a:cubicBezTo>
                  <a:cubicBezTo>
                    <a:pt x="198326" y="300353"/>
                    <a:pt x="203408" y="322339"/>
                    <a:pt x="198326" y="339252"/>
                  </a:cubicBezTo>
                  <a:cubicBezTo>
                    <a:pt x="205401" y="346515"/>
                    <a:pt x="212874" y="358354"/>
                    <a:pt x="219252" y="366114"/>
                  </a:cubicBezTo>
                  <a:cubicBezTo>
                    <a:pt x="214877" y="375834"/>
                    <a:pt x="219222" y="387265"/>
                    <a:pt x="228957" y="391632"/>
                  </a:cubicBezTo>
                  <a:cubicBezTo>
                    <a:pt x="230312" y="392239"/>
                    <a:pt x="231737" y="392697"/>
                    <a:pt x="233202" y="392975"/>
                  </a:cubicBezTo>
                  <a:cubicBezTo>
                    <a:pt x="229515" y="403521"/>
                    <a:pt x="219550" y="414166"/>
                    <a:pt x="219252" y="425806"/>
                  </a:cubicBezTo>
                  <a:cubicBezTo>
                    <a:pt x="207494" y="424712"/>
                    <a:pt x="191550" y="422125"/>
                    <a:pt x="187366" y="436750"/>
                  </a:cubicBezTo>
                  <a:cubicBezTo>
                    <a:pt x="176803" y="433069"/>
                    <a:pt x="170227" y="436750"/>
                    <a:pt x="173415" y="448688"/>
                  </a:cubicBezTo>
                  <a:cubicBezTo>
                    <a:pt x="167387" y="446868"/>
                    <a:pt x="160940" y="449862"/>
                    <a:pt x="158469" y="455652"/>
                  </a:cubicBezTo>
                  <a:lnTo>
                    <a:pt x="78753" y="452668"/>
                  </a:lnTo>
                  <a:cubicBezTo>
                    <a:pt x="57828" y="451772"/>
                    <a:pt x="34013" y="450579"/>
                    <a:pt x="12988" y="450678"/>
                  </a:cubicBezTo>
                  <a:cubicBezTo>
                    <a:pt x="9302" y="444112"/>
                    <a:pt x="-663" y="436053"/>
                    <a:pt x="35" y="426801"/>
                  </a:cubicBezTo>
                  <a:close/>
                </a:path>
              </a:pathLst>
            </a:custGeom>
            <a:solidFill>
              <a:schemeClr val="accent4"/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22" name="Freeform: Shape 1721">
              <a:extLst>
                <a:ext uri="{FF2B5EF4-FFF2-40B4-BE49-F238E27FC236}">
                  <a16:creationId xmlns:a16="http://schemas.microsoft.com/office/drawing/2014/main" id="{1AAC987A-3A6B-4F02-AEF4-DF5A6058FE6F}"/>
                </a:ext>
              </a:extLst>
            </p:cNvPr>
            <p:cNvSpPr/>
            <p:nvPr/>
          </p:nvSpPr>
          <p:spPr>
            <a:xfrm>
              <a:off x="3924713" y="2357489"/>
              <a:ext cx="98647" cy="148236"/>
            </a:xfrm>
            <a:custGeom>
              <a:avLst/>
              <a:gdLst>
                <a:gd name="connsiteX0" fmla="*/ 0 w 98647"/>
                <a:gd name="connsiteY0" fmla="*/ 117395 h 148236"/>
                <a:gd name="connsiteX1" fmla="*/ 27003 w 98647"/>
                <a:gd name="connsiteY1" fmla="*/ 43774 h 148236"/>
                <a:gd name="connsiteX2" fmla="*/ 33879 w 98647"/>
                <a:gd name="connsiteY2" fmla="*/ 19897 h 148236"/>
                <a:gd name="connsiteX3" fmla="*/ 98647 w 98647"/>
                <a:gd name="connsiteY3" fmla="*/ 0 h 148236"/>
                <a:gd name="connsiteX4" fmla="*/ 59786 w 98647"/>
                <a:gd name="connsiteY4" fmla="*/ 44769 h 148236"/>
                <a:gd name="connsiteX5" fmla="*/ 44840 w 98647"/>
                <a:gd name="connsiteY5" fmla="*/ 86554 h 148236"/>
                <a:gd name="connsiteX6" fmla="*/ 38861 w 98647"/>
                <a:gd name="connsiteY6" fmla="*/ 103467 h 148236"/>
                <a:gd name="connsiteX7" fmla="*/ 30889 w 98647"/>
                <a:gd name="connsiteY7" fmla="*/ 115405 h 148236"/>
                <a:gd name="connsiteX8" fmla="*/ 10961 w 98647"/>
                <a:gd name="connsiteY8" fmla="*/ 148236 h 148236"/>
                <a:gd name="connsiteX9" fmla="*/ 0 w 98647"/>
                <a:gd name="connsiteY9" fmla="*/ 117395 h 14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647" h="148236">
                  <a:moveTo>
                    <a:pt x="0" y="117395"/>
                  </a:moveTo>
                  <a:cubicBezTo>
                    <a:pt x="8769" y="93518"/>
                    <a:pt x="8669" y="63871"/>
                    <a:pt x="27003" y="43774"/>
                  </a:cubicBezTo>
                  <a:cubicBezTo>
                    <a:pt x="21921" y="30841"/>
                    <a:pt x="53210" y="37109"/>
                    <a:pt x="33879" y="19897"/>
                  </a:cubicBezTo>
                  <a:cubicBezTo>
                    <a:pt x="48825" y="1592"/>
                    <a:pt x="77523" y="1890"/>
                    <a:pt x="98647" y="0"/>
                  </a:cubicBezTo>
                  <a:cubicBezTo>
                    <a:pt x="75032" y="49744"/>
                    <a:pt x="79316" y="5074"/>
                    <a:pt x="59786" y="44769"/>
                  </a:cubicBezTo>
                  <a:cubicBezTo>
                    <a:pt x="52512" y="57802"/>
                    <a:pt x="54405" y="75113"/>
                    <a:pt x="44840" y="86554"/>
                  </a:cubicBezTo>
                  <a:cubicBezTo>
                    <a:pt x="50021" y="90732"/>
                    <a:pt x="40754" y="99885"/>
                    <a:pt x="38861" y="103467"/>
                  </a:cubicBezTo>
                  <a:cubicBezTo>
                    <a:pt x="37635" y="108232"/>
                    <a:pt x="34826" y="112441"/>
                    <a:pt x="30889" y="115405"/>
                  </a:cubicBezTo>
                  <a:cubicBezTo>
                    <a:pt x="28916" y="128568"/>
                    <a:pt x="21732" y="140397"/>
                    <a:pt x="10961" y="148236"/>
                  </a:cubicBezTo>
                  <a:cubicBezTo>
                    <a:pt x="1395" y="145948"/>
                    <a:pt x="4783" y="125155"/>
                    <a:pt x="0" y="117395"/>
                  </a:cubicBezTo>
                  <a:close/>
                </a:path>
              </a:pathLst>
            </a:custGeom>
            <a:solidFill>
              <a:srgbClr val="DBD6D2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23" name="Freeform: Shape 1722">
              <a:extLst>
                <a:ext uri="{FF2B5EF4-FFF2-40B4-BE49-F238E27FC236}">
                  <a16:creationId xmlns:a16="http://schemas.microsoft.com/office/drawing/2014/main" id="{DE92C99F-9B46-4F2A-B0D0-C5D18AD7BEEB}"/>
                </a:ext>
              </a:extLst>
            </p:cNvPr>
            <p:cNvSpPr/>
            <p:nvPr/>
          </p:nvSpPr>
          <p:spPr>
            <a:xfrm>
              <a:off x="3924713" y="2357489"/>
              <a:ext cx="98647" cy="148236"/>
            </a:xfrm>
            <a:custGeom>
              <a:avLst/>
              <a:gdLst>
                <a:gd name="connsiteX0" fmla="*/ 0 w 98647"/>
                <a:gd name="connsiteY0" fmla="*/ 117395 h 148236"/>
                <a:gd name="connsiteX1" fmla="*/ 27003 w 98647"/>
                <a:gd name="connsiteY1" fmla="*/ 43774 h 148236"/>
                <a:gd name="connsiteX2" fmla="*/ 33879 w 98647"/>
                <a:gd name="connsiteY2" fmla="*/ 19897 h 148236"/>
                <a:gd name="connsiteX3" fmla="*/ 98647 w 98647"/>
                <a:gd name="connsiteY3" fmla="*/ 0 h 148236"/>
                <a:gd name="connsiteX4" fmla="*/ 59786 w 98647"/>
                <a:gd name="connsiteY4" fmla="*/ 44769 h 148236"/>
                <a:gd name="connsiteX5" fmla="*/ 44840 w 98647"/>
                <a:gd name="connsiteY5" fmla="*/ 86554 h 148236"/>
                <a:gd name="connsiteX6" fmla="*/ 38861 w 98647"/>
                <a:gd name="connsiteY6" fmla="*/ 103467 h 148236"/>
                <a:gd name="connsiteX7" fmla="*/ 30889 w 98647"/>
                <a:gd name="connsiteY7" fmla="*/ 115405 h 148236"/>
                <a:gd name="connsiteX8" fmla="*/ 10961 w 98647"/>
                <a:gd name="connsiteY8" fmla="*/ 148236 h 148236"/>
                <a:gd name="connsiteX9" fmla="*/ 0 w 98647"/>
                <a:gd name="connsiteY9" fmla="*/ 117395 h 14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8647" h="148236">
                  <a:moveTo>
                    <a:pt x="0" y="117395"/>
                  </a:moveTo>
                  <a:cubicBezTo>
                    <a:pt x="8769" y="93518"/>
                    <a:pt x="8669" y="63871"/>
                    <a:pt x="27003" y="43774"/>
                  </a:cubicBezTo>
                  <a:cubicBezTo>
                    <a:pt x="21921" y="30841"/>
                    <a:pt x="53210" y="37109"/>
                    <a:pt x="33879" y="19897"/>
                  </a:cubicBezTo>
                  <a:cubicBezTo>
                    <a:pt x="48825" y="1592"/>
                    <a:pt x="77523" y="1890"/>
                    <a:pt x="98647" y="0"/>
                  </a:cubicBezTo>
                  <a:cubicBezTo>
                    <a:pt x="75032" y="49744"/>
                    <a:pt x="79316" y="5074"/>
                    <a:pt x="59786" y="44769"/>
                  </a:cubicBezTo>
                  <a:cubicBezTo>
                    <a:pt x="52512" y="57802"/>
                    <a:pt x="54405" y="75113"/>
                    <a:pt x="44840" y="86554"/>
                  </a:cubicBezTo>
                  <a:cubicBezTo>
                    <a:pt x="50021" y="90732"/>
                    <a:pt x="40754" y="99885"/>
                    <a:pt x="38861" y="103467"/>
                  </a:cubicBezTo>
                  <a:cubicBezTo>
                    <a:pt x="37635" y="108232"/>
                    <a:pt x="34826" y="112441"/>
                    <a:pt x="30889" y="115405"/>
                  </a:cubicBezTo>
                  <a:cubicBezTo>
                    <a:pt x="28916" y="128568"/>
                    <a:pt x="21732" y="140397"/>
                    <a:pt x="10961" y="148236"/>
                  </a:cubicBezTo>
                  <a:cubicBezTo>
                    <a:pt x="1395" y="145948"/>
                    <a:pt x="4783" y="125155"/>
                    <a:pt x="0" y="117395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74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grpSp>
          <p:nvGrpSpPr>
            <p:cNvPr id="1724" name="Graphic 231">
              <a:extLst>
                <a:ext uri="{FF2B5EF4-FFF2-40B4-BE49-F238E27FC236}">
                  <a16:creationId xmlns:a16="http://schemas.microsoft.com/office/drawing/2014/main" id="{A9C834FC-F5B6-47A7-8C23-E6E7DCB9936D}"/>
                </a:ext>
              </a:extLst>
            </p:cNvPr>
            <p:cNvGrpSpPr/>
            <p:nvPr/>
          </p:nvGrpSpPr>
          <p:grpSpPr>
            <a:xfrm>
              <a:off x="4243221" y="1557138"/>
              <a:ext cx="449180" cy="248096"/>
              <a:chOff x="4243221" y="1557138"/>
              <a:chExt cx="449180" cy="248096"/>
            </a:xfrm>
            <a:solidFill>
              <a:srgbClr val="ECE8E4"/>
            </a:solidFill>
          </p:grpSpPr>
          <p:sp>
            <p:nvSpPr>
              <p:cNvPr id="1731" name="Freeform: Shape 1730">
                <a:extLst>
                  <a:ext uri="{FF2B5EF4-FFF2-40B4-BE49-F238E27FC236}">
                    <a16:creationId xmlns:a16="http://schemas.microsoft.com/office/drawing/2014/main" id="{BE30A7B2-9C41-49DB-9BCF-6117BA206967}"/>
                  </a:ext>
                </a:extLst>
              </p:cNvPr>
              <p:cNvSpPr/>
              <p:nvPr/>
            </p:nvSpPr>
            <p:spPr>
              <a:xfrm>
                <a:off x="4243221" y="1557138"/>
                <a:ext cx="449180" cy="247997"/>
              </a:xfrm>
              <a:custGeom>
                <a:avLst/>
                <a:gdLst>
                  <a:gd name="connsiteX0" fmla="*/ 441876 w 449180"/>
                  <a:gd name="connsiteY0" fmla="*/ 158061 h 247997"/>
                  <a:gd name="connsiteX1" fmla="*/ 422724 w 449180"/>
                  <a:gd name="connsiteY1" fmla="*/ 134800 h 247997"/>
                  <a:gd name="connsiteX2" fmla="*/ 408993 w 449180"/>
                  <a:gd name="connsiteY2" fmla="*/ 138163 h 247997"/>
                  <a:gd name="connsiteX3" fmla="*/ 420950 w 449180"/>
                  <a:gd name="connsiteY3" fmla="*/ 144132 h 247997"/>
                  <a:gd name="connsiteX4" fmla="*/ 438887 w 449180"/>
                  <a:gd name="connsiteY4" fmla="*/ 173979 h 247997"/>
                  <a:gd name="connsiteX5" fmla="*/ 411983 w 449180"/>
                  <a:gd name="connsiteY5" fmla="*/ 191886 h 247997"/>
                  <a:gd name="connsiteX6" fmla="*/ 377107 w 449180"/>
                  <a:gd name="connsiteY6" fmla="*/ 186912 h 247997"/>
                  <a:gd name="connsiteX7" fmla="*/ 371128 w 449180"/>
                  <a:gd name="connsiteY7" fmla="*/ 179948 h 247997"/>
                  <a:gd name="connsiteX8" fmla="*/ 366146 w 449180"/>
                  <a:gd name="connsiteY8" fmla="*/ 157066 h 247997"/>
                  <a:gd name="connsiteX9" fmla="*/ 354189 w 449180"/>
                  <a:gd name="connsiteY9" fmla="*/ 148112 h 247997"/>
                  <a:gd name="connsiteX10" fmla="*/ 354189 w 449180"/>
                  <a:gd name="connsiteY10" fmla="*/ 127219 h 247997"/>
                  <a:gd name="connsiteX11" fmla="*/ 340239 w 449180"/>
                  <a:gd name="connsiteY11" fmla="*/ 106427 h 247997"/>
                  <a:gd name="connsiteX12" fmla="*/ 318317 w 449180"/>
                  <a:gd name="connsiteY12" fmla="*/ 103343 h 247997"/>
                  <a:gd name="connsiteX13" fmla="*/ 317321 w 449180"/>
                  <a:gd name="connsiteY13" fmla="*/ 88419 h 247997"/>
                  <a:gd name="connsiteX14" fmla="*/ 325292 w 449180"/>
                  <a:gd name="connsiteY14" fmla="*/ 76580 h 247997"/>
                  <a:gd name="connsiteX15" fmla="*/ 333264 w 449180"/>
                  <a:gd name="connsiteY15" fmla="*/ 55589 h 247997"/>
                  <a:gd name="connsiteX16" fmla="*/ 364154 w 449180"/>
                  <a:gd name="connsiteY16" fmla="*/ 33701 h 247997"/>
                  <a:gd name="connsiteX17" fmla="*/ 342232 w 449180"/>
                  <a:gd name="connsiteY17" fmla="*/ 27732 h 247997"/>
                  <a:gd name="connsiteX18" fmla="*/ 337250 w 449180"/>
                  <a:gd name="connsiteY18" fmla="*/ 870 h 247997"/>
                  <a:gd name="connsiteX19" fmla="*/ 330573 w 449180"/>
                  <a:gd name="connsiteY19" fmla="*/ 373 h 247997"/>
                  <a:gd name="connsiteX20" fmla="*/ 329975 w 449180"/>
                  <a:gd name="connsiteY20" fmla="*/ 373 h 247997"/>
                  <a:gd name="connsiteX21" fmla="*/ 318815 w 449180"/>
                  <a:gd name="connsiteY21" fmla="*/ 373 h 247997"/>
                  <a:gd name="connsiteX22" fmla="*/ 318317 w 449180"/>
                  <a:gd name="connsiteY22" fmla="*/ 373 h 247997"/>
                  <a:gd name="connsiteX23" fmla="*/ 316224 w 449180"/>
                  <a:gd name="connsiteY23" fmla="*/ 373 h 247997"/>
                  <a:gd name="connsiteX24" fmla="*/ 305363 w 449180"/>
                  <a:gd name="connsiteY24" fmla="*/ 11217 h 247997"/>
                  <a:gd name="connsiteX25" fmla="*/ 291114 w 449180"/>
                  <a:gd name="connsiteY25" fmla="*/ 14301 h 247997"/>
                  <a:gd name="connsiteX26" fmla="*/ 291114 w 449180"/>
                  <a:gd name="connsiteY26" fmla="*/ 23056 h 247997"/>
                  <a:gd name="connsiteX27" fmla="*/ 276168 w 449180"/>
                  <a:gd name="connsiteY27" fmla="*/ 30020 h 247997"/>
                  <a:gd name="connsiteX28" fmla="*/ 249861 w 449180"/>
                  <a:gd name="connsiteY28" fmla="*/ 29025 h 247997"/>
                  <a:gd name="connsiteX29" fmla="*/ 246773 w 449180"/>
                  <a:gd name="connsiteY29" fmla="*/ 29025 h 247997"/>
                  <a:gd name="connsiteX30" fmla="*/ 230032 w 449180"/>
                  <a:gd name="connsiteY30" fmla="*/ 28429 h 247997"/>
                  <a:gd name="connsiteX31" fmla="*/ 212495 w 449180"/>
                  <a:gd name="connsiteY31" fmla="*/ 28429 h 247997"/>
                  <a:gd name="connsiteX32" fmla="*/ 192566 w 449180"/>
                  <a:gd name="connsiteY32" fmla="*/ 27334 h 247997"/>
                  <a:gd name="connsiteX33" fmla="*/ 130488 w 449180"/>
                  <a:gd name="connsiteY33" fmla="*/ 25444 h 247997"/>
                  <a:gd name="connsiteX34" fmla="*/ 130488 w 449180"/>
                  <a:gd name="connsiteY34" fmla="*/ 24847 h 247997"/>
                  <a:gd name="connsiteX35" fmla="*/ 129691 w 449180"/>
                  <a:gd name="connsiteY35" fmla="*/ 24847 h 247997"/>
                  <a:gd name="connsiteX36" fmla="*/ 129691 w 449180"/>
                  <a:gd name="connsiteY36" fmla="*/ 25543 h 247997"/>
                  <a:gd name="connsiteX37" fmla="*/ 124908 w 449180"/>
                  <a:gd name="connsiteY37" fmla="*/ 25046 h 247997"/>
                  <a:gd name="connsiteX38" fmla="*/ 120026 w 449180"/>
                  <a:gd name="connsiteY38" fmla="*/ 25046 h 247997"/>
                  <a:gd name="connsiteX39" fmla="*/ 120026 w 449180"/>
                  <a:gd name="connsiteY39" fmla="*/ 25046 h 247997"/>
                  <a:gd name="connsiteX40" fmla="*/ 94516 w 449180"/>
                  <a:gd name="connsiteY40" fmla="*/ 24150 h 247997"/>
                  <a:gd name="connsiteX41" fmla="*/ 72495 w 449180"/>
                  <a:gd name="connsiteY41" fmla="*/ 24150 h 247997"/>
                  <a:gd name="connsiteX42" fmla="*/ 67214 w 449180"/>
                  <a:gd name="connsiteY42" fmla="*/ 24150 h 247997"/>
                  <a:gd name="connsiteX43" fmla="*/ 65022 w 449180"/>
                  <a:gd name="connsiteY43" fmla="*/ 24150 h 247997"/>
                  <a:gd name="connsiteX44" fmla="*/ 46787 w 449180"/>
                  <a:gd name="connsiteY44" fmla="*/ 24150 h 247997"/>
                  <a:gd name="connsiteX45" fmla="*/ 45491 w 449180"/>
                  <a:gd name="connsiteY45" fmla="*/ 24150 h 247997"/>
                  <a:gd name="connsiteX46" fmla="*/ 33733 w 449180"/>
                  <a:gd name="connsiteY46" fmla="*/ 23355 h 247997"/>
                  <a:gd name="connsiteX47" fmla="*/ 33733 w 449180"/>
                  <a:gd name="connsiteY47" fmla="*/ 23355 h 247997"/>
                  <a:gd name="connsiteX48" fmla="*/ 27157 w 449180"/>
                  <a:gd name="connsiteY48" fmla="*/ 29921 h 247997"/>
                  <a:gd name="connsiteX49" fmla="*/ 253 w 449180"/>
                  <a:gd name="connsiteY49" fmla="*/ 129408 h 247997"/>
                  <a:gd name="connsiteX50" fmla="*/ 1549 w 449180"/>
                  <a:gd name="connsiteY50" fmla="*/ 141645 h 247997"/>
                  <a:gd name="connsiteX51" fmla="*/ 24367 w 449180"/>
                  <a:gd name="connsiteY51" fmla="*/ 142441 h 247997"/>
                  <a:gd name="connsiteX52" fmla="*/ 31143 w 449180"/>
                  <a:gd name="connsiteY52" fmla="*/ 142441 h 247997"/>
                  <a:gd name="connsiteX53" fmla="*/ 56253 w 449180"/>
                  <a:gd name="connsiteY53" fmla="*/ 143337 h 247997"/>
                  <a:gd name="connsiteX54" fmla="*/ 61335 w 449180"/>
                  <a:gd name="connsiteY54" fmla="*/ 143337 h 247997"/>
                  <a:gd name="connsiteX55" fmla="*/ 73193 w 449180"/>
                  <a:gd name="connsiteY55" fmla="*/ 143933 h 247997"/>
                  <a:gd name="connsiteX56" fmla="*/ 75186 w 449180"/>
                  <a:gd name="connsiteY56" fmla="*/ 143933 h 247997"/>
                  <a:gd name="connsiteX57" fmla="*/ 81264 w 449180"/>
                  <a:gd name="connsiteY57" fmla="*/ 143933 h 247997"/>
                  <a:gd name="connsiteX58" fmla="*/ 81961 w 449180"/>
                  <a:gd name="connsiteY58" fmla="*/ 144928 h 247997"/>
                  <a:gd name="connsiteX59" fmla="*/ 83057 w 449180"/>
                  <a:gd name="connsiteY59" fmla="*/ 146520 h 247997"/>
                  <a:gd name="connsiteX60" fmla="*/ 91328 w 449180"/>
                  <a:gd name="connsiteY60" fmla="*/ 148908 h 247997"/>
                  <a:gd name="connsiteX61" fmla="*/ 94317 w 449180"/>
                  <a:gd name="connsiteY61" fmla="*/ 145824 h 247997"/>
                  <a:gd name="connsiteX62" fmla="*/ 95214 w 449180"/>
                  <a:gd name="connsiteY62" fmla="*/ 143933 h 247997"/>
                  <a:gd name="connsiteX63" fmla="*/ 108766 w 449180"/>
                  <a:gd name="connsiteY63" fmla="*/ 143933 h 247997"/>
                  <a:gd name="connsiteX64" fmla="*/ 122317 w 449180"/>
                  <a:gd name="connsiteY64" fmla="*/ 143933 h 247997"/>
                  <a:gd name="connsiteX65" fmla="*/ 122317 w 449180"/>
                  <a:gd name="connsiteY65" fmla="*/ 143933 h 247997"/>
                  <a:gd name="connsiteX66" fmla="*/ 166061 w 449180"/>
                  <a:gd name="connsiteY66" fmla="*/ 143933 h 247997"/>
                  <a:gd name="connsiteX67" fmla="*/ 189577 w 449180"/>
                  <a:gd name="connsiteY67" fmla="*/ 143933 h 247997"/>
                  <a:gd name="connsiteX68" fmla="*/ 209506 w 449180"/>
                  <a:gd name="connsiteY68" fmla="*/ 145625 h 247997"/>
                  <a:gd name="connsiteX69" fmla="*/ 239399 w 449180"/>
                  <a:gd name="connsiteY69" fmla="*/ 146421 h 247997"/>
                  <a:gd name="connsiteX70" fmla="*/ 240595 w 449180"/>
                  <a:gd name="connsiteY70" fmla="*/ 146421 h 247997"/>
                  <a:gd name="connsiteX71" fmla="*/ 265406 w 449180"/>
                  <a:gd name="connsiteY71" fmla="*/ 146421 h 247997"/>
                  <a:gd name="connsiteX72" fmla="*/ 265406 w 449180"/>
                  <a:gd name="connsiteY72" fmla="*/ 167213 h 247997"/>
                  <a:gd name="connsiteX73" fmla="*/ 271384 w 449180"/>
                  <a:gd name="connsiteY73" fmla="*/ 167213 h 247997"/>
                  <a:gd name="connsiteX74" fmla="*/ 278957 w 449180"/>
                  <a:gd name="connsiteY74" fmla="*/ 190493 h 247997"/>
                  <a:gd name="connsiteX75" fmla="*/ 281349 w 449180"/>
                  <a:gd name="connsiteY75" fmla="*/ 191190 h 247997"/>
                  <a:gd name="connsiteX76" fmla="*/ 283143 w 449180"/>
                  <a:gd name="connsiteY76" fmla="*/ 194473 h 247997"/>
                  <a:gd name="connsiteX77" fmla="*/ 283143 w 449180"/>
                  <a:gd name="connsiteY77" fmla="*/ 194473 h 247997"/>
                  <a:gd name="connsiteX78" fmla="*/ 286730 w 449180"/>
                  <a:gd name="connsiteY78" fmla="*/ 200044 h 247997"/>
                  <a:gd name="connsiteX79" fmla="*/ 286730 w 449180"/>
                  <a:gd name="connsiteY79" fmla="*/ 200044 h 247997"/>
                  <a:gd name="connsiteX80" fmla="*/ 288623 w 449180"/>
                  <a:gd name="connsiteY80" fmla="*/ 202233 h 247997"/>
                  <a:gd name="connsiteX81" fmla="*/ 290815 w 449180"/>
                  <a:gd name="connsiteY81" fmla="*/ 203725 h 247997"/>
                  <a:gd name="connsiteX82" fmla="*/ 296694 w 449180"/>
                  <a:gd name="connsiteY82" fmla="*/ 205317 h 247997"/>
                  <a:gd name="connsiteX83" fmla="*/ 296694 w 449180"/>
                  <a:gd name="connsiteY83" fmla="*/ 225215 h 247997"/>
                  <a:gd name="connsiteX84" fmla="*/ 297691 w 449180"/>
                  <a:gd name="connsiteY84" fmla="*/ 233074 h 247997"/>
                  <a:gd name="connsiteX85" fmla="*/ 324595 w 449180"/>
                  <a:gd name="connsiteY85" fmla="*/ 219146 h 247997"/>
                  <a:gd name="connsiteX86" fmla="*/ 342530 w 449180"/>
                  <a:gd name="connsiteY86" fmla="*/ 209197 h 247997"/>
                  <a:gd name="connsiteX87" fmla="*/ 319612 w 449180"/>
                  <a:gd name="connsiteY87" fmla="*/ 247997 h 247997"/>
                  <a:gd name="connsiteX88" fmla="*/ 379399 w 449180"/>
                  <a:gd name="connsiteY88" fmla="*/ 223125 h 247997"/>
                  <a:gd name="connsiteX89" fmla="*/ 405306 w 449180"/>
                  <a:gd name="connsiteY89" fmla="*/ 213177 h 247997"/>
                  <a:gd name="connsiteX90" fmla="*/ 438189 w 449180"/>
                  <a:gd name="connsiteY90" fmla="*/ 203228 h 247997"/>
                  <a:gd name="connsiteX91" fmla="*/ 437192 w 449180"/>
                  <a:gd name="connsiteY91" fmla="*/ 225215 h 247997"/>
                  <a:gd name="connsiteX92" fmla="*/ 441876 w 449180"/>
                  <a:gd name="connsiteY92" fmla="*/ 158061 h 247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49180" h="247997">
                    <a:moveTo>
                      <a:pt x="441876" y="158061"/>
                    </a:moveTo>
                    <a:cubicBezTo>
                      <a:pt x="443022" y="146361"/>
                      <a:pt x="434452" y="135945"/>
                      <a:pt x="422724" y="134800"/>
                    </a:cubicBezTo>
                    <a:cubicBezTo>
                      <a:pt x="417901" y="134333"/>
                      <a:pt x="413058" y="135517"/>
                      <a:pt x="408993" y="138163"/>
                    </a:cubicBezTo>
                    <a:cubicBezTo>
                      <a:pt x="411683" y="140949"/>
                      <a:pt x="416367" y="147217"/>
                      <a:pt x="420950" y="144132"/>
                    </a:cubicBezTo>
                    <a:cubicBezTo>
                      <a:pt x="437292" y="146222"/>
                      <a:pt x="423143" y="169004"/>
                      <a:pt x="438887" y="173979"/>
                    </a:cubicBezTo>
                    <a:cubicBezTo>
                      <a:pt x="442573" y="188802"/>
                      <a:pt x="421847" y="189897"/>
                      <a:pt x="411983" y="191886"/>
                    </a:cubicBezTo>
                    <a:cubicBezTo>
                      <a:pt x="403114" y="198851"/>
                      <a:pt x="386174" y="191886"/>
                      <a:pt x="377107" y="186912"/>
                    </a:cubicBezTo>
                    <a:lnTo>
                      <a:pt x="371128" y="179948"/>
                    </a:lnTo>
                    <a:cubicBezTo>
                      <a:pt x="374277" y="172019"/>
                      <a:pt x="372314" y="162975"/>
                      <a:pt x="366146" y="157066"/>
                    </a:cubicBezTo>
                    <a:cubicBezTo>
                      <a:pt x="360367" y="162339"/>
                      <a:pt x="354189" y="153882"/>
                      <a:pt x="354189" y="148112"/>
                    </a:cubicBezTo>
                    <a:cubicBezTo>
                      <a:pt x="359888" y="142312"/>
                      <a:pt x="359888" y="133020"/>
                      <a:pt x="354189" y="127219"/>
                    </a:cubicBezTo>
                    <a:cubicBezTo>
                      <a:pt x="350901" y="120952"/>
                      <a:pt x="347314" y="110108"/>
                      <a:pt x="340239" y="106427"/>
                    </a:cubicBezTo>
                    <a:cubicBezTo>
                      <a:pt x="329079" y="105133"/>
                      <a:pt x="328680" y="89713"/>
                      <a:pt x="318317" y="103343"/>
                    </a:cubicBezTo>
                    <a:cubicBezTo>
                      <a:pt x="314152" y="99383"/>
                      <a:pt x="313714" y="92896"/>
                      <a:pt x="317321" y="88419"/>
                    </a:cubicBezTo>
                    <a:cubicBezTo>
                      <a:pt x="316324" y="80858"/>
                      <a:pt x="314530" y="74790"/>
                      <a:pt x="325292" y="76580"/>
                    </a:cubicBezTo>
                    <a:cubicBezTo>
                      <a:pt x="326288" y="66632"/>
                      <a:pt x="337847" y="68124"/>
                      <a:pt x="333264" y="55589"/>
                    </a:cubicBezTo>
                    <a:cubicBezTo>
                      <a:pt x="344125" y="50813"/>
                      <a:pt x="369036" y="51510"/>
                      <a:pt x="364154" y="33701"/>
                    </a:cubicBezTo>
                    <a:cubicBezTo>
                      <a:pt x="353192" y="28429"/>
                      <a:pt x="354189" y="46535"/>
                      <a:pt x="342232" y="27732"/>
                    </a:cubicBezTo>
                    <a:cubicBezTo>
                      <a:pt x="338934" y="19156"/>
                      <a:pt x="337250" y="10053"/>
                      <a:pt x="337250" y="870"/>
                    </a:cubicBezTo>
                    <a:cubicBezTo>
                      <a:pt x="335018" y="1189"/>
                      <a:pt x="332736" y="1020"/>
                      <a:pt x="330573" y="373"/>
                    </a:cubicBezTo>
                    <a:lnTo>
                      <a:pt x="329975" y="373"/>
                    </a:lnTo>
                    <a:cubicBezTo>
                      <a:pt x="326269" y="-124"/>
                      <a:pt x="322522" y="-124"/>
                      <a:pt x="318815" y="373"/>
                    </a:cubicBezTo>
                    <a:lnTo>
                      <a:pt x="318317" y="373"/>
                    </a:lnTo>
                    <a:lnTo>
                      <a:pt x="316224" y="373"/>
                    </a:lnTo>
                    <a:cubicBezTo>
                      <a:pt x="310794" y="1567"/>
                      <a:pt x="306559" y="5795"/>
                      <a:pt x="305363" y="11217"/>
                    </a:cubicBezTo>
                    <a:cubicBezTo>
                      <a:pt x="298089" y="8730"/>
                      <a:pt x="292808" y="9725"/>
                      <a:pt x="291114" y="14301"/>
                    </a:cubicBezTo>
                    <a:cubicBezTo>
                      <a:pt x="290228" y="17157"/>
                      <a:pt x="290228" y="20201"/>
                      <a:pt x="291114" y="23056"/>
                    </a:cubicBezTo>
                    <a:cubicBezTo>
                      <a:pt x="285085" y="21275"/>
                      <a:pt x="278679" y="24270"/>
                      <a:pt x="276168" y="30020"/>
                    </a:cubicBezTo>
                    <a:cubicBezTo>
                      <a:pt x="268097" y="30020"/>
                      <a:pt x="259128" y="29423"/>
                      <a:pt x="249861" y="29025"/>
                    </a:cubicBezTo>
                    <a:lnTo>
                      <a:pt x="246773" y="29025"/>
                    </a:lnTo>
                    <a:cubicBezTo>
                      <a:pt x="241192" y="29025"/>
                      <a:pt x="235513" y="29025"/>
                      <a:pt x="230032" y="28429"/>
                    </a:cubicBezTo>
                    <a:lnTo>
                      <a:pt x="212495" y="28429"/>
                    </a:lnTo>
                    <a:cubicBezTo>
                      <a:pt x="205919" y="28429"/>
                      <a:pt x="199442" y="27832"/>
                      <a:pt x="192566" y="27334"/>
                    </a:cubicBezTo>
                    <a:cubicBezTo>
                      <a:pt x="172637" y="26538"/>
                      <a:pt x="150217" y="25344"/>
                      <a:pt x="130488" y="25444"/>
                    </a:cubicBezTo>
                    <a:lnTo>
                      <a:pt x="130488" y="24847"/>
                    </a:lnTo>
                    <a:lnTo>
                      <a:pt x="129691" y="24847"/>
                    </a:lnTo>
                    <a:cubicBezTo>
                      <a:pt x="129721" y="25076"/>
                      <a:pt x="129721" y="25315"/>
                      <a:pt x="129691" y="25543"/>
                    </a:cubicBezTo>
                    <a:lnTo>
                      <a:pt x="124908" y="25046"/>
                    </a:lnTo>
                    <a:cubicBezTo>
                      <a:pt x="123313" y="25046"/>
                      <a:pt x="121719" y="25046"/>
                      <a:pt x="120026" y="25046"/>
                    </a:cubicBezTo>
                    <a:lnTo>
                      <a:pt x="120026" y="25046"/>
                    </a:lnTo>
                    <a:cubicBezTo>
                      <a:pt x="111555" y="25046"/>
                      <a:pt x="102986" y="24449"/>
                      <a:pt x="94516" y="24150"/>
                    </a:cubicBezTo>
                    <a:lnTo>
                      <a:pt x="72495" y="24150"/>
                    </a:lnTo>
                    <a:cubicBezTo>
                      <a:pt x="70702" y="24150"/>
                      <a:pt x="68908" y="24150"/>
                      <a:pt x="67214" y="24150"/>
                    </a:cubicBezTo>
                    <a:lnTo>
                      <a:pt x="65022" y="24150"/>
                    </a:lnTo>
                    <a:lnTo>
                      <a:pt x="46787" y="24150"/>
                    </a:lnTo>
                    <a:lnTo>
                      <a:pt x="45491" y="24150"/>
                    </a:lnTo>
                    <a:cubicBezTo>
                      <a:pt x="41556" y="24608"/>
                      <a:pt x="37570" y="24340"/>
                      <a:pt x="33733" y="23355"/>
                    </a:cubicBezTo>
                    <a:lnTo>
                      <a:pt x="33733" y="23355"/>
                    </a:lnTo>
                    <a:cubicBezTo>
                      <a:pt x="30794" y="24648"/>
                      <a:pt x="28453" y="26986"/>
                      <a:pt x="27157" y="29921"/>
                    </a:cubicBezTo>
                    <a:cubicBezTo>
                      <a:pt x="24267" y="57280"/>
                      <a:pt x="2545" y="104039"/>
                      <a:pt x="253" y="129408"/>
                    </a:cubicBezTo>
                    <a:cubicBezTo>
                      <a:pt x="-335" y="133527"/>
                      <a:pt x="104" y="137735"/>
                      <a:pt x="1549" y="141645"/>
                    </a:cubicBezTo>
                    <a:cubicBezTo>
                      <a:pt x="8723" y="141645"/>
                      <a:pt x="16495" y="141645"/>
                      <a:pt x="24367" y="142441"/>
                    </a:cubicBezTo>
                    <a:cubicBezTo>
                      <a:pt x="26559" y="142441"/>
                      <a:pt x="28851" y="142441"/>
                      <a:pt x="31143" y="142441"/>
                    </a:cubicBezTo>
                    <a:lnTo>
                      <a:pt x="56253" y="143337"/>
                    </a:lnTo>
                    <a:lnTo>
                      <a:pt x="61335" y="143337"/>
                    </a:lnTo>
                    <a:cubicBezTo>
                      <a:pt x="61335" y="143337"/>
                      <a:pt x="67911" y="143337"/>
                      <a:pt x="73193" y="143933"/>
                    </a:cubicBezTo>
                    <a:lnTo>
                      <a:pt x="75186" y="143933"/>
                    </a:lnTo>
                    <a:lnTo>
                      <a:pt x="81264" y="143933"/>
                    </a:lnTo>
                    <a:cubicBezTo>
                      <a:pt x="81463" y="144292"/>
                      <a:pt x="81692" y="144620"/>
                      <a:pt x="81961" y="144928"/>
                    </a:cubicBezTo>
                    <a:cubicBezTo>
                      <a:pt x="82210" y="145535"/>
                      <a:pt x="82579" y="146072"/>
                      <a:pt x="83057" y="146520"/>
                    </a:cubicBezTo>
                    <a:cubicBezTo>
                      <a:pt x="84910" y="149156"/>
                      <a:pt x="88349" y="150151"/>
                      <a:pt x="91328" y="148908"/>
                    </a:cubicBezTo>
                    <a:cubicBezTo>
                      <a:pt x="91915" y="147555"/>
                      <a:pt x="92982" y="146450"/>
                      <a:pt x="94317" y="145824"/>
                    </a:cubicBezTo>
                    <a:cubicBezTo>
                      <a:pt x="94716" y="145247"/>
                      <a:pt x="95015" y="144610"/>
                      <a:pt x="95214" y="143933"/>
                    </a:cubicBezTo>
                    <a:lnTo>
                      <a:pt x="108766" y="143933"/>
                    </a:lnTo>
                    <a:lnTo>
                      <a:pt x="122317" y="143933"/>
                    </a:lnTo>
                    <a:lnTo>
                      <a:pt x="122317" y="143933"/>
                    </a:lnTo>
                    <a:cubicBezTo>
                      <a:pt x="136965" y="143436"/>
                      <a:pt x="151513" y="143933"/>
                      <a:pt x="166061" y="143933"/>
                    </a:cubicBezTo>
                    <a:lnTo>
                      <a:pt x="189577" y="143933"/>
                    </a:lnTo>
                    <a:cubicBezTo>
                      <a:pt x="196263" y="143297"/>
                      <a:pt x="203019" y="143864"/>
                      <a:pt x="209506" y="145625"/>
                    </a:cubicBezTo>
                    <a:cubicBezTo>
                      <a:pt x="219470" y="146122"/>
                      <a:pt x="229435" y="146421"/>
                      <a:pt x="239399" y="146421"/>
                    </a:cubicBezTo>
                    <a:cubicBezTo>
                      <a:pt x="239399" y="146421"/>
                      <a:pt x="240196" y="146421"/>
                      <a:pt x="240595" y="146421"/>
                    </a:cubicBezTo>
                    <a:cubicBezTo>
                      <a:pt x="249264" y="146421"/>
                      <a:pt x="257933" y="145724"/>
                      <a:pt x="265406" y="146421"/>
                    </a:cubicBezTo>
                    <a:lnTo>
                      <a:pt x="265406" y="167213"/>
                    </a:lnTo>
                    <a:lnTo>
                      <a:pt x="271384" y="167213"/>
                    </a:lnTo>
                    <a:cubicBezTo>
                      <a:pt x="271384" y="175869"/>
                      <a:pt x="269790" y="187111"/>
                      <a:pt x="278957" y="190493"/>
                    </a:cubicBezTo>
                    <a:lnTo>
                      <a:pt x="281349" y="191190"/>
                    </a:lnTo>
                    <a:cubicBezTo>
                      <a:pt x="281947" y="192185"/>
                      <a:pt x="282545" y="193279"/>
                      <a:pt x="283143" y="194473"/>
                    </a:cubicBezTo>
                    <a:cubicBezTo>
                      <a:pt x="283143" y="194473"/>
                      <a:pt x="283143" y="194473"/>
                      <a:pt x="283143" y="194473"/>
                    </a:cubicBezTo>
                    <a:cubicBezTo>
                      <a:pt x="284617" y="196134"/>
                      <a:pt x="285833" y="198015"/>
                      <a:pt x="286730" y="200044"/>
                    </a:cubicBezTo>
                    <a:lnTo>
                      <a:pt x="286730" y="200044"/>
                    </a:lnTo>
                    <a:cubicBezTo>
                      <a:pt x="287248" y="200860"/>
                      <a:pt x="287885" y="201596"/>
                      <a:pt x="288623" y="202233"/>
                    </a:cubicBezTo>
                    <a:cubicBezTo>
                      <a:pt x="289261" y="202850"/>
                      <a:pt x="290008" y="203357"/>
                      <a:pt x="290815" y="203725"/>
                    </a:cubicBezTo>
                    <a:cubicBezTo>
                      <a:pt x="292589" y="204790"/>
                      <a:pt x="294622" y="205337"/>
                      <a:pt x="296694" y="205317"/>
                    </a:cubicBezTo>
                    <a:cubicBezTo>
                      <a:pt x="296047" y="211933"/>
                      <a:pt x="296047" y="218599"/>
                      <a:pt x="296694" y="225215"/>
                    </a:cubicBezTo>
                    <a:cubicBezTo>
                      <a:pt x="296694" y="228398"/>
                      <a:pt x="297392" y="231084"/>
                      <a:pt x="297691" y="233074"/>
                    </a:cubicBezTo>
                    <a:cubicBezTo>
                      <a:pt x="311242" y="229592"/>
                      <a:pt x="316025" y="237153"/>
                      <a:pt x="324595" y="219146"/>
                    </a:cubicBezTo>
                    <a:cubicBezTo>
                      <a:pt x="332068" y="219912"/>
                      <a:pt x="339232" y="215932"/>
                      <a:pt x="342530" y="209197"/>
                    </a:cubicBezTo>
                    <a:cubicBezTo>
                      <a:pt x="373719" y="225911"/>
                      <a:pt x="318217" y="232676"/>
                      <a:pt x="319612" y="247997"/>
                    </a:cubicBezTo>
                    <a:cubicBezTo>
                      <a:pt x="341534" y="245510"/>
                      <a:pt x="356182" y="221832"/>
                      <a:pt x="379399" y="223125"/>
                    </a:cubicBezTo>
                    <a:cubicBezTo>
                      <a:pt x="383584" y="214868"/>
                      <a:pt x="396836" y="207207"/>
                      <a:pt x="405306" y="213177"/>
                    </a:cubicBezTo>
                    <a:cubicBezTo>
                      <a:pt x="415888" y="208730"/>
                      <a:pt x="426909" y="205387"/>
                      <a:pt x="438189" y="203228"/>
                    </a:cubicBezTo>
                    <a:cubicBezTo>
                      <a:pt x="437262" y="210520"/>
                      <a:pt x="436923" y="217872"/>
                      <a:pt x="437192" y="225215"/>
                    </a:cubicBezTo>
                    <a:cubicBezTo>
                      <a:pt x="458217" y="219245"/>
                      <a:pt x="446061" y="173780"/>
                      <a:pt x="441876" y="15806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747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  <p:sp>
            <p:nvSpPr>
              <p:cNvPr id="1732" name="Freeform: Shape 1731">
                <a:extLst>
                  <a:ext uri="{FF2B5EF4-FFF2-40B4-BE49-F238E27FC236}">
                    <a16:creationId xmlns:a16="http://schemas.microsoft.com/office/drawing/2014/main" id="{6C9CA5EC-C747-46CA-A0EC-AD6BA677562C}"/>
                  </a:ext>
                </a:extLst>
              </p:cNvPr>
              <p:cNvSpPr/>
              <p:nvPr/>
            </p:nvSpPr>
            <p:spPr>
              <a:xfrm>
                <a:off x="4563505" y="1683860"/>
                <a:ext cx="128827" cy="121374"/>
              </a:xfrm>
              <a:custGeom>
                <a:avLst/>
                <a:gdLst>
                  <a:gd name="connsiteX0" fmla="*/ 5008 w 128827"/>
                  <a:gd name="connsiteY0" fmla="*/ 92523 h 121374"/>
                  <a:gd name="connsiteX1" fmla="*/ 22944 w 128827"/>
                  <a:gd name="connsiteY1" fmla="*/ 82574 h 121374"/>
                  <a:gd name="connsiteX2" fmla="*/ 26 w 128827"/>
                  <a:gd name="connsiteY2" fmla="*/ 121375 h 121374"/>
                  <a:gd name="connsiteX3" fmla="*/ 59812 w 128827"/>
                  <a:gd name="connsiteY3" fmla="*/ 96503 h 121374"/>
                  <a:gd name="connsiteX4" fmla="*/ 85720 w 128827"/>
                  <a:gd name="connsiteY4" fmla="*/ 86554 h 121374"/>
                  <a:gd name="connsiteX5" fmla="*/ 118603 w 128827"/>
                  <a:gd name="connsiteY5" fmla="*/ 76605 h 121374"/>
                  <a:gd name="connsiteX6" fmla="*/ 117606 w 128827"/>
                  <a:gd name="connsiteY6" fmla="*/ 98592 h 121374"/>
                  <a:gd name="connsiteX7" fmla="*/ 121592 w 128827"/>
                  <a:gd name="connsiteY7" fmla="*/ 30841 h 121374"/>
                  <a:gd name="connsiteX8" fmla="*/ 102440 w 128827"/>
                  <a:gd name="connsiteY8" fmla="*/ 7581 h 121374"/>
                  <a:gd name="connsiteX9" fmla="*/ 88709 w 128827"/>
                  <a:gd name="connsiteY9" fmla="*/ 10944 h 121374"/>
                  <a:gd name="connsiteX10" fmla="*/ 100666 w 128827"/>
                  <a:gd name="connsiteY10" fmla="*/ 16913 h 121374"/>
                  <a:gd name="connsiteX11" fmla="*/ 118603 w 128827"/>
                  <a:gd name="connsiteY11" fmla="*/ 46759 h 121374"/>
                  <a:gd name="connsiteX12" fmla="*/ 91699 w 128827"/>
                  <a:gd name="connsiteY12" fmla="*/ 64667 h 121374"/>
                  <a:gd name="connsiteX13" fmla="*/ 56823 w 128827"/>
                  <a:gd name="connsiteY13" fmla="*/ 59692 h 121374"/>
                  <a:gd name="connsiteX14" fmla="*/ 50844 w 128827"/>
                  <a:gd name="connsiteY14" fmla="*/ 52728 h 121374"/>
                  <a:gd name="connsiteX15" fmla="*/ 45862 w 128827"/>
                  <a:gd name="connsiteY15" fmla="*/ 29846 h 121374"/>
                  <a:gd name="connsiteX16" fmla="*/ 33905 w 128827"/>
                  <a:gd name="connsiteY16" fmla="*/ 20892 h 121374"/>
                  <a:gd name="connsiteX17" fmla="*/ 33905 w 128827"/>
                  <a:gd name="connsiteY17" fmla="*/ 0 h 121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8827" h="121374">
                    <a:moveTo>
                      <a:pt x="5008" y="92523"/>
                    </a:moveTo>
                    <a:cubicBezTo>
                      <a:pt x="12481" y="93289"/>
                      <a:pt x="19646" y="89310"/>
                      <a:pt x="22944" y="82574"/>
                    </a:cubicBezTo>
                    <a:cubicBezTo>
                      <a:pt x="54133" y="99288"/>
                      <a:pt x="-1369" y="106053"/>
                      <a:pt x="26" y="121375"/>
                    </a:cubicBezTo>
                    <a:cubicBezTo>
                      <a:pt x="21948" y="118887"/>
                      <a:pt x="36595" y="95209"/>
                      <a:pt x="59812" y="96503"/>
                    </a:cubicBezTo>
                    <a:cubicBezTo>
                      <a:pt x="63997" y="88245"/>
                      <a:pt x="77250" y="80585"/>
                      <a:pt x="85720" y="86554"/>
                    </a:cubicBezTo>
                    <a:cubicBezTo>
                      <a:pt x="96302" y="82107"/>
                      <a:pt x="107323" y="78764"/>
                      <a:pt x="118603" y="76605"/>
                    </a:cubicBezTo>
                    <a:cubicBezTo>
                      <a:pt x="117676" y="83898"/>
                      <a:pt x="117337" y="91250"/>
                      <a:pt x="117606" y="98592"/>
                    </a:cubicBezTo>
                    <a:cubicBezTo>
                      <a:pt x="137535" y="92523"/>
                      <a:pt x="125677" y="47058"/>
                      <a:pt x="121592" y="30841"/>
                    </a:cubicBezTo>
                    <a:cubicBezTo>
                      <a:pt x="122738" y="19141"/>
                      <a:pt x="114168" y="8725"/>
                      <a:pt x="102440" y="7581"/>
                    </a:cubicBezTo>
                    <a:cubicBezTo>
                      <a:pt x="97617" y="7113"/>
                      <a:pt x="92774" y="8297"/>
                      <a:pt x="88709" y="10944"/>
                    </a:cubicBezTo>
                    <a:cubicBezTo>
                      <a:pt x="91399" y="13729"/>
                      <a:pt x="96083" y="19997"/>
                      <a:pt x="100666" y="16913"/>
                    </a:cubicBezTo>
                    <a:cubicBezTo>
                      <a:pt x="117008" y="19002"/>
                      <a:pt x="102859" y="41785"/>
                      <a:pt x="118603" y="46759"/>
                    </a:cubicBezTo>
                    <a:cubicBezTo>
                      <a:pt x="122289" y="61583"/>
                      <a:pt x="101563" y="62677"/>
                      <a:pt x="91699" y="64667"/>
                    </a:cubicBezTo>
                    <a:cubicBezTo>
                      <a:pt x="82830" y="71631"/>
                      <a:pt x="65891" y="64667"/>
                      <a:pt x="56823" y="59692"/>
                    </a:cubicBezTo>
                    <a:lnTo>
                      <a:pt x="50844" y="52728"/>
                    </a:lnTo>
                    <a:cubicBezTo>
                      <a:pt x="53993" y="44799"/>
                      <a:pt x="52030" y="35756"/>
                      <a:pt x="45862" y="29846"/>
                    </a:cubicBezTo>
                    <a:cubicBezTo>
                      <a:pt x="40083" y="35119"/>
                      <a:pt x="33905" y="26663"/>
                      <a:pt x="33905" y="20892"/>
                    </a:cubicBezTo>
                    <a:cubicBezTo>
                      <a:pt x="39604" y="15092"/>
                      <a:pt x="39604" y="5800"/>
                      <a:pt x="33905" y="0"/>
                    </a:cubicBezTo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99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200"/>
              </a:p>
            </p:txBody>
          </p:sp>
        </p:grpSp>
        <p:sp>
          <p:nvSpPr>
            <p:cNvPr id="1725" name="Freeform: Shape 1724">
              <a:extLst>
                <a:ext uri="{FF2B5EF4-FFF2-40B4-BE49-F238E27FC236}">
                  <a16:creationId xmlns:a16="http://schemas.microsoft.com/office/drawing/2014/main" id="{D0E2D7A4-849D-4FB5-81EA-3EDD5329A56C}"/>
                </a:ext>
              </a:extLst>
            </p:cNvPr>
            <p:cNvSpPr/>
            <p:nvPr/>
          </p:nvSpPr>
          <p:spPr>
            <a:xfrm>
              <a:off x="4477737" y="1833028"/>
              <a:ext cx="13949" cy="15708"/>
            </a:xfrm>
            <a:custGeom>
              <a:avLst/>
              <a:gdLst>
                <a:gd name="connsiteX0" fmla="*/ 0 w 13949"/>
                <a:gd name="connsiteY0" fmla="*/ 12101 h 15708"/>
                <a:gd name="connsiteX1" fmla="*/ 10961 w 13949"/>
                <a:gd name="connsiteY1" fmla="*/ 163 h 15708"/>
                <a:gd name="connsiteX2" fmla="*/ 13950 w 13949"/>
                <a:gd name="connsiteY2" fmla="*/ 15086 h 15708"/>
                <a:gd name="connsiteX3" fmla="*/ 0 w 13949"/>
                <a:gd name="connsiteY3" fmla="*/ 12101 h 15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949" h="15708">
                  <a:moveTo>
                    <a:pt x="0" y="12101"/>
                  </a:moveTo>
                  <a:cubicBezTo>
                    <a:pt x="1992" y="7823"/>
                    <a:pt x="4583" y="-1330"/>
                    <a:pt x="10961" y="163"/>
                  </a:cubicBezTo>
                  <a:cubicBezTo>
                    <a:pt x="11140" y="5266"/>
                    <a:pt x="12147" y="10310"/>
                    <a:pt x="13950" y="15086"/>
                  </a:cubicBezTo>
                  <a:cubicBezTo>
                    <a:pt x="9665" y="16081"/>
                    <a:pt x="2889" y="16379"/>
                    <a:pt x="0" y="12101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26" name="Freeform: Shape 1725">
              <a:extLst>
                <a:ext uri="{FF2B5EF4-FFF2-40B4-BE49-F238E27FC236}">
                  <a16:creationId xmlns:a16="http://schemas.microsoft.com/office/drawing/2014/main" id="{198D604F-0968-413D-A23B-9A85A55B6F60}"/>
                </a:ext>
              </a:extLst>
            </p:cNvPr>
            <p:cNvSpPr/>
            <p:nvPr/>
          </p:nvSpPr>
          <p:spPr>
            <a:xfrm>
              <a:off x="4648228" y="1808219"/>
              <a:ext cx="39339" cy="24948"/>
            </a:xfrm>
            <a:custGeom>
              <a:avLst/>
              <a:gdLst>
                <a:gd name="connsiteX0" fmla="*/ 32882 w 39339"/>
                <a:gd name="connsiteY0" fmla="*/ 24872 h 24948"/>
                <a:gd name="connsiteX1" fmla="*/ 0 w 39339"/>
                <a:gd name="connsiteY1" fmla="*/ 12933 h 24948"/>
                <a:gd name="connsiteX2" fmla="*/ 28897 w 39339"/>
                <a:gd name="connsiteY2" fmla="*/ 0 h 24948"/>
                <a:gd name="connsiteX3" fmla="*/ 32882 w 39339"/>
                <a:gd name="connsiteY3" fmla="*/ 24872 h 24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339" h="24948">
                  <a:moveTo>
                    <a:pt x="32882" y="24872"/>
                  </a:moveTo>
                  <a:cubicBezTo>
                    <a:pt x="20726" y="24872"/>
                    <a:pt x="5082" y="26663"/>
                    <a:pt x="0" y="12933"/>
                  </a:cubicBezTo>
                  <a:cubicBezTo>
                    <a:pt x="11858" y="12933"/>
                    <a:pt x="28299" y="16316"/>
                    <a:pt x="28897" y="0"/>
                  </a:cubicBezTo>
                  <a:cubicBezTo>
                    <a:pt x="38064" y="2786"/>
                    <a:pt x="44940" y="22186"/>
                    <a:pt x="32882" y="24872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27" name="Freeform: Shape 1726">
              <a:extLst>
                <a:ext uri="{FF2B5EF4-FFF2-40B4-BE49-F238E27FC236}">
                  <a16:creationId xmlns:a16="http://schemas.microsoft.com/office/drawing/2014/main" id="{5AAEF16A-740E-4585-9FC1-1FC210E7E5E7}"/>
                </a:ext>
              </a:extLst>
            </p:cNvPr>
            <p:cNvSpPr/>
            <p:nvPr/>
          </p:nvSpPr>
          <p:spPr>
            <a:xfrm>
              <a:off x="4578476" y="1793977"/>
              <a:ext cx="47834" cy="37621"/>
            </a:xfrm>
            <a:custGeom>
              <a:avLst/>
              <a:gdLst>
                <a:gd name="connsiteX0" fmla="*/ 47830 w 47834"/>
                <a:gd name="connsiteY0" fmla="*/ 20709 h 37621"/>
                <a:gd name="connsiteX1" fmla="*/ 997 w 47834"/>
                <a:gd name="connsiteY1" fmla="*/ 37621 h 37621"/>
                <a:gd name="connsiteX2" fmla="*/ 1 w 47834"/>
                <a:gd name="connsiteY2" fmla="*/ 20709 h 37621"/>
                <a:gd name="connsiteX3" fmla="*/ 34876 w 47834"/>
                <a:gd name="connsiteY3" fmla="*/ 3895 h 37621"/>
                <a:gd name="connsiteX4" fmla="*/ 47830 w 47834"/>
                <a:gd name="connsiteY4" fmla="*/ 20709 h 3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834" h="37621">
                  <a:moveTo>
                    <a:pt x="47830" y="20709"/>
                  </a:moveTo>
                  <a:cubicBezTo>
                    <a:pt x="31090" y="21703"/>
                    <a:pt x="9567" y="19813"/>
                    <a:pt x="997" y="37621"/>
                  </a:cubicBezTo>
                  <a:cubicBezTo>
                    <a:pt x="320" y="32010"/>
                    <a:pt x="-19" y="26359"/>
                    <a:pt x="1" y="20709"/>
                  </a:cubicBezTo>
                  <a:cubicBezTo>
                    <a:pt x="13951" y="22698"/>
                    <a:pt x="21425" y="-11227"/>
                    <a:pt x="34876" y="3895"/>
                  </a:cubicBezTo>
                  <a:cubicBezTo>
                    <a:pt x="42350" y="8372"/>
                    <a:pt x="48029" y="9964"/>
                    <a:pt x="47830" y="20709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28" name="Freeform: Shape 1727">
              <a:extLst>
                <a:ext uri="{FF2B5EF4-FFF2-40B4-BE49-F238E27FC236}">
                  <a16:creationId xmlns:a16="http://schemas.microsoft.com/office/drawing/2014/main" id="{E74108D7-95B8-4BA4-9255-727919530078}"/>
                </a:ext>
              </a:extLst>
            </p:cNvPr>
            <p:cNvSpPr/>
            <p:nvPr/>
          </p:nvSpPr>
          <p:spPr>
            <a:xfrm>
              <a:off x="4816570" y="1378433"/>
              <a:ext cx="10039" cy="17907"/>
            </a:xfrm>
            <a:custGeom>
              <a:avLst/>
              <a:gdLst>
                <a:gd name="connsiteX0" fmla="*/ 8028 w 10039"/>
                <a:gd name="connsiteY0" fmla="*/ 0 h 17907"/>
                <a:gd name="connsiteX1" fmla="*/ 6035 w 10039"/>
                <a:gd name="connsiteY1" fmla="*/ 17908 h 17907"/>
                <a:gd name="connsiteX2" fmla="*/ 2049 w 10039"/>
                <a:gd name="connsiteY2" fmla="*/ 398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39" h="17907">
                  <a:moveTo>
                    <a:pt x="8028" y="0"/>
                  </a:moveTo>
                  <a:cubicBezTo>
                    <a:pt x="11316" y="5770"/>
                    <a:pt x="10520" y="13003"/>
                    <a:pt x="6035" y="17908"/>
                  </a:cubicBezTo>
                  <a:cubicBezTo>
                    <a:pt x="156" y="14525"/>
                    <a:pt x="-1936" y="9949"/>
                    <a:pt x="2049" y="398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29" name="Freeform: Shape 1728">
              <a:extLst>
                <a:ext uri="{FF2B5EF4-FFF2-40B4-BE49-F238E27FC236}">
                  <a16:creationId xmlns:a16="http://schemas.microsoft.com/office/drawing/2014/main" id="{E73ED936-796D-46CF-8033-BDC12A774E73}"/>
                </a:ext>
              </a:extLst>
            </p:cNvPr>
            <p:cNvSpPr/>
            <p:nvPr/>
          </p:nvSpPr>
          <p:spPr>
            <a:xfrm>
              <a:off x="4816570" y="1378433"/>
              <a:ext cx="10039" cy="17907"/>
            </a:xfrm>
            <a:custGeom>
              <a:avLst/>
              <a:gdLst>
                <a:gd name="connsiteX0" fmla="*/ 8028 w 10039"/>
                <a:gd name="connsiteY0" fmla="*/ 0 h 17907"/>
                <a:gd name="connsiteX1" fmla="*/ 6035 w 10039"/>
                <a:gd name="connsiteY1" fmla="*/ 17908 h 17907"/>
                <a:gd name="connsiteX2" fmla="*/ 2049 w 10039"/>
                <a:gd name="connsiteY2" fmla="*/ 398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39" h="17907">
                  <a:moveTo>
                    <a:pt x="8028" y="0"/>
                  </a:moveTo>
                  <a:cubicBezTo>
                    <a:pt x="11316" y="5770"/>
                    <a:pt x="10520" y="13003"/>
                    <a:pt x="6035" y="17908"/>
                  </a:cubicBezTo>
                  <a:cubicBezTo>
                    <a:pt x="156" y="14525"/>
                    <a:pt x="-1936" y="9949"/>
                    <a:pt x="2049" y="3980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  <p:sp>
          <p:nvSpPr>
            <p:cNvPr id="1730" name="Freeform: Shape 1729">
              <a:extLst>
                <a:ext uri="{FF2B5EF4-FFF2-40B4-BE49-F238E27FC236}">
                  <a16:creationId xmlns:a16="http://schemas.microsoft.com/office/drawing/2014/main" id="{8033F697-7A95-426F-92B1-49D162035170}"/>
                </a:ext>
              </a:extLst>
            </p:cNvPr>
            <p:cNvSpPr/>
            <p:nvPr/>
          </p:nvSpPr>
          <p:spPr>
            <a:xfrm>
              <a:off x="4816632" y="1378533"/>
              <a:ext cx="10224" cy="17907"/>
            </a:xfrm>
            <a:custGeom>
              <a:avLst/>
              <a:gdLst>
                <a:gd name="connsiteX0" fmla="*/ 2186 w 10224"/>
                <a:gd name="connsiteY0" fmla="*/ 3979 h 17907"/>
                <a:gd name="connsiteX1" fmla="*/ 8165 w 10224"/>
                <a:gd name="connsiteY1" fmla="*/ 0 h 17907"/>
                <a:gd name="connsiteX2" fmla="*/ 6172 w 10224"/>
                <a:gd name="connsiteY2" fmla="*/ 17908 h 17907"/>
                <a:gd name="connsiteX3" fmla="*/ 2186 w 10224"/>
                <a:gd name="connsiteY3" fmla="*/ 3979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4" h="17907">
                  <a:moveTo>
                    <a:pt x="2186" y="3979"/>
                  </a:moveTo>
                  <a:lnTo>
                    <a:pt x="8165" y="0"/>
                  </a:lnTo>
                  <a:cubicBezTo>
                    <a:pt x="11523" y="5760"/>
                    <a:pt x="10716" y="13033"/>
                    <a:pt x="6172" y="17908"/>
                  </a:cubicBezTo>
                  <a:cubicBezTo>
                    <a:pt x="93" y="14426"/>
                    <a:pt x="-1999" y="9949"/>
                    <a:pt x="2186" y="3979"/>
                  </a:cubicBezTo>
                  <a:close/>
                </a:path>
              </a:pathLst>
            </a:custGeom>
            <a:solidFill>
              <a:srgbClr val="ECE8E4"/>
            </a:solidFill>
            <a:ln w="996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200"/>
            </a:p>
          </p:txBody>
        </p:sp>
      </p:grpSp>
      <p:sp>
        <p:nvSpPr>
          <p:cNvPr id="2599" name="Title 5">
            <a:extLst>
              <a:ext uri="{FF2B5EF4-FFF2-40B4-BE49-F238E27FC236}">
                <a16:creationId xmlns:a16="http://schemas.microsoft.com/office/drawing/2014/main" id="{8F67FCE8-1D1A-4773-A7FD-60CB9D54633C}"/>
              </a:ext>
            </a:extLst>
          </p:cNvPr>
          <p:cNvSpPr txBox="1">
            <a:spLocks/>
          </p:cNvSpPr>
          <p:nvPr/>
        </p:nvSpPr>
        <p:spPr>
          <a:xfrm>
            <a:off x="431800" y="264845"/>
            <a:ext cx="8250089" cy="7344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4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000" b="1" i="0" kern="1200">
                <a:solidFill>
                  <a:schemeClr val="accent1"/>
                </a:solidFill>
                <a:latin typeface="Orsted Sans Office" panose="00000500000000000000" pitchFamily="2" charset="0"/>
                <a:ea typeface="+mj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en-US" sz="2800" b="1" dirty="0"/>
              <a:t>Our projects impact 40 states across the U.S.</a:t>
            </a:r>
            <a:r>
              <a:rPr lang="en-US" sz="2200" b="1" baseline="30000" dirty="0"/>
              <a:t>*</a:t>
            </a:r>
          </a:p>
        </p:txBody>
      </p:sp>
      <p:graphicFrame>
        <p:nvGraphicFramePr>
          <p:cNvPr id="2603" name="Object 2602" hidden="1">
            <a:extLst>
              <a:ext uri="{FF2B5EF4-FFF2-40B4-BE49-F238E27FC236}">
                <a16:creationId xmlns:a16="http://schemas.microsoft.com/office/drawing/2014/main" id="{67ABE5C5-44A2-4535-A85C-D3E82229CC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" y="200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2603" name="Object 2602" hidden="1">
                        <a:extLst>
                          <a:ext uri="{FF2B5EF4-FFF2-40B4-BE49-F238E27FC236}">
                            <a16:creationId xmlns:a16="http://schemas.microsoft.com/office/drawing/2014/main" id="{67ABE5C5-44A2-4535-A85C-D3E82229C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" y="200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46C5F73A-BF28-46FA-A43A-58214FE3CD30}"/>
              </a:ext>
            </a:extLst>
          </p:cNvPr>
          <p:cNvGrpSpPr/>
          <p:nvPr/>
        </p:nvGrpSpPr>
        <p:grpSpPr>
          <a:xfrm>
            <a:off x="493306" y="1527734"/>
            <a:ext cx="2606355" cy="709168"/>
            <a:chOff x="493306" y="1527734"/>
            <a:chExt cx="2606355" cy="709168"/>
          </a:xfrm>
        </p:grpSpPr>
        <p:pic>
          <p:nvPicPr>
            <p:cNvPr id="2604" name="Picture 2603">
              <a:extLst>
                <a:ext uri="{FF2B5EF4-FFF2-40B4-BE49-F238E27FC236}">
                  <a16:creationId xmlns:a16="http://schemas.microsoft.com/office/drawing/2014/main" id="{3ADE0FDB-9938-4635-9B7B-885926DAE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306" y="1527734"/>
              <a:ext cx="366380" cy="365760"/>
            </a:xfrm>
            <a:prstGeom prst="rect">
              <a:avLst/>
            </a:prstGeom>
          </p:spPr>
        </p:pic>
        <p:sp>
          <p:nvSpPr>
            <p:cNvPr id="2605" name="TextBox 2604">
              <a:extLst>
                <a:ext uri="{FF2B5EF4-FFF2-40B4-BE49-F238E27FC236}">
                  <a16:creationId xmlns:a16="http://schemas.microsoft.com/office/drawing/2014/main" id="{CFC06A32-D1F4-433F-BEEC-D069066A3CCE}"/>
                </a:ext>
              </a:extLst>
            </p:cNvPr>
            <p:cNvSpPr txBox="1"/>
            <p:nvPr/>
          </p:nvSpPr>
          <p:spPr>
            <a:xfrm>
              <a:off x="1006753" y="1527734"/>
              <a:ext cx="2092908" cy="7091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en-US" sz="1200" dirty="0">
                  <a:solidFill>
                    <a:schemeClr val="tx2"/>
                  </a:solidFill>
                </a:rPr>
                <a:t>Stimulating nearly</a:t>
              </a:r>
              <a:r>
                <a:rPr lang="en-US" sz="1200" b="1" dirty="0">
                  <a:solidFill>
                    <a:schemeClr val="tx2"/>
                  </a:solidFill>
                </a:rPr>
                <a:t> $2 billion </a:t>
              </a:r>
              <a:r>
                <a:rPr lang="en-US" sz="1200" dirty="0">
                  <a:solidFill>
                    <a:schemeClr val="tx2"/>
                  </a:solidFill>
                </a:rPr>
                <a:t>into the American economy through supply chain and infrastructure investments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606" name="Group 2605">
            <a:extLst>
              <a:ext uri="{FF2B5EF4-FFF2-40B4-BE49-F238E27FC236}">
                <a16:creationId xmlns:a16="http://schemas.microsoft.com/office/drawing/2014/main" id="{B7C63B56-F67A-478C-B3E2-A43F1A57DC41}"/>
              </a:ext>
            </a:extLst>
          </p:cNvPr>
          <p:cNvGrpSpPr>
            <a:grpSpLocks/>
          </p:cNvGrpSpPr>
          <p:nvPr/>
        </p:nvGrpSpPr>
        <p:grpSpPr>
          <a:xfrm>
            <a:off x="3322638" y="1589985"/>
            <a:ext cx="98148" cy="130780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607" name="Freeform: Shape 902">
              <a:extLst>
                <a:ext uri="{FF2B5EF4-FFF2-40B4-BE49-F238E27FC236}">
                  <a16:creationId xmlns:a16="http://schemas.microsoft.com/office/drawing/2014/main" id="{FAC8A210-671F-4533-902A-122E6EE0B969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08" name="Freeform: Shape 903">
              <a:extLst>
                <a:ext uri="{FF2B5EF4-FFF2-40B4-BE49-F238E27FC236}">
                  <a16:creationId xmlns:a16="http://schemas.microsoft.com/office/drawing/2014/main" id="{60F00149-CCEA-468E-8FEE-9508B4DA5299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09" name="Freeform: Shape 904">
              <a:extLst>
                <a:ext uri="{FF2B5EF4-FFF2-40B4-BE49-F238E27FC236}">
                  <a16:creationId xmlns:a16="http://schemas.microsoft.com/office/drawing/2014/main" id="{5E9D52A3-51B0-4780-8C1C-96FD19A51C70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10" name="Freeform: Shape 905">
              <a:extLst>
                <a:ext uri="{FF2B5EF4-FFF2-40B4-BE49-F238E27FC236}">
                  <a16:creationId xmlns:a16="http://schemas.microsoft.com/office/drawing/2014/main" id="{0DFD402F-68D4-4FD0-82A7-31130D06311D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11" name="Freeform: Shape 906">
              <a:extLst>
                <a:ext uri="{FF2B5EF4-FFF2-40B4-BE49-F238E27FC236}">
                  <a16:creationId xmlns:a16="http://schemas.microsoft.com/office/drawing/2014/main" id="{80D56DC6-15B0-4127-B615-3B2F7B4BCB55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12" name="Freeform: Shape 907">
              <a:extLst>
                <a:ext uri="{FF2B5EF4-FFF2-40B4-BE49-F238E27FC236}">
                  <a16:creationId xmlns:a16="http://schemas.microsoft.com/office/drawing/2014/main" id="{1FB9C3AF-A37A-4BC6-95B1-7068FC6FB0C7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613" name="Group 2612">
            <a:extLst>
              <a:ext uri="{FF2B5EF4-FFF2-40B4-BE49-F238E27FC236}">
                <a16:creationId xmlns:a16="http://schemas.microsoft.com/office/drawing/2014/main" id="{7233A00D-B6E9-47B3-99CA-D80D90B165D4}"/>
              </a:ext>
            </a:extLst>
          </p:cNvPr>
          <p:cNvGrpSpPr>
            <a:grpSpLocks/>
          </p:cNvGrpSpPr>
          <p:nvPr/>
        </p:nvGrpSpPr>
        <p:grpSpPr>
          <a:xfrm>
            <a:off x="7335419" y="2234952"/>
            <a:ext cx="104233" cy="138889"/>
            <a:chOff x="2265548" y="3068441"/>
            <a:chExt cx="71521" cy="95300"/>
          </a:xfrm>
          <a:solidFill>
            <a:srgbClr val="4099DA"/>
          </a:solidFill>
        </p:grpSpPr>
        <p:sp>
          <p:nvSpPr>
            <p:cNvPr id="2614" name="Freeform: Shape 924">
              <a:extLst>
                <a:ext uri="{FF2B5EF4-FFF2-40B4-BE49-F238E27FC236}">
                  <a16:creationId xmlns:a16="http://schemas.microsoft.com/office/drawing/2014/main" id="{D8AE6978-2A1C-4C60-93E0-7873E5A85BD2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15" name="Freeform: Shape 925">
              <a:extLst>
                <a:ext uri="{FF2B5EF4-FFF2-40B4-BE49-F238E27FC236}">
                  <a16:creationId xmlns:a16="http://schemas.microsoft.com/office/drawing/2014/main" id="{976F8ED5-BF6D-4AED-A5F6-89EE1EC69C59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16" name="Freeform: Shape 926">
              <a:extLst>
                <a:ext uri="{FF2B5EF4-FFF2-40B4-BE49-F238E27FC236}">
                  <a16:creationId xmlns:a16="http://schemas.microsoft.com/office/drawing/2014/main" id="{2B5E6995-C69E-4121-AC7E-EDA80EAFAC22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17" name="Freeform: Shape 927">
              <a:extLst>
                <a:ext uri="{FF2B5EF4-FFF2-40B4-BE49-F238E27FC236}">
                  <a16:creationId xmlns:a16="http://schemas.microsoft.com/office/drawing/2014/main" id="{0A03AB53-40A9-436E-BD43-0A9F48E869E1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18" name="Freeform: Shape 928">
              <a:extLst>
                <a:ext uri="{FF2B5EF4-FFF2-40B4-BE49-F238E27FC236}">
                  <a16:creationId xmlns:a16="http://schemas.microsoft.com/office/drawing/2014/main" id="{9E9B00CD-50EB-422E-B7A7-BAD4B3AFA08C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19" name="Freeform: Shape 929">
              <a:extLst>
                <a:ext uri="{FF2B5EF4-FFF2-40B4-BE49-F238E27FC236}">
                  <a16:creationId xmlns:a16="http://schemas.microsoft.com/office/drawing/2014/main" id="{539AA1C5-9261-4B26-9410-25CE9DD26D21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620" name="Group 2619">
            <a:extLst>
              <a:ext uri="{FF2B5EF4-FFF2-40B4-BE49-F238E27FC236}">
                <a16:creationId xmlns:a16="http://schemas.microsoft.com/office/drawing/2014/main" id="{A22851F0-46E7-4F40-9930-8498C414DCBC}"/>
              </a:ext>
            </a:extLst>
          </p:cNvPr>
          <p:cNvGrpSpPr>
            <a:grpSpLocks/>
          </p:cNvGrpSpPr>
          <p:nvPr/>
        </p:nvGrpSpPr>
        <p:grpSpPr>
          <a:xfrm>
            <a:off x="6914669" y="2643052"/>
            <a:ext cx="104233" cy="138889"/>
            <a:chOff x="2265548" y="3068441"/>
            <a:chExt cx="71521" cy="95300"/>
          </a:xfrm>
          <a:solidFill>
            <a:srgbClr val="644C76"/>
          </a:solidFill>
        </p:grpSpPr>
        <p:sp>
          <p:nvSpPr>
            <p:cNvPr id="2621" name="Freeform: Shape 886">
              <a:extLst>
                <a:ext uri="{FF2B5EF4-FFF2-40B4-BE49-F238E27FC236}">
                  <a16:creationId xmlns:a16="http://schemas.microsoft.com/office/drawing/2014/main" id="{41E6A510-9A09-49D0-9678-07FE9A4A637D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2" name="Freeform: Shape 887">
              <a:extLst>
                <a:ext uri="{FF2B5EF4-FFF2-40B4-BE49-F238E27FC236}">
                  <a16:creationId xmlns:a16="http://schemas.microsoft.com/office/drawing/2014/main" id="{9C0F770A-F3E8-4B51-AE85-54740868B90F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3" name="Freeform: Shape 888">
              <a:extLst>
                <a:ext uri="{FF2B5EF4-FFF2-40B4-BE49-F238E27FC236}">
                  <a16:creationId xmlns:a16="http://schemas.microsoft.com/office/drawing/2014/main" id="{D70AB85E-AC07-4107-BECD-23D1FA8E9770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4" name="Freeform: Shape 889">
              <a:extLst>
                <a:ext uri="{FF2B5EF4-FFF2-40B4-BE49-F238E27FC236}">
                  <a16:creationId xmlns:a16="http://schemas.microsoft.com/office/drawing/2014/main" id="{5EB5D2EF-6EEE-4205-853E-EFE801F470D3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5" name="Freeform: Shape 890">
              <a:extLst>
                <a:ext uri="{FF2B5EF4-FFF2-40B4-BE49-F238E27FC236}">
                  <a16:creationId xmlns:a16="http://schemas.microsoft.com/office/drawing/2014/main" id="{453A4151-BCFE-4162-8976-BB299D31DEA8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26" name="Freeform: Shape 891">
              <a:extLst>
                <a:ext uri="{FF2B5EF4-FFF2-40B4-BE49-F238E27FC236}">
                  <a16:creationId xmlns:a16="http://schemas.microsoft.com/office/drawing/2014/main" id="{F6EDE6C0-5C37-4AF0-B8B0-2564CC4795F6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627" name="Group 2626">
            <a:extLst>
              <a:ext uri="{FF2B5EF4-FFF2-40B4-BE49-F238E27FC236}">
                <a16:creationId xmlns:a16="http://schemas.microsoft.com/office/drawing/2014/main" id="{AB838627-ED38-405E-AB5A-E30B99B1E34E}"/>
              </a:ext>
            </a:extLst>
          </p:cNvPr>
          <p:cNvGrpSpPr>
            <a:grpSpLocks/>
          </p:cNvGrpSpPr>
          <p:nvPr/>
        </p:nvGrpSpPr>
        <p:grpSpPr>
          <a:xfrm>
            <a:off x="7450603" y="2237405"/>
            <a:ext cx="104233" cy="138889"/>
            <a:chOff x="2265548" y="3068441"/>
            <a:chExt cx="71521" cy="95300"/>
          </a:xfrm>
          <a:solidFill>
            <a:srgbClr val="644C76"/>
          </a:solidFill>
        </p:grpSpPr>
        <p:sp>
          <p:nvSpPr>
            <p:cNvPr id="2628" name="Freeform: Shape 909">
              <a:extLst>
                <a:ext uri="{FF2B5EF4-FFF2-40B4-BE49-F238E27FC236}">
                  <a16:creationId xmlns:a16="http://schemas.microsoft.com/office/drawing/2014/main" id="{51E54F20-C59D-4E92-BA29-7B26A5BF0EF5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29" name="Freeform: Shape 910">
              <a:extLst>
                <a:ext uri="{FF2B5EF4-FFF2-40B4-BE49-F238E27FC236}">
                  <a16:creationId xmlns:a16="http://schemas.microsoft.com/office/drawing/2014/main" id="{9402A778-754F-44DF-88D2-225A561B05F7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30" name="Freeform: Shape 911">
              <a:extLst>
                <a:ext uri="{FF2B5EF4-FFF2-40B4-BE49-F238E27FC236}">
                  <a16:creationId xmlns:a16="http://schemas.microsoft.com/office/drawing/2014/main" id="{C213150F-9C29-45A9-A0C1-BC083CF56815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31" name="Freeform: Shape 912">
              <a:extLst>
                <a:ext uri="{FF2B5EF4-FFF2-40B4-BE49-F238E27FC236}">
                  <a16:creationId xmlns:a16="http://schemas.microsoft.com/office/drawing/2014/main" id="{35CEB857-F3E5-4743-BA86-BC2E0CC2E6C7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32" name="Freeform: Shape 913">
              <a:extLst>
                <a:ext uri="{FF2B5EF4-FFF2-40B4-BE49-F238E27FC236}">
                  <a16:creationId xmlns:a16="http://schemas.microsoft.com/office/drawing/2014/main" id="{C7FF226F-325E-4DF6-9B88-8D299057D29E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33" name="Freeform: Shape 914">
              <a:extLst>
                <a:ext uri="{FF2B5EF4-FFF2-40B4-BE49-F238E27FC236}">
                  <a16:creationId xmlns:a16="http://schemas.microsoft.com/office/drawing/2014/main" id="{235F282D-26AE-4BBB-AF4A-87883D01C082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634" name="Group 2633">
            <a:extLst>
              <a:ext uri="{FF2B5EF4-FFF2-40B4-BE49-F238E27FC236}">
                <a16:creationId xmlns:a16="http://schemas.microsoft.com/office/drawing/2014/main" id="{F2085CCF-747F-4ACD-8A9D-3D6E935E1753}"/>
              </a:ext>
            </a:extLst>
          </p:cNvPr>
          <p:cNvGrpSpPr>
            <a:grpSpLocks/>
          </p:cNvGrpSpPr>
          <p:nvPr/>
        </p:nvGrpSpPr>
        <p:grpSpPr>
          <a:xfrm>
            <a:off x="7397183" y="2328711"/>
            <a:ext cx="104233" cy="138889"/>
            <a:chOff x="2265548" y="3068441"/>
            <a:chExt cx="71521" cy="95300"/>
          </a:xfrm>
          <a:solidFill>
            <a:srgbClr val="644C76"/>
          </a:solidFill>
        </p:grpSpPr>
        <p:sp>
          <p:nvSpPr>
            <p:cNvPr id="2635" name="Freeform: Shape 938">
              <a:extLst>
                <a:ext uri="{FF2B5EF4-FFF2-40B4-BE49-F238E27FC236}">
                  <a16:creationId xmlns:a16="http://schemas.microsoft.com/office/drawing/2014/main" id="{C86C9955-E4D8-4922-82B0-D30BFF55A960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36" name="Freeform: Shape 939">
              <a:extLst>
                <a:ext uri="{FF2B5EF4-FFF2-40B4-BE49-F238E27FC236}">
                  <a16:creationId xmlns:a16="http://schemas.microsoft.com/office/drawing/2014/main" id="{65D25FA2-180F-4ABD-876E-3CC587D03B3D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37" name="Freeform: Shape 940">
              <a:extLst>
                <a:ext uri="{FF2B5EF4-FFF2-40B4-BE49-F238E27FC236}">
                  <a16:creationId xmlns:a16="http://schemas.microsoft.com/office/drawing/2014/main" id="{A78B6F0D-AB86-4FBA-AA94-3F6A5FBCA753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38" name="Freeform: Shape 941">
              <a:extLst>
                <a:ext uri="{FF2B5EF4-FFF2-40B4-BE49-F238E27FC236}">
                  <a16:creationId xmlns:a16="http://schemas.microsoft.com/office/drawing/2014/main" id="{C2E0CC1E-C668-4A6D-B807-7C7EADFD0141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39" name="Freeform: Shape 942">
              <a:extLst>
                <a:ext uri="{FF2B5EF4-FFF2-40B4-BE49-F238E27FC236}">
                  <a16:creationId xmlns:a16="http://schemas.microsoft.com/office/drawing/2014/main" id="{0CA4F782-1F9D-4BB7-81EC-DE61A42878FE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40" name="Freeform: Shape 943">
              <a:extLst>
                <a:ext uri="{FF2B5EF4-FFF2-40B4-BE49-F238E27FC236}">
                  <a16:creationId xmlns:a16="http://schemas.microsoft.com/office/drawing/2014/main" id="{3FAC1844-B4F0-4A5A-983C-98C56D9C274F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641" name="Group 2640">
            <a:extLst>
              <a:ext uri="{FF2B5EF4-FFF2-40B4-BE49-F238E27FC236}">
                <a16:creationId xmlns:a16="http://schemas.microsoft.com/office/drawing/2014/main" id="{B8D430BD-B8E3-4DF7-AFEC-030426BC9C26}"/>
              </a:ext>
            </a:extLst>
          </p:cNvPr>
          <p:cNvGrpSpPr>
            <a:grpSpLocks/>
          </p:cNvGrpSpPr>
          <p:nvPr/>
        </p:nvGrpSpPr>
        <p:grpSpPr>
          <a:xfrm>
            <a:off x="7270183" y="2328711"/>
            <a:ext cx="104233" cy="138889"/>
            <a:chOff x="2265548" y="3068441"/>
            <a:chExt cx="71521" cy="95300"/>
          </a:xfrm>
          <a:solidFill>
            <a:schemeClr val="accent2"/>
          </a:solidFill>
        </p:grpSpPr>
        <p:sp>
          <p:nvSpPr>
            <p:cNvPr id="2642" name="Freeform: Shape 938">
              <a:extLst>
                <a:ext uri="{FF2B5EF4-FFF2-40B4-BE49-F238E27FC236}">
                  <a16:creationId xmlns:a16="http://schemas.microsoft.com/office/drawing/2014/main" id="{DC4B4AA0-C202-46AA-8A06-4AB6E4C8A3C6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43" name="Freeform: Shape 939">
              <a:extLst>
                <a:ext uri="{FF2B5EF4-FFF2-40B4-BE49-F238E27FC236}">
                  <a16:creationId xmlns:a16="http://schemas.microsoft.com/office/drawing/2014/main" id="{020CB83D-F44D-4DA2-8C6B-95528A7518EC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44" name="Freeform: Shape 940">
              <a:extLst>
                <a:ext uri="{FF2B5EF4-FFF2-40B4-BE49-F238E27FC236}">
                  <a16:creationId xmlns:a16="http://schemas.microsoft.com/office/drawing/2014/main" id="{1BEEF2C7-C4C4-4E2F-99D9-B2824109F2BD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45" name="Freeform: Shape 941">
              <a:extLst>
                <a:ext uri="{FF2B5EF4-FFF2-40B4-BE49-F238E27FC236}">
                  <a16:creationId xmlns:a16="http://schemas.microsoft.com/office/drawing/2014/main" id="{CB0946BB-D1A6-4991-9F7C-EB7CC0FCB1CB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46" name="Freeform: Shape 942">
              <a:extLst>
                <a:ext uri="{FF2B5EF4-FFF2-40B4-BE49-F238E27FC236}">
                  <a16:creationId xmlns:a16="http://schemas.microsoft.com/office/drawing/2014/main" id="{B2B852A9-00E9-4211-B023-E17D25712FF5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47" name="Freeform: Shape 943">
              <a:extLst>
                <a:ext uri="{FF2B5EF4-FFF2-40B4-BE49-F238E27FC236}">
                  <a16:creationId xmlns:a16="http://schemas.microsoft.com/office/drawing/2014/main" id="{52275224-19A7-40A3-84C7-7ACBBF5A5A84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648" name="Group 2647">
            <a:extLst>
              <a:ext uri="{FF2B5EF4-FFF2-40B4-BE49-F238E27FC236}">
                <a16:creationId xmlns:a16="http://schemas.microsoft.com/office/drawing/2014/main" id="{AC6865C5-0FC4-4BEE-958F-7579ECC6636F}"/>
              </a:ext>
            </a:extLst>
          </p:cNvPr>
          <p:cNvGrpSpPr>
            <a:grpSpLocks/>
          </p:cNvGrpSpPr>
          <p:nvPr/>
        </p:nvGrpSpPr>
        <p:grpSpPr>
          <a:xfrm>
            <a:off x="7073909" y="2511411"/>
            <a:ext cx="104233" cy="138889"/>
            <a:chOff x="2265548" y="3068441"/>
            <a:chExt cx="71521" cy="95300"/>
          </a:xfrm>
          <a:solidFill>
            <a:srgbClr val="644C76"/>
          </a:solidFill>
        </p:grpSpPr>
        <p:sp>
          <p:nvSpPr>
            <p:cNvPr id="2649" name="Freeform: Shape 886">
              <a:extLst>
                <a:ext uri="{FF2B5EF4-FFF2-40B4-BE49-F238E27FC236}">
                  <a16:creationId xmlns:a16="http://schemas.microsoft.com/office/drawing/2014/main" id="{BD12D9D5-5E45-46C2-8ABD-2C8058E7AA37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0" name="Freeform: Shape 887">
              <a:extLst>
                <a:ext uri="{FF2B5EF4-FFF2-40B4-BE49-F238E27FC236}">
                  <a16:creationId xmlns:a16="http://schemas.microsoft.com/office/drawing/2014/main" id="{BA6DB49C-5854-4984-9CD3-FC2F22A18694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1" name="Freeform: Shape 888">
              <a:extLst>
                <a:ext uri="{FF2B5EF4-FFF2-40B4-BE49-F238E27FC236}">
                  <a16:creationId xmlns:a16="http://schemas.microsoft.com/office/drawing/2014/main" id="{631AEFC2-8F05-41AD-AF80-3E0B0D731ADE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2" name="Freeform: Shape 889">
              <a:extLst>
                <a:ext uri="{FF2B5EF4-FFF2-40B4-BE49-F238E27FC236}">
                  <a16:creationId xmlns:a16="http://schemas.microsoft.com/office/drawing/2014/main" id="{91F10D03-30BA-4C93-9FAE-D902345F49C6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3" name="Freeform: Shape 890">
              <a:extLst>
                <a:ext uri="{FF2B5EF4-FFF2-40B4-BE49-F238E27FC236}">
                  <a16:creationId xmlns:a16="http://schemas.microsoft.com/office/drawing/2014/main" id="{5F910986-E42B-40E5-A51D-2F22C97B417E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4" name="Freeform: Shape 891">
              <a:extLst>
                <a:ext uri="{FF2B5EF4-FFF2-40B4-BE49-F238E27FC236}">
                  <a16:creationId xmlns:a16="http://schemas.microsoft.com/office/drawing/2014/main" id="{73D47D9E-247C-459E-BD44-A3841CEFABE6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655" name="Graphic 2">
            <a:extLst>
              <a:ext uri="{FF2B5EF4-FFF2-40B4-BE49-F238E27FC236}">
                <a16:creationId xmlns:a16="http://schemas.microsoft.com/office/drawing/2014/main" id="{94A451C4-9A0E-4B3F-8F58-32BD1B7064BC}"/>
              </a:ext>
            </a:extLst>
          </p:cNvPr>
          <p:cNvGrpSpPr>
            <a:grpSpLocks/>
          </p:cNvGrpSpPr>
          <p:nvPr/>
        </p:nvGrpSpPr>
        <p:grpSpPr>
          <a:xfrm>
            <a:off x="5274214" y="3294361"/>
            <a:ext cx="114294" cy="114295"/>
            <a:chOff x="2259665" y="3308466"/>
            <a:chExt cx="83287" cy="83287"/>
          </a:xfrm>
          <a:solidFill>
            <a:srgbClr val="4099DA"/>
          </a:solidFill>
        </p:grpSpPr>
        <p:sp>
          <p:nvSpPr>
            <p:cNvPr id="2656" name="Freeform: Shape 823">
              <a:extLst>
                <a:ext uri="{FF2B5EF4-FFF2-40B4-BE49-F238E27FC236}">
                  <a16:creationId xmlns:a16="http://schemas.microsoft.com/office/drawing/2014/main" id="{98C157C5-DB4A-4150-AD92-3A8469792F90}"/>
                </a:ext>
              </a:extLst>
            </p:cNvPr>
            <p:cNvSpPr/>
            <p:nvPr/>
          </p:nvSpPr>
          <p:spPr>
            <a:xfrm>
              <a:off x="2297821" y="3308466"/>
              <a:ext cx="7143" cy="10169"/>
            </a:xfrm>
            <a:custGeom>
              <a:avLst/>
              <a:gdLst>
                <a:gd name="connsiteX0" fmla="*/ 3530 w 7143"/>
                <a:gd name="connsiteY0" fmla="*/ 10169 h 10169"/>
                <a:gd name="connsiteX1" fmla="*/ 3530 w 7143"/>
                <a:gd name="connsiteY1" fmla="*/ 10169 h 10169"/>
                <a:gd name="connsiteX2" fmla="*/ 3530 w 7143"/>
                <a:gd name="connsiteY2" fmla="*/ 10169 h 10169"/>
                <a:gd name="connsiteX3" fmla="*/ 7144 w 7143"/>
                <a:gd name="connsiteY3" fmla="*/ 6723 h 10169"/>
                <a:gd name="connsiteX4" fmla="*/ 7144 w 7143"/>
                <a:gd name="connsiteY4" fmla="*/ 0 h 10169"/>
                <a:gd name="connsiteX5" fmla="*/ 0 w 7143"/>
                <a:gd name="connsiteY5" fmla="*/ 0 h 10169"/>
                <a:gd name="connsiteX6" fmla="*/ 0 w 7143"/>
                <a:gd name="connsiteY6" fmla="*/ 6723 h 10169"/>
                <a:gd name="connsiteX7" fmla="*/ 3530 w 7143"/>
                <a:gd name="connsiteY7" fmla="*/ 10169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530" y="10169"/>
                  </a:moveTo>
                  <a:lnTo>
                    <a:pt x="3530" y="10169"/>
                  </a:lnTo>
                  <a:lnTo>
                    <a:pt x="3530" y="10169"/>
                  </a:lnTo>
                  <a:cubicBezTo>
                    <a:pt x="5547" y="10169"/>
                    <a:pt x="7144" y="8656"/>
                    <a:pt x="7144" y="6723"/>
                  </a:cubicBezTo>
                  <a:lnTo>
                    <a:pt x="7144" y="0"/>
                  </a:lnTo>
                  <a:lnTo>
                    <a:pt x="0" y="0"/>
                  </a:lnTo>
                  <a:lnTo>
                    <a:pt x="0" y="6723"/>
                  </a:lnTo>
                  <a:cubicBezTo>
                    <a:pt x="0" y="8656"/>
                    <a:pt x="1597" y="10169"/>
                    <a:pt x="3530" y="1016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7" name="Freeform: Shape 824">
              <a:extLst>
                <a:ext uri="{FF2B5EF4-FFF2-40B4-BE49-F238E27FC236}">
                  <a16:creationId xmlns:a16="http://schemas.microsoft.com/office/drawing/2014/main" id="{0D1D5C72-4162-4A39-9123-5156C33C2A1A}"/>
                </a:ext>
              </a:extLst>
            </p:cNvPr>
            <p:cNvSpPr/>
            <p:nvPr/>
          </p:nvSpPr>
          <p:spPr>
            <a:xfrm>
              <a:off x="2269330" y="3318131"/>
              <a:ext cx="10831" cy="10768"/>
            </a:xfrm>
            <a:custGeom>
              <a:avLst/>
              <a:gdLst>
                <a:gd name="connsiteX0" fmla="*/ 9749 w 10831"/>
                <a:gd name="connsiteY0" fmla="*/ 9749 h 10768"/>
                <a:gd name="connsiteX1" fmla="*/ 9749 w 10831"/>
                <a:gd name="connsiteY1" fmla="*/ 9749 h 10768"/>
                <a:gd name="connsiteX2" fmla="*/ 9749 w 10831"/>
                <a:gd name="connsiteY2" fmla="*/ 9749 h 10768"/>
                <a:gd name="connsiteX3" fmla="*/ 9833 w 10831"/>
                <a:gd name="connsiteY3" fmla="*/ 4791 h 10768"/>
                <a:gd name="connsiteX4" fmla="*/ 5043 w 10831"/>
                <a:gd name="connsiteY4" fmla="*/ 0 h 10768"/>
                <a:gd name="connsiteX5" fmla="*/ 0 w 10831"/>
                <a:gd name="connsiteY5" fmla="*/ 5043 h 10768"/>
                <a:gd name="connsiteX6" fmla="*/ 4791 w 10831"/>
                <a:gd name="connsiteY6" fmla="*/ 9834 h 10768"/>
                <a:gd name="connsiteX7" fmla="*/ 9749 w 10831"/>
                <a:gd name="connsiteY7" fmla="*/ 9749 h 1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768">
                  <a:moveTo>
                    <a:pt x="9749" y="9749"/>
                  </a:moveTo>
                  <a:lnTo>
                    <a:pt x="9749" y="9749"/>
                  </a:lnTo>
                  <a:cubicBezTo>
                    <a:pt x="9833" y="9665"/>
                    <a:pt x="9833" y="9665"/>
                    <a:pt x="9749" y="9749"/>
                  </a:cubicBezTo>
                  <a:cubicBezTo>
                    <a:pt x="11178" y="8321"/>
                    <a:pt x="11178" y="6136"/>
                    <a:pt x="9833" y="4791"/>
                  </a:cubicBezTo>
                  <a:lnTo>
                    <a:pt x="5043" y="0"/>
                  </a:lnTo>
                  <a:lnTo>
                    <a:pt x="0" y="5043"/>
                  </a:lnTo>
                  <a:lnTo>
                    <a:pt x="4791" y="9834"/>
                  </a:lnTo>
                  <a:cubicBezTo>
                    <a:pt x="6219" y="11094"/>
                    <a:pt x="8404" y="11094"/>
                    <a:pt x="9749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8" name="Freeform: Shape 825">
              <a:extLst>
                <a:ext uri="{FF2B5EF4-FFF2-40B4-BE49-F238E27FC236}">
                  <a16:creationId xmlns:a16="http://schemas.microsoft.com/office/drawing/2014/main" id="{407A8685-B7B4-463B-814C-3AD34CDC679F}"/>
                </a:ext>
              </a:extLst>
            </p:cNvPr>
            <p:cNvSpPr/>
            <p:nvPr/>
          </p:nvSpPr>
          <p:spPr>
            <a:xfrm>
              <a:off x="2259665" y="3346538"/>
              <a:ext cx="10169" cy="7059"/>
            </a:xfrm>
            <a:custGeom>
              <a:avLst/>
              <a:gdLst>
                <a:gd name="connsiteX0" fmla="*/ 10169 w 10169"/>
                <a:gd name="connsiteY0" fmla="*/ 3530 h 7059"/>
                <a:gd name="connsiteX1" fmla="*/ 10169 w 10169"/>
                <a:gd name="connsiteY1" fmla="*/ 3530 h 7059"/>
                <a:gd name="connsiteX2" fmla="*/ 6724 w 10169"/>
                <a:gd name="connsiteY2" fmla="*/ 0 h 7059"/>
                <a:gd name="connsiteX3" fmla="*/ 0 w 10169"/>
                <a:gd name="connsiteY3" fmla="*/ 0 h 7059"/>
                <a:gd name="connsiteX4" fmla="*/ 0 w 10169"/>
                <a:gd name="connsiteY4" fmla="*/ 7060 h 7059"/>
                <a:gd name="connsiteX5" fmla="*/ 6724 w 10169"/>
                <a:gd name="connsiteY5" fmla="*/ 7060 h 7059"/>
                <a:gd name="connsiteX6" fmla="*/ 10169 w 10169"/>
                <a:gd name="connsiteY6" fmla="*/ 3530 h 7059"/>
                <a:gd name="connsiteX7" fmla="*/ 10169 w 10169"/>
                <a:gd name="connsiteY7" fmla="*/ 3530 h 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059">
                  <a:moveTo>
                    <a:pt x="10169" y="3530"/>
                  </a:moveTo>
                  <a:lnTo>
                    <a:pt x="10169" y="3530"/>
                  </a:lnTo>
                  <a:cubicBezTo>
                    <a:pt x="10169" y="1597"/>
                    <a:pt x="8657" y="0"/>
                    <a:pt x="6724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6724" y="7060"/>
                  </a:lnTo>
                  <a:cubicBezTo>
                    <a:pt x="8657" y="7060"/>
                    <a:pt x="10169" y="5463"/>
                    <a:pt x="10169" y="3530"/>
                  </a:cubicBezTo>
                  <a:lnTo>
                    <a:pt x="10169" y="3530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59" name="Freeform: Shape 826">
              <a:extLst>
                <a:ext uri="{FF2B5EF4-FFF2-40B4-BE49-F238E27FC236}">
                  <a16:creationId xmlns:a16="http://schemas.microsoft.com/office/drawing/2014/main" id="{2ECA02B7-8A35-4981-A795-1021A9C15F86}"/>
                </a:ext>
              </a:extLst>
            </p:cNvPr>
            <p:cNvSpPr/>
            <p:nvPr/>
          </p:nvSpPr>
          <p:spPr>
            <a:xfrm>
              <a:off x="2269246" y="3371257"/>
              <a:ext cx="10831" cy="10831"/>
            </a:xfrm>
            <a:custGeom>
              <a:avLst/>
              <a:gdLst>
                <a:gd name="connsiteX0" fmla="*/ 9749 w 10831"/>
                <a:gd name="connsiteY0" fmla="*/ 1082 h 10831"/>
                <a:gd name="connsiteX1" fmla="*/ 9749 w 10831"/>
                <a:gd name="connsiteY1" fmla="*/ 1082 h 10831"/>
                <a:gd name="connsiteX2" fmla="*/ 4791 w 10831"/>
                <a:gd name="connsiteY2" fmla="*/ 998 h 10831"/>
                <a:gd name="connsiteX3" fmla="*/ 0 w 10831"/>
                <a:gd name="connsiteY3" fmla="*/ 5789 h 10831"/>
                <a:gd name="connsiteX4" fmla="*/ 5043 w 10831"/>
                <a:gd name="connsiteY4" fmla="*/ 10832 h 10831"/>
                <a:gd name="connsiteX5" fmla="*/ 9833 w 10831"/>
                <a:gd name="connsiteY5" fmla="*/ 6041 h 10831"/>
                <a:gd name="connsiteX6" fmla="*/ 9749 w 10831"/>
                <a:gd name="connsiteY6" fmla="*/ 1082 h 10831"/>
                <a:gd name="connsiteX7" fmla="*/ 9749 w 10831"/>
                <a:gd name="connsiteY7" fmla="*/ 1082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9749" y="1082"/>
                  </a:moveTo>
                  <a:lnTo>
                    <a:pt x="9749" y="1082"/>
                  </a:lnTo>
                  <a:cubicBezTo>
                    <a:pt x="8320" y="-346"/>
                    <a:pt x="6135" y="-346"/>
                    <a:pt x="4791" y="998"/>
                  </a:cubicBezTo>
                  <a:lnTo>
                    <a:pt x="0" y="5789"/>
                  </a:lnTo>
                  <a:lnTo>
                    <a:pt x="5043" y="10832"/>
                  </a:lnTo>
                  <a:lnTo>
                    <a:pt x="9833" y="6041"/>
                  </a:lnTo>
                  <a:cubicBezTo>
                    <a:pt x="11178" y="4696"/>
                    <a:pt x="11178" y="2511"/>
                    <a:pt x="9749" y="1082"/>
                  </a:cubicBezTo>
                  <a:cubicBezTo>
                    <a:pt x="9749" y="1082"/>
                    <a:pt x="9749" y="1082"/>
                    <a:pt x="9749" y="1082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0" name="Freeform: Shape 827">
              <a:extLst>
                <a:ext uri="{FF2B5EF4-FFF2-40B4-BE49-F238E27FC236}">
                  <a16:creationId xmlns:a16="http://schemas.microsoft.com/office/drawing/2014/main" id="{C4197D77-82C1-466C-ABA8-28AE5352F40D}"/>
                </a:ext>
              </a:extLst>
            </p:cNvPr>
            <p:cNvSpPr/>
            <p:nvPr/>
          </p:nvSpPr>
          <p:spPr>
            <a:xfrm>
              <a:off x="2297653" y="3381584"/>
              <a:ext cx="7143" cy="10169"/>
            </a:xfrm>
            <a:custGeom>
              <a:avLst/>
              <a:gdLst>
                <a:gd name="connsiteX0" fmla="*/ 3614 w 7143"/>
                <a:gd name="connsiteY0" fmla="*/ 0 h 10169"/>
                <a:gd name="connsiteX1" fmla="*/ 3614 w 7143"/>
                <a:gd name="connsiteY1" fmla="*/ 0 h 10169"/>
                <a:gd name="connsiteX2" fmla="*/ 3614 w 7143"/>
                <a:gd name="connsiteY2" fmla="*/ 0 h 10169"/>
                <a:gd name="connsiteX3" fmla="*/ 0 w 7143"/>
                <a:gd name="connsiteY3" fmla="*/ 3446 h 10169"/>
                <a:gd name="connsiteX4" fmla="*/ 0 w 7143"/>
                <a:gd name="connsiteY4" fmla="*/ 10169 h 10169"/>
                <a:gd name="connsiteX5" fmla="*/ 7144 w 7143"/>
                <a:gd name="connsiteY5" fmla="*/ 10169 h 10169"/>
                <a:gd name="connsiteX6" fmla="*/ 7144 w 7143"/>
                <a:gd name="connsiteY6" fmla="*/ 3446 h 10169"/>
                <a:gd name="connsiteX7" fmla="*/ 3614 w 7143"/>
                <a:gd name="connsiteY7" fmla="*/ 0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614" y="0"/>
                  </a:moveTo>
                  <a:lnTo>
                    <a:pt x="3614" y="0"/>
                  </a:lnTo>
                  <a:lnTo>
                    <a:pt x="3614" y="0"/>
                  </a:lnTo>
                  <a:cubicBezTo>
                    <a:pt x="1597" y="0"/>
                    <a:pt x="0" y="1513"/>
                    <a:pt x="0" y="3446"/>
                  </a:cubicBezTo>
                  <a:lnTo>
                    <a:pt x="0" y="10169"/>
                  </a:lnTo>
                  <a:lnTo>
                    <a:pt x="7144" y="10169"/>
                  </a:lnTo>
                  <a:lnTo>
                    <a:pt x="7144" y="3446"/>
                  </a:lnTo>
                  <a:cubicBezTo>
                    <a:pt x="7144" y="1597"/>
                    <a:pt x="5547" y="0"/>
                    <a:pt x="3614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1" name="Freeform: Shape 828">
              <a:extLst>
                <a:ext uri="{FF2B5EF4-FFF2-40B4-BE49-F238E27FC236}">
                  <a16:creationId xmlns:a16="http://schemas.microsoft.com/office/drawing/2014/main" id="{E831874C-A976-43F2-9F6D-D5B6571736CE}"/>
                </a:ext>
              </a:extLst>
            </p:cNvPr>
            <p:cNvSpPr/>
            <p:nvPr/>
          </p:nvSpPr>
          <p:spPr>
            <a:xfrm>
              <a:off x="2322456" y="3371372"/>
              <a:ext cx="10831" cy="10800"/>
            </a:xfrm>
            <a:custGeom>
              <a:avLst/>
              <a:gdLst>
                <a:gd name="connsiteX0" fmla="*/ 1082 w 10831"/>
                <a:gd name="connsiteY0" fmla="*/ 1051 h 10800"/>
                <a:gd name="connsiteX1" fmla="*/ 1082 w 10831"/>
                <a:gd name="connsiteY1" fmla="*/ 1051 h 10800"/>
                <a:gd name="connsiteX2" fmla="*/ 1082 w 10831"/>
                <a:gd name="connsiteY2" fmla="*/ 1051 h 10800"/>
                <a:gd name="connsiteX3" fmla="*/ 998 w 10831"/>
                <a:gd name="connsiteY3" fmla="*/ 6010 h 10800"/>
                <a:gd name="connsiteX4" fmla="*/ 5789 w 10831"/>
                <a:gd name="connsiteY4" fmla="*/ 10800 h 10800"/>
                <a:gd name="connsiteX5" fmla="*/ 10831 w 10831"/>
                <a:gd name="connsiteY5" fmla="*/ 5758 h 10800"/>
                <a:gd name="connsiteX6" fmla="*/ 6041 w 10831"/>
                <a:gd name="connsiteY6" fmla="*/ 967 h 10800"/>
                <a:gd name="connsiteX7" fmla="*/ 1082 w 10831"/>
                <a:gd name="connsiteY7" fmla="*/ 1051 h 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00">
                  <a:moveTo>
                    <a:pt x="1082" y="1051"/>
                  </a:moveTo>
                  <a:cubicBezTo>
                    <a:pt x="1082" y="1051"/>
                    <a:pt x="1082" y="1051"/>
                    <a:pt x="1082" y="1051"/>
                  </a:cubicBezTo>
                  <a:lnTo>
                    <a:pt x="1082" y="1051"/>
                  </a:lnTo>
                  <a:cubicBezTo>
                    <a:pt x="-346" y="2480"/>
                    <a:pt x="-346" y="4665"/>
                    <a:pt x="998" y="6010"/>
                  </a:cubicBezTo>
                  <a:lnTo>
                    <a:pt x="5789" y="10800"/>
                  </a:lnTo>
                  <a:lnTo>
                    <a:pt x="10831" y="5758"/>
                  </a:lnTo>
                  <a:lnTo>
                    <a:pt x="6041" y="967"/>
                  </a:lnTo>
                  <a:cubicBezTo>
                    <a:pt x="4612" y="-377"/>
                    <a:pt x="2427" y="-293"/>
                    <a:pt x="1082" y="1051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2" name="Freeform: Shape 829">
              <a:extLst>
                <a:ext uri="{FF2B5EF4-FFF2-40B4-BE49-F238E27FC236}">
                  <a16:creationId xmlns:a16="http://schemas.microsoft.com/office/drawing/2014/main" id="{9445B60B-8CF0-4F8A-881D-509D35F1EB9D}"/>
                </a:ext>
              </a:extLst>
            </p:cNvPr>
            <p:cNvSpPr/>
            <p:nvPr/>
          </p:nvSpPr>
          <p:spPr>
            <a:xfrm>
              <a:off x="2332783" y="3346622"/>
              <a:ext cx="10169" cy="7144"/>
            </a:xfrm>
            <a:custGeom>
              <a:avLst/>
              <a:gdLst>
                <a:gd name="connsiteX0" fmla="*/ 3446 w 10169"/>
                <a:gd name="connsiteY0" fmla="*/ 0 h 7144"/>
                <a:gd name="connsiteX1" fmla="*/ 0 w 10169"/>
                <a:gd name="connsiteY1" fmla="*/ 3530 h 7144"/>
                <a:gd name="connsiteX2" fmla="*/ 0 w 10169"/>
                <a:gd name="connsiteY2" fmla="*/ 3530 h 7144"/>
                <a:gd name="connsiteX3" fmla="*/ 0 w 10169"/>
                <a:gd name="connsiteY3" fmla="*/ 3614 h 7144"/>
                <a:gd name="connsiteX4" fmla="*/ 3446 w 10169"/>
                <a:gd name="connsiteY4" fmla="*/ 7144 h 7144"/>
                <a:gd name="connsiteX5" fmla="*/ 10169 w 10169"/>
                <a:gd name="connsiteY5" fmla="*/ 7144 h 7144"/>
                <a:gd name="connsiteX6" fmla="*/ 10169 w 10169"/>
                <a:gd name="connsiteY6" fmla="*/ 84 h 7144"/>
                <a:gd name="connsiteX7" fmla="*/ 3446 w 10169"/>
                <a:gd name="connsiteY7" fmla="*/ 84 h 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144">
                  <a:moveTo>
                    <a:pt x="3446" y="0"/>
                  </a:moveTo>
                  <a:cubicBezTo>
                    <a:pt x="1513" y="0"/>
                    <a:pt x="0" y="1597"/>
                    <a:pt x="0" y="3530"/>
                  </a:cubicBezTo>
                  <a:lnTo>
                    <a:pt x="0" y="3530"/>
                  </a:lnTo>
                  <a:lnTo>
                    <a:pt x="0" y="3614"/>
                  </a:lnTo>
                  <a:cubicBezTo>
                    <a:pt x="0" y="5547"/>
                    <a:pt x="1513" y="7144"/>
                    <a:pt x="3446" y="7144"/>
                  </a:cubicBezTo>
                  <a:lnTo>
                    <a:pt x="10169" y="7144"/>
                  </a:lnTo>
                  <a:lnTo>
                    <a:pt x="10169" y="84"/>
                  </a:lnTo>
                  <a:lnTo>
                    <a:pt x="3446" y="8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3" name="Freeform: Shape 830">
              <a:extLst>
                <a:ext uri="{FF2B5EF4-FFF2-40B4-BE49-F238E27FC236}">
                  <a16:creationId xmlns:a16="http://schemas.microsoft.com/office/drawing/2014/main" id="{4E58E161-D148-4ADE-B2D4-DE745D8C3A7D}"/>
                </a:ext>
              </a:extLst>
            </p:cNvPr>
            <p:cNvSpPr/>
            <p:nvPr/>
          </p:nvSpPr>
          <p:spPr>
            <a:xfrm>
              <a:off x="2322540" y="3318215"/>
              <a:ext cx="10831" cy="10831"/>
            </a:xfrm>
            <a:custGeom>
              <a:avLst/>
              <a:gdLst>
                <a:gd name="connsiteX0" fmla="*/ 1082 w 10831"/>
                <a:gd name="connsiteY0" fmla="*/ 9749 h 10831"/>
                <a:gd name="connsiteX1" fmla="*/ 1082 w 10831"/>
                <a:gd name="connsiteY1" fmla="*/ 9749 h 10831"/>
                <a:gd name="connsiteX2" fmla="*/ 6041 w 10831"/>
                <a:gd name="connsiteY2" fmla="*/ 9833 h 10831"/>
                <a:gd name="connsiteX3" fmla="*/ 10831 w 10831"/>
                <a:gd name="connsiteY3" fmla="*/ 5043 h 10831"/>
                <a:gd name="connsiteX4" fmla="*/ 5789 w 10831"/>
                <a:gd name="connsiteY4" fmla="*/ 0 h 10831"/>
                <a:gd name="connsiteX5" fmla="*/ 998 w 10831"/>
                <a:gd name="connsiteY5" fmla="*/ 4791 h 10831"/>
                <a:gd name="connsiteX6" fmla="*/ 1082 w 10831"/>
                <a:gd name="connsiteY6" fmla="*/ 9749 h 10831"/>
                <a:gd name="connsiteX7" fmla="*/ 1082 w 10831"/>
                <a:gd name="connsiteY7" fmla="*/ 9749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1082" y="9749"/>
                  </a:moveTo>
                  <a:cubicBezTo>
                    <a:pt x="1082" y="9749"/>
                    <a:pt x="1082" y="9749"/>
                    <a:pt x="1082" y="9749"/>
                  </a:cubicBezTo>
                  <a:cubicBezTo>
                    <a:pt x="2511" y="11178"/>
                    <a:pt x="4696" y="11178"/>
                    <a:pt x="6041" y="9833"/>
                  </a:cubicBezTo>
                  <a:lnTo>
                    <a:pt x="10831" y="5043"/>
                  </a:lnTo>
                  <a:lnTo>
                    <a:pt x="5789" y="0"/>
                  </a:lnTo>
                  <a:lnTo>
                    <a:pt x="998" y="4791"/>
                  </a:lnTo>
                  <a:cubicBezTo>
                    <a:pt x="-346" y="6136"/>
                    <a:pt x="-346" y="8320"/>
                    <a:pt x="1082" y="9749"/>
                  </a:cubicBezTo>
                  <a:cubicBezTo>
                    <a:pt x="1082" y="9749"/>
                    <a:pt x="1082" y="9749"/>
                    <a:pt x="1082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64" name="Freeform: Shape 831">
              <a:extLst>
                <a:ext uri="{FF2B5EF4-FFF2-40B4-BE49-F238E27FC236}">
                  <a16:creationId xmlns:a16="http://schemas.microsoft.com/office/drawing/2014/main" id="{8CBADBA8-F9EF-475C-930A-B92BC363E025}"/>
                </a:ext>
              </a:extLst>
            </p:cNvPr>
            <p:cNvSpPr/>
            <p:nvPr/>
          </p:nvSpPr>
          <p:spPr>
            <a:xfrm>
              <a:off x="2276305" y="3325106"/>
              <a:ext cx="50090" cy="50090"/>
            </a:xfrm>
            <a:custGeom>
              <a:avLst/>
              <a:gdLst>
                <a:gd name="connsiteX0" fmla="*/ 25045 w 50090"/>
                <a:gd name="connsiteY0" fmla="*/ 0 h 50090"/>
                <a:gd name="connsiteX1" fmla="*/ 0 w 50090"/>
                <a:gd name="connsiteY1" fmla="*/ 25045 h 50090"/>
                <a:gd name="connsiteX2" fmla="*/ 25045 w 50090"/>
                <a:gd name="connsiteY2" fmla="*/ 50090 h 50090"/>
                <a:gd name="connsiteX3" fmla="*/ 50090 w 50090"/>
                <a:gd name="connsiteY3" fmla="*/ 25045 h 50090"/>
                <a:gd name="connsiteX4" fmla="*/ 25045 w 50090"/>
                <a:gd name="connsiteY4" fmla="*/ 0 h 5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90" h="50090">
                  <a:moveTo>
                    <a:pt x="25045" y="0"/>
                  </a:moveTo>
                  <a:cubicBezTo>
                    <a:pt x="11178" y="0"/>
                    <a:pt x="0" y="11178"/>
                    <a:pt x="0" y="25045"/>
                  </a:cubicBezTo>
                  <a:cubicBezTo>
                    <a:pt x="0" y="38828"/>
                    <a:pt x="11178" y="50090"/>
                    <a:pt x="25045" y="50090"/>
                  </a:cubicBezTo>
                  <a:cubicBezTo>
                    <a:pt x="38912" y="50090"/>
                    <a:pt x="50090" y="38828"/>
                    <a:pt x="50090" y="25045"/>
                  </a:cubicBezTo>
                  <a:cubicBezTo>
                    <a:pt x="50090" y="11178"/>
                    <a:pt x="38828" y="0"/>
                    <a:pt x="25045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665" name="Group 2664">
            <a:extLst>
              <a:ext uri="{FF2B5EF4-FFF2-40B4-BE49-F238E27FC236}">
                <a16:creationId xmlns:a16="http://schemas.microsoft.com/office/drawing/2014/main" id="{07A565F8-6586-404D-BD23-589562617139}"/>
              </a:ext>
            </a:extLst>
          </p:cNvPr>
          <p:cNvGrpSpPr>
            <a:grpSpLocks/>
          </p:cNvGrpSpPr>
          <p:nvPr/>
        </p:nvGrpSpPr>
        <p:grpSpPr>
          <a:xfrm>
            <a:off x="4067813" y="2056316"/>
            <a:ext cx="98148" cy="130780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666" name="Freeform: Shape 913">
              <a:extLst>
                <a:ext uri="{FF2B5EF4-FFF2-40B4-BE49-F238E27FC236}">
                  <a16:creationId xmlns:a16="http://schemas.microsoft.com/office/drawing/2014/main" id="{6D8E00CC-BA51-4262-A75F-FE6EEB924F0C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67" name="Freeform: Shape 914">
              <a:extLst>
                <a:ext uri="{FF2B5EF4-FFF2-40B4-BE49-F238E27FC236}">
                  <a16:creationId xmlns:a16="http://schemas.microsoft.com/office/drawing/2014/main" id="{30152D28-C4B3-4CAC-9FF0-42BFC945CE1C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68" name="Freeform: Shape 915">
              <a:extLst>
                <a:ext uri="{FF2B5EF4-FFF2-40B4-BE49-F238E27FC236}">
                  <a16:creationId xmlns:a16="http://schemas.microsoft.com/office/drawing/2014/main" id="{C002D625-B37E-413A-AC94-2F33C30602F1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69" name="Freeform: Shape 916">
              <a:extLst>
                <a:ext uri="{FF2B5EF4-FFF2-40B4-BE49-F238E27FC236}">
                  <a16:creationId xmlns:a16="http://schemas.microsoft.com/office/drawing/2014/main" id="{DD9E47E1-D65D-4D6A-B91D-BA391110B7E9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70" name="Freeform: Shape 917">
              <a:extLst>
                <a:ext uri="{FF2B5EF4-FFF2-40B4-BE49-F238E27FC236}">
                  <a16:creationId xmlns:a16="http://schemas.microsoft.com/office/drawing/2014/main" id="{2F209399-E2AC-40D5-84A7-C6CA0337F2F0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71" name="Freeform: Shape 918">
              <a:extLst>
                <a:ext uri="{FF2B5EF4-FFF2-40B4-BE49-F238E27FC236}">
                  <a16:creationId xmlns:a16="http://schemas.microsoft.com/office/drawing/2014/main" id="{1EB199F0-166C-4541-8EF2-571D95F4917E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672" name="Group 2671">
            <a:extLst>
              <a:ext uri="{FF2B5EF4-FFF2-40B4-BE49-F238E27FC236}">
                <a16:creationId xmlns:a16="http://schemas.microsoft.com/office/drawing/2014/main" id="{39DB4BD9-E9D9-4812-BA87-5E019B713215}"/>
              </a:ext>
            </a:extLst>
          </p:cNvPr>
          <p:cNvGrpSpPr>
            <a:grpSpLocks/>
          </p:cNvGrpSpPr>
          <p:nvPr/>
        </p:nvGrpSpPr>
        <p:grpSpPr>
          <a:xfrm>
            <a:off x="4124475" y="1972696"/>
            <a:ext cx="98148" cy="130780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673" name="Freeform: Shape 913">
              <a:extLst>
                <a:ext uri="{FF2B5EF4-FFF2-40B4-BE49-F238E27FC236}">
                  <a16:creationId xmlns:a16="http://schemas.microsoft.com/office/drawing/2014/main" id="{A4685842-A5FA-4A14-B18B-474669062C9E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74" name="Freeform: Shape 914">
              <a:extLst>
                <a:ext uri="{FF2B5EF4-FFF2-40B4-BE49-F238E27FC236}">
                  <a16:creationId xmlns:a16="http://schemas.microsoft.com/office/drawing/2014/main" id="{C7186A71-056F-4711-98F7-A4A5FA64BFAC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75" name="Freeform: Shape 915">
              <a:extLst>
                <a:ext uri="{FF2B5EF4-FFF2-40B4-BE49-F238E27FC236}">
                  <a16:creationId xmlns:a16="http://schemas.microsoft.com/office/drawing/2014/main" id="{7BA708A6-8587-4CCE-A266-6746F1CB5688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76" name="Freeform: Shape 916">
              <a:extLst>
                <a:ext uri="{FF2B5EF4-FFF2-40B4-BE49-F238E27FC236}">
                  <a16:creationId xmlns:a16="http://schemas.microsoft.com/office/drawing/2014/main" id="{425DD970-5B5C-4600-8657-E144887A4F6D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77" name="Freeform: Shape 917">
              <a:extLst>
                <a:ext uri="{FF2B5EF4-FFF2-40B4-BE49-F238E27FC236}">
                  <a16:creationId xmlns:a16="http://schemas.microsoft.com/office/drawing/2014/main" id="{8C8CA6C0-73D2-4C5C-9657-4110ECF51D9B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78" name="Freeform: Shape 918">
              <a:extLst>
                <a:ext uri="{FF2B5EF4-FFF2-40B4-BE49-F238E27FC236}">
                  <a16:creationId xmlns:a16="http://schemas.microsoft.com/office/drawing/2014/main" id="{3EF3D358-D574-4BD8-A6EA-581416CC9F45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679" name="Group 2678">
            <a:extLst>
              <a:ext uri="{FF2B5EF4-FFF2-40B4-BE49-F238E27FC236}">
                <a16:creationId xmlns:a16="http://schemas.microsoft.com/office/drawing/2014/main" id="{0328DD86-AB4E-4228-A0E8-85B6E130BCA9}"/>
              </a:ext>
            </a:extLst>
          </p:cNvPr>
          <p:cNvGrpSpPr>
            <a:grpSpLocks/>
          </p:cNvGrpSpPr>
          <p:nvPr/>
        </p:nvGrpSpPr>
        <p:grpSpPr>
          <a:xfrm>
            <a:off x="4127299" y="2656606"/>
            <a:ext cx="98148" cy="130780"/>
            <a:chOff x="2265548" y="3181564"/>
            <a:chExt cx="71521" cy="95300"/>
          </a:xfrm>
          <a:solidFill>
            <a:schemeClr val="accent2"/>
          </a:solidFill>
        </p:grpSpPr>
        <p:sp>
          <p:nvSpPr>
            <p:cNvPr id="2680" name="Freeform: Shape 913">
              <a:extLst>
                <a:ext uri="{FF2B5EF4-FFF2-40B4-BE49-F238E27FC236}">
                  <a16:creationId xmlns:a16="http://schemas.microsoft.com/office/drawing/2014/main" id="{C506F0E1-9D93-4BC6-A654-B07889929761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81" name="Freeform: Shape 914">
              <a:extLst>
                <a:ext uri="{FF2B5EF4-FFF2-40B4-BE49-F238E27FC236}">
                  <a16:creationId xmlns:a16="http://schemas.microsoft.com/office/drawing/2014/main" id="{6B5055E5-145E-4AEE-8BF6-13610983CE8E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82" name="Freeform: Shape 915">
              <a:extLst>
                <a:ext uri="{FF2B5EF4-FFF2-40B4-BE49-F238E27FC236}">
                  <a16:creationId xmlns:a16="http://schemas.microsoft.com/office/drawing/2014/main" id="{66186C72-565D-418C-A5A4-EBF475B34E1C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83" name="Freeform: Shape 916">
              <a:extLst>
                <a:ext uri="{FF2B5EF4-FFF2-40B4-BE49-F238E27FC236}">
                  <a16:creationId xmlns:a16="http://schemas.microsoft.com/office/drawing/2014/main" id="{8A8F9505-FE41-4944-B0E2-D2D5665C9CEE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84" name="Freeform: Shape 917">
              <a:extLst>
                <a:ext uri="{FF2B5EF4-FFF2-40B4-BE49-F238E27FC236}">
                  <a16:creationId xmlns:a16="http://schemas.microsoft.com/office/drawing/2014/main" id="{816148F4-07A3-46F3-85CD-E9CEB1399204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85" name="Freeform: Shape 918">
              <a:extLst>
                <a:ext uri="{FF2B5EF4-FFF2-40B4-BE49-F238E27FC236}">
                  <a16:creationId xmlns:a16="http://schemas.microsoft.com/office/drawing/2014/main" id="{4EB30CA8-BA6C-4087-B877-61E30B4A9CA5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686" name="Group 2685">
            <a:extLst>
              <a:ext uri="{FF2B5EF4-FFF2-40B4-BE49-F238E27FC236}">
                <a16:creationId xmlns:a16="http://schemas.microsoft.com/office/drawing/2014/main" id="{773A0577-CB5C-4F7D-BE01-6EB2BBC7FCC2}"/>
              </a:ext>
            </a:extLst>
          </p:cNvPr>
          <p:cNvGrpSpPr>
            <a:grpSpLocks/>
          </p:cNvGrpSpPr>
          <p:nvPr/>
        </p:nvGrpSpPr>
        <p:grpSpPr>
          <a:xfrm>
            <a:off x="3680077" y="1335440"/>
            <a:ext cx="98148" cy="130780"/>
            <a:chOff x="2265548" y="3181564"/>
            <a:chExt cx="71521" cy="95300"/>
          </a:xfrm>
          <a:solidFill>
            <a:schemeClr val="accent3"/>
          </a:solidFill>
        </p:grpSpPr>
        <p:sp>
          <p:nvSpPr>
            <p:cNvPr id="2687" name="Freeform: Shape 913">
              <a:extLst>
                <a:ext uri="{FF2B5EF4-FFF2-40B4-BE49-F238E27FC236}">
                  <a16:creationId xmlns:a16="http://schemas.microsoft.com/office/drawing/2014/main" id="{C0879299-9F2D-4CE9-B47D-4370910AFA19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88" name="Freeform: Shape 914">
              <a:extLst>
                <a:ext uri="{FF2B5EF4-FFF2-40B4-BE49-F238E27FC236}">
                  <a16:creationId xmlns:a16="http://schemas.microsoft.com/office/drawing/2014/main" id="{4DBDE601-EE5C-433B-BECD-48BB46A95C85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89" name="Freeform: Shape 915">
              <a:extLst>
                <a:ext uri="{FF2B5EF4-FFF2-40B4-BE49-F238E27FC236}">
                  <a16:creationId xmlns:a16="http://schemas.microsoft.com/office/drawing/2014/main" id="{7A3E20C1-37B7-4191-BED8-BA8B2173CD09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90" name="Freeform: Shape 916">
              <a:extLst>
                <a:ext uri="{FF2B5EF4-FFF2-40B4-BE49-F238E27FC236}">
                  <a16:creationId xmlns:a16="http://schemas.microsoft.com/office/drawing/2014/main" id="{CD840EE3-D74B-4DE0-9DB9-2BB8F77F452E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91" name="Freeform: Shape 917">
              <a:extLst>
                <a:ext uri="{FF2B5EF4-FFF2-40B4-BE49-F238E27FC236}">
                  <a16:creationId xmlns:a16="http://schemas.microsoft.com/office/drawing/2014/main" id="{C5763564-F7E4-4CA9-89BC-6B642506F074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692" name="Freeform: Shape 918">
              <a:extLst>
                <a:ext uri="{FF2B5EF4-FFF2-40B4-BE49-F238E27FC236}">
                  <a16:creationId xmlns:a16="http://schemas.microsoft.com/office/drawing/2014/main" id="{FD8FE5E3-5510-4445-A865-1297FAE42188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693" name="Group 2692">
            <a:extLst>
              <a:ext uri="{FF2B5EF4-FFF2-40B4-BE49-F238E27FC236}">
                <a16:creationId xmlns:a16="http://schemas.microsoft.com/office/drawing/2014/main" id="{A2D5160B-8661-4613-AD82-C6CF1E7B8C18}"/>
              </a:ext>
            </a:extLst>
          </p:cNvPr>
          <p:cNvGrpSpPr>
            <a:grpSpLocks/>
          </p:cNvGrpSpPr>
          <p:nvPr/>
        </p:nvGrpSpPr>
        <p:grpSpPr>
          <a:xfrm>
            <a:off x="6978659" y="2549511"/>
            <a:ext cx="104233" cy="138889"/>
            <a:chOff x="2265548" y="3068441"/>
            <a:chExt cx="71521" cy="95300"/>
          </a:xfrm>
          <a:solidFill>
            <a:srgbClr val="644C76"/>
          </a:solidFill>
        </p:grpSpPr>
        <p:sp>
          <p:nvSpPr>
            <p:cNvPr id="2694" name="Freeform: Shape 886">
              <a:extLst>
                <a:ext uri="{FF2B5EF4-FFF2-40B4-BE49-F238E27FC236}">
                  <a16:creationId xmlns:a16="http://schemas.microsoft.com/office/drawing/2014/main" id="{EFA73EE4-28FE-45BC-B1FD-46197BE92D65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5" name="Freeform: Shape 887">
              <a:extLst>
                <a:ext uri="{FF2B5EF4-FFF2-40B4-BE49-F238E27FC236}">
                  <a16:creationId xmlns:a16="http://schemas.microsoft.com/office/drawing/2014/main" id="{F07CF1F7-8250-4168-8D29-1D20F64530C1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6" name="Freeform: Shape 888">
              <a:extLst>
                <a:ext uri="{FF2B5EF4-FFF2-40B4-BE49-F238E27FC236}">
                  <a16:creationId xmlns:a16="http://schemas.microsoft.com/office/drawing/2014/main" id="{64030F70-888D-459C-97F5-A3CCBDBE7F2C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7" name="Freeform: Shape 889">
              <a:extLst>
                <a:ext uri="{FF2B5EF4-FFF2-40B4-BE49-F238E27FC236}">
                  <a16:creationId xmlns:a16="http://schemas.microsoft.com/office/drawing/2014/main" id="{C7CB9C35-F3FA-4EED-AC30-061FFB83A87D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8" name="Freeform: Shape 890">
              <a:extLst>
                <a:ext uri="{FF2B5EF4-FFF2-40B4-BE49-F238E27FC236}">
                  <a16:creationId xmlns:a16="http://schemas.microsoft.com/office/drawing/2014/main" id="{5EE48DFE-261F-443B-B15D-4A4EC30C78F7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99" name="Freeform: Shape 891">
              <a:extLst>
                <a:ext uri="{FF2B5EF4-FFF2-40B4-BE49-F238E27FC236}">
                  <a16:creationId xmlns:a16="http://schemas.microsoft.com/office/drawing/2014/main" id="{D3C1FA32-AF79-459A-801C-BAA2AAD738E7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00" name="Wind - Op">
            <a:extLst>
              <a:ext uri="{FF2B5EF4-FFF2-40B4-BE49-F238E27FC236}">
                <a16:creationId xmlns:a16="http://schemas.microsoft.com/office/drawing/2014/main" id="{3DA4BF75-AD4C-4E09-9D1C-F9190F65C181}"/>
              </a:ext>
            </a:extLst>
          </p:cNvPr>
          <p:cNvGrpSpPr>
            <a:grpSpLocks/>
          </p:cNvGrpSpPr>
          <p:nvPr/>
        </p:nvGrpSpPr>
        <p:grpSpPr>
          <a:xfrm>
            <a:off x="3446766" y="3509177"/>
            <a:ext cx="104233" cy="138889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701" name="Freeform: Shape 821">
              <a:extLst>
                <a:ext uri="{FF2B5EF4-FFF2-40B4-BE49-F238E27FC236}">
                  <a16:creationId xmlns:a16="http://schemas.microsoft.com/office/drawing/2014/main" id="{C7D2E895-6406-496C-BAE7-1FA816912205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02" name="Freeform: Shape 822">
              <a:extLst>
                <a:ext uri="{FF2B5EF4-FFF2-40B4-BE49-F238E27FC236}">
                  <a16:creationId xmlns:a16="http://schemas.microsoft.com/office/drawing/2014/main" id="{A34EF534-A579-495E-91F2-0757546CC934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03" name="Freeform: Shape 823">
              <a:extLst>
                <a:ext uri="{FF2B5EF4-FFF2-40B4-BE49-F238E27FC236}">
                  <a16:creationId xmlns:a16="http://schemas.microsoft.com/office/drawing/2014/main" id="{FCE7FE82-26A3-44BB-BCA5-C175BC7C49C7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04" name="Freeform: Shape 824">
              <a:extLst>
                <a:ext uri="{FF2B5EF4-FFF2-40B4-BE49-F238E27FC236}">
                  <a16:creationId xmlns:a16="http://schemas.microsoft.com/office/drawing/2014/main" id="{84C4F936-96B0-478B-99E3-7E97438E370D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05" name="Freeform: Shape 825">
              <a:extLst>
                <a:ext uri="{FF2B5EF4-FFF2-40B4-BE49-F238E27FC236}">
                  <a16:creationId xmlns:a16="http://schemas.microsoft.com/office/drawing/2014/main" id="{E0A6274E-C32D-4879-A89A-C2D321D5DD36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06" name="Freeform: Shape 826">
              <a:extLst>
                <a:ext uri="{FF2B5EF4-FFF2-40B4-BE49-F238E27FC236}">
                  <a16:creationId xmlns:a16="http://schemas.microsoft.com/office/drawing/2014/main" id="{B949FFBA-5FFB-4AFB-8799-B30BF19207E4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707" name="Wind - Op">
            <a:extLst>
              <a:ext uri="{FF2B5EF4-FFF2-40B4-BE49-F238E27FC236}">
                <a16:creationId xmlns:a16="http://schemas.microsoft.com/office/drawing/2014/main" id="{4F472164-3DBF-4675-8CEA-CFA9E4756832}"/>
              </a:ext>
            </a:extLst>
          </p:cNvPr>
          <p:cNvGrpSpPr>
            <a:grpSpLocks/>
          </p:cNvGrpSpPr>
          <p:nvPr/>
        </p:nvGrpSpPr>
        <p:grpSpPr>
          <a:xfrm>
            <a:off x="3814510" y="3297235"/>
            <a:ext cx="104233" cy="138889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708" name="Freeform: Shape 830">
              <a:extLst>
                <a:ext uri="{FF2B5EF4-FFF2-40B4-BE49-F238E27FC236}">
                  <a16:creationId xmlns:a16="http://schemas.microsoft.com/office/drawing/2014/main" id="{2E524C25-12BC-4972-9460-80B5953E3C7F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09" name="Freeform: Shape 831">
              <a:extLst>
                <a:ext uri="{FF2B5EF4-FFF2-40B4-BE49-F238E27FC236}">
                  <a16:creationId xmlns:a16="http://schemas.microsoft.com/office/drawing/2014/main" id="{CEB197A0-D231-4DA3-A9F8-335F27C711EB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10" name="Freeform: Shape 832">
              <a:extLst>
                <a:ext uri="{FF2B5EF4-FFF2-40B4-BE49-F238E27FC236}">
                  <a16:creationId xmlns:a16="http://schemas.microsoft.com/office/drawing/2014/main" id="{BBE021E8-C887-4ABE-AB8E-3F181C75F6E5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11" name="Freeform: Shape 833">
              <a:extLst>
                <a:ext uri="{FF2B5EF4-FFF2-40B4-BE49-F238E27FC236}">
                  <a16:creationId xmlns:a16="http://schemas.microsoft.com/office/drawing/2014/main" id="{F8FD3F92-F20B-4CD5-8947-51BB6059A3C6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12" name="Freeform: Shape 834">
              <a:extLst>
                <a:ext uri="{FF2B5EF4-FFF2-40B4-BE49-F238E27FC236}">
                  <a16:creationId xmlns:a16="http://schemas.microsoft.com/office/drawing/2014/main" id="{C0CFA341-3FE5-4E9A-853E-02B37DD44AC7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13" name="Freeform: Shape 835">
              <a:extLst>
                <a:ext uri="{FF2B5EF4-FFF2-40B4-BE49-F238E27FC236}">
                  <a16:creationId xmlns:a16="http://schemas.microsoft.com/office/drawing/2014/main" id="{B67D95F5-2632-4C59-87E7-7FC0F3063130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714" name="Wind - Op">
            <a:extLst>
              <a:ext uri="{FF2B5EF4-FFF2-40B4-BE49-F238E27FC236}">
                <a16:creationId xmlns:a16="http://schemas.microsoft.com/office/drawing/2014/main" id="{9FBCE285-5004-4A9A-94C5-66D89F37B18A}"/>
              </a:ext>
            </a:extLst>
          </p:cNvPr>
          <p:cNvGrpSpPr>
            <a:grpSpLocks/>
          </p:cNvGrpSpPr>
          <p:nvPr/>
        </p:nvGrpSpPr>
        <p:grpSpPr>
          <a:xfrm>
            <a:off x="3582949" y="3547370"/>
            <a:ext cx="104233" cy="138888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715" name="Freeform: Shape 848">
              <a:extLst>
                <a:ext uri="{FF2B5EF4-FFF2-40B4-BE49-F238E27FC236}">
                  <a16:creationId xmlns:a16="http://schemas.microsoft.com/office/drawing/2014/main" id="{8E2290BC-AC78-4329-B024-BD0814C30FC0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16" name="Freeform: Shape 849">
              <a:extLst>
                <a:ext uri="{FF2B5EF4-FFF2-40B4-BE49-F238E27FC236}">
                  <a16:creationId xmlns:a16="http://schemas.microsoft.com/office/drawing/2014/main" id="{6B4382CF-90D5-45BC-9189-D324DDB9CB3F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17" name="Freeform: Shape 850">
              <a:extLst>
                <a:ext uri="{FF2B5EF4-FFF2-40B4-BE49-F238E27FC236}">
                  <a16:creationId xmlns:a16="http://schemas.microsoft.com/office/drawing/2014/main" id="{1139923B-F96A-4582-825D-AE04F8FA6455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18" name="Freeform: Shape 851">
              <a:extLst>
                <a:ext uri="{FF2B5EF4-FFF2-40B4-BE49-F238E27FC236}">
                  <a16:creationId xmlns:a16="http://schemas.microsoft.com/office/drawing/2014/main" id="{10270FBD-E81F-4B7D-9445-5BC604035E3A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19" name="Freeform: Shape 852">
              <a:extLst>
                <a:ext uri="{FF2B5EF4-FFF2-40B4-BE49-F238E27FC236}">
                  <a16:creationId xmlns:a16="http://schemas.microsoft.com/office/drawing/2014/main" id="{3B1AC4B2-87A7-4039-882E-18AA2F6AC415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20" name="Freeform: Shape 853">
              <a:extLst>
                <a:ext uri="{FF2B5EF4-FFF2-40B4-BE49-F238E27FC236}">
                  <a16:creationId xmlns:a16="http://schemas.microsoft.com/office/drawing/2014/main" id="{A8552885-82FB-451B-A65A-63BBA9CF13CB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721" name="Solar - con">
            <a:extLst>
              <a:ext uri="{FF2B5EF4-FFF2-40B4-BE49-F238E27FC236}">
                <a16:creationId xmlns:a16="http://schemas.microsoft.com/office/drawing/2014/main" id="{B045C990-0BDA-4C30-A44D-92A2754C176D}"/>
              </a:ext>
            </a:extLst>
          </p:cNvPr>
          <p:cNvGrpSpPr>
            <a:grpSpLocks/>
          </p:cNvGrpSpPr>
          <p:nvPr/>
        </p:nvGrpSpPr>
        <p:grpSpPr>
          <a:xfrm>
            <a:off x="3358860" y="3679603"/>
            <a:ext cx="121382" cy="121382"/>
            <a:chOff x="2259665" y="3308466"/>
            <a:chExt cx="83287" cy="83287"/>
          </a:xfrm>
          <a:solidFill>
            <a:srgbClr val="4099DA"/>
          </a:solidFill>
        </p:grpSpPr>
        <p:sp>
          <p:nvSpPr>
            <p:cNvPr id="2722" name="Freeform: Shape 856">
              <a:extLst>
                <a:ext uri="{FF2B5EF4-FFF2-40B4-BE49-F238E27FC236}">
                  <a16:creationId xmlns:a16="http://schemas.microsoft.com/office/drawing/2014/main" id="{04BB4C8A-53AA-4B49-AB95-1505581FDE5A}"/>
                </a:ext>
              </a:extLst>
            </p:cNvPr>
            <p:cNvSpPr/>
            <p:nvPr/>
          </p:nvSpPr>
          <p:spPr>
            <a:xfrm>
              <a:off x="2297821" y="3308466"/>
              <a:ext cx="7143" cy="10169"/>
            </a:xfrm>
            <a:custGeom>
              <a:avLst/>
              <a:gdLst>
                <a:gd name="connsiteX0" fmla="*/ 3530 w 7143"/>
                <a:gd name="connsiteY0" fmla="*/ 10169 h 10169"/>
                <a:gd name="connsiteX1" fmla="*/ 3530 w 7143"/>
                <a:gd name="connsiteY1" fmla="*/ 10169 h 10169"/>
                <a:gd name="connsiteX2" fmla="*/ 3530 w 7143"/>
                <a:gd name="connsiteY2" fmla="*/ 10169 h 10169"/>
                <a:gd name="connsiteX3" fmla="*/ 7144 w 7143"/>
                <a:gd name="connsiteY3" fmla="*/ 6723 h 10169"/>
                <a:gd name="connsiteX4" fmla="*/ 7144 w 7143"/>
                <a:gd name="connsiteY4" fmla="*/ 0 h 10169"/>
                <a:gd name="connsiteX5" fmla="*/ 0 w 7143"/>
                <a:gd name="connsiteY5" fmla="*/ 0 h 10169"/>
                <a:gd name="connsiteX6" fmla="*/ 0 w 7143"/>
                <a:gd name="connsiteY6" fmla="*/ 6723 h 10169"/>
                <a:gd name="connsiteX7" fmla="*/ 3530 w 7143"/>
                <a:gd name="connsiteY7" fmla="*/ 10169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530" y="10169"/>
                  </a:moveTo>
                  <a:lnTo>
                    <a:pt x="3530" y="10169"/>
                  </a:lnTo>
                  <a:lnTo>
                    <a:pt x="3530" y="10169"/>
                  </a:lnTo>
                  <a:cubicBezTo>
                    <a:pt x="5547" y="10169"/>
                    <a:pt x="7144" y="8656"/>
                    <a:pt x="7144" y="6723"/>
                  </a:cubicBezTo>
                  <a:lnTo>
                    <a:pt x="7144" y="0"/>
                  </a:lnTo>
                  <a:lnTo>
                    <a:pt x="0" y="0"/>
                  </a:lnTo>
                  <a:lnTo>
                    <a:pt x="0" y="6723"/>
                  </a:lnTo>
                  <a:cubicBezTo>
                    <a:pt x="0" y="8656"/>
                    <a:pt x="1597" y="10169"/>
                    <a:pt x="3530" y="1016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3" name="Freeform: Shape 857">
              <a:extLst>
                <a:ext uri="{FF2B5EF4-FFF2-40B4-BE49-F238E27FC236}">
                  <a16:creationId xmlns:a16="http://schemas.microsoft.com/office/drawing/2014/main" id="{4A111F5D-1FF3-4437-9E58-8A83B477568C}"/>
                </a:ext>
              </a:extLst>
            </p:cNvPr>
            <p:cNvSpPr/>
            <p:nvPr/>
          </p:nvSpPr>
          <p:spPr>
            <a:xfrm>
              <a:off x="2269330" y="3318131"/>
              <a:ext cx="10831" cy="10768"/>
            </a:xfrm>
            <a:custGeom>
              <a:avLst/>
              <a:gdLst>
                <a:gd name="connsiteX0" fmla="*/ 9749 w 10831"/>
                <a:gd name="connsiteY0" fmla="*/ 9749 h 10768"/>
                <a:gd name="connsiteX1" fmla="*/ 9749 w 10831"/>
                <a:gd name="connsiteY1" fmla="*/ 9749 h 10768"/>
                <a:gd name="connsiteX2" fmla="*/ 9749 w 10831"/>
                <a:gd name="connsiteY2" fmla="*/ 9749 h 10768"/>
                <a:gd name="connsiteX3" fmla="*/ 9833 w 10831"/>
                <a:gd name="connsiteY3" fmla="*/ 4791 h 10768"/>
                <a:gd name="connsiteX4" fmla="*/ 5043 w 10831"/>
                <a:gd name="connsiteY4" fmla="*/ 0 h 10768"/>
                <a:gd name="connsiteX5" fmla="*/ 0 w 10831"/>
                <a:gd name="connsiteY5" fmla="*/ 5043 h 10768"/>
                <a:gd name="connsiteX6" fmla="*/ 4791 w 10831"/>
                <a:gd name="connsiteY6" fmla="*/ 9834 h 10768"/>
                <a:gd name="connsiteX7" fmla="*/ 9749 w 10831"/>
                <a:gd name="connsiteY7" fmla="*/ 9749 h 1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768">
                  <a:moveTo>
                    <a:pt x="9749" y="9749"/>
                  </a:moveTo>
                  <a:lnTo>
                    <a:pt x="9749" y="9749"/>
                  </a:lnTo>
                  <a:cubicBezTo>
                    <a:pt x="9833" y="9665"/>
                    <a:pt x="9833" y="9665"/>
                    <a:pt x="9749" y="9749"/>
                  </a:cubicBezTo>
                  <a:cubicBezTo>
                    <a:pt x="11178" y="8321"/>
                    <a:pt x="11178" y="6136"/>
                    <a:pt x="9833" y="4791"/>
                  </a:cubicBezTo>
                  <a:lnTo>
                    <a:pt x="5043" y="0"/>
                  </a:lnTo>
                  <a:lnTo>
                    <a:pt x="0" y="5043"/>
                  </a:lnTo>
                  <a:lnTo>
                    <a:pt x="4791" y="9834"/>
                  </a:lnTo>
                  <a:cubicBezTo>
                    <a:pt x="6219" y="11094"/>
                    <a:pt x="8404" y="11094"/>
                    <a:pt x="9749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4" name="Freeform: Shape 858">
              <a:extLst>
                <a:ext uri="{FF2B5EF4-FFF2-40B4-BE49-F238E27FC236}">
                  <a16:creationId xmlns:a16="http://schemas.microsoft.com/office/drawing/2014/main" id="{E6A7C2BC-CA0B-4F45-BA5C-A675B13FB0B5}"/>
                </a:ext>
              </a:extLst>
            </p:cNvPr>
            <p:cNvSpPr/>
            <p:nvPr/>
          </p:nvSpPr>
          <p:spPr>
            <a:xfrm>
              <a:off x="2259665" y="3346538"/>
              <a:ext cx="10169" cy="7059"/>
            </a:xfrm>
            <a:custGeom>
              <a:avLst/>
              <a:gdLst>
                <a:gd name="connsiteX0" fmla="*/ 10169 w 10169"/>
                <a:gd name="connsiteY0" fmla="*/ 3530 h 7059"/>
                <a:gd name="connsiteX1" fmla="*/ 10169 w 10169"/>
                <a:gd name="connsiteY1" fmla="*/ 3530 h 7059"/>
                <a:gd name="connsiteX2" fmla="*/ 6724 w 10169"/>
                <a:gd name="connsiteY2" fmla="*/ 0 h 7059"/>
                <a:gd name="connsiteX3" fmla="*/ 0 w 10169"/>
                <a:gd name="connsiteY3" fmla="*/ 0 h 7059"/>
                <a:gd name="connsiteX4" fmla="*/ 0 w 10169"/>
                <a:gd name="connsiteY4" fmla="*/ 7060 h 7059"/>
                <a:gd name="connsiteX5" fmla="*/ 6724 w 10169"/>
                <a:gd name="connsiteY5" fmla="*/ 7060 h 7059"/>
                <a:gd name="connsiteX6" fmla="*/ 10169 w 10169"/>
                <a:gd name="connsiteY6" fmla="*/ 3530 h 7059"/>
                <a:gd name="connsiteX7" fmla="*/ 10169 w 10169"/>
                <a:gd name="connsiteY7" fmla="*/ 3530 h 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059">
                  <a:moveTo>
                    <a:pt x="10169" y="3530"/>
                  </a:moveTo>
                  <a:lnTo>
                    <a:pt x="10169" y="3530"/>
                  </a:lnTo>
                  <a:cubicBezTo>
                    <a:pt x="10169" y="1597"/>
                    <a:pt x="8657" y="0"/>
                    <a:pt x="6724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6724" y="7060"/>
                  </a:lnTo>
                  <a:cubicBezTo>
                    <a:pt x="8657" y="7060"/>
                    <a:pt x="10169" y="5463"/>
                    <a:pt x="10169" y="3530"/>
                  </a:cubicBezTo>
                  <a:lnTo>
                    <a:pt x="10169" y="3530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5" name="Freeform: Shape 859">
              <a:extLst>
                <a:ext uri="{FF2B5EF4-FFF2-40B4-BE49-F238E27FC236}">
                  <a16:creationId xmlns:a16="http://schemas.microsoft.com/office/drawing/2014/main" id="{F87BA0C2-54EC-4D9C-920F-A6EE8ACEF704}"/>
                </a:ext>
              </a:extLst>
            </p:cNvPr>
            <p:cNvSpPr/>
            <p:nvPr/>
          </p:nvSpPr>
          <p:spPr>
            <a:xfrm>
              <a:off x="2269246" y="3371257"/>
              <a:ext cx="10831" cy="10831"/>
            </a:xfrm>
            <a:custGeom>
              <a:avLst/>
              <a:gdLst>
                <a:gd name="connsiteX0" fmla="*/ 9749 w 10831"/>
                <a:gd name="connsiteY0" fmla="*/ 1082 h 10831"/>
                <a:gd name="connsiteX1" fmla="*/ 9749 w 10831"/>
                <a:gd name="connsiteY1" fmla="*/ 1082 h 10831"/>
                <a:gd name="connsiteX2" fmla="*/ 4791 w 10831"/>
                <a:gd name="connsiteY2" fmla="*/ 998 h 10831"/>
                <a:gd name="connsiteX3" fmla="*/ 0 w 10831"/>
                <a:gd name="connsiteY3" fmla="*/ 5789 h 10831"/>
                <a:gd name="connsiteX4" fmla="*/ 5043 w 10831"/>
                <a:gd name="connsiteY4" fmla="*/ 10832 h 10831"/>
                <a:gd name="connsiteX5" fmla="*/ 9833 w 10831"/>
                <a:gd name="connsiteY5" fmla="*/ 6041 h 10831"/>
                <a:gd name="connsiteX6" fmla="*/ 9749 w 10831"/>
                <a:gd name="connsiteY6" fmla="*/ 1082 h 10831"/>
                <a:gd name="connsiteX7" fmla="*/ 9749 w 10831"/>
                <a:gd name="connsiteY7" fmla="*/ 1082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9749" y="1082"/>
                  </a:moveTo>
                  <a:lnTo>
                    <a:pt x="9749" y="1082"/>
                  </a:lnTo>
                  <a:cubicBezTo>
                    <a:pt x="8320" y="-346"/>
                    <a:pt x="6135" y="-346"/>
                    <a:pt x="4791" y="998"/>
                  </a:cubicBezTo>
                  <a:lnTo>
                    <a:pt x="0" y="5789"/>
                  </a:lnTo>
                  <a:lnTo>
                    <a:pt x="5043" y="10832"/>
                  </a:lnTo>
                  <a:lnTo>
                    <a:pt x="9833" y="6041"/>
                  </a:lnTo>
                  <a:cubicBezTo>
                    <a:pt x="11178" y="4696"/>
                    <a:pt x="11178" y="2511"/>
                    <a:pt x="9749" y="1082"/>
                  </a:cubicBezTo>
                  <a:cubicBezTo>
                    <a:pt x="9749" y="1082"/>
                    <a:pt x="9749" y="1082"/>
                    <a:pt x="9749" y="1082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6" name="Freeform: Shape 860">
              <a:extLst>
                <a:ext uri="{FF2B5EF4-FFF2-40B4-BE49-F238E27FC236}">
                  <a16:creationId xmlns:a16="http://schemas.microsoft.com/office/drawing/2014/main" id="{F5A9A09C-28CE-49A0-BF80-ECC0D74C3B6F}"/>
                </a:ext>
              </a:extLst>
            </p:cNvPr>
            <p:cNvSpPr/>
            <p:nvPr/>
          </p:nvSpPr>
          <p:spPr>
            <a:xfrm>
              <a:off x="2297653" y="3381584"/>
              <a:ext cx="7143" cy="10169"/>
            </a:xfrm>
            <a:custGeom>
              <a:avLst/>
              <a:gdLst>
                <a:gd name="connsiteX0" fmla="*/ 3614 w 7143"/>
                <a:gd name="connsiteY0" fmla="*/ 0 h 10169"/>
                <a:gd name="connsiteX1" fmla="*/ 3614 w 7143"/>
                <a:gd name="connsiteY1" fmla="*/ 0 h 10169"/>
                <a:gd name="connsiteX2" fmla="*/ 3614 w 7143"/>
                <a:gd name="connsiteY2" fmla="*/ 0 h 10169"/>
                <a:gd name="connsiteX3" fmla="*/ 0 w 7143"/>
                <a:gd name="connsiteY3" fmla="*/ 3446 h 10169"/>
                <a:gd name="connsiteX4" fmla="*/ 0 w 7143"/>
                <a:gd name="connsiteY4" fmla="*/ 10169 h 10169"/>
                <a:gd name="connsiteX5" fmla="*/ 7144 w 7143"/>
                <a:gd name="connsiteY5" fmla="*/ 10169 h 10169"/>
                <a:gd name="connsiteX6" fmla="*/ 7144 w 7143"/>
                <a:gd name="connsiteY6" fmla="*/ 3446 h 10169"/>
                <a:gd name="connsiteX7" fmla="*/ 3614 w 7143"/>
                <a:gd name="connsiteY7" fmla="*/ 0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614" y="0"/>
                  </a:moveTo>
                  <a:lnTo>
                    <a:pt x="3614" y="0"/>
                  </a:lnTo>
                  <a:lnTo>
                    <a:pt x="3614" y="0"/>
                  </a:lnTo>
                  <a:cubicBezTo>
                    <a:pt x="1597" y="0"/>
                    <a:pt x="0" y="1513"/>
                    <a:pt x="0" y="3446"/>
                  </a:cubicBezTo>
                  <a:lnTo>
                    <a:pt x="0" y="10169"/>
                  </a:lnTo>
                  <a:lnTo>
                    <a:pt x="7144" y="10169"/>
                  </a:lnTo>
                  <a:lnTo>
                    <a:pt x="7144" y="3446"/>
                  </a:lnTo>
                  <a:cubicBezTo>
                    <a:pt x="7144" y="1597"/>
                    <a:pt x="5547" y="0"/>
                    <a:pt x="3614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7" name="Freeform: Shape 861">
              <a:extLst>
                <a:ext uri="{FF2B5EF4-FFF2-40B4-BE49-F238E27FC236}">
                  <a16:creationId xmlns:a16="http://schemas.microsoft.com/office/drawing/2014/main" id="{BDA71DE3-CD14-4F54-BF2B-505D917AD69B}"/>
                </a:ext>
              </a:extLst>
            </p:cNvPr>
            <p:cNvSpPr/>
            <p:nvPr/>
          </p:nvSpPr>
          <p:spPr>
            <a:xfrm>
              <a:off x="2322456" y="3371372"/>
              <a:ext cx="10831" cy="10800"/>
            </a:xfrm>
            <a:custGeom>
              <a:avLst/>
              <a:gdLst>
                <a:gd name="connsiteX0" fmla="*/ 1082 w 10831"/>
                <a:gd name="connsiteY0" fmla="*/ 1051 h 10800"/>
                <a:gd name="connsiteX1" fmla="*/ 1082 w 10831"/>
                <a:gd name="connsiteY1" fmla="*/ 1051 h 10800"/>
                <a:gd name="connsiteX2" fmla="*/ 1082 w 10831"/>
                <a:gd name="connsiteY2" fmla="*/ 1051 h 10800"/>
                <a:gd name="connsiteX3" fmla="*/ 998 w 10831"/>
                <a:gd name="connsiteY3" fmla="*/ 6010 h 10800"/>
                <a:gd name="connsiteX4" fmla="*/ 5789 w 10831"/>
                <a:gd name="connsiteY4" fmla="*/ 10800 h 10800"/>
                <a:gd name="connsiteX5" fmla="*/ 10831 w 10831"/>
                <a:gd name="connsiteY5" fmla="*/ 5758 h 10800"/>
                <a:gd name="connsiteX6" fmla="*/ 6041 w 10831"/>
                <a:gd name="connsiteY6" fmla="*/ 967 h 10800"/>
                <a:gd name="connsiteX7" fmla="*/ 1082 w 10831"/>
                <a:gd name="connsiteY7" fmla="*/ 1051 h 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00">
                  <a:moveTo>
                    <a:pt x="1082" y="1051"/>
                  </a:moveTo>
                  <a:cubicBezTo>
                    <a:pt x="1082" y="1051"/>
                    <a:pt x="1082" y="1051"/>
                    <a:pt x="1082" y="1051"/>
                  </a:cubicBezTo>
                  <a:lnTo>
                    <a:pt x="1082" y="1051"/>
                  </a:lnTo>
                  <a:cubicBezTo>
                    <a:pt x="-346" y="2480"/>
                    <a:pt x="-346" y="4665"/>
                    <a:pt x="998" y="6010"/>
                  </a:cubicBezTo>
                  <a:lnTo>
                    <a:pt x="5789" y="10800"/>
                  </a:lnTo>
                  <a:lnTo>
                    <a:pt x="10831" y="5758"/>
                  </a:lnTo>
                  <a:lnTo>
                    <a:pt x="6041" y="967"/>
                  </a:lnTo>
                  <a:cubicBezTo>
                    <a:pt x="4612" y="-377"/>
                    <a:pt x="2427" y="-293"/>
                    <a:pt x="1082" y="1051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8" name="Freeform: Shape 862">
              <a:extLst>
                <a:ext uri="{FF2B5EF4-FFF2-40B4-BE49-F238E27FC236}">
                  <a16:creationId xmlns:a16="http://schemas.microsoft.com/office/drawing/2014/main" id="{98A02993-E8AE-4329-9C53-B69807970C40}"/>
                </a:ext>
              </a:extLst>
            </p:cNvPr>
            <p:cNvSpPr/>
            <p:nvPr/>
          </p:nvSpPr>
          <p:spPr>
            <a:xfrm>
              <a:off x="2332783" y="3346622"/>
              <a:ext cx="10169" cy="7144"/>
            </a:xfrm>
            <a:custGeom>
              <a:avLst/>
              <a:gdLst>
                <a:gd name="connsiteX0" fmla="*/ 3446 w 10169"/>
                <a:gd name="connsiteY0" fmla="*/ 0 h 7144"/>
                <a:gd name="connsiteX1" fmla="*/ 0 w 10169"/>
                <a:gd name="connsiteY1" fmla="*/ 3530 h 7144"/>
                <a:gd name="connsiteX2" fmla="*/ 0 w 10169"/>
                <a:gd name="connsiteY2" fmla="*/ 3530 h 7144"/>
                <a:gd name="connsiteX3" fmla="*/ 0 w 10169"/>
                <a:gd name="connsiteY3" fmla="*/ 3614 h 7144"/>
                <a:gd name="connsiteX4" fmla="*/ 3446 w 10169"/>
                <a:gd name="connsiteY4" fmla="*/ 7144 h 7144"/>
                <a:gd name="connsiteX5" fmla="*/ 10169 w 10169"/>
                <a:gd name="connsiteY5" fmla="*/ 7144 h 7144"/>
                <a:gd name="connsiteX6" fmla="*/ 10169 w 10169"/>
                <a:gd name="connsiteY6" fmla="*/ 84 h 7144"/>
                <a:gd name="connsiteX7" fmla="*/ 3446 w 10169"/>
                <a:gd name="connsiteY7" fmla="*/ 84 h 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144">
                  <a:moveTo>
                    <a:pt x="3446" y="0"/>
                  </a:moveTo>
                  <a:cubicBezTo>
                    <a:pt x="1513" y="0"/>
                    <a:pt x="0" y="1597"/>
                    <a:pt x="0" y="3530"/>
                  </a:cubicBezTo>
                  <a:lnTo>
                    <a:pt x="0" y="3530"/>
                  </a:lnTo>
                  <a:lnTo>
                    <a:pt x="0" y="3614"/>
                  </a:lnTo>
                  <a:cubicBezTo>
                    <a:pt x="0" y="5547"/>
                    <a:pt x="1513" y="7144"/>
                    <a:pt x="3446" y="7144"/>
                  </a:cubicBezTo>
                  <a:lnTo>
                    <a:pt x="10169" y="7144"/>
                  </a:lnTo>
                  <a:lnTo>
                    <a:pt x="10169" y="84"/>
                  </a:lnTo>
                  <a:lnTo>
                    <a:pt x="3446" y="8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29" name="Freeform: Shape 863">
              <a:extLst>
                <a:ext uri="{FF2B5EF4-FFF2-40B4-BE49-F238E27FC236}">
                  <a16:creationId xmlns:a16="http://schemas.microsoft.com/office/drawing/2014/main" id="{B74D8608-B16B-4B27-B616-90F40CBCCEE8}"/>
                </a:ext>
              </a:extLst>
            </p:cNvPr>
            <p:cNvSpPr/>
            <p:nvPr/>
          </p:nvSpPr>
          <p:spPr>
            <a:xfrm>
              <a:off x="2322540" y="3318215"/>
              <a:ext cx="10831" cy="10831"/>
            </a:xfrm>
            <a:custGeom>
              <a:avLst/>
              <a:gdLst>
                <a:gd name="connsiteX0" fmla="*/ 1082 w 10831"/>
                <a:gd name="connsiteY0" fmla="*/ 9749 h 10831"/>
                <a:gd name="connsiteX1" fmla="*/ 1082 w 10831"/>
                <a:gd name="connsiteY1" fmla="*/ 9749 h 10831"/>
                <a:gd name="connsiteX2" fmla="*/ 6041 w 10831"/>
                <a:gd name="connsiteY2" fmla="*/ 9833 h 10831"/>
                <a:gd name="connsiteX3" fmla="*/ 10831 w 10831"/>
                <a:gd name="connsiteY3" fmla="*/ 5043 h 10831"/>
                <a:gd name="connsiteX4" fmla="*/ 5789 w 10831"/>
                <a:gd name="connsiteY4" fmla="*/ 0 h 10831"/>
                <a:gd name="connsiteX5" fmla="*/ 998 w 10831"/>
                <a:gd name="connsiteY5" fmla="*/ 4791 h 10831"/>
                <a:gd name="connsiteX6" fmla="*/ 1082 w 10831"/>
                <a:gd name="connsiteY6" fmla="*/ 9749 h 10831"/>
                <a:gd name="connsiteX7" fmla="*/ 1082 w 10831"/>
                <a:gd name="connsiteY7" fmla="*/ 9749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1082" y="9749"/>
                  </a:moveTo>
                  <a:cubicBezTo>
                    <a:pt x="1082" y="9749"/>
                    <a:pt x="1082" y="9749"/>
                    <a:pt x="1082" y="9749"/>
                  </a:cubicBezTo>
                  <a:cubicBezTo>
                    <a:pt x="2511" y="11178"/>
                    <a:pt x="4696" y="11178"/>
                    <a:pt x="6041" y="9833"/>
                  </a:cubicBezTo>
                  <a:lnTo>
                    <a:pt x="10831" y="5043"/>
                  </a:lnTo>
                  <a:lnTo>
                    <a:pt x="5789" y="0"/>
                  </a:lnTo>
                  <a:lnTo>
                    <a:pt x="998" y="4791"/>
                  </a:lnTo>
                  <a:cubicBezTo>
                    <a:pt x="-346" y="6136"/>
                    <a:pt x="-346" y="8320"/>
                    <a:pt x="1082" y="9749"/>
                  </a:cubicBezTo>
                  <a:cubicBezTo>
                    <a:pt x="1082" y="9749"/>
                    <a:pt x="1082" y="9749"/>
                    <a:pt x="1082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30" name="Freeform: Shape 864">
              <a:extLst>
                <a:ext uri="{FF2B5EF4-FFF2-40B4-BE49-F238E27FC236}">
                  <a16:creationId xmlns:a16="http://schemas.microsoft.com/office/drawing/2014/main" id="{377E37A8-5E74-420E-9D3C-707DC352A825}"/>
                </a:ext>
              </a:extLst>
            </p:cNvPr>
            <p:cNvSpPr/>
            <p:nvPr/>
          </p:nvSpPr>
          <p:spPr>
            <a:xfrm>
              <a:off x="2276305" y="3325106"/>
              <a:ext cx="50090" cy="50090"/>
            </a:xfrm>
            <a:custGeom>
              <a:avLst/>
              <a:gdLst>
                <a:gd name="connsiteX0" fmla="*/ 25045 w 50090"/>
                <a:gd name="connsiteY0" fmla="*/ 0 h 50090"/>
                <a:gd name="connsiteX1" fmla="*/ 0 w 50090"/>
                <a:gd name="connsiteY1" fmla="*/ 25045 h 50090"/>
                <a:gd name="connsiteX2" fmla="*/ 25045 w 50090"/>
                <a:gd name="connsiteY2" fmla="*/ 50090 h 50090"/>
                <a:gd name="connsiteX3" fmla="*/ 50090 w 50090"/>
                <a:gd name="connsiteY3" fmla="*/ 25045 h 50090"/>
                <a:gd name="connsiteX4" fmla="*/ 25045 w 50090"/>
                <a:gd name="connsiteY4" fmla="*/ 0 h 5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90" h="50090">
                  <a:moveTo>
                    <a:pt x="25045" y="0"/>
                  </a:moveTo>
                  <a:cubicBezTo>
                    <a:pt x="11178" y="0"/>
                    <a:pt x="0" y="11178"/>
                    <a:pt x="0" y="25045"/>
                  </a:cubicBezTo>
                  <a:cubicBezTo>
                    <a:pt x="0" y="38828"/>
                    <a:pt x="11178" y="50090"/>
                    <a:pt x="25045" y="50090"/>
                  </a:cubicBezTo>
                  <a:cubicBezTo>
                    <a:pt x="38912" y="50090"/>
                    <a:pt x="50090" y="38828"/>
                    <a:pt x="50090" y="25045"/>
                  </a:cubicBezTo>
                  <a:cubicBezTo>
                    <a:pt x="50090" y="11178"/>
                    <a:pt x="38828" y="0"/>
                    <a:pt x="25045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2731" name="Wind - Op">
            <a:extLst>
              <a:ext uri="{FF2B5EF4-FFF2-40B4-BE49-F238E27FC236}">
                <a16:creationId xmlns:a16="http://schemas.microsoft.com/office/drawing/2014/main" id="{2ABF05B1-2331-47E2-BAF5-2D714EE623E4}"/>
              </a:ext>
            </a:extLst>
          </p:cNvPr>
          <p:cNvGrpSpPr>
            <a:grpSpLocks/>
          </p:cNvGrpSpPr>
          <p:nvPr/>
        </p:nvGrpSpPr>
        <p:grpSpPr>
          <a:xfrm>
            <a:off x="3500254" y="3387716"/>
            <a:ext cx="104233" cy="138889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732" name="Freeform: Shape 812">
              <a:extLst>
                <a:ext uri="{FF2B5EF4-FFF2-40B4-BE49-F238E27FC236}">
                  <a16:creationId xmlns:a16="http://schemas.microsoft.com/office/drawing/2014/main" id="{2F6A9C78-BEAA-4A5C-9012-42B655475EB9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 dirty="0"/>
            </a:p>
          </p:txBody>
        </p:sp>
        <p:sp>
          <p:nvSpPr>
            <p:cNvPr id="2733" name="Freeform: Shape 813">
              <a:extLst>
                <a:ext uri="{FF2B5EF4-FFF2-40B4-BE49-F238E27FC236}">
                  <a16:creationId xmlns:a16="http://schemas.microsoft.com/office/drawing/2014/main" id="{F47D2DCA-7A8C-4482-9257-26CB8813F665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34" name="Freeform: Shape 814">
              <a:extLst>
                <a:ext uri="{FF2B5EF4-FFF2-40B4-BE49-F238E27FC236}">
                  <a16:creationId xmlns:a16="http://schemas.microsoft.com/office/drawing/2014/main" id="{ED159430-992F-41CE-9E42-5DF03567A573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35" name="Freeform: Shape 815">
              <a:extLst>
                <a:ext uri="{FF2B5EF4-FFF2-40B4-BE49-F238E27FC236}">
                  <a16:creationId xmlns:a16="http://schemas.microsoft.com/office/drawing/2014/main" id="{E475FA75-8E92-48BA-8650-2CFDA6D47BE1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36" name="Freeform: Shape 816">
              <a:extLst>
                <a:ext uri="{FF2B5EF4-FFF2-40B4-BE49-F238E27FC236}">
                  <a16:creationId xmlns:a16="http://schemas.microsoft.com/office/drawing/2014/main" id="{9BF04651-AB60-4A95-B425-BFE81FAF18D4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 dirty="0"/>
            </a:p>
          </p:txBody>
        </p:sp>
        <p:sp>
          <p:nvSpPr>
            <p:cNvPr id="2737" name="Freeform: Shape 817">
              <a:extLst>
                <a:ext uri="{FF2B5EF4-FFF2-40B4-BE49-F238E27FC236}">
                  <a16:creationId xmlns:a16="http://schemas.microsoft.com/office/drawing/2014/main" id="{8B7A2AB2-4C49-4D15-886B-C0A504B18E2D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738" name="Wind - Op">
            <a:extLst>
              <a:ext uri="{FF2B5EF4-FFF2-40B4-BE49-F238E27FC236}">
                <a16:creationId xmlns:a16="http://schemas.microsoft.com/office/drawing/2014/main" id="{6F8D61CC-9F0B-487D-808E-A69801DB62A9}"/>
              </a:ext>
            </a:extLst>
          </p:cNvPr>
          <p:cNvGrpSpPr>
            <a:grpSpLocks/>
          </p:cNvGrpSpPr>
          <p:nvPr/>
        </p:nvGrpSpPr>
        <p:grpSpPr>
          <a:xfrm>
            <a:off x="3749904" y="3434791"/>
            <a:ext cx="104233" cy="138889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739" name="Freeform: Shape 839">
              <a:extLst>
                <a:ext uri="{FF2B5EF4-FFF2-40B4-BE49-F238E27FC236}">
                  <a16:creationId xmlns:a16="http://schemas.microsoft.com/office/drawing/2014/main" id="{1998129A-9257-4635-A898-5F853C60047B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40" name="Freeform: Shape 840">
              <a:extLst>
                <a:ext uri="{FF2B5EF4-FFF2-40B4-BE49-F238E27FC236}">
                  <a16:creationId xmlns:a16="http://schemas.microsoft.com/office/drawing/2014/main" id="{F41D8F0A-7180-4FDE-8213-7575A8D7AC29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41" name="Freeform: Shape 841">
              <a:extLst>
                <a:ext uri="{FF2B5EF4-FFF2-40B4-BE49-F238E27FC236}">
                  <a16:creationId xmlns:a16="http://schemas.microsoft.com/office/drawing/2014/main" id="{7EC9EDF5-FA51-43F2-AC07-2C2E42177648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42" name="Freeform: Shape 842">
              <a:extLst>
                <a:ext uri="{FF2B5EF4-FFF2-40B4-BE49-F238E27FC236}">
                  <a16:creationId xmlns:a16="http://schemas.microsoft.com/office/drawing/2014/main" id="{BDB2A961-0026-4EEF-B98A-E69572DAFBF0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43" name="Freeform: Shape 843">
              <a:extLst>
                <a:ext uri="{FF2B5EF4-FFF2-40B4-BE49-F238E27FC236}">
                  <a16:creationId xmlns:a16="http://schemas.microsoft.com/office/drawing/2014/main" id="{01B91B3A-8A4D-462B-8B94-3846754C13F1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44" name="Freeform: Shape 844">
              <a:extLst>
                <a:ext uri="{FF2B5EF4-FFF2-40B4-BE49-F238E27FC236}">
                  <a16:creationId xmlns:a16="http://schemas.microsoft.com/office/drawing/2014/main" id="{6484E547-D073-4614-A82A-8EC88E6F5263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745" name="Wind - Operating">
            <a:extLst>
              <a:ext uri="{FF2B5EF4-FFF2-40B4-BE49-F238E27FC236}">
                <a16:creationId xmlns:a16="http://schemas.microsoft.com/office/drawing/2014/main" id="{DB3DF0EE-6EA5-4479-94CA-DD8DCCD7BE07}"/>
              </a:ext>
            </a:extLst>
          </p:cNvPr>
          <p:cNvGrpSpPr>
            <a:grpSpLocks/>
          </p:cNvGrpSpPr>
          <p:nvPr/>
        </p:nvGrpSpPr>
        <p:grpSpPr>
          <a:xfrm>
            <a:off x="3890376" y="3369717"/>
            <a:ext cx="104233" cy="138889"/>
            <a:chOff x="2265548" y="3181564"/>
            <a:chExt cx="71521" cy="95300"/>
          </a:xfrm>
          <a:solidFill>
            <a:schemeClr val="accent1"/>
          </a:solidFill>
        </p:grpSpPr>
        <p:sp>
          <p:nvSpPr>
            <p:cNvPr id="2746" name="Freeform: Shape 830">
              <a:extLst>
                <a:ext uri="{FF2B5EF4-FFF2-40B4-BE49-F238E27FC236}">
                  <a16:creationId xmlns:a16="http://schemas.microsoft.com/office/drawing/2014/main" id="{9B66997A-D01C-4D6B-AE19-322D8618337A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47" name="Freeform: Shape 831">
              <a:extLst>
                <a:ext uri="{FF2B5EF4-FFF2-40B4-BE49-F238E27FC236}">
                  <a16:creationId xmlns:a16="http://schemas.microsoft.com/office/drawing/2014/main" id="{8B97269D-195E-4BDE-9017-1E7CCA105657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48" name="Freeform: Shape 832">
              <a:extLst>
                <a:ext uri="{FF2B5EF4-FFF2-40B4-BE49-F238E27FC236}">
                  <a16:creationId xmlns:a16="http://schemas.microsoft.com/office/drawing/2014/main" id="{71E7D4A0-380D-473B-A27F-A66325361551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49" name="Freeform: Shape 833">
              <a:extLst>
                <a:ext uri="{FF2B5EF4-FFF2-40B4-BE49-F238E27FC236}">
                  <a16:creationId xmlns:a16="http://schemas.microsoft.com/office/drawing/2014/main" id="{2F5A6D4E-A0C9-459D-8625-155096CC1D64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50" name="Freeform: Shape 834">
              <a:extLst>
                <a:ext uri="{FF2B5EF4-FFF2-40B4-BE49-F238E27FC236}">
                  <a16:creationId xmlns:a16="http://schemas.microsoft.com/office/drawing/2014/main" id="{EE3BD84A-0D4E-45B9-BDC1-ECAB92128622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51" name="Freeform: Shape 835">
              <a:extLst>
                <a:ext uri="{FF2B5EF4-FFF2-40B4-BE49-F238E27FC236}">
                  <a16:creationId xmlns:a16="http://schemas.microsoft.com/office/drawing/2014/main" id="{FDE527BD-1224-4D78-8B57-47308FB81696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753" name="Solar - con">
            <a:extLst>
              <a:ext uri="{FF2B5EF4-FFF2-40B4-BE49-F238E27FC236}">
                <a16:creationId xmlns:a16="http://schemas.microsoft.com/office/drawing/2014/main" id="{E019CB1C-8D5D-4A99-B642-BCA7FE0DF376}"/>
              </a:ext>
            </a:extLst>
          </p:cNvPr>
          <p:cNvGrpSpPr>
            <a:grpSpLocks/>
          </p:cNvGrpSpPr>
          <p:nvPr/>
        </p:nvGrpSpPr>
        <p:grpSpPr>
          <a:xfrm>
            <a:off x="4194085" y="4075049"/>
            <a:ext cx="121382" cy="121382"/>
            <a:chOff x="2259665" y="3308466"/>
            <a:chExt cx="83287" cy="83287"/>
          </a:xfrm>
          <a:solidFill>
            <a:srgbClr val="8ECDC8"/>
          </a:solidFill>
        </p:grpSpPr>
        <p:sp>
          <p:nvSpPr>
            <p:cNvPr id="2754" name="Freeform: Shape 856">
              <a:extLst>
                <a:ext uri="{FF2B5EF4-FFF2-40B4-BE49-F238E27FC236}">
                  <a16:creationId xmlns:a16="http://schemas.microsoft.com/office/drawing/2014/main" id="{84240A44-53FF-4025-A80E-2D0B10897879}"/>
                </a:ext>
              </a:extLst>
            </p:cNvPr>
            <p:cNvSpPr/>
            <p:nvPr/>
          </p:nvSpPr>
          <p:spPr>
            <a:xfrm>
              <a:off x="2297821" y="3308466"/>
              <a:ext cx="7143" cy="10169"/>
            </a:xfrm>
            <a:custGeom>
              <a:avLst/>
              <a:gdLst>
                <a:gd name="connsiteX0" fmla="*/ 3530 w 7143"/>
                <a:gd name="connsiteY0" fmla="*/ 10169 h 10169"/>
                <a:gd name="connsiteX1" fmla="*/ 3530 w 7143"/>
                <a:gd name="connsiteY1" fmla="*/ 10169 h 10169"/>
                <a:gd name="connsiteX2" fmla="*/ 3530 w 7143"/>
                <a:gd name="connsiteY2" fmla="*/ 10169 h 10169"/>
                <a:gd name="connsiteX3" fmla="*/ 7144 w 7143"/>
                <a:gd name="connsiteY3" fmla="*/ 6723 h 10169"/>
                <a:gd name="connsiteX4" fmla="*/ 7144 w 7143"/>
                <a:gd name="connsiteY4" fmla="*/ 0 h 10169"/>
                <a:gd name="connsiteX5" fmla="*/ 0 w 7143"/>
                <a:gd name="connsiteY5" fmla="*/ 0 h 10169"/>
                <a:gd name="connsiteX6" fmla="*/ 0 w 7143"/>
                <a:gd name="connsiteY6" fmla="*/ 6723 h 10169"/>
                <a:gd name="connsiteX7" fmla="*/ 3530 w 7143"/>
                <a:gd name="connsiteY7" fmla="*/ 10169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530" y="10169"/>
                  </a:moveTo>
                  <a:lnTo>
                    <a:pt x="3530" y="10169"/>
                  </a:lnTo>
                  <a:lnTo>
                    <a:pt x="3530" y="10169"/>
                  </a:lnTo>
                  <a:cubicBezTo>
                    <a:pt x="5547" y="10169"/>
                    <a:pt x="7144" y="8656"/>
                    <a:pt x="7144" y="6723"/>
                  </a:cubicBezTo>
                  <a:lnTo>
                    <a:pt x="7144" y="0"/>
                  </a:lnTo>
                  <a:lnTo>
                    <a:pt x="0" y="0"/>
                  </a:lnTo>
                  <a:lnTo>
                    <a:pt x="0" y="6723"/>
                  </a:lnTo>
                  <a:cubicBezTo>
                    <a:pt x="0" y="8656"/>
                    <a:pt x="1597" y="10169"/>
                    <a:pt x="3530" y="1016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5" name="Freeform: Shape 857">
              <a:extLst>
                <a:ext uri="{FF2B5EF4-FFF2-40B4-BE49-F238E27FC236}">
                  <a16:creationId xmlns:a16="http://schemas.microsoft.com/office/drawing/2014/main" id="{72F2066F-A3E8-4224-91AE-A384FD46BF74}"/>
                </a:ext>
              </a:extLst>
            </p:cNvPr>
            <p:cNvSpPr/>
            <p:nvPr/>
          </p:nvSpPr>
          <p:spPr>
            <a:xfrm>
              <a:off x="2269330" y="3318131"/>
              <a:ext cx="10831" cy="10768"/>
            </a:xfrm>
            <a:custGeom>
              <a:avLst/>
              <a:gdLst>
                <a:gd name="connsiteX0" fmla="*/ 9749 w 10831"/>
                <a:gd name="connsiteY0" fmla="*/ 9749 h 10768"/>
                <a:gd name="connsiteX1" fmla="*/ 9749 w 10831"/>
                <a:gd name="connsiteY1" fmla="*/ 9749 h 10768"/>
                <a:gd name="connsiteX2" fmla="*/ 9749 w 10831"/>
                <a:gd name="connsiteY2" fmla="*/ 9749 h 10768"/>
                <a:gd name="connsiteX3" fmla="*/ 9833 w 10831"/>
                <a:gd name="connsiteY3" fmla="*/ 4791 h 10768"/>
                <a:gd name="connsiteX4" fmla="*/ 5043 w 10831"/>
                <a:gd name="connsiteY4" fmla="*/ 0 h 10768"/>
                <a:gd name="connsiteX5" fmla="*/ 0 w 10831"/>
                <a:gd name="connsiteY5" fmla="*/ 5043 h 10768"/>
                <a:gd name="connsiteX6" fmla="*/ 4791 w 10831"/>
                <a:gd name="connsiteY6" fmla="*/ 9834 h 10768"/>
                <a:gd name="connsiteX7" fmla="*/ 9749 w 10831"/>
                <a:gd name="connsiteY7" fmla="*/ 9749 h 1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768">
                  <a:moveTo>
                    <a:pt x="9749" y="9749"/>
                  </a:moveTo>
                  <a:lnTo>
                    <a:pt x="9749" y="9749"/>
                  </a:lnTo>
                  <a:cubicBezTo>
                    <a:pt x="9833" y="9665"/>
                    <a:pt x="9833" y="9665"/>
                    <a:pt x="9749" y="9749"/>
                  </a:cubicBezTo>
                  <a:cubicBezTo>
                    <a:pt x="11178" y="8321"/>
                    <a:pt x="11178" y="6136"/>
                    <a:pt x="9833" y="4791"/>
                  </a:cubicBezTo>
                  <a:lnTo>
                    <a:pt x="5043" y="0"/>
                  </a:lnTo>
                  <a:lnTo>
                    <a:pt x="0" y="5043"/>
                  </a:lnTo>
                  <a:lnTo>
                    <a:pt x="4791" y="9834"/>
                  </a:lnTo>
                  <a:cubicBezTo>
                    <a:pt x="6219" y="11094"/>
                    <a:pt x="8404" y="11094"/>
                    <a:pt x="9749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6" name="Freeform: Shape 858">
              <a:extLst>
                <a:ext uri="{FF2B5EF4-FFF2-40B4-BE49-F238E27FC236}">
                  <a16:creationId xmlns:a16="http://schemas.microsoft.com/office/drawing/2014/main" id="{E23FE1B6-3ED8-4201-8057-36DF2031E95C}"/>
                </a:ext>
              </a:extLst>
            </p:cNvPr>
            <p:cNvSpPr/>
            <p:nvPr/>
          </p:nvSpPr>
          <p:spPr>
            <a:xfrm>
              <a:off x="2259665" y="3346538"/>
              <a:ext cx="10169" cy="7059"/>
            </a:xfrm>
            <a:custGeom>
              <a:avLst/>
              <a:gdLst>
                <a:gd name="connsiteX0" fmla="*/ 10169 w 10169"/>
                <a:gd name="connsiteY0" fmla="*/ 3530 h 7059"/>
                <a:gd name="connsiteX1" fmla="*/ 10169 w 10169"/>
                <a:gd name="connsiteY1" fmla="*/ 3530 h 7059"/>
                <a:gd name="connsiteX2" fmla="*/ 6724 w 10169"/>
                <a:gd name="connsiteY2" fmla="*/ 0 h 7059"/>
                <a:gd name="connsiteX3" fmla="*/ 0 w 10169"/>
                <a:gd name="connsiteY3" fmla="*/ 0 h 7059"/>
                <a:gd name="connsiteX4" fmla="*/ 0 w 10169"/>
                <a:gd name="connsiteY4" fmla="*/ 7060 h 7059"/>
                <a:gd name="connsiteX5" fmla="*/ 6724 w 10169"/>
                <a:gd name="connsiteY5" fmla="*/ 7060 h 7059"/>
                <a:gd name="connsiteX6" fmla="*/ 10169 w 10169"/>
                <a:gd name="connsiteY6" fmla="*/ 3530 h 7059"/>
                <a:gd name="connsiteX7" fmla="*/ 10169 w 10169"/>
                <a:gd name="connsiteY7" fmla="*/ 3530 h 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059">
                  <a:moveTo>
                    <a:pt x="10169" y="3530"/>
                  </a:moveTo>
                  <a:lnTo>
                    <a:pt x="10169" y="3530"/>
                  </a:lnTo>
                  <a:cubicBezTo>
                    <a:pt x="10169" y="1597"/>
                    <a:pt x="8657" y="0"/>
                    <a:pt x="6724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6724" y="7060"/>
                  </a:lnTo>
                  <a:cubicBezTo>
                    <a:pt x="8657" y="7060"/>
                    <a:pt x="10169" y="5463"/>
                    <a:pt x="10169" y="3530"/>
                  </a:cubicBezTo>
                  <a:lnTo>
                    <a:pt x="10169" y="3530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7" name="Freeform: Shape 859">
              <a:extLst>
                <a:ext uri="{FF2B5EF4-FFF2-40B4-BE49-F238E27FC236}">
                  <a16:creationId xmlns:a16="http://schemas.microsoft.com/office/drawing/2014/main" id="{1CC6BB32-2F1C-4F43-9D1D-382E0278F47A}"/>
                </a:ext>
              </a:extLst>
            </p:cNvPr>
            <p:cNvSpPr/>
            <p:nvPr/>
          </p:nvSpPr>
          <p:spPr>
            <a:xfrm>
              <a:off x="2269246" y="3371257"/>
              <a:ext cx="10831" cy="10831"/>
            </a:xfrm>
            <a:custGeom>
              <a:avLst/>
              <a:gdLst>
                <a:gd name="connsiteX0" fmla="*/ 9749 w 10831"/>
                <a:gd name="connsiteY0" fmla="*/ 1082 h 10831"/>
                <a:gd name="connsiteX1" fmla="*/ 9749 w 10831"/>
                <a:gd name="connsiteY1" fmla="*/ 1082 h 10831"/>
                <a:gd name="connsiteX2" fmla="*/ 4791 w 10831"/>
                <a:gd name="connsiteY2" fmla="*/ 998 h 10831"/>
                <a:gd name="connsiteX3" fmla="*/ 0 w 10831"/>
                <a:gd name="connsiteY3" fmla="*/ 5789 h 10831"/>
                <a:gd name="connsiteX4" fmla="*/ 5043 w 10831"/>
                <a:gd name="connsiteY4" fmla="*/ 10832 h 10831"/>
                <a:gd name="connsiteX5" fmla="*/ 9833 w 10831"/>
                <a:gd name="connsiteY5" fmla="*/ 6041 h 10831"/>
                <a:gd name="connsiteX6" fmla="*/ 9749 w 10831"/>
                <a:gd name="connsiteY6" fmla="*/ 1082 h 10831"/>
                <a:gd name="connsiteX7" fmla="*/ 9749 w 10831"/>
                <a:gd name="connsiteY7" fmla="*/ 1082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9749" y="1082"/>
                  </a:moveTo>
                  <a:lnTo>
                    <a:pt x="9749" y="1082"/>
                  </a:lnTo>
                  <a:cubicBezTo>
                    <a:pt x="8320" y="-346"/>
                    <a:pt x="6135" y="-346"/>
                    <a:pt x="4791" y="998"/>
                  </a:cubicBezTo>
                  <a:lnTo>
                    <a:pt x="0" y="5789"/>
                  </a:lnTo>
                  <a:lnTo>
                    <a:pt x="5043" y="10832"/>
                  </a:lnTo>
                  <a:lnTo>
                    <a:pt x="9833" y="6041"/>
                  </a:lnTo>
                  <a:cubicBezTo>
                    <a:pt x="11178" y="4696"/>
                    <a:pt x="11178" y="2511"/>
                    <a:pt x="9749" y="1082"/>
                  </a:cubicBezTo>
                  <a:cubicBezTo>
                    <a:pt x="9749" y="1082"/>
                    <a:pt x="9749" y="1082"/>
                    <a:pt x="9749" y="1082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8" name="Freeform: Shape 860">
              <a:extLst>
                <a:ext uri="{FF2B5EF4-FFF2-40B4-BE49-F238E27FC236}">
                  <a16:creationId xmlns:a16="http://schemas.microsoft.com/office/drawing/2014/main" id="{A41A9D5A-87E6-4014-B3FB-92D9769BC45C}"/>
                </a:ext>
              </a:extLst>
            </p:cNvPr>
            <p:cNvSpPr/>
            <p:nvPr/>
          </p:nvSpPr>
          <p:spPr>
            <a:xfrm>
              <a:off x="2297653" y="3381584"/>
              <a:ext cx="7143" cy="10169"/>
            </a:xfrm>
            <a:custGeom>
              <a:avLst/>
              <a:gdLst>
                <a:gd name="connsiteX0" fmla="*/ 3614 w 7143"/>
                <a:gd name="connsiteY0" fmla="*/ 0 h 10169"/>
                <a:gd name="connsiteX1" fmla="*/ 3614 w 7143"/>
                <a:gd name="connsiteY1" fmla="*/ 0 h 10169"/>
                <a:gd name="connsiteX2" fmla="*/ 3614 w 7143"/>
                <a:gd name="connsiteY2" fmla="*/ 0 h 10169"/>
                <a:gd name="connsiteX3" fmla="*/ 0 w 7143"/>
                <a:gd name="connsiteY3" fmla="*/ 3446 h 10169"/>
                <a:gd name="connsiteX4" fmla="*/ 0 w 7143"/>
                <a:gd name="connsiteY4" fmla="*/ 10169 h 10169"/>
                <a:gd name="connsiteX5" fmla="*/ 7144 w 7143"/>
                <a:gd name="connsiteY5" fmla="*/ 10169 h 10169"/>
                <a:gd name="connsiteX6" fmla="*/ 7144 w 7143"/>
                <a:gd name="connsiteY6" fmla="*/ 3446 h 10169"/>
                <a:gd name="connsiteX7" fmla="*/ 3614 w 7143"/>
                <a:gd name="connsiteY7" fmla="*/ 0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614" y="0"/>
                  </a:moveTo>
                  <a:lnTo>
                    <a:pt x="3614" y="0"/>
                  </a:lnTo>
                  <a:lnTo>
                    <a:pt x="3614" y="0"/>
                  </a:lnTo>
                  <a:cubicBezTo>
                    <a:pt x="1597" y="0"/>
                    <a:pt x="0" y="1513"/>
                    <a:pt x="0" y="3446"/>
                  </a:cubicBezTo>
                  <a:lnTo>
                    <a:pt x="0" y="10169"/>
                  </a:lnTo>
                  <a:lnTo>
                    <a:pt x="7144" y="10169"/>
                  </a:lnTo>
                  <a:lnTo>
                    <a:pt x="7144" y="3446"/>
                  </a:lnTo>
                  <a:cubicBezTo>
                    <a:pt x="7144" y="1597"/>
                    <a:pt x="5547" y="0"/>
                    <a:pt x="3614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59" name="Freeform: Shape 861">
              <a:extLst>
                <a:ext uri="{FF2B5EF4-FFF2-40B4-BE49-F238E27FC236}">
                  <a16:creationId xmlns:a16="http://schemas.microsoft.com/office/drawing/2014/main" id="{905D950E-15BC-4676-83E8-4BE6DBA12BF5}"/>
                </a:ext>
              </a:extLst>
            </p:cNvPr>
            <p:cNvSpPr/>
            <p:nvPr/>
          </p:nvSpPr>
          <p:spPr>
            <a:xfrm>
              <a:off x="2322456" y="3371372"/>
              <a:ext cx="10831" cy="10800"/>
            </a:xfrm>
            <a:custGeom>
              <a:avLst/>
              <a:gdLst>
                <a:gd name="connsiteX0" fmla="*/ 1082 w 10831"/>
                <a:gd name="connsiteY0" fmla="*/ 1051 h 10800"/>
                <a:gd name="connsiteX1" fmla="*/ 1082 w 10831"/>
                <a:gd name="connsiteY1" fmla="*/ 1051 h 10800"/>
                <a:gd name="connsiteX2" fmla="*/ 1082 w 10831"/>
                <a:gd name="connsiteY2" fmla="*/ 1051 h 10800"/>
                <a:gd name="connsiteX3" fmla="*/ 998 w 10831"/>
                <a:gd name="connsiteY3" fmla="*/ 6010 h 10800"/>
                <a:gd name="connsiteX4" fmla="*/ 5789 w 10831"/>
                <a:gd name="connsiteY4" fmla="*/ 10800 h 10800"/>
                <a:gd name="connsiteX5" fmla="*/ 10831 w 10831"/>
                <a:gd name="connsiteY5" fmla="*/ 5758 h 10800"/>
                <a:gd name="connsiteX6" fmla="*/ 6041 w 10831"/>
                <a:gd name="connsiteY6" fmla="*/ 967 h 10800"/>
                <a:gd name="connsiteX7" fmla="*/ 1082 w 10831"/>
                <a:gd name="connsiteY7" fmla="*/ 1051 h 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00">
                  <a:moveTo>
                    <a:pt x="1082" y="1051"/>
                  </a:moveTo>
                  <a:cubicBezTo>
                    <a:pt x="1082" y="1051"/>
                    <a:pt x="1082" y="1051"/>
                    <a:pt x="1082" y="1051"/>
                  </a:cubicBezTo>
                  <a:lnTo>
                    <a:pt x="1082" y="1051"/>
                  </a:lnTo>
                  <a:cubicBezTo>
                    <a:pt x="-346" y="2480"/>
                    <a:pt x="-346" y="4665"/>
                    <a:pt x="998" y="6010"/>
                  </a:cubicBezTo>
                  <a:lnTo>
                    <a:pt x="5789" y="10800"/>
                  </a:lnTo>
                  <a:lnTo>
                    <a:pt x="10831" y="5758"/>
                  </a:lnTo>
                  <a:lnTo>
                    <a:pt x="6041" y="967"/>
                  </a:lnTo>
                  <a:cubicBezTo>
                    <a:pt x="4612" y="-377"/>
                    <a:pt x="2427" y="-293"/>
                    <a:pt x="1082" y="1051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0" name="Freeform: Shape 862">
              <a:extLst>
                <a:ext uri="{FF2B5EF4-FFF2-40B4-BE49-F238E27FC236}">
                  <a16:creationId xmlns:a16="http://schemas.microsoft.com/office/drawing/2014/main" id="{AC813473-5954-4287-930E-048914A99FB8}"/>
                </a:ext>
              </a:extLst>
            </p:cNvPr>
            <p:cNvSpPr/>
            <p:nvPr/>
          </p:nvSpPr>
          <p:spPr>
            <a:xfrm>
              <a:off x="2332783" y="3346622"/>
              <a:ext cx="10169" cy="7144"/>
            </a:xfrm>
            <a:custGeom>
              <a:avLst/>
              <a:gdLst>
                <a:gd name="connsiteX0" fmla="*/ 3446 w 10169"/>
                <a:gd name="connsiteY0" fmla="*/ 0 h 7144"/>
                <a:gd name="connsiteX1" fmla="*/ 0 w 10169"/>
                <a:gd name="connsiteY1" fmla="*/ 3530 h 7144"/>
                <a:gd name="connsiteX2" fmla="*/ 0 w 10169"/>
                <a:gd name="connsiteY2" fmla="*/ 3530 h 7144"/>
                <a:gd name="connsiteX3" fmla="*/ 0 w 10169"/>
                <a:gd name="connsiteY3" fmla="*/ 3614 h 7144"/>
                <a:gd name="connsiteX4" fmla="*/ 3446 w 10169"/>
                <a:gd name="connsiteY4" fmla="*/ 7144 h 7144"/>
                <a:gd name="connsiteX5" fmla="*/ 10169 w 10169"/>
                <a:gd name="connsiteY5" fmla="*/ 7144 h 7144"/>
                <a:gd name="connsiteX6" fmla="*/ 10169 w 10169"/>
                <a:gd name="connsiteY6" fmla="*/ 84 h 7144"/>
                <a:gd name="connsiteX7" fmla="*/ 3446 w 10169"/>
                <a:gd name="connsiteY7" fmla="*/ 84 h 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144">
                  <a:moveTo>
                    <a:pt x="3446" y="0"/>
                  </a:moveTo>
                  <a:cubicBezTo>
                    <a:pt x="1513" y="0"/>
                    <a:pt x="0" y="1597"/>
                    <a:pt x="0" y="3530"/>
                  </a:cubicBezTo>
                  <a:lnTo>
                    <a:pt x="0" y="3530"/>
                  </a:lnTo>
                  <a:lnTo>
                    <a:pt x="0" y="3614"/>
                  </a:lnTo>
                  <a:cubicBezTo>
                    <a:pt x="0" y="5547"/>
                    <a:pt x="1513" y="7144"/>
                    <a:pt x="3446" y="7144"/>
                  </a:cubicBezTo>
                  <a:lnTo>
                    <a:pt x="10169" y="7144"/>
                  </a:lnTo>
                  <a:lnTo>
                    <a:pt x="10169" y="84"/>
                  </a:lnTo>
                  <a:lnTo>
                    <a:pt x="3446" y="8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1" name="Freeform: Shape 863">
              <a:extLst>
                <a:ext uri="{FF2B5EF4-FFF2-40B4-BE49-F238E27FC236}">
                  <a16:creationId xmlns:a16="http://schemas.microsoft.com/office/drawing/2014/main" id="{9B309B11-EEC5-4BF8-A1C1-926A5988D743}"/>
                </a:ext>
              </a:extLst>
            </p:cNvPr>
            <p:cNvSpPr/>
            <p:nvPr/>
          </p:nvSpPr>
          <p:spPr>
            <a:xfrm>
              <a:off x="2322540" y="3318215"/>
              <a:ext cx="10831" cy="10831"/>
            </a:xfrm>
            <a:custGeom>
              <a:avLst/>
              <a:gdLst>
                <a:gd name="connsiteX0" fmla="*/ 1082 w 10831"/>
                <a:gd name="connsiteY0" fmla="*/ 9749 h 10831"/>
                <a:gd name="connsiteX1" fmla="*/ 1082 w 10831"/>
                <a:gd name="connsiteY1" fmla="*/ 9749 h 10831"/>
                <a:gd name="connsiteX2" fmla="*/ 6041 w 10831"/>
                <a:gd name="connsiteY2" fmla="*/ 9833 h 10831"/>
                <a:gd name="connsiteX3" fmla="*/ 10831 w 10831"/>
                <a:gd name="connsiteY3" fmla="*/ 5043 h 10831"/>
                <a:gd name="connsiteX4" fmla="*/ 5789 w 10831"/>
                <a:gd name="connsiteY4" fmla="*/ 0 h 10831"/>
                <a:gd name="connsiteX5" fmla="*/ 998 w 10831"/>
                <a:gd name="connsiteY5" fmla="*/ 4791 h 10831"/>
                <a:gd name="connsiteX6" fmla="*/ 1082 w 10831"/>
                <a:gd name="connsiteY6" fmla="*/ 9749 h 10831"/>
                <a:gd name="connsiteX7" fmla="*/ 1082 w 10831"/>
                <a:gd name="connsiteY7" fmla="*/ 9749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1082" y="9749"/>
                  </a:moveTo>
                  <a:cubicBezTo>
                    <a:pt x="1082" y="9749"/>
                    <a:pt x="1082" y="9749"/>
                    <a:pt x="1082" y="9749"/>
                  </a:cubicBezTo>
                  <a:cubicBezTo>
                    <a:pt x="2511" y="11178"/>
                    <a:pt x="4696" y="11178"/>
                    <a:pt x="6041" y="9833"/>
                  </a:cubicBezTo>
                  <a:lnTo>
                    <a:pt x="10831" y="5043"/>
                  </a:lnTo>
                  <a:lnTo>
                    <a:pt x="5789" y="0"/>
                  </a:lnTo>
                  <a:lnTo>
                    <a:pt x="998" y="4791"/>
                  </a:lnTo>
                  <a:cubicBezTo>
                    <a:pt x="-346" y="6136"/>
                    <a:pt x="-346" y="8320"/>
                    <a:pt x="1082" y="9749"/>
                  </a:cubicBezTo>
                  <a:cubicBezTo>
                    <a:pt x="1082" y="9749"/>
                    <a:pt x="1082" y="9749"/>
                    <a:pt x="1082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2" name="Freeform: Shape 864">
              <a:extLst>
                <a:ext uri="{FF2B5EF4-FFF2-40B4-BE49-F238E27FC236}">
                  <a16:creationId xmlns:a16="http://schemas.microsoft.com/office/drawing/2014/main" id="{BA5E5DBF-1266-47B1-9227-B3C0DA2D5E49}"/>
                </a:ext>
              </a:extLst>
            </p:cNvPr>
            <p:cNvSpPr/>
            <p:nvPr/>
          </p:nvSpPr>
          <p:spPr>
            <a:xfrm>
              <a:off x="2276305" y="3325106"/>
              <a:ext cx="50090" cy="50090"/>
            </a:xfrm>
            <a:custGeom>
              <a:avLst/>
              <a:gdLst>
                <a:gd name="connsiteX0" fmla="*/ 25045 w 50090"/>
                <a:gd name="connsiteY0" fmla="*/ 0 h 50090"/>
                <a:gd name="connsiteX1" fmla="*/ 0 w 50090"/>
                <a:gd name="connsiteY1" fmla="*/ 25045 h 50090"/>
                <a:gd name="connsiteX2" fmla="*/ 25045 w 50090"/>
                <a:gd name="connsiteY2" fmla="*/ 50090 h 50090"/>
                <a:gd name="connsiteX3" fmla="*/ 50090 w 50090"/>
                <a:gd name="connsiteY3" fmla="*/ 25045 h 50090"/>
                <a:gd name="connsiteX4" fmla="*/ 25045 w 50090"/>
                <a:gd name="connsiteY4" fmla="*/ 0 h 5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90" h="50090">
                  <a:moveTo>
                    <a:pt x="25045" y="0"/>
                  </a:moveTo>
                  <a:cubicBezTo>
                    <a:pt x="11178" y="0"/>
                    <a:pt x="0" y="11178"/>
                    <a:pt x="0" y="25045"/>
                  </a:cubicBezTo>
                  <a:cubicBezTo>
                    <a:pt x="0" y="38828"/>
                    <a:pt x="11178" y="50090"/>
                    <a:pt x="25045" y="50090"/>
                  </a:cubicBezTo>
                  <a:cubicBezTo>
                    <a:pt x="38912" y="50090"/>
                    <a:pt x="50090" y="38828"/>
                    <a:pt x="50090" y="25045"/>
                  </a:cubicBezTo>
                  <a:cubicBezTo>
                    <a:pt x="50090" y="11178"/>
                    <a:pt x="38828" y="0"/>
                    <a:pt x="25045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63" name="Solar - con">
            <a:extLst>
              <a:ext uri="{FF2B5EF4-FFF2-40B4-BE49-F238E27FC236}">
                <a16:creationId xmlns:a16="http://schemas.microsoft.com/office/drawing/2014/main" id="{57A97EC1-3AA5-44D0-A286-3E3FD0B8DC65}"/>
              </a:ext>
            </a:extLst>
          </p:cNvPr>
          <p:cNvGrpSpPr>
            <a:grpSpLocks/>
          </p:cNvGrpSpPr>
          <p:nvPr/>
        </p:nvGrpSpPr>
        <p:grpSpPr>
          <a:xfrm>
            <a:off x="3940085" y="4202049"/>
            <a:ext cx="121382" cy="121382"/>
            <a:chOff x="2259665" y="3308466"/>
            <a:chExt cx="83287" cy="83287"/>
          </a:xfrm>
          <a:solidFill>
            <a:srgbClr val="8ECDC8"/>
          </a:solidFill>
        </p:grpSpPr>
        <p:sp>
          <p:nvSpPr>
            <p:cNvPr id="2764" name="Freeform: Shape 856">
              <a:extLst>
                <a:ext uri="{FF2B5EF4-FFF2-40B4-BE49-F238E27FC236}">
                  <a16:creationId xmlns:a16="http://schemas.microsoft.com/office/drawing/2014/main" id="{FA6259EE-6EE7-4A54-A3C0-FE6774FCEAB7}"/>
                </a:ext>
              </a:extLst>
            </p:cNvPr>
            <p:cNvSpPr/>
            <p:nvPr/>
          </p:nvSpPr>
          <p:spPr>
            <a:xfrm>
              <a:off x="2297821" y="3308466"/>
              <a:ext cx="7143" cy="10169"/>
            </a:xfrm>
            <a:custGeom>
              <a:avLst/>
              <a:gdLst>
                <a:gd name="connsiteX0" fmla="*/ 3530 w 7143"/>
                <a:gd name="connsiteY0" fmla="*/ 10169 h 10169"/>
                <a:gd name="connsiteX1" fmla="*/ 3530 w 7143"/>
                <a:gd name="connsiteY1" fmla="*/ 10169 h 10169"/>
                <a:gd name="connsiteX2" fmla="*/ 3530 w 7143"/>
                <a:gd name="connsiteY2" fmla="*/ 10169 h 10169"/>
                <a:gd name="connsiteX3" fmla="*/ 7144 w 7143"/>
                <a:gd name="connsiteY3" fmla="*/ 6723 h 10169"/>
                <a:gd name="connsiteX4" fmla="*/ 7144 w 7143"/>
                <a:gd name="connsiteY4" fmla="*/ 0 h 10169"/>
                <a:gd name="connsiteX5" fmla="*/ 0 w 7143"/>
                <a:gd name="connsiteY5" fmla="*/ 0 h 10169"/>
                <a:gd name="connsiteX6" fmla="*/ 0 w 7143"/>
                <a:gd name="connsiteY6" fmla="*/ 6723 h 10169"/>
                <a:gd name="connsiteX7" fmla="*/ 3530 w 7143"/>
                <a:gd name="connsiteY7" fmla="*/ 10169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530" y="10169"/>
                  </a:moveTo>
                  <a:lnTo>
                    <a:pt x="3530" y="10169"/>
                  </a:lnTo>
                  <a:lnTo>
                    <a:pt x="3530" y="10169"/>
                  </a:lnTo>
                  <a:cubicBezTo>
                    <a:pt x="5547" y="10169"/>
                    <a:pt x="7144" y="8656"/>
                    <a:pt x="7144" y="6723"/>
                  </a:cubicBezTo>
                  <a:lnTo>
                    <a:pt x="7144" y="0"/>
                  </a:lnTo>
                  <a:lnTo>
                    <a:pt x="0" y="0"/>
                  </a:lnTo>
                  <a:lnTo>
                    <a:pt x="0" y="6723"/>
                  </a:lnTo>
                  <a:cubicBezTo>
                    <a:pt x="0" y="8656"/>
                    <a:pt x="1597" y="10169"/>
                    <a:pt x="3530" y="1016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5" name="Freeform: Shape 857">
              <a:extLst>
                <a:ext uri="{FF2B5EF4-FFF2-40B4-BE49-F238E27FC236}">
                  <a16:creationId xmlns:a16="http://schemas.microsoft.com/office/drawing/2014/main" id="{7E93DCB2-82EE-4B42-9154-70EADFD57167}"/>
                </a:ext>
              </a:extLst>
            </p:cNvPr>
            <p:cNvSpPr/>
            <p:nvPr/>
          </p:nvSpPr>
          <p:spPr>
            <a:xfrm>
              <a:off x="2269330" y="3318131"/>
              <a:ext cx="10831" cy="10768"/>
            </a:xfrm>
            <a:custGeom>
              <a:avLst/>
              <a:gdLst>
                <a:gd name="connsiteX0" fmla="*/ 9749 w 10831"/>
                <a:gd name="connsiteY0" fmla="*/ 9749 h 10768"/>
                <a:gd name="connsiteX1" fmla="*/ 9749 w 10831"/>
                <a:gd name="connsiteY1" fmla="*/ 9749 h 10768"/>
                <a:gd name="connsiteX2" fmla="*/ 9749 w 10831"/>
                <a:gd name="connsiteY2" fmla="*/ 9749 h 10768"/>
                <a:gd name="connsiteX3" fmla="*/ 9833 w 10831"/>
                <a:gd name="connsiteY3" fmla="*/ 4791 h 10768"/>
                <a:gd name="connsiteX4" fmla="*/ 5043 w 10831"/>
                <a:gd name="connsiteY4" fmla="*/ 0 h 10768"/>
                <a:gd name="connsiteX5" fmla="*/ 0 w 10831"/>
                <a:gd name="connsiteY5" fmla="*/ 5043 h 10768"/>
                <a:gd name="connsiteX6" fmla="*/ 4791 w 10831"/>
                <a:gd name="connsiteY6" fmla="*/ 9834 h 10768"/>
                <a:gd name="connsiteX7" fmla="*/ 9749 w 10831"/>
                <a:gd name="connsiteY7" fmla="*/ 9749 h 1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768">
                  <a:moveTo>
                    <a:pt x="9749" y="9749"/>
                  </a:moveTo>
                  <a:lnTo>
                    <a:pt x="9749" y="9749"/>
                  </a:lnTo>
                  <a:cubicBezTo>
                    <a:pt x="9833" y="9665"/>
                    <a:pt x="9833" y="9665"/>
                    <a:pt x="9749" y="9749"/>
                  </a:cubicBezTo>
                  <a:cubicBezTo>
                    <a:pt x="11178" y="8321"/>
                    <a:pt x="11178" y="6136"/>
                    <a:pt x="9833" y="4791"/>
                  </a:cubicBezTo>
                  <a:lnTo>
                    <a:pt x="5043" y="0"/>
                  </a:lnTo>
                  <a:lnTo>
                    <a:pt x="0" y="5043"/>
                  </a:lnTo>
                  <a:lnTo>
                    <a:pt x="4791" y="9834"/>
                  </a:lnTo>
                  <a:cubicBezTo>
                    <a:pt x="6219" y="11094"/>
                    <a:pt x="8404" y="11094"/>
                    <a:pt x="9749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6" name="Freeform: Shape 858">
              <a:extLst>
                <a:ext uri="{FF2B5EF4-FFF2-40B4-BE49-F238E27FC236}">
                  <a16:creationId xmlns:a16="http://schemas.microsoft.com/office/drawing/2014/main" id="{AED2F284-5A6C-461A-9A20-9B9AECCC1061}"/>
                </a:ext>
              </a:extLst>
            </p:cNvPr>
            <p:cNvSpPr/>
            <p:nvPr/>
          </p:nvSpPr>
          <p:spPr>
            <a:xfrm>
              <a:off x="2259665" y="3346538"/>
              <a:ext cx="10169" cy="7059"/>
            </a:xfrm>
            <a:custGeom>
              <a:avLst/>
              <a:gdLst>
                <a:gd name="connsiteX0" fmla="*/ 10169 w 10169"/>
                <a:gd name="connsiteY0" fmla="*/ 3530 h 7059"/>
                <a:gd name="connsiteX1" fmla="*/ 10169 w 10169"/>
                <a:gd name="connsiteY1" fmla="*/ 3530 h 7059"/>
                <a:gd name="connsiteX2" fmla="*/ 6724 w 10169"/>
                <a:gd name="connsiteY2" fmla="*/ 0 h 7059"/>
                <a:gd name="connsiteX3" fmla="*/ 0 w 10169"/>
                <a:gd name="connsiteY3" fmla="*/ 0 h 7059"/>
                <a:gd name="connsiteX4" fmla="*/ 0 w 10169"/>
                <a:gd name="connsiteY4" fmla="*/ 7060 h 7059"/>
                <a:gd name="connsiteX5" fmla="*/ 6724 w 10169"/>
                <a:gd name="connsiteY5" fmla="*/ 7060 h 7059"/>
                <a:gd name="connsiteX6" fmla="*/ 10169 w 10169"/>
                <a:gd name="connsiteY6" fmla="*/ 3530 h 7059"/>
                <a:gd name="connsiteX7" fmla="*/ 10169 w 10169"/>
                <a:gd name="connsiteY7" fmla="*/ 3530 h 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059">
                  <a:moveTo>
                    <a:pt x="10169" y="3530"/>
                  </a:moveTo>
                  <a:lnTo>
                    <a:pt x="10169" y="3530"/>
                  </a:lnTo>
                  <a:cubicBezTo>
                    <a:pt x="10169" y="1597"/>
                    <a:pt x="8657" y="0"/>
                    <a:pt x="6724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6724" y="7060"/>
                  </a:lnTo>
                  <a:cubicBezTo>
                    <a:pt x="8657" y="7060"/>
                    <a:pt x="10169" y="5463"/>
                    <a:pt x="10169" y="3530"/>
                  </a:cubicBezTo>
                  <a:lnTo>
                    <a:pt x="10169" y="3530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7" name="Freeform: Shape 859">
              <a:extLst>
                <a:ext uri="{FF2B5EF4-FFF2-40B4-BE49-F238E27FC236}">
                  <a16:creationId xmlns:a16="http://schemas.microsoft.com/office/drawing/2014/main" id="{AD95584D-BABA-449A-A85B-1DB71DE59D5D}"/>
                </a:ext>
              </a:extLst>
            </p:cNvPr>
            <p:cNvSpPr/>
            <p:nvPr/>
          </p:nvSpPr>
          <p:spPr>
            <a:xfrm>
              <a:off x="2269246" y="3371257"/>
              <a:ext cx="10831" cy="10831"/>
            </a:xfrm>
            <a:custGeom>
              <a:avLst/>
              <a:gdLst>
                <a:gd name="connsiteX0" fmla="*/ 9749 w 10831"/>
                <a:gd name="connsiteY0" fmla="*/ 1082 h 10831"/>
                <a:gd name="connsiteX1" fmla="*/ 9749 w 10831"/>
                <a:gd name="connsiteY1" fmla="*/ 1082 h 10831"/>
                <a:gd name="connsiteX2" fmla="*/ 4791 w 10831"/>
                <a:gd name="connsiteY2" fmla="*/ 998 h 10831"/>
                <a:gd name="connsiteX3" fmla="*/ 0 w 10831"/>
                <a:gd name="connsiteY3" fmla="*/ 5789 h 10831"/>
                <a:gd name="connsiteX4" fmla="*/ 5043 w 10831"/>
                <a:gd name="connsiteY4" fmla="*/ 10832 h 10831"/>
                <a:gd name="connsiteX5" fmla="*/ 9833 w 10831"/>
                <a:gd name="connsiteY5" fmla="*/ 6041 h 10831"/>
                <a:gd name="connsiteX6" fmla="*/ 9749 w 10831"/>
                <a:gd name="connsiteY6" fmla="*/ 1082 h 10831"/>
                <a:gd name="connsiteX7" fmla="*/ 9749 w 10831"/>
                <a:gd name="connsiteY7" fmla="*/ 1082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9749" y="1082"/>
                  </a:moveTo>
                  <a:lnTo>
                    <a:pt x="9749" y="1082"/>
                  </a:lnTo>
                  <a:cubicBezTo>
                    <a:pt x="8320" y="-346"/>
                    <a:pt x="6135" y="-346"/>
                    <a:pt x="4791" y="998"/>
                  </a:cubicBezTo>
                  <a:lnTo>
                    <a:pt x="0" y="5789"/>
                  </a:lnTo>
                  <a:lnTo>
                    <a:pt x="5043" y="10832"/>
                  </a:lnTo>
                  <a:lnTo>
                    <a:pt x="9833" y="6041"/>
                  </a:lnTo>
                  <a:cubicBezTo>
                    <a:pt x="11178" y="4696"/>
                    <a:pt x="11178" y="2511"/>
                    <a:pt x="9749" y="1082"/>
                  </a:cubicBezTo>
                  <a:cubicBezTo>
                    <a:pt x="9749" y="1082"/>
                    <a:pt x="9749" y="1082"/>
                    <a:pt x="9749" y="1082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8" name="Freeform: Shape 860">
              <a:extLst>
                <a:ext uri="{FF2B5EF4-FFF2-40B4-BE49-F238E27FC236}">
                  <a16:creationId xmlns:a16="http://schemas.microsoft.com/office/drawing/2014/main" id="{39912A7C-A8BB-4415-95C6-F1A2CE7300BD}"/>
                </a:ext>
              </a:extLst>
            </p:cNvPr>
            <p:cNvSpPr/>
            <p:nvPr/>
          </p:nvSpPr>
          <p:spPr>
            <a:xfrm>
              <a:off x="2297653" y="3381584"/>
              <a:ext cx="7143" cy="10169"/>
            </a:xfrm>
            <a:custGeom>
              <a:avLst/>
              <a:gdLst>
                <a:gd name="connsiteX0" fmla="*/ 3614 w 7143"/>
                <a:gd name="connsiteY0" fmla="*/ 0 h 10169"/>
                <a:gd name="connsiteX1" fmla="*/ 3614 w 7143"/>
                <a:gd name="connsiteY1" fmla="*/ 0 h 10169"/>
                <a:gd name="connsiteX2" fmla="*/ 3614 w 7143"/>
                <a:gd name="connsiteY2" fmla="*/ 0 h 10169"/>
                <a:gd name="connsiteX3" fmla="*/ 0 w 7143"/>
                <a:gd name="connsiteY3" fmla="*/ 3446 h 10169"/>
                <a:gd name="connsiteX4" fmla="*/ 0 w 7143"/>
                <a:gd name="connsiteY4" fmla="*/ 10169 h 10169"/>
                <a:gd name="connsiteX5" fmla="*/ 7144 w 7143"/>
                <a:gd name="connsiteY5" fmla="*/ 10169 h 10169"/>
                <a:gd name="connsiteX6" fmla="*/ 7144 w 7143"/>
                <a:gd name="connsiteY6" fmla="*/ 3446 h 10169"/>
                <a:gd name="connsiteX7" fmla="*/ 3614 w 7143"/>
                <a:gd name="connsiteY7" fmla="*/ 0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614" y="0"/>
                  </a:moveTo>
                  <a:lnTo>
                    <a:pt x="3614" y="0"/>
                  </a:lnTo>
                  <a:lnTo>
                    <a:pt x="3614" y="0"/>
                  </a:lnTo>
                  <a:cubicBezTo>
                    <a:pt x="1597" y="0"/>
                    <a:pt x="0" y="1513"/>
                    <a:pt x="0" y="3446"/>
                  </a:cubicBezTo>
                  <a:lnTo>
                    <a:pt x="0" y="10169"/>
                  </a:lnTo>
                  <a:lnTo>
                    <a:pt x="7144" y="10169"/>
                  </a:lnTo>
                  <a:lnTo>
                    <a:pt x="7144" y="3446"/>
                  </a:lnTo>
                  <a:cubicBezTo>
                    <a:pt x="7144" y="1597"/>
                    <a:pt x="5547" y="0"/>
                    <a:pt x="3614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69" name="Freeform: Shape 861">
              <a:extLst>
                <a:ext uri="{FF2B5EF4-FFF2-40B4-BE49-F238E27FC236}">
                  <a16:creationId xmlns:a16="http://schemas.microsoft.com/office/drawing/2014/main" id="{9CDC64F3-0C36-4F78-B3AD-0CF641C34EFE}"/>
                </a:ext>
              </a:extLst>
            </p:cNvPr>
            <p:cNvSpPr/>
            <p:nvPr/>
          </p:nvSpPr>
          <p:spPr>
            <a:xfrm>
              <a:off x="2322456" y="3371372"/>
              <a:ext cx="10831" cy="10800"/>
            </a:xfrm>
            <a:custGeom>
              <a:avLst/>
              <a:gdLst>
                <a:gd name="connsiteX0" fmla="*/ 1082 w 10831"/>
                <a:gd name="connsiteY0" fmla="*/ 1051 h 10800"/>
                <a:gd name="connsiteX1" fmla="*/ 1082 w 10831"/>
                <a:gd name="connsiteY1" fmla="*/ 1051 h 10800"/>
                <a:gd name="connsiteX2" fmla="*/ 1082 w 10831"/>
                <a:gd name="connsiteY2" fmla="*/ 1051 h 10800"/>
                <a:gd name="connsiteX3" fmla="*/ 998 w 10831"/>
                <a:gd name="connsiteY3" fmla="*/ 6010 h 10800"/>
                <a:gd name="connsiteX4" fmla="*/ 5789 w 10831"/>
                <a:gd name="connsiteY4" fmla="*/ 10800 h 10800"/>
                <a:gd name="connsiteX5" fmla="*/ 10831 w 10831"/>
                <a:gd name="connsiteY5" fmla="*/ 5758 h 10800"/>
                <a:gd name="connsiteX6" fmla="*/ 6041 w 10831"/>
                <a:gd name="connsiteY6" fmla="*/ 967 h 10800"/>
                <a:gd name="connsiteX7" fmla="*/ 1082 w 10831"/>
                <a:gd name="connsiteY7" fmla="*/ 1051 h 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00">
                  <a:moveTo>
                    <a:pt x="1082" y="1051"/>
                  </a:moveTo>
                  <a:cubicBezTo>
                    <a:pt x="1082" y="1051"/>
                    <a:pt x="1082" y="1051"/>
                    <a:pt x="1082" y="1051"/>
                  </a:cubicBezTo>
                  <a:lnTo>
                    <a:pt x="1082" y="1051"/>
                  </a:lnTo>
                  <a:cubicBezTo>
                    <a:pt x="-346" y="2480"/>
                    <a:pt x="-346" y="4665"/>
                    <a:pt x="998" y="6010"/>
                  </a:cubicBezTo>
                  <a:lnTo>
                    <a:pt x="5789" y="10800"/>
                  </a:lnTo>
                  <a:lnTo>
                    <a:pt x="10831" y="5758"/>
                  </a:lnTo>
                  <a:lnTo>
                    <a:pt x="6041" y="967"/>
                  </a:lnTo>
                  <a:cubicBezTo>
                    <a:pt x="4612" y="-377"/>
                    <a:pt x="2427" y="-293"/>
                    <a:pt x="1082" y="1051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0" name="Freeform: Shape 862">
              <a:extLst>
                <a:ext uri="{FF2B5EF4-FFF2-40B4-BE49-F238E27FC236}">
                  <a16:creationId xmlns:a16="http://schemas.microsoft.com/office/drawing/2014/main" id="{D4D4913D-A161-446F-82A5-B7AE053DE97E}"/>
                </a:ext>
              </a:extLst>
            </p:cNvPr>
            <p:cNvSpPr/>
            <p:nvPr/>
          </p:nvSpPr>
          <p:spPr>
            <a:xfrm>
              <a:off x="2332783" y="3346622"/>
              <a:ext cx="10169" cy="7144"/>
            </a:xfrm>
            <a:custGeom>
              <a:avLst/>
              <a:gdLst>
                <a:gd name="connsiteX0" fmla="*/ 3446 w 10169"/>
                <a:gd name="connsiteY0" fmla="*/ 0 h 7144"/>
                <a:gd name="connsiteX1" fmla="*/ 0 w 10169"/>
                <a:gd name="connsiteY1" fmla="*/ 3530 h 7144"/>
                <a:gd name="connsiteX2" fmla="*/ 0 w 10169"/>
                <a:gd name="connsiteY2" fmla="*/ 3530 h 7144"/>
                <a:gd name="connsiteX3" fmla="*/ 0 w 10169"/>
                <a:gd name="connsiteY3" fmla="*/ 3614 h 7144"/>
                <a:gd name="connsiteX4" fmla="*/ 3446 w 10169"/>
                <a:gd name="connsiteY4" fmla="*/ 7144 h 7144"/>
                <a:gd name="connsiteX5" fmla="*/ 10169 w 10169"/>
                <a:gd name="connsiteY5" fmla="*/ 7144 h 7144"/>
                <a:gd name="connsiteX6" fmla="*/ 10169 w 10169"/>
                <a:gd name="connsiteY6" fmla="*/ 84 h 7144"/>
                <a:gd name="connsiteX7" fmla="*/ 3446 w 10169"/>
                <a:gd name="connsiteY7" fmla="*/ 84 h 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144">
                  <a:moveTo>
                    <a:pt x="3446" y="0"/>
                  </a:moveTo>
                  <a:cubicBezTo>
                    <a:pt x="1513" y="0"/>
                    <a:pt x="0" y="1597"/>
                    <a:pt x="0" y="3530"/>
                  </a:cubicBezTo>
                  <a:lnTo>
                    <a:pt x="0" y="3530"/>
                  </a:lnTo>
                  <a:lnTo>
                    <a:pt x="0" y="3614"/>
                  </a:lnTo>
                  <a:cubicBezTo>
                    <a:pt x="0" y="5547"/>
                    <a:pt x="1513" y="7144"/>
                    <a:pt x="3446" y="7144"/>
                  </a:cubicBezTo>
                  <a:lnTo>
                    <a:pt x="10169" y="7144"/>
                  </a:lnTo>
                  <a:lnTo>
                    <a:pt x="10169" y="84"/>
                  </a:lnTo>
                  <a:lnTo>
                    <a:pt x="3446" y="8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1" name="Freeform: Shape 863">
              <a:extLst>
                <a:ext uri="{FF2B5EF4-FFF2-40B4-BE49-F238E27FC236}">
                  <a16:creationId xmlns:a16="http://schemas.microsoft.com/office/drawing/2014/main" id="{FE4502C1-70E9-4289-8F1C-6FAB8983AEA3}"/>
                </a:ext>
              </a:extLst>
            </p:cNvPr>
            <p:cNvSpPr/>
            <p:nvPr/>
          </p:nvSpPr>
          <p:spPr>
            <a:xfrm>
              <a:off x="2322540" y="3318215"/>
              <a:ext cx="10831" cy="10831"/>
            </a:xfrm>
            <a:custGeom>
              <a:avLst/>
              <a:gdLst>
                <a:gd name="connsiteX0" fmla="*/ 1082 w 10831"/>
                <a:gd name="connsiteY0" fmla="*/ 9749 h 10831"/>
                <a:gd name="connsiteX1" fmla="*/ 1082 w 10831"/>
                <a:gd name="connsiteY1" fmla="*/ 9749 h 10831"/>
                <a:gd name="connsiteX2" fmla="*/ 6041 w 10831"/>
                <a:gd name="connsiteY2" fmla="*/ 9833 h 10831"/>
                <a:gd name="connsiteX3" fmla="*/ 10831 w 10831"/>
                <a:gd name="connsiteY3" fmla="*/ 5043 h 10831"/>
                <a:gd name="connsiteX4" fmla="*/ 5789 w 10831"/>
                <a:gd name="connsiteY4" fmla="*/ 0 h 10831"/>
                <a:gd name="connsiteX5" fmla="*/ 998 w 10831"/>
                <a:gd name="connsiteY5" fmla="*/ 4791 h 10831"/>
                <a:gd name="connsiteX6" fmla="*/ 1082 w 10831"/>
                <a:gd name="connsiteY6" fmla="*/ 9749 h 10831"/>
                <a:gd name="connsiteX7" fmla="*/ 1082 w 10831"/>
                <a:gd name="connsiteY7" fmla="*/ 9749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1082" y="9749"/>
                  </a:moveTo>
                  <a:cubicBezTo>
                    <a:pt x="1082" y="9749"/>
                    <a:pt x="1082" y="9749"/>
                    <a:pt x="1082" y="9749"/>
                  </a:cubicBezTo>
                  <a:cubicBezTo>
                    <a:pt x="2511" y="11178"/>
                    <a:pt x="4696" y="11178"/>
                    <a:pt x="6041" y="9833"/>
                  </a:cubicBezTo>
                  <a:lnTo>
                    <a:pt x="10831" y="5043"/>
                  </a:lnTo>
                  <a:lnTo>
                    <a:pt x="5789" y="0"/>
                  </a:lnTo>
                  <a:lnTo>
                    <a:pt x="998" y="4791"/>
                  </a:lnTo>
                  <a:cubicBezTo>
                    <a:pt x="-346" y="6136"/>
                    <a:pt x="-346" y="8320"/>
                    <a:pt x="1082" y="9749"/>
                  </a:cubicBezTo>
                  <a:cubicBezTo>
                    <a:pt x="1082" y="9749"/>
                    <a:pt x="1082" y="9749"/>
                    <a:pt x="1082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72" name="Freeform: Shape 864">
              <a:extLst>
                <a:ext uri="{FF2B5EF4-FFF2-40B4-BE49-F238E27FC236}">
                  <a16:creationId xmlns:a16="http://schemas.microsoft.com/office/drawing/2014/main" id="{696EE548-D1F2-4C5C-8B6A-25FEB0E75FB9}"/>
                </a:ext>
              </a:extLst>
            </p:cNvPr>
            <p:cNvSpPr/>
            <p:nvPr/>
          </p:nvSpPr>
          <p:spPr>
            <a:xfrm>
              <a:off x="2276305" y="3325106"/>
              <a:ext cx="50090" cy="50090"/>
            </a:xfrm>
            <a:custGeom>
              <a:avLst/>
              <a:gdLst>
                <a:gd name="connsiteX0" fmla="*/ 25045 w 50090"/>
                <a:gd name="connsiteY0" fmla="*/ 0 h 50090"/>
                <a:gd name="connsiteX1" fmla="*/ 0 w 50090"/>
                <a:gd name="connsiteY1" fmla="*/ 25045 h 50090"/>
                <a:gd name="connsiteX2" fmla="*/ 25045 w 50090"/>
                <a:gd name="connsiteY2" fmla="*/ 50090 h 50090"/>
                <a:gd name="connsiteX3" fmla="*/ 50090 w 50090"/>
                <a:gd name="connsiteY3" fmla="*/ 25045 h 50090"/>
                <a:gd name="connsiteX4" fmla="*/ 25045 w 50090"/>
                <a:gd name="connsiteY4" fmla="*/ 0 h 5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90" h="50090">
                  <a:moveTo>
                    <a:pt x="25045" y="0"/>
                  </a:moveTo>
                  <a:cubicBezTo>
                    <a:pt x="11178" y="0"/>
                    <a:pt x="0" y="11178"/>
                    <a:pt x="0" y="25045"/>
                  </a:cubicBezTo>
                  <a:cubicBezTo>
                    <a:pt x="0" y="38828"/>
                    <a:pt x="11178" y="50090"/>
                    <a:pt x="25045" y="50090"/>
                  </a:cubicBezTo>
                  <a:cubicBezTo>
                    <a:pt x="38912" y="50090"/>
                    <a:pt x="50090" y="38828"/>
                    <a:pt x="50090" y="25045"/>
                  </a:cubicBezTo>
                  <a:cubicBezTo>
                    <a:pt x="50090" y="11178"/>
                    <a:pt x="38828" y="0"/>
                    <a:pt x="25045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73" name="Group 2772">
            <a:extLst>
              <a:ext uri="{FF2B5EF4-FFF2-40B4-BE49-F238E27FC236}">
                <a16:creationId xmlns:a16="http://schemas.microsoft.com/office/drawing/2014/main" id="{2046D0EE-5B06-4B56-A4CA-9A06F7810D5F}"/>
              </a:ext>
            </a:extLst>
          </p:cNvPr>
          <p:cNvGrpSpPr>
            <a:grpSpLocks/>
          </p:cNvGrpSpPr>
          <p:nvPr/>
        </p:nvGrpSpPr>
        <p:grpSpPr>
          <a:xfrm>
            <a:off x="4928943" y="2436510"/>
            <a:ext cx="98148" cy="130780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774" name="Freeform: Shape 913">
              <a:extLst>
                <a:ext uri="{FF2B5EF4-FFF2-40B4-BE49-F238E27FC236}">
                  <a16:creationId xmlns:a16="http://schemas.microsoft.com/office/drawing/2014/main" id="{4933F292-4C90-4B8D-A88A-20ABBDB1B449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75" name="Freeform: Shape 914">
              <a:extLst>
                <a:ext uri="{FF2B5EF4-FFF2-40B4-BE49-F238E27FC236}">
                  <a16:creationId xmlns:a16="http://schemas.microsoft.com/office/drawing/2014/main" id="{AF50930B-5C1F-4EEB-B7B1-27363D33CC03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76" name="Freeform: Shape 915">
              <a:extLst>
                <a:ext uri="{FF2B5EF4-FFF2-40B4-BE49-F238E27FC236}">
                  <a16:creationId xmlns:a16="http://schemas.microsoft.com/office/drawing/2014/main" id="{A4FC2B9A-D04C-467D-B36D-99E0A4B62DEB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77" name="Freeform: Shape 916">
              <a:extLst>
                <a:ext uri="{FF2B5EF4-FFF2-40B4-BE49-F238E27FC236}">
                  <a16:creationId xmlns:a16="http://schemas.microsoft.com/office/drawing/2014/main" id="{E9129D47-11E5-4949-A1B2-DAB26D688765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78" name="Freeform: Shape 917">
              <a:extLst>
                <a:ext uri="{FF2B5EF4-FFF2-40B4-BE49-F238E27FC236}">
                  <a16:creationId xmlns:a16="http://schemas.microsoft.com/office/drawing/2014/main" id="{0DA4133F-A205-4E4A-AFD5-F88514C46B66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779" name="Freeform: Shape 918">
              <a:extLst>
                <a:ext uri="{FF2B5EF4-FFF2-40B4-BE49-F238E27FC236}">
                  <a16:creationId xmlns:a16="http://schemas.microsoft.com/office/drawing/2014/main" id="{90820C0E-0FEE-4606-9D17-067AEE65D6D6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780" name="Graphic 2">
            <a:extLst>
              <a:ext uri="{FF2B5EF4-FFF2-40B4-BE49-F238E27FC236}">
                <a16:creationId xmlns:a16="http://schemas.microsoft.com/office/drawing/2014/main" id="{0B6B503B-C686-48A2-BF8A-17C9ABE49AD2}"/>
              </a:ext>
            </a:extLst>
          </p:cNvPr>
          <p:cNvGrpSpPr>
            <a:grpSpLocks/>
          </p:cNvGrpSpPr>
          <p:nvPr/>
        </p:nvGrpSpPr>
        <p:grpSpPr>
          <a:xfrm>
            <a:off x="5757972" y="2108570"/>
            <a:ext cx="114294" cy="114295"/>
            <a:chOff x="2259665" y="3308466"/>
            <a:chExt cx="83287" cy="83287"/>
          </a:xfrm>
          <a:solidFill>
            <a:schemeClr val="accent3"/>
          </a:solidFill>
        </p:grpSpPr>
        <p:sp>
          <p:nvSpPr>
            <p:cNvPr id="2781" name="Freeform: Shape 823">
              <a:extLst>
                <a:ext uri="{FF2B5EF4-FFF2-40B4-BE49-F238E27FC236}">
                  <a16:creationId xmlns:a16="http://schemas.microsoft.com/office/drawing/2014/main" id="{B97F9521-5478-49A1-ADB2-1D887D445A41}"/>
                </a:ext>
              </a:extLst>
            </p:cNvPr>
            <p:cNvSpPr/>
            <p:nvPr/>
          </p:nvSpPr>
          <p:spPr>
            <a:xfrm>
              <a:off x="2297821" y="3308466"/>
              <a:ext cx="7143" cy="10169"/>
            </a:xfrm>
            <a:custGeom>
              <a:avLst/>
              <a:gdLst>
                <a:gd name="connsiteX0" fmla="*/ 3530 w 7143"/>
                <a:gd name="connsiteY0" fmla="*/ 10169 h 10169"/>
                <a:gd name="connsiteX1" fmla="*/ 3530 w 7143"/>
                <a:gd name="connsiteY1" fmla="*/ 10169 h 10169"/>
                <a:gd name="connsiteX2" fmla="*/ 3530 w 7143"/>
                <a:gd name="connsiteY2" fmla="*/ 10169 h 10169"/>
                <a:gd name="connsiteX3" fmla="*/ 7144 w 7143"/>
                <a:gd name="connsiteY3" fmla="*/ 6723 h 10169"/>
                <a:gd name="connsiteX4" fmla="*/ 7144 w 7143"/>
                <a:gd name="connsiteY4" fmla="*/ 0 h 10169"/>
                <a:gd name="connsiteX5" fmla="*/ 0 w 7143"/>
                <a:gd name="connsiteY5" fmla="*/ 0 h 10169"/>
                <a:gd name="connsiteX6" fmla="*/ 0 w 7143"/>
                <a:gd name="connsiteY6" fmla="*/ 6723 h 10169"/>
                <a:gd name="connsiteX7" fmla="*/ 3530 w 7143"/>
                <a:gd name="connsiteY7" fmla="*/ 10169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530" y="10169"/>
                  </a:moveTo>
                  <a:lnTo>
                    <a:pt x="3530" y="10169"/>
                  </a:lnTo>
                  <a:lnTo>
                    <a:pt x="3530" y="10169"/>
                  </a:lnTo>
                  <a:cubicBezTo>
                    <a:pt x="5547" y="10169"/>
                    <a:pt x="7144" y="8656"/>
                    <a:pt x="7144" y="6723"/>
                  </a:cubicBezTo>
                  <a:lnTo>
                    <a:pt x="7144" y="0"/>
                  </a:lnTo>
                  <a:lnTo>
                    <a:pt x="0" y="0"/>
                  </a:lnTo>
                  <a:lnTo>
                    <a:pt x="0" y="6723"/>
                  </a:lnTo>
                  <a:cubicBezTo>
                    <a:pt x="0" y="8656"/>
                    <a:pt x="1597" y="10169"/>
                    <a:pt x="3530" y="1016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2" name="Freeform: Shape 824">
              <a:extLst>
                <a:ext uri="{FF2B5EF4-FFF2-40B4-BE49-F238E27FC236}">
                  <a16:creationId xmlns:a16="http://schemas.microsoft.com/office/drawing/2014/main" id="{5AD9A22F-A961-4899-B3F8-BF013CC5DC05}"/>
                </a:ext>
              </a:extLst>
            </p:cNvPr>
            <p:cNvSpPr/>
            <p:nvPr/>
          </p:nvSpPr>
          <p:spPr>
            <a:xfrm>
              <a:off x="2269330" y="3318131"/>
              <a:ext cx="10831" cy="10768"/>
            </a:xfrm>
            <a:custGeom>
              <a:avLst/>
              <a:gdLst>
                <a:gd name="connsiteX0" fmla="*/ 9749 w 10831"/>
                <a:gd name="connsiteY0" fmla="*/ 9749 h 10768"/>
                <a:gd name="connsiteX1" fmla="*/ 9749 w 10831"/>
                <a:gd name="connsiteY1" fmla="*/ 9749 h 10768"/>
                <a:gd name="connsiteX2" fmla="*/ 9749 w 10831"/>
                <a:gd name="connsiteY2" fmla="*/ 9749 h 10768"/>
                <a:gd name="connsiteX3" fmla="*/ 9833 w 10831"/>
                <a:gd name="connsiteY3" fmla="*/ 4791 h 10768"/>
                <a:gd name="connsiteX4" fmla="*/ 5043 w 10831"/>
                <a:gd name="connsiteY4" fmla="*/ 0 h 10768"/>
                <a:gd name="connsiteX5" fmla="*/ 0 w 10831"/>
                <a:gd name="connsiteY5" fmla="*/ 5043 h 10768"/>
                <a:gd name="connsiteX6" fmla="*/ 4791 w 10831"/>
                <a:gd name="connsiteY6" fmla="*/ 9834 h 10768"/>
                <a:gd name="connsiteX7" fmla="*/ 9749 w 10831"/>
                <a:gd name="connsiteY7" fmla="*/ 9749 h 1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768">
                  <a:moveTo>
                    <a:pt x="9749" y="9749"/>
                  </a:moveTo>
                  <a:lnTo>
                    <a:pt x="9749" y="9749"/>
                  </a:lnTo>
                  <a:cubicBezTo>
                    <a:pt x="9833" y="9665"/>
                    <a:pt x="9833" y="9665"/>
                    <a:pt x="9749" y="9749"/>
                  </a:cubicBezTo>
                  <a:cubicBezTo>
                    <a:pt x="11178" y="8321"/>
                    <a:pt x="11178" y="6136"/>
                    <a:pt x="9833" y="4791"/>
                  </a:cubicBezTo>
                  <a:lnTo>
                    <a:pt x="5043" y="0"/>
                  </a:lnTo>
                  <a:lnTo>
                    <a:pt x="0" y="5043"/>
                  </a:lnTo>
                  <a:lnTo>
                    <a:pt x="4791" y="9834"/>
                  </a:lnTo>
                  <a:cubicBezTo>
                    <a:pt x="6219" y="11094"/>
                    <a:pt x="8404" y="11094"/>
                    <a:pt x="9749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3" name="Freeform: Shape 825">
              <a:extLst>
                <a:ext uri="{FF2B5EF4-FFF2-40B4-BE49-F238E27FC236}">
                  <a16:creationId xmlns:a16="http://schemas.microsoft.com/office/drawing/2014/main" id="{6F2C5048-C527-43AE-B976-FF688FCDF39C}"/>
                </a:ext>
              </a:extLst>
            </p:cNvPr>
            <p:cNvSpPr/>
            <p:nvPr/>
          </p:nvSpPr>
          <p:spPr>
            <a:xfrm>
              <a:off x="2259665" y="3346538"/>
              <a:ext cx="10169" cy="7059"/>
            </a:xfrm>
            <a:custGeom>
              <a:avLst/>
              <a:gdLst>
                <a:gd name="connsiteX0" fmla="*/ 10169 w 10169"/>
                <a:gd name="connsiteY0" fmla="*/ 3530 h 7059"/>
                <a:gd name="connsiteX1" fmla="*/ 10169 w 10169"/>
                <a:gd name="connsiteY1" fmla="*/ 3530 h 7059"/>
                <a:gd name="connsiteX2" fmla="*/ 6724 w 10169"/>
                <a:gd name="connsiteY2" fmla="*/ 0 h 7059"/>
                <a:gd name="connsiteX3" fmla="*/ 0 w 10169"/>
                <a:gd name="connsiteY3" fmla="*/ 0 h 7059"/>
                <a:gd name="connsiteX4" fmla="*/ 0 w 10169"/>
                <a:gd name="connsiteY4" fmla="*/ 7060 h 7059"/>
                <a:gd name="connsiteX5" fmla="*/ 6724 w 10169"/>
                <a:gd name="connsiteY5" fmla="*/ 7060 h 7059"/>
                <a:gd name="connsiteX6" fmla="*/ 10169 w 10169"/>
                <a:gd name="connsiteY6" fmla="*/ 3530 h 7059"/>
                <a:gd name="connsiteX7" fmla="*/ 10169 w 10169"/>
                <a:gd name="connsiteY7" fmla="*/ 3530 h 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059">
                  <a:moveTo>
                    <a:pt x="10169" y="3530"/>
                  </a:moveTo>
                  <a:lnTo>
                    <a:pt x="10169" y="3530"/>
                  </a:lnTo>
                  <a:cubicBezTo>
                    <a:pt x="10169" y="1597"/>
                    <a:pt x="8657" y="0"/>
                    <a:pt x="6724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6724" y="7060"/>
                  </a:lnTo>
                  <a:cubicBezTo>
                    <a:pt x="8657" y="7060"/>
                    <a:pt x="10169" y="5463"/>
                    <a:pt x="10169" y="3530"/>
                  </a:cubicBezTo>
                  <a:lnTo>
                    <a:pt x="10169" y="3530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4" name="Freeform: Shape 826">
              <a:extLst>
                <a:ext uri="{FF2B5EF4-FFF2-40B4-BE49-F238E27FC236}">
                  <a16:creationId xmlns:a16="http://schemas.microsoft.com/office/drawing/2014/main" id="{E6B562A1-5366-4337-91F6-5EE9C3FFD556}"/>
                </a:ext>
              </a:extLst>
            </p:cNvPr>
            <p:cNvSpPr/>
            <p:nvPr/>
          </p:nvSpPr>
          <p:spPr>
            <a:xfrm>
              <a:off x="2269246" y="3371257"/>
              <a:ext cx="10831" cy="10831"/>
            </a:xfrm>
            <a:custGeom>
              <a:avLst/>
              <a:gdLst>
                <a:gd name="connsiteX0" fmla="*/ 9749 w 10831"/>
                <a:gd name="connsiteY0" fmla="*/ 1082 h 10831"/>
                <a:gd name="connsiteX1" fmla="*/ 9749 w 10831"/>
                <a:gd name="connsiteY1" fmla="*/ 1082 h 10831"/>
                <a:gd name="connsiteX2" fmla="*/ 4791 w 10831"/>
                <a:gd name="connsiteY2" fmla="*/ 998 h 10831"/>
                <a:gd name="connsiteX3" fmla="*/ 0 w 10831"/>
                <a:gd name="connsiteY3" fmla="*/ 5789 h 10831"/>
                <a:gd name="connsiteX4" fmla="*/ 5043 w 10831"/>
                <a:gd name="connsiteY4" fmla="*/ 10832 h 10831"/>
                <a:gd name="connsiteX5" fmla="*/ 9833 w 10831"/>
                <a:gd name="connsiteY5" fmla="*/ 6041 h 10831"/>
                <a:gd name="connsiteX6" fmla="*/ 9749 w 10831"/>
                <a:gd name="connsiteY6" fmla="*/ 1082 h 10831"/>
                <a:gd name="connsiteX7" fmla="*/ 9749 w 10831"/>
                <a:gd name="connsiteY7" fmla="*/ 1082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9749" y="1082"/>
                  </a:moveTo>
                  <a:lnTo>
                    <a:pt x="9749" y="1082"/>
                  </a:lnTo>
                  <a:cubicBezTo>
                    <a:pt x="8320" y="-346"/>
                    <a:pt x="6135" y="-346"/>
                    <a:pt x="4791" y="998"/>
                  </a:cubicBezTo>
                  <a:lnTo>
                    <a:pt x="0" y="5789"/>
                  </a:lnTo>
                  <a:lnTo>
                    <a:pt x="5043" y="10832"/>
                  </a:lnTo>
                  <a:lnTo>
                    <a:pt x="9833" y="6041"/>
                  </a:lnTo>
                  <a:cubicBezTo>
                    <a:pt x="11178" y="4696"/>
                    <a:pt x="11178" y="2511"/>
                    <a:pt x="9749" y="1082"/>
                  </a:cubicBezTo>
                  <a:cubicBezTo>
                    <a:pt x="9749" y="1082"/>
                    <a:pt x="9749" y="1082"/>
                    <a:pt x="9749" y="1082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5" name="Freeform: Shape 827">
              <a:extLst>
                <a:ext uri="{FF2B5EF4-FFF2-40B4-BE49-F238E27FC236}">
                  <a16:creationId xmlns:a16="http://schemas.microsoft.com/office/drawing/2014/main" id="{C1592D36-8550-44D3-B2DC-7F744CF7969C}"/>
                </a:ext>
              </a:extLst>
            </p:cNvPr>
            <p:cNvSpPr/>
            <p:nvPr/>
          </p:nvSpPr>
          <p:spPr>
            <a:xfrm>
              <a:off x="2297653" y="3381584"/>
              <a:ext cx="7143" cy="10169"/>
            </a:xfrm>
            <a:custGeom>
              <a:avLst/>
              <a:gdLst>
                <a:gd name="connsiteX0" fmla="*/ 3614 w 7143"/>
                <a:gd name="connsiteY0" fmla="*/ 0 h 10169"/>
                <a:gd name="connsiteX1" fmla="*/ 3614 w 7143"/>
                <a:gd name="connsiteY1" fmla="*/ 0 h 10169"/>
                <a:gd name="connsiteX2" fmla="*/ 3614 w 7143"/>
                <a:gd name="connsiteY2" fmla="*/ 0 h 10169"/>
                <a:gd name="connsiteX3" fmla="*/ 0 w 7143"/>
                <a:gd name="connsiteY3" fmla="*/ 3446 h 10169"/>
                <a:gd name="connsiteX4" fmla="*/ 0 w 7143"/>
                <a:gd name="connsiteY4" fmla="*/ 10169 h 10169"/>
                <a:gd name="connsiteX5" fmla="*/ 7144 w 7143"/>
                <a:gd name="connsiteY5" fmla="*/ 10169 h 10169"/>
                <a:gd name="connsiteX6" fmla="*/ 7144 w 7143"/>
                <a:gd name="connsiteY6" fmla="*/ 3446 h 10169"/>
                <a:gd name="connsiteX7" fmla="*/ 3614 w 7143"/>
                <a:gd name="connsiteY7" fmla="*/ 0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614" y="0"/>
                  </a:moveTo>
                  <a:lnTo>
                    <a:pt x="3614" y="0"/>
                  </a:lnTo>
                  <a:lnTo>
                    <a:pt x="3614" y="0"/>
                  </a:lnTo>
                  <a:cubicBezTo>
                    <a:pt x="1597" y="0"/>
                    <a:pt x="0" y="1513"/>
                    <a:pt x="0" y="3446"/>
                  </a:cubicBezTo>
                  <a:lnTo>
                    <a:pt x="0" y="10169"/>
                  </a:lnTo>
                  <a:lnTo>
                    <a:pt x="7144" y="10169"/>
                  </a:lnTo>
                  <a:lnTo>
                    <a:pt x="7144" y="3446"/>
                  </a:lnTo>
                  <a:cubicBezTo>
                    <a:pt x="7144" y="1597"/>
                    <a:pt x="5547" y="0"/>
                    <a:pt x="3614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6" name="Freeform: Shape 828">
              <a:extLst>
                <a:ext uri="{FF2B5EF4-FFF2-40B4-BE49-F238E27FC236}">
                  <a16:creationId xmlns:a16="http://schemas.microsoft.com/office/drawing/2014/main" id="{5EA9510C-FE57-41A9-A226-FDB0A684505C}"/>
                </a:ext>
              </a:extLst>
            </p:cNvPr>
            <p:cNvSpPr/>
            <p:nvPr/>
          </p:nvSpPr>
          <p:spPr>
            <a:xfrm>
              <a:off x="2322456" y="3371372"/>
              <a:ext cx="10831" cy="10800"/>
            </a:xfrm>
            <a:custGeom>
              <a:avLst/>
              <a:gdLst>
                <a:gd name="connsiteX0" fmla="*/ 1082 w 10831"/>
                <a:gd name="connsiteY0" fmla="*/ 1051 h 10800"/>
                <a:gd name="connsiteX1" fmla="*/ 1082 w 10831"/>
                <a:gd name="connsiteY1" fmla="*/ 1051 h 10800"/>
                <a:gd name="connsiteX2" fmla="*/ 1082 w 10831"/>
                <a:gd name="connsiteY2" fmla="*/ 1051 h 10800"/>
                <a:gd name="connsiteX3" fmla="*/ 998 w 10831"/>
                <a:gd name="connsiteY3" fmla="*/ 6010 h 10800"/>
                <a:gd name="connsiteX4" fmla="*/ 5789 w 10831"/>
                <a:gd name="connsiteY4" fmla="*/ 10800 h 10800"/>
                <a:gd name="connsiteX5" fmla="*/ 10831 w 10831"/>
                <a:gd name="connsiteY5" fmla="*/ 5758 h 10800"/>
                <a:gd name="connsiteX6" fmla="*/ 6041 w 10831"/>
                <a:gd name="connsiteY6" fmla="*/ 967 h 10800"/>
                <a:gd name="connsiteX7" fmla="*/ 1082 w 10831"/>
                <a:gd name="connsiteY7" fmla="*/ 1051 h 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00">
                  <a:moveTo>
                    <a:pt x="1082" y="1051"/>
                  </a:moveTo>
                  <a:cubicBezTo>
                    <a:pt x="1082" y="1051"/>
                    <a:pt x="1082" y="1051"/>
                    <a:pt x="1082" y="1051"/>
                  </a:cubicBezTo>
                  <a:lnTo>
                    <a:pt x="1082" y="1051"/>
                  </a:lnTo>
                  <a:cubicBezTo>
                    <a:pt x="-346" y="2480"/>
                    <a:pt x="-346" y="4665"/>
                    <a:pt x="998" y="6010"/>
                  </a:cubicBezTo>
                  <a:lnTo>
                    <a:pt x="5789" y="10800"/>
                  </a:lnTo>
                  <a:lnTo>
                    <a:pt x="10831" y="5758"/>
                  </a:lnTo>
                  <a:lnTo>
                    <a:pt x="6041" y="967"/>
                  </a:lnTo>
                  <a:cubicBezTo>
                    <a:pt x="4612" y="-377"/>
                    <a:pt x="2427" y="-293"/>
                    <a:pt x="1082" y="1051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7" name="Freeform: Shape 829">
              <a:extLst>
                <a:ext uri="{FF2B5EF4-FFF2-40B4-BE49-F238E27FC236}">
                  <a16:creationId xmlns:a16="http://schemas.microsoft.com/office/drawing/2014/main" id="{7A43B598-0A97-4649-BDE4-FC2901CFF650}"/>
                </a:ext>
              </a:extLst>
            </p:cNvPr>
            <p:cNvSpPr/>
            <p:nvPr/>
          </p:nvSpPr>
          <p:spPr>
            <a:xfrm>
              <a:off x="2332783" y="3346622"/>
              <a:ext cx="10169" cy="7144"/>
            </a:xfrm>
            <a:custGeom>
              <a:avLst/>
              <a:gdLst>
                <a:gd name="connsiteX0" fmla="*/ 3446 w 10169"/>
                <a:gd name="connsiteY0" fmla="*/ 0 h 7144"/>
                <a:gd name="connsiteX1" fmla="*/ 0 w 10169"/>
                <a:gd name="connsiteY1" fmla="*/ 3530 h 7144"/>
                <a:gd name="connsiteX2" fmla="*/ 0 w 10169"/>
                <a:gd name="connsiteY2" fmla="*/ 3530 h 7144"/>
                <a:gd name="connsiteX3" fmla="*/ 0 w 10169"/>
                <a:gd name="connsiteY3" fmla="*/ 3614 h 7144"/>
                <a:gd name="connsiteX4" fmla="*/ 3446 w 10169"/>
                <a:gd name="connsiteY4" fmla="*/ 7144 h 7144"/>
                <a:gd name="connsiteX5" fmla="*/ 10169 w 10169"/>
                <a:gd name="connsiteY5" fmla="*/ 7144 h 7144"/>
                <a:gd name="connsiteX6" fmla="*/ 10169 w 10169"/>
                <a:gd name="connsiteY6" fmla="*/ 84 h 7144"/>
                <a:gd name="connsiteX7" fmla="*/ 3446 w 10169"/>
                <a:gd name="connsiteY7" fmla="*/ 84 h 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144">
                  <a:moveTo>
                    <a:pt x="3446" y="0"/>
                  </a:moveTo>
                  <a:cubicBezTo>
                    <a:pt x="1513" y="0"/>
                    <a:pt x="0" y="1597"/>
                    <a:pt x="0" y="3530"/>
                  </a:cubicBezTo>
                  <a:lnTo>
                    <a:pt x="0" y="3530"/>
                  </a:lnTo>
                  <a:lnTo>
                    <a:pt x="0" y="3614"/>
                  </a:lnTo>
                  <a:cubicBezTo>
                    <a:pt x="0" y="5547"/>
                    <a:pt x="1513" y="7144"/>
                    <a:pt x="3446" y="7144"/>
                  </a:cubicBezTo>
                  <a:lnTo>
                    <a:pt x="10169" y="7144"/>
                  </a:lnTo>
                  <a:lnTo>
                    <a:pt x="10169" y="84"/>
                  </a:lnTo>
                  <a:lnTo>
                    <a:pt x="3446" y="8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8" name="Freeform: Shape 830">
              <a:extLst>
                <a:ext uri="{FF2B5EF4-FFF2-40B4-BE49-F238E27FC236}">
                  <a16:creationId xmlns:a16="http://schemas.microsoft.com/office/drawing/2014/main" id="{5CDEF31D-6BA3-474E-82F6-E0CA54DEBC86}"/>
                </a:ext>
              </a:extLst>
            </p:cNvPr>
            <p:cNvSpPr/>
            <p:nvPr/>
          </p:nvSpPr>
          <p:spPr>
            <a:xfrm>
              <a:off x="2322540" y="3318215"/>
              <a:ext cx="10831" cy="10831"/>
            </a:xfrm>
            <a:custGeom>
              <a:avLst/>
              <a:gdLst>
                <a:gd name="connsiteX0" fmla="*/ 1082 w 10831"/>
                <a:gd name="connsiteY0" fmla="*/ 9749 h 10831"/>
                <a:gd name="connsiteX1" fmla="*/ 1082 w 10831"/>
                <a:gd name="connsiteY1" fmla="*/ 9749 h 10831"/>
                <a:gd name="connsiteX2" fmla="*/ 6041 w 10831"/>
                <a:gd name="connsiteY2" fmla="*/ 9833 h 10831"/>
                <a:gd name="connsiteX3" fmla="*/ 10831 w 10831"/>
                <a:gd name="connsiteY3" fmla="*/ 5043 h 10831"/>
                <a:gd name="connsiteX4" fmla="*/ 5789 w 10831"/>
                <a:gd name="connsiteY4" fmla="*/ 0 h 10831"/>
                <a:gd name="connsiteX5" fmla="*/ 998 w 10831"/>
                <a:gd name="connsiteY5" fmla="*/ 4791 h 10831"/>
                <a:gd name="connsiteX6" fmla="*/ 1082 w 10831"/>
                <a:gd name="connsiteY6" fmla="*/ 9749 h 10831"/>
                <a:gd name="connsiteX7" fmla="*/ 1082 w 10831"/>
                <a:gd name="connsiteY7" fmla="*/ 9749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1082" y="9749"/>
                  </a:moveTo>
                  <a:cubicBezTo>
                    <a:pt x="1082" y="9749"/>
                    <a:pt x="1082" y="9749"/>
                    <a:pt x="1082" y="9749"/>
                  </a:cubicBezTo>
                  <a:cubicBezTo>
                    <a:pt x="2511" y="11178"/>
                    <a:pt x="4696" y="11178"/>
                    <a:pt x="6041" y="9833"/>
                  </a:cubicBezTo>
                  <a:lnTo>
                    <a:pt x="10831" y="5043"/>
                  </a:lnTo>
                  <a:lnTo>
                    <a:pt x="5789" y="0"/>
                  </a:lnTo>
                  <a:lnTo>
                    <a:pt x="998" y="4791"/>
                  </a:lnTo>
                  <a:cubicBezTo>
                    <a:pt x="-346" y="6136"/>
                    <a:pt x="-346" y="8320"/>
                    <a:pt x="1082" y="9749"/>
                  </a:cubicBezTo>
                  <a:cubicBezTo>
                    <a:pt x="1082" y="9749"/>
                    <a:pt x="1082" y="9749"/>
                    <a:pt x="1082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89" name="Freeform: Shape 831">
              <a:extLst>
                <a:ext uri="{FF2B5EF4-FFF2-40B4-BE49-F238E27FC236}">
                  <a16:creationId xmlns:a16="http://schemas.microsoft.com/office/drawing/2014/main" id="{1B780502-0E16-4C48-BA25-C418A6607BF3}"/>
                </a:ext>
              </a:extLst>
            </p:cNvPr>
            <p:cNvSpPr/>
            <p:nvPr/>
          </p:nvSpPr>
          <p:spPr>
            <a:xfrm>
              <a:off x="2276305" y="3325106"/>
              <a:ext cx="50090" cy="50090"/>
            </a:xfrm>
            <a:custGeom>
              <a:avLst/>
              <a:gdLst>
                <a:gd name="connsiteX0" fmla="*/ 25045 w 50090"/>
                <a:gd name="connsiteY0" fmla="*/ 0 h 50090"/>
                <a:gd name="connsiteX1" fmla="*/ 0 w 50090"/>
                <a:gd name="connsiteY1" fmla="*/ 25045 h 50090"/>
                <a:gd name="connsiteX2" fmla="*/ 25045 w 50090"/>
                <a:gd name="connsiteY2" fmla="*/ 50090 h 50090"/>
                <a:gd name="connsiteX3" fmla="*/ 50090 w 50090"/>
                <a:gd name="connsiteY3" fmla="*/ 25045 h 50090"/>
                <a:gd name="connsiteX4" fmla="*/ 25045 w 50090"/>
                <a:gd name="connsiteY4" fmla="*/ 0 h 5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90" h="50090">
                  <a:moveTo>
                    <a:pt x="25045" y="0"/>
                  </a:moveTo>
                  <a:cubicBezTo>
                    <a:pt x="11178" y="0"/>
                    <a:pt x="0" y="11178"/>
                    <a:pt x="0" y="25045"/>
                  </a:cubicBezTo>
                  <a:cubicBezTo>
                    <a:pt x="0" y="38828"/>
                    <a:pt x="11178" y="50090"/>
                    <a:pt x="25045" y="50090"/>
                  </a:cubicBezTo>
                  <a:cubicBezTo>
                    <a:pt x="38912" y="50090"/>
                    <a:pt x="50090" y="38828"/>
                    <a:pt x="50090" y="25045"/>
                  </a:cubicBezTo>
                  <a:cubicBezTo>
                    <a:pt x="50090" y="11178"/>
                    <a:pt x="38828" y="0"/>
                    <a:pt x="25045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90" name="Group 2789">
            <a:extLst>
              <a:ext uri="{FF2B5EF4-FFF2-40B4-BE49-F238E27FC236}">
                <a16:creationId xmlns:a16="http://schemas.microsoft.com/office/drawing/2014/main" id="{D25E4BD0-42D1-46BF-A45D-A353005F219A}"/>
              </a:ext>
            </a:extLst>
          </p:cNvPr>
          <p:cNvGrpSpPr>
            <a:grpSpLocks/>
          </p:cNvGrpSpPr>
          <p:nvPr/>
        </p:nvGrpSpPr>
        <p:grpSpPr>
          <a:xfrm>
            <a:off x="2134899" y="3584772"/>
            <a:ext cx="248902" cy="114295"/>
            <a:chOff x="2134899" y="3584772"/>
            <a:chExt cx="248902" cy="114295"/>
          </a:xfrm>
        </p:grpSpPr>
        <p:grpSp>
          <p:nvGrpSpPr>
            <p:cNvPr id="2791" name="Graphic 2">
              <a:extLst>
                <a:ext uri="{FF2B5EF4-FFF2-40B4-BE49-F238E27FC236}">
                  <a16:creationId xmlns:a16="http://schemas.microsoft.com/office/drawing/2014/main" id="{689A107E-33F3-460A-BC0A-A4D0A5F64C5D}"/>
                </a:ext>
              </a:extLst>
            </p:cNvPr>
            <p:cNvGrpSpPr>
              <a:grpSpLocks/>
            </p:cNvGrpSpPr>
            <p:nvPr/>
          </p:nvGrpSpPr>
          <p:grpSpPr>
            <a:xfrm>
              <a:off x="2134899" y="3584772"/>
              <a:ext cx="114294" cy="114295"/>
              <a:chOff x="2259665" y="3308466"/>
              <a:chExt cx="83287" cy="83287"/>
            </a:xfrm>
            <a:solidFill>
              <a:srgbClr val="644C76"/>
            </a:solidFill>
          </p:grpSpPr>
          <p:sp>
            <p:nvSpPr>
              <p:cNvPr id="2797" name="Freeform: Shape 823">
                <a:extLst>
                  <a:ext uri="{FF2B5EF4-FFF2-40B4-BE49-F238E27FC236}">
                    <a16:creationId xmlns:a16="http://schemas.microsoft.com/office/drawing/2014/main" id="{6C6C550C-2BBA-4DE2-A2DD-CB32BA73FD07}"/>
                  </a:ext>
                </a:extLst>
              </p:cNvPr>
              <p:cNvSpPr/>
              <p:nvPr/>
            </p:nvSpPr>
            <p:spPr>
              <a:xfrm>
                <a:off x="2297821" y="3308466"/>
                <a:ext cx="7143" cy="10169"/>
              </a:xfrm>
              <a:custGeom>
                <a:avLst/>
                <a:gdLst>
                  <a:gd name="connsiteX0" fmla="*/ 3530 w 7143"/>
                  <a:gd name="connsiteY0" fmla="*/ 10169 h 10169"/>
                  <a:gd name="connsiteX1" fmla="*/ 3530 w 7143"/>
                  <a:gd name="connsiteY1" fmla="*/ 10169 h 10169"/>
                  <a:gd name="connsiteX2" fmla="*/ 3530 w 7143"/>
                  <a:gd name="connsiteY2" fmla="*/ 10169 h 10169"/>
                  <a:gd name="connsiteX3" fmla="*/ 7144 w 7143"/>
                  <a:gd name="connsiteY3" fmla="*/ 6723 h 10169"/>
                  <a:gd name="connsiteX4" fmla="*/ 7144 w 7143"/>
                  <a:gd name="connsiteY4" fmla="*/ 0 h 10169"/>
                  <a:gd name="connsiteX5" fmla="*/ 0 w 7143"/>
                  <a:gd name="connsiteY5" fmla="*/ 0 h 10169"/>
                  <a:gd name="connsiteX6" fmla="*/ 0 w 7143"/>
                  <a:gd name="connsiteY6" fmla="*/ 6723 h 10169"/>
                  <a:gd name="connsiteX7" fmla="*/ 3530 w 7143"/>
                  <a:gd name="connsiteY7" fmla="*/ 10169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530" y="10169"/>
                    </a:moveTo>
                    <a:lnTo>
                      <a:pt x="3530" y="10169"/>
                    </a:lnTo>
                    <a:lnTo>
                      <a:pt x="3530" y="10169"/>
                    </a:lnTo>
                    <a:cubicBezTo>
                      <a:pt x="5547" y="10169"/>
                      <a:pt x="7144" y="8656"/>
                      <a:pt x="7144" y="6723"/>
                    </a:cubicBezTo>
                    <a:lnTo>
                      <a:pt x="7144" y="0"/>
                    </a:lnTo>
                    <a:lnTo>
                      <a:pt x="0" y="0"/>
                    </a:lnTo>
                    <a:lnTo>
                      <a:pt x="0" y="6723"/>
                    </a:lnTo>
                    <a:cubicBezTo>
                      <a:pt x="0" y="8656"/>
                      <a:pt x="1597" y="10169"/>
                      <a:pt x="3530" y="1016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798" name="Freeform: Shape 824">
                <a:extLst>
                  <a:ext uri="{FF2B5EF4-FFF2-40B4-BE49-F238E27FC236}">
                    <a16:creationId xmlns:a16="http://schemas.microsoft.com/office/drawing/2014/main" id="{A2C82C4B-17CB-4DE1-BB20-E55969781571}"/>
                  </a:ext>
                </a:extLst>
              </p:cNvPr>
              <p:cNvSpPr/>
              <p:nvPr/>
            </p:nvSpPr>
            <p:spPr>
              <a:xfrm>
                <a:off x="2269330" y="3318131"/>
                <a:ext cx="10831" cy="10768"/>
              </a:xfrm>
              <a:custGeom>
                <a:avLst/>
                <a:gdLst>
                  <a:gd name="connsiteX0" fmla="*/ 9749 w 10831"/>
                  <a:gd name="connsiteY0" fmla="*/ 9749 h 10768"/>
                  <a:gd name="connsiteX1" fmla="*/ 9749 w 10831"/>
                  <a:gd name="connsiteY1" fmla="*/ 9749 h 10768"/>
                  <a:gd name="connsiteX2" fmla="*/ 9749 w 10831"/>
                  <a:gd name="connsiteY2" fmla="*/ 9749 h 10768"/>
                  <a:gd name="connsiteX3" fmla="*/ 9833 w 10831"/>
                  <a:gd name="connsiteY3" fmla="*/ 4791 h 10768"/>
                  <a:gd name="connsiteX4" fmla="*/ 5043 w 10831"/>
                  <a:gd name="connsiteY4" fmla="*/ 0 h 10768"/>
                  <a:gd name="connsiteX5" fmla="*/ 0 w 10831"/>
                  <a:gd name="connsiteY5" fmla="*/ 5043 h 10768"/>
                  <a:gd name="connsiteX6" fmla="*/ 4791 w 10831"/>
                  <a:gd name="connsiteY6" fmla="*/ 9834 h 10768"/>
                  <a:gd name="connsiteX7" fmla="*/ 9749 w 10831"/>
                  <a:gd name="connsiteY7" fmla="*/ 9749 h 1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768">
                    <a:moveTo>
                      <a:pt x="9749" y="9749"/>
                    </a:moveTo>
                    <a:lnTo>
                      <a:pt x="9749" y="9749"/>
                    </a:lnTo>
                    <a:cubicBezTo>
                      <a:pt x="9833" y="9665"/>
                      <a:pt x="9833" y="9665"/>
                      <a:pt x="9749" y="9749"/>
                    </a:cubicBezTo>
                    <a:cubicBezTo>
                      <a:pt x="11178" y="8321"/>
                      <a:pt x="11178" y="6136"/>
                      <a:pt x="9833" y="4791"/>
                    </a:cubicBezTo>
                    <a:lnTo>
                      <a:pt x="5043" y="0"/>
                    </a:lnTo>
                    <a:lnTo>
                      <a:pt x="0" y="5043"/>
                    </a:lnTo>
                    <a:lnTo>
                      <a:pt x="4791" y="9834"/>
                    </a:lnTo>
                    <a:cubicBezTo>
                      <a:pt x="6219" y="11094"/>
                      <a:pt x="8404" y="11094"/>
                      <a:pt x="9749" y="974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799" name="Freeform: Shape 825">
                <a:extLst>
                  <a:ext uri="{FF2B5EF4-FFF2-40B4-BE49-F238E27FC236}">
                    <a16:creationId xmlns:a16="http://schemas.microsoft.com/office/drawing/2014/main" id="{024A5326-3944-497F-A44F-6DAD3481D674}"/>
                  </a:ext>
                </a:extLst>
              </p:cNvPr>
              <p:cNvSpPr/>
              <p:nvPr/>
            </p:nvSpPr>
            <p:spPr>
              <a:xfrm>
                <a:off x="2259665" y="3346538"/>
                <a:ext cx="10169" cy="7059"/>
              </a:xfrm>
              <a:custGeom>
                <a:avLst/>
                <a:gdLst>
                  <a:gd name="connsiteX0" fmla="*/ 10169 w 10169"/>
                  <a:gd name="connsiteY0" fmla="*/ 3530 h 7059"/>
                  <a:gd name="connsiteX1" fmla="*/ 10169 w 10169"/>
                  <a:gd name="connsiteY1" fmla="*/ 3530 h 7059"/>
                  <a:gd name="connsiteX2" fmla="*/ 6724 w 10169"/>
                  <a:gd name="connsiteY2" fmla="*/ 0 h 7059"/>
                  <a:gd name="connsiteX3" fmla="*/ 0 w 10169"/>
                  <a:gd name="connsiteY3" fmla="*/ 0 h 7059"/>
                  <a:gd name="connsiteX4" fmla="*/ 0 w 10169"/>
                  <a:gd name="connsiteY4" fmla="*/ 7060 h 7059"/>
                  <a:gd name="connsiteX5" fmla="*/ 6724 w 10169"/>
                  <a:gd name="connsiteY5" fmla="*/ 7060 h 7059"/>
                  <a:gd name="connsiteX6" fmla="*/ 10169 w 10169"/>
                  <a:gd name="connsiteY6" fmla="*/ 3530 h 7059"/>
                  <a:gd name="connsiteX7" fmla="*/ 10169 w 10169"/>
                  <a:gd name="connsiteY7" fmla="*/ 3530 h 7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059">
                    <a:moveTo>
                      <a:pt x="10169" y="3530"/>
                    </a:moveTo>
                    <a:lnTo>
                      <a:pt x="10169" y="3530"/>
                    </a:lnTo>
                    <a:cubicBezTo>
                      <a:pt x="10169" y="1597"/>
                      <a:pt x="8657" y="0"/>
                      <a:pt x="6724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6724" y="7060"/>
                    </a:lnTo>
                    <a:cubicBezTo>
                      <a:pt x="8657" y="7060"/>
                      <a:pt x="10169" y="5463"/>
                      <a:pt x="10169" y="3530"/>
                    </a:cubicBezTo>
                    <a:lnTo>
                      <a:pt x="10169" y="353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00" name="Freeform: Shape 826">
                <a:extLst>
                  <a:ext uri="{FF2B5EF4-FFF2-40B4-BE49-F238E27FC236}">
                    <a16:creationId xmlns:a16="http://schemas.microsoft.com/office/drawing/2014/main" id="{371F456D-E521-478E-B4FA-8C30900A020C}"/>
                  </a:ext>
                </a:extLst>
              </p:cNvPr>
              <p:cNvSpPr/>
              <p:nvPr/>
            </p:nvSpPr>
            <p:spPr>
              <a:xfrm>
                <a:off x="2269246" y="3371257"/>
                <a:ext cx="10831" cy="10831"/>
              </a:xfrm>
              <a:custGeom>
                <a:avLst/>
                <a:gdLst>
                  <a:gd name="connsiteX0" fmla="*/ 9749 w 10831"/>
                  <a:gd name="connsiteY0" fmla="*/ 1082 h 10831"/>
                  <a:gd name="connsiteX1" fmla="*/ 9749 w 10831"/>
                  <a:gd name="connsiteY1" fmla="*/ 1082 h 10831"/>
                  <a:gd name="connsiteX2" fmla="*/ 4791 w 10831"/>
                  <a:gd name="connsiteY2" fmla="*/ 998 h 10831"/>
                  <a:gd name="connsiteX3" fmla="*/ 0 w 10831"/>
                  <a:gd name="connsiteY3" fmla="*/ 5789 h 10831"/>
                  <a:gd name="connsiteX4" fmla="*/ 5043 w 10831"/>
                  <a:gd name="connsiteY4" fmla="*/ 10832 h 10831"/>
                  <a:gd name="connsiteX5" fmla="*/ 9833 w 10831"/>
                  <a:gd name="connsiteY5" fmla="*/ 6041 h 10831"/>
                  <a:gd name="connsiteX6" fmla="*/ 9749 w 10831"/>
                  <a:gd name="connsiteY6" fmla="*/ 1082 h 10831"/>
                  <a:gd name="connsiteX7" fmla="*/ 9749 w 10831"/>
                  <a:gd name="connsiteY7" fmla="*/ 1082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9749" y="1082"/>
                    </a:moveTo>
                    <a:lnTo>
                      <a:pt x="9749" y="1082"/>
                    </a:lnTo>
                    <a:cubicBezTo>
                      <a:pt x="8320" y="-346"/>
                      <a:pt x="6135" y="-346"/>
                      <a:pt x="4791" y="998"/>
                    </a:cubicBezTo>
                    <a:lnTo>
                      <a:pt x="0" y="5789"/>
                    </a:lnTo>
                    <a:lnTo>
                      <a:pt x="5043" y="10832"/>
                    </a:lnTo>
                    <a:lnTo>
                      <a:pt x="9833" y="6041"/>
                    </a:lnTo>
                    <a:cubicBezTo>
                      <a:pt x="11178" y="4696"/>
                      <a:pt x="11178" y="2511"/>
                      <a:pt x="9749" y="1082"/>
                    </a:cubicBezTo>
                    <a:cubicBezTo>
                      <a:pt x="9749" y="1082"/>
                      <a:pt x="9749" y="1082"/>
                      <a:pt x="9749" y="1082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01" name="Freeform: Shape 827">
                <a:extLst>
                  <a:ext uri="{FF2B5EF4-FFF2-40B4-BE49-F238E27FC236}">
                    <a16:creationId xmlns:a16="http://schemas.microsoft.com/office/drawing/2014/main" id="{8542E3B2-395F-49ED-B865-698A6BAAD244}"/>
                  </a:ext>
                </a:extLst>
              </p:cNvPr>
              <p:cNvSpPr/>
              <p:nvPr/>
            </p:nvSpPr>
            <p:spPr>
              <a:xfrm>
                <a:off x="2297653" y="3381584"/>
                <a:ext cx="7143" cy="10169"/>
              </a:xfrm>
              <a:custGeom>
                <a:avLst/>
                <a:gdLst>
                  <a:gd name="connsiteX0" fmla="*/ 3614 w 7143"/>
                  <a:gd name="connsiteY0" fmla="*/ 0 h 10169"/>
                  <a:gd name="connsiteX1" fmla="*/ 3614 w 7143"/>
                  <a:gd name="connsiteY1" fmla="*/ 0 h 10169"/>
                  <a:gd name="connsiteX2" fmla="*/ 3614 w 7143"/>
                  <a:gd name="connsiteY2" fmla="*/ 0 h 10169"/>
                  <a:gd name="connsiteX3" fmla="*/ 0 w 7143"/>
                  <a:gd name="connsiteY3" fmla="*/ 3446 h 10169"/>
                  <a:gd name="connsiteX4" fmla="*/ 0 w 7143"/>
                  <a:gd name="connsiteY4" fmla="*/ 10169 h 10169"/>
                  <a:gd name="connsiteX5" fmla="*/ 7144 w 7143"/>
                  <a:gd name="connsiteY5" fmla="*/ 10169 h 10169"/>
                  <a:gd name="connsiteX6" fmla="*/ 7144 w 7143"/>
                  <a:gd name="connsiteY6" fmla="*/ 3446 h 10169"/>
                  <a:gd name="connsiteX7" fmla="*/ 3614 w 7143"/>
                  <a:gd name="connsiteY7" fmla="*/ 0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614" y="0"/>
                    </a:moveTo>
                    <a:lnTo>
                      <a:pt x="3614" y="0"/>
                    </a:lnTo>
                    <a:lnTo>
                      <a:pt x="3614" y="0"/>
                    </a:lnTo>
                    <a:cubicBezTo>
                      <a:pt x="1597" y="0"/>
                      <a:pt x="0" y="1513"/>
                      <a:pt x="0" y="3446"/>
                    </a:cubicBezTo>
                    <a:lnTo>
                      <a:pt x="0" y="10169"/>
                    </a:lnTo>
                    <a:lnTo>
                      <a:pt x="7144" y="10169"/>
                    </a:lnTo>
                    <a:lnTo>
                      <a:pt x="7144" y="3446"/>
                    </a:lnTo>
                    <a:cubicBezTo>
                      <a:pt x="7144" y="1597"/>
                      <a:pt x="5547" y="0"/>
                      <a:pt x="3614" y="0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02" name="Freeform: Shape 828">
                <a:extLst>
                  <a:ext uri="{FF2B5EF4-FFF2-40B4-BE49-F238E27FC236}">
                    <a16:creationId xmlns:a16="http://schemas.microsoft.com/office/drawing/2014/main" id="{8AC9805E-A744-418A-8EE6-7A9B1A70A25D}"/>
                  </a:ext>
                </a:extLst>
              </p:cNvPr>
              <p:cNvSpPr/>
              <p:nvPr/>
            </p:nvSpPr>
            <p:spPr>
              <a:xfrm>
                <a:off x="2322456" y="3371372"/>
                <a:ext cx="10831" cy="10800"/>
              </a:xfrm>
              <a:custGeom>
                <a:avLst/>
                <a:gdLst>
                  <a:gd name="connsiteX0" fmla="*/ 1082 w 10831"/>
                  <a:gd name="connsiteY0" fmla="*/ 1051 h 10800"/>
                  <a:gd name="connsiteX1" fmla="*/ 1082 w 10831"/>
                  <a:gd name="connsiteY1" fmla="*/ 1051 h 10800"/>
                  <a:gd name="connsiteX2" fmla="*/ 1082 w 10831"/>
                  <a:gd name="connsiteY2" fmla="*/ 1051 h 10800"/>
                  <a:gd name="connsiteX3" fmla="*/ 998 w 10831"/>
                  <a:gd name="connsiteY3" fmla="*/ 6010 h 10800"/>
                  <a:gd name="connsiteX4" fmla="*/ 5789 w 10831"/>
                  <a:gd name="connsiteY4" fmla="*/ 10800 h 10800"/>
                  <a:gd name="connsiteX5" fmla="*/ 10831 w 10831"/>
                  <a:gd name="connsiteY5" fmla="*/ 5758 h 10800"/>
                  <a:gd name="connsiteX6" fmla="*/ 6041 w 10831"/>
                  <a:gd name="connsiteY6" fmla="*/ 967 h 10800"/>
                  <a:gd name="connsiteX7" fmla="*/ 1082 w 10831"/>
                  <a:gd name="connsiteY7" fmla="*/ 1051 h 1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00">
                    <a:moveTo>
                      <a:pt x="1082" y="1051"/>
                    </a:moveTo>
                    <a:cubicBezTo>
                      <a:pt x="1082" y="1051"/>
                      <a:pt x="1082" y="1051"/>
                      <a:pt x="1082" y="1051"/>
                    </a:cubicBezTo>
                    <a:lnTo>
                      <a:pt x="1082" y="1051"/>
                    </a:lnTo>
                    <a:cubicBezTo>
                      <a:pt x="-346" y="2480"/>
                      <a:pt x="-346" y="4665"/>
                      <a:pt x="998" y="6010"/>
                    </a:cubicBezTo>
                    <a:lnTo>
                      <a:pt x="5789" y="10800"/>
                    </a:lnTo>
                    <a:lnTo>
                      <a:pt x="10831" y="5758"/>
                    </a:lnTo>
                    <a:lnTo>
                      <a:pt x="6041" y="967"/>
                    </a:lnTo>
                    <a:cubicBezTo>
                      <a:pt x="4612" y="-377"/>
                      <a:pt x="2427" y="-293"/>
                      <a:pt x="1082" y="1051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03" name="Freeform: Shape 829">
                <a:extLst>
                  <a:ext uri="{FF2B5EF4-FFF2-40B4-BE49-F238E27FC236}">
                    <a16:creationId xmlns:a16="http://schemas.microsoft.com/office/drawing/2014/main" id="{FC41641C-9B0F-44BC-8524-2953F8638FCC}"/>
                  </a:ext>
                </a:extLst>
              </p:cNvPr>
              <p:cNvSpPr/>
              <p:nvPr/>
            </p:nvSpPr>
            <p:spPr>
              <a:xfrm>
                <a:off x="2332783" y="3346622"/>
                <a:ext cx="10169" cy="7144"/>
              </a:xfrm>
              <a:custGeom>
                <a:avLst/>
                <a:gdLst>
                  <a:gd name="connsiteX0" fmla="*/ 3446 w 10169"/>
                  <a:gd name="connsiteY0" fmla="*/ 0 h 7144"/>
                  <a:gd name="connsiteX1" fmla="*/ 0 w 10169"/>
                  <a:gd name="connsiteY1" fmla="*/ 3530 h 7144"/>
                  <a:gd name="connsiteX2" fmla="*/ 0 w 10169"/>
                  <a:gd name="connsiteY2" fmla="*/ 3530 h 7144"/>
                  <a:gd name="connsiteX3" fmla="*/ 0 w 10169"/>
                  <a:gd name="connsiteY3" fmla="*/ 3614 h 7144"/>
                  <a:gd name="connsiteX4" fmla="*/ 3446 w 10169"/>
                  <a:gd name="connsiteY4" fmla="*/ 7144 h 7144"/>
                  <a:gd name="connsiteX5" fmla="*/ 10169 w 10169"/>
                  <a:gd name="connsiteY5" fmla="*/ 7144 h 7144"/>
                  <a:gd name="connsiteX6" fmla="*/ 10169 w 10169"/>
                  <a:gd name="connsiteY6" fmla="*/ 84 h 7144"/>
                  <a:gd name="connsiteX7" fmla="*/ 3446 w 10169"/>
                  <a:gd name="connsiteY7" fmla="*/ 84 h 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144">
                    <a:moveTo>
                      <a:pt x="3446" y="0"/>
                    </a:moveTo>
                    <a:cubicBezTo>
                      <a:pt x="1513" y="0"/>
                      <a:pt x="0" y="1597"/>
                      <a:pt x="0" y="3530"/>
                    </a:cubicBezTo>
                    <a:lnTo>
                      <a:pt x="0" y="3530"/>
                    </a:lnTo>
                    <a:lnTo>
                      <a:pt x="0" y="3614"/>
                    </a:lnTo>
                    <a:cubicBezTo>
                      <a:pt x="0" y="5547"/>
                      <a:pt x="1513" y="7144"/>
                      <a:pt x="3446" y="7144"/>
                    </a:cubicBezTo>
                    <a:lnTo>
                      <a:pt x="10169" y="7144"/>
                    </a:lnTo>
                    <a:lnTo>
                      <a:pt x="10169" y="84"/>
                    </a:lnTo>
                    <a:lnTo>
                      <a:pt x="3446" y="8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04" name="Freeform: Shape 830">
                <a:extLst>
                  <a:ext uri="{FF2B5EF4-FFF2-40B4-BE49-F238E27FC236}">
                    <a16:creationId xmlns:a16="http://schemas.microsoft.com/office/drawing/2014/main" id="{BA1D152A-B681-4C9A-B202-4468EF559985}"/>
                  </a:ext>
                </a:extLst>
              </p:cNvPr>
              <p:cNvSpPr/>
              <p:nvPr/>
            </p:nvSpPr>
            <p:spPr>
              <a:xfrm>
                <a:off x="2322540" y="3318215"/>
                <a:ext cx="10831" cy="10831"/>
              </a:xfrm>
              <a:custGeom>
                <a:avLst/>
                <a:gdLst>
                  <a:gd name="connsiteX0" fmla="*/ 1082 w 10831"/>
                  <a:gd name="connsiteY0" fmla="*/ 9749 h 10831"/>
                  <a:gd name="connsiteX1" fmla="*/ 1082 w 10831"/>
                  <a:gd name="connsiteY1" fmla="*/ 9749 h 10831"/>
                  <a:gd name="connsiteX2" fmla="*/ 6041 w 10831"/>
                  <a:gd name="connsiteY2" fmla="*/ 9833 h 10831"/>
                  <a:gd name="connsiteX3" fmla="*/ 10831 w 10831"/>
                  <a:gd name="connsiteY3" fmla="*/ 5043 h 10831"/>
                  <a:gd name="connsiteX4" fmla="*/ 5789 w 10831"/>
                  <a:gd name="connsiteY4" fmla="*/ 0 h 10831"/>
                  <a:gd name="connsiteX5" fmla="*/ 998 w 10831"/>
                  <a:gd name="connsiteY5" fmla="*/ 4791 h 10831"/>
                  <a:gd name="connsiteX6" fmla="*/ 1082 w 10831"/>
                  <a:gd name="connsiteY6" fmla="*/ 9749 h 10831"/>
                  <a:gd name="connsiteX7" fmla="*/ 1082 w 10831"/>
                  <a:gd name="connsiteY7" fmla="*/ 9749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1082" y="9749"/>
                    </a:moveTo>
                    <a:cubicBezTo>
                      <a:pt x="1082" y="9749"/>
                      <a:pt x="1082" y="9749"/>
                      <a:pt x="1082" y="9749"/>
                    </a:cubicBezTo>
                    <a:cubicBezTo>
                      <a:pt x="2511" y="11178"/>
                      <a:pt x="4696" y="11178"/>
                      <a:pt x="6041" y="9833"/>
                    </a:cubicBezTo>
                    <a:lnTo>
                      <a:pt x="10831" y="5043"/>
                    </a:lnTo>
                    <a:lnTo>
                      <a:pt x="5789" y="0"/>
                    </a:lnTo>
                    <a:lnTo>
                      <a:pt x="998" y="4791"/>
                    </a:lnTo>
                    <a:cubicBezTo>
                      <a:pt x="-346" y="6136"/>
                      <a:pt x="-346" y="8320"/>
                      <a:pt x="1082" y="9749"/>
                    </a:cubicBezTo>
                    <a:cubicBezTo>
                      <a:pt x="1082" y="9749"/>
                      <a:pt x="1082" y="9749"/>
                      <a:pt x="1082" y="974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05" name="Freeform: Shape 831">
                <a:extLst>
                  <a:ext uri="{FF2B5EF4-FFF2-40B4-BE49-F238E27FC236}">
                    <a16:creationId xmlns:a16="http://schemas.microsoft.com/office/drawing/2014/main" id="{DCDDE5D8-752F-4336-8FF1-FE0CDCD66A6F}"/>
                  </a:ext>
                </a:extLst>
              </p:cNvPr>
              <p:cNvSpPr/>
              <p:nvPr/>
            </p:nvSpPr>
            <p:spPr>
              <a:xfrm>
                <a:off x="2276305" y="3325106"/>
                <a:ext cx="50090" cy="50090"/>
              </a:xfrm>
              <a:custGeom>
                <a:avLst/>
                <a:gdLst>
                  <a:gd name="connsiteX0" fmla="*/ 25045 w 50090"/>
                  <a:gd name="connsiteY0" fmla="*/ 0 h 50090"/>
                  <a:gd name="connsiteX1" fmla="*/ 0 w 50090"/>
                  <a:gd name="connsiteY1" fmla="*/ 25045 h 50090"/>
                  <a:gd name="connsiteX2" fmla="*/ 25045 w 50090"/>
                  <a:gd name="connsiteY2" fmla="*/ 50090 h 50090"/>
                  <a:gd name="connsiteX3" fmla="*/ 50090 w 50090"/>
                  <a:gd name="connsiteY3" fmla="*/ 25045 h 50090"/>
                  <a:gd name="connsiteX4" fmla="*/ 25045 w 50090"/>
                  <a:gd name="connsiteY4" fmla="*/ 0 h 50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090" h="50090">
                    <a:moveTo>
                      <a:pt x="25045" y="0"/>
                    </a:moveTo>
                    <a:cubicBezTo>
                      <a:pt x="11178" y="0"/>
                      <a:pt x="0" y="11178"/>
                      <a:pt x="0" y="25045"/>
                    </a:cubicBezTo>
                    <a:cubicBezTo>
                      <a:pt x="0" y="38828"/>
                      <a:pt x="11178" y="50090"/>
                      <a:pt x="25045" y="50090"/>
                    </a:cubicBezTo>
                    <a:cubicBezTo>
                      <a:pt x="38912" y="50090"/>
                      <a:pt x="50090" y="38828"/>
                      <a:pt x="50090" y="25045"/>
                    </a:cubicBezTo>
                    <a:cubicBezTo>
                      <a:pt x="50090" y="11178"/>
                      <a:pt x="38828" y="0"/>
                      <a:pt x="25045" y="0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</p:grpSp>
        <p:grpSp>
          <p:nvGrpSpPr>
            <p:cNvPr id="2792" name="Storage - con">
              <a:extLst>
                <a:ext uri="{FF2B5EF4-FFF2-40B4-BE49-F238E27FC236}">
                  <a16:creationId xmlns:a16="http://schemas.microsoft.com/office/drawing/2014/main" id="{C3662D1F-E7D7-4F1F-8A59-13E4DE810B48}"/>
                </a:ext>
              </a:extLst>
            </p:cNvPr>
            <p:cNvGrpSpPr/>
            <p:nvPr/>
          </p:nvGrpSpPr>
          <p:grpSpPr>
            <a:xfrm>
              <a:off x="2259358" y="3589599"/>
              <a:ext cx="124443" cy="104233"/>
              <a:chOff x="3260714" y="3305692"/>
              <a:chExt cx="85388" cy="71521"/>
            </a:xfrm>
            <a:solidFill>
              <a:srgbClr val="644C76"/>
            </a:solidFill>
          </p:grpSpPr>
          <p:sp>
            <p:nvSpPr>
              <p:cNvPr id="2793" name="Freeform: Shape 866">
                <a:extLst>
                  <a:ext uri="{FF2B5EF4-FFF2-40B4-BE49-F238E27FC236}">
                    <a16:creationId xmlns:a16="http://schemas.microsoft.com/office/drawing/2014/main" id="{6620D2AC-36B0-40A7-8FFA-E9A02C29E2ED}"/>
                  </a:ext>
                </a:extLst>
              </p:cNvPr>
              <p:cNvSpPr/>
              <p:nvPr/>
            </p:nvSpPr>
            <p:spPr>
              <a:xfrm>
                <a:off x="3333244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794" name="Freeform: Shape 867">
                <a:extLst>
                  <a:ext uri="{FF2B5EF4-FFF2-40B4-BE49-F238E27FC236}">
                    <a16:creationId xmlns:a16="http://schemas.microsoft.com/office/drawing/2014/main" id="{373B7643-9132-4CC6-A8BF-89D818D65331}"/>
                  </a:ext>
                </a:extLst>
              </p:cNvPr>
              <p:cNvSpPr/>
              <p:nvPr/>
            </p:nvSpPr>
            <p:spPr>
              <a:xfrm>
                <a:off x="3266765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795" name="Freeform: Shape 868">
                <a:extLst>
                  <a:ext uri="{FF2B5EF4-FFF2-40B4-BE49-F238E27FC236}">
                    <a16:creationId xmlns:a16="http://schemas.microsoft.com/office/drawing/2014/main" id="{677EE462-E987-46F7-AD2F-E46050EADEF9}"/>
                  </a:ext>
                </a:extLst>
              </p:cNvPr>
              <p:cNvSpPr/>
              <p:nvPr/>
            </p:nvSpPr>
            <p:spPr>
              <a:xfrm>
                <a:off x="3280969" y="3305692"/>
                <a:ext cx="44879" cy="58999"/>
              </a:xfrm>
              <a:custGeom>
                <a:avLst/>
                <a:gdLst>
                  <a:gd name="connsiteX0" fmla="*/ 21683 w 44879"/>
                  <a:gd name="connsiteY0" fmla="*/ 46729 h 58999"/>
                  <a:gd name="connsiteX1" fmla="*/ 21683 w 44879"/>
                  <a:gd name="connsiteY1" fmla="*/ 33954 h 58999"/>
                  <a:gd name="connsiteX2" fmla="*/ 12691 w 44879"/>
                  <a:gd name="connsiteY2" fmla="*/ 33954 h 58999"/>
                  <a:gd name="connsiteX3" fmla="*/ 16641 w 44879"/>
                  <a:gd name="connsiteY3" fmla="*/ 17817 h 58999"/>
                  <a:gd name="connsiteX4" fmla="*/ 29499 w 44879"/>
                  <a:gd name="connsiteY4" fmla="*/ 17817 h 58999"/>
                  <a:gd name="connsiteX5" fmla="*/ 24457 w 44879"/>
                  <a:gd name="connsiteY5" fmla="*/ 28071 h 58999"/>
                  <a:gd name="connsiteX6" fmla="*/ 33281 w 44879"/>
                  <a:gd name="connsiteY6" fmla="*/ 28071 h 58999"/>
                  <a:gd name="connsiteX7" fmla="*/ 21683 w 44879"/>
                  <a:gd name="connsiteY7" fmla="*/ 46729 h 58999"/>
                  <a:gd name="connsiteX8" fmla="*/ 44880 w 44879"/>
                  <a:gd name="connsiteY8" fmla="*/ 0 h 58999"/>
                  <a:gd name="connsiteX9" fmla="*/ 0 w 44879"/>
                  <a:gd name="connsiteY9" fmla="*/ 0 h 58999"/>
                  <a:gd name="connsiteX10" fmla="*/ 0 w 44879"/>
                  <a:gd name="connsiteY10" fmla="*/ 58999 h 58999"/>
                  <a:gd name="connsiteX11" fmla="*/ 44880 w 44879"/>
                  <a:gd name="connsiteY11" fmla="*/ 58999 h 58999"/>
                  <a:gd name="connsiteX12" fmla="*/ 44880 w 44879"/>
                  <a:gd name="connsiteY12" fmla="*/ 0 h 5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879" h="58999">
                    <a:moveTo>
                      <a:pt x="21683" y="46729"/>
                    </a:moveTo>
                    <a:lnTo>
                      <a:pt x="21683" y="33954"/>
                    </a:lnTo>
                    <a:lnTo>
                      <a:pt x="12691" y="33954"/>
                    </a:lnTo>
                    <a:lnTo>
                      <a:pt x="16641" y="17817"/>
                    </a:lnTo>
                    <a:lnTo>
                      <a:pt x="29499" y="17817"/>
                    </a:lnTo>
                    <a:lnTo>
                      <a:pt x="24457" y="28071"/>
                    </a:lnTo>
                    <a:lnTo>
                      <a:pt x="33281" y="28071"/>
                    </a:lnTo>
                    <a:lnTo>
                      <a:pt x="21683" y="46729"/>
                    </a:lnTo>
                    <a:close/>
                    <a:moveTo>
                      <a:pt x="44880" y="0"/>
                    </a:moveTo>
                    <a:lnTo>
                      <a:pt x="0" y="0"/>
                    </a:lnTo>
                    <a:lnTo>
                      <a:pt x="0" y="58999"/>
                    </a:lnTo>
                    <a:lnTo>
                      <a:pt x="44880" y="58999"/>
                    </a:lnTo>
                    <a:lnTo>
                      <a:pt x="44880" y="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srgbClr val="644C76"/>
                  </a:solidFill>
                </a:endParaRPr>
              </a:p>
            </p:txBody>
          </p:sp>
          <p:sp>
            <p:nvSpPr>
              <p:cNvPr id="2796" name="Freeform: Shape 869">
                <a:extLst>
                  <a:ext uri="{FF2B5EF4-FFF2-40B4-BE49-F238E27FC236}">
                    <a16:creationId xmlns:a16="http://schemas.microsoft.com/office/drawing/2014/main" id="{0AEA2EBA-0935-415C-AFF6-FF0234147D1A}"/>
                  </a:ext>
                </a:extLst>
              </p:cNvPr>
              <p:cNvSpPr/>
              <p:nvPr/>
            </p:nvSpPr>
            <p:spPr>
              <a:xfrm>
                <a:off x="3260714" y="3370490"/>
                <a:ext cx="85388" cy="6723"/>
              </a:xfrm>
              <a:custGeom>
                <a:avLst/>
                <a:gdLst>
                  <a:gd name="connsiteX0" fmla="*/ 0 w 85388"/>
                  <a:gd name="connsiteY0" fmla="*/ 0 h 6723"/>
                  <a:gd name="connsiteX1" fmla="*/ 85389 w 85388"/>
                  <a:gd name="connsiteY1" fmla="*/ 0 h 6723"/>
                  <a:gd name="connsiteX2" fmla="*/ 85389 w 85388"/>
                  <a:gd name="connsiteY2" fmla="*/ 6724 h 6723"/>
                  <a:gd name="connsiteX3" fmla="*/ 0 w 85388"/>
                  <a:gd name="connsiteY3" fmla="*/ 6724 h 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388" h="6723">
                    <a:moveTo>
                      <a:pt x="0" y="0"/>
                    </a:moveTo>
                    <a:lnTo>
                      <a:pt x="85389" y="0"/>
                    </a:lnTo>
                    <a:lnTo>
                      <a:pt x="85389" y="6724"/>
                    </a:lnTo>
                    <a:lnTo>
                      <a:pt x="0" y="672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</p:grpSp>
      </p:grpSp>
      <p:grpSp>
        <p:nvGrpSpPr>
          <p:cNvPr id="2806" name="Group 2805">
            <a:extLst>
              <a:ext uri="{FF2B5EF4-FFF2-40B4-BE49-F238E27FC236}">
                <a16:creationId xmlns:a16="http://schemas.microsoft.com/office/drawing/2014/main" id="{C6775EF3-88A9-49C0-9564-9CD2E2D7D415}"/>
              </a:ext>
            </a:extLst>
          </p:cNvPr>
          <p:cNvGrpSpPr>
            <a:grpSpLocks/>
          </p:cNvGrpSpPr>
          <p:nvPr/>
        </p:nvGrpSpPr>
        <p:grpSpPr>
          <a:xfrm>
            <a:off x="4071649" y="3683197"/>
            <a:ext cx="248902" cy="114295"/>
            <a:chOff x="2134899" y="3584772"/>
            <a:chExt cx="248902" cy="114295"/>
          </a:xfrm>
        </p:grpSpPr>
        <p:grpSp>
          <p:nvGrpSpPr>
            <p:cNvPr id="2807" name="Graphic 2">
              <a:extLst>
                <a:ext uri="{FF2B5EF4-FFF2-40B4-BE49-F238E27FC236}">
                  <a16:creationId xmlns:a16="http://schemas.microsoft.com/office/drawing/2014/main" id="{B32B28B2-A6C7-4160-AF04-DAC6B4CA76E8}"/>
                </a:ext>
              </a:extLst>
            </p:cNvPr>
            <p:cNvGrpSpPr>
              <a:grpSpLocks/>
            </p:cNvGrpSpPr>
            <p:nvPr/>
          </p:nvGrpSpPr>
          <p:grpSpPr>
            <a:xfrm>
              <a:off x="2134899" y="3584772"/>
              <a:ext cx="114294" cy="114295"/>
              <a:chOff x="2259665" y="3308466"/>
              <a:chExt cx="83287" cy="83287"/>
            </a:xfrm>
            <a:solidFill>
              <a:srgbClr val="644C76"/>
            </a:solidFill>
          </p:grpSpPr>
          <p:sp>
            <p:nvSpPr>
              <p:cNvPr id="2813" name="Freeform: Shape 823">
                <a:extLst>
                  <a:ext uri="{FF2B5EF4-FFF2-40B4-BE49-F238E27FC236}">
                    <a16:creationId xmlns:a16="http://schemas.microsoft.com/office/drawing/2014/main" id="{0FE692DA-E651-4E8E-87AB-597F2829DE58}"/>
                  </a:ext>
                </a:extLst>
              </p:cNvPr>
              <p:cNvSpPr/>
              <p:nvPr/>
            </p:nvSpPr>
            <p:spPr>
              <a:xfrm>
                <a:off x="2297821" y="3308466"/>
                <a:ext cx="7143" cy="10169"/>
              </a:xfrm>
              <a:custGeom>
                <a:avLst/>
                <a:gdLst>
                  <a:gd name="connsiteX0" fmla="*/ 3530 w 7143"/>
                  <a:gd name="connsiteY0" fmla="*/ 10169 h 10169"/>
                  <a:gd name="connsiteX1" fmla="*/ 3530 w 7143"/>
                  <a:gd name="connsiteY1" fmla="*/ 10169 h 10169"/>
                  <a:gd name="connsiteX2" fmla="*/ 3530 w 7143"/>
                  <a:gd name="connsiteY2" fmla="*/ 10169 h 10169"/>
                  <a:gd name="connsiteX3" fmla="*/ 7144 w 7143"/>
                  <a:gd name="connsiteY3" fmla="*/ 6723 h 10169"/>
                  <a:gd name="connsiteX4" fmla="*/ 7144 w 7143"/>
                  <a:gd name="connsiteY4" fmla="*/ 0 h 10169"/>
                  <a:gd name="connsiteX5" fmla="*/ 0 w 7143"/>
                  <a:gd name="connsiteY5" fmla="*/ 0 h 10169"/>
                  <a:gd name="connsiteX6" fmla="*/ 0 w 7143"/>
                  <a:gd name="connsiteY6" fmla="*/ 6723 h 10169"/>
                  <a:gd name="connsiteX7" fmla="*/ 3530 w 7143"/>
                  <a:gd name="connsiteY7" fmla="*/ 10169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530" y="10169"/>
                    </a:moveTo>
                    <a:lnTo>
                      <a:pt x="3530" y="10169"/>
                    </a:lnTo>
                    <a:lnTo>
                      <a:pt x="3530" y="10169"/>
                    </a:lnTo>
                    <a:cubicBezTo>
                      <a:pt x="5547" y="10169"/>
                      <a:pt x="7144" y="8656"/>
                      <a:pt x="7144" y="6723"/>
                    </a:cubicBezTo>
                    <a:lnTo>
                      <a:pt x="7144" y="0"/>
                    </a:lnTo>
                    <a:lnTo>
                      <a:pt x="0" y="0"/>
                    </a:lnTo>
                    <a:lnTo>
                      <a:pt x="0" y="6723"/>
                    </a:lnTo>
                    <a:cubicBezTo>
                      <a:pt x="0" y="8656"/>
                      <a:pt x="1597" y="10169"/>
                      <a:pt x="3530" y="1016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14" name="Freeform: Shape 824">
                <a:extLst>
                  <a:ext uri="{FF2B5EF4-FFF2-40B4-BE49-F238E27FC236}">
                    <a16:creationId xmlns:a16="http://schemas.microsoft.com/office/drawing/2014/main" id="{30EA401C-674B-4C11-A39C-B6C638B7B3EE}"/>
                  </a:ext>
                </a:extLst>
              </p:cNvPr>
              <p:cNvSpPr/>
              <p:nvPr/>
            </p:nvSpPr>
            <p:spPr>
              <a:xfrm>
                <a:off x="2269330" y="3318131"/>
                <a:ext cx="10831" cy="10768"/>
              </a:xfrm>
              <a:custGeom>
                <a:avLst/>
                <a:gdLst>
                  <a:gd name="connsiteX0" fmla="*/ 9749 w 10831"/>
                  <a:gd name="connsiteY0" fmla="*/ 9749 h 10768"/>
                  <a:gd name="connsiteX1" fmla="*/ 9749 w 10831"/>
                  <a:gd name="connsiteY1" fmla="*/ 9749 h 10768"/>
                  <a:gd name="connsiteX2" fmla="*/ 9749 w 10831"/>
                  <a:gd name="connsiteY2" fmla="*/ 9749 h 10768"/>
                  <a:gd name="connsiteX3" fmla="*/ 9833 w 10831"/>
                  <a:gd name="connsiteY3" fmla="*/ 4791 h 10768"/>
                  <a:gd name="connsiteX4" fmla="*/ 5043 w 10831"/>
                  <a:gd name="connsiteY4" fmla="*/ 0 h 10768"/>
                  <a:gd name="connsiteX5" fmla="*/ 0 w 10831"/>
                  <a:gd name="connsiteY5" fmla="*/ 5043 h 10768"/>
                  <a:gd name="connsiteX6" fmla="*/ 4791 w 10831"/>
                  <a:gd name="connsiteY6" fmla="*/ 9834 h 10768"/>
                  <a:gd name="connsiteX7" fmla="*/ 9749 w 10831"/>
                  <a:gd name="connsiteY7" fmla="*/ 9749 h 1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768">
                    <a:moveTo>
                      <a:pt x="9749" y="9749"/>
                    </a:moveTo>
                    <a:lnTo>
                      <a:pt x="9749" y="9749"/>
                    </a:lnTo>
                    <a:cubicBezTo>
                      <a:pt x="9833" y="9665"/>
                      <a:pt x="9833" y="9665"/>
                      <a:pt x="9749" y="9749"/>
                    </a:cubicBezTo>
                    <a:cubicBezTo>
                      <a:pt x="11178" y="8321"/>
                      <a:pt x="11178" y="6136"/>
                      <a:pt x="9833" y="4791"/>
                    </a:cubicBezTo>
                    <a:lnTo>
                      <a:pt x="5043" y="0"/>
                    </a:lnTo>
                    <a:lnTo>
                      <a:pt x="0" y="5043"/>
                    </a:lnTo>
                    <a:lnTo>
                      <a:pt x="4791" y="9834"/>
                    </a:lnTo>
                    <a:cubicBezTo>
                      <a:pt x="6219" y="11094"/>
                      <a:pt x="8404" y="11094"/>
                      <a:pt x="9749" y="974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15" name="Freeform: Shape 825">
                <a:extLst>
                  <a:ext uri="{FF2B5EF4-FFF2-40B4-BE49-F238E27FC236}">
                    <a16:creationId xmlns:a16="http://schemas.microsoft.com/office/drawing/2014/main" id="{4DE78943-438F-4FC5-9061-969E70508FB7}"/>
                  </a:ext>
                </a:extLst>
              </p:cNvPr>
              <p:cNvSpPr/>
              <p:nvPr/>
            </p:nvSpPr>
            <p:spPr>
              <a:xfrm>
                <a:off x="2259665" y="3346538"/>
                <a:ext cx="10169" cy="7059"/>
              </a:xfrm>
              <a:custGeom>
                <a:avLst/>
                <a:gdLst>
                  <a:gd name="connsiteX0" fmla="*/ 10169 w 10169"/>
                  <a:gd name="connsiteY0" fmla="*/ 3530 h 7059"/>
                  <a:gd name="connsiteX1" fmla="*/ 10169 w 10169"/>
                  <a:gd name="connsiteY1" fmla="*/ 3530 h 7059"/>
                  <a:gd name="connsiteX2" fmla="*/ 6724 w 10169"/>
                  <a:gd name="connsiteY2" fmla="*/ 0 h 7059"/>
                  <a:gd name="connsiteX3" fmla="*/ 0 w 10169"/>
                  <a:gd name="connsiteY3" fmla="*/ 0 h 7059"/>
                  <a:gd name="connsiteX4" fmla="*/ 0 w 10169"/>
                  <a:gd name="connsiteY4" fmla="*/ 7060 h 7059"/>
                  <a:gd name="connsiteX5" fmla="*/ 6724 w 10169"/>
                  <a:gd name="connsiteY5" fmla="*/ 7060 h 7059"/>
                  <a:gd name="connsiteX6" fmla="*/ 10169 w 10169"/>
                  <a:gd name="connsiteY6" fmla="*/ 3530 h 7059"/>
                  <a:gd name="connsiteX7" fmla="*/ 10169 w 10169"/>
                  <a:gd name="connsiteY7" fmla="*/ 3530 h 7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059">
                    <a:moveTo>
                      <a:pt x="10169" y="3530"/>
                    </a:moveTo>
                    <a:lnTo>
                      <a:pt x="10169" y="3530"/>
                    </a:lnTo>
                    <a:cubicBezTo>
                      <a:pt x="10169" y="1597"/>
                      <a:pt x="8657" y="0"/>
                      <a:pt x="6724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6724" y="7060"/>
                    </a:lnTo>
                    <a:cubicBezTo>
                      <a:pt x="8657" y="7060"/>
                      <a:pt x="10169" y="5463"/>
                      <a:pt x="10169" y="3530"/>
                    </a:cubicBezTo>
                    <a:lnTo>
                      <a:pt x="10169" y="353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16" name="Freeform: Shape 826">
                <a:extLst>
                  <a:ext uri="{FF2B5EF4-FFF2-40B4-BE49-F238E27FC236}">
                    <a16:creationId xmlns:a16="http://schemas.microsoft.com/office/drawing/2014/main" id="{F01E54A2-8379-4E0D-B775-05F1483E3443}"/>
                  </a:ext>
                </a:extLst>
              </p:cNvPr>
              <p:cNvSpPr/>
              <p:nvPr/>
            </p:nvSpPr>
            <p:spPr>
              <a:xfrm>
                <a:off x="2269246" y="3371257"/>
                <a:ext cx="10831" cy="10831"/>
              </a:xfrm>
              <a:custGeom>
                <a:avLst/>
                <a:gdLst>
                  <a:gd name="connsiteX0" fmla="*/ 9749 w 10831"/>
                  <a:gd name="connsiteY0" fmla="*/ 1082 h 10831"/>
                  <a:gd name="connsiteX1" fmla="*/ 9749 w 10831"/>
                  <a:gd name="connsiteY1" fmla="*/ 1082 h 10831"/>
                  <a:gd name="connsiteX2" fmla="*/ 4791 w 10831"/>
                  <a:gd name="connsiteY2" fmla="*/ 998 h 10831"/>
                  <a:gd name="connsiteX3" fmla="*/ 0 w 10831"/>
                  <a:gd name="connsiteY3" fmla="*/ 5789 h 10831"/>
                  <a:gd name="connsiteX4" fmla="*/ 5043 w 10831"/>
                  <a:gd name="connsiteY4" fmla="*/ 10832 h 10831"/>
                  <a:gd name="connsiteX5" fmla="*/ 9833 w 10831"/>
                  <a:gd name="connsiteY5" fmla="*/ 6041 h 10831"/>
                  <a:gd name="connsiteX6" fmla="*/ 9749 w 10831"/>
                  <a:gd name="connsiteY6" fmla="*/ 1082 h 10831"/>
                  <a:gd name="connsiteX7" fmla="*/ 9749 w 10831"/>
                  <a:gd name="connsiteY7" fmla="*/ 1082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9749" y="1082"/>
                    </a:moveTo>
                    <a:lnTo>
                      <a:pt x="9749" y="1082"/>
                    </a:lnTo>
                    <a:cubicBezTo>
                      <a:pt x="8320" y="-346"/>
                      <a:pt x="6135" y="-346"/>
                      <a:pt x="4791" y="998"/>
                    </a:cubicBezTo>
                    <a:lnTo>
                      <a:pt x="0" y="5789"/>
                    </a:lnTo>
                    <a:lnTo>
                      <a:pt x="5043" y="10832"/>
                    </a:lnTo>
                    <a:lnTo>
                      <a:pt x="9833" y="6041"/>
                    </a:lnTo>
                    <a:cubicBezTo>
                      <a:pt x="11178" y="4696"/>
                      <a:pt x="11178" y="2511"/>
                      <a:pt x="9749" y="1082"/>
                    </a:cubicBezTo>
                    <a:cubicBezTo>
                      <a:pt x="9749" y="1082"/>
                      <a:pt x="9749" y="1082"/>
                      <a:pt x="9749" y="1082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17" name="Freeform: Shape 827">
                <a:extLst>
                  <a:ext uri="{FF2B5EF4-FFF2-40B4-BE49-F238E27FC236}">
                    <a16:creationId xmlns:a16="http://schemas.microsoft.com/office/drawing/2014/main" id="{7D884F03-4331-4DA3-9B81-CAEC263E3A56}"/>
                  </a:ext>
                </a:extLst>
              </p:cNvPr>
              <p:cNvSpPr/>
              <p:nvPr/>
            </p:nvSpPr>
            <p:spPr>
              <a:xfrm>
                <a:off x="2297653" y="3381584"/>
                <a:ext cx="7143" cy="10169"/>
              </a:xfrm>
              <a:custGeom>
                <a:avLst/>
                <a:gdLst>
                  <a:gd name="connsiteX0" fmla="*/ 3614 w 7143"/>
                  <a:gd name="connsiteY0" fmla="*/ 0 h 10169"/>
                  <a:gd name="connsiteX1" fmla="*/ 3614 w 7143"/>
                  <a:gd name="connsiteY1" fmla="*/ 0 h 10169"/>
                  <a:gd name="connsiteX2" fmla="*/ 3614 w 7143"/>
                  <a:gd name="connsiteY2" fmla="*/ 0 h 10169"/>
                  <a:gd name="connsiteX3" fmla="*/ 0 w 7143"/>
                  <a:gd name="connsiteY3" fmla="*/ 3446 h 10169"/>
                  <a:gd name="connsiteX4" fmla="*/ 0 w 7143"/>
                  <a:gd name="connsiteY4" fmla="*/ 10169 h 10169"/>
                  <a:gd name="connsiteX5" fmla="*/ 7144 w 7143"/>
                  <a:gd name="connsiteY5" fmla="*/ 10169 h 10169"/>
                  <a:gd name="connsiteX6" fmla="*/ 7144 w 7143"/>
                  <a:gd name="connsiteY6" fmla="*/ 3446 h 10169"/>
                  <a:gd name="connsiteX7" fmla="*/ 3614 w 7143"/>
                  <a:gd name="connsiteY7" fmla="*/ 0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614" y="0"/>
                    </a:moveTo>
                    <a:lnTo>
                      <a:pt x="3614" y="0"/>
                    </a:lnTo>
                    <a:lnTo>
                      <a:pt x="3614" y="0"/>
                    </a:lnTo>
                    <a:cubicBezTo>
                      <a:pt x="1597" y="0"/>
                      <a:pt x="0" y="1513"/>
                      <a:pt x="0" y="3446"/>
                    </a:cubicBezTo>
                    <a:lnTo>
                      <a:pt x="0" y="10169"/>
                    </a:lnTo>
                    <a:lnTo>
                      <a:pt x="7144" y="10169"/>
                    </a:lnTo>
                    <a:lnTo>
                      <a:pt x="7144" y="3446"/>
                    </a:lnTo>
                    <a:cubicBezTo>
                      <a:pt x="7144" y="1597"/>
                      <a:pt x="5547" y="0"/>
                      <a:pt x="3614" y="0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18" name="Freeform: Shape 828">
                <a:extLst>
                  <a:ext uri="{FF2B5EF4-FFF2-40B4-BE49-F238E27FC236}">
                    <a16:creationId xmlns:a16="http://schemas.microsoft.com/office/drawing/2014/main" id="{EACD0B23-98B3-4833-8730-16D9D9C5D5EA}"/>
                  </a:ext>
                </a:extLst>
              </p:cNvPr>
              <p:cNvSpPr/>
              <p:nvPr/>
            </p:nvSpPr>
            <p:spPr>
              <a:xfrm>
                <a:off x="2322456" y="3371372"/>
                <a:ext cx="10831" cy="10800"/>
              </a:xfrm>
              <a:custGeom>
                <a:avLst/>
                <a:gdLst>
                  <a:gd name="connsiteX0" fmla="*/ 1082 w 10831"/>
                  <a:gd name="connsiteY0" fmla="*/ 1051 h 10800"/>
                  <a:gd name="connsiteX1" fmla="*/ 1082 w 10831"/>
                  <a:gd name="connsiteY1" fmla="*/ 1051 h 10800"/>
                  <a:gd name="connsiteX2" fmla="*/ 1082 w 10831"/>
                  <a:gd name="connsiteY2" fmla="*/ 1051 h 10800"/>
                  <a:gd name="connsiteX3" fmla="*/ 998 w 10831"/>
                  <a:gd name="connsiteY3" fmla="*/ 6010 h 10800"/>
                  <a:gd name="connsiteX4" fmla="*/ 5789 w 10831"/>
                  <a:gd name="connsiteY4" fmla="*/ 10800 h 10800"/>
                  <a:gd name="connsiteX5" fmla="*/ 10831 w 10831"/>
                  <a:gd name="connsiteY5" fmla="*/ 5758 h 10800"/>
                  <a:gd name="connsiteX6" fmla="*/ 6041 w 10831"/>
                  <a:gd name="connsiteY6" fmla="*/ 967 h 10800"/>
                  <a:gd name="connsiteX7" fmla="*/ 1082 w 10831"/>
                  <a:gd name="connsiteY7" fmla="*/ 1051 h 1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00">
                    <a:moveTo>
                      <a:pt x="1082" y="1051"/>
                    </a:moveTo>
                    <a:cubicBezTo>
                      <a:pt x="1082" y="1051"/>
                      <a:pt x="1082" y="1051"/>
                      <a:pt x="1082" y="1051"/>
                    </a:cubicBezTo>
                    <a:lnTo>
                      <a:pt x="1082" y="1051"/>
                    </a:lnTo>
                    <a:cubicBezTo>
                      <a:pt x="-346" y="2480"/>
                      <a:pt x="-346" y="4665"/>
                      <a:pt x="998" y="6010"/>
                    </a:cubicBezTo>
                    <a:lnTo>
                      <a:pt x="5789" y="10800"/>
                    </a:lnTo>
                    <a:lnTo>
                      <a:pt x="10831" y="5758"/>
                    </a:lnTo>
                    <a:lnTo>
                      <a:pt x="6041" y="967"/>
                    </a:lnTo>
                    <a:cubicBezTo>
                      <a:pt x="4612" y="-377"/>
                      <a:pt x="2427" y="-293"/>
                      <a:pt x="1082" y="1051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19" name="Freeform: Shape 829">
                <a:extLst>
                  <a:ext uri="{FF2B5EF4-FFF2-40B4-BE49-F238E27FC236}">
                    <a16:creationId xmlns:a16="http://schemas.microsoft.com/office/drawing/2014/main" id="{5909C4A3-71C2-4DCF-A5C6-E72206F29E0E}"/>
                  </a:ext>
                </a:extLst>
              </p:cNvPr>
              <p:cNvSpPr/>
              <p:nvPr/>
            </p:nvSpPr>
            <p:spPr>
              <a:xfrm>
                <a:off x="2332783" y="3346622"/>
                <a:ext cx="10169" cy="7144"/>
              </a:xfrm>
              <a:custGeom>
                <a:avLst/>
                <a:gdLst>
                  <a:gd name="connsiteX0" fmla="*/ 3446 w 10169"/>
                  <a:gd name="connsiteY0" fmla="*/ 0 h 7144"/>
                  <a:gd name="connsiteX1" fmla="*/ 0 w 10169"/>
                  <a:gd name="connsiteY1" fmla="*/ 3530 h 7144"/>
                  <a:gd name="connsiteX2" fmla="*/ 0 w 10169"/>
                  <a:gd name="connsiteY2" fmla="*/ 3530 h 7144"/>
                  <a:gd name="connsiteX3" fmla="*/ 0 w 10169"/>
                  <a:gd name="connsiteY3" fmla="*/ 3614 h 7144"/>
                  <a:gd name="connsiteX4" fmla="*/ 3446 w 10169"/>
                  <a:gd name="connsiteY4" fmla="*/ 7144 h 7144"/>
                  <a:gd name="connsiteX5" fmla="*/ 10169 w 10169"/>
                  <a:gd name="connsiteY5" fmla="*/ 7144 h 7144"/>
                  <a:gd name="connsiteX6" fmla="*/ 10169 w 10169"/>
                  <a:gd name="connsiteY6" fmla="*/ 84 h 7144"/>
                  <a:gd name="connsiteX7" fmla="*/ 3446 w 10169"/>
                  <a:gd name="connsiteY7" fmla="*/ 84 h 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144">
                    <a:moveTo>
                      <a:pt x="3446" y="0"/>
                    </a:moveTo>
                    <a:cubicBezTo>
                      <a:pt x="1513" y="0"/>
                      <a:pt x="0" y="1597"/>
                      <a:pt x="0" y="3530"/>
                    </a:cubicBezTo>
                    <a:lnTo>
                      <a:pt x="0" y="3530"/>
                    </a:lnTo>
                    <a:lnTo>
                      <a:pt x="0" y="3614"/>
                    </a:lnTo>
                    <a:cubicBezTo>
                      <a:pt x="0" y="5547"/>
                      <a:pt x="1513" y="7144"/>
                      <a:pt x="3446" y="7144"/>
                    </a:cubicBezTo>
                    <a:lnTo>
                      <a:pt x="10169" y="7144"/>
                    </a:lnTo>
                    <a:lnTo>
                      <a:pt x="10169" y="84"/>
                    </a:lnTo>
                    <a:lnTo>
                      <a:pt x="3446" y="8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20" name="Freeform: Shape 830">
                <a:extLst>
                  <a:ext uri="{FF2B5EF4-FFF2-40B4-BE49-F238E27FC236}">
                    <a16:creationId xmlns:a16="http://schemas.microsoft.com/office/drawing/2014/main" id="{34977B0E-4E62-4266-AFC2-10B9267BFE49}"/>
                  </a:ext>
                </a:extLst>
              </p:cNvPr>
              <p:cNvSpPr/>
              <p:nvPr/>
            </p:nvSpPr>
            <p:spPr>
              <a:xfrm>
                <a:off x="2322540" y="3318215"/>
                <a:ext cx="10831" cy="10831"/>
              </a:xfrm>
              <a:custGeom>
                <a:avLst/>
                <a:gdLst>
                  <a:gd name="connsiteX0" fmla="*/ 1082 w 10831"/>
                  <a:gd name="connsiteY0" fmla="*/ 9749 h 10831"/>
                  <a:gd name="connsiteX1" fmla="*/ 1082 w 10831"/>
                  <a:gd name="connsiteY1" fmla="*/ 9749 h 10831"/>
                  <a:gd name="connsiteX2" fmla="*/ 6041 w 10831"/>
                  <a:gd name="connsiteY2" fmla="*/ 9833 h 10831"/>
                  <a:gd name="connsiteX3" fmla="*/ 10831 w 10831"/>
                  <a:gd name="connsiteY3" fmla="*/ 5043 h 10831"/>
                  <a:gd name="connsiteX4" fmla="*/ 5789 w 10831"/>
                  <a:gd name="connsiteY4" fmla="*/ 0 h 10831"/>
                  <a:gd name="connsiteX5" fmla="*/ 998 w 10831"/>
                  <a:gd name="connsiteY5" fmla="*/ 4791 h 10831"/>
                  <a:gd name="connsiteX6" fmla="*/ 1082 w 10831"/>
                  <a:gd name="connsiteY6" fmla="*/ 9749 h 10831"/>
                  <a:gd name="connsiteX7" fmla="*/ 1082 w 10831"/>
                  <a:gd name="connsiteY7" fmla="*/ 9749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1082" y="9749"/>
                    </a:moveTo>
                    <a:cubicBezTo>
                      <a:pt x="1082" y="9749"/>
                      <a:pt x="1082" y="9749"/>
                      <a:pt x="1082" y="9749"/>
                    </a:cubicBezTo>
                    <a:cubicBezTo>
                      <a:pt x="2511" y="11178"/>
                      <a:pt x="4696" y="11178"/>
                      <a:pt x="6041" y="9833"/>
                    </a:cubicBezTo>
                    <a:lnTo>
                      <a:pt x="10831" y="5043"/>
                    </a:lnTo>
                    <a:lnTo>
                      <a:pt x="5789" y="0"/>
                    </a:lnTo>
                    <a:lnTo>
                      <a:pt x="998" y="4791"/>
                    </a:lnTo>
                    <a:cubicBezTo>
                      <a:pt x="-346" y="6136"/>
                      <a:pt x="-346" y="8320"/>
                      <a:pt x="1082" y="9749"/>
                    </a:cubicBezTo>
                    <a:cubicBezTo>
                      <a:pt x="1082" y="9749"/>
                      <a:pt x="1082" y="9749"/>
                      <a:pt x="1082" y="974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21" name="Freeform: Shape 831">
                <a:extLst>
                  <a:ext uri="{FF2B5EF4-FFF2-40B4-BE49-F238E27FC236}">
                    <a16:creationId xmlns:a16="http://schemas.microsoft.com/office/drawing/2014/main" id="{AF91E35D-7ADB-417F-93EB-F8A1D89A7169}"/>
                  </a:ext>
                </a:extLst>
              </p:cNvPr>
              <p:cNvSpPr/>
              <p:nvPr/>
            </p:nvSpPr>
            <p:spPr>
              <a:xfrm>
                <a:off x="2276305" y="3325106"/>
                <a:ext cx="50090" cy="50090"/>
              </a:xfrm>
              <a:custGeom>
                <a:avLst/>
                <a:gdLst>
                  <a:gd name="connsiteX0" fmla="*/ 25045 w 50090"/>
                  <a:gd name="connsiteY0" fmla="*/ 0 h 50090"/>
                  <a:gd name="connsiteX1" fmla="*/ 0 w 50090"/>
                  <a:gd name="connsiteY1" fmla="*/ 25045 h 50090"/>
                  <a:gd name="connsiteX2" fmla="*/ 25045 w 50090"/>
                  <a:gd name="connsiteY2" fmla="*/ 50090 h 50090"/>
                  <a:gd name="connsiteX3" fmla="*/ 50090 w 50090"/>
                  <a:gd name="connsiteY3" fmla="*/ 25045 h 50090"/>
                  <a:gd name="connsiteX4" fmla="*/ 25045 w 50090"/>
                  <a:gd name="connsiteY4" fmla="*/ 0 h 50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090" h="50090">
                    <a:moveTo>
                      <a:pt x="25045" y="0"/>
                    </a:moveTo>
                    <a:cubicBezTo>
                      <a:pt x="11178" y="0"/>
                      <a:pt x="0" y="11178"/>
                      <a:pt x="0" y="25045"/>
                    </a:cubicBezTo>
                    <a:cubicBezTo>
                      <a:pt x="0" y="38828"/>
                      <a:pt x="11178" y="50090"/>
                      <a:pt x="25045" y="50090"/>
                    </a:cubicBezTo>
                    <a:cubicBezTo>
                      <a:pt x="38912" y="50090"/>
                      <a:pt x="50090" y="38828"/>
                      <a:pt x="50090" y="25045"/>
                    </a:cubicBezTo>
                    <a:cubicBezTo>
                      <a:pt x="50090" y="11178"/>
                      <a:pt x="38828" y="0"/>
                      <a:pt x="25045" y="0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</p:grpSp>
        <p:grpSp>
          <p:nvGrpSpPr>
            <p:cNvPr id="2808" name="Storage - con">
              <a:extLst>
                <a:ext uri="{FF2B5EF4-FFF2-40B4-BE49-F238E27FC236}">
                  <a16:creationId xmlns:a16="http://schemas.microsoft.com/office/drawing/2014/main" id="{7A70C2B0-6004-489B-9A38-64CA87317D68}"/>
                </a:ext>
              </a:extLst>
            </p:cNvPr>
            <p:cNvGrpSpPr/>
            <p:nvPr/>
          </p:nvGrpSpPr>
          <p:grpSpPr>
            <a:xfrm>
              <a:off x="2259358" y="3589599"/>
              <a:ext cx="124443" cy="104233"/>
              <a:chOff x="3260714" y="3305692"/>
              <a:chExt cx="85388" cy="71521"/>
            </a:xfrm>
            <a:solidFill>
              <a:srgbClr val="644C76"/>
            </a:solidFill>
          </p:grpSpPr>
          <p:sp>
            <p:nvSpPr>
              <p:cNvPr id="2809" name="Freeform: Shape 866">
                <a:extLst>
                  <a:ext uri="{FF2B5EF4-FFF2-40B4-BE49-F238E27FC236}">
                    <a16:creationId xmlns:a16="http://schemas.microsoft.com/office/drawing/2014/main" id="{DF545599-8F0B-4965-9140-E3ACC918D540}"/>
                  </a:ext>
                </a:extLst>
              </p:cNvPr>
              <p:cNvSpPr/>
              <p:nvPr/>
            </p:nvSpPr>
            <p:spPr>
              <a:xfrm>
                <a:off x="3333244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10" name="Freeform: Shape 867">
                <a:extLst>
                  <a:ext uri="{FF2B5EF4-FFF2-40B4-BE49-F238E27FC236}">
                    <a16:creationId xmlns:a16="http://schemas.microsoft.com/office/drawing/2014/main" id="{292BB666-D59C-4259-AD97-9475C3D176FD}"/>
                  </a:ext>
                </a:extLst>
              </p:cNvPr>
              <p:cNvSpPr/>
              <p:nvPr/>
            </p:nvSpPr>
            <p:spPr>
              <a:xfrm>
                <a:off x="3266765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11" name="Freeform: Shape 868">
                <a:extLst>
                  <a:ext uri="{FF2B5EF4-FFF2-40B4-BE49-F238E27FC236}">
                    <a16:creationId xmlns:a16="http://schemas.microsoft.com/office/drawing/2014/main" id="{8C036B89-2B4E-4F74-BADD-BF02D70AF1C0}"/>
                  </a:ext>
                </a:extLst>
              </p:cNvPr>
              <p:cNvSpPr/>
              <p:nvPr/>
            </p:nvSpPr>
            <p:spPr>
              <a:xfrm>
                <a:off x="3280969" y="3305692"/>
                <a:ext cx="44879" cy="58999"/>
              </a:xfrm>
              <a:custGeom>
                <a:avLst/>
                <a:gdLst>
                  <a:gd name="connsiteX0" fmla="*/ 21683 w 44879"/>
                  <a:gd name="connsiteY0" fmla="*/ 46729 h 58999"/>
                  <a:gd name="connsiteX1" fmla="*/ 21683 w 44879"/>
                  <a:gd name="connsiteY1" fmla="*/ 33954 h 58999"/>
                  <a:gd name="connsiteX2" fmla="*/ 12691 w 44879"/>
                  <a:gd name="connsiteY2" fmla="*/ 33954 h 58999"/>
                  <a:gd name="connsiteX3" fmla="*/ 16641 w 44879"/>
                  <a:gd name="connsiteY3" fmla="*/ 17817 h 58999"/>
                  <a:gd name="connsiteX4" fmla="*/ 29499 w 44879"/>
                  <a:gd name="connsiteY4" fmla="*/ 17817 h 58999"/>
                  <a:gd name="connsiteX5" fmla="*/ 24457 w 44879"/>
                  <a:gd name="connsiteY5" fmla="*/ 28071 h 58999"/>
                  <a:gd name="connsiteX6" fmla="*/ 33281 w 44879"/>
                  <a:gd name="connsiteY6" fmla="*/ 28071 h 58999"/>
                  <a:gd name="connsiteX7" fmla="*/ 21683 w 44879"/>
                  <a:gd name="connsiteY7" fmla="*/ 46729 h 58999"/>
                  <a:gd name="connsiteX8" fmla="*/ 44880 w 44879"/>
                  <a:gd name="connsiteY8" fmla="*/ 0 h 58999"/>
                  <a:gd name="connsiteX9" fmla="*/ 0 w 44879"/>
                  <a:gd name="connsiteY9" fmla="*/ 0 h 58999"/>
                  <a:gd name="connsiteX10" fmla="*/ 0 w 44879"/>
                  <a:gd name="connsiteY10" fmla="*/ 58999 h 58999"/>
                  <a:gd name="connsiteX11" fmla="*/ 44880 w 44879"/>
                  <a:gd name="connsiteY11" fmla="*/ 58999 h 58999"/>
                  <a:gd name="connsiteX12" fmla="*/ 44880 w 44879"/>
                  <a:gd name="connsiteY12" fmla="*/ 0 h 5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879" h="58999">
                    <a:moveTo>
                      <a:pt x="21683" y="46729"/>
                    </a:moveTo>
                    <a:lnTo>
                      <a:pt x="21683" y="33954"/>
                    </a:lnTo>
                    <a:lnTo>
                      <a:pt x="12691" y="33954"/>
                    </a:lnTo>
                    <a:lnTo>
                      <a:pt x="16641" y="17817"/>
                    </a:lnTo>
                    <a:lnTo>
                      <a:pt x="29499" y="17817"/>
                    </a:lnTo>
                    <a:lnTo>
                      <a:pt x="24457" y="28071"/>
                    </a:lnTo>
                    <a:lnTo>
                      <a:pt x="33281" y="28071"/>
                    </a:lnTo>
                    <a:lnTo>
                      <a:pt x="21683" y="46729"/>
                    </a:lnTo>
                    <a:close/>
                    <a:moveTo>
                      <a:pt x="44880" y="0"/>
                    </a:moveTo>
                    <a:lnTo>
                      <a:pt x="0" y="0"/>
                    </a:lnTo>
                    <a:lnTo>
                      <a:pt x="0" y="58999"/>
                    </a:lnTo>
                    <a:lnTo>
                      <a:pt x="44880" y="58999"/>
                    </a:lnTo>
                    <a:lnTo>
                      <a:pt x="44880" y="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srgbClr val="644C76"/>
                  </a:solidFill>
                </a:endParaRPr>
              </a:p>
            </p:txBody>
          </p:sp>
          <p:sp>
            <p:nvSpPr>
              <p:cNvPr id="2812" name="Freeform: Shape 869">
                <a:extLst>
                  <a:ext uri="{FF2B5EF4-FFF2-40B4-BE49-F238E27FC236}">
                    <a16:creationId xmlns:a16="http://schemas.microsoft.com/office/drawing/2014/main" id="{B7394D1D-92FC-46B2-B74B-50DC707951C4}"/>
                  </a:ext>
                </a:extLst>
              </p:cNvPr>
              <p:cNvSpPr/>
              <p:nvPr/>
            </p:nvSpPr>
            <p:spPr>
              <a:xfrm>
                <a:off x="3260714" y="3370490"/>
                <a:ext cx="85388" cy="6723"/>
              </a:xfrm>
              <a:custGeom>
                <a:avLst/>
                <a:gdLst>
                  <a:gd name="connsiteX0" fmla="*/ 0 w 85388"/>
                  <a:gd name="connsiteY0" fmla="*/ 0 h 6723"/>
                  <a:gd name="connsiteX1" fmla="*/ 85389 w 85388"/>
                  <a:gd name="connsiteY1" fmla="*/ 0 h 6723"/>
                  <a:gd name="connsiteX2" fmla="*/ 85389 w 85388"/>
                  <a:gd name="connsiteY2" fmla="*/ 6724 h 6723"/>
                  <a:gd name="connsiteX3" fmla="*/ 0 w 85388"/>
                  <a:gd name="connsiteY3" fmla="*/ 6724 h 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388" h="6723">
                    <a:moveTo>
                      <a:pt x="0" y="0"/>
                    </a:moveTo>
                    <a:lnTo>
                      <a:pt x="85389" y="0"/>
                    </a:lnTo>
                    <a:lnTo>
                      <a:pt x="85389" y="6724"/>
                    </a:lnTo>
                    <a:lnTo>
                      <a:pt x="0" y="672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</p:grpSp>
      </p:grpSp>
      <p:grpSp>
        <p:nvGrpSpPr>
          <p:cNvPr id="2822" name="Group 2821">
            <a:extLst>
              <a:ext uri="{FF2B5EF4-FFF2-40B4-BE49-F238E27FC236}">
                <a16:creationId xmlns:a16="http://schemas.microsoft.com/office/drawing/2014/main" id="{2126A9AE-9F87-490B-9D64-DF433D1FC329}"/>
              </a:ext>
            </a:extLst>
          </p:cNvPr>
          <p:cNvGrpSpPr>
            <a:grpSpLocks/>
          </p:cNvGrpSpPr>
          <p:nvPr/>
        </p:nvGrpSpPr>
        <p:grpSpPr>
          <a:xfrm>
            <a:off x="4398674" y="3505397"/>
            <a:ext cx="248902" cy="114295"/>
            <a:chOff x="2134899" y="3584772"/>
            <a:chExt cx="248902" cy="114295"/>
          </a:xfrm>
        </p:grpSpPr>
        <p:grpSp>
          <p:nvGrpSpPr>
            <p:cNvPr id="2823" name="Graphic 2">
              <a:extLst>
                <a:ext uri="{FF2B5EF4-FFF2-40B4-BE49-F238E27FC236}">
                  <a16:creationId xmlns:a16="http://schemas.microsoft.com/office/drawing/2014/main" id="{78147563-92AE-496D-9F9E-9AE81B09A471}"/>
                </a:ext>
              </a:extLst>
            </p:cNvPr>
            <p:cNvGrpSpPr>
              <a:grpSpLocks/>
            </p:cNvGrpSpPr>
            <p:nvPr/>
          </p:nvGrpSpPr>
          <p:grpSpPr>
            <a:xfrm>
              <a:off x="2134899" y="3584772"/>
              <a:ext cx="114294" cy="114295"/>
              <a:chOff x="2259665" y="3308466"/>
              <a:chExt cx="83287" cy="83287"/>
            </a:xfrm>
            <a:solidFill>
              <a:srgbClr val="644C76"/>
            </a:solidFill>
          </p:grpSpPr>
          <p:sp>
            <p:nvSpPr>
              <p:cNvPr id="2829" name="Freeform: Shape 823">
                <a:extLst>
                  <a:ext uri="{FF2B5EF4-FFF2-40B4-BE49-F238E27FC236}">
                    <a16:creationId xmlns:a16="http://schemas.microsoft.com/office/drawing/2014/main" id="{102DCCA5-9631-4784-B2F4-24AB974CAB06}"/>
                  </a:ext>
                </a:extLst>
              </p:cNvPr>
              <p:cNvSpPr/>
              <p:nvPr/>
            </p:nvSpPr>
            <p:spPr>
              <a:xfrm>
                <a:off x="2297821" y="3308466"/>
                <a:ext cx="7143" cy="10169"/>
              </a:xfrm>
              <a:custGeom>
                <a:avLst/>
                <a:gdLst>
                  <a:gd name="connsiteX0" fmla="*/ 3530 w 7143"/>
                  <a:gd name="connsiteY0" fmla="*/ 10169 h 10169"/>
                  <a:gd name="connsiteX1" fmla="*/ 3530 w 7143"/>
                  <a:gd name="connsiteY1" fmla="*/ 10169 h 10169"/>
                  <a:gd name="connsiteX2" fmla="*/ 3530 w 7143"/>
                  <a:gd name="connsiteY2" fmla="*/ 10169 h 10169"/>
                  <a:gd name="connsiteX3" fmla="*/ 7144 w 7143"/>
                  <a:gd name="connsiteY3" fmla="*/ 6723 h 10169"/>
                  <a:gd name="connsiteX4" fmla="*/ 7144 w 7143"/>
                  <a:gd name="connsiteY4" fmla="*/ 0 h 10169"/>
                  <a:gd name="connsiteX5" fmla="*/ 0 w 7143"/>
                  <a:gd name="connsiteY5" fmla="*/ 0 h 10169"/>
                  <a:gd name="connsiteX6" fmla="*/ 0 w 7143"/>
                  <a:gd name="connsiteY6" fmla="*/ 6723 h 10169"/>
                  <a:gd name="connsiteX7" fmla="*/ 3530 w 7143"/>
                  <a:gd name="connsiteY7" fmla="*/ 10169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530" y="10169"/>
                    </a:moveTo>
                    <a:lnTo>
                      <a:pt x="3530" y="10169"/>
                    </a:lnTo>
                    <a:lnTo>
                      <a:pt x="3530" y="10169"/>
                    </a:lnTo>
                    <a:cubicBezTo>
                      <a:pt x="5547" y="10169"/>
                      <a:pt x="7144" y="8656"/>
                      <a:pt x="7144" y="6723"/>
                    </a:cubicBezTo>
                    <a:lnTo>
                      <a:pt x="7144" y="0"/>
                    </a:lnTo>
                    <a:lnTo>
                      <a:pt x="0" y="0"/>
                    </a:lnTo>
                    <a:lnTo>
                      <a:pt x="0" y="6723"/>
                    </a:lnTo>
                    <a:cubicBezTo>
                      <a:pt x="0" y="8656"/>
                      <a:pt x="1597" y="10169"/>
                      <a:pt x="3530" y="1016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30" name="Freeform: Shape 824">
                <a:extLst>
                  <a:ext uri="{FF2B5EF4-FFF2-40B4-BE49-F238E27FC236}">
                    <a16:creationId xmlns:a16="http://schemas.microsoft.com/office/drawing/2014/main" id="{F173AA1F-E69A-4E24-B56C-9C40008B9796}"/>
                  </a:ext>
                </a:extLst>
              </p:cNvPr>
              <p:cNvSpPr/>
              <p:nvPr/>
            </p:nvSpPr>
            <p:spPr>
              <a:xfrm>
                <a:off x="2269330" y="3318131"/>
                <a:ext cx="10831" cy="10768"/>
              </a:xfrm>
              <a:custGeom>
                <a:avLst/>
                <a:gdLst>
                  <a:gd name="connsiteX0" fmla="*/ 9749 w 10831"/>
                  <a:gd name="connsiteY0" fmla="*/ 9749 h 10768"/>
                  <a:gd name="connsiteX1" fmla="*/ 9749 w 10831"/>
                  <a:gd name="connsiteY1" fmla="*/ 9749 h 10768"/>
                  <a:gd name="connsiteX2" fmla="*/ 9749 w 10831"/>
                  <a:gd name="connsiteY2" fmla="*/ 9749 h 10768"/>
                  <a:gd name="connsiteX3" fmla="*/ 9833 w 10831"/>
                  <a:gd name="connsiteY3" fmla="*/ 4791 h 10768"/>
                  <a:gd name="connsiteX4" fmla="*/ 5043 w 10831"/>
                  <a:gd name="connsiteY4" fmla="*/ 0 h 10768"/>
                  <a:gd name="connsiteX5" fmla="*/ 0 w 10831"/>
                  <a:gd name="connsiteY5" fmla="*/ 5043 h 10768"/>
                  <a:gd name="connsiteX6" fmla="*/ 4791 w 10831"/>
                  <a:gd name="connsiteY6" fmla="*/ 9834 h 10768"/>
                  <a:gd name="connsiteX7" fmla="*/ 9749 w 10831"/>
                  <a:gd name="connsiteY7" fmla="*/ 9749 h 1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768">
                    <a:moveTo>
                      <a:pt x="9749" y="9749"/>
                    </a:moveTo>
                    <a:lnTo>
                      <a:pt x="9749" y="9749"/>
                    </a:lnTo>
                    <a:cubicBezTo>
                      <a:pt x="9833" y="9665"/>
                      <a:pt x="9833" y="9665"/>
                      <a:pt x="9749" y="9749"/>
                    </a:cubicBezTo>
                    <a:cubicBezTo>
                      <a:pt x="11178" y="8321"/>
                      <a:pt x="11178" y="6136"/>
                      <a:pt x="9833" y="4791"/>
                    </a:cubicBezTo>
                    <a:lnTo>
                      <a:pt x="5043" y="0"/>
                    </a:lnTo>
                    <a:lnTo>
                      <a:pt x="0" y="5043"/>
                    </a:lnTo>
                    <a:lnTo>
                      <a:pt x="4791" y="9834"/>
                    </a:lnTo>
                    <a:cubicBezTo>
                      <a:pt x="6219" y="11094"/>
                      <a:pt x="8404" y="11094"/>
                      <a:pt x="9749" y="974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31" name="Freeform: Shape 825">
                <a:extLst>
                  <a:ext uri="{FF2B5EF4-FFF2-40B4-BE49-F238E27FC236}">
                    <a16:creationId xmlns:a16="http://schemas.microsoft.com/office/drawing/2014/main" id="{599524A4-1FA6-48A0-AC27-A7BFB270FD44}"/>
                  </a:ext>
                </a:extLst>
              </p:cNvPr>
              <p:cNvSpPr/>
              <p:nvPr/>
            </p:nvSpPr>
            <p:spPr>
              <a:xfrm>
                <a:off x="2259665" y="3346538"/>
                <a:ext cx="10169" cy="7059"/>
              </a:xfrm>
              <a:custGeom>
                <a:avLst/>
                <a:gdLst>
                  <a:gd name="connsiteX0" fmla="*/ 10169 w 10169"/>
                  <a:gd name="connsiteY0" fmla="*/ 3530 h 7059"/>
                  <a:gd name="connsiteX1" fmla="*/ 10169 w 10169"/>
                  <a:gd name="connsiteY1" fmla="*/ 3530 h 7059"/>
                  <a:gd name="connsiteX2" fmla="*/ 6724 w 10169"/>
                  <a:gd name="connsiteY2" fmla="*/ 0 h 7059"/>
                  <a:gd name="connsiteX3" fmla="*/ 0 w 10169"/>
                  <a:gd name="connsiteY3" fmla="*/ 0 h 7059"/>
                  <a:gd name="connsiteX4" fmla="*/ 0 w 10169"/>
                  <a:gd name="connsiteY4" fmla="*/ 7060 h 7059"/>
                  <a:gd name="connsiteX5" fmla="*/ 6724 w 10169"/>
                  <a:gd name="connsiteY5" fmla="*/ 7060 h 7059"/>
                  <a:gd name="connsiteX6" fmla="*/ 10169 w 10169"/>
                  <a:gd name="connsiteY6" fmla="*/ 3530 h 7059"/>
                  <a:gd name="connsiteX7" fmla="*/ 10169 w 10169"/>
                  <a:gd name="connsiteY7" fmla="*/ 3530 h 7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059">
                    <a:moveTo>
                      <a:pt x="10169" y="3530"/>
                    </a:moveTo>
                    <a:lnTo>
                      <a:pt x="10169" y="3530"/>
                    </a:lnTo>
                    <a:cubicBezTo>
                      <a:pt x="10169" y="1597"/>
                      <a:pt x="8657" y="0"/>
                      <a:pt x="6724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6724" y="7060"/>
                    </a:lnTo>
                    <a:cubicBezTo>
                      <a:pt x="8657" y="7060"/>
                      <a:pt x="10169" y="5463"/>
                      <a:pt x="10169" y="3530"/>
                    </a:cubicBezTo>
                    <a:lnTo>
                      <a:pt x="10169" y="353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32" name="Freeform: Shape 826">
                <a:extLst>
                  <a:ext uri="{FF2B5EF4-FFF2-40B4-BE49-F238E27FC236}">
                    <a16:creationId xmlns:a16="http://schemas.microsoft.com/office/drawing/2014/main" id="{A8853BCD-C685-4811-974E-6D8E813E77B1}"/>
                  </a:ext>
                </a:extLst>
              </p:cNvPr>
              <p:cNvSpPr/>
              <p:nvPr/>
            </p:nvSpPr>
            <p:spPr>
              <a:xfrm>
                <a:off x="2269246" y="3371257"/>
                <a:ext cx="10831" cy="10831"/>
              </a:xfrm>
              <a:custGeom>
                <a:avLst/>
                <a:gdLst>
                  <a:gd name="connsiteX0" fmla="*/ 9749 w 10831"/>
                  <a:gd name="connsiteY0" fmla="*/ 1082 h 10831"/>
                  <a:gd name="connsiteX1" fmla="*/ 9749 w 10831"/>
                  <a:gd name="connsiteY1" fmla="*/ 1082 h 10831"/>
                  <a:gd name="connsiteX2" fmla="*/ 4791 w 10831"/>
                  <a:gd name="connsiteY2" fmla="*/ 998 h 10831"/>
                  <a:gd name="connsiteX3" fmla="*/ 0 w 10831"/>
                  <a:gd name="connsiteY3" fmla="*/ 5789 h 10831"/>
                  <a:gd name="connsiteX4" fmla="*/ 5043 w 10831"/>
                  <a:gd name="connsiteY4" fmla="*/ 10832 h 10831"/>
                  <a:gd name="connsiteX5" fmla="*/ 9833 w 10831"/>
                  <a:gd name="connsiteY5" fmla="*/ 6041 h 10831"/>
                  <a:gd name="connsiteX6" fmla="*/ 9749 w 10831"/>
                  <a:gd name="connsiteY6" fmla="*/ 1082 h 10831"/>
                  <a:gd name="connsiteX7" fmla="*/ 9749 w 10831"/>
                  <a:gd name="connsiteY7" fmla="*/ 1082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9749" y="1082"/>
                    </a:moveTo>
                    <a:lnTo>
                      <a:pt x="9749" y="1082"/>
                    </a:lnTo>
                    <a:cubicBezTo>
                      <a:pt x="8320" y="-346"/>
                      <a:pt x="6135" y="-346"/>
                      <a:pt x="4791" y="998"/>
                    </a:cubicBezTo>
                    <a:lnTo>
                      <a:pt x="0" y="5789"/>
                    </a:lnTo>
                    <a:lnTo>
                      <a:pt x="5043" y="10832"/>
                    </a:lnTo>
                    <a:lnTo>
                      <a:pt x="9833" y="6041"/>
                    </a:lnTo>
                    <a:cubicBezTo>
                      <a:pt x="11178" y="4696"/>
                      <a:pt x="11178" y="2511"/>
                      <a:pt x="9749" y="1082"/>
                    </a:cubicBezTo>
                    <a:cubicBezTo>
                      <a:pt x="9749" y="1082"/>
                      <a:pt x="9749" y="1082"/>
                      <a:pt x="9749" y="1082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33" name="Freeform: Shape 827">
                <a:extLst>
                  <a:ext uri="{FF2B5EF4-FFF2-40B4-BE49-F238E27FC236}">
                    <a16:creationId xmlns:a16="http://schemas.microsoft.com/office/drawing/2014/main" id="{D0E2E854-C618-4200-9555-3307EF20C475}"/>
                  </a:ext>
                </a:extLst>
              </p:cNvPr>
              <p:cNvSpPr/>
              <p:nvPr/>
            </p:nvSpPr>
            <p:spPr>
              <a:xfrm>
                <a:off x="2297653" y="3381584"/>
                <a:ext cx="7143" cy="10169"/>
              </a:xfrm>
              <a:custGeom>
                <a:avLst/>
                <a:gdLst>
                  <a:gd name="connsiteX0" fmla="*/ 3614 w 7143"/>
                  <a:gd name="connsiteY0" fmla="*/ 0 h 10169"/>
                  <a:gd name="connsiteX1" fmla="*/ 3614 w 7143"/>
                  <a:gd name="connsiteY1" fmla="*/ 0 h 10169"/>
                  <a:gd name="connsiteX2" fmla="*/ 3614 w 7143"/>
                  <a:gd name="connsiteY2" fmla="*/ 0 h 10169"/>
                  <a:gd name="connsiteX3" fmla="*/ 0 w 7143"/>
                  <a:gd name="connsiteY3" fmla="*/ 3446 h 10169"/>
                  <a:gd name="connsiteX4" fmla="*/ 0 w 7143"/>
                  <a:gd name="connsiteY4" fmla="*/ 10169 h 10169"/>
                  <a:gd name="connsiteX5" fmla="*/ 7144 w 7143"/>
                  <a:gd name="connsiteY5" fmla="*/ 10169 h 10169"/>
                  <a:gd name="connsiteX6" fmla="*/ 7144 w 7143"/>
                  <a:gd name="connsiteY6" fmla="*/ 3446 h 10169"/>
                  <a:gd name="connsiteX7" fmla="*/ 3614 w 7143"/>
                  <a:gd name="connsiteY7" fmla="*/ 0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614" y="0"/>
                    </a:moveTo>
                    <a:lnTo>
                      <a:pt x="3614" y="0"/>
                    </a:lnTo>
                    <a:lnTo>
                      <a:pt x="3614" y="0"/>
                    </a:lnTo>
                    <a:cubicBezTo>
                      <a:pt x="1597" y="0"/>
                      <a:pt x="0" y="1513"/>
                      <a:pt x="0" y="3446"/>
                    </a:cubicBezTo>
                    <a:lnTo>
                      <a:pt x="0" y="10169"/>
                    </a:lnTo>
                    <a:lnTo>
                      <a:pt x="7144" y="10169"/>
                    </a:lnTo>
                    <a:lnTo>
                      <a:pt x="7144" y="3446"/>
                    </a:lnTo>
                    <a:cubicBezTo>
                      <a:pt x="7144" y="1597"/>
                      <a:pt x="5547" y="0"/>
                      <a:pt x="3614" y="0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34" name="Freeform: Shape 828">
                <a:extLst>
                  <a:ext uri="{FF2B5EF4-FFF2-40B4-BE49-F238E27FC236}">
                    <a16:creationId xmlns:a16="http://schemas.microsoft.com/office/drawing/2014/main" id="{A00E515B-59F5-4E25-82D4-B327AF9E1F9C}"/>
                  </a:ext>
                </a:extLst>
              </p:cNvPr>
              <p:cNvSpPr/>
              <p:nvPr/>
            </p:nvSpPr>
            <p:spPr>
              <a:xfrm>
                <a:off x="2322456" y="3371372"/>
                <a:ext cx="10831" cy="10800"/>
              </a:xfrm>
              <a:custGeom>
                <a:avLst/>
                <a:gdLst>
                  <a:gd name="connsiteX0" fmla="*/ 1082 w 10831"/>
                  <a:gd name="connsiteY0" fmla="*/ 1051 h 10800"/>
                  <a:gd name="connsiteX1" fmla="*/ 1082 w 10831"/>
                  <a:gd name="connsiteY1" fmla="*/ 1051 h 10800"/>
                  <a:gd name="connsiteX2" fmla="*/ 1082 w 10831"/>
                  <a:gd name="connsiteY2" fmla="*/ 1051 h 10800"/>
                  <a:gd name="connsiteX3" fmla="*/ 998 w 10831"/>
                  <a:gd name="connsiteY3" fmla="*/ 6010 h 10800"/>
                  <a:gd name="connsiteX4" fmla="*/ 5789 w 10831"/>
                  <a:gd name="connsiteY4" fmla="*/ 10800 h 10800"/>
                  <a:gd name="connsiteX5" fmla="*/ 10831 w 10831"/>
                  <a:gd name="connsiteY5" fmla="*/ 5758 h 10800"/>
                  <a:gd name="connsiteX6" fmla="*/ 6041 w 10831"/>
                  <a:gd name="connsiteY6" fmla="*/ 967 h 10800"/>
                  <a:gd name="connsiteX7" fmla="*/ 1082 w 10831"/>
                  <a:gd name="connsiteY7" fmla="*/ 1051 h 1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00">
                    <a:moveTo>
                      <a:pt x="1082" y="1051"/>
                    </a:moveTo>
                    <a:cubicBezTo>
                      <a:pt x="1082" y="1051"/>
                      <a:pt x="1082" y="1051"/>
                      <a:pt x="1082" y="1051"/>
                    </a:cubicBezTo>
                    <a:lnTo>
                      <a:pt x="1082" y="1051"/>
                    </a:lnTo>
                    <a:cubicBezTo>
                      <a:pt x="-346" y="2480"/>
                      <a:pt x="-346" y="4665"/>
                      <a:pt x="998" y="6010"/>
                    </a:cubicBezTo>
                    <a:lnTo>
                      <a:pt x="5789" y="10800"/>
                    </a:lnTo>
                    <a:lnTo>
                      <a:pt x="10831" y="5758"/>
                    </a:lnTo>
                    <a:lnTo>
                      <a:pt x="6041" y="967"/>
                    </a:lnTo>
                    <a:cubicBezTo>
                      <a:pt x="4612" y="-377"/>
                      <a:pt x="2427" y="-293"/>
                      <a:pt x="1082" y="1051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35" name="Freeform: Shape 829">
                <a:extLst>
                  <a:ext uri="{FF2B5EF4-FFF2-40B4-BE49-F238E27FC236}">
                    <a16:creationId xmlns:a16="http://schemas.microsoft.com/office/drawing/2014/main" id="{98FAB2F2-940E-4484-BEC8-BA9E7432F9C6}"/>
                  </a:ext>
                </a:extLst>
              </p:cNvPr>
              <p:cNvSpPr/>
              <p:nvPr/>
            </p:nvSpPr>
            <p:spPr>
              <a:xfrm>
                <a:off x="2332783" y="3346622"/>
                <a:ext cx="10169" cy="7144"/>
              </a:xfrm>
              <a:custGeom>
                <a:avLst/>
                <a:gdLst>
                  <a:gd name="connsiteX0" fmla="*/ 3446 w 10169"/>
                  <a:gd name="connsiteY0" fmla="*/ 0 h 7144"/>
                  <a:gd name="connsiteX1" fmla="*/ 0 w 10169"/>
                  <a:gd name="connsiteY1" fmla="*/ 3530 h 7144"/>
                  <a:gd name="connsiteX2" fmla="*/ 0 w 10169"/>
                  <a:gd name="connsiteY2" fmla="*/ 3530 h 7144"/>
                  <a:gd name="connsiteX3" fmla="*/ 0 w 10169"/>
                  <a:gd name="connsiteY3" fmla="*/ 3614 h 7144"/>
                  <a:gd name="connsiteX4" fmla="*/ 3446 w 10169"/>
                  <a:gd name="connsiteY4" fmla="*/ 7144 h 7144"/>
                  <a:gd name="connsiteX5" fmla="*/ 10169 w 10169"/>
                  <a:gd name="connsiteY5" fmla="*/ 7144 h 7144"/>
                  <a:gd name="connsiteX6" fmla="*/ 10169 w 10169"/>
                  <a:gd name="connsiteY6" fmla="*/ 84 h 7144"/>
                  <a:gd name="connsiteX7" fmla="*/ 3446 w 10169"/>
                  <a:gd name="connsiteY7" fmla="*/ 84 h 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144">
                    <a:moveTo>
                      <a:pt x="3446" y="0"/>
                    </a:moveTo>
                    <a:cubicBezTo>
                      <a:pt x="1513" y="0"/>
                      <a:pt x="0" y="1597"/>
                      <a:pt x="0" y="3530"/>
                    </a:cubicBezTo>
                    <a:lnTo>
                      <a:pt x="0" y="3530"/>
                    </a:lnTo>
                    <a:lnTo>
                      <a:pt x="0" y="3614"/>
                    </a:lnTo>
                    <a:cubicBezTo>
                      <a:pt x="0" y="5547"/>
                      <a:pt x="1513" y="7144"/>
                      <a:pt x="3446" y="7144"/>
                    </a:cubicBezTo>
                    <a:lnTo>
                      <a:pt x="10169" y="7144"/>
                    </a:lnTo>
                    <a:lnTo>
                      <a:pt x="10169" y="84"/>
                    </a:lnTo>
                    <a:lnTo>
                      <a:pt x="3446" y="8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36" name="Freeform: Shape 830">
                <a:extLst>
                  <a:ext uri="{FF2B5EF4-FFF2-40B4-BE49-F238E27FC236}">
                    <a16:creationId xmlns:a16="http://schemas.microsoft.com/office/drawing/2014/main" id="{DBEFBE9E-BCEE-4E29-8646-220761797F42}"/>
                  </a:ext>
                </a:extLst>
              </p:cNvPr>
              <p:cNvSpPr/>
              <p:nvPr/>
            </p:nvSpPr>
            <p:spPr>
              <a:xfrm>
                <a:off x="2322540" y="3318215"/>
                <a:ext cx="10831" cy="10831"/>
              </a:xfrm>
              <a:custGeom>
                <a:avLst/>
                <a:gdLst>
                  <a:gd name="connsiteX0" fmla="*/ 1082 w 10831"/>
                  <a:gd name="connsiteY0" fmla="*/ 9749 h 10831"/>
                  <a:gd name="connsiteX1" fmla="*/ 1082 w 10831"/>
                  <a:gd name="connsiteY1" fmla="*/ 9749 h 10831"/>
                  <a:gd name="connsiteX2" fmla="*/ 6041 w 10831"/>
                  <a:gd name="connsiteY2" fmla="*/ 9833 h 10831"/>
                  <a:gd name="connsiteX3" fmla="*/ 10831 w 10831"/>
                  <a:gd name="connsiteY3" fmla="*/ 5043 h 10831"/>
                  <a:gd name="connsiteX4" fmla="*/ 5789 w 10831"/>
                  <a:gd name="connsiteY4" fmla="*/ 0 h 10831"/>
                  <a:gd name="connsiteX5" fmla="*/ 998 w 10831"/>
                  <a:gd name="connsiteY5" fmla="*/ 4791 h 10831"/>
                  <a:gd name="connsiteX6" fmla="*/ 1082 w 10831"/>
                  <a:gd name="connsiteY6" fmla="*/ 9749 h 10831"/>
                  <a:gd name="connsiteX7" fmla="*/ 1082 w 10831"/>
                  <a:gd name="connsiteY7" fmla="*/ 9749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1082" y="9749"/>
                    </a:moveTo>
                    <a:cubicBezTo>
                      <a:pt x="1082" y="9749"/>
                      <a:pt x="1082" y="9749"/>
                      <a:pt x="1082" y="9749"/>
                    </a:cubicBezTo>
                    <a:cubicBezTo>
                      <a:pt x="2511" y="11178"/>
                      <a:pt x="4696" y="11178"/>
                      <a:pt x="6041" y="9833"/>
                    </a:cubicBezTo>
                    <a:lnTo>
                      <a:pt x="10831" y="5043"/>
                    </a:lnTo>
                    <a:lnTo>
                      <a:pt x="5789" y="0"/>
                    </a:lnTo>
                    <a:lnTo>
                      <a:pt x="998" y="4791"/>
                    </a:lnTo>
                    <a:cubicBezTo>
                      <a:pt x="-346" y="6136"/>
                      <a:pt x="-346" y="8320"/>
                      <a:pt x="1082" y="9749"/>
                    </a:cubicBezTo>
                    <a:cubicBezTo>
                      <a:pt x="1082" y="9749"/>
                      <a:pt x="1082" y="9749"/>
                      <a:pt x="1082" y="974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37" name="Freeform: Shape 831">
                <a:extLst>
                  <a:ext uri="{FF2B5EF4-FFF2-40B4-BE49-F238E27FC236}">
                    <a16:creationId xmlns:a16="http://schemas.microsoft.com/office/drawing/2014/main" id="{0886E652-531D-408A-A4F8-5C64337BCF64}"/>
                  </a:ext>
                </a:extLst>
              </p:cNvPr>
              <p:cNvSpPr/>
              <p:nvPr/>
            </p:nvSpPr>
            <p:spPr>
              <a:xfrm>
                <a:off x="2276305" y="3325106"/>
                <a:ext cx="50090" cy="50090"/>
              </a:xfrm>
              <a:custGeom>
                <a:avLst/>
                <a:gdLst>
                  <a:gd name="connsiteX0" fmla="*/ 25045 w 50090"/>
                  <a:gd name="connsiteY0" fmla="*/ 0 h 50090"/>
                  <a:gd name="connsiteX1" fmla="*/ 0 w 50090"/>
                  <a:gd name="connsiteY1" fmla="*/ 25045 h 50090"/>
                  <a:gd name="connsiteX2" fmla="*/ 25045 w 50090"/>
                  <a:gd name="connsiteY2" fmla="*/ 50090 h 50090"/>
                  <a:gd name="connsiteX3" fmla="*/ 50090 w 50090"/>
                  <a:gd name="connsiteY3" fmla="*/ 25045 h 50090"/>
                  <a:gd name="connsiteX4" fmla="*/ 25045 w 50090"/>
                  <a:gd name="connsiteY4" fmla="*/ 0 h 50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090" h="50090">
                    <a:moveTo>
                      <a:pt x="25045" y="0"/>
                    </a:moveTo>
                    <a:cubicBezTo>
                      <a:pt x="11178" y="0"/>
                      <a:pt x="0" y="11178"/>
                      <a:pt x="0" y="25045"/>
                    </a:cubicBezTo>
                    <a:cubicBezTo>
                      <a:pt x="0" y="38828"/>
                      <a:pt x="11178" y="50090"/>
                      <a:pt x="25045" y="50090"/>
                    </a:cubicBezTo>
                    <a:cubicBezTo>
                      <a:pt x="38912" y="50090"/>
                      <a:pt x="50090" y="38828"/>
                      <a:pt x="50090" y="25045"/>
                    </a:cubicBezTo>
                    <a:cubicBezTo>
                      <a:pt x="50090" y="11178"/>
                      <a:pt x="38828" y="0"/>
                      <a:pt x="25045" y="0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</p:grpSp>
        <p:grpSp>
          <p:nvGrpSpPr>
            <p:cNvPr id="2824" name="Storage - con">
              <a:extLst>
                <a:ext uri="{FF2B5EF4-FFF2-40B4-BE49-F238E27FC236}">
                  <a16:creationId xmlns:a16="http://schemas.microsoft.com/office/drawing/2014/main" id="{3E5E11C2-F43A-4850-BDC2-14D1138833E7}"/>
                </a:ext>
              </a:extLst>
            </p:cNvPr>
            <p:cNvGrpSpPr/>
            <p:nvPr/>
          </p:nvGrpSpPr>
          <p:grpSpPr>
            <a:xfrm>
              <a:off x="2259358" y="3589599"/>
              <a:ext cx="124443" cy="104233"/>
              <a:chOff x="3260714" y="3305692"/>
              <a:chExt cx="85388" cy="71521"/>
            </a:xfrm>
            <a:solidFill>
              <a:srgbClr val="644C76"/>
            </a:solidFill>
          </p:grpSpPr>
          <p:sp>
            <p:nvSpPr>
              <p:cNvPr id="2825" name="Freeform: Shape 866">
                <a:extLst>
                  <a:ext uri="{FF2B5EF4-FFF2-40B4-BE49-F238E27FC236}">
                    <a16:creationId xmlns:a16="http://schemas.microsoft.com/office/drawing/2014/main" id="{F4139266-B66A-48D1-B480-95278DA1AC53}"/>
                  </a:ext>
                </a:extLst>
              </p:cNvPr>
              <p:cNvSpPr/>
              <p:nvPr/>
            </p:nvSpPr>
            <p:spPr>
              <a:xfrm>
                <a:off x="3333244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26" name="Freeform: Shape 867">
                <a:extLst>
                  <a:ext uri="{FF2B5EF4-FFF2-40B4-BE49-F238E27FC236}">
                    <a16:creationId xmlns:a16="http://schemas.microsoft.com/office/drawing/2014/main" id="{4A28676F-AD18-4CA0-8392-211EDB992C0D}"/>
                  </a:ext>
                </a:extLst>
              </p:cNvPr>
              <p:cNvSpPr/>
              <p:nvPr/>
            </p:nvSpPr>
            <p:spPr>
              <a:xfrm>
                <a:off x="3266765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27" name="Freeform: Shape 868">
                <a:extLst>
                  <a:ext uri="{FF2B5EF4-FFF2-40B4-BE49-F238E27FC236}">
                    <a16:creationId xmlns:a16="http://schemas.microsoft.com/office/drawing/2014/main" id="{A6F0903D-955F-4019-93DE-E9F5D7858FE1}"/>
                  </a:ext>
                </a:extLst>
              </p:cNvPr>
              <p:cNvSpPr/>
              <p:nvPr/>
            </p:nvSpPr>
            <p:spPr>
              <a:xfrm>
                <a:off x="3280969" y="3305692"/>
                <a:ext cx="44879" cy="58999"/>
              </a:xfrm>
              <a:custGeom>
                <a:avLst/>
                <a:gdLst>
                  <a:gd name="connsiteX0" fmla="*/ 21683 w 44879"/>
                  <a:gd name="connsiteY0" fmla="*/ 46729 h 58999"/>
                  <a:gd name="connsiteX1" fmla="*/ 21683 w 44879"/>
                  <a:gd name="connsiteY1" fmla="*/ 33954 h 58999"/>
                  <a:gd name="connsiteX2" fmla="*/ 12691 w 44879"/>
                  <a:gd name="connsiteY2" fmla="*/ 33954 h 58999"/>
                  <a:gd name="connsiteX3" fmla="*/ 16641 w 44879"/>
                  <a:gd name="connsiteY3" fmla="*/ 17817 h 58999"/>
                  <a:gd name="connsiteX4" fmla="*/ 29499 w 44879"/>
                  <a:gd name="connsiteY4" fmla="*/ 17817 h 58999"/>
                  <a:gd name="connsiteX5" fmla="*/ 24457 w 44879"/>
                  <a:gd name="connsiteY5" fmla="*/ 28071 h 58999"/>
                  <a:gd name="connsiteX6" fmla="*/ 33281 w 44879"/>
                  <a:gd name="connsiteY6" fmla="*/ 28071 h 58999"/>
                  <a:gd name="connsiteX7" fmla="*/ 21683 w 44879"/>
                  <a:gd name="connsiteY7" fmla="*/ 46729 h 58999"/>
                  <a:gd name="connsiteX8" fmla="*/ 44880 w 44879"/>
                  <a:gd name="connsiteY8" fmla="*/ 0 h 58999"/>
                  <a:gd name="connsiteX9" fmla="*/ 0 w 44879"/>
                  <a:gd name="connsiteY9" fmla="*/ 0 h 58999"/>
                  <a:gd name="connsiteX10" fmla="*/ 0 w 44879"/>
                  <a:gd name="connsiteY10" fmla="*/ 58999 h 58999"/>
                  <a:gd name="connsiteX11" fmla="*/ 44880 w 44879"/>
                  <a:gd name="connsiteY11" fmla="*/ 58999 h 58999"/>
                  <a:gd name="connsiteX12" fmla="*/ 44880 w 44879"/>
                  <a:gd name="connsiteY12" fmla="*/ 0 h 5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879" h="58999">
                    <a:moveTo>
                      <a:pt x="21683" y="46729"/>
                    </a:moveTo>
                    <a:lnTo>
                      <a:pt x="21683" y="33954"/>
                    </a:lnTo>
                    <a:lnTo>
                      <a:pt x="12691" y="33954"/>
                    </a:lnTo>
                    <a:lnTo>
                      <a:pt x="16641" y="17817"/>
                    </a:lnTo>
                    <a:lnTo>
                      <a:pt x="29499" y="17817"/>
                    </a:lnTo>
                    <a:lnTo>
                      <a:pt x="24457" y="28071"/>
                    </a:lnTo>
                    <a:lnTo>
                      <a:pt x="33281" y="28071"/>
                    </a:lnTo>
                    <a:lnTo>
                      <a:pt x="21683" y="46729"/>
                    </a:lnTo>
                    <a:close/>
                    <a:moveTo>
                      <a:pt x="44880" y="0"/>
                    </a:moveTo>
                    <a:lnTo>
                      <a:pt x="0" y="0"/>
                    </a:lnTo>
                    <a:lnTo>
                      <a:pt x="0" y="58999"/>
                    </a:lnTo>
                    <a:lnTo>
                      <a:pt x="44880" y="58999"/>
                    </a:lnTo>
                    <a:lnTo>
                      <a:pt x="44880" y="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srgbClr val="644C76"/>
                  </a:solidFill>
                </a:endParaRPr>
              </a:p>
            </p:txBody>
          </p:sp>
          <p:sp>
            <p:nvSpPr>
              <p:cNvPr id="2828" name="Freeform: Shape 869">
                <a:extLst>
                  <a:ext uri="{FF2B5EF4-FFF2-40B4-BE49-F238E27FC236}">
                    <a16:creationId xmlns:a16="http://schemas.microsoft.com/office/drawing/2014/main" id="{98E295EC-F950-4284-99CC-BCF27F1B9DC0}"/>
                  </a:ext>
                </a:extLst>
              </p:cNvPr>
              <p:cNvSpPr/>
              <p:nvPr/>
            </p:nvSpPr>
            <p:spPr>
              <a:xfrm>
                <a:off x="3260714" y="3370490"/>
                <a:ext cx="85388" cy="6723"/>
              </a:xfrm>
              <a:custGeom>
                <a:avLst/>
                <a:gdLst>
                  <a:gd name="connsiteX0" fmla="*/ 0 w 85388"/>
                  <a:gd name="connsiteY0" fmla="*/ 0 h 6723"/>
                  <a:gd name="connsiteX1" fmla="*/ 85389 w 85388"/>
                  <a:gd name="connsiteY1" fmla="*/ 0 h 6723"/>
                  <a:gd name="connsiteX2" fmla="*/ 85389 w 85388"/>
                  <a:gd name="connsiteY2" fmla="*/ 6724 h 6723"/>
                  <a:gd name="connsiteX3" fmla="*/ 0 w 85388"/>
                  <a:gd name="connsiteY3" fmla="*/ 6724 h 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388" h="6723">
                    <a:moveTo>
                      <a:pt x="0" y="0"/>
                    </a:moveTo>
                    <a:lnTo>
                      <a:pt x="85389" y="0"/>
                    </a:lnTo>
                    <a:lnTo>
                      <a:pt x="85389" y="6724"/>
                    </a:lnTo>
                    <a:lnTo>
                      <a:pt x="0" y="672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CEA7FCA-CC90-4BC7-94BF-1D2A52B01691}"/>
              </a:ext>
            </a:extLst>
          </p:cNvPr>
          <p:cNvGrpSpPr/>
          <p:nvPr/>
        </p:nvGrpSpPr>
        <p:grpSpPr>
          <a:xfrm>
            <a:off x="7590930" y="3654602"/>
            <a:ext cx="1119683" cy="769802"/>
            <a:chOff x="447096" y="3794217"/>
            <a:chExt cx="1119683" cy="769802"/>
          </a:xfrm>
        </p:grpSpPr>
        <p:sp>
          <p:nvSpPr>
            <p:cNvPr id="2600" name="Freeform: Shape 843">
              <a:extLst>
                <a:ext uri="{FF2B5EF4-FFF2-40B4-BE49-F238E27FC236}">
                  <a16:creationId xmlns:a16="http://schemas.microsoft.com/office/drawing/2014/main" id="{13A8EE66-76BE-4162-A1DE-D9A56008B52E}"/>
                </a:ext>
              </a:extLst>
            </p:cNvPr>
            <p:cNvSpPr/>
            <p:nvPr/>
          </p:nvSpPr>
          <p:spPr>
            <a:xfrm>
              <a:off x="451453" y="4427073"/>
              <a:ext cx="99498" cy="114083"/>
            </a:xfrm>
            <a:custGeom>
              <a:avLst/>
              <a:gdLst>
                <a:gd name="connsiteX0" fmla="*/ 0 w 66226"/>
                <a:gd name="connsiteY0" fmla="*/ 0 h 66226"/>
                <a:gd name="connsiteX1" fmla="*/ 66227 w 66226"/>
                <a:gd name="connsiteY1" fmla="*/ 0 h 66226"/>
                <a:gd name="connsiteX2" fmla="*/ 66227 w 66226"/>
                <a:gd name="connsiteY2" fmla="*/ 66227 h 66226"/>
                <a:gd name="connsiteX3" fmla="*/ 0 w 66226"/>
                <a:gd name="connsiteY3" fmla="*/ 66227 h 6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6" h="66226">
                  <a:moveTo>
                    <a:pt x="0" y="0"/>
                  </a:moveTo>
                  <a:lnTo>
                    <a:pt x="66227" y="0"/>
                  </a:lnTo>
                  <a:lnTo>
                    <a:pt x="66227" y="66227"/>
                  </a:lnTo>
                  <a:lnTo>
                    <a:pt x="0" y="66227"/>
                  </a:lnTo>
                  <a:close/>
                </a:path>
              </a:pathLst>
            </a:custGeom>
            <a:solidFill>
              <a:schemeClr val="accent4"/>
            </a:solidFill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100"/>
            </a:p>
          </p:txBody>
        </p:sp>
        <p:sp>
          <p:nvSpPr>
            <p:cNvPr id="2601" name="TextBox 2600">
              <a:extLst>
                <a:ext uri="{FF2B5EF4-FFF2-40B4-BE49-F238E27FC236}">
                  <a16:creationId xmlns:a16="http://schemas.microsoft.com/office/drawing/2014/main" id="{11683A52-137F-43FB-83D8-266C87DD5CD7}"/>
                </a:ext>
              </a:extLst>
            </p:cNvPr>
            <p:cNvSpPr txBox="1"/>
            <p:nvPr/>
          </p:nvSpPr>
          <p:spPr>
            <a:xfrm>
              <a:off x="621345" y="4431034"/>
              <a:ext cx="828753" cy="13298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en-US" sz="900" dirty="0">
                  <a:solidFill>
                    <a:schemeClr val="accent4"/>
                  </a:solidFill>
                </a:rPr>
                <a:t>Ørsted impact </a:t>
              </a:r>
            </a:p>
          </p:txBody>
        </p:sp>
        <p:sp>
          <p:nvSpPr>
            <p:cNvPr id="2840" name="TextBox 2839">
              <a:extLst>
                <a:ext uri="{FF2B5EF4-FFF2-40B4-BE49-F238E27FC236}">
                  <a16:creationId xmlns:a16="http://schemas.microsoft.com/office/drawing/2014/main" id="{33459832-CE3D-4DD7-A5C8-FD3A52E955E0}"/>
                </a:ext>
              </a:extLst>
            </p:cNvPr>
            <p:cNvSpPr txBox="1"/>
            <p:nvPr/>
          </p:nvSpPr>
          <p:spPr>
            <a:xfrm>
              <a:off x="453883" y="3794217"/>
              <a:ext cx="663643" cy="13298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en-US" sz="900" dirty="0">
                  <a:solidFill>
                    <a:schemeClr val="accent1"/>
                  </a:solidFill>
                </a:rPr>
                <a:t>In operation</a:t>
              </a:r>
            </a:p>
          </p:txBody>
        </p:sp>
        <p:sp>
          <p:nvSpPr>
            <p:cNvPr id="2841" name="TextBox 2840">
              <a:extLst>
                <a:ext uri="{FF2B5EF4-FFF2-40B4-BE49-F238E27FC236}">
                  <a16:creationId xmlns:a16="http://schemas.microsoft.com/office/drawing/2014/main" id="{AB7E8618-DEAB-4292-9E74-9E40B57A0555}"/>
                </a:ext>
              </a:extLst>
            </p:cNvPr>
            <p:cNvSpPr txBox="1"/>
            <p:nvPr/>
          </p:nvSpPr>
          <p:spPr>
            <a:xfrm>
              <a:off x="454295" y="4218566"/>
              <a:ext cx="1112484" cy="13298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en-US" sz="900" dirty="0">
                  <a:solidFill>
                    <a:schemeClr val="accent3"/>
                  </a:solidFill>
                </a:rPr>
                <a:t>Under development</a:t>
              </a:r>
            </a:p>
          </p:txBody>
        </p:sp>
        <p:sp>
          <p:nvSpPr>
            <p:cNvPr id="2842" name="TextBox 2841">
              <a:extLst>
                <a:ext uri="{FF2B5EF4-FFF2-40B4-BE49-F238E27FC236}">
                  <a16:creationId xmlns:a16="http://schemas.microsoft.com/office/drawing/2014/main" id="{083E4BE7-6DD0-4CA7-B316-6E18DDFE423A}"/>
                </a:ext>
              </a:extLst>
            </p:cNvPr>
            <p:cNvSpPr txBox="1"/>
            <p:nvPr/>
          </p:nvSpPr>
          <p:spPr>
            <a:xfrm>
              <a:off x="447096" y="4004098"/>
              <a:ext cx="1056379" cy="13298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en-US" sz="900" dirty="0">
                  <a:solidFill>
                    <a:schemeClr val="accent2"/>
                  </a:solidFill>
                </a:rPr>
                <a:t>Under construction</a:t>
              </a:r>
            </a:p>
          </p:txBody>
        </p:sp>
      </p:grpSp>
      <p:grpSp>
        <p:nvGrpSpPr>
          <p:cNvPr id="2843" name="Storage - con">
            <a:extLst>
              <a:ext uri="{FF2B5EF4-FFF2-40B4-BE49-F238E27FC236}">
                <a16:creationId xmlns:a16="http://schemas.microsoft.com/office/drawing/2014/main" id="{DCAE6506-DBAF-45BB-B749-4EC374B50ED2}"/>
              </a:ext>
            </a:extLst>
          </p:cNvPr>
          <p:cNvGrpSpPr>
            <a:grpSpLocks/>
          </p:cNvGrpSpPr>
          <p:nvPr/>
        </p:nvGrpSpPr>
        <p:grpSpPr>
          <a:xfrm>
            <a:off x="3484314" y="3693689"/>
            <a:ext cx="124443" cy="104233"/>
            <a:chOff x="3260714" y="3305692"/>
            <a:chExt cx="85388" cy="71521"/>
          </a:xfrm>
          <a:solidFill>
            <a:srgbClr val="4099DA"/>
          </a:solidFill>
        </p:grpSpPr>
        <p:sp>
          <p:nvSpPr>
            <p:cNvPr id="2844" name="Freeform: Shape 866">
              <a:extLst>
                <a:ext uri="{FF2B5EF4-FFF2-40B4-BE49-F238E27FC236}">
                  <a16:creationId xmlns:a16="http://schemas.microsoft.com/office/drawing/2014/main" id="{D2C2C8FC-974A-42BE-963A-6F4E0394AD45}"/>
                </a:ext>
              </a:extLst>
            </p:cNvPr>
            <p:cNvSpPr/>
            <p:nvPr/>
          </p:nvSpPr>
          <p:spPr>
            <a:xfrm>
              <a:off x="3333244" y="3323594"/>
              <a:ext cx="6723" cy="41097"/>
            </a:xfrm>
            <a:custGeom>
              <a:avLst/>
              <a:gdLst>
                <a:gd name="connsiteX0" fmla="*/ 0 w 6723"/>
                <a:gd name="connsiteY0" fmla="*/ 0 h 41097"/>
                <a:gd name="connsiteX1" fmla="*/ 6724 w 6723"/>
                <a:gd name="connsiteY1" fmla="*/ 0 h 41097"/>
                <a:gd name="connsiteX2" fmla="*/ 6724 w 6723"/>
                <a:gd name="connsiteY2" fmla="*/ 41098 h 41097"/>
                <a:gd name="connsiteX3" fmla="*/ 0 w 6723"/>
                <a:gd name="connsiteY3" fmla="*/ 41098 h 4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23" h="41097">
                  <a:moveTo>
                    <a:pt x="0" y="0"/>
                  </a:moveTo>
                  <a:lnTo>
                    <a:pt x="6724" y="0"/>
                  </a:lnTo>
                  <a:lnTo>
                    <a:pt x="6724" y="41098"/>
                  </a:lnTo>
                  <a:lnTo>
                    <a:pt x="0" y="41098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5" name="Freeform: Shape 867">
              <a:extLst>
                <a:ext uri="{FF2B5EF4-FFF2-40B4-BE49-F238E27FC236}">
                  <a16:creationId xmlns:a16="http://schemas.microsoft.com/office/drawing/2014/main" id="{226C47A4-2E0D-4840-9A4B-61091F551993}"/>
                </a:ext>
              </a:extLst>
            </p:cNvPr>
            <p:cNvSpPr/>
            <p:nvPr/>
          </p:nvSpPr>
          <p:spPr>
            <a:xfrm>
              <a:off x="3266765" y="3323594"/>
              <a:ext cx="6723" cy="41097"/>
            </a:xfrm>
            <a:custGeom>
              <a:avLst/>
              <a:gdLst>
                <a:gd name="connsiteX0" fmla="*/ 0 w 6723"/>
                <a:gd name="connsiteY0" fmla="*/ 0 h 41097"/>
                <a:gd name="connsiteX1" fmla="*/ 6724 w 6723"/>
                <a:gd name="connsiteY1" fmla="*/ 0 h 41097"/>
                <a:gd name="connsiteX2" fmla="*/ 6724 w 6723"/>
                <a:gd name="connsiteY2" fmla="*/ 41098 h 41097"/>
                <a:gd name="connsiteX3" fmla="*/ 0 w 6723"/>
                <a:gd name="connsiteY3" fmla="*/ 41098 h 4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23" h="41097">
                  <a:moveTo>
                    <a:pt x="0" y="0"/>
                  </a:moveTo>
                  <a:lnTo>
                    <a:pt x="6724" y="0"/>
                  </a:lnTo>
                  <a:lnTo>
                    <a:pt x="6724" y="41098"/>
                  </a:lnTo>
                  <a:lnTo>
                    <a:pt x="0" y="41098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46" name="Freeform: Shape 868">
              <a:extLst>
                <a:ext uri="{FF2B5EF4-FFF2-40B4-BE49-F238E27FC236}">
                  <a16:creationId xmlns:a16="http://schemas.microsoft.com/office/drawing/2014/main" id="{B8F755E1-102B-4FED-BE5A-1266CB69D254}"/>
                </a:ext>
              </a:extLst>
            </p:cNvPr>
            <p:cNvSpPr/>
            <p:nvPr/>
          </p:nvSpPr>
          <p:spPr>
            <a:xfrm>
              <a:off x="3280969" y="3305692"/>
              <a:ext cx="44879" cy="58999"/>
            </a:xfrm>
            <a:custGeom>
              <a:avLst/>
              <a:gdLst>
                <a:gd name="connsiteX0" fmla="*/ 21683 w 44879"/>
                <a:gd name="connsiteY0" fmla="*/ 46729 h 58999"/>
                <a:gd name="connsiteX1" fmla="*/ 21683 w 44879"/>
                <a:gd name="connsiteY1" fmla="*/ 33954 h 58999"/>
                <a:gd name="connsiteX2" fmla="*/ 12691 w 44879"/>
                <a:gd name="connsiteY2" fmla="*/ 33954 h 58999"/>
                <a:gd name="connsiteX3" fmla="*/ 16641 w 44879"/>
                <a:gd name="connsiteY3" fmla="*/ 17817 h 58999"/>
                <a:gd name="connsiteX4" fmla="*/ 29499 w 44879"/>
                <a:gd name="connsiteY4" fmla="*/ 17817 h 58999"/>
                <a:gd name="connsiteX5" fmla="*/ 24457 w 44879"/>
                <a:gd name="connsiteY5" fmla="*/ 28071 h 58999"/>
                <a:gd name="connsiteX6" fmla="*/ 33281 w 44879"/>
                <a:gd name="connsiteY6" fmla="*/ 28071 h 58999"/>
                <a:gd name="connsiteX7" fmla="*/ 21683 w 44879"/>
                <a:gd name="connsiteY7" fmla="*/ 46729 h 58999"/>
                <a:gd name="connsiteX8" fmla="*/ 44880 w 44879"/>
                <a:gd name="connsiteY8" fmla="*/ 0 h 58999"/>
                <a:gd name="connsiteX9" fmla="*/ 0 w 44879"/>
                <a:gd name="connsiteY9" fmla="*/ 0 h 58999"/>
                <a:gd name="connsiteX10" fmla="*/ 0 w 44879"/>
                <a:gd name="connsiteY10" fmla="*/ 58999 h 58999"/>
                <a:gd name="connsiteX11" fmla="*/ 44880 w 44879"/>
                <a:gd name="connsiteY11" fmla="*/ 58999 h 58999"/>
                <a:gd name="connsiteX12" fmla="*/ 44880 w 44879"/>
                <a:gd name="connsiteY12" fmla="*/ 0 h 58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79" h="58999">
                  <a:moveTo>
                    <a:pt x="21683" y="46729"/>
                  </a:moveTo>
                  <a:lnTo>
                    <a:pt x="21683" y="33954"/>
                  </a:lnTo>
                  <a:lnTo>
                    <a:pt x="12691" y="33954"/>
                  </a:lnTo>
                  <a:lnTo>
                    <a:pt x="16641" y="17817"/>
                  </a:lnTo>
                  <a:lnTo>
                    <a:pt x="29499" y="17817"/>
                  </a:lnTo>
                  <a:lnTo>
                    <a:pt x="24457" y="28071"/>
                  </a:lnTo>
                  <a:lnTo>
                    <a:pt x="33281" y="28071"/>
                  </a:lnTo>
                  <a:lnTo>
                    <a:pt x="21683" y="46729"/>
                  </a:lnTo>
                  <a:close/>
                  <a:moveTo>
                    <a:pt x="44880" y="0"/>
                  </a:moveTo>
                  <a:lnTo>
                    <a:pt x="0" y="0"/>
                  </a:lnTo>
                  <a:lnTo>
                    <a:pt x="0" y="58999"/>
                  </a:lnTo>
                  <a:lnTo>
                    <a:pt x="44880" y="58999"/>
                  </a:lnTo>
                  <a:lnTo>
                    <a:pt x="44880" y="0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47" name="Freeform: Shape 869">
              <a:extLst>
                <a:ext uri="{FF2B5EF4-FFF2-40B4-BE49-F238E27FC236}">
                  <a16:creationId xmlns:a16="http://schemas.microsoft.com/office/drawing/2014/main" id="{B40091AC-CFBE-4D00-94E7-E432B0CA3618}"/>
                </a:ext>
              </a:extLst>
            </p:cNvPr>
            <p:cNvSpPr/>
            <p:nvPr/>
          </p:nvSpPr>
          <p:spPr>
            <a:xfrm>
              <a:off x="3260714" y="3370490"/>
              <a:ext cx="85388" cy="6723"/>
            </a:xfrm>
            <a:custGeom>
              <a:avLst/>
              <a:gdLst>
                <a:gd name="connsiteX0" fmla="*/ 0 w 85388"/>
                <a:gd name="connsiteY0" fmla="*/ 0 h 6723"/>
                <a:gd name="connsiteX1" fmla="*/ 85389 w 85388"/>
                <a:gd name="connsiteY1" fmla="*/ 0 h 6723"/>
                <a:gd name="connsiteX2" fmla="*/ 85389 w 85388"/>
                <a:gd name="connsiteY2" fmla="*/ 6724 h 6723"/>
                <a:gd name="connsiteX3" fmla="*/ 0 w 85388"/>
                <a:gd name="connsiteY3" fmla="*/ 6724 h 6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388" h="6723">
                  <a:moveTo>
                    <a:pt x="0" y="0"/>
                  </a:moveTo>
                  <a:lnTo>
                    <a:pt x="85389" y="0"/>
                  </a:lnTo>
                  <a:lnTo>
                    <a:pt x="85389" y="6724"/>
                  </a:lnTo>
                  <a:lnTo>
                    <a:pt x="0" y="672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48" name="Wind - Op">
            <a:extLst>
              <a:ext uri="{FF2B5EF4-FFF2-40B4-BE49-F238E27FC236}">
                <a16:creationId xmlns:a16="http://schemas.microsoft.com/office/drawing/2014/main" id="{5DD0A8E1-6A11-4C19-8BF1-CB80168AF24F}"/>
              </a:ext>
            </a:extLst>
          </p:cNvPr>
          <p:cNvGrpSpPr>
            <a:grpSpLocks/>
          </p:cNvGrpSpPr>
          <p:nvPr/>
        </p:nvGrpSpPr>
        <p:grpSpPr>
          <a:xfrm>
            <a:off x="4065549" y="4198245"/>
            <a:ext cx="104233" cy="138888"/>
            <a:chOff x="2265548" y="3181564"/>
            <a:chExt cx="71521" cy="95300"/>
          </a:xfrm>
          <a:solidFill>
            <a:srgbClr val="8ECDC8"/>
          </a:solidFill>
        </p:grpSpPr>
        <p:sp>
          <p:nvSpPr>
            <p:cNvPr id="2849" name="Freeform: Shape 848">
              <a:extLst>
                <a:ext uri="{FF2B5EF4-FFF2-40B4-BE49-F238E27FC236}">
                  <a16:creationId xmlns:a16="http://schemas.microsoft.com/office/drawing/2014/main" id="{6B3F1AFE-E09C-41AD-909E-BA7508AE08D8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50" name="Freeform: Shape 849">
              <a:extLst>
                <a:ext uri="{FF2B5EF4-FFF2-40B4-BE49-F238E27FC236}">
                  <a16:creationId xmlns:a16="http://schemas.microsoft.com/office/drawing/2014/main" id="{4130D656-D526-4DF2-A83F-FA76BDE58E6F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51" name="Freeform: Shape 850">
              <a:extLst>
                <a:ext uri="{FF2B5EF4-FFF2-40B4-BE49-F238E27FC236}">
                  <a16:creationId xmlns:a16="http://schemas.microsoft.com/office/drawing/2014/main" id="{431AFCEE-DBA8-48CB-B2AD-C37B83B31434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52" name="Freeform: Shape 851">
              <a:extLst>
                <a:ext uri="{FF2B5EF4-FFF2-40B4-BE49-F238E27FC236}">
                  <a16:creationId xmlns:a16="http://schemas.microsoft.com/office/drawing/2014/main" id="{83B7D704-D690-49A4-A80C-B28F8672D681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53" name="Freeform: Shape 852">
              <a:extLst>
                <a:ext uri="{FF2B5EF4-FFF2-40B4-BE49-F238E27FC236}">
                  <a16:creationId xmlns:a16="http://schemas.microsoft.com/office/drawing/2014/main" id="{2B6AC0D5-B684-4ADF-9F26-8BF40D3BD592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54" name="Freeform: Shape 853">
              <a:extLst>
                <a:ext uri="{FF2B5EF4-FFF2-40B4-BE49-F238E27FC236}">
                  <a16:creationId xmlns:a16="http://schemas.microsoft.com/office/drawing/2014/main" id="{10802681-EED1-471D-A59B-347272CD30D9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grpSp>
        <p:nvGrpSpPr>
          <p:cNvPr id="2855" name="Group 2854">
            <a:extLst>
              <a:ext uri="{FF2B5EF4-FFF2-40B4-BE49-F238E27FC236}">
                <a16:creationId xmlns:a16="http://schemas.microsoft.com/office/drawing/2014/main" id="{7DFA705A-D742-420F-94F2-36E7468132F6}"/>
              </a:ext>
            </a:extLst>
          </p:cNvPr>
          <p:cNvGrpSpPr>
            <a:grpSpLocks/>
          </p:cNvGrpSpPr>
          <p:nvPr/>
        </p:nvGrpSpPr>
        <p:grpSpPr>
          <a:xfrm>
            <a:off x="7009919" y="2700202"/>
            <a:ext cx="104233" cy="138889"/>
            <a:chOff x="2265548" y="3068441"/>
            <a:chExt cx="71521" cy="95300"/>
          </a:xfrm>
          <a:solidFill>
            <a:srgbClr val="644C76"/>
          </a:solidFill>
        </p:grpSpPr>
        <p:sp>
          <p:nvSpPr>
            <p:cNvPr id="2856" name="Freeform: Shape 886">
              <a:extLst>
                <a:ext uri="{FF2B5EF4-FFF2-40B4-BE49-F238E27FC236}">
                  <a16:creationId xmlns:a16="http://schemas.microsoft.com/office/drawing/2014/main" id="{76759655-28FB-4B78-827B-275A9D71C885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7" name="Freeform: Shape 887">
              <a:extLst>
                <a:ext uri="{FF2B5EF4-FFF2-40B4-BE49-F238E27FC236}">
                  <a16:creationId xmlns:a16="http://schemas.microsoft.com/office/drawing/2014/main" id="{0C2EB574-9562-47E2-A43E-CB9C6686B390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8" name="Freeform: Shape 888">
              <a:extLst>
                <a:ext uri="{FF2B5EF4-FFF2-40B4-BE49-F238E27FC236}">
                  <a16:creationId xmlns:a16="http://schemas.microsoft.com/office/drawing/2014/main" id="{CBA18E83-0720-4148-9E6D-24E9BEF30D08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59" name="Freeform: Shape 889">
              <a:extLst>
                <a:ext uri="{FF2B5EF4-FFF2-40B4-BE49-F238E27FC236}">
                  <a16:creationId xmlns:a16="http://schemas.microsoft.com/office/drawing/2014/main" id="{492F912E-2348-41B2-A9A5-147966F9B9BD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0" name="Freeform: Shape 890">
              <a:extLst>
                <a:ext uri="{FF2B5EF4-FFF2-40B4-BE49-F238E27FC236}">
                  <a16:creationId xmlns:a16="http://schemas.microsoft.com/office/drawing/2014/main" id="{2AA196DA-1822-4163-B1F1-839D3480D216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61" name="Freeform: Shape 891">
              <a:extLst>
                <a:ext uri="{FF2B5EF4-FFF2-40B4-BE49-F238E27FC236}">
                  <a16:creationId xmlns:a16="http://schemas.microsoft.com/office/drawing/2014/main" id="{FA6F84D7-5935-4B4D-9F1A-C3C8D7B76CB2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79" name="Group 2878">
            <a:extLst>
              <a:ext uri="{FF2B5EF4-FFF2-40B4-BE49-F238E27FC236}">
                <a16:creationId xmlns:a16="http://schemas.microsoft.com/office/drawing/2014/main" id="{3130596C-D2A3-4844-9299-9A575E11791F}"/>
              </a:ext>
            </a:extLst>
          </p:cNvPr>
          <p:cNvGrpSpPr>
            <a:grpSpLocks/>
          </p:cNvGrpSpPr>
          <p:nvPr/>
        </p:nvGrpSpPr>
        <p:grpSpPr>
          <a:xfrm>
            <a:off x="2287299" y="3737172"/>
            <a:ext cx="248902" cy="114295"/>
            <a:chOff x="2134899" y="3584772"/>
            <a:chExt cx="248902" cy="114295"/>
          </a:xfrm>
        </p:grpSpPr>
        <p:grpSp>
          <p:nvGrpSpPr>
            <p:cNvPr id="2880" name="Graphic 2">
              <a:extLst>
                <a:ext uri="{FF2B5EF4-FFF2-40B4-BE49-F238E27FC236}">
                  <a16:creationId xmlns:a16="http://schemas.microsoft.com/office/drawing/2014/main" id="{DFA19322-1E92-43CE-ABE5-E2F827B233C1}"/>
                </a:ext>
              </a:extLst>
            </p:cNvPr>
            <p:cNvGrpSpPr>
              <a:grpSpLocks/>
            </p:cNvGrpSpPr>
            <p:nvPr/>
          </p:nvGrpSpPr>
          <p:grpSpPr>
            <a:xfrm>
              <a:off x="2134899" y="3584772"/>
              <a:ext cx="114294" cy="114295"/>
              <a:chOff x="2259665" y="3308466"/>
              <a:chExt cx="83287" cy="83287"/>
            </a:xfrm>
            <a:solidFill>
              <a:srgbClr val="644C76"/>
            </a:solidFill>
          </p:grpSpPr>
          <p:sp>
            <p:nvSpPr>
              <p:cNvPr id="2886" name="Freeform: Shape 823">
                <a:extLst>
                  <a:ext uri="{FF2B5EF4-FFF2-40B4-BE49-F238E27FC236}">
                    <a16:creationId xmlns:a16="http://schemas.microsoft.com/office/drawing/2014/main" id="{8C67E755-ED75-413D-999E-311E4A23E75C}"/>
                  </a:ext>
                </a:extLst>
              </p:cNvPr>
              <p:cNvSpPr/>
              <p:nvPr/>
            </p:nvSpPr>
            <p:spPr>
              <a:xfrm>
                <a:off x="2297821" y="3308466"/>
                <a:ext cx="7143" cy="10169"/>
              </a:xfrm>
              <a:custGeom>
                <a:avLst/>
                <a:gdLst>
                  <a:gd name="connsiteX0" fmla="*/ 3530 w 7143"/>
                  <a:gd name="connsiteY0" fmla="*/ 10169 h 10169"/>
                  <a:gd name="connsiteX1" fmla="*/ 3530 w 7143"/>
                  <a:gd name="connsiteY1" fmla="*/ 10169 h 10169"/>
                  <a:gd name="connsiteX2" fmla="*/ 3530 w 7143"/>
                  <a:gd name="connsiteY2" fmla="*/ 10169 h 10169"/>
                  <a:gd name="connsiteX3" fmla="*/ 7144 w 7143"/>
                  <a:gd name="connsiteY3" fmla="*/ 6723 h 10169"/>
                  <a:gd name="connsiteX4" fmla="*/ 7144 w 7143"/>
                  <a:gd name="connsiteY4" fmla="*/ 0 h 10169"/>
                  <a:gd name="connsiteX5" fmla="*/ 0 w 7143"/>
                  <a:gd name="connsiteY5" fmla="*/ 0 h 10169"/>
                  <a:gd name="connsiteX6" fmla="*/ 0 w 7143"/>
                  <a:gd name="connsiteY6" fmla="*/ 6723 h 10169"/>
                  <a:gd name="connsiteX7" fmla="*/ 3530 w 7143"/>
                  <a:gd name="connsiteY7" fmla="*/ 10169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530" y="10169"/>
                    </a:moveTo>
                    <a:lnTo>
                      <a:pt x="3530" y="10169"/>
                    </a:lnTo>
                    <a:lnTo>
                      <a:pt x="3530" y="10169"/>
                    </a:lnTo>
                    <a:cubicBezTo>
                      <a:pt x="5547" y="10169"/>
                      <a:pt x="7144" y="8656"/>
                      <a:pt x="7144" y="6723"/>
                    </a:cubicBezTo>
                    <a:lnTo>
                      <a:pt x="7144" y="0"/>
                    </a:lnTo>
                    <a:lnTo>
                      <a:pt x="0" y="0"/>
                    </a:lnTo>
                    <a:lnTo>
                      <a:pt x="0" y="6723"/>
                    </a:lnTo>
                    <a:cubicBezTo>
                      <a:pt x="0" y="8656"/>
                      <a:pt x="1597" y="10169"/>
                      <a:pt x="3530" y="1016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87" name="Freeform: Shape 824">
                <a:extLst>
                  <a:ext uri="{FF2B5EF4-FFF2-40B4-BE49-F238E27FC236}">
                    <a16:creationId xmlns:a16="http://schemas.microsoft.com/office/drawing/2014/main" id="{9FDB14D6-C0D1-44FD-8F85-9E47874FF59D}"/>
                  </a:ext>
                </a:extLst>
              </p:cNvPr>
              <p:cNvSpPr/>
              <p:nvPr/>
            </p:nvSpPr>
            <p:spPr>
              <a:xfrm>
                <a:off x="2269330" y="3318131"/>
                <a:ext cx="10831" cy="10768"/>
              </a:xfrm>
              <a:custGeom>
                <a:avLst/>
                <a:gdLst>
                  <a:gd name="connsiteX0" fmla="*/ 9749 w 10831"/>
                  <a:gd name="connsiteY0" fmla="*/ 9749 h 10768"/>
                  <a:gd name="connsiteX1" fmla="*/ 9749 w 10831"/>
                  <a:gd name="connsiteY1" fmla="*/ 9749 h 10768"/>
                  <a:gd name="connsiteX2" fmla="*/ 9749 w 10831"/>
                  <a:gd name="connsiteY2" fmla="*/ 9749 h 10768"/>
                  <a:gd name="connsiteX3" fmla="*/ 9833 w 10831"/>
                  <a:gd name="connsiteY3" fmla="*/ 4791 h 10768"/>
                  <a:gd name="connsiteX4" fmla="*/ 5043 w 10831"/>
                  <a:gd name="connsiteY4" fmla="*/ 0 h 10768"/>
                  <a:gd name="connsiteX5" fmla="*/ 0 w 10831"/>
                  <a:gd name="connsiteY5" fmla="*/ 5043 h 10768"/>
                  <a:gd name="connsiteX6" fmla="*/ 4791 w 10831"/>
                  <a:gd name="connsiteY6" fmla="*/ 9834 h 10768"/>
                  <a:gd name="connsiteX7" fmla="*/ 9749 w 10831"/>
                  <a:gd name="connsiteY7" fmla="*/ 9749 h 1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768">
                    <a:moveTo>
                      <a:pt x="9749" y="9749"/>
                    </a:moveTo>
                    <a:lnTo>
                      <a:pt x="9749" y="9749"/>
                    </a:lnTo>
                    <a:cubicBezTo>
                      <a:pt x="9833" y="9665"/>
                      <a:pt x="9833" y="9665"/>
                      <a:pt x="9749" y="9749"/>
                    </a:cubicBezTo>
                    <a:cubicBezTo>
                      <a:pt x="11178" y="8321"/>
                      <a:pt x="11178" y="6136"/>
                      <a:pt x="9833" y="4791"/>
                    </a:cubicBezTo>
                    <a:lnTo>
                      <a:pt x="5043" y="0"/>
                    </a:lnTo>
                    <a:lnTo>
                      <a:pt x="0" y="5043"/>
                    </a:lnTo>
                    <a:lnTo>
                      <a:pt x="4791" y="9834"/>
                    </a:lnTo>
                    <a:cubicBezTo>
                      <a:pt x="6219" y="11094"/>
                      <a:pt x="8404" y="11094"/>
                      <a:pt x="9749" y="974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88" name="Freeform: Shape 825">
                <a:extLst>
                  <a:ext uri="{FF2B5EF4-FFF2-40B4-BE49-F238E27FC236}">
                    <a16:creationId xmlns:a16="http://schemas.microsoft.com/office/drawing/2014/main" id="{5117EA27-D3EC-48F7-8CF1-1FAB8BA341EB}"/>
                  </a:ext>
                </a:extLst>
              </p:cNvPr>
              <p:cNvSpPr/>
              <p:nvPr/>
            </p:nvSpPr>
            <p:spPr>
              <a:xfrm>
                <a:off x="2259665" y="3346538"/>
                <a:ext cx="10169" cy="7059"/>
              </a:xfrm>
              <a:custGeom>
                <a:avLst/>
                <a:gdLst>
                  <a:gd name="connsiteX0" fmla="*/ 10169 w 10169"/>
                  <a:gd name="connsiteY0" fmla="*/ 3530 h 7059"/>
                  <a:gd name="connsiteX1" fmla="*/ 10169 w 10169"/>
                  <a:gd name="connsiteY1" fmla="*/ 3530 h 7059"/>
                  <a:gd name="connsiteX2" fmla="*/ 6724 w 10169"/>
                  <a:gd name="connsiteY2" fmla="*/ 0 h 7059"/>
                  <a:gd name="connsiteX3" fmla="*/ 0 w 10169"/>
                  <a:gd name="connsiteY3" fmla="*/ 0 h 7059"/>
                  <a:gd name="connsiteX4" fmla="*/ 0 w 10169"/>
                  <a:gd name="connsiteY4" fmla="*/ 7060 h 7059"/>
                  <a:gd name="connsiteX5" fmla="*/ 6724 w 10169"/>
                  <a:gd name="connsiteY5" fmla="*/ 7060 h 7059"/>
                  <a:gd name="connsiteX6" fmla="*/ 10169 w 10169"/>
                  <a:gd name="connsiteY6" fmla="*/ 3530 h 7059"/>
                  <a:gd name="connsiteX7" fmla="*/ 10169 w 10169"/>
                  <a:gd name="connsiteY7" fmla="*/ 3530 h 7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059">
                    <a:moveTo>
                      <a:pt x="10169" y="3530"/>
                    </a:moveTo>
                    <a:lnTo>
                      <a:pt x="10169" y="3530"/>
                    </a:lnTo>
                    <a:cubicBezTo>
                      <a:pt x="10169" y="1597"/>
                      <a:pt x="8657" y="0"/>
                      <a:pt x="6724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6724" y="7060"/>
                    </a:lnTo>
                    <a:cubicBezTo>
                      <a:pt x="8657" y="7060"/>
                      <a:pt x="10169" y="5463"/>
                      <a:pt x="10169" y="3530"/>
                    </a:cubicBezTo>
                    <a:lnTo>
                      <a:pt x="10169" y="353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89" name="Freeform: Shape 826">
                <a:extLst>
                  <a:ext uri="{FF2B5EF4-FFF2-40B4-BE49-F238E27FC236}">
                    <a16:creationId xmlns:a16="http://schemas.microsoft.com/office/drawing/2014/main" id="{76961E96-3A03-48F4-A56A-B503A77AD69E}"/>
                  </a:ext>
                </a:extLst>
              </p:cNvPr>
              <p:cNvSpPr/>
              <p:nvPr/>
            </p:nvSpPr>
            <p:spPr>
              <a:xfrm>
                <a:off x="2269246" y="3371257"/>
                <a:ext cx="10831" cy="10831"/>
              </a:xfrm>
              <a:custGeom>
                <a:avLst/>
                <a:gdLst>
                  <a:gd name="connsiteX0" fmla="*/ 9749 w 10831"/>
                  <a:gd name="connsiteY0" fmla="*/ 1082 h 10831"/>
                  <a:gd name="connsiteX1" fmla="*/ 9749 w 10831"/>
                  <a:gd name="connsiteY1" fmla="*/ 1082 h 10831"/>
                  <a:gd name="connsiteX2" fmla="*/ 4791 w 10831"/>
                  <a:gd name="connsiteY2" fmla="*/ 998 h 10831"/>
                  <a:gd name="connsiteX3" fmla="*/ 0 w 10831"/>
                  <a:gd name="connsiteY3" fmla="*/ 5789 h 10831"/>
                  <a:gd name="connsiteX4" fmla="*/ 5043 w 10831"/>
                  <a:gd name="connsiteY4" fmla="*/ 10832 h 10831"/>
                  <a:gd name="connsiteX5" fmla="*/ 9833 w 10831"/>
                  <a:gd name="connsiteY5" fmla="*/ 6041 h 10831"/>
                  <a:gd name="connsiteX6" fmla="*/ 9749 w 10831"/>
                  <a:gd name="connsiteY6" fmla="*/ 1082 h 10831"/>
                  <a:gd name="connsiteX7" fmla="*/ 9749 w 10831"/>
                  <a:gd name="connsiteY7" fmla="*/ 1082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9749" y="1082"/>
                    </a:moveTo>
                    <a:lnTo>
                      <a:pt x="9749" y="1082"/>
                    </a:lnTo>
                    <a:cubicBezTo>
                      <a:pt x="8320" y="-346"/>
                      <a:pt x="6135" y="-346"/>
                      <a:pt x="4791" y="998"/>
                    </a:cubicBezTo>
                    <a:lnTo>
                      <a:pt x="0" y="5789"/>
                    </a:lnTo>
                    <a:lnTo>
                      <a:pt x="5043" y="10832"/>
                    </a:lnTo>
                    <a:lnTo>
                      <a:pt x="9833" y="6041"/>
                    </a:lnTo>
                    <a:cubicBezTo>
                      <a:pt x="11178" y="4696"/>
                      <a:pt x="11178" y="2511"/>
                      <a:pt x="9749" y="1082"/>
                    </a:cubicBezTo>
                    <a:cubicBezTo>
                      <a:pt x="9749" y="1082"/>
                      <a:pt x="9749" y="1082"/>
                      <a:pt x="9749" y="1082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90" name="Freeform: Shape 827">
                <a:extLst>
                  <a:ext uri="{FF2B5EF4-FFF2-40B4-BE49-F238E27FC236}">
                    <a16:creationId xmlns:a16="http://schemas.microsoft.com/office/drawing/2014/main" id="{C9B1FDBD-D01C-41FC-B828-115482C7EF26}"/>
                  </a:ext>
                </a:extLst>
              </p:cNvPr>
              <p:cNvSpPr/>
              <p:nvPr/>
            </p:nvSpPr>
            <p:spPr>
              <a:xfrm>
                <a:off x="2297653" y="3381584"/>
                <a:ext cx="7143" cy="10169"/>
              </a:xfrm>
              <a:custGeom>
                <a:avLst/>
                <a:gdLst>
                  <a:gd name="connsiteX0" fmla="*/ 3614 w 7143"/>
                  <a:gd name="connsiteY0" fmla="*/ 0 h 10169"/>
                  <a:gd name="connsiteX1" fmla="*/ 3614 w 7143"/>
                  <a:gd name="connsiteY1" fmla="*/ 0 h 10169"/>
                  <a:gd name="connsiteX2" fmla="*/ 3614 w 7143"/>
                  <a:gd name="connsiteY2" fmla="*/ 0 h 10169"/>
                  <a:gd name="connsiteX3" fmla="*/ 0 w 7143"/>
                  <a:gd name="connsiteY3" fmla="*/ 3446 h 10169"/>
                  <a:gd name="connsiteX4" fmla="*/ 0 w 7143"/>
                  <a:gd name="connsiteY4" fmla="*/ 10169 h 10169"/>
                  <a:gd name="connsiteX5" fmla="*/ 7144 w 7143"/>
                  <a:gd name="connsiteY5" fmla="*/ 10169 h 10169"/>
                  <a:gd name="connsiteX6" fmla="*/ 7144 w 7143"/>
                  <a:gd name="connsiteY6" fmla="*/ 3446 h 10169"/>
                  <a:gd name="connsiteX7" fmla="*/ 3614 w 7143"/>
                  <a:gd name="connsiteY7" fmla="*/ 0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614" y="0"/>
                    </a:moveTo>
                    <a:lnTo>
                      <a:pt x="3614" y="0"/>
                    </a:lnTo>
                    <a:lnTo>
                      <a:pt x="3614" y="0"/>
                    </a:lnTo>
                    <a:cubicBezTo>
                      <a:pt x="1597" y="0"/>
                      <a:pt x="0" y="1513"/>
                      <a:pt x="0" y="3446"/>
                    </a:cubicBezTo>
                    <a:lnTo>
                      <a:pt x="0" y="10169"/>
                    </a:lnTo>
                    <a:lnTo>
                      <a:pt x="7144" y="10169"/>
                    </a:lnTo>
                    <a:lnTo>
                      <a:pt x="7144" y="3446"/>
                    </a:lnTo>
                    <a:cubicBezTo>
                      <a:pt x="7144" y="1597"/>
                      <a:pt x="5547" y="0"/>
                      <a:pt x="3614" y="0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91" name="Freeform: Shape 828">
                <a:extLst>
                  <a:ext uri="{FF2B5EF4-FFF2-40B4-BE49-F238E27FC236}">
                    <a16:creationId xmlns:a16="http://schemas.microsoft.com/office/drawing/2014/main" id="{FFED822B-C67B-4CBF-9933-1361C494AAC1}"/>
                  </a:ext>
                </a:extLst>
              </p:cNvPr>
              <p:cNvSpPr/>
              <p:nvPr/>
            </p:nvSpPr>
            <p:spPr>
              <a:xfrm>
                <a:off x="2322456" y="3371372"/>
                <a:ext cx="10831" cy="10800"/>
              </a:xfrm>
              <a:custGeom>
                <a:avLst/>
                <a:gdLst>
                  <a:gd name="connsiteX0" fmla="*/ 1082 w 10831"/>
                  <a:gd name="connsiteY0" fmla="*/ 1051 h 10800"/>
                  <a:gd name="connsiteX1" fmla="*/ 1082 w 10831"/>
                  <a:gd name="connsiteY1" fmla="*/ 1051 h 10800"/>
                  <a:gd name="connsiteX2" fmla="*/ 1082 w 10831"/>
                  <a:gd name="connsiteY2" fmla="*/ 1051 h 10800"/>
                  <a:gd name="connsiteX3" fmla="*/ 998 w 10831"/>
                  <a:gd name="connsiteY3" fmla="*/ 6010 h 10800"/>
                  <a:gd name="connsiteX4" fmla="*/ 5789 w 10831"/>
                  <a:gd name="connsiteY4" fmla="*/ 10800 h 10800"/>
                  <a:gd name="connsiteX5" fmla="*/ 10831 w 10831"/>
                  <a:gd name="connsiteY5" fmla="*/ 5758 h 10800"/>
                  <a:gd name="connsiteX6" fmla="*/ 6041 w 10831"/>
                  <a:gd name="connsiteY6" fmla="*/ 967 h 10800"/>
                  <a:gd name="connsiteX7" fmla="*/ 1082 w 10831"/>
                  <a:gd name="connsiteY7" fmla="*/ 1051 h 1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00">
                    <a:moveTo>
                      <a:pt x="1082" y="1051"/>
                    </a:moveTo>
                    <a:cubicBezTo>
                      <a:pt x="1082" y="1051"/>
                      <a:pt x="1082" y="1051"/>
                      <a:pt x="1082" y="1051"/>
                    </a:cubicBezTo>
                    <a:lnTo>
                      <a:pt x="1082" y="1051"/>
                    </a:lnTo>
                    <a:cubicBezTo>
                      <a:pt x="-346" y="2480"/>
                      <a:pt x="-346" y="4665"/>
                      <a:pt x="998" y="6010"/>
                    </a:cubicBezTo>
                    <a:lnTo>
                      <a:pt x="5789" y="10800"/>
                    </a:lnTo>
                    <a:lnTo>
                      <a:pt x="10831" y="5758"/>
                    </a:lnTo>
                    <a:lnTo>
                      <a:pt x="6041" y="967"/>
                    </a:lnTo>
                    <a:cubicBezTo>
                      <a:pt x="4612" y="-377"/>
                      <a:pt x="2427" y="-293"/>
                      <a:pt x="1082" y="1051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92" name="Freeform: Shape 829">
                <a:extLst>
                  <a:ext uri="{FF2B5EF4-FFF2-40B4-BE49-F238E27FC236}">
                    <a16:creationId xmlns:a16="http://schemas.microsoft.com/office/drawing/2014/main" id="{C85BDC33-22F8-46CA-A926-02D791984962}"/>
                  </a:ext>
                </a:extLst>
              </p:cNvPr>
              <p:cNvSpPr/>
              <p:nvPr/>
            </p:nvSpPr>
            <p:spPr>
              <a:xfrm>
                <a:off x="2332783" y="3346622"/>
                <a:ext cx="10169" cy="7144"/>
              </a:xfrm>
              <a:custGeom>
                <a:avLst/>
                <a:gdLst>
                  <a:gd name="connsiteX0" fmla="*/ 3446 w 10169"/>
                  <a:gd name="connsiteY0" fmla="*/ 0 h 7144"/>
                  <a:gd name="connsiteX1" fmla="*/ 0 w 10169"/>
                  <a:gd name="connsiteY1" fmla="*/ 3530 h 7144"/>
                  <a:gd name="connsiteX2" fmla="*/ 0 w 10169"/>
                  <a:gd name="connsiteY2" fmla="*/ 3530 h 7144"/>
                  <a:gd name="connsiteX3" fmla="*/ 0 w 10169"/>
                  <a:gd name="connsiteY3" fmla="*/ 3614 h 7144"/>
                  <a:gd name="connsiteX4" fmla="*/ 3446 w 10169"/>
                  <a:gd name="connsiteY4" fmla="*/ 7144 h 7144"/>
                  <a:gd name="connsiteX5" fmla="*/ 10169 w 10169"/>
                  <a:gd name="connsiteY5" fmla="*/ 7144 h 7144"/>
                  <a:gd name="connsiteX6" fmla="*/ 10169 w 10169"/>
                  <a:gd name="connsiteY6" fmla="*/ 84 h 7144"/>
                  <a:gd name="connsiteX7" fmla="*/ 3446 w 10169"/>
                  <a:gd name="connsiteY7" fmla="*/ 84 h 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144">
                    <a:moveTo>
                      <a:pt x="3446" y="0"/>
                    </a:moveTo>
                    <a:cubicBezTo>
                      <a:pt x="1513" y="0"/>
                      <a:pt x="0" y="1597"/>
                      <a:pt x="0" y="3530"/>
                    </a:cubicBezTo>
                    <a:lnTo>
                      <a:pt x="0" y="3530"/>
                    </a:lnTo>
                    <a:lnTo>
                      <a:pt x="0" y="3614"/>
                    </a:lnTo>
                    <a:cubicBezTo>
                      <a:pt x="0" y="5547"/>
                      <a:pt x="1513" y="7144"/>
                      <a:pt x="3446" y="7144"/>
                    </a:cubicBezTo>
                    <a:lnTo>
                      <a:pt x="10169" y="7144"/>
                    </a:lnTo>
                    <a:lnTo>
                      <a:pt x="10169" y="84"/>
                    </a:lnTo>
                    <a:lnTo>
                      <a:pt x="3446" y="8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93" name="Freeform: Shape 830">
                <a:extLst>
                  <a:ext uri="{FF2B5EF4-FFF2-40B4-BE49-F238E27FC236}">
                    <a16:creationId xmlns:a16="http://schemas.microsoft.com/office/drawing/2014/main" id="{1311ACBC-2EC1-4960-9009-96AEFCEF9174}"/>
                  </a:ext>
                </a:extLst>
              </p:cNvPr>
              <p:cNvSpPr/>
              <p:nvPr/>
            </p:nvSpPr>
            <p:spPr>
              <a:xfrm>
                <a:off x="2322540" y="3318215"/>
                <a:ext cx="10831" cy="10831"/>
              </a:xfrm>
              <a:custGeom>
                <a:avLst/>
                <a:gdLst>
                  <a:gd name="connsiteX0" fmla="*/ 1082 w 10831"/>
                  <a:gd name="connsiteY0" fmla="*/ 9749 h 10831"/>
                  <a:gd name="connsiteX1" fmla="*/ 1082 w 10831"/>
                  <a:gd name="connsiteY1" fmla="*/ 9749 h 10831"/>
                  <a:gd name="connsiteX2" fmla="*/ 6041 w 10831"/>
                  <a:gd name="connsiteY2" fmla="*/ 9833 h 10831"/>
                  <a:gd name="connsiteX3" fmla="*/ 10831 w 10831"/>
                  <a:gd name="connsiteY3" fmla="*/ 5043 h 10831"/>
                  <a:gd name="connsiteX4" fmla="*/ 5789 w 10831"/>
                  <a:gd name="connsiteY4" fmla="*/ 0 h 10831"/>
                  <a:gd name="connsiteX5" fmla="*/ 998 w 10831"/>
                  <a:gd name="connsiteY5" fmla="*/ 4791 h 10831"/>
                  <a:gd name="connsiteX6" fmla="*/ 1082 w 10831"/>
                  <a:gd name="connsiteY6" fmla="*/ 9749 h 10831"/>
                  <a:gd name="connsiteX7" fmla="*/ 1082 w 10831"/>
                  <a:gd name="connsiteY7" fmla="*/ 9749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1082" y="9749"/>
                    </a:moveTo>
                    <a:cubicBezTo>
                      <a:pt x="1082" y="9749"/>
                      <a:pt x="1082" y="9749"/>
                      <a:pt x="1082" y="9749"/>
                    </a:cubicBezTo>
                    <a:cubicBezTo>
                      <a:pt x="2511" y="11178"/>
                      <a:pt x="4696" y="11178"/>
                      <a:pt x="6041" y="9833"/>
                    </a:cubicBezTo>
                    <a:lnTo>
                      <a:pt x="10831" y="5043"/>
                    </a:lnTo>
                    <a:lnTo>
                      <a:pt x="5789" y="0"/>
                    </a:lnTo>
                    <a:lnTo>
                      <a:pt x="998" y="4791"/>
                    </a:lnTo>
                    <a:cubicBezTo>
                      <a:pt x="-346" y="6136"/>
                      <a:pt x="-346" y="8320"/>
                      <a:pt x="1082" y="9749"/>
                    </a:cubicBezTo>
                    <a:cubicBezTo>
                      <a:pt x="1082" y="9749"/>
                      <a:pt x="1082" y="9749"/>
                      <a:pt x="1082" y="9749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94" name="Freeform: Shape 831">
                <a:extLst>
                  <a:ext uri="{FF2B5EF4-FFF2-40B4-BE49-F238E27FC236}">
                    <a16:creationId xmlns:a16="http://schemas.microsoft.com/office/drawing/2014/main" id="{83E3F57C-322C-4E6E-A599-40E0952DE1DF}"/>
                  </a:ext>
                </a:extLst>
              </p:cNvPr>
              <p:cNvSpPr/>
              <p:nvPr/>
            </p:nvSpPr>
            <p:spPr>
              <a:xfrm>
                <a:off x="2276305" y="3325106"/>
                <a:ext cx="50090" cy="50090"/>
              </a:xfrm>
              <a:custGeom>
                <a:avLst/>
                <a:gdLst>
                  <a:gd name="connsiteX0" fmla="*/ 25045 w 50090"/>
                  <a:gd name="connsiteY0" fmla="*/ 0 h 50090"/>
                  <a:gd name="connsiteX1" fmla="*/ 0 w 50090"/>
                  <a:gd name="connsiteY1" fmla="*/ 25045 h 50090"/>
                  <a:gd name="connsiteX2" fmla="*/ 25045 w 50090"/>
                  <a:gd name="connsiteY2" fmla="*/ 50090 h 50090"/>
                  <a:gd name="connsiteX3" fmla="*/ 50090 w 50090"/>
                  <a:gd name="connsiteY3" fmla="*/ 25045 h 50090"/>
                  <a:gd name="connsiteX4" fmla="*/ 25045 w 50090"/>
                  <a:gd name="connsiteY4" fmla="*/ 0 h 50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090" h="50090">
                    <a:moveTo>
                      <a:pt x="25045" y="0"/>
                    </a:moveTo>
                    <a:cubicBezTo>
                      <a:pt x="11178" y="0"/>
                      <a:pt x="0" y="11178"/>
                      <a:pt x="0" y="25045"/>
                    </a:cubicBezTo>
                    <a:cubicBezTo>
                      <a:pt x="0" y="38828"/>
                      <a:pt x="11178" y="50090"/>
                      <a:pt x="25045" y="50090"/>
                    </a:cubicBezTo>
                    <a:cubicBezTo>
                      <a:pt x="38912" y="50090"/>
                      <a:pt x="50090" y="38828"/>
                      <a:pt x="50090" y="25045"/>
                    </a:cubicBezTo>
                    <a:cubicBezTo>
                      <a:pt x="50090" y="11178"/>
                      <a:pt x="38828" y="0"/>
                      <a:pt x="25045" y="0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</p:grpSp>
        <p:grpSp>
          <p:nvGrpSpPr>
            <p:cNvPr id="2881" name="Storage - con">
              <a:extLst>
                <a:ext uri="{FF2B5EF4-FFF2-40B4-BE49-F238E27FC236}">
                  <a16:creationId xmlns:a16="http://schemas.microsoft.com/office/drawing/2014/main" id="{07427821-6AE3-4E65-AD69-14939E20DCC7}"/>
                </a:ext>
              </a:extLst>
            </p:cNvPr>
            <p:cNvGrpSpPr/>
            <p:nvPr/>
          </p:nvGrpSpPr>
          <p:grpSpPr>
            <a:xfrm>
              <a:off x="2259358" y="3589599"/>
              <a:ext cx="124443" cy="104233"/>
              <a:chOff x="3260714" y="3305692"/>
              <a:chExt cx="85388" cy="71521"/>
            </a:xfrm>
            <a:solidFill>
              <a:srgbClr val="644C76"/>
            </a:solidFill>
          </p:grpSpPr>
          <p:sp>
            <p:nvSpPr>
              <p:cNvPr id="2882" name="Freeform: Shape 866">
                <a:extLst>
                  <a:ext uri="{FF2B5EF4-FFF2-40B4-BE49-F238E27FC236}">
                    <a16:creationId xmlns:a16="http://schemas.microsoft.com/office/drawing/2014/main" id="{A1072DF8-B2C9-47FB-BDA2-ECDB9CB5384A}"/>
                  </a:ext>
                </a:extLst>
              </p:cNvPr>
              <p:cNvSpPr/>
              <p:nvPr/>
            </p:nvSpPr>
            <p:spPr>
              <a:xfrm>
                <a:off x="3333244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83" name="Freeform: Shape 867">
                <a:extLst>
                  <a:ext uri="{FF2B5EF4-FFF2-40B4-BE49-F238E27FC236}">
                    <a16:creationId xmlns:a16="http://schemas.microsoft.com/office/drawing/2014/main" id="{FCBE5674-0686-45E7-9461-593B7AF0EE35}"/>
                  </a:ext>
                </a:extLst>
              </p:cNvPr>
              <p:cNvSpPr/>
              <p:nvPr/>
            </p:nvSpPr>
            <p:spPr>
              <a:xfrm>
                <a:off x="3266765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  <p:sp>
            <p:nvSpPr>
              <p:cNvPr id="2884" name="Freeform: Shape 868">
                <a:extLst>
                  <a:ext uri="{FF2B5EF4-FFF2-40B4-BE49-F238E27FC236}">
                    <a16:creationId xmlns:a16="http://schemas.microsoft.com/office/drawing/2014/main" id="{C3A55095-F4A6-4335-9CA9-A0F8897AAA23}"/>
                  </a:ext>
                </a:extLst>
              </p:cNvPr>
              <p:cNvSpPr/>
              <p:nvPr/>
            </p:nvSpPr>
            <p:spPr>
              <a:xfrm>
                <a:off x="3280969" y="3305692"/>
                <a:ext cx="44879" cy="58999"/>
              </a:xfrm>
              <a:custGeom>
                <a:avLst/>
                <a:gdLst>
                  <a:gd name="connsiteX0" fmla="*/ 21683 w 44879"/>
                  <a:gd name="connsiteY0" fmla="*/ 46729 h 58999"/>
                  <a:gd name="connsiteX1" fmla="*/ 21683 w 44879"/>
                  <a:gd name="connsiteY1" fmla="*/ 33954 h 58999"/>
                  <a:gd name="connsiteX2" fmla="*/ 12691 w 44879"/>
                  <a:gd name="connsiteY2" fmla="*/ 33954 h 58999"/>
                  <a:gd name="connsiteX3" fmla="*/ 16641 w 44879"/>
                  <a:gd name="connsiteY3" fmla="*/ 17817 h 58999"/>
                  <a:gd name="connsiteX4" fmla="*/ 29499 w 44879"/>
                  <a:gd name="connsiteY4" fmla="*/ 17817 h 58999"/>
                  <a:gd name="connsiteX5" fmla="*/ 24457 w 44879"/>
                  <a:gd name="connsiteY5" fmla="*/ 28071 h 58999"/>
                  <a:gd name="connsiteX6" fmla="*/ 33281 w 44879"/>
                  <a:gd name="connsiteY6" fmla="*/ 28071 h 58999"/>
                  <a:gd name="connsiteX7" fmla="*/ 21683 w 44879"/>
                  <a:gd name="connsiteY7" fmla="*/ 46729 h 58999"/>
                  <a:gd name="connsiteX8" fmla="*/ 44880 w 44879"/>
                  <a:gd name="connsiteY8" fmla="*/ 0 h 58999"/>
                  <a:gd name="connsiteX9" fmla="*/ 0 w 44879"/>
                  <a:gd name="connsiteY9" fmla="*/ 0 h 58999"/>
                  <a:gd name="connsiteX10" fmla="*/ 0 w 44879"/>
                  <a:gd name="connsiteY10" fmla="*/ 58999 h 58999"/>
                  <a:gd name="connsiteX11" fmla="*/ 44880 w 44879"/>
                  <a:gd name="connsiteY11" fmla="*/ 58999 h 58999"/>
                  <a:gd name="connsiteX12" fmla="*/ 44880 w 44879"/>
                  <a:gd name="connsiteY12" fmla="*/ 0 h 5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879" h="58999">
                    <a:moveTo>
                      <a:pt x="21683" y="46729"/>
                    </a:moveTo>
                    <a:lnTo>
                      <a:pt x="21683" y="33954"/>
                    </a:lnTo>
                    <a:lnTo>
                      <a:pt x="12691" y="33954"/>
                    </a:lnTo>
                    <a:lnTo>
                      <a:pt x="16641" y="17817"/>
                    </a:lnTo>
                    <a:lnTo>
                      <a:pt x="29499" y="17817"/>
                    </a:lnTo>
                    <a:lnTo>
                      <a:pt x="24457" y="28071"/>
                    </a:lnTo>
                    <a:lnTo>
                      <a:pt x="33281" y="28071"/>
                    </a:lnTo>
                    <a:lnTo>
                      <a:pt x="21683" y="46729"/>
                    </a:lnTo>
                    <a:close/>
                    <a:moveTo>
                      <a:pt x="44880" y="0"/>
                    </a:moveTo>
                    <a:lnTo>
                      <a:pt x="0" y="0"/>
                    </a:lnTo>
                    <a:lnTo>
                      <a:pt x="0" y="58999"/>
                    </a:lnTo>
                    <a:lnTo>
                      <a:pt x="44880" y="58999"/>
                    </a:lnTo>
                    <a:lnTo>
                      <a:pt x="44880" y="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srgbClr val="644C76"/>
                  </a:solidFill>
                </a:endParaRPr>
              </a:p>
            </p:txBody>
          </p:sp>
          <p:sp>
            <p:nvSpPr>
              <p:cNvPr id="2885" name="Freeform: Shape 869">
                <a:extLst>
                  <a:ext uri="{FF2B5EF4-FFF2-40B4-BE49-F238E27FC236}">
                    <a16:creationId xmlns:a16="http://schemas.microsoft.com/office/drawing/2014/main" id="{8684E5A9-2679-448E-A634-E3CA80A531AA}"/>
                  </a:ext>
                </a:extLst>
              </p:cNvPr>
              <p:cNvSpPr/>
              <p:nvPr/>
            </p:nvSpPr>
            <p:spPr>
              <a:xfrm>
                <a:off x="3260714" y="3370490"/>
                <a:ext cx="85388" cy="6723"/>
              </a:xfrm>
              <a:custGeom>
                <a:avLst/>
                <a:gdLst>
                  <a:gd name="connsiteX0" fmla="*/ 0 w 85388"/>
                  <a:gd name="connsiteY0" fmla="*/ 0 h 6723"/>
                  <a:gd name="connsiteX1" fmla="*/ 85389 w 85388"/>
                  <a:gd name="connsiteY1" fmla="*/ 0 h 6723"/>
                  <a:gd name="connsiteX2" fmla="*/ 85389 w 85388"/>
                  <a:gd name="connsiteY2" fmla="*/ 6724 h 6723"/>
                  <a:gd name="connsiteX3" fmla="*/ 0 w 85388"/>
                  <a:gd name="connsiteY3" fmla="*/ 6724 h 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388" h="6723">
                    <a:moveTo>
                      <a:pt x="0" y="0"/>
                    </a:moveTo>
                    <a:lnTo>
                      <a:pt x="85389" y="0"/>
                    </a:lnTo>
                    <a:lnTo>
                      <a:pt x="85389" y="6724"/>
                    </a:lnTo>
                    <a:lnTo>
                      <a:pt x="0" y="672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rgbClr val="644C76"/>
                  </a:solidFill>
                </a:endParaRPr>
              </a:p>
            </p:txBody>
          </p:sp>
        </p:grpSp>
      </p:grpSp>
      <p:grpSp>
        <p:nvGrpSpPr>
          <p:cNvPr id="2602" name="Group 2601">
            <a:extLst>
              <a:ext uri="{FF2B5EF4-FFF2-40B4-BE49-F238E27FC236}">
                <a16:creationId xmlns:a16="http://schemas.microsoft.com/office/drawing/2014/main" id="{77EC6236-772F-443C-B3CC-14837C6FBA63}"/>
              </a:ext>
            </a:extLst>
          </p:cNvPr>
          <p:cNvGrpSpPr>
            <a:grpSpLocks/>
          </p:cNvGrpSpPr>
          <p:nvPr/>
        </p:nvGrpSpPr>
        <p:grpSpPr>
          <a:xfrm>
            <a:off x="5186531" y="2297699"/>
            <a:ext cx="98148" cy="130780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2752" name="Freeform: Shape 913">
              <a:extLst>
                <a:ext uri="{FF2B5EF4-FFF2-40B4-BE49-F238E27FC236}">
                  <a16:creationId xmlns:a16="http://schemas.microsoft.com/office/drawing/2014/main" id="{E09DC0AA-232E-4F37-84BE-719C7B82C51B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38" name="Freeform: Shape 914">
              <a:extLst>
                <a:ext uri="{FF2B5EF4-FFF2-40B4-BE49-F238E27FC236}">
                  <a16:creationId xmlns:a16="http://schemas.microsoft.com/office/drawing/2014/main" id="{FBF5AB5A-2582-4D4D-83F7-7C18BD389040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39" name="Freeform: Shape 915">
              <a:extLst>
                <a:ext uri="{FF2B5EF4-FFF2-40B4-BE49-F238E27FC236}">
                  <a16:creationId xmlns:a16="http://schemas.microsoft.com/office/drawing/2014/main" id="{140FEB47-146F-4A7D-A07B-16A29D7C07FD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62" name="Freeform: Shape 916">
              <a:extLst>
                <a:ext uri="{FF2B5EF4-FFF2-40B4-BE49-F238E27FC236}">
                  <a16:creationId xmlns:a16="http://schemas.microsoft.com/office/drawing/2014/main" id="{3B5C966F-8EA0-4D66-A4ED-ECF12855C4CE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63" name="Freeform: Shape 917">
              <a:extLst>
                <a:ext uri="{FF2B5EF4-FFF2-40B4-BE49-F238E27FC236}">
                  <a16:creationId xmlns:a16="http://schemas.microsoft.com/office/drawing/2014/main" id="{F6B73334-505D-4B32-A84F-A6877092ED77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  <p:sp>
          <p:nvSpPr>
            <p:cNvPr id="2864" name="Freeform: Shape 918">
              <a:extLst>
                <a:ext uri="{FF2B5EF4-FFF2-40B4-BE49-F238E27FC236}">
                  <a16:creationId xmlns:a16="http://schemas.microsoft.com/office/drawing/2014/main" id="{DBD40FAF-C37E-4501-8D3D-65837650F59C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650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211273A-1FD8-4288-909F-FE8BAAA0E117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r>
              <a:rPr lang="en-GB"/>
              <a:t>as of August 2022</a:t>
            </a:r>
            <a:endParaRPr lang="en-GB" dirty="0"/>
          </a:p>
        </p:txBody>
      </p:sp>
      <p:graphicFrame>
        <p:nvGraphicFramePr>
          <p:cNvPr id="3986" name="Object 3985" hidden="1">
            <a:extLst>
              <a:ext uri="{FF2B5EF4-FFF2-40B4-BE49-F238E27FC236}">
                <a16:creationId xmlns:a16="http://schemas.microsoft.com/office/drawing/2014/main" id="{41E90366-C9BF-4107-9D8D-62D83E078DB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59" y="3525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5" progId="TCLayout.ActiveDocument.1">
                  <p:embed/>
                </p:oleObj>
              </mc:Choice>
              <mc:Fallback>
                <p:oleObj name="think-cell Slide" r:id="rId10" imgW="592" imgH="595" progId="TCLayout.ActiveDocument.1">
                  <p:embed/>
                  <p:pic>
                    <p:nvPicPr>
                      <p:cNvPr id="3986" name="Object 3985" hidden="1">
                        <a:extLst>
                          <a:ext uri="{FF2B5EF4-FFF2-40B4-BE49-F238E27FC236}">
                            <a16:creationId xmlns:a16="http://schemas.microsoft.com/office/drawing/2014/main" id="{41E90366-C9BF-4107-9D8D-62D83E078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9" y="3525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92F217BF-26A5-42C3-84D9-E4C4D7DE67EA}"/>
              </a:ext>
            </a:extLst>
          </p:cNvPr>
          <p:cNvGrpSpPr/>
          <p:nvPr/>
        </p:nvGrpSpPr>
        <p:grpSpPr>
          <a:xfrm>
            <a:off x="469283" y="1027113"/>
            <a:ext cx="2671707" cy="390525"/>
            <a:chOff x="469283" y="1027113"/>
            <a:chExt cx="2671707" cy="390525"/>
          </a:xfrm>
        </p:grpSpPr>
        <p:sp>
          <p:nvSpPr>
            <p:cNvPr id="3985" name="TextBox 3984">
              <a:extLst>
                <a:ext uri="{FF2B5EF4-FFF2-40B4-BE49-F238E27FC236}">
                  <a16:creationId xmlns:a16="http://schemas.microsoft.com/office/drawing/2014/main" id="{3A1745F4-4FAC-463A-AA5F-ABA78D3E4B48}"/>
                </a:ext>
              </a:extLst>
            </p:cNvPr>
            <p:cNvSpPr txBox="1"/>
            <p:nvPr/>
          </p:nvSpPr>
          <p:spPr>
            <a:xfrm>
              <a:off x="1006753" y="1057249"/>
              <a:ext cx="2134237" cy="3545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1800"/>
                </a:spcBef>
              </a:pPr>
              <a:r>
                <a:rPr lang="en-US" sz="1200" dirty="0">
                  <a:solidFill>
                    <a:schemeClr val="tx2"/>
                  </a:solidFill>
                </a:rPr>
                <a:t>Over </a:t>
              </a:r>
              <a:r>
                <a:rPr lang="en-US" sz="1200" b="1" dirty="0">
                  <a:solidFill>
                    <a:schemeClr val="tx2"/>
                  </a:solidFill>
                </a:rPr>
                <a:t>500 employees </a:t>
              </a:r>
              <a:r>
                <a:rPr lang="en-US" sz="1200" dirty="0">
                  <a:solidFill>
                    <a:schemeClr val="tx2"/>
                  </a:solidFill>
                </a:rPr>
                <a:t>working across the country</a:t>
              </a:r>
              <a:endParaRPr lang="en-US" sz="1200" baseline="30000" dirty="0">
                <a:solidFill>
                  <a:schemeClr val="tx2"/>
                </a:solidFill>
              </a:endParaRPr>
            </a:p>
          </p:txBody>
        </p:sp>
        <p:grpSp>
          <p:nvGrpSpPr>
            <p:cNvPr id="3987" name="Group 3986">
              <a:extLst>
                <a:ext uri="{FF2B5EF4-FFF2-40B4-BE49-F238E27FC236}">
                  <a16:creationId xmlns:a16="http://schemas.microsoft.com/office/drawing/2014/main" id="{61774DEF-9A84-4794-92A4-538D68A7F6C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9283" y="1027113"/>
              <a:ext cx="390525" cy="390525"/>
              <a:chOff x="2667174" y="3694240"/>
              <a:chExt cx="390525" cy="390525"/>
            </a:xfrm>
            <a:solidFill>
              <a:schemeClr val="tx2"/>
            </a:solidFill>
          </p:grpSpPr>
          <p:sp>
            <p:nvSpPr>
              <p:cNvPr id="3988" name="Freeform: Shape 3987">
                <a:extLst>
                  <a:ext uri="{FF2B5EF4-FFF2-40B4-BE49-F238E27FC236}">
                    <a16:creationId xmlns:a16="http://schemas.microsoft.com/office/drawing/2014/main" id="{50A302B0-1973-4084-87FC-CB43758BC675}"/>
                  </a:ext>
                </a:extLst>
              </p:cNvPr>
              <p:cNvSpPr/>
              <p:nvPr/>
            </p:nvSpPr>
            <p:spPr>
              <a:xfrm>
                <a:off x="2888272" y="3789989"/>
                <a:ext cx="95250" cy="95250"/>
              </a:xfrm>
              <a:custGeom>
                <a:avLst/>
                <a:gdLst>
                  <a:gd name="connsiteX0" fmla="*/ 84464 w 95250"/>
                  <a:gd name="connsiteY0" fmla="*/ 23885 h 95250"/>
                  <a:gd name="connsiteX1" fmla="*/ 23885 w 95250"/>
                  <a:gd name="connsiteY1" fmla="*/ 16170 h 95250"/>
                  <a:gd name="connsiteX2" fmla="*/ 16170 w 95250"/>
                  <a:gd name="connsiteY2" fmla="*/ 76749 h 95250"/>
                  <a:gd name="connsiteX3" fmla="*/ 76749 w 95250"/>
                  <a:gd name="connsiteY3" fmla="*/ 84464 h 95250"/>
                  <a:gd name="connsiteX4" fmla="*/ 84464 w 95250"/>
                  <a:gd name="connsiteY4" fmla="*/ 23885 h 95250"/>
                  <a:gd name="connsiteX5" fmla="*/ 74558 w 95250"/>
                  <a:gd name="connsiteY5" fmla="*/ 56937 h 95250"/>
                  <a:gd name="connsiteX6" fmla="*/ 57032 w 95250"/>
                  <a:gd name="connsiteY6" fmla="*/ 56937 h 95250"/>
                  <a:gd name="connsiteX7" fmla="*/ 57032 w 95250"/>
                  <a:gd name="connsiteY7" fmla="*/ 74463 h 95250"/>
                  <a:gd name="connsiteX8" fmla="*/ 43697 w 95250"/>
                  <a:gd name="connsiteY8" fmla="*/ 74463 h 95250"/>
                  <a:gd name="connsiteX9" fmla="*/ 43697 w 95250"/>
                  <a:gd name="connsiteY9" fmla="*/ 56937 h 95250"/>
                  <a:gd name="connsiteX10" fmla="*/ 26171 w 95250"/>
                  <a:gd name="connsiteY10" fmla="*/ 56937 h 95250"/>
                  <a:gd name="connsiteX11" fmla="*/ 26171 w 95250"/>
                  <a:gd name="connsiteY11" fmla="*/ 43602 h 95250"/>
                  <a:gd name="connsiteX12" fmla="*/ 43697 w 95250"/>
                  <a:gd name="connsiteY12" fmla="*/ 43602 h 95250"/>
                  <a:gd name="connsiteX13" fmla="*/ 43697 w 95250"/>
                  <a:gd name="connsiteY13" fmla="*/ 26076 h 95250"/>
                  <a:gd name="connsiteX14" fmla="*/ 57032 w 95250"/>
                  <a:gd name="connsiteY14" fmla="*/ 26076 h 95250"/>
                  <a:gd name="connsiteX15" fmla="*/ 57032 w 95250"/>
                  <a:gd name="connsiteY15" fmla="*/ 43602 h 95250"/>
                  <a:gd name="connsiteX16" fmla="*/ 74558 w 95250"/>
                  <a:gd name="connsiteY16" fmla="*/ 43602 h 95250"/>
                  <a:gd name="connsiteX17" fmla="*/ 74558 w 95250"/>
                  <a:gd name="connsiteY17" fmla="*/ 56937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95250" h="95250">
                    <a:moveTo>
                      <a:pt x="84464" y="23885"/>
                    </a:moveTo>
                    <a:cubicBezTo>
                      <a:pt x="69891" y="5026"/>
                      <a:pt x="42745" y="1597"/>
                      <a:pt x="23885" y="16170"/>
                    </a:cubicBezTo>
                    <a:cubicBezTo>
                      <a:pt x="5026" y="30743"/>
                      <a:pt x="1597" y="57890"/>
                      <a:pt x="16170" y="76749"/>
                    </a:cubicBezTo>
                    <a:cubicBezTo>
                      <a:pt x="30743" y="95609"/>
                      <a:pt x="57890" y="99038"/>
                      <a:pt x="76749" y="84464"/>
                    </a:cubicBezTo>
                    <a:cubicBezTo>
                      <a:pt x="95609" y="69796"/>
                      <a:pt x="99038" y="42745"/>
                      <a:pt x="84464" y="23885"/>
                    </a:cubicBezTo>
                    <a:close/>
                    <a:moveTo>
                      <a:pt x="74558" y="56937"/>
                    </a:moveTo>
                    <a:lnTo>
                      <a:pt x="57032" y="56937"/>
                    </a:lnTo>
                    <a:lnTo>
                      <a:pt x="57032" y="74463"/>
                    </a:lnTo>
                    <a:lnTo>
                      <a:pt x="43697" y="74463"/>
                    </a:lnTo>
                    <a:lnTo>
                      <a:pt x="43697" y="56937"/>
                    </a:lnTo>
                    <a:lnTo>
                      <a:pt x="26171" y="56937"/>
                    </a:lnTo>
                    <a:lnTo>
                      <a:pt x="26171" y="43602"/>
                    </a:lnTo>
                    <a:lnTo>
                      <a:pt x="43697" y="43602"/>
                    </a:lnTo>
                    <a:lnTo>
                      <a:pt x="43697" y="26076"/>
                    </a:lnTo>
                    <a:lnTo>
                      <a:pt x="57032" y="26076"/>
                    </a:lnTo>
                    <a:lnTo>
                      <a:pt x="57032" y="43602"/>
                    </a:lnTo>
                    <a:lnTo>
                      <a:pt x="74558" y="43602"/>
                    </a:lnTo>
                    <a:lnTo>
                      <a:pt x="74558" y="5693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989" name="Freeform: Shape 3988">
                <a:extLst>
                  <a:ext uri="{FF2B5EF4-FFF2-40B4-BE49-F238E27FC236}">
                    <a16:creationId xmlns:a16="http://schemas.microsoft.com/office/drawing/2014/main" id="{536A63CE-741D-4C02-B41E-EE4D8983F529}"/>
                  </a:ext>
                </a:extLst>
              </p:cNvPr>
              <p:cNvSpPr/>
              <p:nvPr/>
            </p:nvSpPr>
            <p:spPr>
              <a:xfrm>
                <a:off x="2833100" y="3888931"/>
                <a:ext cx="104775" cy="104775"/>
              </a:xfrm>
              <a:custGeom>
                <a:avLst/>
                <a:gdLst>
                  <a:gd name="connsiteX0" fmla="*/ 56960 w 104775"/>
                  <a:gd name="connsiteY0" fmla="*/ 7144 h 104775"/>
                  <a:gd name="connsiteX1" fmla="*/ 7144 w 104775"/>
                  <a:gd name="connsiteY1" fmla="*/ 56959 h 104775"/>
                  <a:gd name="connsiteX2" fmla="*/ 56960 w 104775"/>
                  <a:gd name="connsiteY2" fmla="*/ 106775 h 104775"/>
                  <a:gd name="connsiteX3" fmla="*/ 106775 w 104775"/>
                  <a:gd name="connsiteY3" fmla="*/ 56959 h 104775"/>
                  <a:gd name="connsiteX4" fmla="*/ 56960 w 104775"/>
                  <a:gd name="connsiteY4" fmla="*/ 7144 h 104775"/>
                  <a:gd name="connsiteX5" fmla="*/ 84201 w 104775"/>
                  <a:gd name="connsiteY5" fmla="*/ 63627 h 104775"/>
                  <a:gd name="connsiteX6" fmla="*/ 63722 w 104775"/>
                  <a:gd name="connsiteY6" fmla="*/ 63627 h 104775"/>
                  <a:gd name="connsiteX7" fmla="*/ 63722 w 104775"/>
                  <a:gd name="connsiteY7" fmla="*/ 84106 h 104775"/>
                  <a:gd name="connsiteX8" fmla="*/ 50387 w 104775"/>
                  <a:gd name="connsiteY8" fmla="*/ 84106 h 104775"/>
                  <a:gd name="connsiteX9" fmla="*/ 50387 w 104775"/>
                  <a:gd name="connsiteY9" fmla="*/ 63627 h 104775"/>
                  <a:gd name="connsiteX10" fmla="*/ 29908 w 104775"/>
                  <a:gd name="connsiteY10" fmla="*/ 63627 h 104775"/>
                  <a:gd name="connsiteX11" fmla="*/ 29908 w 104775"/>
                  <a:gd name="connsiteY11" fmla="*/ 50292 h 104775"/>
                  <a:gd name="connsiteX12" fmla="*/ 50387 w 104775"/>
                  <a:gd name="connsiteY12" fmla="*/ 50292 h 104775"/>
                  <a:gd name="connsiteX13" fmla="*/ 50387 w 104775"/>
                  <a:gd name="connsiteY13" fmla="*/ 29813 h 104775"/>
                  <a:gd name="connsiteX14" fmla="*/ 63722 w 104775"/>
                  <a:gd name="connsiteY14" fmla="*/ 29813 h 104775"/>
                  <a:gd name="connsiteX15" fmla="*/ 63722 w 104775"/>
                  <a:gd name="connsiteY15" fmla="*/ 50292 h 104775"/>
                  <a:gd name="connsiteX16" fmla="*/ 84201 w 104775"/>
                  <a:gd name="connsiteY16" fmla="*/ 50292 h 104775"/>
                  <a:gd name="connsiteX17" fmla="*/ 84201 w 104775"/>
                  <a:gd name="connsiteY17" fmla="*/ 63627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4775" h="104775">
                    <a:moveTo>
                      <a:pt x="56960" y="7144"/>
                    </a:moveTo>
                    <a:cubicBezTo>
                      <a:pt x="29432" y="7144"/>
                      <a:pt x="7144" y="29432"/>
                      <a:pt x="7144" y="56959"/>
                    </a:cubicBezTo>
                    <a:cubicBezTo>
                      <a:pt x="7144" y="84487"/>
                      <a:pt x="29432" y="106775"/>
                      <a:pt x="56960" y="106775"/>
                    </a:cubicBezTo>
                    <a:cubicBezTo>
                      <a:pt x="84487" y="106775"/>
                      <a:pt x="106775" y="84487"/>
                      <a:pt x="106775" y="56959"/>
                    </a:cubicBezTo>
                    <a:cubicBezTo>
                      <a:pt x="106775" y="29432"/>
                      <a:pt x="84487" y="7144"/>
                      <a:pt x="56960" y="7144"/>
                    </a:cubicBezTo>
                    <a:close/>
                    <a:moveTo>
                      <a:pt x="84201" y="63627"/>
                    </a:moveTo>
                    <a:lnTo>
                      <a:pt x="63722" y="63627"/>
                    </a:lnTo>
                    <a:lnTo>
                      <a:pt x="63722" y="84106"/>
                    </a:lnTo>
                    <a:lnTo>
                      <a:pt x="50387" y="84106"/>
                    </a:lnTo>
                    <a:lnTo>
                      <a:pt x="50387" y="63627"/>
                    </a:lnTo>
                    <a:lnTo>
                      <a:pt x="29908" y="63627"/>
                    </a:lnTo>
                    <a:lnTo>
                      <a:pt x="29908" y="50292"/>
                    </a:lnTo>
                    <a:lnTo>
                      <a:pt x="50387" y="50292"/>
                    </a:lnTo>
                    <a:lnTo>
                      <a:pt x="50387" y="29813"/>
                    </a:lnTo>
                    <a:lnTo>
                      <a:pt x="63722" y="29813"/>
                    </a:lnTo>
                    <a:lnTo>
                      <a:pt x="63722" y="50292"/>
                    </a:lnTo>
                    <a:lnTo>
                      <a:pt x="84201" y="50292"/>
                    </a:lnTo>
                    <a:lnTo>
                      <a:pt x="84201" y="6362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990" name="Freeform: Shape 3989">
                <a:extLst>
                  <a:ext uri="{FF2B5EF4-FFF2-40B4-BE49-F238E27FC236}">
                    <a16:creationId xmlns:a16="http://schemas.microsoft.com/office/drawing/2014/main" id="{18A5EF7C-EC82-4314-A9CE-AAA713BF0B07}"/>
                  </a:ext>
                </a:extLst>
              </p:cNvPr>
              <p:cNvSpPr/>
              <p:nvPr/>
            </p:nvSpPr>
            <p:spPr>
              <a:xfrm>
                <a:off x="2667174" y="3694240"/>
                <a:ext cx="390525" cy="390525"/>
              </a:xfrm>
              <a:custGeom>
                <a:avLst/>
                <a:gdLst>
                  <a:gd name="connsiteX0" fmla="*/ 198120 w 390525"/>
                  <a:gd name="connsiteY0" fmla="*/ 29051 h 390525"/>
                  <a:gd name="connsiteX1" fmla="*/ 317659 w 390525"/>
                  <a:gd name="connsiteY1" fmla="*/ 78581 h 390525"/>
                  <a:gd name="connsiteX2" fmla="*/ 367189 w 390525"/>
                  <a:gd name="connsiteY2" fmla="*/ 198120 h 390525"/>
                  <a:gd name="connsiteX3" fmla="*/ 317659 w 390525"/>
                  <a:gd name="connsiteY3" fmla="*/ 317659 h 390525"/>
                  <a:gd name="connsiteX4" fmla="*/ 198120 w 390525"/>
                  <a:gd name="connsiteY4" fmla="*/ 367189 h 390525"/>
                  <a:gd name="connsiteX5" fmla="*/ 78581 w 390525"/>
                  <a:gd name="connsiteY5" fmla="*/ 317659 h 390525"/>
                  <a:gd name="connsiteX6" fmla="*/ 29051 w 390525"/>
                  <a:gd name="connsiteY6" fmla="*/ 198120 h 390525"/>
                  <a:gd name="connsiteX7" fmla="*/ 78581 w 390525"/>
                  <a:gd name="connsiteY7" fmla="*/ 78581 h 390525"/>
                  <a:gd name="connsiteX8" fmla="*/ 198120 w 390525"/>
                  <a:gd name="connsiteY8" fmla="*/ 29051 h 390525"/>
                  <a:gd name="connsiteX9" fmla="*/ 198120 w 390525"/>
                  <a:gd name="connsiteY9" fmla="*/ 7144 h 390525"/>
                  <a:gd name="connsiteX10" fmla="*/ 7144 w 390525"/>
                  <a:gd name="connsiteY10" fmla="*/ 198120 h 390525"/>
                  <a:gd name="connsiteX11" fmla="*/ 198120 w 390525"/>
                  <a:gd name="connsiteY11" fmla="*/ 389096 h 390525"/>
                  <a:gd name="connsiteX12" fmla="*/ 389096 w 390525"/>
                  <a:gd name="connsiteY12" fmla="*/ 198120 h 390525"/>
                  <a:gd name="connsiteX13" fmla="*/ 198120 w 390525"/>
                  <a:gd name="connsiteY13" fmla="*/ 7144 h 390525"/>
                  <a:gd name="connsiteX14" fmla="*/ 198120 w 390525"/>
                  <a:gd name="connsiteY14" fmla="*/ 714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0525" h="390525">
                    <a:moveTo>
                      <a:pt x="198120" y="29051"/>
                    </a:moveTo>
                    <a:cubicBezTo>
                      <a:pt x="243269" y="29051"/>
                      <a:pt x="285750" y="46673"/>
                      <a:pt x="317659" y="78581"/>
                    </a:cubicBezTo>
                    <a:cubicBezTo>
                      <a:pt x="349567" y="110490"/>
                      <a:pt x="367189" y="152972"/>
                      <a:pt x="367189" y="198120"/>
                    </a:cubicBezTo>
                    <a:cubicBezTo>
                      <a:pt x="367189" y="243269"/>
                      <a:pt x="349567" y="285750"/>
                      <a:pt x="317659" y="317659"/>
                    </a:cubicBezTo>
                    <a:cubicBezTo>
                      <a:pt x="285750" y="349568"/>
                      <a:pt x="243269" y="367189"/>
                      <a:pt x="198120" y="367189"/>
                    </a:cubicBezTo>
                    <a:cubicBezTo>
                      <a:pt x="152972" y="367189"/>
                      <a:pt x="110490" y="349568"/>
                      <a:pt x="78581" y="317659"/>
                    </a:cubicBezTo>
                    <a:cubicBezTo>
                      <a:pt x="46673" y="285750"/>
                      <a:pt x="29051" y="243269"/>
                      <a:pt x="29051" y="198120"/>
                    </a:cubicBezTo>
                    <a:cubicBezTo>
                      <a:pt x="29051" y="152972"/>
                      <a:pt x="46673" y="110490"/>
                      <a:pt x="78581" y="78581"/>
                    </a:cubicBezTo>
                    <a:cubicBezTo>
                      <a:pt x="110490" y="46673"/>
                      <a:pt x="152972" y="29051"/>
                      <a:pt x="198120" y="29051"/>
                    </a:cubicBezTo>
                    <a:moveTo>
                      <a:pt x="198120" y="7144"/>
                    </a:moveTo>
                    <a:cubicBezTo>
                      <a:pt x="92678" y="7144"/>
                      <a:pt x="7144" y="92678"/>
                      <a:pt x="7144" y="198120"/>
                    </a:cubicBezTo>
                    <a:cubicBezTo>
                      <a:pt x="7144" y="303562"/>
                      <a:pt x="92678" y="389096"/>
                      <a:pt x="198120" y="389096"/>
                    </a:cubicBezTo>
                    <a:cubicBezTo>
                      <a:pt x="303562" y="389096"/>
                      <a:pt x="389096" y="303562"/>
                      <a:pt x="389096" y="198120"/>
                    </a:cubicBezTo>
                    <a:cubicBezTo>
                      <a:pt x="389096" y="92678"/>
                      <a:pt x="303562" y="7144"/>
                      <a:pt x="198120" y="7144"/>
                    </a:cubicBezTo>
                    <a:lnTo>
                      <a:pt x="198120" y="714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991" name="Freeform: Shape 3990">
                <a:extLst>
                  <a:ext uri="{FF2B5EF4-FFF2-40B4-BE49-F238E27FC236}">
                    <a16:creationId xmlns:a16="http://schemas.microsoft.com/office/drawing/2014/main" id="{B1831413-30F9-4D27-9F34-55F989FF8A85}"/>
                  </a:ext>
                </a:extLst>
              </p:cNvPr>
              <p:cNvSpPr/>
              <p:nvPr/>
            </p:nvSpPr>
            <p:spPr>
              <a:xfrm>
                <a:off x="2797857" y="3758820"/>
                <a:ext cx="57150" cy="57150"/>
              </a:xfrm>
              <a:custGeom>
                <a:avLst/>
                <a:gdLst>
                  <a:gd name="connsiteX0" fmla="*/ 57817 w 57150"/>
                  <a:gd name="connsiteY0" fmla="*/ 32480 h 57150"/>
                  <a:gd name="connsiteX1" fmla="*/ 32480 w 57150"/>
                  <a:gd name="connsiteY1" fmla="*/ 57817 h 57150"/>
                  <a:gd name="connsiteX2" fmla="*/ 7144 w 57150"/>
                  <a:gd name="connsiteY2" fmla="*/ 32480 h 57150"/>
                  <a:gd name="connsiteX3" fmla="*/ 32480 w 57150"/>
                  <a:gd name="connsiteY3" fmla="*/ 7144 h 57150"/>
                  <a:gd name="connsiteX4" fmla="*/ 57817 w 57150"/>
                  <a:gd name="connsiteY4" fmla="*/ 32480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57150">
                    <a:moveTo>
                      <a:pt x="57817" y="32480"/>
                    </a:moveTo>
                    <a:cubicBezTo>
                      <a:pt x="57817" y="46473"/>
                      <a:pt x="46473" y="57817"/>
                      <a:pt x="32480" y="57817"/>
                    </a:cubicBezTo>
                    <a:cubicBezTo>
                      <a:pt x="18487" y="57817"/>
                      <a:pt x="7144" y="46473"/>
                      <a:pt x="7144" y="32480"/>
                    </a:cubicBezTo>
                    <a:cubicBezTo>
                      <a:pt x="7144" y="18487"/>
                      <a:pt x="18487" y="7144"/>
                      <a:pt x="32480" y="7144"/>
                    </a:cubicBezTo>
                    <a:cubicBezTo>
                      <a:pt x="46473" y="7144"/>
                      <a:pt x="57817" y="18487"/>
                      <a:pt x="57817" y="324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992" name="Freeform: Shape 3991">
                <a:extLst>
                  <a:ext uri="{FF2B5EF4-FFF2-40B4-BE49-F238E27FC236}">
                    <a16:creationId xmlns:a16="http://schemas.microsoft.com/office/drawing/2014/main" id="{0B1D50A1-F757-4DE2-80B1-D41497A135F3}"/>
                  </a:ext>
                </a:extLst>
              </p:cNvPr>
              <p:cNvSpPr/>
              <p:nvPr/>
            </p:nvSpPr>
            <p:spPr>
              <a:xfrm>
                <a:off x="2767282" y="3823971"/>
                <a:ext cx="123825" cy="171450"/>
              </a:xfrm>
              <a:custGeom>
                <a:avLst/>
                <a:gdLst>
                  <a:gd name="connsiteX0" fmla="*/ 56769 w 123825"/>
                  <a:gd name="connsiteY0" fmla="*/ 121920 h 171450"/>
                  <a:gd name="connsiteX1" fmla="*/ 118681 w 123825"/>
                  <a:gd name="connsiteY1" fmla="*/ 56102 h 171450"/>
                  <a:gd name="connsiteX2" fmla="*/ 65246 w 123825"/>
                  <a:gd name="connsiteY2" fmla="*/ 7144 h 171450"/>
                  <a:gd name="connsiteX3" fmla="*/ 60769 w 123825"/>
                  <a:gd name="connsiteY3" fmla="*/ 7144 h 171450"/>
                  <a:gd name="connsiteX4" fmla="*/ 7144 w 123825"/>
                  <a:gd name="connsiteY4" fmla="*/ 60770 h 171450"/>
                  <a:gd name="connsiteX5" fmla="*/ 7144 w 123825"/>
                  <a:gd name="connsiteY5" fmla="*/ 144399 h 171450"/>
                  <a:gd name="connsiteX6" fmla="*/ 22193 w 123825"/>
                  <a:gd name="connsiteY6" fmla="*/ 151543 h 171450"/>
                  <a:gd name="connsiteX7" fmla="*/ 22193 w 123825"/>
                  <a:gd name="connsiteY7" fmla="*/ 172022 h 171450"/>
                  <a:gd name="connsiteX8" fmla="*/ 79819 w 123825"/>
                  <a:gd name="connsiteY8" fmla="*/ 172022 h 171450"/>
                  <a:gd name="connsiteX9" fmla="*/ 56769 w 123825"/>
                  <a:gd name="connsiteY9" fmla="*/ 12192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825" h="171450">
                    <a:moveTo>
                      <a:pt x="56769" y="121920"/>
                    </a:moveTo>
                    <a:cubicBezTo>
                      <a:pt x="56769" y="86868"/>
                      <a:pt x="84201" y="58198"/>
                      <a:pt x="118681" y="56102"/>
                    </a:cubicBezTo>
                    <a:cubicBezTo>
                      <a:pt x="116300" y="28670"/>
                      <a:pt x="93345" y="7144"/>
                      <a:pt x="65246" y="7144"/>
                    </a:cubicBezTo>
                    <a:lnTo>
                      <a:pt x="60769" y="7144"/>
                    </a:lnTo>
                    <a:cubicBezTo>
                      <a:pt x="31147" y="7144"/>
                      <a:pt x="7144" y="31147"/>
                      <a:pt x="7144" y="60770"/>
                    </a:cubicBezTo>
                    <a:lnTo>
                      <a:pt x="7144" y="144399"/>
                    </a:lnTo>
                    <a:lnTo>
                      <a:pt x="22193" y="151543"/>
                    </a:lnTo>
                    <a:lnTo>
                      <a:pt x="22193" y="172022"/>
                    </a:lnTo>
                    <a:lnTo>
                      <a:pt x="79819" y="172022"/>
                    </a:lnTo>
                    <a:cubicBezTo>
                      <a:pt x="65818" y="159830"/>
                      <a:pt x="56769" y="141923"/>
                      <a:pt x="56769" y="12192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70568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9694" y="875763"/>
            <a:ext cx="4699866" cy="1695987"/>
          </a:xfrm>
        </p:spPr>
        <p:txBody>
          <a:bodyPr/>
          <a:lstStyle/>
          <a:p>
            <a:br>
              <a:rPr lang="en-GB" sz="2400" dirty="0"/>
            </a:br>
            <a:br>
              <a:rPr lang="en-GB" sz="2400" dirty="0"/>
            </a:br>
            <a:br>
              <a:rPr lang="en-GB" sz="2400" dirty="0"/>
            </a:br>
            <a:endParaRPr lang="en-GB" b="0" dirty="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04BB8862-DD08-43B6-B320-5E8BA615F35D}"/>
              </a:ext>
            </a:extLst>
          </p:cNvPr>
          <p:cNvSpPr txBox="1">
            <a:spLocks/>
          </p:cNvSpPr>
          <p:nvPr/>
        </p:nvSpPr>
        <p:spPr>
          <a:xfrm>
            <a:off x="439694" y="1201715"/>
            <a:ext cx="3317755" cy="1594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4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br>
              <a:rPr lang="en-GB" sz="2400" dirty="0"/>
            </a:br>
            <a:r>
              <a:rPr lang="en-GB" sz="2800" dirty="0"/>
              <a:t>Brady Walker</a:t>
            </a:r>
            <a:endParaRPr lang="en-GB" sz="2800" b="0" dirty="0"/>
          </a:p>
          <a:p>
            <a:endParaRPr lang="en-GB" sz="2800" b="0" dirty="0"/>
          </a:p>
          <a:p>
            <a:r>
              <a:rPr lang="en-GB" sz="2800" b="0" dirty="0"/>
              <a:t>857-408-4927</a:t>
            </a:r>
          </a:p>
          <a:p>
            <a:r>
              <a:rPr lang="en-GB" sz="2800" b="0" dirty="0"/>
              <a:t>brwal@orsted.com</a:t>
            </a:r>
          </a:p>
          <a:p>
            <a:endParaRPr lang="en-GB" sz="2400" dirty="0"/>
          </a:p>
          <a:p>
            <a:br>
              <a:rPr lang="en-GB" sz="2400" dirty="0"/>
            </a:br>
            <a:endParaRPr lang="en-GB" b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0254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B8A5B-B722-4F5E-9708-8979DF6838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388704"/>
            <a:ext cx="8280000" cy="3420000"/>
          </a:xfrm>
        </p:spPr>
        <p:txBody>
          <a:bodyPr/>
          <a:lstStyle/>
          <a:p>
            <a:pPr marL="0" indent="0">
              <a:lnSpc>
                <a:spcPct val="96000"/>
              </a:lnSpc>
              <a:spcBef>
                <a:spcPts val="1800"/>
              </a:spcBef>
              <a:buNone/>
            </a:pPr>
            <a:r>
              <a:rPr lang="en-GB" sz="4000" b="1" dirty="0">
                <a:solidFill>
                  <a:srgbClr val="4099DA"/>
                </a:solidFill>
              </a:rPr>
              <a:t>Skipjack Wind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endParaRPr lang="en-GB" sz="800" b="1" dirty="0">
              <a:solidFill>
                <a:srgbClr val="4099DA"/>
              </a:solidFill>
            </a:endParaRPr>
          </a:p>
          <a:p>
            <a:pPr marL="571500" indent="-571500">
              <a:lnSpc>
                <a:spcPct val="96000"/>
              </a:lnSpc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4099DA"/>
                </a:solidFill>
              </a:rPr>
              <a:t>966 MW offshore wind farm. </a:t>
            </a:r>
          </a:p>
          <a:p>
            <a:pPr marL="571500" indent="-571500">
              <a:lnSpc>
                <a:spcPct val="96000"/>
              </a:lnSpc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4099DA"/>
                </a:solidFill>
              </a:rPr>
              <a:t>Will generate enough clean, renewable energy to power 300,000 homes in the region.</a:t>
            </a:r>
          </a:p>
          <a:p>
            <a:pPr marL="571500" indent="-571500">
              <a:lnSpc>
                <a:spcPct val="96000"/>
              </a:lnSpc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rgbClr val="4099DA"/>
                </a:solidFill>
              </a:rPr>
              <a:t>Scheduled to deliver power to the grid in 2026.</a:t>
            </a:r>
            <a:br>
              <a:rPr lang="en-GB" sz="1400" dirty="0">
                <a:solidFill>
                  <a:srgbClr val="4099DA"/>
                </a:solidFill>
              </a:rPr>
            </a:br>
            <a:endParaRPr lang="en-GB" dirty="0">
              <a:solidFill>
                <a:srgbClr val="4099DA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96FDC4-86A3-4D4C-B3D3-B9943B88865A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7299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57DFB696-4A84-6ADF-60F5-D2CC908EF1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</p:spPr>
        <p:txBody>
          <a:bodyPr/>
          <a:lstStyle/>
          <a:p>
            <a:r>
              <a:rPr lang="en-US" dirty="0"/>
              <a:t>BOEM Offshore Wind Leasing and Project Review</a:t>
            </a:r>
          </a:p>
        </p:txBody>
      </p:sp>
      <p:pic>
        <p:nvPicPr>
          <p:cNvPr id="3" name="Content Placeholder 2" descr="Timeline&#10;&#10;Description automatically generated">
            <a:extLst>
              <a:ext uri="{FF2B5EF4-FFF2-40B4-BE49-F238E27FC236}">
                <a16:creationId xmlns:a16="http://schemas.microsoft.com/office/drawing/2014/main" id="{07888F82-253D-4236-B63F-57EA5A4517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472" y="1029600"/>
            <a:ext cx="8047055" cy="3420000"/>
          </a:xfr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FD631DA-7BB8-4E63-8899-B8617FB5DB7E}"/>
              </a:ext>
            </a:extLst>
          </p:cNvPr>
          <p:cNvSpPr/>
          <p:nvPr/>
        </p:nvSpPr>
        <p:spPr>
          <a:xfrm>
            <a:off x="636814" y="1143000"/>
            <a:ext cx="2988129" cy="309018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6183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Map&#10;&#10;Description automatically generated with medium confidence">
            <a:extLst>
              <a:ext uri="{FF2B5EF4-FFF2-40B4-BE49-F238E27FC236}">
                <a16:creationId xmlns:a16="http://schemas.microsoft.com/office/drawing/2014/main" id="{43797F5D-9DC2-453B-B681-9B8DCC02B01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" r="20635"/>
          <a:stretch/>
        </p:blipFill>
        <p:spPr>
          <a:xfrm>
            <a:off x="1715068" y="0"/>
            <a:ext cx="571386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4442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57DFB696-4A84-6ADF-60F5-D2CC908EF1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</p:spPr>
        <p:txBody>
          <a:bodyPr/>
          <a:lstStyle/>
          <a:p>
            <a:r>
              <a:rPr lang="en-US" dirty="0"/>
              <a:t>Current Status—Skipjack Wind</a:t>
            </a:r>
          </a:p>
        </p:txBody>
      </p:sp>
      <p:pic>
        <p:nvPicPr>
          <p:cNvPr id="3" name="Content Placeholder 2" descr="Timeline&#10;&#10;Description automatically generated">
            <a:extLst>
              <a:ext uri="{FF2B5EF4-FFF2-40B4-BE49-F238E27FC236}">
                <a16:creationId xmlns:a16="http://schemas.microsoft.com/office/drawing/2014/main" id="{07888F82-253D-4236-B63F-57EA5A4517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472" y="1029600"/>
            <a:ext cx="8047055" cy="3420000"/>
          </a:xfrm>
          <a:noFill/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591168E-8025-439E-B75A-A28A996874E4}"/>
              </a:ext>
            </a:extLst>
          </p:cNvPr>
          <p:cNvSpPr/>
          <p:nvPr/>
        </p:nvSpPr>
        <p:spPr>
          <a:xfrm>
            <a:off x="4318907" y="2343150"/>
            <a:ext cx="1473654" cy="86541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0256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522CE44-FA8F-4B34-8E51-B69689B88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rvey Operations—Spring 2022</a:t>
            </a:r>
          </a:p>
        </p:txBody>
      </p:sp>
      <p:pic>
        <p:nvPicPr>
          <p:cNvPr id="3" name="Content Placeholder 2" descr="A picture containing sky, outdoor, water, boat&#10;&#10;Description automatically generated">
            <a:extLst>
              <a:ext uri="{FF2B5EF4-FFF2-40B4-BE49-F238E27FC236}">
                <a16:creationId xmlns:a16="http://schemas.microsoft.com/office/drawing/2014/main" id="{9DF4FAFC-A861-48ED-8909-3F7C0334EB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637437"/>
            <a:ext cx="3258213" cy="4002110"/>
          </a:xfrm>
        </p:spPr>
      </p:pic>
      <p:pic>
        <p:nvPicPr>
          <p:cNvPr id="9" name="Picture 1">
            <a:extLst>
              <a:ext uri="{FF2B5EF4-FFF2-40B4-BE49-F238E27FC236}">
                <a16:creationId xmlns:a16="http://schemas.microsoft.com/office/drawing/2014/main" id="{1353077C-624E-466E-8E1B-A6E394E5CD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734" y="759351"/>
            <a:ext cx="2648479" cy="1781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B5F309D-909B-457D-AAE2-6BEB777E4A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2726" y="2698030"/>
            <a:ext cx="2526493" cy="184408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6230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57DFB696-4A84-6ADF-60F5-D2CC908EF1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</p:spPr>
        <p:txBody>
          <a:bodyPr/>
          <a:lstStyle/>
          <a:p>
            <a:r>
              <a:rPr lang="en-US" dirty="0"/>
              <a:t>Project Review</a:t>
            </a:r>
            <a:br>
              <a:rPr lang="en-US" dirty="0"/>
            </a:br>
            <a:r>
              <a:rPr lang="en-US" sz="1600" b="0" dirty="0"/>
              <a:t>A public process involving federal, state, and local authorities and interests</a:t>
            </a:r>
          </a:p>
        </p:txBody>
      </p:sp>
      <p:pic>
        <p:nvPicPr>
          <p:cNvPr id="3" name="Content Placeholder 2" descr="Timeline&#10;&#10;Description automatically generated">
            <a:extLst>
              <a:ext uri="{FF2B5EF4-FFF2-40B4-BE49-F238E27FC236}">
                <a16:creationId xmlns:a16="http://schemas.microsoft.com/office/drawing/2014/main" id="{07888F82-253D-4236-B63F-57EA5A4517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472" y="1029600"/>
            <a:ext cx="8047055" cy="3420000"/>
          </a:xfrm>
          <a:noFill/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591168E-8025-439E-B75A-A28A996874E4}"/>
              </a:ext>
            </a:extLst>
          </p:cNvPr>
          <p:cNvSpPr/>
          <p:nvPr/>
        </p:nvSpPr>
        <p:spPr>
          <a:xfrm>
            <a:off x="5743575" y="1092423"/>
            <a:ext cx="2367643" cy="32943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91686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">
            <a:extLst>
              <a:ext uri="{FF2B5EF4-FFF2-40B4-BE49-F238E27FC236}">
                <a16:creationId xmlns:a16="http://schemas.microsoft.com/office/drawing/2014/main" id="{BA685822-2416-4316-95EA-7D6DDCE9A6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029600"/>
            <a:ext cx="8280000" cy="3420000"/>
          </a:xfrm>
        </p:spPr>
        <p:txBody>
          <a:bodyPr/>
          <a:lstStyle/>
          <a:p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6E1EF35F-6E36-4909-8E73-2CCC11433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</p:spPr>
        <p:txBody>
          <a:bodyPr/>
          <a:lstStyle/>
          <a:p>
            <a:r>
              <a:rPr lang="en-GB" dirty="0"/>
              <a:t>Skipjack Wind &amp; Delaware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30D1104-E80B-49A2-B139-9AEC7B30EA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8743" y="1070363"/>
            <a:ext cx="511511" cy="511511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9DCC13C-86F7-47E5-BA64-87429FE3E9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1994" y="2892006"/>
            <a:ext cx="489227" cy="48922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1FAFA749-DE7F-4790-AC17-E60E3A4FC8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1995" y="3800265"/>
            <a:ext cx="489226" cy="489226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2153FCD-697A-49BD-8CA4-09377A96ABB3}"/>
              </a:ext>
            </a:extLst>
          </p:cNvPr>
          <p:cNvSpPr/>
          <p:nvPr/>
        </p:nvSpPr>
        <p:spPr>
          <a:xfrm>
            <a:off x="1570382" y="1942793"/>
            <a:ext cx="6486939" cy="657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Skipjack Wind will generate enough renewable energy to power nearly 300,000 homes in the Delmarva region and will bring improvements to the existing electric grid infrastructure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DB1455B-FA20-4409-9E06-D080FC1C3A64}"/>
              </a:ext>
            </a:extLst>
          </p:cNvPr>
          <p:cNvSpPr/>
          <p:nvPr/>
        </p:nvSpPr>
        <p:spPr>
          <a:xfrm>
            <a:off x="1570382" y="1091438"/>
            <a:ext cx="6849165" cy="657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Construction and operation of Skipjack’s onshore infrastructure—including its grid interconnection facility—will bring significant investment to the Delaware electric grid, create jobs for Delawareans, and opportunities for Delaware businesses.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47D73C7-4C23-4D69-B24B-C905DD924FEA}"/>
              </a:ext>
            </a:extLst>
          </p:cNvPr>
          <p:cNvSpPr/>
          <p:nvPr/>
        </p:nvSpPr>
        <p:spPr>
          <a:xfrm>
            <a:off x="1570383" y="3810198"/>
            <a:ext cx="6486938" cy="4693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Ørsted is committed to investing in environmental research, restoration, preservation, education, and advocacy efforts.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0961626-4522-493C-ADA3-9AB04809D02A}"/>
              </a:ext>
            </a:extLst>
          </p:cNvPr>
          <p:cNvSpPr/>
          <p:nvPr/>
        </p:nvSpPr>
        <p:spPr>
          <a:xfrm>
            <a:off x="1570383" y="2901939"/>
            <a:ext cx="6486938" cy="4693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Once construction is complete, the wind farm will be open for recreational and commercial fishing as well as other marine activities.</a:t>
            </a:r>
          </a:p>
        </p:txBody>
      </p:sp>
      <p:grpSp>
        <p:nvGrpSpPr>
          <p:cNvPr id="34" name="Graphic 24">
            <a:extLst>
              <a:ext uri="{FF2B5EF4-FFF2-40B4-BE49-F238E27FC236}">
                <a16:creationId xmlns:a16="http://schemas.microsoft.com/office/drawing/2014/main" id="{E2382721-794F-4572-86AC-31179CD4D947}"/>
              </a:ext>
            </a:extLst>
          </p:cNvPr>
          <p:cNvGrpSpPr>
            <a:grpSpLocks noChangeAspect="1"/>
          </p:cNvGrpSpPr>
          <p:nvPr/>
        </p:nvGrpSpPr>
        <p:grpSpPr>
          <a:xfrm>
            <a:off x="439205" y="1984865"/>
            <a:ext cx="474804" cy="474804"/>
            <a:chOff x="1001564" y="2393860"/>
            <a:chExt cx="381952" cy="381952"/>
          </a:xfrm>
          <a:solidFill>
            <a:schemeClr val="accent3"/>
          </a:solidFill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04D4C1B-C2D6-46AE-B08F-38AF393CD0C4}"/>
                </a:ext>
              </a:extLst>
            </p:cNvPr>
            <p:cNvSpPr/>
            <p:nvPr/>
          </p:nvSpPr>
          <p:spPr>
            <a:xfrm>
              <a:off x="1001564" y="2393860"/>
              <a:ext cx="381952" cy="381952"/>
            </a:xfrm>
            <a:custGeom>
              <a:avLst/>
              <a:gdLst>
                <a:gd name="connsiteX0" fmla="*/ 190976 w 381952"/>
                <a:gd name="connsiteY0" fmla="*/ 0 h 381952"/>
                <a:gd name="connsiteX1" fmla="*/ 0 w 381952"/>
                <a:gd name="connsiteY1" fmla="*/ 190976 h 381952"/>
                <a:gd name="connsiteX2" fmla="*/ 190976 w 381952"/>
                <a:gd name="connsiteY2" fmla="*/ 381953 h 381952"/>
                <a:gd name="connsiteX3" fmla="*/ 381953 w 381952"/>
                <a:gd name="connsiteY3" fmla="*/ 190976 h 381952"/>
                <a:gd name="connsiteX4" fmla="*/ 190976 w 381952"/>
                <a:gd name="connsiteY4" fmla="*/ 0 h 381952"/>
                <a:gd name="connsiteX5" fmla="*/ 310515 w 381952"/>
                <a:gd name="connsiteY5" fmla="*/ 310515 h 381952"/>
                <a:gd name="connsiteX6" fmla="*/ 190976 w 381952"/>
                <a:gd name="connsiteY6" fmla="*/ 360045 h 381952"/>
                <a:gd name="connsiteX7" fmla="*/ 71438 w 381952"/>
                <a:gd name="connsiteY7" fmla="*/ 310515 h 381952"/>
                <a:gd name="connsiteX8" fmla="*/ 21907 w 381952"/>
                <a:gd name="connsiteY8" fmla="*/ 190976 h 381952"/>
                <a:gd name="connsiteX9" fmla="*/ 71438 w 381952"/>
                <a:gd name="connsiteY9" fmla="*/ 71438 h 381952"/>
                <a:gd name="connsiteX10" fmla="*/ 190976 w 381952"/>
                <a:gd name="connsiteY10" fmla="*/ 21908 h 381952"/>
                <a:gd name="connsiteX11" fmla="*/ 310515 w 381952"/>
                <a:gd name="connsiteY11" fmla="*/ 71438 h 381952"/>
                <a:gd name="connsiteX12" fmla="*/ 360045 w 381952"/>
                <a:gd name="connsiteY12" fmla="*/ 190976 h 381952"/>
                <a:gd name="connsiteX13" fmla="*/ 310515 w 381952"/>
                <a:gd name="connsiteY13" fmla="*/ 310515 h 381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81952" h="381952">
                  <a:moveTo>
                    <a:pt x="190976" y="0"/>
                  </a:moveTo>
                  <a:cubicBezTo>
                    <a:pt x="85534" y="0"/>
                    <a:pt x="0" y="85534"/>
                    <a:pt x="0" y="190976"/>
                  </a:cubicBezTo>
                  <a:cubicBezTo>
                    <a:pt x="0" y="296418"/>
                    <a:pt x="85534" y="381953"/>
                    <a:pt x="190976" y="381953"/>
                  </a:cubicBezTo>
                  <a:cubicBezTo>
                    <a:pt x="296418" y="381953"/>
                    <a:pt x="381953" y="296418"/>
                    <a:pt x="381953" y="190976"/>
                  </a:cubicBezTo>
                  <a:cubicBezTo>
                    <a:pt x="381953" y="85534"/>
                    <a:pt x="296418" y="0"/>
                    <a:pt x="190976" y="0"/>
                  </a:cubicBezTo>
                  <a:close/>
                  <a:moveTo>
                    <a:pt x="310515" y="310515"/>
                  </a:moveTo>
                  <a:cubicBezTo>
                    <a:pt x="278606" y="342424"/>
                    <a:pt x="236125" y="360045"/>
                    <a:pt x="190976" y="360045"/>
                  </a:cubicBezTo>
                  <a:cubicBezTo>
                    <a:pt x="145828" y="360045"/>
                    <a:pt x="103346" y="342424"/>
                    <a:pt x="71438" y="310515"/>
                  </a:cubicBezTo>
                  <a:cubicBezTo>
                    <a:pt x="39529" y="278606"/>
                    <a:pt x="21907" y="236125"/>
                    <a:pt x="21907" y="190976"/>
                  </a:cubicBezTo>
                  <a:cubicBezTo>
                    <a:pt x="21907" y="145828"/>
                    <a:pt x="39529" y="103346"/>
                    <a:pt x="71438" y="71438"/>
                  </a:cubicBezTo>
                  <a:cubicBezTo>
                    <a:pt x="103346" y="39529"/>
                    <a:pt x="145828" y="21908"/>
                    <a:pt x="190976" y="21908"/>
                  </a:cubicBezTo>
                  <a:cubicBezTo>
                    <a:pt x="236125" y="21908"/>
                    <a:pt x="278606" y="39529"/>
                    <a:pt x="310515" y="71438"/>
                  </a:cubicBezTo>
                  <a:cubicBezTo>
                    <a:pt x="342424" y="103346"/>
                    <a:pt x="360045" y="145828"/>
                    <a:pt x="360045" y="190976"/>
                  </a:cubicBezTo>
                  <a:cubicBezTo>
                    <a:pt x="360045" y="236125"/>
                    <a:pt x="342424" y="278606"/>
                    <a:pt x="310515" y="310515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6748739-7777-4B37-A982-85C43BAE1AD5}"/>
                </a:ext>
              </a:extLst>
            </p:cNvPr>
            <p:cNvSpPr/>
            <p:nvPr/>
          </p:nvSpPr>
          <p:spPr>
            <a:xfrm>
              <a:off x="1098719" y="2558928"/>
              <a:ext cx="188975" cy="121634"/>
            </a:xfrm>
            <a:custGeom>
              <a:avLst/>
              <a:gdLst>
                <a:gd name="connsiteX0" fmla="*/ 0 w 188975"/>
                <a:gd name="connsiteY0" fmla="*/ 121063 h 121634"/>
                <a:gd name="connsiteX1" fmla="*/ 188595 w 188975"/>
                <a:gd name="connsiteY1" fmla="*/ 121634 h 121634"/>
                <a:gd name="connsiteX2" fmla="*/ 188976 w 188975"/>
                <a:gd name="connsiteY2" fmla="*/ 571 h 121634"/>
                <a:gd name="connsiteX3" fmla="*/ 381 w 188975"/>
                <a:gd name="connsiteY3" fmla="*/ 0 h 121634"/>
                <a:gd name="connsiteX4" fmla="*/ 0 w 188975"/>
                <a:gd name="connsiteY4" fmla="*/ 121063 h 121634"/>
                <a:gd name="connsiteX5" fmla="*/ 81153 w 188975"/>
                <a:gd name="connsiteY5" fmla="*/ 30766 h 121634"/>
                <a:gd name="connsiteX6" fmla="*/ 109728 w 188975"/>
                <a:gd name="connsiteY6" fmla="*/ 30861 h 121634"/>
                <a:gd name="connsiteX7" fmla="*/ 98488 w 188975"/>
                <a:gd name="connsiteY7" fmla="*/ 53626 h 121634"/>
                <a:gd name="connsiteX8" fmla="*/ 118110 w 188975"/>
                <a:gd name="connsiteY8" fmla="*/ 53721 h 121634"/>
                <a:gd name="connsiteX9" fmla="*/ 92202 w 188975"/>
                <a:gd name="connsiteY9" fmla="*/ 95345 h 121634"/>
                <a:gd name="connsiteX10" fmla="*/ 92297 w 188975"/>
                <a:gd name="connsiteY10" fmla="*/ 66770 h 121634"/>
                <a:gd name="connsiteX11" fmla="*/ 72200 w 188975"/>
                <a:gd name="connsiteY11" fmla="*/ 66675 h 121634"/>
                <a:gd name="connsiteX12" fmla="*/ 81153 w 188975"/>
                <a:gd name="connsiteY12" fmla="*/ 30766 h 121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8975" h="121634">
                  <a:moveTo>
                    <a:pt x="0" y="121063"/>
                  </a:moveTo>
                  <a:lnTo>
                    <a:pt x="188595" y="121634"/>
                  </a:lnTo>
                  <a:lnTo>
                    <a:pt x="188976" y="571"/>
                  </a:lnTo>
                  <a:lnTo>
                    <a:pt x="381" y="0"/>
                  </a:lnTo>
                  <a:lnTo>
                    <a:pt x="0" y="121063"/>
                  </a:lnTo>
                  <a:close/>
                  <a:moveTo>
                    <a:pt x="81153" y="30766"/>
                  </a:moveTo>
                  <a:lnTo>
                    <a:pt x="109728" y="30861"/>
                  </a:lnTo>
                  <a:lnTo>
                    <a:pt x="98488" y="53626"/>
                  </a:lnTo>
                  <a:lnTo>
                    <a:pt x="118110" y="53721"/>
                  </a:lnTo>
                  <a:lnTo>
                    <a:pt x="92202" y="95345"/>
                  </a:lnTo>
                  <a:lnTo>
                    <a:pt x="92297" y="66770"/>
                  </a:lnTo>
                  <a:lnTo>
                    <a:pt x="72200" y="66675"/>
                  </a:lnTo>
                  <a:lnTo>
                    <a:pt x="81153" y="30766"/>
                  </a:ln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7981161-06B2-4AED-8609-1B08DAA31BB2}"/>
                </a:ext>
              </a:extLst>
            </p:cNvPr>
            <p:cNvSpPr/>
            <p:nvPr/>
          </p:nvSpPr>
          <p:spPr>
            <a:xfrm>
              <a:off x="1229879" y="2487014"/>
              <a:ext cx="58673" cy="58674"/>
            </a:xfrm>
            <a:custGeom>
              <a:avLst/>
              <a:gdLst>
                <a:gd name="connsiteX0" fmla="*/ 58674 w 58673"/>
                <a:gd name="connsiteY0" fmla="*/ 29337 h 58674"/>
                <a:gd name="connsiteX1" fmla="*/ 29337 w 58673"/>
                <a:gd name="connsiteY1" fmla="*/ 58674 h 58674"/>
                <a:gd name="connsiteX2" fmla="*/ 0 w 58673"/>
                <a:gd name="connsiteY2" fmla="*/ 29337 h 58674"/>
                <a:gd name="connsiteX3" fmla="*/ 29337 w 58673"/>
                <a:gd name="connsiteY3" fmla="*/ 0 h 58674"/>
                <a:gd name="connsiteX4" fmla="*/ 58674 w 58673"/>
                <a:gd name="connsiteY4" fmla="*/ 29337 h 5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673" h="58674">
                  <a:moveTo>
                    <a:pt x="58674" y="29337"/>
                  </a:moveTo>
                  <a:cubicBezTo>
                    <a:pt x="58674" y="45539"/>
                    <a:pt x="45539" y="58674"/>
                    <a:pt x="29337" y="58674"/>
                  </a:cubicBezTo>
                  <a:cubicBezTo>
                    <a:pt x="13135" y="58674"/>
                    <a:pt x="0" y="45539"/>
                    <a:pt x="0" y="29337"/>
                  </a:cubicBezTo>
                  <a:cubicBezTo>
                    <a:pt x="0" y="13135"/>
                    <a:pt x="13135" y="0"/>
                    <a:pt x="29337" y="0"/>
                  </a:cubicBezTo>
                  <a:cubicBezTo>
                    <a:pt x="45539" y="0"/>
                    <a:pt x="58674" y="13135"/>
                    <a:pt x="58674" y="29337"/>
                  </a:cubicBez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5244E66-446C-4A8C-BAA4-D4C2184ECA15}"/>
                </a:ext>
              </a:extLst>
            </p:cNvPr>
            <p:cNvSpPr/>
            <p:nvPr/>
          </p:nvSpPr>
          <p:spPr>
            <a:xfrm>
              <a:off x="1109959" y="2524638"/>
              <a:ext cx="38004" cy="19050"/>
            </a:xfrm>
            <a:custGeom>
              <a:avLst/>
              <a:gdLst>
                <a:gd name="connsiteX0" fmla="*/ 0 w 38004"/>
                <a:gd name="connsiteY0" fmla="*/ 0 h 19050"/>
                <a:gd name="connsiteX1" fmla="*/ 38005 w 38004"/>
                <a:gd name="connsiteY1" fmla="*/ 0 h 19050"/>
                <a:gd name="connsiteX2" fmla="*/ 38005 w 38004"/>
                <a:gd name="connsiteY2" fmla="*/ 19050 h 19050"/>
                <a:gd name="connsiteX3" fmla="*/ 0 w 38004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04" h="19050">
                  <a:moveTo>
                    <a:pt x="0" y="0"/>
                  </a:moveTo>
                  <a:lnTo>
                    <a:pt x="38005" y="0"/>
                  </a:lnTo>
                  <a:lnTo>
                    <a:pt x="38005" y="19050"/>
                  </a:lnTo>
                  <a:lnTo>
                    <a:pt x="0" y="19050"/>
                  </a:ln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6C8EC16-248E-4577-A6B8-73F1147BD4C4}"/>
                </a:ext>
              </a:extLst>
            </p:cNvPr>
            <p:cNvSpPr/>
            <p:nvPr/>
          </p:nvSpPr>
          <p:spPr>
            <a:xfrm>
              <a:off x="1109959" y="2489395"/>
              <a:ext cx="38004" cy="19050"/>
            </a:xfrm>
            <a:custGeom>
              <a:avLst/>
              <a:gdLst>
                <a:gd name="connsiteX0" fmla="*/ 0 w 38004"/>
                <a:gd name="connsiteY0" fmla="*/ 0 h 19050"/>
                <a:gd name="connsiteX1" fmla="*/ 38005 w 38004"/>
                <a:gd name="connsiteY1" fmla="*/ 0 h 19050"/>
                <a:gd name="connsiteX2" fmla="*/ 38005 w 38004"/>
                <a:gd name="connsiteY2" fmla="*/ 19050 h 19050"/>
                <a:gd name="connsiteX3" fmla="*/ 0 w 38004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04" h="19050">
                  <a:moveTo>
                    <a:pt x="0" y="0"/>
                  </a:moveTo>
                  <a:lnTo>
                    <a:pt x="38005" y="0"/>
                  </a:lnTo>
                  <a:lnTo>
                    <a:pt x="38005" y="19050"/>
                  </a:lnTo>
                  <a:lnTo>
                    <a:pt x="0" y="19050"/>
                  </a:ln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B183384-1DBF-44FE-B455-8E2BB011ACAB}"/>
                </a:ext>
              </a:extLst>
            </p:cNvPr>
            <p:cNvSpPr/>
            <p:nvPr/>
          </p:nvSpPr>
          <p:spPr>
            <a:xfrm>
              <a:off x="1164156" y="2524638"/>
              <a:ext cx="38004" cy="19050"/>
            </a:xfrm>
            <a:custGeom>
              <a:avLst/>
              <a:gdLst>
                <a:gd name="connsiteX0" fmla="*/ 0 w 38004"/>
                <a:gd name="connsiteY0" fmla="*/ 0 h 19050"/>
                <a:gd name="connsiteX1" fmla="*/ 38005 w 38004"/>
                <a:gd name="connsiteY1" fmla="*/ 0 h 19050"/>
                <a:gd name="connsiteX2" fmla="*/ 38005 w 38004"/>
                <a:gd name="connsiteY2" fmla="*/ 19050 h 19050"/>
                <a:gd name="connsiteX3" fmla="*/ 0 w 38004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04" h="19050">
                  <a:moveTo>
                    <a:pt x="0" y="0"/>
                  </a:moveTo>
                  <a:lnTo>
                    <a:pt x="38005" y="0"/>
                  </a:lnTo>
                  <a:lnTo>
                    <a:pt x="38005" y="19050"/>
                  </a:lnTo>
                  <a:lnTo>
                    <a:pt x="0" y="19050"/>
                  </a:ln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53989DF-E6F7-4947-9575-273583EB4784}"/>
                </a:ext>
              </a:extLst>
            </p:cNvPr>
            <p:cNvSpPr/>
            <p:nvPr/>
          </p:nvSpPr>
          <p:spPr>
            <a:xfrm>
              <a:off x="1164156" y="2489395"/>
              <a:ext cx="38004" cy="19050"/>
            </a:xfrm>
            <a:custGeom>
              <a:avLst/>
              <a:gdLst>
                <a:gd name="connsiteX0" fmla="*/ 0 w 38004"/>
                <a:gd name="connsiteY0" fmla="*/ 0 h 19050"/>
                <a:gd name="connsiteX1" fmla="*/ 38005 w 38004"/>
                <a:gd name="connsiteY1" fmla="*/ 0 h 19050"/>
                <a:gd name="connsiteX2" fmla="*/ 38005 w 38004"/>
                <a:gd name="connsiteY2" fmla="*/ 19050 h 19050"/>
                <a:gd name="connsiteX3" fmla="*/ 0 w 38004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04" h="19050">
                  <a:moveTo>
                    <a:pt x="0" y="0"/>
                  </a:moveTo>
                  <a:lnTo>
                    <a:pt x="38005" y="0"/>
                  </a:lnTo>
                  <a:lnTo>
                    <a:pt x="38005" y="19050"/>
                  </a:lnTo>
                  <a:lnTo>
                    <a:pt x="0" y="19050"/>
                  </a:lnTo>
                  <a:close/>
                </a:path>
              </a:pathLst>
            </a:cu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61834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55D4E7B-1FB5-480A-9D96-081F8814D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riner outreach philosophy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B91BACA-4BDC-4E97-AE5E-8966CBEBE78D}"/>
              </a:ext>
            </a:extLst>
          </p:cNvPr>
          <p:cNvSpPr>
            <a:spLocks noGrp="1"/>
          </p:cNvSpPr>
          <p:nvPr>
            <p:ph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94EADA-6F07-4B14-98EF-0F5E9E1272A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3C9738A-2F70-48E2-8C90-5862C7046C0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r>
              <a:rPr lang="en-GB"/>
              <a:t>as of August 2022</a:t>
            </a:r>
            <a:endParaRPr lang="en-GB" dirty="0"/>
          </a:p>
        </p:txBody>
      </p:sp>
      <p:sp>
        <p:nvSpPr>
          <p:cNvPr id="42" name="Text Placeholder logo">
            <a:extLst>
              <a:ext uri="{FF2B5EF4-FFF2-40B4-BE49-F238E27FC236}">
                <a16:creationId xmlns:a16="http://schemas.microsoft.com/office/drawing/2014/main" id="{2D8A8405-8AB4-465C-AF17-ADFA5D42C325}"/>
              </a:ext>
            </a:extLst>
          </p:cNvPr>
          <p:cNvSpPr txBox="1">
            <a:spLocks/>
          </p:cNvSpPr>
          <p:nvPr/>
        </p:nvSpPr>
        <p:spPr>
          <a:xfrm>
            <a:off x="8344800" y="4814424"/>
            <a:ext cx="367200" cy="1008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b" anchorCtr="0">
            <a:noAutofit/>
          </a:bodyPr>
          <a:lstStyle>
            <a:lvl1pPr marL="0" indent="0" algn="l" defTabSz="685804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00" b="0" kern="1200" baseline="0">
                <a:noFill/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 algn="l" defTabSz="685804" rtl="0" eaLnBrk="1" latinLnBrk="0" hangingPunct="1">
              <a:lnSpc>
                <a:spcPct val="95000"/>
              </a:lnSpc>
              <a:spcBef>
                <a:spcPts val="204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476" b="0" kern="120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 algn="l" defTabSz="685804" rtl="0" eaLnBrk="1" latinLnBrk="0" hangingPunct="1">
              <a:lnSpc>
                <a:spcPct val="95000"/>
              </a:lnSpc>
              <a:spcBef>
                <a:spcPts val="204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476" b="0" kern="120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 algn="l" defTabSz="685804" rtl="0" eaLnBrk="1" latinLnBrk="0" hangingPunct="1">
              <a:lnSpc>
                <a:spcPct val="95000"/>
              </a:lnSpc>
              <a:spcBef>
                <a:spcPts val="204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476" b="0" kern="120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 algn="l" defTabSz="685804" rtl="0" eaLnBrk="1" latinLnBrk="0" hangingPunct="1">
              <a:lnSpc>
                <a:spcPct val="95000"/>
              </a:lnSpc>
              <a:spcBef>
                <a:spcPts val="204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476" b="0" kern="120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GB" sz="1000" kern="1200" baseline="0" noProof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68580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124992F9-864D-472A-B3C4-CB9B9F134B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" y="200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124992F9-864D-472A-B3C4-CB9B9F134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" y="200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6BD2EDF4-C766-42A7-8DE0-DC420D8A6974}"/>
              </a:ext>
            </a:extLst>
          </p:cNvPr>
          <p:cNvGrpSpPr>
            <a:grpSpLocks noChangeAspect="1"/>
          </p:cNvGrpSpPr>
          <p:nvPr/>
        </p:nvGrpSpPr>
        <p:grpSpPr>
          <a:xfrm>
            <a:off x="445927" y="1114265"/>
            <a:ext cx="390525" cy="390525"/>
            <a:chOff x="2407256" y="1330124"/>
            <a:chExt cx="390525" cy="390525"/>
          </a:xfrm>
          <a:solidFill>
            <a:schemeClr val="bg1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99DFFCF-67EC-4B8A-B812-B2337AE0F5EB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5699FFB-234E-434F-A262-464BF5952492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649CF02-6C31-4ED7-9DF8-F9197BF113B7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49629BF-36A1-4992-AA2B-0F34EE952790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EE04011-14C4-4A8C-9DC1-84DAAF71B052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EF671EE-C630-4C20-B5D0-AD7ECF2FC474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73B4C21-049B-4B27-A319-DE4BCEFCD09A}"/>
                </a:ext>
              </a:extLst>
            </p:cNvPr>
            <p:cNvSpPr/>
            <p:nvPr/>
          </p:nvSpPr>
          <p:spPr>
            <a:xfrm>
              <a:off x="2407256" y="1330124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3E5AE2E-89F5-43D8-A1FF-0C6F633BDE7F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2423332-4955-4564-A62C-CC14668BCB2B}"/>
              </a:ext>
            </a:extLst>
          </p:cNvPr>
          <p:cNvGrpSpPr>
            <a:grpSpLocks noChangeAspect="1"/>
          </p:cNvGrpSpPr>
          <p:nvPr/>
        </p:nvGrpSpPr>
        <p:grpSpPr>
          <a:xfrm>
            <a:off x="447261" y="1742570"/>
            <a:ext cx="390525" cy="390525"/>
            <a:chOff x="656068" y="3197170"/>
            <a:chExt cx="390525" cy="390525"/>
          </a:xfrm>
          <a:solidFill>
            <a:schemeClr val="bg1"/>
          </a:solidFill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98DB160-326D-4F30-8B2C-707E61567499}"/>
                </a:ext>
              </a:extLst>
            </p:cNvPr>
            <p:cNvSpPr/>
            <p:nvPr/>
          </p:nvSpPr>
          <p:spPr>
            <a:xfrm>
              <a:off x="751414" y="3462537"/>
              <a:ext cx="200025" cy="38100"/>
            </a:xfrm>
            <a:custGeom>
              <a:avLst/>
              <a:gdLst>
                <a:gd name="connsiteX0" fmla="*/ 197930 w 200025"/>
                <a:gd name="connsiteY0" fmla="*/ 27241 h 38100"/>
                <a:gd name="connsiteX1" fmla="*/ 197930 w 200025"/>
                <a:gd name="connsiteY1" fmla="*/ 7144 h 38100"/>
                <a:gd name="connsiteX2" fmla="*/ 196025 w 200025"/>
                <a:gd name="connsiteY2" fmla="*/ 7429 h 38100"/>
                <a:gd name="connsiteX3" fmla="*/ 186118 w 200025"/>
                <a:gd name="connsiteY3" fmla="*/ 11430 h 38100"/>
                <a:gd name="connsiteX4" fmla="*/ 183356 w 200025"/>
                <a:gd name="connsiteY4" fmla="*/ 12764 h 38100"/>
                <a:gd name="connsiteX5" fmla="*/ 166497 w 200025"/>
                <a:gd name="connsiteY5" fmla="*/ 17335 h 38100"/>
                <a:gd name="connsiteX6" fmla="*/ 148971 w 200025"/>
                <a:gd name="connsiteY6" fmla="*/ 12002 h 38100"/>
                <a:gd name="connsiteX7" fmla="*/ 148495 w 200025"/>
                <a:gd name="connsiteY7" fmla="*/ 11716 h 38100"/>
                <a:gd name="connsiteX8" fmla="*/ 134969 w 200025"/>
                <a:gd name="connsiteY8" fmla="*/ 7620 h 38100"/>
                <a:gd name="connsiteX9" fmla="*/ 121444 w 200025"/>
                <a:gd name="connsiteY9" fmla="*/ 11716 h 38100"/>
                <a:gd name="connsiteX10" fmla="*/ 120967 w 200025"/>
                <a:gd name="connsiteY10" fmla="*/ 12002 h 38100"/>
                <a:gd name="connsiteX11" fmla="*/ 103537 w 200025"/>
                <a:gd name="connsiteY11" fmla="*/ 17335 h 38100"/>
                <a:gd name="connsiteX12" fmla="*/ 86011 w 200025"/>
                <a:gd name="connsiteY12" fmla="*/ 12002 h 38100"/>
                <a:gd name="connsiteX13" fmla="*/ 85534 w 200025"/>
                <a:gd name="connsiteY13" fmla="*/ 11716 h 38100"/>
                <a:gd name="connsiteX14" fmla="*/ 72009 w 200025"/>
                <a:gd name="connsiteY14" fmla="*/ 7620 h 38100"/>
                <a:gd name="connsiteX15" fmla="*/ 57531 w 200025"/>
                <a:gd name="connsiteY15" fmla="*/ 11525 h 38100"/>
                <a:gd name="connsiteX16" fmla="*/ 40100 w 200025"/>
                <a:gd name="connsiteY16" fmla="*/ 16859 h 38100"/>
                <a:gd name="connsiteX17" fmla="*/ 22574 w 200025"/>
                <a:gd name="connsiteY17" fmla="*/ 11525 h 38100"/>
                <a:gd name="connsiteX18" fmla="*/ 22098 w 200025"/>
                <a:gd name="connsiteY18" fmla="*/ 11240 h 38100"/>
                <a:gd name="connsiteX19" fmla="*/ 8763 w 200025"/>
                <a:gd name="connsiteY19" fmla="*/ 7144 h 38100"/>
                <a:gd name="connsiteX20" fmla="*/ 7144 w 200025"/>
                <a:gd name="connsiteY20" fmla="*/ 7144 h 38100"/>
                <a:gd name="connsiteX21" fmla="*/ 7144 w 200025"/>
                <a:gd name="connsiteY21" fmla="*/ 27146 h 38100"/>
                <a:gd name="connsiteX22" fmla="*/ 8763 w 200025"/>
                <a:gd name="connsiteY22" fmla="*/ 27146 h 38100"/>
                <a:gd name="connsiteX23" fmla="*/ 18383 w 200025"/>
                <a:gd name="connsiteY23" fmla="*/ 30575 h 38100"/>
                <a:gd name="connsiteX24" fmla="*/ 19717 w 200025"/>
                <a:gd name="connsiteY24" fmla="*/ 31337 h 38100"/>
                <a:gd name="connsiteX25" fmla="*/ 40005 w 200025"/>
                <a:gd name="connsiteY25" fmla="*/ 37338 h 38100"/>
                <a:gd name="connsiteX26" fmla="*/ 61532 w 200025"/>
                <a:gd name="connsiteY26" fmla="*/ 30670 h 38100"/>
                <a:gd name="connsiteX27" fmla="*/ 62008 w 200025"/>
                <a:gd name="connsiteY27" fmla="*/ 30385 h 38100"/>
                <a:gd name="connsiteX28" fmla="*/ 71914 w 200025"/>
                <a:gd name="connsiteY28" fmla="*/ 27241 h 38100"/>
                <a:gd name="connsiteX29" fmla="*/ 82296 w 200025"/>
                <a:gd name="connsiteY29" fmla="*/ 30670 h 38100"/>
                <a:gd name="connsiteX30" fmla="*/ 83534 w 200025"/>
                <a:gd name="connsiteY30" fmla="*/ 31337 h 38100"/>
                <a:gd name="connsiteX31" fmla="*/ 103823 w 200025"/>
                <a:gd name="connsiteY31" fmla="*/ 37338 h 38100"/>
                <a:gd name="connsiteX32" fmla="*/ 125349 w 200025"/>
                <a:gd name="connsiteY32" fmla="*/ 30670 h 38100"/>
                <a:gd name="connsiteX33" fmla="*/ 125825 w 200025"/>
                <a:gd name="connsiteY33" fmla="*/ 30385 h 38100"/>
                <a:gd name="connsiteX34" fmla="*/ 135731 w 200025"/>
                <a:gd name="connsiteY34" fmla="*/ 27241 h 38100"/>
                <a:gd name="connsiteX35" fmla="*/ 146114 w 200025"/>
                <a:gd name="connsiteY35" fmla="*/ 30670 h 38100"/>
                <a:gd name="connsiteX36" fmla="*/ 147352 w 200025"/>
                <a:gd name="connsiteY36" fmla="*/ 31337 h 38100"/>
                <a:gd name="connsiteX37" fmla="*/ 167640 w 200025"/>
                <a:gd name="connsiteY37" fmla="*/ 37338 h 38100"/>
                <a:gd name="connsiteX38" fmla="*/ 189262 w 200025"/>
                <a:gd name="connsiteY38" fmla="*/ 30575 h 38100"/>
                <a:gd name="connsiteX39" fmla="*/ 196310 w 200025"/>
                <a:gd name="connsiteY39" fmla="*/ 27432 h 38100"/>
                <a:gd name="connsiteX40" fmla="*/ 197930 w 200025"/>
                <a:gd name="connsiteY40" fmla="*/ 2724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97930" y="27241"/>
                  </a:moveTo>
                  <a:lnTo>
                    <a:pt x="197930" y="7144"/>
                  </a:lnTo>
                  <a:lnTo>
                    <a:pt x="196025" y="7429"/>
                  </a:lnTo>
                  <a:cubicBezTo>
                    <a:pt x="191738" y="8096"/>
                    <a:pt x="189071" y="9620"/>
                    <a:pt x="186118" y="11430"/>
                  </a:cubicBezTo>
                  <a:cubicBezTo>
                    <a:pt x="185166" y="11811"/>
                    <a:pt x="184309" y="12287"/>
                    <a:pt x="183356" y="12764"/>
                  </a:cubicBezTo>
                  <a:cubicBezTo>
                    <a:pt x="178784" y="15049"/>
                    <a:pt x="174117" y="17335"/>
                    <a:pt x="166497" y="17335"/>
                  </a:cubicBezTo>
                  <a:cubicBezTo>
                    <a:pt x="157543" y="17335"/>
                    <a:pt x="153067" y="14478"/>
                    <a:pt x="148971" y="12002"/>
                  </a:cubicBezTo>
                  <a:lnTo>
                    <a:pt x="148495" y="11716"/>
                  </a:lnTo>
                  <a:cubicBezTo>
                    <a:pt x="144971" y="9620"/>
                    <a:pt x="141637" y="7620"/>
                    <a:pt x="134969" y="7620"/>
                  </a:cubicBezTo>
                  <a:cubicBezTo>
                    <a:pt x="128302" y="7620"/>
                    <a:pt x="124968" y="9620"/>
                    <a:pt x="121444" y="11716"/>
                  </a:cubicBezTo>
                  <a:lnTo>
                    <a:pt x="120967" y="12002"/>
                  </a:lnTo>
                  <a:cubicBezTo>
                    <a:pt x="117157" y="14383"/>
                    <a:pt x="112490" y="17335"/>
                    <a:pt x="103537" y="17335"/>
                  </a:cubicBezTo>
                  <a:cubicBezTo>
                    <a:pt x="94583" y="17335"/>
                    <a:pt x="89821" y="14383"/>
                    <a:pt x="86011" y="12002"/>
                  </a:cubicBezTo>
                  <a:lnTo>
                    <a:pt x="85534" y="11716"/>
                  </a:lnTo>
                  <a:cubicBezTo>
                    <a:pt x="82010" y="9620"/>
                    <a:pt x="78677" y="7620"/>
                    <a:pt x="72009" y="7620"/>
                  </a:cubicBezTo>
                  <a:cubicBezTo>
                    <a:pt x="65151" y="7620"/>
                    <a:pt x="61627" y="9334"/>
                    <a:pt x="57531" y="11525"/>
                  </a:cubicBezTo>
                  <a:cubicBezTo>
                    <a:pt x="53721" y="13906"/>
                    <a:pt x="49054" y="16859"/>
                    <a:pt x="40100" y="16859"/>
                  </a:cubicBezTo>
                  <a:cubicBezTo>
                    <a:pt x="31147" y="16859"/>
                    <a:pt x="26479" y="13906"/>
                    <a:pt x="22574" y="11525"/>
                  </a:cubicBezTo>
                  <a:lnTo>
                    <a:pt x="22098" y="11240"/>
                  </a:lnTo>
                  <a:cubicBezTo>
                    <a:pt x="18574" y="9144"/>
                    <a:pt x="15240" y="7144"/>
                    <a:pt x="8763" y="7144"/>
                  </a:cubicBezTo>
                  <a:lnTo>
                    <a:pt x="7144" y="7144"/>
                  </a:lnTo>
                  <a:lnTo>
                    <a:pt x="7144" y="27146"/>
                  </a:lnTo>
                  <a:lnTo>
                    <a:pt x="8763" y="27146"/>
                  </a:lnTo>
                  <a:cubicBezTo>
                    <a:pt x="13049" y="27146"/>
                    <a:pt x="15240" y="28384"/>
                    <a:pt x="18383" y="30575"/>
                  </a:cubicBezTo>
                  <a:lnTo>
                    <a:pt x="19717" y="31337"/>
                  </a:lnTo>
                  <a:cubicBezTo>
                    <a:pt x="24003" y="33814"/>
                    <a:pt x="29908" y="37338"/>
                    <a:pt x="40005" y="37338"/>
                  </a:cubicBezTo>
                  <a:cubicBezTo>
                    <a:pt x="50578" y="37338"/>
                    <a:pt x="56483" y="34004"/>
                    <a:pt x="61532" y="30670"/>
                  </a:cubicBezTo>
                  <a:lnTo>
                    <a:pt x="62008" y="30385"/>
                  </a:lnTo>
                  <a:cubicBezTo>
                    <a:pt x="65151" y="28384"/>
                    <a:pt x="67056" y="27241"/>
                    <a:pt x="71914" y="27241"/>
                  </a:cubicBezTo>
                  <a:cubicBezTo>
                    <a:pt x="76771" y="27241"/>
                    <a:pt x="79248" y="28670"/>
                    <a:pt x="82296" y="30670"/>
                  </a:cubicBezTo>
                  <a:lnTo>
                    <a:pt x="83534" y="31337"/>
                  </a:lnTo>
                  <a:cubicBezTo>
                    <a:pt x="87820" y="33814"/>
                    <a:pt x="93726" y="37338"/>
                    <a:pt x="103823" y="37338"/>
                  </a:cubicBezTo>
                  <a:cubicBezTo>
                    <a:pt x="114395" y="37338"/>
                    <a:pt x="120301" y="34004"/>
                    <a:pt x="125349" y="30670"/>
                  </a:cubicBezTo>
                  <a:lnTo>
                    <a:pt x="125825" y="30385"/>
                  </a:lnTo>
                  <a:cubicBezTo>
                    <a:pt x="128968" y="28384"/>
                    <a:pt x="130874" y="27241"/>
                    <a:pt x="135731" y="27241"/>
                  </a:cubicBezTo>
                  <a:cubicBezTo>
                    <a:pt x="140589" y="27241"/>
                    <a:pt x="143066" y="28670"/>
                    <a:pt x="146114" y="30670"/>
                  </a:cubicBezTo>
                  <a:lnTo>
                    <a:pt x="147352" y="31337"/>
                  </a:lnTo>
                  <a:cubicBezTo>
                    <a:pt x="151638" y="33814"/>
                    <a:pt x="157543" y="37338"/>
                    <a:pt x="167640" y="37338"/>
                  </a:cubicBezTo>
                  <a:cubicBezTo>
                    <a:pt x="178213" y="37338"/>
                    <a:pt x="184118" y="34004"/>
                    <a:pt x="189262" y="30575"/>
                  </a:cubicBezTo>
                  <a:cubicBezTo>
                    <a:pt x="191834" y="28861"/>
                    <a:pt x="193453" y="27813"/>
                    <a:pt x="196310" y="27432"/>
                  </a:cubicBezTo>
                  <a:lnTo>
                    <a:pt x="197930" y="272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ACE252D-7260-4CDB-81AB-8A6A055AB1C1}"/>
                </a:ext>
              </a:extLst>
            </p:cNvPr>
            <p:cNvSpPr/>
            <p:nvPr/>
          </p:nvSpPr>
          <p:spPr>
            <a:xfrm>
              <a:off x="751414" y="3462537"/>
              <a:ext cx="200025" cy="38100"/>
            </a:xfrm>
            <a:custGeom>
              <a:avLst/>
              <a:gdLst>
                <a:gd name="connsiteX0" fmla="*/ 197930 w 200025"/>
                <a:gd name="connsiteY0" fmla="*/ 27241 h 38100"/>
                <a:gd name="connsiteX1" fmla="*/ 197930 w 200025"/>
                <a:gd name="connsiteY1" fmla="*/ 7144 h 38100"/>
                <a:gd name="connsiteX2" fmla="*/ 196025 w 200025"/>
                <a:gd name="connsiteY2" fmla="*/ 7429 h 38100"/>
                <a:gd name="connsiteX3" fmla="*/ 186118 w 200025"/>
                <a:gd name="connsiteY3" fmla="*/ 11430 h 38100"/>
                <a:gd name="connsiteX4" fmla="*/ 183356 w 200025"/>
                <a:gd name="connsiteY4" fmla="*/ 12764 h 38100"/>
                <a:gd name="connsiteX5" fmla="*/ 166497 w 200025"/>
                <a:gd name="connsiteY5" fmla="*/ 17335 h 38100"/>
                <a:gd name="connsiteX6" fmla="*/ 148971 w 200025"/>
                <a:gd name="connsiteY6" fmla="*/ 12002 h 38100"/>
                <a:gd name="connsiteX7" fmla="*/ 148495 w 200025"/>
                <a:gd name="connsiteY7" fmla="*/ 11716 h 38100"/>
                <a:gd name="connsiteX8" fmla="*/ 134969 w 200025"/>
                <a:gd name="connsiteY8" fmla="*/ 7620 h 38100"/>
                <a:gd name="connsiteX9" fmla="*/ 121444 w 200025"/>
                <a:gd name="connsiteY9" fmla="*/ 11716 h 38100"/>
                <a:gd name="connsiteX10" fmla="*/ 120967 w 200025"/>
                <a:gd name="connsiteY10" fmla="*/ 12002 h 38100"/>
                <a:gd name="connsiteX11" fmla="*/ 103537 w 200025"/>
                <a:gd name="connsiteY11" fmla="*/ 17335 h 38100"/>
                <a:gd name="connsiteX12" fmla="*/ 86011 w 200025"/>
                <a:gd name="connsiteY12" fmla="*/ 12002 h 38100"/>
                <a:gd name="connsiteX13" fmla="*/ 85534 w 200025"/>
                <a:gd name="connsiteY13" fmla="*/ 11716 h 38100"/>
                <a:gd name="connsiteX14" fmla="*/ 72009 w 200025"/>
                <a:gd name="connsiteY14" fmla="*/ 7620 h 38100"/>
                <a:gd name="connsiteX15" fmla="*/ 57531 w 200025"/>
                <a:gd name="connsiteY15" fmla="*/ 11525 h 38100"/>
                <a:gd name="connsiteX16" fmla="*/ 40100 w 200025"/>
                <a:gd name="connsiteY16" fmla="*/ 16859 h 38100"/>
                <a:gd name="connsiteX17" fmla="*/ 22574 w 200025"/>
                <a:gd name="connsiteY17" fmla="*/ 11525 h 38100"/>
                <a:gd name="connsiteX18" fmla="*/ 22098 w 200025"/>
                <a:gd name="connsiteY18" fmla="*/ 11240 h 38100"/>
                <a:gd name="connsiteX19" fmla="*/ 8763 w 200025"/>
                <a:gd name="connsiteY19" fmla="*/ 7144 h 38100"/>
                <a:gd name="connsiteX20" fmla="*/ 7144 w 200025"/>
                <a:gd name="connsiteY20" fmla="*/ 7144 h 38100"/>
                <a:gd name="connsiteX21" fmla="*/ 7144 w 200025"/>
                <a:gd name="connsiteY21" fmla="*/ 27146 h 38100"/>
                <a:gd name="connsiteX22" fmla="*/ 8763 w 200025"/>
                <a:gd name="connsiteY22" fmla="*/ 27146 h 38100"/>
                <a:gd name="connsiteX23" fmla="*/ 18383 w 200025"/>
                <a:gd name="connsiteY23" fmla="*/ 30575 h 38100"/>
                <a:gd name="connsiteX24" fmla="*/ 19717 w 200025"/>
                <a:gd name="connsiteY24" fmla="*/ 31337 h 38100"/>
                <a:gd name="connsiteX25" fmla="*/ 40005 w 200025"/>
                <a:gd name="connsiteY25" fmla="*/ 37338 h 38100"/>
                <a:gd name="connsiteX26" fmla="*/ 61532 w 200025"/>
                <a:gd name="connsiteY26" fmla="*/ 30670 h 38100"/>
                <a:gd name="connsiteX27" fmla="*/ 62008 w 200025"/>
                <a:gd name="connsiteY27" fmla="*/ 30385 h 38100"/>
                <a:gd name="connsiteX28" fmla="*/ 71914 w 200025"/>
                <a:gd name="connsiteY28" fmla="*/ 27241 h 38100"/>
                <a:gd name="connsiteX29" fmla="*/ 82296 w 200025"/>
                <a:gd name="connsiteY29" fmla="*/ 30670 h 38100"/>
                <a:gd name="connsiteX30" fmla="*/ 83534 w 200025"/>
                <a:gd name="connsiteY30" fmla="*/ 31337 h 38100"/>
                <a:gd name="connsiteX31" fmla="*/ 103823 w 200025"/>
                <a:gd name="connsiteY31" fmla="*/ 37338 h 38100"/>
                <a:gd name="connsiteX32" fmla="*/ 125349 w 200025"/>
                <a:gd name="connsiteY32" fmla="*/ 30670 h 38100"/>
                <a:gd name="connsiteX33" fmla="*/ 125825 w 200025"/>
                <a:gd name="connsiteY33" fmla="*/ 30385 h 38100"/>
                <a:gd name="connsiteX34" fmla="*/ 135731 w 200025"/>
                <a:gd name="connsiteY34" fmla="*/ 27241 h 38100"/>
                <a:gd name="connsiteX35" fmla="*/ 146114 w 200025"/>
                <a:gd name="connsiteY35" fmla="*/ 30670 h 38100"/>
                <a:gd name="connsiteX36" fmla="*/ 147352 w 200025"/>
                <a:gd name="connsiteY36" fmla="*/ 31337 h 38100"/>
                <a:gd name="connsiteX37" fmla="*/ 167640 w 200025"/>
                <a:gd name="connsiteY37" fmla="*/ 37338 h 38100"/>
                <a:gd name="connsiteX38" fmla="*/ 189262 w 200025"/>
                <a:gd name="connsiteY38" fmla="*/ 30575 h 38100"/>
                <a:gd name="connsiteX39" fmla="*/ 196310 w 200025"/>
                <a:gd name="connsiteY39" fmla="*/ 27432 h 38100"/>
                <a:gd name="connsiteX40" fmla="*/ 197930 w 200025"/>
                <a:gd name="connsiteY40" fmla="*/ 2724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97930" y="27241"/>
                  </a:moveTo>
                  <a:lnTo>
                    <a:pt x="197930" y="7144"/>
                  </a:lnTo>
                  <a:lnTo>
                    <a:pt x="196025" y="7429"/>
                  </a:lnTo>
                  <a:cubicBezTo>
                    <a:pt x="191738" y="8096"/>
                    <a:pt x="189071" y="9620"/>
                    <a:pt x="186118" y="11430"/>
                  </a:cubicBezTo>
                  <a:cubicBezTo>
                    <a:pt x="185166" y="11811"/>
                    <a:pt x="184309" y="12287"/>
                    <a:pt x="183356" y="12764"/>
                  </a:cubicBezTo>
                  <a:cubicBezTo>
                    <a:pt x="178784" y="15049"/>
                    <a:pt x="174117" y="17335"/>
                    <a:pt x="166497" y="17335"/>
                  </a:cubicBezTo>
                  <a:cubicBezTo>
                    <a:pt x="157543" y="17335"/>
                    <a:pt x="153067" y="14478"/>
                    <a:pt x="148971" y="12002"/>
                  </a:cubicBezTo>
                  <a:lnTo>
                    <a:pt x="148495" y="11716"/>
                  </a:lnTo>
                  <a:cubicBezTo>
                    <a:pt x="144971" y="9620"/>
                    <a:pt x="141637" y="7620"/>
                    <a:pt x="134969" y="7620"/>
                  </a:cubicBezTo>
                  <a:cubicBezTo>
                    <a:pt x="128302" y="7620"/>
                    <a:pt x="124968" y="9620"/>
                    <a:pt x="121444" y="11716"/>
                  </a:cubicBezTo>
                  <a:lnTo>
                    <a:pt x="120967" y="12002"/>
                  </a:lnTo>
                  <a:cubicBezTo>
                    <a:pt x="117157" y="14383"/>
                    <a:pt x="112490" y="17335"/>
                    <a:pt x="103537" y="17335"/>
                  </a:cubicBezTo>
                  <a:cubicBezTo>
                    <a:pt x="94583" y="17335"/>
                    <a:pt x="89821" y="14383"/>
                    <a:pt x="86011" y="12002"/>
                  </a:cubicBezTo>
                  <a:lnTo>
                    <a:pt x="85534" y="11716"/>
                  </a:lnTo>
                  <a:cubicBezTo>
                    <a:pt x="82010" y="9620"/>
                    <a:pt x="78677" y="7620"/>
                    <a:pt x="72009" y="7620"/>
                  </a:cubicBezTo>
                  <a:cubicBezTo>
                    <a:pt x="65151" y="7620"/>
                    <a:pt x="61627" y="9334"/>
                    <a:pt x="57531" y="11525"/>
                  </a:cubicBezTo>
                  <a:cubicBezTo>
                    <a:pt x="53721" y="13906"/>
                    <a:pt x="49054" y="16859"/>
                    <a:pt x="40100" y="16859"/>
                  </a:cubicBezTo>
                  <a:cubicBezTo>
                    <a:pt x="31147" y="16859"/>
                    <a:pt x="26479" y="13906"/>
                    <a:pt x="22574" y="11525"/>
                  </a:cubicBezTo>
                  <a:lnTo>
                    <a:pt x="22098" y="11240"/>
                  </a:lnTo>
                  <a:cubicBezTo>
                    <a:pt x="18574" y="9144"/>
                    <a:pt x="15240" y="7144"/>
                    <a:pt x="8763" y="7144"/>
                  </a:cubicBezTo>
                  <a:lnTo>
                    <a:pt x="7144" y="7144"/>
                  </a:lnTo>
                  <a:lnTo>
                    <a:pt x="7144" y="27146"/>
                  </a:lnTo>
                  <a:lnTo>
                    <a:pt x="8763" y="27146"/>
                  </a:lnTo>
                  <a:cubicBezTo>
                    <a:pt x="13049" y="27146"/>
                    <a:pt x="15240" y="28384"/>
                    <a:pt x="18383" y="30575"/>
                  </a:cubicBezTo>
                  <a:lnTo>
                    <a:pt x="19717" y="31337"/>
                  </a:lnTo>
                  <a:cubicBezTo>
                    <a:pt x="24003" y="33814"/>
                    <a:pt x="29908" y="37338"/>
                    <a:pt x="40005" y="37338"/>
                  </a:cubicBezTo>
                  <a:cubicBezTo>
                    <a:pt x="50578" y="37338"/>
                    <a:pt x="56483" y="34004"/>
                    <a:pt x="61532" y="30670"/>
                  </a:cubicBezTo>
                  <a:lnTo>
                    <a:pt x="62008" y="30385"/>
                  </a:lnTo>
                  <a:cubicBezTo>
                    <a:pt x="65151" y="28384"/>
                    <a:pt x="67056" y="27241"/>
                    <a:pt x="71914" y="27241"/>
                  </a:cubicBezTo>
                  <a:cubicBezTo>
                    <a:pt x="76771" y="27241"/>
                    <a:pt x="79248" y="28670"/>
                    <a:pt x="82296" y="30670"/>
                  </a:cubicBezTo>
                  <a:lnTo>
                    <a:pt x="83534" y="31337"/>
                  </a:lnTo>
                  <a:cubicBezTo>
                    <a:pt x="87820" y="33814"/>
                    <a:pt x="93726" y="37338"/>
                    <a:pt x="103823" y="37338"/>
                  </a:cubicBezTo>
                  <a:cubicBezTo>
                    <a:pt x="114395" y="37338"/>
                    <a:pt x="120301" y="34004"/>
                    <a:pt x="125349" y="30670"/>
                  </a:cubicBezTo>
                  <a:lnTo>
                    <a:pt x="125825" y="30385"/>
                  </a:lnTo>
                  <a:cubicBezTo>
                    <a:pt x="128968" y="28384"/>
                    <a:pt x="130874" y="27241"/>
                    <a:pt x="135731" y="27241"/>
                  </a:cubicBezTo>
                  <a:cubicBezTo>
                    <a:pt x="140589" y="27241"/>
                    <a:pt x="143066" y="28670"/>
                    <a:pt x="146114" y="30670"/>
                  </a:cubicBezTo>
                  <a:lnTo>
                    <a:pt x="147352" y="31337"/>
                  </a:lnTo>
                  <a:cubicBezTo>
                    <a:pt x="151638" y="33814"/>
                    <a:pt x="157543" y="37338"/>
                    <a:pt x="167640" y="37338"/>
                  </a:cubicBezTo>
                  <a:cubicBezTo>
                    <a:pt x="178213" y="37338"/>
                    <a:pt x="184118" y="34004"/>
                    <a:pt x="189262" y="30575"/>
                  </a:cubicBezTo>
                  <a:cubicBezTo>
                    <a:pt x="191834" y="28861"/>
                    <a:pt x="193453" y="27813"/>
                    <a:pt x="196310" y="27432"/>
                  </a:cubicBezTo>
                  <a:lnTo>
                    <a:pt x="197930" y="272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5D654BA-B447-4C90-A26D-F618EE1FB3EC}"/>
                </a:ext>
              </a:extLst>
            </p:cNvPr>
            <p:cNvSpPr/>
            <p:nvPr/>
          </p:nvSpPr>
          <p:spPr>
            <a:xfrm>
              <a:off x="788085" y="3271179"/>
              <a:ext cx="123825" cy="85725"/>
            </a:xfrm>
            <a:custGeom>
              <a:avLst/>
              <a:gdLst>
                <a:gd name="connsiteX0" fmla="*/ 125254 w 123825"/>
                <a:gd name="connsiteY0" fmla="*/ 62675 h 85725"/>
                <a:gd name="connsiteX1" fmla="*/ 121253 w 123825"/>
                <a:gd name="connsiteY1" fmla="*/ 23717 h 85725"/>
                <a:gd name="connsiteX2" fmla="*/ 88297 w 123825"/>
                <a:gd name="connsiteY2" fmla="*/ 23717 h 85725"/>
                <a:gd name="connsiteX3" fmla="*/ 88297 w 123825"/>
                <a:gd name="connsiteY3" fmla="*/ 14002 h 85725"/>
                <a:gd name="connsiteX4" fmla="*/ 81439 w 123825"/>
                <a:gd name="connsiteY4" fmla="*/ 7144 h 85725"/>
                <a:gd name="connsiteX5" fmla="*/ 50959 w 123825"/>
                <a:gd name="connsiteY5" fmla="*/ 7144 h 85725"/>
                <a:gd name="connsiteX6" fmla="*/ 44101 w 123825"/>
                <a:gd name="connsiteY6" fmla="*/ 14002 h 85725"/>
                <a:gd name="connsiteX7" fmla="*/ 44101 w 123825"/>
                <a:gd name="connsiteY7" fmla="*/ 23717 h 85725"/>
                <a:gd name="connsiteX8" fmla="*/ 11144 w 123825"/>
                <a:gd name="connsiteY8" fmla="*/ 23717 h 85725"/>
                <a:gd name="connsiteX9" fmla="*/ 7144 w 123825"/>
                <a:gd name="connsiteY9" fmla="*/ 62675 h 85725"/>
                <a:gd name="connsiteX10" fmla="*/ 25908 w 123825"/>
                <a:gd name="connsiteY10" fmla="*/ 62675 h 85725"/>
                <a:gd name="connsiteX11" fmla="*/ 25908 w 123825"/>
                <a:gd name="connsiteY11" fmla="*/ 85820 h 85725"/>
                <a:gd name="connsiteX12" fmla="*/ 48959 w 123825"/>
                <a:gd name="connsiteY12" fmla="*/ 77629 h 85725"/>
                <a:gd name="connsiteX13" fmla="*/ 66199 w 123825"/>
                <a:gd name="connsiteY13" fmla="*/ 74676 h 85725"/>
                <a:gd name="connsiteX14" fmla="*/ 83439 w 123825"/>
                <a:gd name="connsiteY14" fmla="*/ 77629 h 85725"/>
                <a:gd name="connsiteX15" fmla="*/ 106490 w 123825"/>
                <a:gd name="connsiteY15" fmla="*/ 85820 h 85725"/>
                <a:gd name="connsiteX16" fmla="*/ 106490 w 123825"/>
                <a:gd name="connsiteY16" fmla="*/ 62675 h 85725"/>
                <a:gd name="connsiteX17" fmla="*/ 125254 w 123825"/>
                <a:gd name="connsiteY17" fmla="*/ 6267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3825" h="85725">
                  <a:moveTo>
                    <a:pt x="125254" y="62675"/>
                  </a:moveTo>
                  <a:lnTo>
                    <a:pt x="121253" y="23717"/>
                  </a:lnTo>
                  <a:lnTo>
                    <a:pt x="88297" y="23717"/>
                  </a:lnTo>
                  <a:lnTo>
                    <a:pt x="88297" y="14002"/>
                  </a:lnTo>
                  <a:cubicBezTo>
                    <a:pt x="88297" y="10192"/>
                    <a:pt x="85249" y="7144"/>
                    <a:pt x="81439" y="7144"/>
                  </a:cubicBezTo>
                  <a:lnTo>
                    <a:pt x="50959" y="7144"/>
                  </a:lnTo>
                  <a:cubicBezTo>
                    <a:pt x="47149" y="7144"/>
                    <a:pt x="44101" y="10192"/>
                    <a:pt x="44101" y="14002"/>
                  </a:cubicBezTo>
                  <a:lnTo>
                    <a:pt x="44101" y="23717"/>
                  </a:lnTo>
                  <a:lnTo>
                    <a:pt x="11144" y="23717"/>
                  </a:lnTo>
                  <a:lnTo>
                    <a:pt x="7144" y="62675"/>
                  </a:lnTo>
                  <a:lnTo>
                    <a:pt x="25908" y="62675"/>
                  </a:lnTo>
                  <a:lnTo>
                    <a:pt x="25908" y="85820"/>
                  </a:lnTo>
                  <a:lnTo>
                    <a:pt x="48959" y="77629"/>
                  </a:lnTo>
                  <a:cubicBezTo>
                    <a:pt x="54578" y="75629"/>
                    <a:pt x="60389" y="74676"/>
                    <a:pt x="66199" y="74676"/>
                  </a:cubicBezTo>
                  <a:cubicBezTo>
                    <a:pt x="72104" y="74676"/>
                    <a:pt x="77915" y="75724"/>
                    <a:pt x="83439" y="77629"/>
                  </a:cubicBezTo>
                  <a:lnTo>
                    <a:pt x="106490" y="85820"/>
                  </a:lnTo>
                  <a:lnTo>
                    <a:pt x="106490" y="62675"/>
                  </a:lnTo>
                  <a:lnTo>
                    <a:pt x="125254" y="626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881639B-6D8E-471A-AF04-5B596576EA29}"/>
                </a:ext>
              </a:extLst>
            </p:cNvPr>
            <p:cNvSpPr/>
            <p:nvPr/>
          </p:nvSpPr>
          <p:spPr>
            <a:xfrm>
              <a:off x="772369" y="3354714"/>
              <a:ext cx="161925" cy="114300"/>
            </a:xfrm>
            <a:custGeom>
              <a:avLst/>
              <a:gdLst>
                <a:gd name="connsiteX0" fmla="*/ 135731 w 161925"/>
                <a:gd name="connsiteY0" fmla="*/ 105346 h 114300"/>
                <a:gd name="connsiteX1" fmla="*/ 156686 w 161925"/>
                <a:gd name="connsiteY1" fmla="*/ 31718 h 114300"/>
                <a:gd name="connsiteX2" fmla="*/ 93726 w 161925"/>
                <a:gd name="connsiteY2" fmla="*/ 9239 h 114300"/>
                <a:gd name="connsiteX3" fmla="*/ 81915 w 161925"/>
                <a:gd name="connsiteY3" fmla="*/ 7144 h 114300"/>
                <a:gd name="connsiteX4" fmla="*/ 70104 w 161925"/>
                <a:gd name="connsiteY4" fmla="*/ 9239 h 114300"/>
                <a:gd name="connsiteX5" fmla="*/ 7144 w 161925"/>
                <a:gd name="connsiteY5" fmla="*/ 31718 h 114300"/>
                <a:gd name="connsiteX6" fmla="*/ 28194 w 161925"/>
                <a:gd name="connsiteY6" fmla="*/ 105727 h 114300"/>
                <a:gd name="connsiteX7" fmla="*/ 28480 w 161925"/>
                <a:gd name="connsiteY7" fmla="*/ 105537 h 114300"/>
                <a:gd name="connsiteX8" fmla="*/ 28861 w 161925"/>
                <a:gd name="connsiteY8" fmla="*/ 105346 h 114300"/>
                <a:gd name="connsiteX9" fmla="*/ 29242 w 161925"/>
                <a:gd name="connsiteY9" fmla="*/ 105156 h 114300"/>
                <a:gd name="connsiteX10" fmla="*/ 51530 w 161925"/>
                <a:gd name="connsiteY10" fmla="*/ 99155 h 114300"/>
                <a:gd name="connsiteX11" fmla="*/ 73247 w 161925"/>
                <a:gd name="connsiteY11" fmla="*/ 105442 h 114300"/>
                <a:gd name="connsiteX12" fmla="*/ 73247 w 161925"/>
                <a:gd name="connsiteY12" fmla="*/ 105442 h 114300"/>
                <a:gd name="connsiteX13" fmla="*/ 73247 w 161925"/>
                <a:gd name="connsiteY13" fmla="*/ 105442 h 114300"/>
                <a:gd name="connsiteX14" fmla="*/ 73724 w 161925"/>
                <a:gd name="connsiteY14" fmla="*/ 105727 h 114300"/>
                <a:gd name="connsiteX15" fmla="*/ 73914 w 161925"/>
                <a:gd name="connsiteY15" fmla="*/ 105823 h 114300"/>
                <a:gd name="connsiteX16" fmla="*/ 74105 w 161925"/>
                <a:gd name="connsiteY16" fmla="*/ 105918 h 114300"/>
                <a:gd name="connsiteX17" fmla="*/ 82963 w 161925"/>
                <a:gd name="connsiteY17" fmla="*/ 108775 h 114300"/>
                <a:gd name="connsiteX18" fmla="*/ 91726 w 161925"/>
                <a:gd name="connsiteY18" fmla="*/ 105918 h 114300"/>
                <a:gd name="connsiteX19" fmla="*/ 91916 w 161925"/>
                <a:gd name="connsiteY19" fmla="*/ 105823 h 114300"/>
                <a:gd name="connsiteX20" fmla="*/ 92107 w 161925"/>
                <a:gd name="connsiteY20" fmla="*/ 105727 h 114300"/>
                <a:gd name="connsiteX21" fmla="*/ 92583 w 161925"/>
                <a:gd name="connsiteY21" fmla="*/ 105442 h 114300"/>
                <a:gd name="connsiteX22" fmla="*/ 92583 w 161925"/>
                <a:gd name="connsiteY22" fmla="*/ 105442 h 114300"/>
                <a:gd name="connsiteX23" fmla="*/ 92583 w 161925"/>
                <a:gd name="connsiteY23" fmla="*/ 105442 h 114300"/>
                <a:gd name="connsiteX24" fmla="*/ 114300 w 161925"/>
                <a:gd name="connsiteY24" fmla="*/ 99155 h 114300"/>
                <a:gd name="connsiteX25" fmla="*/ 135731 w 161925"/>
                <a:gd name="connsiteY25" fmla="*/ 105346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61925" h="114300">
                  <a:moveTo>
                    <a:pt x="135731" y="105346"/>
                  </a:moveTo>
                  <a:lnTo>
                    <a:pt x="156686" y="31718"/>
                  </a:lnTo>
                  <a:lnTo>
                    <a:pt x="93726" y="9239"/>
                  </a:lnTo>
                  <a:cubicBezTo>
                    <a:pt x="89916" y="7906"/>
                    <a:pt x="85915" y="7144"/>
                    <a:pt x="81915" y="7144"/>
                  </a:cubicBezTo>
                  <a:cubicBezTo>
                    <a:pt x="77914" y="7144"/>
                    <a:pt x="73914" y="7810"/>
                    <a:pt x="70104" y="9239"/>
                  </a:cubicBezTo>
                  <a:lnTo>
                    <a:pt x="7144" y="31718"/>
                  </a:lnTo>
                  <a:lnTo>
                    <a:pt x="28194" y="105727"/>
                  </a:lnTo>
                  <a:cubicBezTo>
                    <a:pt x="28289" y="105632"/>
                    <a:pt x="28384" y="105632"/>
                    <a:pt x="28480" y="105537"/>
                  </a:cubicBezTo>
                  <a:lnTo>
                    <a:pt x="28861" y="105346"/>
                  </a:lnTo>
                  <a:lnTo>
                    <a:pt x="29242" y="105156"/>
                  </a:lnTo>
                  <a:cubicBezTo>
                    <a:pt x="34385" y="102299"/>
                    <a:pt x="40862" y="99155"/>
                    <a:pt x="51530" y="99155"/>
                  </a:cubicBezTo>
                  <a:cubicBezTo>
                    <a:pt x="62579" y="99155"/>
                    <a:pt x="69056" y="102965"/>
                    <a:pt x="73247" y="105442"/>
                  </a:cubicBezTo>
                  <a:lnTo>
                    <a:pt x="73247" y="105442"/>
                  </a:lnTo>
                  <a:lnTo>
                    <a:pt x="73247" y="105442"/>
                  </a:lnTo>
                  <a:lnTo>
                    <a:pt x="73724" y="105727"/>
                  </a:lnTo>
                  <a:lnTo>
                    <a:pt x="73914" y="105823"/>
                  </a:lnTo>
                  <a:lnTo>
                    <a:pt x="74105" y="105918"/>
                  </a:lnTo>
                  <a:cubicBezTo>
                    <a:pt x="77152" y="107823"/>
                    <a:pt x="78676" y="108775"/>
                    <a:pt x="82963" y="108775"/>
                  </a:cubicBezTo>
                  <a:cubicBezTo>
                    <a:pt x="87249" y="108775"/>
                    <a:pt x="88773" y="107823"/>
                    <a:pt x="91726" y="105918"/>
                  </a:cubicBezTo>
                  <a:lnTo>
                    <a:pt x="91916" y="105823"/>
                  </a:lnTo>
                  <a:lnTo>
                    <a:pt x="92107" y="105727"/>
                  </a:lnTo>
                  <a:lnTo>
                    <a:pt x="92583" y="105442"/>
                  </a:lnTo>
                  <a:lnTo>
                    <a:pt x="92583" y="105442"/>
                  </a:lnTo>
                  <a:lnTo>
                    <a:pt x="92583" y="105442"/>
                  </a:lnTo>
                  <a:cubicBezTo>
                    <a:pt x="96869" y="102965"/>
                    <a:pt x="103251" y="99155"/>
                    <a:pt x="114300" y="99155"/>
                  </a:cubicBezTo>
                  <a:cubicBezTo>
                    <a:pt x="125063" y="99250"/>
                    <a:pt x="131445" y="102870"/>
                    <a:pt x="135731" y="1053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9EF2DE38-F534-4240-B197-0509F4B31522}"/>
                </a:ext>
              </a:extLst>
            </p:cNvPr>
            <p:cNvSpPr/>
            <p:nvPr/>
          </p:nvSpPr>
          <p:spPr>
            <a:xfrm>
              <a:off x="656068" y="3197170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1B8573CD-2597-49F8-B6D2-302794E59A91}"/>
              </a:ext>
            </a:extLst>
          </p:cNvPr>
          <p:cNvGrpSpPr>
            <a:grpSpLocks noChangeAspect="1"/>
          </p:cNvGrpSpPr>
          <p:nvPr/>
        </p:nvGrpSpPr>
        <p:grpSpPr>
          <a:xfrm>
            <a:off x="447261" y="2349836"/>
            <a:ext cx="390525" cy="390525"/>
            <a:chOff x="3372944" y="3005634"/>
            <a:chExt cx="390525" cy="390525"/>
          </a:xfrm>
          <a:solidFill>
            <a:schemeClr val="bg1"/>
          </a:solidFill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FC99E587-1262-43D1-8E23-B8E35A67960B}"/>
                </a:ext>
              </a:extLst>
            </p:cNvPr>
            <p:cNvSpPr/>
            <p:nvPr/>
          </p:nvSpPr>
          <p:spPr>
            <a:xfrm>
              <a:off x="3466575" y="3093169"/>
              <a:ext cx="219075" cy="219075"/>
            </a:xfrm>
            <a:custGeom>
              <a:avLst/>
              <a:gdLst>
                <a:gd name="connsiteX0" fmla="*/ 65722 w 219075"/>
                <a:gd name="connsiteY0" fmla="*/ 7144 h 219075"/>
                <a:gd name="connsiteX1" fmla="*/ 65722 w 219075"/>
                <a:gd name="connsiteY1" fmla="*/ 51054 h 219075"/>
                <a:gd name="connsiteX2" fmla="*/ 7144 w 219075"/>
                <a:gd name="connsiteY2" fmla="*/ 110490 h 219075"/>
                <a:gd name="connsiteX3" fmla="*/ 65722 w 219075"/>
                <a:gd name="connsiteY3" fmla="*/ 169926 h 219075"/>
                <a:gd name="connsiteX4" fmla="*/ 65722 w 219075"/>
                <a:gd name="connsiteY4" fmla="*/ 213836 h 219075"/>
                <a:gd name="connsiteX5" fmla="*/ 211931 w 219075"/>
                <a:gd name="connsiteY5" fmla="*/ 213836 h 219075"/>
                <a:gd name="connsiteX6" fmla="*/ 211931 w 219075"/>
                <a:gd name="connsiteY6" fmla="*/ 7334 h 219075"/>
                <a:gd name="connsiteX7" fmla="*/ 65722 w 219075"/>
                <a:gd name="connsiteY7" fmla="*/ 7144 h 219075"/>
                <a:gd name="connsiteX8" fmla="*/ 26194 w 219075"/>
                <a:gd name="connsiteY8" fmla="*/ 110585 h 219075"/>
                <a:gd name="connsiteX9" fmla="*/ 66580 w 219075"/>
                <a:gd name="connsiteY9" fmla="*/ 70199 h 219075"/>
                <a:gd name="connsiteX10" fmla="*/ 106966 w 219075"/>
                <a:gd name="connsiteY10" fmla="*/ 110585 h 219075"/>
                <a:gd name="connsiteX11" fmla="*/ 66580 w 219075"/>
                <a:gd name="connsiteY11" fmla="*/ 150971 h 219075"/>
                <a:gd name="connsiteX12" fmla="*/ 26194 w 219075"/>
                <a:gd name="connsiteY12" fmla="*/ 110585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9075" h="219075">
                  <a:moveTo>
                    <a:pt x="65722" y="7144"/>
                  </a:moveTo>
                  <a:lnTo>
                    <a:pt x="65722" y="51054"/>
                  </a:lnTo>
                  <a:cubicBezTo>
                    <a:pt x="33338" y="51530"/>
                    <a:pt x="7144" y="77915"/>
                    <a:pt x="7144" y="110490"/>
                  </a:cubicBezTo>
                  <a:cubicBezTo>
                    <a:pt x="7144" y="143066"/>
                    <a:pt x="33338" y="169450"/>
                    <a:pt x="65722" y="169926"/>
                  </a:cubicBezTo>
                  <a:lnTo>
                    <a:pt x="65722" y="213836"/>
                  </a:lnTo>
                  <a:lnTo>
                    <a:pt x="211931" y="213836"/>
                  </a:lnTo>
                  <a:lnTo>
                    <a:pt x="211931" y="7334"/>
                  </a:lnTo>
                  <a:lnTo>
                    <a:pt x="65722" y="7144"/>
                  </a:lnTo>
                  <a:close/>
                  <a:moveTo>
                    <a:pt x="26194" y="110585"/>
                  </a:moveTo>
                  <a:cubicBezTo>
                    <a:pt x="26194" y="88297"/>
                    <a:pt x="44291" y="70199"/>
                    <a:pt x="66580" y="70199"/>
                  </a:cubicBezTo>
                  <a:cubicBezTo>
                    <a:pt x="88868" y="70199"/>
                    <a:pt x="106966" y="88297"/>
                    <a:pt x="106966" y="110585"/>
                  </a:cubicBezTo>
                  <a:cubicBezTo>
                    <a:pt x="106966" y="132874"/>
                    <a:pt x="88868" y="150971"/>
                    <a:pt x="66580" y="150971"/>
                  </a:cubicBezTo>
                  <a:cubicBezTo>
                    <a:pt x="44291" y="150971"/>
                    <a:pt x="26194" y="132874"/>
                    <a:pt x="26194" y="1105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C08CA16-9B89-45D8-8BE7-6BE3E455BF51}"/>
                </a:ext>
              </a:extLst>
            </p:cNvPr>
            <p:cNvSpPr/>
            <p:nvPr/>
          </p:nvSpPr>
          <p:spPr>
            <a:xfrm>
              <a:off x="3435095" y="3241569"/>
              <a:ext cx="57150" cy="57150"/>
            </a:xfrm>
            <a:custGeom>
              <a:avLst/>
              <a:gdLst>
                <a:gd name="connsiteX0" fmla="*/ 37290 w 57150"/>
                <a:gd name="connsiteY0" fmla="*/ 7144 h 57150"/>
                <a:gd name="connsiteX1" fmla="*/ 10430 w 57150"/>
                <a:gd name="connsiteY1" fmla="*/ 34004 h 57150"/>
                <a:gd name="connsiteX2" fmla="*/ 10430 w 57150"/>
                <a:gd name="connsiteY2" fmla="*/ 49816 h 57150"/>
                <a:gd name="connsiteX3" fmla="*/ 26241 w 57150"/>
                <a:gd name="connsiteY3" fmla="*/ 49816 h 57150"/>
                <a:gd name="connsiteX4" fmla="*/ 53102 w 57150"/>
                <a:gd name="connsiteY4" fmla="*/ 22955 h 57150"/>
                <a:gd name="connsiteX5" fmla="*/ 37290 w 57150"/>
                <a:gd name="connsiteY5" fmla="*/ 7144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57150">
                  <a:moveTo>
                    <a:pt x="37290" y="7144"/>
                  </a:moveTo>
                  <a:lnTo>
                    <a:pt x="10430" y="34004"/>
                  </a:lnTo>
                  <a:cubicBezTo>
                    <a:pt x="6048" y="38386"/>
                    <a:pt x="6048" y="45434"/>
                    <a:pt x="10430" y="49816"/>
                  </a:cubicBezTo>
                  <a:cubicBezTo>
                    <a:pt x="14811" y="54197"/>
                    <a:pt x="21860" y="54197"/>
                    <a:pt x="26241" y="49816"/>
                  </a:cubicBezTo>
                  <a:lnTo>
                    <a:pt x="53102" y="22955"/>
                  </a:lnTo>
                  <a:cubicBezTo>
                    <a:pt x="47101" y="18478"/>
                    <a:pt x="41767" y="13144"/>
                    <a:pt x="37290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8363F506-B194-451A-B110-8D5E1888FD49}"/>
                </a:ext>
              </a:extLst>
            </p:cNvPr>
            <p:cNvSpPr/>
            <p:nvPr/>
          </p:nvSpPr>
          <p:spPr>
            <a:xfrm>
              <a:off x="3372944" y="3005634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657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5266741-2199-4BDD-8A76-9C40CCCBBB9A}"/>
              </a:ext>
            </a:extLst>
          </p:cNvPr>
          <p:cNvGrpSpPr>
            <a:grpSpLocks noChangeAspect="1"/>
          </p:cNvGrpSpPr>
          <p:nvPr/>
        </p:nvGrpSpPr>
        <p:grpSpPr>
          <a:xfrm>
            <a:off x="447261" y="2902858"/>
            <a:ext cx="390525" cy="390525"/>
            <a:chOff x="6774560" y="2375154"/>
            <a:chExt cx="390525" cy="390525"/>
          </a:xfrm>
          <a:solidFill>
            <a:schemeClr val="bg1"/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62AE0FA-72BD-4DBC-9166-117BCD4C9B78}"/>
                </a:ext>
              </a:extLst>
            </p:cNvPr>
            <p:cNvSpPr/>
            <p:nvPr/>
          </p:nvSpPr>
          <p:spPr>
            <a:xfrm>
              <a:off x="6774560" y="2375154"/>
              <a:ext cx="390525" cy="390525"/>
            </a:xfrm>
            <a:custGeom>
              <a:avLst/>
              <a:gdLst>
                <a:gd name="connsiteX0" fmla="*/ 198120 w 390525"/>
                <a:gd name="connsiteY0" fmla="*/ 7144 h 390525"/>
                <a:gd name="connsiteX1" fmla="*/ 7144 w 390525"/>
                <a:gd name="connsiteY1" fmla="*/ 198120 h 390525"/>
                <a:gd name="connsiteX2" fmla="*/ 198120 w 390525"/>
                <a:gd name="connsiteY2" fmla="*/ 389096 h 390525"/>
                <a:gd name="connsiteX3" fmla="*/ 389097 w 390525"/>
                <a:gd name="connsiteY3" fmla="*/ 198120 h 390525"/>
                <a:gd name="connsiteX4" fmla="*/ 198120 w 390525"/>
                <a:gd name="connsiteY4" fmla="*/ 7144 h 390525"/>
                <a:gd name="connsiteX5" fmla="*/ 317659 w 390525"/>
                <a:gd name="connsiteY5" fmla="*/ 317659 h 390525"/>
                <a:gd name="connsiteX6" fmla="*/ 198120 w 390525"/>
                <a:gd name="connsiteY6" fmla="*/ 367189 h 390525"/>
                <a:gd name="connsiteX7" fmla="*/ 78581 w 390525"/>
                <a:gd name="connsiteY7" fmla="*/ 317659 h 390525"/>
                <a:gd name="connsiteX8" fmla="*/ 29051 w 390525"/>
                <a:gd name="connsiteY8" fmla="*/ 198120 h 390525"/>
                <a:gd name="connsiteX9" fmla="*/ 78581 w 390525"/>
                <a:gd name="connsiteY9" fmla="*/ 78581 h 390525"/>
                <a:gd name="connsiteX10" fmla="*/ 198120 w 390525"/>
                <a:gd name="connsiteY10" fmla="*/ 29051 h 390525"/>
                <a:gd name="connsiteX11" fmla="*/ 317659 w 390525"/>
                <a:gd name="connsiteY11" fmla="*/ 78581 h 390525"/>
                <a:gd name="connsiteX12" fmla="*/ 367189 w 390525"/>
                <a:gd name="connsiteY12" fmla="*/ 198120 h 390525"/>
                <a:gd name="connsiteX13" fmla="*/ 317659 w 390525"/>
                <a:gd name="connsiteY13" fmla="*/ 317659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0525" h="390525"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7" y="303562"/>
                    <a:pt x="389097" y="198120"/>
                  </a:cubicBezTo>
                  <a:cubicBezTo>
                    <a:pt x="389097" y="92678"/>
                    <a:pt x="303562" y="7144"/>
                    <a:pt x="198120" y="7144"/>
                  </a:cubicBezTo>
                  <a:close/>
                  <a:moveTo>
                    <a:pt x="317659" y="317659"/>
                  </a:move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33D4691-EB34-49DD-9D2B-E9794C32B07E}"/>
                </a:ext>
              </a:extLst>
            </p:cNvPr>
            <p:cNvSpPr/>
            <p:nvPr/>
          </p:nvSpPr>
          <p:spPr>
            <a:xfrm>
              <a:off x="6861143" y="2499169"/>
              <a:ext cx="85725" cy="123825"/>
            </a:xfrm>
            <a:custGeom>
              <a:avLst/>
              <a:gdLst>
                <a:gd name="connsiteX0" fmla="*/ 73628 w 85725"/>
                <a:gd name="connsiteY0" fmla="*/ 120110 h 123825"/>
                <a:gd name="connsiteX1" fmla="*/ 73628 w 85725"/>
                <a:gd name="connsiteY1" fmla="*/ 106013 h 123825"/>
                <a:gd name="connsiteX2" fmla="*/ 83725 w 85725"/>
                <a:gd name="connsiteY2" fmla="*/ 101251 h 123825"/>
                <a:gd name="connsiteX3" fmla="*/ 83725 w 85725"/>
                <a:gd name="connsiteY3" fmla="*/ 43910 h 123825"/>
                <a:gd name="connsiteX4" fmla="*/ 46958 w 85725"/>
                <a:gd name="connsiteY4" fmla="*/ 7144 h 123825"/>
                <a:gd name="connsiteX5" fmla="*/ 43910 w 85725"/>
                <a:gd name="connsiteY5" fmla="*/ 7144 h 123825"/>
                <a:gd name="connsiteX6" fmla="*/ 7144 w 85725"/>
                <a:gd name="connsiteY6" fmla="*/ 43910 h 123825"/>
                <a:gd name="connsiteX7" fmla="*/ 7144 w 85725"/>
                <a:gd name="connsiteY7" fmla="*/ 101251 h 123825"/>
                <a:gd name="connsiteX8" fmla="*/ 17526 w 85725"/>
                <a:gd name="connsiteY8" fmla="*/ 106109 h 123825"/>
                <a:gd name="connsiteX9" fmla="*/ 17526 w 85725"/>
                <a:gd name="connsiteY9" fmla="*/ 120110 h 123825"/>
                <a:gd name="connsiteX10" fmla="*/ 73628 w 85725"/>
                <a:gd name="connsiteY10" fmla="*/ 12011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25" h="123825">
                  <a:moveTo>
                    <a:pt x="73628" y="120110"/>
                  </a:moveTo>
                  <a:lnTo>
                    <a:pt x="73628" y="106013"/>
                  </a:lnTo>
                  <a:lnTo>
                    <a:pt x="83725" y="101251"/>
                  </a:lnTo>
                  <a:lnTo>
                    <a:pt x="83725" y="43910"/>
                  </a:lnTo>
                  <a:cubicBezTo>
                    <a:pt x="83725" y="23622"/>
                    <a:pt x="67246" y="7144"/>
                    <a:pt x="46958" y="7144"/>
                  </a:cubicBezTo>
                  <a:lnTo>
                    <a:pt x="43910" y="7144"/>
                  </a:lnTo>
                  <a:cubicBezTo>
                    <a:pt x="23622" y="7144"/>
                    <a:pt x="7144" y="23622"/>
                    <a:pt x="7144" y="43910"/>
                  </a:cubicBezTo>
                  <a:lnTo>
                    <a:pt x="7144" y="101251"/>
                  </a:lnTo>
                  <a:lnTo>
                    <a:pt x="17526" y="106109"/>
                  </a:lnTo>
                  <a:lnTo>
                    <a:pt x="17526" y="120110"/>
                  </a:lnTo>
                  <a:lnTo>
                    <a:pt x="73628" y="1201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74CA0BF1-DC84-4E82-8CDC-1F2FB570628F}"/>
                </a:ext>
              </a:extLst>
            </p:cNvPr>
            <p:cNvSpPr/>
            <p:nvPr/>
          </p:nvSpPr>
          <p:spPr>
            <a:xfrm>
              <a:off x="6882098" y="2454497"/>
              <a:ext cx="47625" cy="47625"/>
            </a:xfrm>
            <a:custGeom>
              <a:avLst/>
              <a:gdLst>
                <a:gd name="connsiteX0" fmla="*/ 41815 w 47625"/>
                <a:gd name="connsiteY0" fmla="*/ 24479 h 47625"/>
                <a:gd name="connsiteX1" fmla="*/ 24479 w 47625"/>
                <a:gd name="connsiteY1" fmla="*/ 41815 h 47625"/>
                <a:gd name="connsiteX2" fmla="*/ 7143 w 47625"/>
                <a:gd name="connsiteY2" fmla="*/ 24479 h 47625"/>
                <a:gd name="connsiteX3" fmla="*/ 24479 w 47625"/>
                <a:gd name="connsiteY3" fmla="*/ 7144 h 47625"/>
                <a:gd name="connsiteX4" fmla="*/ 41815 w 47625"/>
                <a:gd name="connsiteY4" fmla="*/ 2447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1815" y="24479"/>
                  </a:moveTo>
                  <a:cubicBezTo>
                    <a:pt x="41815" y="34053"/>
                    <a:pt x="34053" y="41815"/>
                    <a:pt x="24479" y="41815"/>
                  </a:cubicBezTo>
                  <a:cubicBezTo>
                    <a:pt x="14905" y="41815"/>
                    <a:pt x="7143" y="34053"/>
                    <a:pt x="7143" y="24479"/>
                  </a:cubicBezTo>
                  <a:cubicBezTo>
                    <a:pt x="7143" y="14905"/>
                    <a:pt x="14905" y="7144"/>
                    <a:pt x="24479" y="7144"/>
                  </a:cubicBezTo>
                  <a:cubicBezTo>
                    <a:pt x="34053" y="7144"/>
                    <a:pt x="41815" y="14905"/>
                    <a:pt x="41815" y="244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CA61BBB2-D270-43BA-BBE3-E0D735408F54}"/>
                </a:ext>
              </a:extLst>
            </p:cNvPr>
            <p:cNvSpPr/>
            <p:nvPr/>
          </p:nvSpPr>
          <p:spPr>
            <a:xfrm>
              <a:off x="6989921" y="2557653"/>
              <a:ext cx="85725" cy="123825"/>
            </a:xfrm>
            <a:custGeom>
              <a:avLst/>
              <a:gdLst>
                <a:gd name="connsiteX0" fmla="*/ 46959 w 85725"/>
                <a:gd name="connsiteY0" fmla="*/ 7144 h 123825"/>
                <a:gd name="connsiteX1" fmla="*/ 43911 w 85725"/>
                <a:gd name="connsiteY1" fmla="*/ 7144 h 123825"/>
                <a:gd name="connsiteX2" fmla="*/ 7144 w 85725"/>
                <a:gd name="connsiteY2" fmla="*/ 43910 h 123825"/>
                <a:gd name="connsiteX3" fmla="*/ 7144 w 85725"/>
                <a:gd name="connsiteY3" fmla="*/ 101251 h 123825"/>
                <a:gd name="connsiteX4" fmla="*/ 17526 w 85725"/>
                <a:gd name="connsiteY4" fmla="*/ 106108 h 123825"/>
                <a:gd name="connsiteX5" fmla="*/ 17526 w 85725"/>
                <a:gd name="connsiteY5" fmla="*/ 120110 h 123825"/>
                <a:gd name="connsiteX6" fmla="*/ 73724 w 85725"/>
                <a:gd name="connsiteY6" fmla="*/ 120110 h 123825"/>
                <a:gd name="connsiteX7" fmla="*/ 73724 w 85725"/>
                <a:gd name="connsiteY7" fmla="*/ 106013 h 123825"/>
                <a:gd name="connsiteX8" fmla="*/ 83820 w 85725"/>
                <a:gd name="connsiteY8" fmla="*/ 101251 h 123825"/>
                <a:gd name="connsiteX9" fmla="*/ 83820 w 85725"/>
                <a:gd name="connsiteY9" fmla="*/ 43910 h 123825"/>
                <a:gd name="connsiteX10" fmla="*/ 46959 w 85725"/>
                <a:gd name="connsiteY10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725" h="123825">
                  <a:moveTo>
                    <a:pt x="46959" y="7144"/>
                  </a:moveTo>
                  <a:lnTo>
                    <a:pt x="43911" y="7144"/>
                  </a:lnTo>
                  <a:cubicBezTo>
                    <a:pt x="23622" y="7144"/>
                    <a:pt x="7144" y="23622"/>
                    <a:pt x="7144" y="43910"/>
                  </a:cubicBezTo>
                  <a:lnTo>
                    <a:pt x="7144" y="101251"/>
                  </a:lnTo>
                  <a:lnTo>
                    <a:pt x="17526" y="106108"/>
                  </a:lnTo>
                  <a:lnTo>
                    <a:pt x="17526" y="120110"/>
                  </a:lnTo>
                  <a:lnTo>
                    <a:pt x="73724" y="120110"/>
                  </a:lnTo>
                  <a:lnTo>
                    <a:pt x="73724" y="106013"/>
                  </a:lnTo>
                  <a:lnTo>
                    <a:pt x="83820" y="101251"/>
                  </a:lnTo>
                  <a:lnTo>
                    <a:pt x="83820" y="43910"/>
                  </a:lnTo>
                  <a:cubicBezTo>
                    <a:pt x="83820" y="23622"/>
                    <a:pt x="67342" y="7144"/>
                    <a:pt x="46959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3115C10-5692-45F8-AC5B-079F3DE5712B}"/>
                </a:ext>
              </a:extLst>
            </p:cNvPr>
            <p:cNvSpPr/>
            <p:nvPr/>
          </p:nvSpPr>
          <p:spPr>
            <a:xfrm>
              <a:off x="7010876" y="2513076"/>
              <a:ext cx="47625" cy="47625"/>
            </a:xfrm>
            <a:custGeom>
              <a:avLst/>
              <a:gdLst>
                <a:gd name="connsiteX0" fmla="*/ 41815 w 47625"/>
                <a:gd name="connsiteY0" fmla="*/ 24479 h 47625"/>
                <a:gd name="connsiteX1" fmla="*/ 24479 w 47625"/>
                <a:gd name="connsiteY1" fmla="*/ 41815 h 47625"/>
                <a:gd name="connsiteX2" fmla="*/ 7144 w 47625"/>
                <a:gd name="connsiteY2" fmla="*/ 24479 h 47625"/>
                <a:gd name="connsiteX3" fmla="*/ 24479 w 47625"/>
                <a:gd name="connsiteY3" fmla="*/ 7144 h 47625"/>
                <a:gd name="connsiteX4" fmla="*/ 41815 w 47625"/>
                <a:gd name="connsiteY4" fmla="*/ 2447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41815" y="24479"/>
                  </a:moveTo>
                  <a:cubicBezTo>
                    <a:pt x="41815" y="34053"/>
                    <a:pt x="34054" y="41815"/>
                    <a:pt x="24479" y="41815"/>
                  </a:cubicBezTo>
                  <a:cubicBezTo>
                    <a:pt x="14905" y="41815"/>
                    <a:pt x="7144" y="34053"/>
                    <a:pt x="7144" y="24479"/>
                  </a:cubicBezTo>
                  <a:cubicBezTo>
                    <a:pt x="7144" y="14905"/>
                    <a:pt x="14905" y="7144"/>
                    <a:pt x="24479" y="7144"/>
                  </a:cubicBezTo>
                  <a:cubicBezTo>
                    <a:pt x="34054" y="7144"/>
                    <a:pt x="41815" y="14905"/>
                    <a:pt x="41815" y="244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1ADDADB5-76F8-445B-B54D-1CC9EA4D23CC}"/>
                </a:ext>
              </a:extLst>
            </p:cNvPr>
            <p:cNvSpPr/>
            <p:nvPr/>
          </p:nvSpPr>
          <p:spPr>
            <a:xfrm>
              <a:off x="6890479" y="2627852"/>
              <a:ext cx="95250" cy="57150"/>
            </a:xfrm>
            <a:custGeom>
              <a:avLst/>
              <a:gdLst>
                <a:gd name="connsiteX0" fmla="*/ 26194 w 95250"/>
                <a:gd name="connsiteY0" fmla="*/ 7144 h 57150"/>
                <a:gd name="connsiteX1" fmla="*/ 7144 w 95250"/>
                <a:gd name="connsiteY1" fmla="*/ 7144 h 57150"/>
                <a:gd name="connsiteX2" fmla="*/ 7144 w 95250"/>
                <a:gd name="connsiteY2" fmla="*/ 50292 h 57150"/>
                <a:gd name="connsiteX3" fmla="*/ 89345 w 95250"/>
                <a:gd name="connsiteY3" fmla="*/ 50292 h 57150"/>
                <a:gd name="connsiteX4" fmla="*/ 89345 w 95250"/>
                <a:gd name="connsiteY4" fmla="*/ 31242 h 57150"/>
                <a:gd name="connsiteX5" fmla="*/ 26194 w 95250"/>
                <a:gd name="connsiteY5" fmla="*/ 31242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57150">
                  <a:moveTo>
                    <a:pt x="26194" y="7144"/>
                  </a:moveTo>
                  <a:lnTo>
                    <a:pt x="7144" y="7144"/>
                  </a:lnTo>
                  <a:lnTo>
                    <a:pt x="7144" y="50292"/>
                  </a:lnTo>
                  <a:lnTo>
                    <a:pt x="89345" y="50292"/>
                  </a:lnTo>
                  <a:lnTo>
                    <a:pt x="89345" y="31242"/>
                  </a:lnTo>
                  <a:lnTo>
                    <a:pt x="26194" y="312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85F6F85-72DF-46DC-8C17-A1DDFE7B4870}"/>
                </a:ext>
              </a:extLst>
            </p:cNvPr>
            <p:cNvSpPr/>
            <p:nvPr/>
          </p:nvSpPr>
          <p:spPr>
            <a:xfrm>
              <a:off x="6937819" y="2457164"/>
              <a:ext cx="104775" cy="47625"/>
            </a:xfrm>
            <a:custGeom>
              <a:avLst/>
              <a:gdLst>
                <a:gd name="connsiteX0" fmla="*/ 87344 w 104775"/>
                <a:gd name="connsiteY0" fmla="*/ 49339 h 47625"/>
                <a:gd name="connsiteX1" fmla="*/ 106394 w 104775"/>
                <a:gd name="connsiteY1" fmla="*/ 49339 h 47625"/>
                <a:gd name="connsiteX2" fmla="*/ 106394 w 104775"/>
                <a:gd name="connsiteY2" fmla="*/ 7144 h 47625"/>
                <a:gd name="connsiteX3" fmla="*/ 7144 w 104775"/>
                <a:gd name="connsiteY3" fmla="*/ 7144 h 47625"/>
                <a:gd name="connsiteX4" fmla="*/ 7144 w 104775"/>
                <a:gd name="connsiteY4" fmla="*/ 26194 h 47625"/>
                <a:gd name="connsiteX5" fmla="*/ 87344 w 104775"/>
                <a:gd name="connsiteY5" fmla="*/ 2619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75" h="47625">
                  <a:moveTo>
                    <a:pt x="87344" y="49339"/>
                  </a:moveTo>
                  <a:lnTo>
                    <a:pt x="106394" y="49339"/>
                  </a:lnTo>
                  <a:lnTo>
                    <a:pt x="106394" y="7144"/>
                  </a:lnTo>
                  <a:lnTo>
                    <a:pt x="7144" y="7144"/>
                  </a:lnTo>
                  <a:lnTo>
                    <a:pt x="7144" y="26194"/>
                  </a:lnTo>
                  <a:lnTo>
                    <a:pt x="87344" y="261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80" name="Picture Placeholder 9" descr="A picture containing water, outdoor, sky, boat&#10;&#10;Description automatically generated">
            <a:extLst>
              <a:ext uri="{FF2B5EF4-FFF2-40B4-BE49-F238E27FC236}">
                <a16:creationId xmlns:a16="http://schemas.microsoft.com/office/drawing/2014/main" id="{2997421C-23FB-4FBD-A8A5-7ADA1A90577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68" r="30157"/>
          <a:stretch/>
        </p:blipFill>
        <p:spPr>
          <a:xfrm>
            <a:off x="4454325" y="0"/>
            <a:ext cx="4689675" cy="5143500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EC76ACA-F2F1-47EF-B42D-3AB6E1CDC4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0305" y="1122679"/>
            <a:ext cx="3397749" cy="3420000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/>
              <a:t>Promote the smart growth of the American offshore wind industry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Focus on maintaining access and navigation in and around our wind farms for all ocean users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Complete scientific research collaboratively with the fishing community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r>
              <a:rPr lang="en-US" sz="1200" dirty="0"/>
              <a:t>Be accessible and available 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7824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7176472894677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659660402597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94599675755813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78274027730134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94599675724567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717647289467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16-9 Orsted Standard - Orsted Office Sans.pptx" id="{4C824C64-39B0-41BE-95C9-E0515D940A84}" vid="{9EDB7A5C-AACA-4E04-B650-89D9989D0EE5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101B1B1E302B47A8A10352A49AE486" ma:contentTypeVersion="14" ma:contentTypeDescription="Create a new document." ma:contentTypeScope="" ma:versionID="b5de24df05d9077366c3aa1fef3b0314">
  <xsd:schema xmlns:xsd="http://www.w3.org/2001/XMLSchema" xmlns:xs="http://www.w3.org/2001/XMLSchema" xmlns:p="http://schemas.microsoft.com/office/2006/metadata/properties" xmlns:ns2="931c078c-f460-4e10-96fa-c3d0e79a754c" xmlns:ns3="0929e594-2e25-47db-ba66-6b67dda02c85" targetNamespace="http://schemas.microsoft.com/office/2006/metadata/properties" ma:root="true" ma:fieldsID="f567ffc661d5588a19598d712989483b" ns2:_="" ns3:_="">
    <xsd:import namespace="931c078c-f460-4e10-96fa-c3d0e79a754c"/>
    <xsd:import namespace="0929e594-2e25-47db-ba66-6b67dda02c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1c078c-f460-4e10-96fa-c3d0e79a75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efc7c0be-9392-4650-862b-6d3430e344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29e594-2e25-47db-ba66-6b67dda02c85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75359e8a-4f40-47b6-ba3f-e2376e780959}" ma:internalName="TaxCatchAll" ma:showField="CatchAllData" ma:web="0929e594-2e25-47db-ba66-6b67dda02c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929e594-2e25-47db-ba66-6b67dda02c85" xsi:nil="true"/>
    <lcf76f155ced4ddcb4097134ff3c332f xmlns="931c078c-f460-4e10-96fa-c3d0e79a754c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94CB74E-CF2E-4D17-A1D3-AADD03895697}"/>
</file>

<file path=customXml/itemProps2.xml><?xml version="1.0" encoding="utf-8"?>
<ds:datastoreItem xmlns:ds="http://schemas.openxmlformats.org/officeDocument/2006/customXml" ds:itemID="{7FAB38F9-0158-4662-BB5F-013E209211C7}">
  <ds:schemaRefs>
    <ds:schemaRef ds:uri="http://purl.org/dc/terms/"/>
    <ds:schemaRef ds:uri="d28a985e-5dd5-4de5-8d45-33c71db132d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9fa2689-23e1-470a-a57e-b1145bf90d8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78E6830-2DA2-47BA-AFF8-12996D7D247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E6D29AB-971F-47DA-9B81-9A346C5A1A19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74</TotalTime>
  <Words>414</Words>
  <Application>Microsoft Office PowerPoint</Application>
  <PresentationFormat>On-screen Show (16:9)</PresentationFormat>
  <Paragraphs>82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Orsted Sans</vt:lpstr>
      <vt:lpstr>Arial</vt:lpstr>
      <vt:lpstr>Orsted Sans Office</vt:lpstr>
      <vt:lpstr>Orsted</vt:lpstr>
      <vt:lpstr>think-cell Slide</vt:lpstr>
      <vt:lpstr>Skipjack Wind  September 2022</vt:lpstr>
      <vt:lpstr>PowerPoint Presentation</vt:lpstr>
      <vt:lpstr>BOEM Offshore Wind Leasing and Project Review</vt:lpstr>
      <vt:lpstr>PowerPoint Presentation</vt:lpstr>
      <vt:lpstr>Current Status—Skipjack Wind</vt:lpstr>
      <vt:lpstr>Survey Operations—Spring 2022</vt:lpstr>
      <vt:lpstr>Project Review A public process involving federal, state, and local authorities and interests</vt:lpstr>
      <vt:lpstr>Skipjack Wind &amp; Delaware</vt:lpstr>
      <vt:lpstr>Mariner outreach philosophy</vt:lpstr>
      <vt:lpstr>Register in the new Ørsted Procurement Portal</vt:lpstr>
      <vt:lpstr>Offshore wind market on the East Coast ~35 GW of state targets with +17 GW procured</vt:lpstr>
      <vt:lpstr>PowerPoint Presentation</vt:lpstr>
      <vt:lpstr>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kipjack Wind  July 2022</dc:title>
  <dc:creator>Brady Walker</dc:creator>
  <cp:keywords/>
  <cp:lastModifiedBy>Brady Walker</cp:lastModifiedBy>
  <cp:revision>2</cp:revision>
  <dcterms:created xsi:type="dcterms:W3CDTF">2022-07-27T12:56:35Z</dcterms:created>
  <dcterms:modified xsi:type="dcterms:W3CDTF">2022-09-12T15:13:5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1-09-07T07:29:56.1473506Z</vt:lpwstr>
  </property>
  <property fmtid="{D5CDD505-2E9C-101B-9397-08002B2CF9AE}" pid="3" name="ContentTypeId">
    <vt:lpwstr>0x010100DCA43072E641F443A8FF06C6F6FAB00C</vt:lpwstr>
  </property>
  <property fmtid="{D5CDD505-2E9C-101B-9397-08002B2CF9AE}" pid="4" name="_dlc_DocIdItemGuid">
    <vt:lpwstr>419b5c9a-0e58-4676-828f-997d030c5461</vt:lpwstr>
  </property>
  <property fmtid="{D5CDD505-2E9C-101B-9397-08002B2CF9AE}" pid="5" name="MSIP_Label_62cfb277-e402-4e8d-a57e-f9bc28430740_Enabled">
    <vt:lpwstr>true</vt:lpwstr>
  </property>
  <property fmtid="{D5CDD505-2E9C-101B-9397-08002B2CF9AE}" pid="6" name="MSIP_Label_62cfb277-e402-4e8d-a57e-f9bc28430740_SetDate">
    <vt:lpwstr>2022-07-27T17:12:25Z</vt:lpwstr>
  </property>
  <property fmtid="{D5CDD505-2E9C-101B-9397-08002B2CF9AE}" pid="7" name="MSIP_Label_62cfb277-e402-4e8d-a57e-f9bc28430740_Method">
    <vt:lpwstr>Privileged</vt:lpwstr>
  </property>
  <property fmtid="{D5CDD505-2E9C-101B-9397-08002B2CF9AE}" pid="8" name="MSIP_Label_62cfb277-e402-4e8d-a57e-f9bc28430740_Name">
    <vt:lpwstr>Public</vt:lpwstr>
  </property>
  <property fmtid="{D5CDD505-2E9C-101B-9397-08002B2CF9AE}" pid="9" name="MSIP_Label_62cfb277-e402-4e8d-a57e-f9bc28430740_SiteId">
    <vt:lpwstr>100b3c99-f3e2-4da0-9c8a-b9d345742c36</vt:lpwstr>
  </property>
  <property fmtid="{D5CDD505-2E9C-101B-9397-08002B2CF9AE}" pid="10" name="MSIP_Label_62cfb277-e402-4e8d-a57e-f9bc28430740_ActionId">
    <vt:lpwstr>d9506bfd-aca4-4ce7-b0ce-4e793785aa8d</vt:lpwstr>
  </property>
  <property fmtid="{D5CDD505-2E9C-101B-9397-08002B2CF9AE}" pid="11" name="MSIP_Label_62cfb277-e402-4e8d-a57e-f9bc28430740_ContentBits">
    <vt:lpwstr>0</vt:lpwstr>
  </property>
</Properties>
</file>